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8" r:id="rId1"/>
  </p:sldMasterIdLst>
  <p:notesMasterIdLst>
    <p:notesMasterId r:id="rId28"/>
  </p:notesMasterIdLst>
  <p:handoutMasterIdLst>
    <p:handoutMasterId r:id="rId29"/>
  </p:handoutMasterIdLst>
  <p:sldIdLst>
    <p:sldId id="258" r:id="rId2"/>
    <p:sldId id="288" r:id="rId3"/>
    <p:sldId id="365" r:id="rId4"/>
    <p:sldId id="364" r:id="rId5"/>
    <p:sldId id="367" r:id="rId6"/>
    <p:sldId id="371" r:id="rId7"/>
    <p:sldId id="260" r:id="rId8"/>
    <p:sldId id="261" r:id="rId9"/>
    <p:sldId id="347" r:id="rId10"/>
    <p:sldId id="346" r:id="rId11"/>
    <p:sldId id="323" r:id="rId12"/>
    <p:sldId id="356" r:id="rId13"/>
    <p:sldId id="372" r:id="rId14"/>
    <p:sldId id="375" r:id="rId15"/>
    <p:sldId id="267" r:id="rId16"/>
    <p:sldId id="268" r:id="rId17"/>
    <p:sldId id="284" r:id="rId18"/>
    <p:sldId id="272" r:id="rId19"/>
    <p:sldId id="361" r:id="rId20"/>
    <p:sldId id="373" r:id="rId21"/>
    <p:sldId id="374" r:id="rId22"/>
    <p:sldId id="358" r:id="rId23"/>
    <p:sldId id="370" r:id="rId24"/>
    <p:sldId id="359" r:id="rId25"/>
    <p:sldId id="353" r:id="rId26"/>
    <p:sldId id="376"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20" userDrawn="1">
          <p15:clr>
            <a:srgbClr val="A4A3A4"/>
          </p15:clr>
        </p15:guide>
        <p15:guide id="2" pos="404" userDrawn="1">
          <p15:clr>
            <a:srgbClr val="A4A3A4"/>
          </p15:clr>
        </p15:guide>
        <p15:guide id="3" pos="6912" userDrawn="1">
          <p15:clr>
            <a:srgbClr val="A4A3A4"/>
          </p15:clr>
        </p15:guide>
        <p15:guide id="4" orient="horz" pos="672" userDrawn="1">
          <p15:clr>
            <a:srgbClr val="A4A3A4"/>
          </p15:clr>
        </p15:guide>
        <p15:guide id="5" pos="4080" userDrawn="1">
          <p15:clr>
            <a:srgbClr val="A4A3A4"/>
          </p15:clr>
        </p15:guide>
        <p15:guide id="6" pos="177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000"/>
    <a:srgbClr val="006837"/>
    <a:srgbClr val="F2F2F2"/>
    <a:srgbClr val="FF0066"/>
    <a:srgbClr val="FF1919"/>
    <a:srgbClr val="00341B"/>
    <a:srgbClr val="F7F9FA"/>
    <a:srgbClr val="FDC427"/>
    <a:srgbClr val="8C1D40"/>
    <a:srgbClr val="2F178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847" autoAdjust="0"/>
    <p:restoredTop sz="94268" autoAdjust="0"/>
  </p:normalViewPr>
  <p:slideViewPr>
    <p:cSldViewPr showGuides="1">
      <p:cViewPr varScale="1">
        <p:scale>
          <a:sx n="78" d="100"/>
          <a:sy n="78" d="100"/>
        </p:scale>
        <p:origin x="1022" y="72"/>
      </p:cViewPr>
      <p:guideLst>
        <p:guide orient="horz" pos="720"/>
        <p:guide pos="404"/>
        <p:guide pos="6912"/>
        <p:guide orient="horz" pos="672"/>
        <p:guide pos="4080"/>
        <p:guide pos="1776"/>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presProps" Target="presProps.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P</c:v>
                </c:pt>
                <c:pt idx="1">
                  <c:v>EMEA</c:v>
                </c:pt>
                <c:pt idx="2">
                  <c:v>JPN</c:v>
                </c:pt>
                <c:pt idx="3">
                  <c:v>NA</c:v>
                </c:pt>
                <c:pt idx="4">
                  <c:v>SA</c:v>
                </c:pt>
              </c:strCache>
            </c:strRef>
          </c:cat>
          <c:val>
            <c:numRef>
              <c:f>Sheet1!$B$2:$B$6</c:f>
              <c:numCache>
                <c:formatCode>0.00</c:formatCode>
                <c:ptCount val="5"/>
                <c:pt idx="0">
                  <c:v>30.761592212152237</c:v>
                </c:pt>
                <c:pt idx="1">
                  <c:v>30.21767531713397</c:v>
                </c:pt>
                <c:pt idx="2" formatCode="0">
                  <c:v>27.245696472747085</c:v>
                </c:pt>
                <c:pt idx="3">
                  <c:v>35.971566932643739</c:v>
                </c:pt>
                <c:pt idx="4">
                  <c:v>30.955932666002017</c:v>
                </c:pt>
              </c:numCache>
            </c:numRef>
          </c:val>
          <c:extLst>
            <c:ext xmlns:c16="http://schemas.microsoft.com/office/drawing/2014/chart" uri="{C3380CC4-5D6E-409C-BE32-E72D297353CC}">
              <c16:uniqueId val="{00000000-A353-4BF1-AD38-B6B6AA2F4772}"/>
            </c:ext>
          </c:extLst>
        </c:ser>
        <c:dLbls>
          <c:dLblPos val="outEnd"/>
          <c:showLegendKey val="0"/>
          <c:showVal val="1"/>
          <c:showCatName val="0"/>
          <c:showSerName val="0"/>
          <c:showPercent val="0"/>
          <c:showBubbleSize val="0"/>
        </c:dLbls>
        <c:gapWidth val="219"/>
        <c:overlap val="-27"/>
        <c:axId val="314177983"/>
        <c:axId val="314174143"/>
      </c:barChart>
      <c:catAx>
        <c:axId val="31417798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314174143"/>
        <c:crosses val="autoZero"/>
        <c:auto val="1"/>
        <c:lblAlgn val="ctr"/>
        <c:lblOffset val="100"/>
        <c:noMultiLvlLbl val="0"/>
      </c:catAx>
      <c:valAx>
        <c:axId val="314174143"/>
        <c:scaling>
          <c:orientation val="minMax"/>
        </c:scaling>
        <c:delete val="1"/>
        <c:axPos val="l"/>
        <c:numFmt formatCode="0.00" sourceLinked="1"/>
        <c:majorTickMark val="none"/>
        <c:minorTickMark val="none"/>
        <c:tickLblPos val="nextTo"/>
        <c:crossAx val="314177983"/>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000" b="1" i="0" u="none" strike="noStrike" kern="1200" spc="0" baseline="0">
                <a:solidFill>
                  <a:schemeClr val="tx1">
                    <a:lumMod val="65000"/>
                    <a:lumOff val="35000"/>
                  </a:schemeClr>
                </a:solidFill>
                <a:latin typeface="+mn-lt"/>
                <a:ea typeface="+mn-ea"/>
                <a:cs typeface="+mn-cs"/>
              </a:defRPr>
            </a:pPr>
            <a:r>
              <a:rPr lang="en-US" sz="2000" b="1" dirty="0"/>
              <a:t>Scatter Plot – Bid Complexity vs Time Required</a:t>
            </a:r>
          </a:p>
        </c:rich>
      </c:tx>
      <c:layout/>
      <c:overlay val="0"/>
      <c:spPr>
        <a:noFill/>
        <a:ln>
          <a:noFill/>
        </a:ln>
        <a:effectLst/>
      </c:spPr>
      <c:txPr>
        <a:bodyPr rot="0" spcFirstLastPara="1" vertOverflow="ellipsis" vert="horz" wrap="square" anchor="ctr" anchorCtr="1"/>
        <a:lstStyle/>
        <a:p>
          <a:pPr>
            <a:defRPr sz="20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Sheet1!$B$1</c:f>
              <c:strCache>
                <c:ptCount val="1"/>
                <c:pt idx="0">
                  <c:v>Y-Values</c:v>
                </c:pt>
              </c:strCache>
            </c:strRef>
          </c:tx>
          <c:spPr>
            <a:ln w="28575" cap="rnd">
              <a:noFill/>
              <a:round/>
            </a:ln>
            <a:effectLst/>
          </c:spPr>
          <c:marker>
            <c:symbol val="circle"/>
            <c:size val="5"/>
            <c:spPr>
              <a:solidFill>
                <a:schemeClr val="accent1"/>
              </a:solidFill>
              <a:ln w="9525">
                <a:solidFill>
                  <a:schemeClr val="accent1"/>
                </a:solidFill>
              </a:ln>
              <a:effectLst/>
            </c:spPr>
          </c:marker>
          <c:xVal>
            <c:numRef>
              <c:f>Sheet1!$A$2:$A$75001</c:f>
              <c:numCache>
                <c:formatCode>"$"#,##0</c:formatCode>
                <c:ptCount val="75000"/>
                <c:pt idx="0">
                  <c:v>282154</c:v>
                </c:pt>
                <c:pt idx="1">
                  <c:v>253569</c:v>
                </c:pt>
                <c:pt idx="2">
                  <c:v>46954</c:v>
                </c:pt>
                <c:pt idx="3">
                  <c:v>133530</c:v>
                </c:pt>
                <c:pt idx="4">
                  <c:v>39863</c:v>
                </c:pt>
                <c:pt idx="5">
                  <c:v>49733</c:v>
                </c:pt>
                <c:pt idx="6">
                  <c:v>68957</c:v>
                </c:pt>
                <c:pt idx="7">
                  <c:v>23365</c:v>
                </c:pt>
                <c:pt idx="8">
                  <c:v>36939</c:v>
                </c:pt>
                <c:pt idx="9">
                  <c:v>50438</c:v>
                </c:pt>
                <c:pt idx="10">
                  <c:v>33646</c:v>
                </c:pt>
                <c:pt idx="11">
                  <c:v>27702</c:v>
                </c:pt>
                <c:pt idx="12">
                  <c:v>47976</c:v>
                </c:pt>
                <c:pt idx="13">
                  <c:v>37692</c:v>
                </c:pt>
                <c:pt idx="14">
                  <c:v>55487</c:v>
                </c:pt>
                <c:pt idx="15">
                  <c:v>199250</c:v>
                </c:pt>
                <c:pt idx="16">
                  <c:v>56452</c:v>
                </c:pt>
                <c:pt idx="17">
                  <c:v>24814</c:v>
                </c:pt>
                <c:pt idx="18">
                  <c:v>246500</c:v>
                </c:pt>
                <c:pt idx="19">
                  <c:v>25388</c:v>
                </c:pt>
                <c:pt idx="20">
                  <c:v>69074</c:v>
                </c:pt>
                <c:pt idx="21">
                  <c:v>65804</c:v>
                </c:pt>
                <c:pt idx="22">
                  <c:v>192811</c:v>
                </c:pt>
                <c:pt idx="23">
                  <c:v>109816</c:v>
                </c:pt>
                <c:pt idx="24">
                  <c:v>32338</c:v>
                </c:pt>
                <c:pt idx="25">
                  <c:v>48746</c:v>
                </c:pt>
                <c:pt idx="26">
                  <c:v>35738</c:v>
                </c:pt>
                <c:pt idx="27">
                  <c:v>40657</c:v>
                </c:pt>
                <c:pt idx="28">
                  <c:v>55961</c:v>
                </c:pt>
                <c:pt idx="29">
                  <c:v>42680</c:v>
                </c:pt>
                <c:pt idx="30">
                  <c:v>32485</c:v>
                </c:pt>
                <c:pt idx="31">
                  <c:v>167726</c:v>
                </c:pt>
                <c:pt idx="32">
                  <c:v>51321</c:v>
                </c:pt>
                <c:pt idx="33">
                  <c:v>42856</c:v>
                </c:pt>
                <c:pt idx="34">
                  <c:v>67136</c:v>
                </c:pt>
                <c:pt idx="35">
                  <c:v>29505</c:v>
                </c:pt>
                <c:pt idx="36">
                  <c:v>32970</c:v>
                </c:pt>
                <c:pt idx="37">
                  <c:v>34335</c:v>
                </c:pt>
                <c:pt idx="38">
                  <c:v>23772</c:v>
                </c:pt>
                <c:pt idx="39">
                  <c:v>27749</c:v>
                </c:pt>
                <c:pt idx="40">
                  <c:v>31090</c:v>
                </c:pt>
                <c:pt idx="41">
                  <c:v>115607</c:v>
                </c:pt>
                <c:pt idx="42">
                  <c:v>31059</c:v>
                </c:pt>
                <c:pt idx="43">
                  <c:v>25658</c:v>
                </c:pt>
                <c:pt idx="44">
                  <c:v>40557</c:v>
                </c:pt>
                <c:pt idx="45">
                  <c:v>40073</c:v>
                </c:pt>
                <c:pt idx="46">
                  <c:v>162887</c:v>
                </c:pt>
                <c:pt idx="47">
                  <c:v>32163</c:v>
                </c:pt>
                <c:pt idx="48">
                  <c:v>46709</c:v>
                </c:pt>
                <c:pt idx="49">
                  <c:v>31779</c:v>
                </c:pt>
                <c:pt idx="50">
                  <c:v>104689</c:v>
                </c:pt>
                <c:pt idx="51">
                  <c:v>19823</c:v>
                </c:pt>
                <c:pt idx="52">
                  <c:v>21444</c:v>
                </c:pt>
                <c:pt idx="53">
                  <c:v>35366</c:v>
                </c:pt>
                <c:pt idx="54">
                  <c:v>130076</c:v>
                </c:pt>
                <c:pt idx="55">
                  <c:v>122523</c:v>
                </c:pt>
                <c:pt idx="56">
                  <c:v>20080</c:v>
                </c:pt>
                <c:pt idx="57">
                  <c:v>34930</c:v>
                </c:pt>
                <c:pt idx="58">
                  <c:v>57773</c:v>
                </c:pt>
                <c:pt idx="59">
                  <c:v>38192</c:v>
                </c:pt>
                <c:pt idx="60">
                  <c:v>33662</c:v>
                </c:pt>
                <c:pt idx="61">
                  <c:v>72866</c:v>
                </c:pt>
                <c:pt idx="62">
                  <c:v>34156</c:v>
                </c:pt>
                <c:pt idx="63">
                  <c:v>69247</c:v>
                </c:pt>
                <c:pt idx="64">
                  <c:v>24808</c:v>
                </c:pt>
                <c:pt idx="65">
                  <c:v>51318</c:v>
                </c:pt>
                <c:pt idx="66">
                  <c:v>42194</c:v>
                </c:pt>
                <c:pt idx="67">
                  <c:v>46182</c:v>
                </c:pt>
                <c:pt idx="68">
                  <c:v>55332</c:v>
                </c:pt>
                <c:pt idx="69">
                  <c:v>27041</c:v>
                </c:pt>
                <c:pt idx="70">
                  <c:v>77880</c:v>
                </c:pt>
                <c:pt idx="71">
                  <c:v>40782</c:v>
                </c:pt>
                <c:pt idx="72">
                  <c:v>55776</c:v>
                </c:pt>
                <c:pt idx="73">
                  <c:v>33494</c:v>
                </c:pt>
                <c:pt idx="74">
                  <c:v>37893</c:v>
                </c:pt>
                <c:pt idx="75">
                  <c:v>135938</c:v>
                </c:pt>
                <c:pt idx="76">
                  <c:v>24125</c:v>
                </c:pt>
                <c:pt idx="77">
                  <c:v>159396</c:v>
                </c:pt>
                <c:pt idx="78">
                  <c:v>102499</c:v>
                </c:pt>
                <c:pt idx="79">
                  <c:v>39132</c:v>
                </c:pt>
                <c:pt idx="80">
                  <c:v>23662</c:v>
                </c:pt>
                <c:pt idx="81">
                  <c:v>211731</c:v>
                </c:pt>
                <c:pt idx="82">
                  <c:v>149097</c:v>
                </c:pt>
                <c:pt idx="83">
                  <c:v>56079</c:v>
                </c:pt>
                <c:pt idx="84">
                  <c:v>87685</c:v>
                </c:pt>
                <c:pt idx="85">
                  <c:v>79898</c:v>
                </c:pt>
                <c:pt idx="86">
                  <c:v>43029</c:v>
                </c:pt>
                <c:pt idx="87">
                  <c:v>33007</c:v>
                </c:pt>
                <c:pt idx="88">
                  <c:v>35643</c:v>
                </c:pt>
                <c:pt idx="89">
                  <c:v>111588</c:v>
                </c:pt>
                <c:pt idx="90">
                  <c:v>41873</c:v>
                </c:pt>
                <c:pt idx="91">
                  <c:v>78896</c:v>
                </c:pt>
                <c:pt idx="92">
                  <c:v>25584</c:v>
                </c:pt>
                <c:pt idx="93">
                  <c:v>66792</c:v>
                </c:pt>
                <c:pt idx="94">
                  <c:v>142255</c:v>
                </c:pt>
                <c:pt idx="95">
                  <c:v>37507</c:v>
                </c:pt>
                <c:pt idx="96">
                  <c:v>53095</c:v>
                </c:pt>
                <c:pt idx="97">
                  <c:v>27252</c:v>
                </c:pt>
                <c:pt idx="98">
                  <c:v>36274</c:v>
                </c:pt>
                <c:pt idx="99">
                  <c:v>89366</c:v>
                </c:pt>
                <c:pt idx="100">
                  <c:v>86775</c:v>
                </c:pt>
                <c:pt idx="101">
                  <c:v>27277</c:v>
                </c:pt>
                <c:pt idx="102">
                  <c:v>35904</c:v>
                </c:pt>
                <c:pt idx="103">
                  <c:v>191881</c:v>
                </c:pt>
                <c:pt idx="104">
                  <c:v>30674</c:v>
                </c:pt>
                <c:pt idx="105">
                  <c:v>46777</c:v>
                </c:pt>
                <c:pt idx="106">
                  <c:v>48514</c:v>
                </c:pt>
                <c:pt idx="107">
                  <c:v>38477</c:v>
                </c:pt>
                <c:pt idx="108">
                  <c:v>63690</c:v>
                </c:pt>
                <c:pt idx="109">
                  <c:v>158930</c:v>
                </c:pt>
                <c:pt idx="110">
                  <c:v>59848</c:v>
                </c:pt>
                <c:pt idx="111">
                  <c:v>25896</c:v>
                </c:pt>
                <c:pt idx="112">
                  <c:v>51741</c:v>
                </c:pt>
                <c:pt idx="113">
                  <c:v>41219</c:v>
                </c:pt>
                <c:pt idx="114">
                  <c:v>39022</c:v>
                </c:pt>
                <c:pt idx="115">
                  <c:v>35395</c:v>
                </c:pt>
                <c:pt idx="116">
                  <c:v>100977</c:v>
                </c:pt>
                <c:pt idx="117">
                  <c:v>37269</c:v>
                </c:pt>
                <c:pt idx="118">
                  <c:v>30857</c:v>
                </c:pt>
                <c:pt idx="119">
                  <c:v>40402</c:v>
                </c:pt>
                <c:pt idx="120">
                  <c:v>59800</c:v>
                </c:pt>
                <c:pt idx="121">
                  <c:v>47723</c:v>
                </c:pt>
                <c:pt idx="122">
                  <c:v>48264</c:v>
                </c:pt>
                <c:pt idx="123">
                  <c:v>105142</c:v>
                </c:pt>
                <c:pt idx="124">
                  <c:v>37218</c:v>
                </c:pt>
                <c:pt idx="125">
                  <c:v>54317</c:v>
                </c:pt>
                <c:pt idx="126">
                  <c:v>54730</c:v>
                </c:pt>
                <c:pt idx="127">
                  <c:v>36526</c:v>
                </c:pt>
                <c:pt idx="128">
                  <c:v>51961</c:v>
                </c:pt>
                <c:pt idx="129">
                  <c:v>23346</c:v>
                </c:pt>
                <c:pt idx="130">
                  <c:v>118726</c:v>
                </c:pt>
                <c:pt idx="131">
                  <c:v>74858</c:v>
                </c:pt>
                <c:pt idx="132">
                  <c:v>33918</c:v>
                </c:pt>
                <c:pt idx="133">
                  <c:v>27714</c:v>
                </c:pt>
                <c:pt idx="134">
                  <c:v>24720</c:v>
                </c:pt>
                <c:pt idx="135">
                  <c:v>40830</c:v>
                </c:pt>
                <c:pt idx="136">
                  <c:v>35138</c:v>
                </c:pt>
                <c:pt idx="137">
                  <c:v>52745</c:v>
                </c:pt>
                <c:pt idx="138">
                  <c:v>40248</c:v>
                </c:pt>
                <c:pt idx="139">
                  <c:v>22960</c:v>
                </c:pt>
                <c:pt idx="140">
                  <c:v>36178</c:v>
                </c:pt>
                <c:pt idx="141">
                  <c:v>39277</c:v>
                </c:pt>
                <c:pt idx="142">
                  <c:v>427669</c:v>
                </c:pt>
                <c:pt idx="143">
                  <c:v>34579</c:v>
                </c:pt>
                <c:pt idx="144">
                  <c:v>43462</c:v>
                </c:pt>
                <c:pt idx="145">
                  <c:v>42983</c:v>
                </c:pt>
                <c:pt idx="146">
                  <c:v>23768</c:v>
                </c:pt>
                <c:pt idx="147">
                  <c:v>41271</c:v>
                </c:pt>
                <c:pt idx="148">
                  <c:v>23825</c:v>
                </c:pt>
                <c:pt idx="149">
                  <c:v>46453</c:v>
                </c:pt>
                <c:pt idx="150">
                  <c:v>46571</c:v>
                </c:pt>
                <c:pt idx="151">
                  <c:v>64848</c:v>
                </c:pt>
                <c:pt idx="152">
                  <c:v>22366</c:v>
                </c:pt>
                <c:pt idx="153">
                  <c:v>92557</c:v>
                </c:pt>
                <c:pt idx="154">
                  <c:v>48470</c:v>
                </c:pt>
                <c:pt idx="155">
                  <c:v>185178</c:v>
                </c:pt>
                <c:pt idx="156">
                  <c:v>33875</c:v>
                </c:pt>
                <c:pt idx="157">
                  <c:v>32173</c:v>
                </c:pt>
                <c:pt idx="158">
                  <c:v>107902</c:v>
                </c:pt>
                <c:pt idx="159">
                  <c:v>30125</c:v>
                </c:pt>
                <c:pt idx="160">
                  <c:v>36384</c:v>
                </c:pt>
                <c:pt idx="161">
                  <c:v>29435</c:v>
                </c:pt>
                <c:pt idx="162">
                  <c:v>47475</c:v>
                </c:pt>
                <c:pt idx="163">
                  <c:v>145451</c:v>
                </c:pt>
                <c:pt idx="164">
                  <c:v>109759</c:v>
                </c:pt>
                <c:pt idx="165">
                  <c:v>59663</c:v>
                </c:pt>
                <c:pt idx="166">
                  <c:v>158703</c:v>
                </c:pt>
                <c:pt idx="167">
                  <c:v>60347</c:v>
                </c:pt>
                <c:pt idx="168">
                  <c:v>189713</c:v>
                </c:pt>
                <c:pt idx="169">
                  <c:v>25670</c:v>
                </c:pt>
                <c:pt idx="170">
                  <c:v>174219</c:v>
                </c:pt>
                <c:pt idx="171">
                  <c:v>46209</c:v>
                </c:pt>
                <c:pt idx="172">
                  <c:v>72110</c:v>
                </c:pt>
                <c:pt idx="173">
                  <c:v>70275</c:v>
                </c:pt>
                <c:pt idx="174">
                  <c:v>67611</c:v>
                </c:pt>
                <c:pt idx="175">
                  <c:v>39401</c:v>
                </c:pt>
                <c:pt idx="176">
                  <c:v>90392</c:v>
                </c:pt>
                <c:pt idx="177">
                  <c:v>47459</c:v>
                </c:pt>
                <c:pt idx="178">
                  <c:v>70652</c:v>
                </c:pt>
                <c:pt idx="179">
                  <c:v>121897</c:v>
                </c:pt>
                <c:pt idx="180">
                  <c:v>25293</c:v>
                </c:pt>
                <c:pt idx="181">
                  <c:v>52421</c:v>
                </c:pt>
                <c:pt idx="182">
                  <c:v>94828</c:v>
                </c:pt>
                <c:pt idx="183">
                  <c:v>59956</c:v>
                </c:pt>
                <c:pt idx="184">
                  <c:v>52239</c:v>
                </c:pt>
                <c:pt idx="185">
                  <c:v>54973</c:v>
                </c:pt>
                <c:pt idx="186">
                  <c:v>27397</c:v>
                </c:pt>
                <c:pt idx="187">
                  <c:v>65236</c:v>
                </c:pt>
                <c:pt idx="188">
                  <c:v>35981</c:v>
                </c:pt>
                <c:pt idx="189">
                  <c:v>20196</c:v>
                </c:pt>
                <c:pt idx="190">
                  <c:v>44876</c:v>
                </c:pt>
                <c:pt idx="191">
                  <c:v>64817</c:v>
                </c:pt>
                <c:pt idx="192">
                  <c:v>30877</c:v>
                </c:pt>
                <c:pt idx="193">
                  <c:v>200502</c:v>
                </c:pt>
                <c:pt idx="194">
                  <c:v>47309</c:v>
                </c:pt>
                <c:pt idx="195">
                  <c:v>336494</c:v>
                </c:pt>
                <c:pt idx="196">
                  <c:v>57390</c:v>
                </c:pt>
                <c:pt idx="197">
                  <c:v>53920</c:v>
                </c:pt>
                <c:pt idx="198">
                  <c:v>53945</c:v>
                </c:pt>
                <c:pt idx="199">
                  <c:v>34465</c:v>
                </c:pt>
                <c:pt idx="200">
                  <c:v>35288</c:v>
                </c:pt>
                <c:pt idx="201">
                  <c:v>41666</c:v>
                </c:pt>
                <c:pt idx="202">
                  <c:v>84548</c:v>
                </c:pt>
                <c:pt idx="203">
                  <c:v>59797</c:v>
                </c:pt>
                <c:pt idx="204">
                  <c:v>106711</c:v>
                </c:pt>
                <c:pt idx="205">
                  <c:v>21962</c:v>
                </c:pt>
                <c:pt idx="206">
                  <c:v>41013</c:v>
                </c:pt>
                <c:pt idx="207">
                  <c:v>117922</c:v>
                </c:pt>
                <c:pt idx="208">
                  <c:v>32883</c:v>
                </c:pt>
                <c:pt idx="209">
                  <c:v>35585</c:v>
                </c:pt>
                <c:pt idx="210">
                  <c:v>29376</c:v>
                </c:pt>
                <c:pt idx="211">
                  <c:v>207944</c:v>
                </c:pt>
                <c:pt idx="212">
                  <c:v>41427</c:v>
                </c:pt>
                <c:pt idx="213">
                  <c:v>50188</c:v>
                </c:pt>
                <c:pt idx="214">
                  <c:v>26576</c:v>
                </c:pt>
                <c:pt idx="215">
                  <c:v>88160</c:v>
                </c:pt>
                <c:pt idx="216">
                  <c:v>23951</c:v>
                </c:pt>
                <c:pt idx="217">
                  <c:v>113615</c:v>
                </c:pt>
                <c:pt idx="218">
                  <c:v>42149</c:v>
                </c:pt>
                <c:pt idx="219">
                  <c:v>32519</c:v>
                </c:pt>
                <c:pt idx="220">
                  <c:v>58598</c:v>
                </c:pt>
                <c:pt idx="221">
                  <c:v>40905</c:v>
                </c:pt>
                <c:pt idx="222">
                  <c:v>52531</c:v>
                </c:pt>
                <c:pt idx="223">
                  <c:v>27055</c:v>
                </c:pt>
                <c:pt idx="224">
                  <c:v>51756</c:v>
                </c:pt>
                <c:pt idx="225">
                  <c:v>93228</c:v>
                </c:pt>
                <c:pt idx="226">
                  <c:v>39294</c:v>
                </c:pt>
                <c:pt idx="227">
                  <c:v>23954</c:v>
                </c:pt>
                <c:pt idx="228">
                  <c:v>107069</c:v>
                </c:pt>
                <c:pt idx="229">
                  <c:v>83648</c:v>
                </c:pt>
                <c:pt idx="230">
                  <c:v>34352</c:v>
                </c:pt>
                <c:pt idx="231">
                  <c:v>68244</c:v>
                </c:pt>
                <c:pt idx="232">
                  <c:v>39575</c:v>
                </c:pt>
                <c:pt idx="233">
                  <c:v>52308</c:v>
                </c:pt>
                <c:pt idx="234">
                  <c:v>104133</c:v>
                </c:pt>
                <c:pt idx="235">
                  <c:v>26973</c:v>
                </c:pt>
                <c:pt idx="236">
                  <c:v>41725</c:v>
                </c:pt>
                <c:pt idx="237">
                  <c:v>44654</c:v>
                </c:pt>
                <c:pt idx="238">
                  <c:v>77348</c:v>
                </c:pt>
                <c:pt idx="239">
                  <c:v>38355</c:v>
                </c:pt>
                <c:pt idx="240">
                  <c:v>75817</c:v>
                </c:pt>
                <c:pt idx="241">
                  <c:v>43921</c:v>
                </c:pt>
                <c:pt idx="242">
                  <c:v>56024</c:v>
                </c:pt>
                <c:pt idx="243">
                  <c:v>31962</c:v>
                </c:pt>
                <c:pt idx="244">
                  <c:v>49961</c:v>
                </c:pt>
                <c:pt idx="245">
                  <c:v>41860</c:v>
                </c:pt>
                <c:pt idx="246">
                  <c:v>34178</c:v>
                </c:pt>
                <c:pt idx="247">
                  <c:v>73775</c:v>
                </c:pt>
                <c:pt idx="248">
                  <c:v>38604</c:v>
                </c:pt>
                <c:pt idx="249">
                  <c:v>71029</c:v>
                </c:pt>
                <c:pt idx="250">
                  <c:v>49787</c:v>
                </c:pt>
                <c:pt idx="251">
                  <c:v>45073</c:v>
                </c:pt>
                <c:pt idx="252">
                  <c:v>36327</c:v>
                </c:pt>
                <c:pt idx="253">
                  <c:v>209297</c:v>
                </c:pt>
                <c:pt idx="254">
                  <c:v>38604</c:v>
                </c:pt>
                <c:pt idx="255">
                  <c:v>46992</c:v>
                </c:pt>
                <c:pt idx="256">
                  <c:v>24002</c:v>
                </c:pt>
                <c:pt idx="257">
                  <c:v>52162</c:v>
                </c:pt>
                <c:pt idx="258">
                  <c:v>221683</c:v>
                </c:pt>
                <c:pt idx="259">
                  <c:v>25634</c:v>
                </c:pt>
                <c:pt idx="260">
                  <c:v>39803</c:v>
                </c:pt>
                <c:pt idx="261">
                  <c:v>38602</c:v>
                </c:pt>
                <c:pt idx="262">
                  <c:v>28554</c:v>
                </c:pt>
                <c:pt idx="263">
                  <c:v>46382</c:v>
                </c:pt>
                <c:pt idx="264">
                  <c:v>48281</c:v>
                </c:pt>
                <c:pt idx="265">
                  <c:v>115842</c:v>
                </c:pt>
                <c:pt idx="266">
                  <c:v>25622</c:v>
                </c:pt>
                <c:pt idx="267">
                  <c:v>57380</c:v>
                </c:pt>
                <c:pt idx="268">
                  <c:v>37531</c:v>
                </c:pt>
                <c:pt idx="269">
                  <c:v>65376</c:v>
                </c:pt>
                <c:pt idx="270">
                  <c:v>34899</c:v>
                </c:pt>
                <c:pt idx="271">
                  <c:v>148640</c:v>
                </c:pt>
                <c:pt idx="272">
                  <c:v>89458</c:v>
                </c:pt>
                <c:pt idx="273">
                  <c:v>38380</c:v>
                </c:pt>
                <c:pt idx="274">
                  <c:v>47523</c:v>
                </c:pt>
                <c:pt idx="275">
                  <c:v>31201</c:v>
                </c:pt>
                <c:pt idx="276">
                  <c:v>50515</c:v>
                </c:pt>
                <c:pt idx="277">
                  <c:v>36149</c:v>
                </c:pt>
                <c:pt idx="278">
                  <c:v>134519</c:v>
                </c:pt>
                <c:pt idx="279">
                  <c:v>83788</c:v>
                </c:pt>
                <c:pt idx="280">
                  <c:v>28403</c:v>
                </c:pt>
                <c:pt idx="281">
                  <c:v>59275</c:v>
                </c:pt>
                <c:pt idx="282">
                  <c:v>27334</c:v>
                </c:pt>
                <c:pt idx="283">
                  <c:v>43754</c:v>
                </c:pt>
                <c:pt idx="284">
                  <c:v>31427</c:v>
                </c:pt>
                <c:pt idx="285">
                  <c:v>56605</c:v>
                </c:pt>
                <c:pt idx="286">
                  <c:v>44959</c:v>
                </c:pt>
                <c:pt idx="287">
                  <c:v>54640</c:v>
                </c:pt>
                <c:pt idx="288">
                  <c:v>36072</c:v>
                </c:pt>
                <c:pt idx="289">
                  <c:v>27337</c:v>
                </c:pt>
                <c:pt idx="290">
                  <c:v>32163</c:v>
                </c:pt>
                <c:pt idx="291">
                  <c:v>23145</c:v>
                </c:pt>
                <c:pt idx="292">
                  <c:v>60412</c:v>
                </c:pt>
                <c:pt idx="293">
                  <c:v>84780</c:v>
                </c:pt>
                <c:pt idx="294">
                  <c:v>58854</c:v>
                </c:pt>
                <c:pt idx="295">
                  <c:v>28815</c:v>
                </c:pt>
                <c:pt idx="296">
                  <c:v>36156</c:v>
                </c:pt>
                <c:pt idx="297">
                  <c:v>23113</c:v>
                </c:pt>
                <c:pt idx="298">
                  <c:v>23355</c:v>
                </c:pt>
                <c:pt idx="299">
                  <c:v>63243</c:v>
                </c:pt>
                <c:pt idx="300">
                  <c:v>45240</c:v>
                </c:pt>
                <c:pt idx="301">
                  <c:v>79289</c:v>
                </c:pt>
                <c:pt idx="302">
                  <c:v>22873</c:v>
                </c:pt>
                <c:pt idx="303">
                  <c:v>128978</c:v>
                </c:pt>
                <c:pt idx="304">
                  <c:v>38350</c:v>
                </c:pt>
                <c:pt idx="305">
                  <c:v>28148</c:v>
                </c:pt>
                <c:pt idx="306">
                  <c:v>26785</c:v>
                </c:pt>
                <c:pt idx="307">
                  <c:v>30689</c:v>
                </c:pt>
                <c:pt idx="308">
                  <c:v>157626</c:v>
                </c:pt>
                <c:pt idx="309">
                  <c:v>221737</c:v>
                </c:pt>
                <c:pt idx="310">
                  <c:v>28455</c:v>
                </c:pt>
                <c:pt idx="311">
                  <c:v>276651</c:v>
                </c:pt>
                <c:pt idx="312">
                  <c:v>52980</c:v>
                </c:pt>
                <c:pt idx="313">
                  <c:v>35404</c:v>
                </c:pt>
                <c:pt idx="314">
                  <c:v>38048</c:v>
                </c:pt>
                <c:pt idx="315">
                  <c:v>343344</c:v>
                </c:pt>
                <c:pt idx="316">
                  <c:v>22650</c:v>
                </c:pt>
                <c:pt idx="317">
                  <c:v>43880</c:v>
                </c:pt>
                <c:pt idx="318">
                  <c:v>64669</c:v>
                </c:pt>
                <c:pt idx="319">
                  <c:v>41511</c:v>
                </c:pt>
                <c:pt idx="320">
                  <c:v>24116</c:v>
                </c:pt>
                <c:pt idx="321">
                  <c:v>99803</c:v>
                </c:pt>
                <c:pt idx="322">
                  <c:v>24109</c:v>
                </c:pt>
                <c:pt idx="323">
                  <c:v>36084</c:v>
                </c:pt>
                <c:pt idx="324">
                  <c:v>177702</c:v>
                </c:pt>
                <c:pt idx="325">
                  <c:v>367435</c:v>
                </c:pt>
                <c:pt idx="326">
                  <c:v>28848</c:v>
                </c:pt>
                <c:pt idx="327">
                  <c:v>45137</c:v>
                </c:pt>
                <c:pt idx="328">
                  <c:v>41034</c:v>
                </c:pt>
                <c:pt idx="329">
                  <c:v>213205</c:v>
                </c:pt>
                <c:pt idx="330">
                  <c:v>80152</c:v>
                </c:pt>
                <c:pt idx="331">
                  <c:v>35649</c:v>
                </c:pt>
                <c:pt idx="332">
                  <c:v>66076</c:v>
                </c:pt>
                <c:pt idx="333">
                  <c:v>206646</c:v>
                </c:pt>
                <c:pt idx="334">
                  <c:v>27658</c:v>
                </c:pt>
                <c:pt idx="335">
                  <c:v>34377</c:v>
                </c:pt>
                <c:pt idx="336">
                  <c:v>42528</c:v>
                </c:pt>
                <c:pt idx="337">
                  <c:v>28519</c:v>
                </c:pt>
                <c:pt idx="338">
                  <c:v>41848</c:v>
                </c:pt>
                <c:pt idx="339">
                  <c:v>74137</c:v>
                </c:pt>
                <c:pt idx="340">
                  <c:v>29991</c:v>
                </c:pt>
                <c:pt idx="341">
                  <c:v>84538</c:v>
                </c:pt>
                <c:pt idx="342">
                  <c:v>26947</c:v>
                </c:pt>
                <c:pt idx="343">
                  <c:v>40607</c:v>
                </c:pt>
                <c:pt idx="344">
                  <c:v>63214</c:v>
                </c:pt>
                <c:pt idx="345">
                  <c:v>149880</c:v>
                </c:pt>
                <c:pt idx="346">
                  <c:v>34359</c:v>
                </c:pt>
                <c:pt idx="347">
                  <c:v>32231</c:v>
                </c:pt>
                <c:pt idx="348">
                  <c:v>159571</c:v>
                </c:pt>
                <c:pt idx="349">
                  <c:v>55602</c:v>
                </c:pt>
                <c:pt idx="350">
                  <c:v>33927</c:v>
                </c:pt>
                <c:pt idx="351">
                  <c:v>22653</c:v>
                </c:pt>
                <c:pt idx="352">
                  <c:v>27435</c:v>
                </c:pt>
                <c:pt idx="353">
                  <c:v>216488</c:v>
                </c:pt>
                <c:pt idx="354">
                  <c:v>40372</c:v>
                </c:pt>
                <c:pt idx="355">
                  <c:v>31204</c:v>
                </c:pt>
                <c:pt idx="356">
                  <c:v>38322</c:v>
                </c:pt>
                <c:pt idx="357">
                  <c:v>27211</c:v>
                </c:pt>
                <c:pt idx="358">
                  <c:v>88227</c:v>
                </c:pt>
                <c:pt idx="359">
                  <c:v>30079</c:v>
                </c:pt>
                <c:pt idx="360">
                  <c:v>37830</c:v>
                </c:pt>
                <c:pt idx="361">
                  <c:v>53155</c:v>
                </c:pt>
                <c:pt idx="362">
                  <c:v>66849</c:v>
                </c:pt>
                <c:pt idx="363">
                  <c:v>49538</c:v>
                </c:pt>
                <c:pt idx="364">
                  <c:v>183603</c:v>
                </c:pt>
                <c:pt idx="365">
                  <c:v>37251</c:v>
                </c:pt>
                <c:pt idx="366">
                  <c:v>38755</c:v>
                </c:pt>
                <c:pt idx="367">
                  <c:v>269593</c:v>
                </c:pt>
                <c:pt idx="368">
                  <c:v>38988</c:v>
                </c:pt>
                <c:pt idx="369">
                  <c:v>147037</c:v>
                </c:pt>
                <c:pt idx="370">
                  <c:v>37618</c:v>
                </c:pt>
                <c:pt idx="371">
                  <c:v>30567</c:v>
                </c:pt>
                <c:pt idx="372">
                  <c:v>87915</c:v>
                </c:pt>
                <c:pt idx="373">
                  <c:v>38421</c:v>
                </c:pt>
                <c:pt idx="374">
                  <c:v>36453</c:v>
                </c:pt>
                <c:pt idx="375">
                  <c:v>44392</c:v>
                </c:pt>
                <c:pt idx="376">
                  <c:v>69376</c:v>
                </c:pt>
                <c:pt idx="377">
                  <c:v>37218</c:v>
                </c:pt>
                <c:pt idx="378">
                  <c:v>47428</c:v>
                </c:pt>
                <c:pt idx="379">
                  <c:v>40995</c:v>
                </c:pt>
                <c:pt idx="380">
                  <c:v>39506</c:v>
                </c:pt>
                <c:pt idx="381">
                  <c:v>50489</c:v>
                </c:pt>
                <c:pt idx="382">
                  <c:v>34582</c:v>
                </c:pt>
                <c:pt idx="383">
                  <c:v>50357</c:v>
                </c:pt>
                <c:pt idx="384">
                  <c:v>60395</c:v>
                </c:pt>
                <c:pt idx="385">
                  <c:v>40388</c:v>
                </c:pt>
                <c:pt idx="386">
                  <c:v>48409</c:v>
                </c:pt>
                <c:pt idx="387">
                  <c:v>32215</c:v>
                </c:pt>
                <c:pt idx="388">
                  <c:v>33688</c:v>
                </c:pt>
                <c:pt idx="389">
                  <c:v>46016</c:v>
                </c:pt>
                <c:pt idx="390">
                  <c:v>56742</c:v>
                </c:pt>
                <c:pt idx="391">
                  <c:v>81075</c:v>
                </c:pt>
                <c:pt idx="392">
                  <c:v>31211</c:v>
                </c:pt>
                <c:pt idx="393">
                  <c:v>27720</c:v>
                </c:pt>
                <c:pt idx="394">
                  <c:v>47361</c:v>
                </c:pt>
                <c:pt idx="395">
                  <c:v>35306</c:v>
                </c:pt>
                <c:pt idx="396">
                  <c:v>76469</c:v>
                </c:pt>
                <c:pt idx="397">
                  <c:v>37750</c:v>
                </c:pt>
                <c:pt idx="398">
                  <c:v>37711</c:v>
                </c:pt>
                <c:pt idx="399">
                  <c:v>31255</c:v>
                </c:pt>
                <c:pt idx="400">
                  <c:v>569201</c:v>
                </c:pt>
                <c:pt idx="401">
                  <c:v>78409</c:v>
                </c:pt>
                <c:pt idx="402">
                  <c:v>37323</c:v>
                </c:pt>
                <c:pt idx="403">
                  <c:v>97464</c:v>
                </c:pt>
                <c:pt idx="404">
                  <c:v>48941</c:v>
                </c:pt>
                <c:pt idx="405">
                  <c:v>40360</c:v>
                </c:pt>
                <c:pt idx="406">
                  <c:v>28135</c:v>
                </c:pt>
                <c:pt idx="407">
                  <c:v>40388</c:v>
                </c:pt>
                <c:pt idx="408">
                  <c:v>40164</c:v>
                </c:pt>
                <c:pt idx="409">
                  <c:v>75885</c:v>
                </c:pt>
                <c:pt idx="410">
                  <c:v>44428</c:v>
                </c:pt>
                <c:pt idx="411">
                  <c:v>113427</c:v>
                </c:pt>
                <c:pt idx="412">
                  <c:v>25510</c:v>
                </c:pt>
                <c:pt idx="413">
                  <c:v>154399</c:v>
                </c:pt>
                <c:pt idx="414">
                  <c:v>62511</c:v>
                </c:pt>
                <c:pt idx="415">
                  <c:v>49444</c:v>
                </c:pt>
                <c:pt idx="416">
                  <c:v>48071</c:v>
                </c:pt>
                <c:pt idx="417">
                  <c:v>80939</c:v>
                </c:pt>
                <c:pt idx="418">
                  <c:v>97862</c:v>
                </c:pt>
                <c:pt idx="419">
                  <c:v>25665</c:v>
                </c:pt>
                <c:pt idx="420">
                  <c:v>27301</c:v>
                </c:pt>
                <c:pt idx="421">
                  <c:v>161110</c:v>
                </c:pt>
                <c:pt idx="422">
                  <c:v>72638</c:v>
                </c:pt>
                <c:pt idx="423">
                  <c:v>77604</c:v>
                </c:pt>
                <c:pt idx="424">
                  <c:v>31162</c:v>
                </c:pt>
                <c:pt idx="425">
                  <c:v>30739</c:v>
                </c:pt>
                <c:pt idx="426">
                  <c:v>95911</c:v>
                </c:pt>
                <c:pt idx="427">
                  <c:v>89462</c:v>
                </c:pt>
                <c:pt idx="428">
                  <c:v>39761</c:v>
                </c:pt>
                <c:pt idx="429">
                  <c:v>44389</c:v>
                </c:pt>
                <c:pt idx="430">
                  <c:v>81961</c:v>
                </c:pt>
                <c:pt idx="431">
                  <c:v>171439</c:v>
                </c:pt>
                <c:pt idx="432">
                  <c:v>39626</c:v>
                </c:pt>
                <c:pt idx="433">
                  <c:v>41862</c:v>
                </c:pt>
                <c:pt idx="434">
                  <c:v>240209</c:v>
                </c:pt>
                <c:pt idx="435">
                  <c:v>38376</c:v>
                </c:pt>
                <c:pt idx="436">
                  <c:v>67897</c:v>
                </c:pt>
                <c:pt idx="437">
                  <c:v>33415</c:v>
                </c:pt>
                <c:pt idx="438">
                  <c:v>57390</c:v>
                </c:pt>
                <c:pt idx="439">
                  <c:v>113717</c:v>
                </c:pt>
                <c:pt idx="440">
                  <c:v>90670</c:v>
                </c:pt>
                <c:pt idx="441">
                  <c:v>39076</c:v>
                </c:pt>
                <c:pt idx="442">
                  <c:v>31815</c:v>
                </c:pt>
                <c:pt idx="443">
                  <c:v>53965</c:v>
                </c:pt>
                <c:pt idx="444">
                  <c:v>40368</c:v>
                </c:pt>
                <c:pt idx="445">
                  <c:v>78532</c:v>
                </c:pt>
                <c:pt idx="446">
                  <c:v>78013</c:v>
                </c:pt>
                <c:pt idx="447">
                  <c:v>37033</c:v>
                </c:pt>
                <c:pt idx="448">
                  <c:v>32308</c:v>
                </c:pt>
                <c:pt idx="449">
                  <c:v>33000</c:v>
                </c:pt>
                <c:pt idx="450">
                  <c:v>26998</c:v>
                </c:pt>
                <c:pt idx="451">
                  <c:v>38180</c:v>
                </c:pt>
                <c:pt idx="452">
                  <c:v>31247</c:v>
                </c:pt>
                <c:pt idx="453">
                  <c:v>42606</c:v>
                </c:pt>
                <c:pt idx="454">
                  <c:v>44297</c:v>
                </c:pt>
                <c:pt idx="455">
                  <c:v>47906</c:v>
                </c:pt>
                <c:pt idx="456">
                  <c:v>42901</c:v>
                </c:pt>
                <c:pt idx="457">
                  <c:v>42322</c:v>
                </c:pt>
                <c:pt idx="458">
                  <c:v>40258</c:v>
                </c:pt>
                <c:pt idx="459">
                  <c:v>75391</c:v>
                </c:pt>
                <c:pt idx="460">
                  <c:v>124821</c:v>
                </c:pt>
                <c:pt idx="461">
                  <c:v>35544</c:v>
                </c:pt>
                <c:pt idx="462">
                  <c:v>32408</c:v>
                </c:pt>
                <c:pt idx="463">
                  <c:v>31301</c:v>
                </c:pt>
                <c:pt idx="464">
                  <c:v>66765</c:v>
                </c:pt>
                <c:pt idx="465">
                  <c:v>64540</c:v>
                </c:pt>
                <c:pt idx="466">
                  <c:v>82156</c:v>
                </c:pt>
                <c:pt idx="467">
                  <c:v>28892</c:v>
                </c:pt>
                <c:pt idx="468">
                  <c:v>89468</c:v>
                </c:pt>
                <c:pt idx="469">
                  <c:v>38921</c:v>
                </c:pt>
                <c:pt idx="470">
                  <c:v>25774</c:v>
                </c:pt>
                <c:pt idx="471">
                  <c:v>36121</c:v>
                </c:pt>
                <c:pt idx="472">
                  <c:v>31969</c:v>
                </c:pt>
                <c:pt idx="473">
                  <c:v>23574</c:v>
                </c:pt>
                <c:pt idx="474">
                  <c:v>23935</c:v>
                </c:pt>
                <c:pt idx="475">
                  <c:v>27089</c:v>
                </c:pt>
                <c:pt idx="476">
                  <c:v>63142</c:v>
                </c:pt>
                <c:pt idx="477">
                  <c:v>39607</c:v>
                </c:pt>
                <c:pt idx="478">
                  <c:v>69366</c:v>
                </c:pt>
                <c:pt idx="479">
                  <c:v>35756</c:v>
                </c:pt>
                <c:pt idx="480">
                  <c:v>37932</c:v>
                </c:pt>
                <c:pt idx="481">
                  <c:v>41064</c:v>
                </c:pt>
                <c:pt idx="482">
                  <c:v>32624</c:v>
                </c:pt>
                <c:pt idx="483">
                  <c:v>36563</c:v>
                </c:pt>
                <c:pt idx="484">
                  <c:v>76217</c:v>
                </c:pt>
                <c:pt idx="485">
                  <c:v>41912</c:v>
                </c:pt>
                <c:pt idx="486">
                  <c:v>30399</c:v>
                </c:pt>
                <c:pt idx="487">
                  <c:v>57674</c:v>
                </c:pt>
                <c:pt idx="488">
                  <c:v>51425</c:v>
                </c:pt>
                <c:pt idx="489">
                  <c:v>59908</c:v>
                </c:pt>
                <c:pt idx="490">
                  <c:v>39744</c:v>
                </c:pt>
                <c:pt idx="491">
                  <c:v>186337</c:v>
                </c:pt>
                <c:pt idx="492">
                  <c:v>38041</c:v>
                </c:pt>
                <c:pt idx="493">
                  <c:v>27499</c:v>
                </c:pt>
                <c:pt idx="494">
                  <c:v>30311</c:v>
                </c:pt>
                <c:pt idx="495">
                  <c:v>45792</c:v>
                </c:pt>
                <c:pt idx="496">
                  <c:v>48562</c:v>
                </c:pt>
                <c:pt idx="497">
                  <c:v>100317</c:v>
                </c:pt>
                <c:pt idx="498">
                  <c:v>29991</c:v>
                </c:pt>
                <c:pt idx="499">
                  <c:v>121801</c:v>
                </c:pt>
                <c:pt idx="500">
                  <c:v>164184</c:v>
                </c:pt>
                <c:pt idx="501">
                  <c:v>41998</c:v>
                </c:pt>
                <c:pt idx="502">
                  <c:v>69253</c:v>
                </c:pt>
                <c:pt idx="503">
                  <c:v>55654</c:v>
                </c:pt>
                <c:pt idx="504">
                  <c:v>49051</c:v>
                </c:pt>
                <c:pt idx="505">
                  <c:v>36121</c:v>
                </c:pt>
                <c:pt idx="506">
                  <c:v>38973</c:v>
                </c:pt>
                <c:pt idx="507">
                  <c:v>126755</c:v>
                </c:pt>
                <c:pt idx="508">
                  <c:v>47701</c:v>
                </c:pt>
                <c:pt idx="509">
                  <c:v>36634</c:v>
                </c:pt>
                <c:pt idx="510">
                  <c:v>51378</c:v>
                </c:pt>
                <c:pt idx="511">
                  <c:v>92913</c:v>
                </c:pt>
                <c:pt idx="512">
                  <c:v>85705</c:v>
                </c:pt>
                <c:pt idx="513">
                  <c:v>35992</c:v>
                </c:pt>
                <c:pt idx="514">
                  <c:v>25749</c:v>
                </c:pt>
                <c:pt idx="515">
                  <c:v>37912</c:v>
                </c:pt>
                <c:pt idx="516">
                  <c:v>36356</c:v>
                </c:pt>
                <c:pt idx="517">
                  <c:v>33838</c:v>
                </c:pt>
                <c:pt idx="518">
                  <c:v>42392</c:v>
                </c:pt>
                <c:pt idx="519">
                  <c:v>46534</c:v>
                </c:pt>
                <c:pt idx="520">
                  <c:v>20861</c:v>
                </c:pt>
                <c:pt idx="521">
                  <c:v>29675</c:v>
                </c:pt>
                <c:pt idx="522">
                  <c:v>48445</c:v>
                </c:pt>
                <c:pt idx="523">
                  <c:v>46505</c:v>
                </c:pt>
                <c:pt idx="524">
                  <c:v>51305</c:v>
                </c:pt>
                <c:pt idx="525">
                  <c:v>44685</c:v>
                </c:pt>
                <c:pt idx="526">
                  <c:v>71695</c:v>
                </c:pt>
                <c:pt idx="527">
                  <c:v>95889</c:v>
                </c:pt>
                <c:pt idx="528">
                  <c:v>26892</c:v>
                </c:pt>
                <c:pt idx="529">
                  <c:v>47674</c:v>
                </c:pt>
                <c:pt idx="530">
                  <c:v>104066</c:v>
                </c:pt>
                <c:pt idx="531">
                  <c:v>37413</c:v>
                </c:pt>
                <c:pt idx="532">
                  <c:v>41041</c:v>
                </c:pt>
                <c:pt idx="533">
                  <c:v>43548</c:v>
                </c:pt>
                <c:pt idx="534">
                  <c:v>47937</c:v>
                </c:pt>
                <c:pt idx="535">
                  <c:v>38534</c:v>
                </c:pt>
                <c:pt idx="536">
                  <c:v>59858</c:v>
                </c:pt>
                <c:pt idx="537">
                  <c:v>36881</c:v>
                </c:pt>
                <c:pt idx="538">
                  <c:v>76639</c:v>
                </c:pt>
                <c:pt idx="539">
                  <c:v>281995</c:v>
                </c:pt>
                <c:pt idx="540">
                  <c:v>29564</c:v>
                </c:pt>
                <c:pt idx="541">
                  <c:v>75976</c:v>
                </c:pt>
                <c:pt idx="542">
                  <c:v>38746</c:v>
                </c:pt>
                <c:pt idx="543">
                  <c:v>36649</c:v>
                </c:pt>
                <c:pt idx="544">
                  <c:v>146885</c:v>
                </c:pt>
                <c:pt idx="545">
                  <c:v>50825</c:v>
                </c:pt>
                <c:pt idx="546">
                  <c:v>58007</c:v>
                </c:pt>
                <c:pt idx="547">
                  <c:v>36567</c:v>
                </c:pt>
                <c:pt idx="548">
                  <c:v>49109</c:v>
                </c:pt>
                <c:pt idx="549">
                  <c:v>115379</c:v>
                </c:pt>
                <c:pt idx="550">
                  <c:v>43589</c:v>
                </c:pt>
                <c:pt idx="551">
                  <c:v>57092</c:v>
                </c:pt>
                <c:pt idx="552">
                  <c:v>26052</c:v>
                </c:pt>
                <c:pt idx="553">
                  <c:v>47344</c:v>
                </c:pt>
                <c:pt idx="554">
                  <c:v>134412</c:v>
                </c:pt>
                <c:pt idx="555">
                  <c:v>23570</c:v>
                </c:pt>
                <c:pt idx="556">
                  <c:v>78106</c:v>
                </c:pt>
                <c:pt idx="557">
                  <c:v>55667</c:v>
                </c:pt>
                <c:pt idx="558">
                  <c:v>220666</c:v>
                </c:pt>
                <c:pt idx="559">
                  <c:v>38913</c:v>
                </c:pt>
                <c:pt idx="560">
                  <c:v>61806</c:v>
                </c:pt>
                <c:pt idx="561">
                  <c:v>57013</c:v>
                </c:pt>
                <c:pt idx="562">
                  <c:v>44798</c:v>
                </c:pt>
                <c:pt idx="563">
                  <c:v>31687</c:v>
                </c:pt>
                <c:pt idx="564">
                  <c:v>167436</c:v>
                </c:pt>
                <c:pt idx="565">
                  <c:v>136558</c:v>
                </c:pt>
                <c:pt idx="566">
                  <c:v>38390</c:v>
                </c:pt>
                <c:pt idx="567">
                  <c:v>138688</c:v>
                </c:pt>
                <c:pt idx="568">
                  <c:v>78119</c:v>
                </c:pt>
                <c:pt idx="569">
                  <c:v>45477</c:v>
                </c:pt>
                <c:pt idx="570">
                  <c:v>81123</c:v>
                </c:pt>
                <c:pt idx="571">
                  <c:v>39571</c:v>
                </c:pt>
                <c:pt idx="572">
                  <c:v>24525</c:v>
                </c:pt>
                <c:pt idx="573">
                  <c:v>32115</c:v>
                </c:pt>
                <c:pt idx="574">
                  <c:v>26088</c:v>
                </c:pt>
                <c:pt idx="575">
                  <c:v>38693</c:v>
                </c:pt>
                <c:pt idx="576">
                  <c:v>176727</c:v>
                </c:pt>
                <c:pt idx="577">
                  <c:v>101471</c:v>
                </c:pt>
                <c:pt idx="578">
                  <c:v>80311</c:v>
                </c:pt>
                <c:pt idx="579">
                  <c:v>89214</c:v>
                </c:pt>
                <c:pt idx="580">
                  <c:v>35158</c:v>
                </c:pt>
                <c:pt idx="581">
                  <c:v>205490</c:v>
                </c:pt>
                <c:pt idx="582">
                  <c:v>34067</c:v>
                </c:pt>
                <c:pt idx="583">
                  <c:v>30008</c:v>
                </c:pt>
                <c:pt idx="584">
                  <c:v>44636</c:v>
                </c:pt>
                <c:pt idx="585">
                  <c:v>38981</c:v>
                </c:pt>
                <c:pt idx="586">
                  <c:v>28647</c:v>
                </c:pt>
                <c:pt idx="587">
                  <c:v>38167</c:v>
                </c:pt>
                <c:pt idx="588">
                  <c:v>26251</c:v>
                </c:pt>
                <c:pt idx="589">
                  <c:v>136118</c:v>
                </c:pt>
                <c:pt idx="590">
                  <c:v>102665</c:v>
                </c:pt>
                <c:pt idx="591">
                  <c:v>23159</c:v>
                </c:pt>
                <c:pt idx="592">
                  <c:v>32270</c:v>
                </c:pt>
                <c:pt idx="593">
                  <c:v>56847</c:v>
                </c:pt>
                <c:pt idx="594">
                  <c:v>59360</c:v>
                </c:pt>
                <c:pt idx="595">
                  <c:v>20240</c:v>
                </c:pt>
                <c:pt idx="596">
                  <c:v>35155</c:v>
                </c:pt>
                <c:pt idx="597">
                  <c:v>138809</c:v>
                </c:pt>
                <c:pt idx="598">
                  <c:v>38764</c:v>
                </c:pt>
                <c:pt idx="599">
                  <c:v>45879</c:v>
                </c:pt>
                <c:pt idx="600">
                  <c:v>47084</c:v>
                </c:pt>
                <c:pt idx="601">
                  <c:v>27950</c:v>
                </c:pt>
                <c:pt idx="602">
                  <c:v>176471</c:v>
                </c:pt>
                <c:pt idx="603">
                  <c:v>23341</c:v>
                </c:pt>
                <c:pt idx="604">
                  <c:v>119568</c:v>
                </c:pt>
                <c:pt idx="605">
                  <c:v>24989</c:v>
                </c:pt>
                <c:pt idx="606">
                  <c:v>49883</c:v>
                </c:pt>
                <c:pt idx="607">
                  <c:v>41607</c:v>
                </c:pt>
                <c:pt idx="608">
                  <c:v>41308</c:v>
                </c:pt>
                <c:pt idx="609">
                  <c:v>100009</c:v>
                </c:pt>
                <c:pt idx="610">
                  <c:v>28710</c:v>
                </c:pt>
                <c:pt idx="611">
                  <c:v>50067</c:v>
                </c:pt>
                <c:pt idx="612">
                  <c:v>22652</c:v>
                </c:pt>
                <c:pt idx="613">
                  <c:v>34569</c:v>
                </c:pt>
                <c:pt idx="614">
                  <c:v>38872</c:v>
                </c:pt>
                <c:pt idx="615">
                  <c:v>37823</c:v>
                </c:pt>
                <c:pt idx="616">
                  <c:v>46865</c:v>
                </c:pt>
                <c:pt idx="617">
                  <c:v>62946</c:v>
                </c:pt>
                <c:pt idx="618">
                  <c:v>80679</c:v>
                </c:pt>
                <c:pt idx="619">
                  <c:v>25915</c:v>
                </c:pt>
                <c:pt idx="620">
                  <c:v>129148</c:v>
                </c:pt>
                <c:pt idx="621">
                  <c:v>27283</c:v>
                </c:pt>
                <c:pt idx="622">
                  <c:v>32356</c:v>
                </c:pt>
                <c:pt idx="623">
                  <c:v>239445</c:v>
                </c:pt>
                <c:pt idx="624">
                  <c:v>70269</c:v>
                </c:pt>
                <c:pt idx="625">
                  <c:v>34099</c:v>
                </c:pt>
                <c:pt idx="626">
                  <c:v>132495</c:v>
                </c:pt>
                <c:pt idx="627">
                  <c:v>37096</c:v>
                </c:pt>
                <c:pt idx="628">
                  <c:v>23121</c:v>
                </c:pt>
                <c:pt idx="629">
                  <c:v>45583</c:v>
                </c:pt>
                <c:pt idx="630">
                  <c:v>37730</c:v>
                </c:pt>
                <c:pt idx="631">
                  <c:v>79955</c:v>
                </c:pt>
                <c:pt idx="632">
                  <c:v>32836</c:v>
                </c:pt>
                <c:pt idx="633">
                  <c:v>63920</c:v>
                </c:pt>
                <c:pt idx="634">
                  <c:v>23762</c:v>
                </c:pt>
                <c:pt idx="635">
                  <c:v>72957</c:v>
                </c:pt>
                <c:pt idx="636">
                  <c:v>317237</c:v>
                </c:pt>
                <c:pt idx="637">
                  <c:v>98086</c:v>
                </c:pt>
                <c:pt idx="638">
                  <c:v>67346</c:v>
                </c:pt>
                <c:pt idx="639">
                  <c:v>61217</c:v>
                </c:pt>
                <c:pt idx="640">
                  <c:v>46827</c:v>
                </c:pt>
                <c:pt idx="641">
                  <c:v>19999</c:v>
                </c:pt>
                <c:pt idx="642">
                  <c:v>368759</c:v>
                </c:pt>
                <c:pt idx="643">
                  <c:v>150409</c:v>
                </c:pt>
                <c:pt idx="644">
                  <c:v>43948</c:v>
                </c:pt>
                <c:pt idx="645">
                  <c:v>31578</c:v>
                </c:pt>
                <c:pt idx="646">
                  <c:v>54171</c:v>
                </c:pt>
                <c:pt idx="647">
                  <c:v>152155</c:v>
                </c:pt>
                <c:pt idx="648">
                  <c:v>28805</c:v>
                </c:pt>
                <c:pt idx="649">
                  <c:v>29660</c:v>
                </c:pt>
                <c:pt idx="650">
                  <c:v>61351</c:v>
                </c:pt>
                <c:pt idx="651">
                  <c:v>23406</c:v>
                </c:pt>
                <c:pt idx="652">
                  <c:v>49420</c:v>
                </c:pt>
                <c:pt idx="653">
                  <c:v>30672</c:v>
                </c:pt>
                <c:pt idx="654">
                  <c:v>50942</c:v>
                </c:pt>
                <c:pt idx="655">
                  <c:v>25603</c:v>
                </c:pt>
                <c:pt idx="656">
                  <c:v>102419</c:v>
                </c:pt>
                <c:pt idx="657">
                  <c:v>178394</c:v>
                </c:pt>
                <c:pt idx="658">
                  <c:v>77431</c:v>
                </c:pt>
                <c:pt idx="659">
                  <c:v>331626</c:v>
                </c:pt>
                <c:pt idx="660">
                  <c:v>107079</c:v>
                </c:pt>
                <c:pt idx="661">
                  <c:v>42716</c:v>
                </c:pt>
                <c:pt idx="662">
                  <c:v>73376</c:v>
                </c:pt>
                <c:pt idx="663">
                  <c:v>25053</c:v>
                </c:pt>
                <c:pt idx="664">
                  <c:v>26619</c:v>
                </c:pt>
                <c:pt idx="665">
                  <c:v>33524</c:v>
                </c:pt>
                <c:pt idx="666">
                  <c:v>37149</c:v>
                </c:pt>
                <c:pt idx="667">
                  <c:v>48187</c:v>
                </c:pt>
                <c:pt idx="668">
                  <c:v>74305</c:v>
                </c:pt>
                <c:pt idx="669">
                  <c:v>80070</c:v>
                </c:pt>
                <c:pt idx="670">
                  <c:v>97611</c:v>
                </c:pt>
                <c:pt idx="671">
                  <c:v>54488</c:v>
                </c:pt>
                <c:pt idx="672">
                  <c:v>126131</c:v>
                </c:pt>
                <c:pt idx="673">
                  <c:v>25339</c:v>
                </c:pt>
                <c:pt idx="674">
                  <c:v>48895</c:v>
                </c:pt>
                <c:pt idx="675">
                  <c:v>21256</c:v>
                </c:pt>
                <c:pt idx="676">
                  <c:v>80236</c:v>
                </c:pt>
                <c:pt idx="677">
                  <c:v>53036</c:v>
                </c:pt>
                <c:pt idx="678">
                  <c:v>90080</c:v>
                </c:pt>
                <c:pt idx="679">
                  <c:v>51775</c:v>
                </c:pt>
                <c:pt idx="680">
                  <c:v>66827</c:v>
                </c:pt>
                <c:pt idx="681">
                  <c:v>52020</c:v>
                </c:pt>
                <c:pt idx="682">
                  <c:v>60809</c:v>
                </c:pt>
                <c:pt idx="683">
                  <c:v>31235</c:v>
                </c:pt>
                <c:pt idx="684">
                  <c:v>43850</c:v>
                </c:pt>
                <c:pt idx="685">
                  <c:v>150537</c:v>
                </c:pt>
                <c:pt idx="686">
                  <c:v>38958</c:v>
                </c:pt>
                <c:pt idx="687">
                  <c:v>35549</c:v>
                </c:pt>
                <c:pt idx="688">
                  <c:v>35684</c:v>
                </c:pt>
                <c:pt idx="689">
                  <c:v>62091</c:v>
                </c:pt>
                <c:pt idx="690">
                  <c:v>136292</c:v>
                </c:pt>
                <c:pt idx="691">
                  <c:v>45586</c:v>
                </c:pt>
                <c:pt idx="692">
                  <c:v>26910</c:v>
                </c:pt>
                <c:pt idx="693">
                  <c:v>55425</c:v>
                </c:pt>
                <c:pt idx="694">
                  <c:v>22941</c:v>
                </c:pt>
                <c:pt idx="695">
                  <c:v>30097</c:v>
                </c:pt>
                <c:pt idx="696">
                  <c:v>40574</c:v>
                </c:pt>
                <c:pt idx="697">
                  <c:v>47031</c:v>
                </c:pt>
                <c:pt idx="698">
                  <c:v>113467</c:v>
                </c:pt>
                <c:pt idx="699">
                  <c:v>38970</c:v>
                </c:pt>
                <c:pt idx="700">
                  <c:v>149673</c:v>
                </c:pt>
                <c:pt idx="701">
                  <c:v>45945</c:v>
                </c:pt>
                <c:pt idx="702">
                  <c:v>152944</c:v>
                </c:pt>
                <c:pt idx="703">
                  <c:v>39290</c:v>
                </c:pt>
                <c:pt idx="704">
                  <c:v>69512</c:v>
                </c:pt>
                <c:pt idx="705">
                  <c:v>38776</c:v>
                </c:pt>
                <c:pt idx="706">
                  <c:v>29791</c:v>
                </c:pt>
                <c:pt idx="707">
                  <c:v>37411</c:v>
                </c:pt>
                <c:pt idx="708">
                  <c:v>43497</c:v>
                </c:pt>
                <c:pt idx="709">
                  <c:v>75606</c:v>
                </c:pt>
                <c:pt idx="710">
                  <c:v>91746</c:v>
                </c:pt>
                <c:pt idx="711">
                  <c:v>47241</c:v>
                </c:pt>
                <c:pt idx="712">
                  <c:v>58738</c:v>
                </c:pt>
                <c:pt idx="713">
                  <c:v>26337</c:v>
                </c:pt>
                <c:pt idx="714">
                  <c:v>42324</c:v>
                </c:pt>
                <c:pt idx="715">
                  <c:v>39640</c:v>
                </c:pt>
                <c:pt idx="716">
                  <c:v>40901</c:v>
                </c:pt>
                <c:pt idx="717">
                  <c:v>27223</c:v>
                </c:pt>
                <c:pt idx="718">
                  <c:v>32365</c:v>
                </c:pt>
                <c:pt idx="719">
                  <c:v>46854</c:v>
                </c:pt>
                <c:pt idx="720">
                  <c:v>52213</c:v>
                </c:pt>
                <c:pt idx="721">
                  <c:v>25313</c:v>
                </c:pt>
                <c:pt idx="722">
                  <c:v>105400</c:v>
                </c:pt>
                <c:pt idx="723">
                  <c:v>60311</c:v>
                </c:pt>
                <c:pt idx="724">
                  <c:v>45828</c:v>
                </c:pt>
                <c:pt idx="725">
                  <c:v>23000</c:v>
                </c:pt>
                <c:pt idx="726">
                  <c:v>48485</c:v>
                </c:pt>
                <c:pt idx="727">
                  <c:v>53538</c:v>
                </c:pt>
                <c:pt idx="728">
                  <c:v>49719</c:v>
                </c:pt>
                <c:pt idx="729">
                  <c:v>60203</c:v>
                </c:pt>
                <c:pt idx="730">
                  <c:v>25677</c:v>
                </c:pt>
                <c:pt idx="731">
                  <c:v>39702</c:v>
                </c:pt>
                <c:pt idx="732">
                  <c:v>30330</c:v>
                </c:pt>
                <c:pt idx="733">
                  <c:v>34409</c:v>
                </c:pt>
                <c:pt idx="734">
                  <c:v>134407</c:v>
                </c:pt>
                <c:pt idx="735">
                  <c:v>38473</c:v>
                </c:pt>
                <c:pt idx="736">
                  <c:v>49186</c:v>
                </c:pt>
                <c:pt idx="737">
                  <c:v>68568</c:v>
                </c:pt>
                <c:pt idx="738">
                  <c:v>31556</c:v>
                </c:pt>
                <c:pt idx="739">
                  <c:v>33441</c:v>
                </c:pt>
                <c:pt idx="740">
                  <c:v>60526</c:v>
                </c:pt>
                <c:pt idx="741">
                  <c:v>46664</c:v>
                </c:pt>
                <c:pt idx="742">
                  <c:v>46879</c:v>
                </c:pt>
                <c:pt idx="743">
                  <c:v>52399</c:v>
                </c:pt>
                <c:pt idx="744">
                  <c:v>47381</c:v>
                </c:pt>
                <c:pt idx="745">
                  <c:v>39261</c:v>
                </c:pt>
                <c:pt idx="746">
                  <c:v>73636</c:v>
                </c:pt>
                <c:pt idx="747">
                  <c:v>23189</c:v>
                </c:pt>
                <c:pt idx="748">
                  <c:v>37939</c:v>
                </c:pt>
                <c:pt idx="749">
                  <c:v>38145</c:v>
                </c:pt>
                <c:pt idx="750">
                  <c:v>39088</c:v>
                </c:pt>
                <c:pt idx="751">
                  <c:v>26421</c:v>
                </c:pt>
                <c:pt idx="752">
                  <c:v>196187</c:v>
                </c:pt>
                <c:pt idx="753">
                  <c:v>42366</c:v>
                </c:pt>
                <c:pt idx="754">
                  <c:v>57252</c:v>
                </c:pt>
                <c:pt idx="755">
                  <c:v>35801</c:v>
                </c:pt>
                <c:pt idx="756">
                  <c:v>84734</c:v>
                </c:pt>
                <c:pt idx="757">
                  <c:v>31371</c:v>
                </c:pt>
                <c:pt idx="758">
                  <c:v>42881</c:v>
                </c:pt>
                <c:pt idx="759">
                  <c:v>39694</c:v>
                </c:pt>
                <c:pt idx="760">
                  <c:v>76342</c:v>
                </c:pt>
                <c:pt idx="761">
                  <c:v>32671</c:v>
                </c:pt>
                <c:pt idx="762">
                  <c:v>29116</c:v>
                </c:pt>
                <c:pt idx="763">
                  <c:v>31114</c:v>
                </c:pt>
                <c:pt idx="764">
                  <c:v>93449</c:v>
                </c:pt>
                <c:pt idx="765">
                  <c:v>51657</c:v>
                </c:pt>
                <c:pt idx="766">
                  <c:v>28895</c:v>
                </c:pt>
                <c:pt idx="767">
                  <c:v>67694</c:v>
                </c:pt>
                <c:pt idx="768">
                  <c:v>24875</c:v>
                </c:pt>
                <c:pt idx="769">
                  <c:v>30527</c:v>
                </c:pt>
                <c:pt idx="770">
                  <c:v>54348</c:v>
                </c:pt>
                <c:pt idx="771">
                  <c:v>102897</c:v>
                </c:pt>
                <c:pt idx="772">
                  <c:v>66533</c:v>
                </c:pt>
                <c:pt idx="773">
                  <c:v>76836</c:v>
                </c:pt>
                <c:pt idx="774">
                  <c:v>70088</c:v>
                </c:pt>
                <c:pt idx="775">
                  <c:v>50815</c:v>
                </c:pt>
                <c:pt idx="776">
                  <c:v>186373</c:v>
                </c:pt>
                <c:pt idx="777">
                  <c:v>33534</c:v>
                </c:pt>
                <c:pt idx="778">
                  <c:v>34438</c:v>
                </c:pt>
                <c:pt idx="779">
                  <c:v>33751</c:v>
                </c:pt>
                <c:pt idx="780">
                  <c:v>44653</c:v>
                </c:pt>
                <c:pt idx="781">
                  <c:v>82155</c:v>
                </c:pt>
                <c:pt idx="782">
                  <c:v>168464</c:v>
                </c:pt>
                <c:pt idx="783">
                  <c:v>108584</c:v>
                </c:pt>
                <c:pt idx="784">
                  <c:v>203815</c:v>
                </c:pt>
                <c:pt idx="785">
                  <c:v>27355</c:v>
                </c:pt>
                <c:pt idx="786">
                  <c:v>30526</c:v>
                </c:pt>
                <c:pt idx="787">
                  <c:v>43993</c:v>
                </c:pt>
                <c:pt idx="788">
                  <c:v>43479</c:v>
                </c:pt>
                <c:pt idx="789">
                  <c:v>34213</c:v>
                </c:pt>
                <c:pt idx="790">
                  <c:v>42509</c:v>
                </c:pt>
                <c:pt idx="791">
                  <c:v>25546</c:v>
                </c:pt>
                <c:pt idx="792">
                  <c:v>31446</c:v>
                </c:pt>
                <c:pt idx="793">
                  <c:v>37338</c:v>
                </c:pt>
                <c:pt idx="794">
                  <c:v>36221</c:v>
                </c:pt>
                <c:pt idx="795">
                  <c:v>88380</c:v>
                </c:pt>
                <c:pt idx="796">
                  <c:v>61404</c:v>
                </c:pt>
                <c:pt idx="797">
                  <c:v>30772</c:v>
                </c:pt>
                <c:pt idx="798">
                  <c:v>113689</c:v>
                </c:pt>
                <c:pt idx="799">
                  <c:v>50433</c:v>
                </c:pt>
                <c:pt idx="800">
                  <c:v>65502</c:v>
                </c:pt>
                <c:pt idx="801">
                  <c:v>23560</c:v>
                </c:pt>
                <c:pt idx="802">
                  <c:v>45127</c:v>
                </c:pt>
                <c:pt idx="803">
                  <c:v>58305</c:v>
                </c:pt>
                <c:pt idx="804">
                  <c:v>24846</c:v>
                </c:pt>
                <c:pt idx="805">
                  <c:v>46502</c:v>
                </c:pt>
                <c:pt idx="806">
                  <c:v>51660</c:v>
                </c:pt>
                <c:pt idx="807">
                  <c:v>49159</c:v>
                </c:pt>
                <c:pt idx="808">
                  <c:v>82253</c:v>
                </c:pt>
                <c:pt idx="809">
                  <c:v>49924</c:v>
                </c:pt>
                <c:pt idx="810">
                  <c:v>274787</c:v>
                </c:pt>
                <c:pt idx="811">
                  <c:v>36235</c:v>
                </c:pt>
                <c:pt idx="812">
                  <c:v>27321</c:v>
                </c:pt>
                <c:pt idx="813">
                  <c:v>40393</c:v>
                </c:pt>
                <c:pt idx="814">
                  <c:v>44083</c:v>
                </c:pt>
                <c:pt idx="815">
                  <c:v>25945</c:v>
                </c:pt>
                <c:pt idx="816">
                  <c:v>27538</c:v>
                </c:pt>
                <c:pt idx="817">
                  <c:v>75441</c:v>
                </c:pt>
                <c:pt idx="818">
                  <c:v>24436</c:v>
                </c:pt>
                <c:pt idx="819">
                  <c:v>36466</c:v>
                </c:pt>
                <c:pt idx="820">
                  <c:v>45434</c:v>
                </c:pt>
                <c:pt idx="821">
                  <c:v>92859</c:v>
                </c:pt>
                <c:pt idx="822">
                  <c:v>59083</c:v>
                </c:pt>
                <c:pt idx="823">
                  <c:v>67928</c:v>
                </c:pt>
                <c:pt idx="824">
                  <c:v>26953</c:v>
                </c:pt>
                <c:pt idx="825">
                  <c:v>41191</c:v>
                </c:pt>
                <c:pt idx="826">
                  <c:v>52077</c:v>
                </c:pt>
                <c:pt idx="827">
                  <c:v>38327</c:v>
                </c:pt>
                <c:pt idx="828">
                  <c:v>62820</c:v>
                </c:pt>
                <c:pt idx="829">
                  <c:v>91790</c:v>
                </c:pt>
                <c:pt idx="830">
                  <c:v>26053</c:v>
                </c:pt>
                <c:pt idx="831">
                  <c:v>42246</c:v>
                </c:pt>
                <c:pt idx="832">
                  <c:v>54282</c:v>
                </c:pt>
                <c:pt idx="833">
                  <c:v>208800</c:v>
                </c:pt>
                <c:pt idx="834">
                  <c:v>30733</c:v>
                </c:pt>
                <c:pt idx="835">
                  <c:v>99260</c:v>
                </c:pt>
                <c:pt idx="836">
                  <c:v>32476</c:v>
                </c:pt>
                <c:pt idx="837">
                  <c:v>46471</c:v>
                </c:pt>
                <c:pt idx="838">
                  <c:v>184562</c:v>
                </c:pt>
                <c:pt idx="839">
                  <c:v>68296</c:v>
                </c:pt>
                <c:pt idx="840">
                  <c:v>498800</c:v>
                </c:pt>
                <c:pt idx="841">
                  <c:v>59988</c:v>
                </c:pt>
                <c:pt idx="842">
                  <c:v>43615</c:v>
                </c:pt>
                <c:pt idx="843">
                  <c:v>195572</c:v>
                </c:pt>
                <c:pt idx="844">
                  <c:v>34300</c:v>
                </c:pt>
                <c:pt idx="845">
                  <c:v>54706</c:v>
                </c:pt>
                <c:pt idx="846">
                  <c:v>33996</c:v>
                </c:pt>
                <c:pt idx="847">
                  <c:v>29792</c:v>
                </c:pt>
                <c:pt idx="848">
                  <c:v>107606</c:v>
                </c:pt>
                <c:pt idx="849">
                  <c:v>219776</c:v>
                </c:pt>
                <c:pt idx="850">
                  <c:v>114921</c:v>
                </c:pt>
                <c:pt idx="851">
                  <c:v>53217</c:v>
                </c:pt>
                <c:pt idx="852">
                  <c:v>31000</c:v>
                </c:pt>
                <c:pt idx="853">
                  <c:v>26679</c:v>
                </c:pt>
                <c:pt idx="854">
                  <c:v>28244</c:v>
                </c:pt>
                <c:pt idx="855">
                  <c:v>38626</c:v>
                </c:pt>
                <c:pt idx="856">
                  <c:v>44370</c:v>
                </c:pt>
                <c:pt idx="857">
                  <c:v>42832</c:v>
                </c:pt>
                <c:pt idx="858">
                  <c:v>144763</c:v>
                </c:pt>
                <c:pt idx="859">
                  <c:v>30893</c:v>
                </c:pt>
                <c:pt idx="860">
                  <c:v>28625</c:v>
                </c:pt>
                <c:pt idx="861">
                  <c:v>79616</c:v>
                </c:pt>
                <c:pt idx="862">
                  <c:v>46624</c:v>
                </c:pt>
                <c:pt idx="863">
                  <c:v>45842</c:v>
                </c:pt>
                <c:pt idx="864">
                  <c:v>320946</c:v>
                </c:pt>
                <c:pt idx="865">
                  <c:v>40489</c:v>
                </c:pt>
                <c:pt idx="866">
                  <c:v>77278</c:v>
                </c:pt>
                <c:pt idx="867">
                  <c:v>57974</c:v>
                </c:pt>
                <c:pt idx="868">
                  <c:v>100866</c:v>
                </c:pt>
                <c:pt idx="869">
                  <c:v>26314</c:v>
                </c:pt>
                <c:pt idx="870">
                  <c:v>57564</c:v>
                </c:pt>
                <c:pt idx="871">
                  <c:v>30651</c:v>
                </c:pt>
                <c:pt idx="872">
                  <c:v>33477</c:v>
                </c:pt>
                <c:pt idx="873">
                  <c:v>236642</c:v>
                </c:pt>
                <c:pt idx="874">
                  <c:v>44170</c:v>
                </c:pt>
                <c:pt idx="875">
                  <c:v>69354</c:v>
                </c:pt>
                <c:pt idx="876">
                  <c:v>118316</c:v>
                </c:pt>
                <c:pt idx="877">
                  <c:v>235033</c:v>
                </c:pt>
                <c:pt idx="878">
                  <c:v>51446</c:v>
                </c:pt>
                <c:pt idx="879">
                  <c:v>42654</c:v>
                </c:pt>
                <c:pt idx="880">
                  <c:v>38579</c:v>
                </c:pt>
                <c:pt idx="881">
                  <c:v>32099</c:v>
                </c:pt>
                <c:pt idx="882">
                  <c:v>22927</c:v>
                </c:pt>
                <c:pt idx="883">
                  <c:v>44319</c:v>
                </c:pt>
                <c:pt idx="884">
                  <c:v>76008</c:v>
                </c:pt>
                <c:pt idx="885">
                  <c:v>38155</c:v>
                </c:pt>
                <c:pt idx="886">
                  <c:v>29903</c:v>
                </c:pt>
                <c:pt idx="887">
                  <c:v>49816</c:v>
                </c:pt>
                <c:pt idx="888">
                  <c:v>55158</c:v>
                </c:pt>
                <c:pt idx="889">
                  <c:v>44925</c:v>
                </c:pt>
                <c:pt idx="890">
                  <c:v>93851</c:v>
                </c:pt>
                <c:pt idx="891">
                  <c:v>72889</c:v>
                </c:pt>
                <c:pt idx="892">
                  <c:v>114939</c:v>
                </c:pt>
                <c:pt idx="893">
                  <c:v>21749</c:v>
                </c:pt>
                <c:pt idx="894">
                  <c:v>43539</c:v>
                </c:pt>
                <c:pt idx="895">
                  <c:v>35479</c:v>
                </c:pt>
                <c:pt idx="896">
                  <c:v>24927</c:v>
                </c:pt>
                <c:pt idx="897">
                  <c:v>47258</c:v>
                </c:pt>
                <c:pt idx="898">
                  <c:v>346315</c:v>
                </c:pt>
                <c:pt idx="899">
                  <c:v>22796</c:v>
                </c:pt>
                <c:pt idx="900">
                  <c:v>112603</c:v>
                </c:pt>
                <c:pt idx="901">
                  <c:v>52329</c:v>
                </c:pt>
                <c:pt idx="902">
                  <c:v>26058</c:v>
                </c:pt>
                <c:pt idx="903">
                  <c:v>37919</c:v>
                </c:pt>
                <c:pt idx="904">
                  <c:v>75554</c:v>
                </c:pt>
                <c:pt idx="905">
                  <c:v>52702</c:v>
                </c:pt>
                <c:pt idx="906">
                  <c:v>89010</c:v>
                </c:pt>
                <c:pt idx="907">
                  <c:v>44069</c:v>
                </c:pt>
                <c:pt idx="908">
                  <c:v>44602</c:v>
                </c:pt>
                <c:pt idx="909">
                  <c:v>56898</c:v>
                </c:pt>
                <c:pt idx="910">
                  <c:v>63165</c:v>
                </c:pt>
                <c:pt idx="911">
                  <c:v>34214</c:v>
                </c:pt>
                <c:pt idx="912">
                  <c:v>47501</c:v>
                </c:pt>
                <c:pt idx="913">
                  <c:v>51461</c:v>
                </c:pt>
                <c:pt idx="914">
                  <c:v>40352</c:v>
                </c:pt>
                <c:pt idx="915">
                  <c:v>81232</c:v>
                </c:pt>
                <c:pt idx="916">
                  <c:v>36135</c:v>
                </c:pt>
                <c:pt idx="917">
                  <c:v>160397</c:v>
                </c:pt>
                <c:pt idx="918">
                  <c:v>48325</c:v>
                </c:pt>
                <c:pt idx="919">
                  <c:v>110865</c:v>
                </c:pt>
                <c:pt idx="920">
                  <c:v>26735</c:v>
                </c:pt>
                <c:pt idx="921">
                  <c:v>40805</c:v>
                </c:pt>
                <c:pt idx="922">
                  <c:v>49605</c:v>
                </c:pt>
                <c:pt idx="923">
                  <c:v>45233</c:v>
                </c:pt>
                <c:pt idx="924">
                  <c:v>36288</c:v>
                </c:pt>
                <c:pt idx="925">
                  <c:v>63835</c:v>
                </c:pt>
                <c:pt idx="926">
                  <c:v>44316</c:v>
                </c:pt>
                <c:pt idx="927">
                  <c:v>41914</c:v>
                </c:pt>
                <c:pt idx="928">
                  <c:v>40854</c:v>
                </c:pt>
                <c:pt idx="929">
                  <c:v>124323</c:v>
                </c:pt>
                <c:pt idx="930">
                  <c:v>59186</c:v>
                </c:pt>
                <c:pt idx="931">
                  <c:v>33473</c:v>
                </c:pt>
                <c:pt idx="932">
                  <c:v>48038</c:v>
                </c:pt>
                <c:pt idx="933">
                  <c:v>68114</c:v>
                </c:pt>
                <c:pt idx="934">
                  <c:v>44511</c:v>
                </c:pt>
                <c:pt idx="935">
                  <c:v>107536</c:v>
                </c:pt>
                <c:pt idx="936">
                  <c:v>62175</c:v>
                </c:pt>
                <c:pt idx="937">
                  <c:v>32358</c:v>
                </c:pt>
                <c:pt idx="938">
                  <c:v>53738</c:v>
                </c:pt>
                <c:pt idx="939">
                  <c:v>41575</c:v>
                </c:pt>
                <c:pt idx="940">
                  <c:v>62539</c:v>
                </c:pt>
                <c:pt idx="941">
                  <c:v>62254</c:v>
                </c:pt>
                <c:pt idx="942">
                  <c:v>129373</c:v>
                </c:pt>
                <c:pt idx="943">
                  <c:v>101132</c:v>
                </c:pt>
                <c:pt idx="944">
                  <c:v>37290</c:v>
                </c:pt>
                <c:pt idx="945">
                  <c:v>51865</c:v>
                </c:pt>
                <c:pt idx="946">
                  <c:v>31831</c:v>
                </c:pt>
                <c:pt idx="947">
                  <c:v>44845</c:v>
                </c:pt>
                <c:pt idx="948">
                  <c:v>62861</c:v>
                </c:pt>
                <c:pt idx="949">
                  <c:v>37636</c:v>
                </c:pt>
                <c:pt idx="950">
                  <c:v>49685</c:v>
                </c:pt>
                <c:pt idx="951">
                  <c:v>29713</c:v>
                </c:pt>
                <c:pt idx="952">
                  <c:v>110943</c:v>
                </c:pt>
                <c:pt idx="953">
                  <c:v>60212</c:v>
                </c:pt>
                <c:pt idx="954">
                  <c:v>36108</c:v>
                </c:pt>
                <c:pt idx="955">
                  <c:v>43612</c:v>
                </c:pt>
                <c:pt idx="956">
                  <c:v>97195</c:v>
                </c:pt>
                <c:pt idx="957">
                  <c:v>123652</c:v>
                </c:pt>
                <c:pt idx="958">
                  <c:v>40922</c:v>
                </c:pt>
                <c:pt idx="959">
                  <c:v>28846</c:v>
                </c:pt>
                <c:pt idx="960">
                  <c:v>35493</c:v>
                </c:pt>
                <c:pt idx="961">
                  <c:v>54840</c:v>
                </c:pt>
                <c:pt idx="962">
                  <c:v>36298</c:v>
                </c:pt>
                <c:pt idx="963">
                  <c:v>24154</c:v>
                </c:pt>
                <c:pt idx="964">
                  <c:v>90325</c:v>
                </c:pt>
                <c:pt idx="965">
                  <c:v>42176</c:v>
                </c:pt>
                <c:pt idx="966">
                  <c:v>38927</c:v>
                </c:pt>
                <c:pt idx="967">
                  <c:v>51347</c:v>
                </c:pt>
                <c:pt idx="968">
                  <c:v>74659</c:v>
                </c:pt>
                <c:pt idx="969">
                  <c:v>48237</c:v>
                </c:pt>
                <c:pt idx="970">
                  <c:v>73085</c:v>
                </c:pt>
                <c:pt idx="971">
                  <c:v>53510</c:v>
                </c:pt>
                <c:pt idx="972">
                  <c:v>57660</c:v>
                </c:pt>
                <c:pt idx="973">
                  <c:v>44429</c:v>
                </c:pt>
                <c:pt idx="974">
                  <c:v>156624</c:v>
                </c:pt>
                <c:pt idx="975">
                  <c:v>107583</c:v>
                </c:pt>
                <c:pt idx="976">
                  <c:v>45550</c:v>
                </c:pt>
                <c:pt idx="977">
                  <c:v>24159</c:v>
                </c:pt>
                <c:pt idx="978">
                  <c:v>125887</c:v>
                </c:pt>
                <c:pt idx="979">
                  <c:v>190861</c:v>
                </c:pt>
                <c:pt idx="980">
                  <c:v>48222</c:v>
                </c:pt>
                <c:pt idx="981">
                  <c:v>129876</c:v>
                </c:pt>
                <c:pt idx="982">
                  <c:v>45162</c:v>
                </c:pt>
                <c:pt idx="983">
                  <c:v>48477</c:v>
                </c:pt>
                <c:pt idx="984">
                  <c:v>23889</c:v>
                </c:pt>
                <c:pt idx="985">
                  <c:v>33526</c:v>
                </c:pt>
                <c:pt idx="986">
                  <c:v>45168</c:v>
                </c:pt>
                <c:pt idx="987">
                  <c:v>26181</c:v>
                </c:pt>
                <c:pt idx="988">
                  <c:v>69558</c:v>
                </c:pt>
                <c:pt idx="989">
                  <c:v>34392</c:v>
                </c:pt>
                <c:pt idx="990">
                  <c:v>66070</c:v>
                </c:pt>
                <c:pt idx="991">
                  <c:v>46038</c:v>
                </c:pt>
                <c:pt idx="992">
                  <c:v>15000</c:v>
                </c:pt>
                <c:pt idx="993">
                  <c:v>41400</c:v>
                </c:pt>
                <c:pt idx="994">
                  <c:v>80423</c:v>
                </c:pt>
                <c:pt idx="995">
                  <c:v>156338</c:v>
                </c:pt>
                <c:pt idx="996">
                  <c:v>66838</c:v>
                </c:pt>
                <c:pt idx="997">
                  <c:v>45206</c:v>
                </c:pt>
                <c:pt idx="998">
                  <c:v>40158</c:v>
                </c:pt>
                <c:pt idx="999">
                  <c:v>22872</c:v>
                </c:pt>
                <c:pt idx="1000">
                  <c:v>43566</c:v>
                </c:pt>
                <c:pt idx="1001">
                  <c:v>39212</c:v>
                </c:pt>
                <c:pt idx="1002">
                  <c:v>112086</c:v>
                </c:pt>
                <c:pt idx="1003">
                  <c:v>115623</c:v>
                </c:pt>
                <c:pt idx="1004">
                  <c:v>32044</c:v>
                </c:pt>
                <c:pt idx="1005">
                  <c:v>34506</c:v>
                </c:pt>
                <c:pt idx="1006">
                  <c:v>57203</c:v>
                </c:pt>
                <c:pt idx="1007">
                  <c:v>29786</c:v>
                </c:pt>
                <c:pt idx="1008">
                  <c:v>73298</c:v>
                </c:pt>
                <c:pt idx="1009">
                  <c:v>39797</c:v>
                </c:pt>
                <c:pt idx="1010">
                  <c:v>51870</c:v>
                </c:pt>
                <c:pt idx="1011">
                  <c:v>47630</c:v>
                </c:pt>
                <c:pt idx="1012">
                  <c:v>38649</c:v>
                </c:pt>
                <c:pt idx="1013">
                  <c:v>20939</c:v>
                </c:pt>
                <c:pt idx="1014">
                  <c:v>39415</c:v>
                </c:pt>
                <c:pt idx="1015">
                  <c:v>48774</c:v>
                </c:pt>
                <c:pt idx="1016">
                  <c:v>20672</c:v>
                </c:pt>
                <c:pt idx="1017">
                  <c:v>124824</c:v>
                </c:pt>
                <c:pt idx="1018">
                  <c:v>196663</c:v>
                </c:pt>
                <c:pt idx="1019">
                  <c:v>70199</c:v>
                </c:pt>
                <c:pt idx="1020">
                  <c:v>38500</c:v>
                </c:pt>
                <c:pt idx="1021">
                  <c:v>400620</c:v>
                </c:pt>
                <c:pt idx="1022">
                  <c:v>277738</c:v>
                </c:pt>
                <c:pt idx="1023">
                  <c:v>18819</c:v>
                </c:pt>
                <c:pt idx="1024">
                  <c:v>36460</c:v>
                </c:pt>
                <c:pt idx="1025">
                  <c:v>48872</c:v>
                </c:pt>
                <c:pt idx="1026">
                  <c:v>33428</c:v>
                </c:pt>
                <c:pt idx="1027">
                  <c:v>50090</c:v>
                </c:pt>
                <c:pt idx="1028">
                  <c:v>77161</c:v>
                </c:pt>
                <c:pt idx="1029">
                  <c:v>33400</c:v>
                </c:pt>
                <c:pt idx="1030">
                  <c:v>38299</c:v>
                </c:pt>
                <c:pt idx="1031">
                  <c:v>95421</c:v>
                </c:pt>
                <c:pt idx="1032">
                  <c:v>27392</c:v>
                </c:pt>
                <c:pt idx="1033">
                  <c:v>29888</c:v>
                </c:pt>
                <c:pt idx="1034">
                  <c:v>27072</c:v>
                </c:pt>
                <c:pt idx="1035">
                  <c:v>53737</c:v>
                </c:pt>
                <c:pt idx="1036">
                  <c:v>18953</c:v>
                </c:pt>
                <c:pt idx="1037">
                  <c:v>146034</c:v>
                </c:pt>
                <c:pt idx="1038">
                  <c:v>51423</c:v>
                </c:pt>
                <c:pt idx="1039">
                  <c:v>101257</c:v>
                </c:pt>
                <c:pt idx="1040">
                  <c:v>77892</c:v>
                </c:pt>
                <c:pt idx="1041">
                  <c:v>58692</c:v>
                </c:pt>
                <c:pt idx="1042">
                  <c:v>43744</c:v>
                </c:pt>
                <c:pt idx="1043">
                  <c:v>40109</c:v>
                </c:pt>
                <c:pt idx="1044">
                  <c:v>43469</c:v>
                </c:pt>
                <c:pt idx="1045">
                  <c:v>40811</c:v>
                </c:pt>
                <c:pt idx="1046">
                  <c:v>47687</c:v>
                </c:pt>
                <c:pt idx="1047">
                  <c:v>26650</c:v>
                </c:pt>
                <c:pt idx="1048">
                  <c:v>214176</c:v>
                </c:pt>
                <c:pt idx="1049">
                  <c:v>28160</c:v>
                </c:pt>
                <c:pt idx="1050">
                  <c:v>28649</c:v>
                </c:pt>
                <c:pt idx="1051">
                  <c:v>85548</c:v>
                </c:pt>
                <c:pt idx="1052">
                  <c:v>38460</c:v>
                </c:pt>
                <c:pt idx="1053">
                  <c:v>80123</c:v>
                </c:pt>
                <c:pt idx="1054">
                  <c:v>98809</c:v>
                </c:pt>
                <c:pt idx="1055">
                  <c:v>26427</c:v>
                </c:pt>
                <c:pt idx="1056">
                  <c:v>208734</c:v>
                </c:pt>
                <c:pt idx="1057">
                  <c:v>252227</c:v>
                </c:pt>
                <c:pt idx="1058">
                  <c:v>31803</c:v>
                </c:pt>
                <c:pt idx="1059">
                  <c:v>36075</c:v>
                </c:pt>
                <c:pt idx="1060">
                  <c:v>37590</c:v>
                </c:pt>
                <c:pt idx="1061">
                  <c:v>30613</c:v>
                </c:pt>
                <c:pt idx="1062">
                  <c:v>40014</c:v>
                </c:pt>
                <c:pt idx="1063">
                  <c:v>142297</c:v>
                </c:pt>
                <c:pt idx="1064">
                  <c:v>62716</c:v>
                </c:pt>
                <c:pt idx="1065">
                  <c:v>81784</c:v>
                </c:pt>
                <c:pt idx="1066">
                  <c:v>43372</c:v>
                </c:pt>
                <c:pt idx="1067">
                  <c:v>43090</c:v>
                </c:pt>
                <c:pt idx="1068">
                  <c:v>43128</c:v>
                </c:pt>
                <c:pt idx="1069">
                  <c:v>39614</c:v>
                </c:pt>
                <c:pt idx="1070">
                  <c:v>44615</c:v>
                </c:pt>
                <c:pt idx="1071">
                  <c:v>38912</c:v>
                </c:pt>
                <c:pt idx="1072">
                  <c:v>30321</c:v>
                </c:pt>
                <c:pt idx="1073">
                  <c:v>338697</c:v>
                </c:pt>
                <c:pt idx="1074">
                  <c:v>28573</c:v>
                </c:pt>
                <c:pt idx="1075">
                  <c:v>178035</c:v>
                </c:pt>
                <c:pt idx="1076">
                  <c:v>64656</c:v>
                </c:pt>
                <c:pt idx="1077">
                  <c:v>26027</c:v>
                </c:pt>
                <c:pt idx="1078">
                  <c:v>45343</c:v>
                </c:pt>
                <c:pt idx="1079">
                  <c:v>31890</c:v>
                </c:pt>
                <c:pt idx="1080">
                  <c:v>63652</c:v>
                </c:pt>
                <c:pt idx="1081">
                  <c:v>114777</c:v>
                </c:pt>
                <c:pt idx="1082">
                  <c:v>46763</c:v>
                </c:pt>
                <c:pt idx="1083">
                  <c:v>47125</c:v>
                </c:pt>
                <c:pt idx="1084">
                  <c:v>37062</c:v>
                </c:pt>
                <c:pt idx="1085">
                  <c:v>60805</c:v>
                </c:pt>
                <c:pt idx="1086">
                  <c:v>278568</c:v>
                </c:pt>
                <c:pt idx="1087">
                  <c:v>36023</c:v>
                </c:pt>
                <c:pt idx="1088">
                  <c:v>25751</c:v>
                </c:pt>
                <c:pt idx="1089">
                  <c:v>69619</c:v>
                </c:pt>
                <c:pt idx="1090">
                  <c:v>34679</c:v>
                </c:pt>
                <c:pt idx="1091">
                  <c:v>26534</c:v>
                </c:pt>
                <c:pt idx="1092">
                  <c:v>222595</c:v>
                </c:pt>
                <c:pt idx="1093">
                  <c:v>51755</c:v>
                </c:pt>
                <c:pt idx="1094">
                  <c:v>25390</c:v>
                </c:pt>
                <c:pt idx="1095">
                  <c:v>54745</c:v>
                </c:pt>
                <c:pt idx="1096">
                  <c:v>204883</c:v>
                </c:pt>
                <c:pt idx="1097">
                  <c:v>40614</c:v>
                </c:pt>
                <c:pt idx="1098">
                  <c:v>29803</c:v>
                </c:pt>
                <c:pt idx="1099">
                  <c:v>40633</c:v>
                </c:pt>
                <c:pt idx="1100">
                  <c:v>39446</c:v>
                </c:pt>
                <c:pt idx="1101">
                  <c:v>22978</c:v>
                </c:pt>
                <c:pt idx="1102">
                  <c:v>35579</c:v>
                </c:pt>
                <c:pt idx="1103">
                  <c:v>45268</c:v>
                </c:pt>
                <c:pt idx="1104">
                  <c:v>176883</c:v>
                </c:pt>
                <c:pt idx="1105">
                  <c:v>216696</c:v>
                </c:pt>
                <c:pt idx="1106">
                  <c:v>33571</c:v>
                </c:pt>
                <c:pt idx="1107">
                  <c:v>58636</c:v>
                </c:pt>
                <c:pt idx="1108">
                  <c:v>45068</c:v>
                </c:pt>
                <c:pt idx="1109">
                  <c:v>42665</c:v>
                </c:pt>
                <c:pt idx="1110">
                  <c:v>70772</c:v>
                </c:pt>
                <c:pt idx="1111">
                  <c:v>154503</c:v>
                </c:pt>
                <c:pt idx="1112">
                  <c:v>76856</c:v>
                </c:pt>
                <c:pt idx="1113">
                  <c:v>56564</c:v>
                </c:pt>
                <c:pt idx="1114">
                  <c:v>46320</c:v>
                </c:pt>
                <c:pt idx="1115">
                  <c:v>68069</c:v>
                </c:pt>
                <c:pt idx="1116">
                  <c:v>29585</c:v>
                </c:pt>
                <c:pt idx="1117">
                  <c:v>65507</c:v>
                </c:pt>
                <c:pt idx="1118">
                  <c:v>25111</c:v>
                </c:pt>
                <c:pt idx="1119">
                  <c:v>60108</c:v>
                </c:pt>
                <c:pt idx="1120">
                  <c:v>118148</c:v>
                </c:pt>
                <c:pt idx="1121">
                  <c:v>22933</c:v>
                </c:pt>
                <c:pt idx="1122">
                  <c:v>30170</c:v>
                </c:pt>
                <c:pt idx="1123">
                  <c:v>91268</c:v>
                </c:pt>
                <c:pt idx="1124">
                  <c:v>128431</c:v>
                </c:pt>
                <c:pt idx="1125">
                  <c:v>47654</c:v>
                </c:pt>
                <c:pt idx="1126">
                  <c:v>29069</c:v>
                </c:pt>
                <c:pt idx="1127">
                  <c:v>33882</c:v>
                </c:pt>
                <c:pt idx="1128">
                  <c:v>47588</c:v>
                </c:pt>
                <c:pt idx="1129">
                  <c:v>34149</c:v>
                </c:pt>
                <c:pt idx="1130">
                  <c:v>44661</c:v>
                </c:pt>
                <c:pt idx="1131">
                  <c:v>173362</c:v>
                </c:pt>
                <c:pt idx="1132">
                  <c:v>33191</c:v>
                </c:pt>
                <c:pt idx="1133">
                  <c:v>63224</c:v>
                </c:pt>
                <c:pt idx="1134">
                  <c:v>53864</c:v>
                </c:pt>
                <c:pt idx="1135">
                  <c:v>35447</c:v>
                </c:pt>
                <c:pt idx="1136">
                  <c:v>26226</c:v>
                </c:pt>
                <c:pt idx="1137">
                  <c:v>29381</c:v>
                </c:pt>
                <c:pt idx="1138">
                  <c:v>49333</c:v>
                </c:pt>
                <c:pt idx="1139">
                  <c:v>69350</c:v>
                </c:pt>
                <c:pt idx="1140">
                  <c:v>38018</c:v>
                </c:pt>
                <c:pt idx="1141">
                  <c:v>240022</c:v>
                </c:pt>
                <c:pt idx="1142">
                  <c:v>103922</c:v>
                </c:pt>
                <c:pt idx="1143">
                  <c:v>28389</c:v>
                </c:pt>
                <c:pt idx="1144">
                  <c:v>44738</c:v>
                </c:pt>
                <c:pt idx="1145">
                  <c:v>71605</c:v>
                </c:pt>
                <c:pt idx="1146">
                  <c:v>29890</c:v>
                </c:pt>
                <c:pt idx="1147">
                  <c:v>52328</c:v>
                </c:pt>
                <c:pt idx="1148">
                  <c:v>27031</c:v>
                </c:pt>
                <c:pt idx="1149">
                  <c:v>25868</c:v>
                </c:pt>
                <c:pt idx="1150">
                  <c:v>122192</c:v>
                </c:pt>
                <c:pt idx="1151">
                  <c:v>85123</c:v>
                </c:pt>
                <c:pt idx="1152">
                  <c:v>74478</c:v>
                </c:pt>
                <c:pt idx="1153">
                  <c:v>37173</c:v>
                </c:pt>
                <c:pt idx="1154">
                  <c:v>48304</c:v>
                </c:pt>
                <c:pt idx="1155">
                  <c:v>39771</c:v>
                </c:pt>
                <c:pt idx="1156">
                  <c:v>95883</c:v>
                </c:pt>
                <c:pt idx="1157">
                  <c:v>24788</c:v>
                </c:pt>
                <c:pt idx="1158">
                  <c:v>39738</c:v>
                </c:pt>
                <c:pt idx="1159">
                  <c:v>96075</c:v>
                </c:pt>
                <c:pt idx="1160">
                  <c:v>43151</c:v>
                </c:pt>
                <c:pt idx="1161">
                  <c:v>39439</c:v>
                </c:pt>
                <c:pt idx="1162">
                  <c:v>36927</c:v>
                </c:pt>
                <c:pt idx="1163">
                  <c:v>32815</c:v>
                </c:pt>
                <c:pt idx="1164">
                  <c:v>26743</c:v>
                </c:pt>
                <c:pt idx="1165">
                  <c:v>65469</c:v>
                </c:pt>
                <c:pt idx="1166">
                  <c:v>44849</c:v>
                </c:pt>
                <c:pt idx="1167">
                  <c:v>96686</c:v>
                </c:pt>
                <c:pt idx="1168">
                  <c:v>32942</c:v>
                </c:pt>
                <c:pt idx="1169">
                  <c:v>53714</c:v>
                </c:pt>
                <c:pt idx="1170">
                  <c:v>96895</c:v>
                </c:pt>
                <c:pt idx="1171">
                  <c:v>46398</c:v>
                </c:pt>
                <c:pt idx="1172">
                  <c:v>61077</c:v>
                </c:pt>
                <c:pt idx="1173">
                  <c:v>50784</c:v>
                </c:pt>
                <c:pt idx="1174">
                  <c:v>41885</c:v>
                </c:pt>
                <c:pt idx="1175">
                  <c:v>43313</c:v>
                </c:pt>
                <c:pt idx="1176">
                  <c:v>122673</c:v>
                </c:pt>
                <c:pt idx="1177">
                  <c:v>31479</c:v>
                </c:pt>
                <c:pt idx="1178">
                  <c:v>44545</c:v>
                </c:pt>
                <c:pt idx="1179">
                  <c:v>69705</c:v>
                </c:pt>
                <c:pt idx="1180">
                  <c:v>29891</c:v>
                </c:pt>
                <c:pt idx="1181">
                  <c:v>33095</c:v>
                </c:pt>
                <c:pt idx="1182">
                  <c:v>20813</c:v>
                </c:pt>
                <c:pt idx="1183">
                  <c:v>42482</c:v>
                </c:pt>
                <c:pt idx="1184">
                  <c:v>30567</c:v>
                </c:pt>
                <c:pt idx="1185">
                  <c:v>50563</c:v>
                </c:pt>
                <c:pt idx="1186">
                  <c:v>74202</c:v>
                </c:pt>
                <c:pt idx="1187">
                  <c:v>42023</c:v>
                </c:pt>
                <c:pt idx="1188">
                  <c:v>53559</c:v>
                </c:pt>
                <c:pt idx="1189">
                  <c:v>22779</c:v>
                </c:pt>
                <c:pt idx="1190">
                  <c:v>27723</c:v>
                </c:pt>
                <c:pt idx="1191">
                  <c:v>43183</c:v>
                </c:pt>
                <c:pt idx="1192">
                  <c:v>27947</c:v>
                </c:pt>
                <c:pt idx="1193">
                  <c:v>34322</c:v>
                </c:pt>
                <c:pt idx="1194">
                  <c:v>49749</c:v>
                </c:pt>
                <c:pt idx="1195">
                  <c:v>34950</c:v>
                </c:pt>
                <c:pt idx="1196">
                  <c:v>39826</c:v>
                </c:pt>
                <c:pt idx="1197">
                  <c:v>102394</c:v>
                </c:pt>
                <c:pt idx="1198">
                  <c:v>27840</c:v>
                </c:pt>
                <c:pt idx="1199">
                  <c:v>26980</c:v>
                </c:pt>
                <c:pt idx="1200">
                  <c:v>48067</c:v>
                </c:pt>
                <c:pt idx="1201">
                  <c:v>40048</c:v>
                </c:pt>
                <c:pt idx="1202">
                  <c:v>23602</c:v>
                </c:pt>
                <c:pt idx="1203">
                  <c:v>50297</c:v>
                </c:pt>
                <c:pt idx="1204">
                  <c:v>24636</c:v>
                </c:pt>
                <c:pt idx="1205">
                  <c:v>30897</c:v>
                </c:pt>
                <c:pt idx="1206">
                  <c:v>56187</c:v>
                </c:pt>
                <c:pt idx="1207">
                  <c:v>41933</c:v>
                </c:pt>
                <c:pt idx="1208">
                  <c:v>164504</c:v>
                </c:pt>
                <c:pt idx="1209">
                  <c:v>42662</c:v>
                </c:pt>
                <c:pt idx="1210">
                  <c:v>34468</c:v>
                </c:pt>
                <c:pt idx="1211">
                  <c:v>33890</c:v>
                </c:pt>
                <c:pt idx="1212">
                  <c:v>39846</c:v>
                </c:pt>
                <c:pt idx="1213">
                  <c:v>37444</c:v>
                </c:pt>
                <c:pt idx="1214">
                  <c:v>43673</c:v>
                </c:pt>
                <c:pt idx="1215">
                  <c:v>28896</c:v>
                </c:pt>
                <c:pt idx="1216">
                  <c:v>82730</c:v>
                </c:pt>
                <c:pt idx="1217">
                  <c:v>28605</c:v>
                </c:pt>
                <c:pt idx="1218">
                  <c:v>53092</c:v>
                </c:pt>
                <c:pt idx="1219">
                  <c:v>42373</c:v>
                </c:pt>
                <c:pt idx="1220">
                  <c:v>113331</c:v>
                </c:pt>
                <c:pt idx="1221">
                  <c:v>60501</c:v>
                </c:pt>
                <c:pt idx="1222">
                  <c:v>43380</c:v>
                </c:pt>
                <c:pt idx="1223">
                  <c:v>63244</c:v>
                </c:pt>
                <c:pt idx="1224">
                  <c:v>31859</c:v>
                </c:pt>
                <c:pt idx="1225">
                  <c:v>184532</c:v>
                </c:pt>
                <c:pt idx="1226">
                  <c:v>28418</c:v>
                </c:pt>
                <c:pt idx="1227">
                  <c:v>163885</c:v>
                </c:pt>
                <c:pt idx="1228">
                  <c:v>94182</c:v>
                </c:pt>
                <c:pt idx="1229">
                  <c:v>22833</c:v>
                </c:pt>
                <c:pt idx="1230">
                  <c:v>24060</c:v>
                </c:pt>
                <c:pt idx="1231">
                  <c:v>39594</c:v>
                </c:pt>
                <c:pt idx="1232">
                  <c:v>28853</c:v>
                </c:pt>
                <c:pt idx="1233">
                  <c:v>69974</c:v>
                </c:pt>
                <c:pt idx="1234">
                  <c:v>71658</c:v>
                </c:pt>
                <c:pt idx="1235">
                  <c:v>32336</c:v>
                </c:pt>
                <c:pt idx="1236">
                  <c:v>49900</c:v>
                </c:pt>
                <c:pt idx="1237">
                  <c:v>37871</c:v>
                </c:pt>
                <c:pt idx="1238">
                  <c:v>39636</c:v>
                </c:pt>
                <c:pt idx="1239">
                  <c:v>22369</c:v>
                </c:pt>
                <c:pt idx="1240">
                  <c:v>42609</c:v>
                </c:pt>
                <c:pt idx="1241">
                  <c:v>46162</c:v>
                </c:pt>
                <c:pt idx="1242">
                  <c:v>119109</c:v>
                </c:pt>
                <c:pt idx="1243">
                  <c:v>30542</c:v>
                </c:pt>
                <c:pt idx="1244">
                  <c:v>52097</c:v>
                </c:pt>
                <c:pt idx="1245">
                  <c:v>28542</c:v>
                </c:pt>
                <c:pt idx="1246">
                  <c:v>38400</c:v>
                </c:pt>
                <c:pt idx="1247">
                  <c:v>51505</c:v>
                </c:pt>
                <c:pt idx="1248">
                  <c:v>48432</c:v>
                </c:pt>
                <c:pt idx="1249">
                  <c:v>74691</c:v>
                </c:pt>
                <c:pt idx="1250">
                  <c:v>36813</c:v>
                </c:pt>
                <c:pt idx="1251">
                  <c:v>27783</c:v>
                </c:pt>
                <c:pt idx="1252">
                  <c:v>42287</c:v>
                </c:pt>
                <c:pt idx="1253">
                  <c:v>43588</c:v>
                </c:pt>
                <c:pt idx="1254">
                  <c:v>66499</c:v>
                </c:pt>
                <c:pt idx="1255">
                  <c:v>36072</c:v>
                </c:pt>
                <c:pt idx="1256">
                  <c:v>40426</c:v>
                </c:pt>
                <c:pt idx="1257">
                  <c:v>22224</c:v>
                </c:pt>
                <c:pt idx="1258">
                  <c:v>62229</c:v>
                </c:pt>
                <c:pt idx="1259">
                  <c:v>40592</c:v>
                </c:pt>
                <c:pt idx="1260">
                  <c:v>24394</c:v>
                </c:pt>
                <c:pt idx="1261">
                  <c:v>126660</c:v>
                </c:pt>
                <c:pt idx="1262">
                  <c:v>57627</c:v>
                </c:pt>
                <c:pt idx="1263">
                  <c:v>75855</c:v>
                </c:pt>
                <c:pt idx="1264">
                  <c:v>34252</c:v>
                </c:pt>
                <c:pt idx="1265">
                  <c:v>30329</c:v>
                </c:pt>
                <c:pt idx="1266">
                  <c:v>172379</c:v>
                </c:pt>
                <c:pt idx="1267">
                  <c:v>49031</c:v>
                </c:pt>
                <c:pt idx="1268">
                  <c:v>97558</c:v>
                </c:pt>
                <c:pt idx="1269">
                  <c:v>36999</c:v>
                </c:pt>
                <c:pt idx="1270">
                  <c:v>49216</c:v>
                </c:pt>
                <c:pt idx="1271">
                  <c:v>22697</c:v>
                </c:pt>
                <c:pt idx="1272">
                  <c:v>28180</c:v>
                </c:pt>
                <c:pt idx="1273">
                  <c:v>44092</c:v>
                </c:pt>
                <c:pt idx="1274">
                  <c:v>31670</c:v>
                </c:pt>
                <c:pt idx="1275">
                  <c:v>29918</c:v>
                </c:pt>
                <c:pt idx="1276">
                  <c:v>43479</c:v>
                </c:pt>
                <c:pt idx="1277">
                  <c:v>41324</c:v>
                </c:pt>
                <c:pt idx="1278">
                  <c:v>73999</c:v>
                </c:pt>
                <c:pt idx="1279">
                  <c:v>150528</c:v>
                </c:pt>
                <c:pt idx="1280">
                  <c:v>63307</c:v>
                </c:pt>
                <c:pt idx="1281">
                  <c:v>31699</c:v>
                </c:pt>
                <c:pt idx="1282">
                  <c:v>33997</c:v>
                </c:pt>
                <c:pt idx="1283">
                  <c:v>32066</c:v>
                </c:pt>
                <c:pt idx="1284">
                  <c:v>39594</c:v>
                </c:pt>
                <c:pt idx="1285">
                  <c:v>84774</c:v>
                </c:pt>
                <c:pt idx="1286">
                  <c:v>45013</c:v>
                </c:pt>
                <c:pt idx="1287">
                  <c:v>42831</c:v>
                </c:pt>
                <c:pt idx="1288">
                  <c:v>45001</c:v>
                </c:pt>
                <c:pt idx="1289">
                  <c:v>40646</c:v>
                </c:pt>
                <c:pt idx="1290">
                  <c:v>72996</c:v>
                </c:pt>
                <c:pt idx="1291">
                  <c:v>101411</c:v>
                </c:pt>
                <c:pt idx="1292">
                  <c:v>38056</c:v>
                </c:pt>
                <c:pt idx="1293">
                  <c:v>35557</c:v>
                </c:pt>
                <c:pt idx="1294">
                  <c:v>73390</c:v>
                </c:pt>
                <c:pt idx="1295">
                  <c:v>201385</c:v>
                </c:pt>
                <c:pt idx="1296">
                  <c:v>43257</c:v>
                </c:pt>
                <c:pt idx="1297">
                  <c:v>74145</c:v>
                </c:pt>
                <c:pt idx="1298">
                  <c:v>88141</c:v>
                </c:pt>
                <c:pt idx="1299">
                  <c:v>142806</c:v>
                </c:pt>
                <c:pt idx="1300">
                  <c:v>44486</c:v>
                </c:pt>
                <c:pt idx="1301">
                  <c:v>84758</c:v>
                </c:pt>
                <c:pt idx="1302">
                  <c:v>50179</c:v>
                </c:pt>
                <c:pt idx="1303">
                  <c:v>34872</c:v>
                </c:pt>
                <c:pt idx="1304">
                  <c:v>149972</c:v>
                </c:pt>
                <c:pt idx="1305">
                  <c:v>115217</c:v>
                </c:pt>
                <c:pt idx="1306">
                  <c:v>83548</c:v>
                </c:pt>
                <c:pt idx="1307">
                  <c:v>118163</c:v>
                </c:pt>
                <c:pt idx="1308">
                  <c:v>38767</c:v>
                </c:pt>
                <c:pt idx="1309">
                  <c:v>37194</c:v>
                </c:pt>
                <c:pt idx="1310">
                  <c:v>61976</c:v>
                </c:pt>
                <c:pt idx="1311">
                  <c:v>77626</c:v>
                </c:pt>
                <c:pt idx="1312">
                  <c:v>36356</c:v>
                </c:pt>
                <c:pt idx="1313">
                  <c:v>54295</c:v>
                </c:pt>
                <c:pt idx="1314">
                  <c:v>154868</c:v>
                </c:pt>
                <c:pt idx="1315">
                  <c:v>47710</c:v>
                </c:pt>
                <c:pt idx="1316">
                  <c:v>35068</c:v>
                </c:pt>
                <c:pt idx="1317">
                  <c:v>57454</c:v>
                </c:pt>
                <c:pt idx="1318">
                  <c:v>47531</c:v>
                </c:pt>
                <c:pt idx="1319">
                  <c:v>31909</c:v>
                </c:pt>
                <c:pt idx="1320">
                  <c:v>30677</c:v>
                </c:pt>
                <c:pt idx="1321">
                  <c:v>26550</c:v>
                </c:pt>
                <c:pt idx="1322">
                  <c:v>52516</c:v>
                </c:pt>
                <c:pt idx="1323">
                  <c:v>33231</c:v>
                </c:pt>
                <c:pt idx="1324">
                  <c:v>22822</c:v>
                </c:pt>
                <c:pt idx="1325">
                  <c:v>27193</c:v>
                </c:pt>
                <c:pt idx="1326">
                  <c:v>160155</c:v>
                </c:pt>
                <c:pt idx="1327">
                  <c:v>25264</c:v>
                </c:pt>
                <c:pt idx="1328">
                  <c:v>25966</c:v>
                </c:pt>
                <c:pt idx="1329">
                  <c:v>51641</c:v>
                </c:pt>
                <c:pt idx="1330">
                  <c:v>86970</c:v>
                </c:pt>
                <c:pt idx="1331">
                  <c:v>30071</c:v>
                </c:pt>
                <c:pt idx="1332">
                  <c:v>24636</c:v>
                </c:pt>
                <c:pt idx="1333">
                  <c:v>189310</c:v>
                </c:pt>
                <c:pt idx="1334">
                  <c:v>27239</c:v>
                </c:pt>
                <c:pt idx="1335">
                  <c:v>54257</c:v>
                </c:pt>
                <c:pt idx="1336">
                  <c:v>36609</c:v>
                </c:pt>
                <c:pt idx="1337">
                  <c:v>50855</c:v>
                </c:pt>
                <c:pt idx="1338">
                  <c:v>731936</c:v>
                </c:pt>
                <c:pt idx="1339">
                  <c:v>59446</c:v>
                </c:pt>
                <c:pt idx="1340">
                  <c:v>68960</c:v>
                </c:pt>
                <c:pt idx="1341">
                  <c:v>27903</c:v>
                </c:pt>
                <c:pt idx="1342">
                  <c:v>25864</c:v>
                </c:pt>
                <c:pt idx="1343">
                  <c:v>39068</c:v>
                </c:pt>
                <c:pt idx="1344">
                  <c:v>39530</c:v>
                </c:pt>
                <c:pt idx="1345">
                  <c:v>50717</c:v>
                </c:pt>
                <c:pt idx="1346">
                  <c:v>60484</c:v>
                </c:pt>
                <c:pt idx="1347">
                  <c:v>38841</c:v>
                </c:pt>
                <c:pt idx="1348">
                  <c:v>38889</c:v>
                </c:pt>
                <c:pt idx="1349">
                  <c:v>44302</c:v>
                </c:pt>
                <c:pt idx="1350">
                  <c:v>46212</c:v>
                </c:pt>
                <c:pt idx="1351">
                  <c:v>71387</c:v>
                </c:pt>
                <c:pt idx="1352">
                  <c:v>23131</c:v>
                </c:pt>
                <c:pt idx="1353">
                  <c:v>57611</c:v>
                </c:pt>
                <c:pt idx="1354">
                  <c:v>104474</c:v>
                </c:pt>
                <c:pt idx="1355">
                  <c:v>98169</c:v>
                </c:pt>
                <c:pt idx="1356">
                  <c:v>48142</c:v>
                </c:pt>
                <c:pt idx="1357">
                  <c:v>119541</c:v>
                </c:pt>
                <c:pt idx="1358">
                  <c:v>20345</c:v>
                </c:pt>
                <c:pt idx="1359">
                  <c:v>51731</c:v>
                </c:pt>
                <c:pt idx="1360">
                  <c:v>49979</c:v>
                </c:pt>
                <c:pt idx="1361">
                  <c:v>36319</c:v>
                </c:pt>
                <c:pt idx="1362">
                  <c:v>76410</c:v>
                </c:pt>
                <c:pt idx="1363">
                  <c:v>57124</c:v>
                </c:pt>
                <c:pt idx="1364">
                  <c:v>50763</c:v>
                </c:pt>
                <c:pt idx="1365">
                  <c:v>42098</c:v>
                </c:pt>
                <c:pt idx="1366">
                  <c:v>44052</c:v>
                </c:pt>
                <c:pt idx="1367">
                  <c:v>69712</c:v>
                </c:pt>
                <c:pt idx="1368">
                  <c:v>53376</c:v>
                </c:pt>
                <c:pt idx="1369">
                  <c:v>38429</c:v>
                </c:pt>
                <c:pt idx="1370">
                  <c:v>64111</c:v>
                </c:pt>
                <c:pt idx="1371">
                  <c:v>155693</c:v>
                </c:pt>
                <c:pt idx="1372">
                  <c:v>30126</c:v>
                </c:pt>
                <c:pt idx="1373">
                  <c:v>44120</c:v>
                </c:pt>
                <c:pt idx="1374">
                  <c:v>28867</c:v>
                </c:pt>
                <c:pt idx="1375">
                  <c:v>31408</c:v>
                </c:pt>
                <c:pt idx="1376">
                  <c:v>66768</c:v>
                </c:pt>
                <c:pt idx="1377">
                  <c:v>50884</c:v>
                </c:pt>
                <c:pt idx="1378">
                  <c:v>28993</c:v>
                </c:pt>
                <c:pt idx="1379">
                  <c:v>39085</c:v>
                </c:pt>
                <c:pt idx="1380">
                  <c:v>199431</c:v>
                </c:pt>
                <c:pt idx="1381">
                  <c:v>239893</c:v>
                </c:pt>
                <c:pt idx="1382">
                  <c:v>792121</c:v>
                </c:pt>
                <c:pt idx="1383">
                  <c:v>45184</c:v>
                </c:pt>
                <c:pt idx="1384">
                  <c:v>58406</c:v>
                </c:pt>
                <c:pt idx="1385">
                  <c:v>76668</c:v>
                </c:pt>
                <c:pt idx="1386">
                  <c:v>170163</c:v>
                </c:pt>
                <c:pt idx="1387">
                  <c:v>26258</c:v>
                </c:pt>
                <c:pt idx="1388">
                  <c:v>50184</c:v>
                </c:pt>
                <c:pt idx="1389">
                  <c:v>115685</c:v>
                </c:pt>
                <c:pt idx="1390">
                  <c:v>53999</c:v>
                </c:pt>
                <c:pt idx="1391">
                  <c:v>38023</c:v>
                </c:pt>
                <c:pt idx="1392">
                  <c:v>51763</c:v>
                </c:pt>
                <c:pt idx="1393">
                  <c:v>35449</c:v>
                </c:pt>
                <c:pt idx="1394">
                  <c:v>45667</c:v>
                </c:pt>
                <c:pt idx="1395">
                  <c:v>151626</c:v>
                </c:pt>
                <c:pt idx="1396">
                  <c:v>76498</c:v>
                </c:pt>
                <c:pt idx="1397">
                  <c:v>40091</c:v>
                </c:pt>
                <c:pt idx="1398">
                  <c:v>23615</c:v>
                </c:pt>
                <c:pt idx="1399">
                  <c:v>41054</c:v>
                </c:pt>
                <c:pt idx="1400">
                  <c:v>165022</c:v>
                </c:pt>
                <c:pt idx="1401">
                  <c:v>151058</c:v>
                </c:pt>
                <c:pt idx="1402">
                  <c:v>45435</c:v>
                </c:pt>
                <c:pt idx="1403">
                  <c:v>30528</c:v>
                </c:pt>
                <c:pt idx="1404">
                  <c:v>51395</c:v>
                </c:pt>
                <c:pt idx="1405">
                  <c:v>29937</c:v>
                </c:pt>
                <c:pt idx="1406">
                  <c:v>42143</c:v>
                </c:pt>
                <c:pt idx="1407">
                  <c:v>27590</c:v>
                </c:pt>
                <c:pt idx="1408">
                  <c:v>49043</c:v>
                </c:pt>
                <c:pt idx="1409">
                  <c:v>38252</c:v>
                </c:pt>
                <c:pt idx="1410">
                  <c:v>39626</c:v>
                </c:pt>
                <c:pt idx="1411">
                  <c:v>223370</c:v>
                </c:pt>
                <c:pt idx="1412">
                  <c:v>61359</c:v>
                </c:pt>
                <c:pt idx="1413">
                  <c:v>36980</c:v>
                </c:pt>
                <c:pt idx="1414">
                  <c:v>70352</c:v>
                </c:pt>
                <c:pt idx="1415">
                  <c:v>28419</c:v>
                </c:pt>
                <c:pt idx="1416">
                  <c:v>35996</c:v>
                </c:pt>
                <c:pt idx="1417">
                  <c:v>47713</c:v>
                </c:pt>
                <c:pt idx="1418">
                  <c:v>50877</c:v>
                </c:pt>
                <c:pt idx="1419">
                  <c:v>32061</c:v>
                </c:pt>
                <c:pt idx="1420">
                  <c:v>54182</c:v>
                </c:pt>
                <c:pt idx="1421">
                  <c:v>22846</c:v>
                </c:pt>
                <c:pt idx="1422">
                  <c:v>24862</c:v>
                </c:pt>
                <c:pt idx="1423">
                  <c:v>62629</c:v>
                </c:pt>
                <c:pt idx="1424">
                  <c:v>25402</c:v>
                </c:pt>
                <c:pt idx="1425">
                  <c:v>40582</c:v>
                </c:pt>
                <c:pt idx="1426">
                  <c:v>37096</c:v>
                </c:pt>
                <c:pt idx="1427">
                  <c:v>25965</c:v>
                </c:pt>
                <c:pt idx="1428">
                  <c:v>53109</c:v>
                </c:pt>
                <c:pt idx="1429">
                  <c:v>43531</c:v>
                </c:pt>
                <c:pt idx="1430">
                  <c:v>50037</c:v>
                </c:pt>
                <c:pt idx="1431">
                  <c:v>94562</c:v>
                </c:pt>
                <c:pt idx="1432">
                  <c:v>38507</c:v>
                </c:pt>
                <c:pt idx="1433">
                  <c:v>40095</c:v>
                </c:pt>
                <c:pt idx="1434">
                  <c:v>56425</c:v>
                </c:pt>
                <c:pt idx="1435">
                  <c:v>86543</c:v>
                </c:pt>
                <c:pt idx="1436">
                  <c:v>41366</c:v>
                </c:pt>
                <c:pt idx="1437">
                  <c:v>33054</c:v>
                </c:pt>
                <c:pt idx="1438">
                  <c:v>56116</c:v>
                </c:pt>
                <c:pt idx="1439">
                  <c:v>92895</c:v>
                </c:pt>
                <c:pt idx="1440">
                  <c:v>29302</c:v>
                </c:pt>
                <c:pt idx="1441">
                  <c:v>34649</c:v>
                </c:pt>
                <c:pt idx="1442">
                  <c:v>47586</c:v>
                </c:pt>
                <c:pt idx="1443">
                  <c:v>24291</c:v>
                </c:pt>
                <c:pt idx="1444">
                  <c:v>42666</c:v>
                </c:pt>
                <c:pt idx="1445">
                  <c:v>112776</c:v>
                </c:pt>
                <c:pt idx="1446">
                  <c:v>27458</c:v>
                </c:pt>
                <c:pt idx="1447">
                  <c:v>90805</c:v>
                </c:pt>
                <c:pt idx="1448">
                  <c:v>83158</c:v>
                </c:pt>
                <c:pt idx="1449">
                  <c:v>43452</c:v>
                </c:pt>
                <c:pt idx="1450">
                  <c:v>52524</c:v>
                </c:pt>
                <c:pt idx="1451">
                  <c:v>34433</c:v>
                </c:pt>
                <c:pt idx="1452">
                  <c:v>159621</c:v>
                </c:pt>
                <c:pt idx="1453">
                  <c:v>41991</c:v>
                </c:pt>
                <c:pt idx="1454">
                  <c:v>57115</c:v>
                </c:pt>
                <c:pt idx="1455">
                  <c:v>118956</c:v>
                </c:pt>
                <c:pt idx="1456">
                  <c:v>31234</c:v>
                </c:pt>
                <c:pt idx="1457">
                  <c:v>97637</c:v>
                </c:pt>
                <c:pt idx="1458">
                  <c:v>26229</c:v>
                </c:pt>
                <c:pt idx="1459">
                  <c:v>125066</c:v>
                </c:pt>
                <c:pt idx="1460">
                  <c:v>29682</c:v>
                </c:pt>
                <c:pt idx="1461">
                  <c:v>32573</c:v>
                </c:pt>
                <c:pt idx="1462">
                  <c:v>23494</c:v>
                </c:pt>
                <c:pt idx="1463">
                  <c:v>30052</c:v>
                </c:pt>
                <c:pt idx="1464">
                  <c:v>48786</c:v>
                </c:pt>
                <c:pt idx="1465">
                  <c:v>33468</c:v>
                </c:pt>
                <c:pt idx="1466">
                  <c:v>21587</c:v>
                </c:pt>
                <c:pt idx="1467">
                  <c:v>80726</c:v>
                </c:pt>
                <c:pt idx="1468">
                  <c:v>36986</c:v>
                </c:pt>
                <c:pt idx="1469">
                  <c:v>70178</c:v>
                </c:pt>
                <c:pt idx="1470">
                  <c:v>39489</c:v>
                </c:pt>
                <c:pt idx="1471">
                  <c:v>46979</c:v>
                </c:pt>
                <c:pt idx="1472">
                  <c:v>49809</c:v>
                </c:pt>
                <c:pt idx="1473">
                  <c:v>341961</c:v>
                </c:pt>
                <c:pt idx="1474">
                  <c:v>76645</c:v>
                </c:pt>
                <c:pt idx="1475">
                  <c:v>41063</c:v>
                </c:pt>
                <c:pt idx="1476">
                  <c:v>215831</c:v>
                </c:pt>
                <c:pt idx="1477">
                  <c:v>21022</c:v>
                </c:pt>
                <c:pt idx="1478">
                  <c:v>45509</c:v>
                </c:pt>
                <c:pt idx="1479">
                  <c:v>169650</c:v>
                </c:pt>
                <c:pt idx="1480">
                  <c:v>35462</c:v>
                </c:pt>
                <c:pt idx="1481">
                  <c:v>96345</c:v>
                </c:pt>
                <c:pt idx="1482">
                  <c:v>191459</c:v>
                </c:pt>
                <c:pt idx="1483">
                  <c:v>377056</c:v>
                </c:pt>
                <c:pt idx="1484">
                  <c:v>25421</c:v>
                </c:pt>
                <c:pt idx="1485">
                  <c:v>49852</c:v>
                </c:pt>
                <c:pt idx="1486">
                  <c:v>97682</c:v>
                </c:pt>
                <c:pt idx="1487">
                  <c:v>103245</c:v>
                </c:pt>
                <c:pt idx="1488">
                  <c:v>37554</c:v>
                </c:pt>
                <c:pt idx="1489">
                  <c:v>93661</c:v>
                </c:pt>
                <c:pt idx="1490">
                  <c:v>45881</c:v>
                </c:pt>
                <c:pt idx="1491">
                  <c:v>33096</c:v>
                </c:pt>
                <c:pt idx="1492">
                  <c:v>83684</c:v>
                </c:pt>
                <c:pt idx="1493">
                  <c:v>49722</c:v>
                </c:pt>
                <c:pt idx="1494">
                  <c:v>35965</c:v>
                </c:pt>
                <c:pt idx="1495">
                  <c:v>43244</c:v>
                </c:pt>
                <c:pt idx="1496">
                  <c:v>29903</c:v>
                </c:pt>
                <c:pt idx="1497">
                  <c:v>26602</c:v>
                </c:pt>
                <c:pt idx="1498">
                  <c:v>27089</c:v>
                </c:pt>
                <c:pt idx="1499">
                  <c:v>182786</c:v>
                </c:pt>
                <c:pt idx="1500">
                  <c:v>32983</c:v>
                </c:pt>
                <c:pt idx="1501">
                  <c:v>41130</c:v>
                </c:pt>
                <c:pt idx="1502">
                  <c:v>71792</c:v>
                </c:pt>
                <c:pt idx="1503">
                  <c:v>37830</c:v>
                </c:pt>
                <c:pt idx="1504">
                  <c:v>43838</c:v>
                </c:pt>
                <c:pt idx="1505">
                  <c:v>130900</c:v>
                </c:pt>
                <c:pt idx="1506">
                  <c:v>33399</c:v>
                </c:pt>
                <c:pt idx="1507">
                  <c:v>45008</c:v>
                </c:pt>
                <c:pt idx="1508">
                  <c:v>49237</c:v>
                </c:pt>
                <c:pt idx="1509">
                  <c:v>434463</c:v>
                </c:pt>
                <c:pt idx="1510">
                  <c:v>135733</c:v>
                </c:pt>
                <c:pt idx="1511">
                  <c:v>88033</c:v>
                </c:pt>
                <c:pt idx="1512">
                  <c:v>58611</c:v>
                </c:pt>
                <c:pt idx="1513">
                  <c:v>62894</c:v>
                </c:pt>
                <c:pt idx="1514">
                  <c:v>23712</c:v>
                </c:pt>
                <c:pt idx="1515">
                  <c:v>96420</c:v>
                </c:pt>
                <c:pt idx="1516">
                  <c:v>100547</c:v>
                </c:pt>
                <c:pt idx="1517">
                  <c:v>115091</c:v>
                </c:pt>
                <c:pt idx="1518">
                  <c:v>33061</c:v>
                </c:pt>
                <c:pt idx="1519">
                  <c:v>49487</c:v>
                </c:pt>
                <c:pt idx="1520">
                  <c:v>119730</c:v>
                </c:pt>
                <c:pt idx="1521">
                  <c:v>100200</c:v>
                </c:pt>
                <c:pt idx="1522">
                  <c:v>49803</c:v>
                </c:pt>
                <c:pt idx="1523">
                  <c:v>43514</c:v>
                </c:pt>
                <c:pt idx="1524">
                  <c:v>25082</c:v>
                </c:pt>
                <c:pt idx="1525">
                  <c:v>87287</c:v>
                </c:pt>
                <c:pt idx="1526">
                  <c:v>60234</c:v>
                </c:pt>
                <c:pt idx="1527">
                  <c:v>33475</c:v>
                </c:pt>
                <c:pt idx="1528">
                  <c:v>26346</c:v>
                </c:pt>
                <c:pt idx="1529">
                  <c:v>47491</c:v>
                </c:pt>
                <c:pt idx="1530">
                  <c:v>49910</c:v>
                </c:pt>
                <c:pt idx="1531">
                  <c:v>28669</c:v>
                </c:pt>
                <c:pt idx="1532">
                  <c:v>55999</c:v>
                </c:pt>
                <c:pt idx="1533">
                  <c:v>34871</c:v>
                </c:pt>
                <c:pt idx="1534">
                  <c:v>34655</c:v>
                </c:pt>
                <c:pt idx="1535">
                  <c:v>37578</c:v>
                </c:pt>
                <c:pt idx="1536">
                  <c:v>155126</c:v>
                </c:pt>
                <c:pt idx="1537">
                  <c:v>88005</c:v>
                </c:pt>
                <c:pt idx="1538">
                  <c:v>31938</c:v>
                </c:pt>
                <c:pt idx="1539">
                  <c:v>138257</c:v>
                </c:pt>
                <c:pt idx="1540">
                  <c:v>46594</c:v>
                </c:pt>
                <c:pt idx="1541">
                  <c:v>205885</c:v>
                </c:pt>
                <c:pt idx="1542">
                  <c:v>35436</c:v>
                </c:pt>
                <c:pt idx="1543">
                  <c:v>35522</c:v>
                </c:pt>
                <c:pt idx="1544">
                  <c:v>103650</c:v>
                </c:pt>
                <c:pt idx="1545">
                  <c:v>59425</c:v>
                </c:pt>
                <c:pt idx="1546">
                  <c:v>48571</c:v>
                </c:pt>
                <c:pt idx="1547">
                  <c:v>118202</c:v>
                </c:pt>
                <c:pt idx="1548">
                  <c:v>144809</c:v>
                </c:pt>
                <c:pt idx="1549">
                  <c:v>28272</c:v>
                </c:pt>
                <c:pt idx="1550">
                  <c:v>52130</c:v>
                </c:pt>
                <c:pt idx="1551">
                  <c:v>60089</c:v>
                </c:pt>
                <c:pt idx="1552">
                  <c:v>87361</c:v>
                </c:pt>
                <c:pt idx="1553">
                  <c:v>48643</c:v>
                </c:pt>
                <c:pt idx="1554">
                  <c:v>31164</c:v>
                </c:pt>
                <c:pt idx="1555">
                  <c:v>71809</c:v>
                </c:pt>
                <c:pt idx="1556">
                  <c:v>41166</c:v>
                </c:pt>
                <c:pt idx="1557">
                  <c:v>125170</c:v>
                </c:pt>
                <c:pt idx="1558">
                  <c:v>192039</c:v>
                </c:pt>
                <c:pt idx="1559">
                  <c:v>42909</c:v>
                </c:pt>
                <c:pt idx="1560">
                  <c:v>152105</c:v>
                </c:pt>
                <c:pt idx="1561">
                  <c:v>30283</c:v>
                </c:pt>
                <c:pt idx="1562">
                  <c:v>41556</c:v>
                </c:pt>
                <c:pt idx="1563">
                  <c:v>62425</c:v>
                </c:pt>
                <c:pt idx="1564">
                  <c:v>38931</c:v>
                </c:pt>
                <c:pt idx="1565">
                  <c:v>25371</c:v>
                </c:pt>
                <c:pt idx="1566">
                  <c:v>52198</c:v>
                </c:pt>
                <c:pt idx="1567">
                  <c:v>37557</c:v>
                </c:pt>
                <c:pt idx="1568">
                  <c:v>54992</c:v>
                </c:pt>
                <c:pt idx="1569">
                  <c:v>88209</c:v>
                </c:pt>
                <c:pt idx="1570">
                  <c:v>69375</c:v>
                </c:pt>
                <c:pt idx="1571">
                  <c:v>47292</c:v>
                </c:pt>
                <c:pt idx="1572">
                  <c:v>49928</c:v>
                </c:pt>
                <c:pt idx="1573">
                  <c:v>38514</c:v>
                </c:pt>
                <c:pt idx="1574">
                  <c:v>294999</c:v>
                </c:pt>
                <c:pt idx="1575">
                  <c:v>62503</c:v>
                </c:pt>
                <c:pt idx="1576">
                  <c:v>41925</c:v>
                </c:pt>
                <c:pt idx="1577">
                  <c:v>44239</c:v>
                </c:pt>
                <c:pt idx="1578">
                  <c:v>24605</c:v>
                </c:pt>
                <c:pt idx="1579">
                  <c:v>34512</c:v>
                </c:pt>
                <c:pt idx="1580">
                  <c:v>63561</c:v>
                </c:pt>
                <c:pt idx="1581">
                  <c:v>202720</c:v>
                </c:pt>
                <c:pt idx="1582">
                  <c:v>37893</c:v>
                </c:pt>
                <c:pt idx="1583">
                  <c:v>28595</c:v>
                </c:pt>
                <c:pt idx="1584">
                  <c:v>44970</c:v>
                </c:pt>
                <c:pt idx="1585">
                  <c:v>47084</c:v>
                </c:pt>
                <c:pt idx="1586">
                  <c:v>155075</c:v>
                </c:pt>
                <c:pt idx="1587">
                  <c:v>26212</c:v>
                </c:pt>
                <c:pt idx="1588">
                  <c:v>25185</c:v>
                </c:pt>
                <c:pt idx="1589">
                  <c:v>38182</c:v>
                </c:pt>
                <c:pt idx="1590">
                  <c:v>58507</c:v>
                </c:pt>
                <c:pt idx="1591">
                  <c:v>61287</c:v>
                </c:pt>
                <c:pt idx="1592">
                  <c:v>72604</c:v>
                </c:pt>
                <c:pt idx="1593">
                  <c:v>58716</c:v>
                </c:pt>
                <c:pt idx="1594">
                  <c:v>37427</c:v>
                </c:pt>
                <c:pt idx="1595">
                  <c:v>140458</c:v>
                </c:pt>
                <c:pt idx="1596">
                  <c:v>75612</c:v>
                </c:pt>
                <c:pt idx="1597">
                  <c:v>55673</c:v>
                </c:pt>
                <c:pt idx="1598">
                  <c:v>36031</c:v>
                </c:pt>
                <c:pt idx="1599">
                  <c:v>218154</c:v>
                </c:pt>
                <c:pt idx="1600">
                  <c:v>18717</c:v>
                </c:pt>
                <c:pt idx="1601">
                  <c:v>45406</c:v>
                </c:pt>
                <c:pt idx="1602">
                  <c:v>47727</c:v>
                </c:pt>
                <c:pt idx="1603">
                  <c:v>34589</c:v>
                </c:pt>
                <c:pt idx="1604">
                  <c:v>22475</c:v>
                </c:pt>
                <c:pt idx="1605">
                  <c:v>93607</c:v>
                </c:pt>
                <c:pt idx="1606">
                  <c:v>94814</c:v>
                </c:pt>
                <c:pt idx="1607">
                  <c:v>65005</c:v>
                </c:pt>
                <c:pt idx="1608">
                  <c:v>108758</c:v>
                </c:pt>
                <c:pt idx="1609">
                  <c:v>45267</c:v>
                </c:pt>
                <c:pt idx="1610">
                  <c:v>30531</c:v>
                </c:pt>
                <c:pt idx="1611">
                  <c:v>137686</c:v>
                </c:pt>
                <c:pt idx="1612">
                  <c:v>46786</c:v>
                </c:pt>
                <c:pt idx="1613">
                  <c:v>25928</c:v>
                </c:pt>
                <c:pt idx="1614">
                  <c:v>48722</c:v>
                </c:pt>
                <c:pt idx="1615">
                  <c:v>26281</c:v>
                </c:pt>
                <c:pt idx="1616">
                  <c:v>121265</c:v>
                </c:pt>
                <c:pt idx="1617">
                  <c:v>84750</c:v>
                </c:pt>
                <c:pt idx="1618">
                  <c:v>19750</c:v>
                </c:pt>
                <c:pt idx="1619">
                  <c:v>141140</c:v>
                </c:pt>
                <c:pt idx="1620">
                  <c:v>53206</c:v>
                </c:pt>
                <c:pt idx="1621">
                  <c:v>35461</c:v>
                </c:pt>
                <c:pt idx="1622">
                  <c:v>128804</c:v>
                </c:pt>
                <c:pt idx="1623">
                  <c:v>128017</c:v>
                </c:pt>
                <c:pt idx="1624">
                  <c:v>24457</c:v>
                </c:pt>
                <c:pt idx="1625">
                  <c:v>93042</c:v>
                </c:pt>
                <c:pt idx="1626">
                  <c:v>38111</c:v>
                </c:pt>
                <c:pt idx="1627">
                  <c:v>107826</c:v>
                </c:pt>
                <c:pt idx="1628">
                  <c:v>56075</c:v>
                </c:pt>
                <c:pt idx="1629">
                  <c:v>45082</c:v>
                </c:pt>
                <c:pt idx="1630">
                  <c:v>42949</c:v>
                </c:pt>
                <c:pt idx="1631">
                  <c:v>34246</c:v>
                </c:pt>
                <c:pt idx="1632">
                  <c:v>31003</c:v>
                </c:pt>
                <c:pt idx="1633">
                  <c:v>89478</c:v>
                </c:pt>
                <c:pt idx="1634">
                  <c:v>25781</c:v>
                </c:pt>
                <c:pt idx="1635">
                  <c:v>33005</c:v>
                </c:pt>
                <c:pt idx="1636">
                  <c:v>223446</c:v>
                </c:pt>
                <c:pt idx="1637">
                  <c:v>36109</c:v>
                </c:pt>
                <c:pt idx="1638">
                  <c:v>51191</c:v>
                </c:pt>
                <c:pt idx="1639">
                  <c:v>115811</c:v>
                </c:pt>
                <c:pt idx="1640">
                  <c:v>68156</c:v>
                </c:pt>
                <c:pt idx="1641">
                  <c:v>28791</c:v>
                </c:pt>
                <c:pt idx="1642">
                  <c:v>40423</c:v>
                </c:pt>
                <c:pt idx="1643">
                  <c:v>27550</c:v>
                </c:pt>
                <c:pt idx="1644">
                  <c:v>65553</c:v>
                </c:pt>
                <c:pt idx="1645">
                  <c:v>44440</c:v>
                </c:pt>
                <c:pt idx="1646">
                  <c:v>42269</c:v>
                </c:pt>
                <c:pt idx="1647">
                  <c:v>49958</c:v>
                </c:pt>
                <c:pt idx="1648">
                  <c:v>43945</c:v>
                </c:pt>
                <c:pt idx="1649">
                  <c:v>38577</c:v>
                </c:pt>
                <c:pt idx="1650">
                  <c:v>53176</c:v>
                </c:pt>
                <c:pt idx="1651">
                  <c:v>347765</c:v>
                </c:pt>
                <c:pt idx="1652">
                  <c:v>68531</c:v>
                </c:pt>
                <c:pt idx="1653">
                  <c:v>24268</c:v>
                </c:pt>
                <c:pt idx="1654">
                  <c:v>93481</c:v>
                </c:pt>
                <c:pt idx="1655">
                  <c:v>61646</c:v>
                </c:pt>
                <c:pt idx="1656">
                  <c:v>91447</c:v>
                </c:pt>
                <c:pt idx="1657">
                  <c:v>24665</c:v>
                </c:pt>
                <c:pt idx="1658">
                  <c:v>36709</c:v>
                </c:pt>
                <c:pt idx="1659">
                  <c:v>43359</c:v>
                </c:pt>
                <c:pt idx="1660">
                  <c:v>36602</c:v>
                </c:pt>
                <c:pt idx="1661">
                  <c:v>43098</c:v>
                </c:pt>
                <c:pt idx="1662">
                  <c:v>59488</c:v>
                </c:pt>
                <c:pt idx="1663">
                  <c:v>76242</c:v>
                </c:pt>
                <c:pt idx="1664">
                  <c:v>32721</c:v>
                </c:pt>
                <c:pt idx="1665">
                  <c:v>57560</c:v>
                </c:pt>
                <c:pt idx="1666">
                  <c:v>23583</c:v>
                </c:pt>
                <c:pt idx="1667">
                  <c:v>44207</c:v>
                </c:pt>
                <c:pt idx="1668">
                  <c:v>46917</c:v>
                </c:pt>
                <c:pt idx="1669">
                  <c:v>133595</c:v>
                </c:pt>
                <c:pt idx="1670">
                  <c:v>88977</c:v>
                </c:pt>
                <c:pt idx="1671">
                  <c:v>57773</c:v>
                </c:pt>
                <c:pt idx="1672">
                  <c:v>91930</c:v>
                </c:pt>
                <c:pt idx="1673">
                  <c:v>67607</c:v>
                </c:pt>
                <c:pt idx="1674">
                  <c:v>38483</c:v>
                </c:pt>
                <c:pt idx="1675">
                  <c:v>195973</c:v>
                </c:pt>
                <c:pt idx="1676">
                  <c:v>61149</c:v>
                </c:pt>
                <c:pt idx="1677">
                  <c:v>21986</c:v>
                </c:pt>
                <c:pt idx="1678">
                  <c:v>69797</c:v>
                </c:pt>
                <c:pt idx="1679">
                  <c:v>26100</c:v>
                </c:pt>
                <c:pt idx="1680">
                  <c:v>71683</c:v>
                </c:pt>
                <c:pt idx="1681">
                  <c:v>36529</c:v>
                </c:pt>
                <c:pt idx="1682">
                  <c:v>43461</c:v>
                </c:pt>
                <c:pt idx="1683">
                  <c:v>30063</c:v>
                </c:pt>
                <c:pt idx="1684">
                  <c:v>23713</c:v>
                </c:pt>
                <c:pt idx="1685">
                  <c:v>31911</c:v>
                </c:pt>
                <c:pt idx="1686">
                  <c:v>24888</c:v>
                </c:pt>
                <c:pt idx="1687">
                  <c:v>37193</c:v>
                </c:pt>
                <c:pt idx="1688">
                  <c:v>49639</c:v>
                </c:pt>
                <c:pt idx="1689">
                  <c:v>48385</c:v>
                </c:pt>
                <c:pt idx="1690">
                  <c:v>104406</c:v>
                </c:pt>
                <c:pt idx="1691">
                  <c:v>28382</c:v>
                </c:pt>
                <c:pt idx="1692">
                  <c:v>33794</c:v>
                </c:pt>
                <c:pt idx="1693">
                  <c:v>93716</c:v>
                </c:pt>
                <c:pt idx="1694">
                  <c:v>51051</c:v>
                </c:pt>
                <c:pt idx="1695">
                  <c:v>33762</c:v>
                </c:pt>
                <c:pt idx="1696">
                  <c:v>37108</c:v>
                </c:pt>
                <c:pt idx="1697">
                  <c:v>33270</c:v>
                </c:pt>
                <c:pt idx="1698">
                  <c:v>26378</c:v>
                </c:pt>
                <c:pt idx="1699">
                  <c:v>63162</c:v>
                </c:pt>
                <c:pt idx="1700">
                  <c:v>40840</c:v>
                </c:pt>
                <c:pt idx="1701">
                  <c:v>37244</c:v>
                </c:pt>
                <c:pt idx="1702">
                  <c:v>48782</c:v>
                </c:pt>
                <c:pt idx="1703">
                  <c:v>98653</c:v>
                </c:pt>
                <c:pt idx="1704">
                  <c:v>50362</c:v>
                </c:pt>
                <c:pt idx="1705">
                  <c:v>27458</c:v>
                </c:pt>
                <c:pt idx="1706">
                  <c:v>43013</c:v>
                </c:pt>
                <c:pt idx="1707">
                  <c:v>33729</c:v>
                </c:pt>
                <c:pt idx="1708">
                  <c:v>44147</c:v>
                </c:pt>
                <c:pt idx="1709">
                  <c:v>70210</c:v>
                </c:pt>
                <c:pt idx="1710">
                  <c:v>50059</c:v>
                </c:pt>
                <c:pt idx="1711">
                  <c:v>23228</c:v>
                </c:pt>
                <c:pt idx="1712">
                  <c:v>55188</c:v>
                </c:pt>
                <c:pt idx="1713">
                  <c:v>29905</c:v>
                </c:pt>
                <c:pt idx="1714">
                  <c:v>104184</c:v>
                </c:pt>
                <c:pt idx="1715">
                  <c:v>148366</c:v>
                </c:pt>
                <c:pt idx="1716">
                  <c:v>31441</c:v>
                </c:pt>
                <c:pt idx="1717">
                  <c:v>21394</c:v>
                </c:pt>
                <c:pt idx="1718">
                  <c:v>36902</c:v>
                </c:pt>
                <c:pt idx="1719">
                  <c:v>269740</c:v>
                </c:pt>
                <c:pt idx="1720">
                  <c:v>123827</c:v>
                </c:pt>
                <c:pt idx="1721">
                  <c:v>60333</c:v>
                </c:pt>
                <c:pt idx="1722">
                  <c:v>47118</c:v>
                </c:pt>
                <c:pt idx="1723">
                  <c:v>33926</c:v>
                </c:pt>
                <c:pt idx="1724">
                  <c:v>38149</c:v>
                </c:pt>
                <c:pt idx="1725">
                  <c:v>50631</c:v>
                </c:pt>
                <c:pt idx="1726">
                  <c:v>28773</c:v>
                </c:pt>
                <c:pt idx="1727">
                  <c:v>44183</c:v>
                </c:pt>
                <c:pt idx="1728">
                  <c:v>46946</c:v>
                </c:pt>
                <c:pt idx="1729">
                  <c:v>44851</c:v>
                </c:pt>
                <c:pt idx="1730">
                  <c:v>152155</c:v>
                </c:pt>
                <c:pt idx="1731">
                  <c:v>96944</c:v>
                </c:pt>
                <c:pt idx="1732">
                  <c:v>27325</c:v>
                </c:pt>
                <c:pt idx="1733">
                  <c:v>90606</c:v>
                </c:pt>
                <c:pt idx="1734">
                  <c:v>25531</c:v>
                </c:pt>
                <c:pt idx="1735">
                  <c:v>31641</c:v>
                </c:pt>
                <c:pt idx="1736">
                  <c:v>56781</c:v>
                </c:pt>
                <c:pt idx="1737">
                  <c:v>44826</c:v>
                </c:pt>
                <c:pt idx="1738">
                  <c:v>26119</c:v>
                </c:pt>
                <c:pt idx="1739">
                  <c:v>39721</c:v>
                </c:pt>
                <c:pt idx="1740">
                  <c:v>55169</c:v>
                </c:pt>
                <c:pt idx="1741">
                  <c:v>48177</c:v>
                </c:pt>
                <c:pt idx="1742">
                  <c:v>37108</c:v>
                </c:pt>
                <c:pt idx="1743">
                  <c:v>32998</c:v>
                </c:pt>
                <c:pt idx="1744">
                  <c:v>296211</c:v>
                </c:pt>
                <c:pt idx="1745">
                  <c:v>62742</c:v>
                </c:pt>
                <c:pt idx="1746">
                  <c:v>27617</c:v>
                </c:pt>
                <c:pt idx="1747">
                  <c:v>32842</c:v>
                </c:pt>
                <c:pt idx="1748">
                  <c:v>33680</c:v>
                </c:pt>
                <c:pt idx="1749">
                  <c:v>54965</c:v>
                </c:pt>
                <c:pt idx="1750">
                  <c:v>71437</c:v>
                </c:pt>
                <c:pt idx="1751">
                  <c:v>31068</c:v>
                </c:pt>
                <c:pt idx="1752">
                  <c:v>34651</c:v>
                </c:pt>
                <c:pt idx="1753">
                  <c:v>52506</c:v>
                </c:pt>
                <c:pt idx="1754">
                  <c:v>42328</c:v>
                </c:pt>
                <c:pt idx="1755">
                  <c:v>24433</c:v>
                </c:pt>
                <c:pt idx="1756">
                  <c:v>47684</c:v>
                </c:pt>
                <c:pt idx="1757">
                  <c:v>31541</c:v>
                </c:pt>
                <c:pt idx="1758">
                  <c:v>48566</c:v>
                </c:pt>
                <c:pt idx="1759">
                  <c:v>32769</c:v>
                </c:pt>
                <c:pt idx="1760">
                  <c:v>24984</c:v>
                </c:pt>
                <c:pt idx="1761">
                  <c:v>62838</c:v>
                </c:pt>
                <c:pt idx="1762">
                  <c:v>31667</c:v>
                </c:pt>
                <c:pt idx="1763">
                  <c:v>84642</c:v>
                </c:pt>
                <c:pt idx="1764">
                  <c:v>24868</c:v>
                </c:pt>
                <c:pt idx="1765">
                  <c:v>47257</c:v>
                </c:pt>
                <c:pt idx="1766">
                  <c:v>44189</c:v>
                </c:pt>
                <c:pt idx="1767">
                  <c:v>34358</c:v>
                </c:pt>
                <c:pt idx="1768">
                  <c:v>36637</c:v>
                </c:pt>
                <c:pt idx="1769">
                  <c:v>29085</c:v>
                </c:pt>
                <c:pt idx="1770">
                  <c:v>35336</c:v>
                </c:pt>
                <c:pt idx="1771">
                  <c:v>41632</c:v>
                </c:pt>
                <c:pt idx="1772">
                  <c:v>113522</c:v>
                </c:pt>
                <c:pt idx="1773">
                  <c:v>28607</c:v>
                </c:pt>
                <c:pt idx="1774">
                  <c:v>21113</c:v>
                </c:pt>
                <c:pt idx="1775">
                  <c:v>42272</c:v>
                </c:pt>
                <c:pt idx="1776">
                  <c:v>36420</c:v>
                </c:pt>
                <c:pt idx="1777">
                  <c:v>30920</c:v>
                </c:pt>
                <c:pt idx="1778">
                  <c:v>28165</c:v>
                </c:pt>
                <c:pt idx="1779">
                  <c:v>34914</c:v>
                </c:pt>
                <c:pt idx="1780">
                  <c:v>29493</c:v>
                </c:pt>
                <c:pt idx="1781">
                  <c:v>64707</c:v>
                </c:pt>
                <c:pt idx="1782">
                  <c:v>111744</c:v>
                </c:pt>
                <c:pt idx="1783">
                  <c:v>92356</c:v>
                </c:pt>
                <c:pt idx="1784">
                  <c:v>52643</c:v>
                </c:pt>
                <c:pt idx="1785">
                  <c:v>126443</c:v>
                </c:pt>
                <c:pt idx="1786">
                  <c:v>48961</c:v>
                </c:pt>
                <c:pt idx="1787">
                  <c:v>346435</c:v>
                </c:pt>
                <c:pt idx="1788">
                  <c:v>39978</c:v>
                </c:pt>
                <c:pt idx="1789">
                  <c:v>45916</c:v>
                </c:pt>
                <c:pt idx="1790">
                  <c:v>43911</c:v>
                </c:pt>
                <c:pt idx="1791">
                  <c:v>56512</c:v>
                </c:pt>
                <c:pt idx="1792">
                  <c:v>45426</c:v>
                </c:pt>
                <c:pt idx="1793">
                  <c:v>33110</c:v>
                </c:pt>
                <c:pt idx="1794">
                  <c:v>64553</c:v>
                </c:pt>
                <c:pt idx="1795">
                  <c:v>23375</c:v>
                </c:pt>
                <c:pt idx="1796">
                  <c:v>42520</c:v>
                </c:pt>
                <c:pt idx="1797">
                  <c:v>49418</c:v>
                </c:pt>
                <c:pt idx="1798">
                  <c:v>36363</c:v>
                </c:pt>
                <c:pt idx="1799">
                  <c:v>35567</c:v>
                </c:pt>
                <c:pt idx="1800">
                  <c:v>66510</c:v>
                </c:pt>
                <c:pt idx="1801">
                  <c:v>46914</c:v>
                </c:pt>
                <c:pt idx="1802">
                  <c:v>58992</c:v>
                </c:pt>
                <c:pt idx="1803">
                  <c:v>46731</c:v>
                </c:pt>
                <c:pt idx="1804">
                  <c:v>26414</c:v>
                </c:pt>
                <c:pt idx="1805">
                  <c:v>157160</c:v>
                </c:pt>
                <c:pt idx="1806">
                  <c:v>97264</c:v>
                </c:pt>
                <c:pt idx="1807">
                  <c:v>27382</c:v>
                </c:pt>
                <c:pt idx="1808">
                  <c:v>22596</c:v>
                </c:pt>
                <c:pt idx="1809">
                  <c:v>30432</c:v>
                </c:pt>
                <c:pt idx="1810">
                  <c:v>66528</c:v>
                </c:pt>
                <c:pt idx="1811">
                  <c:v>116921</c:v>
                </c:pt>
                <c:pt idx="1812">
                  <c:v>42072</c:v>
                </c:pt>
                <c:pt idx="1813">
                  <c:v>97919</c:v>
                </c:pt>
                <c:pt idx="1814">
                  <c:v>35076</c:v>
                </c:pt>
                <c:pt idx="1815">
                  <c:v>22541</c:v>
                </c:pt>
                <c:pt idx="1816">
                  <c:v>39813</c:v>
                </c:pt>
                <c:pt idx="1817">
                  <c:v>52619</c:v>
                </c:pt>
                <c:pt idx="1818">
                  <c:v>46195</c:v>
                </c:pt>
                <c:pt idx="1819">
                  <c:v>46757</c:v>
                </c:pt>
                <c:pt idx="1820">
                  <c:v>58261</c:v>
                </c:pt>
                <c:pt idx="1821">
                  <c:v>119764</c:v>
                </c:pt>
                <c:pt idx="1822">
                  <c:v>58832</c:v>
                </c:pt>
                <c:pt idx="1823">
                  <c:v>38184</c:v>
                </c:pt>
                <c:pt idx="1824">
                  <c:v>28092</c:v>
                </c:pt>
                <c:pt idx="1825">
                  <c:v>60992</c:v>
                </c:pt>
                <c:pt idx="1826">
                  <c:v>96951</c:v>
                </c:pt>
                <c:pt idx="1827">
                  <c:v>50981</c:v>
                </c:pt>
                <c:pt idx="1828">
                  <c:v>40818</c:v>
                </c:pt>
                <c:pt idx="1829">
                  <c:v>56835</c:v>
                </c:pt>
                <c:pt idx="1830">
                  <c:v>28629</c:v>
                </c:pt>
                <c:pt idx="1831">
                  <c:v>34907</c:v>
                </c:pt>
                <c:pt idx="1832">
                  <c:v>27556</c:v>
                </c:pt>
                <c:pt idx="1833">
                  <c:v>78150</c:v>
                </c:pt>
                <c:pt idx="1834">
                  <c:v>22158</c:v>
                </c:pt>
                <c:pt idx="1835">
                  <c:v>39722</c:v>
                </c:pt>
                <c:pt idx="1836">
                  <c:v>29986</c:v>
                </c:pt>
                <c:pt idx="1837">
                  <c:v>33894</c:v>
                </c:pt>
                <c:pt idx="1838">
                  <c:v>40321</c:v>
                </c:pt>
                <c:pt idx="1839">
                  <c:v>34274</c:v>
                </c:pt>
                <c:pt idx="1840">
                  <c:v>111210</c:v>
                </c:pt>
                <c:pt idx="1841">
                  <c:v>62814</c:v>
                </c:pt>
                <c:pt idx="1842">
                  <c:v>128782</c:v>
                </c:pt>
                <c:pt idx="1843">
                  <c:v>139590</c:v>
                </c:pt>
                <c:pt idx="1844">
                  <c:v>295774</c:v>
                </c:pt>
                <c:pt idx="1845">
                  <c:v>37802</c:v>
                </c:pt>
                <c:pt idx="1846">
                  <c:v>23619</c:v>
                </c:pt>
                <c:pt idx="1847">
                  <c:v>37527</c:v>
                </c:pt>
                <c:pt idx="1848">
                  <c:v>94383</c:v>
                </c:pt>
                <c:pt idx="1849">
                  <c:v>122295</c:v>
                </c:pt>
                <c:pt idx="1850">
                  <c:v>56827</c:v>
                </c:pt>
                <c:pt idx="1851">
                  <c:v>91926</c:v>
                </c:pt>
                <c:pt idx="1852">
                  <c:v>33606</c:v>
                </c:pt>
                <c:pt idx="1853">
                  <c:v>48467</c:v>
                </c:pt>
                <c:pt idx="1854">
                  <c:v>40068</c:v>
                </c:pt>
                <c:pt idx="1855">
                  <c:v>146653</c:v>
                </c:pt>
                <c:pt idx="1856">
                  <c:v>69391</c:v>
                </c:pt>
                <c:pt idx="1857">
                  <c:v>139474</c:v>
                </c:pt>
                <c:pt idx="1858">
                  <c:v>36518</c:v>
                </c:pt>
                <c:pt idx="1859">
                  <c:v>68847</c:v>
                </c:pt>
                <c:pt idx="1860">
                  <c:v>38961</c:v>
                </c:pt>
                <c:pt idx="1861">
                  <c:v>48591</c:v>
                </c:pt>
                <c:pt idx="1862">
                  <c:v>29115</c:v>
                </c:pt>
                <c:pt idx="1863">
                  <c:v>52571</c:v>
                </c:pt>
                <c:pt idx="1864">
                  <c:v>36810</c:v>
                </c:pt>
                <c:pt idx="1865">
                  <c:v>165798</c:v>
                </c:pt>
                <c:pt idx="1866">
                  <c:v>47393</c:v>
                </c:pt>
                <c:pt idx="1867">
                  <c:v>96372</c:v>
                </c:pt>
                <c:pt idx="1868">
                  <c:v>64792</c:v>
                </c:pt>
                <c:pt idx="1869">
                  <c:v>37262</c:v>
                </c:pt>
                <c:pt idx="1870">
                  <c:v>30707</c:v>
                </c:pt>
                <c:pt idx="1871">
                  <c:v>45751</c:v>
                </c:pt>
                <c:pt idx="1872">
                  <c:v>25439</c:v>
                </c:pt>
                <c:pt idx="1873">
                  <c:v>45211</c:v>
                </c:pt>
                <c:pt idx="1874">
                  <c:v>78475</c:v>
                </c:pt>
                <c:pt idx="1875">
                  <c:v>39424</c:v>
                </c:pt>
                <c:pt idx="1876">
                  <c:v>37421</c:v>
                </c:pt>
                <c:pt idx="1877">
                  <c:v>30546</c:v>
                </c:pt>
                <c:pt idx="1878">
                  <c:v>43048</c:v>
                </c:pt>
                <c:pt idx="1879">
                  <c:v>40455</c:v>
                </c:pt>
                <c:pt idx="1880">
                  <c:v>30209</c:v>
                </c:pt>
                <c:pt idx="1881">
                  <c:v>26455</c:v>
                </c:pt>
                <c:pt idx="1882">
                  <c:v>29385</c:v>
                </c:pt>
                <c:pt idx="1883">
                  <c:v>29916</c:v>
                </c:pt>
                <c:pt idx="1884">
                  <c:v>34045</c:v>
                </c:pt>
                <c:pt idx="1885">
                  <c:v>45299</c:v>
                </c:pt>
                <c:pt idx="1886">
                  <c:v>27731</c:v>
                </c:pt>
                <c:pt idx="1887">
                  <c:v>255369</c:v>
                </c:pt>
                <c:pt idx="1888">
                  <c:v>26604</c:v>
                </c:pt>
                <c:pt idx="1889">
                  <c:v>35035</c:v>
                </c:pt>
                <c:pt idx="1890">
                  <c:v>35142</c:v>
                </c:pt>
                <c:pt idx="1891">
                  <c:v>28509</c:v>
                </c:pt>
                <c:pt idx="1892">
                  <c:v>177464</c:v>
                </c:pt>
                <c:pt idx="1893">
                  <c:v>78466</c:v>
                </c:pt>
                <c:pt idx="1894">
                  <c:v>29876</c:v>
                </c:pt>
                <c:pt idx="1895">
                  <c:v>37168</c:v>
                </c:pt>
                <c:pt idx="1896">
                  <c:v>60197</c:v>
                </c:pt>
                <c:pt idx="1897">
                  <c:v>415699</c:v>
                </c:pt>
                <c:pt idx="1898">
                  <c:v>126463</c:v>
                </c:pt>
                <c:pt idx="1899">
                  <c:v>45843</c:v>
                </c:pt>
                <c:pt idx="1900">
                  <c:v>23232</c:v>
                </c:pt>
                <c:pt idx="1901">
                  <c:v>38440</c:v>
                </c:pt>
                <c:pt idx="1902">
                  <c:v>190242</c:v>
                </c:pt>
                <c:pt idx="1903">
                  <c:v>35615</c:v>
                </c:pt>
                <c:pt idx="1904">
                  <c:v>30880</c:v>
                </c:pt>
                <c:pt idx="1905">
                  <c:v>135848</c:v>
                </c:pt>
                <c:pt idx="1906">
                  <c:v>93216</c:v>
                </c:pt>
                <c:pt idx="1907">
                  <c:v>34875</c:v>
                </c:pt>
                <c:pt idx="1908">
                  <c:v>91858</c:v>
                </c:pt>
                <c:pt idx="1909">
                  <c:v>32936</c:v>
                </c:pt>
                <c:pt idx="1910">
                  <c:v>74146</c:v>
                </c:pt>
                <c:pt idx="1911">
                  <c:v>136049</c:v>
                </c:pt>
                <c:pt idx="1912">
                  <c:v>49374</c:v>
                </c:pt>
                <c:pt idx="1913">
                  <c:v>113110</c:v>
                </c:pt>
                <c:pt idx="1914">
                  <c:v>72325</c:v>
                </c:pt>
                <c:pt idx="1915">
                  <c:v>23536</c:v>
                </c:pt>
                <c:pt idx="1916">
                  <c:v>49395</c:v>
                </c:pt>
                <c:pt idx="1917">
                  <c:v>48191</c:v>
                </c:pt>
                <c:pt idx="1918">
                  <c:v>24073</c:v>
                </c:pt>
                <c:pt idx="1919">
                  <c:v>45193</c:v>
                </c:pt>
                <c:pt idx="1920">
                  <c:v>199714</c:v>
                </c:pt>
                <c:pt idx="1921">
                  <c:v>55794</c:v>
                </c:pt>
                <c:pt idx="1922">
                  <c:v>37698</c:v>
                </c:pt>
                <c:pt idx="1923">
                  <c:v>28285</c:v>
                </c:pt>
                <c:pt idx="1924">
                  <c:v>33223</c:v>
                </c:pt>
                <c:pt idx="1925">
                  <c:v>29235</c:v>
                </c:pt>
                <c:pt idx="1926">
                  <c:v>26253</c:v>
                </c:pt>
                <c:pt idx="1927">
                  <c:v>28032</c:v>
                </c:pt>
                <c:pt idx="1928">
                  <c:v>290192</c:v>
                </c:pt>
                <c:pt idx="1929">
                  <c:v>40814</c:v>
                </c:pt>
                <c:pt idx="1930">
                  <c:v>147792</c:v>
                </c:pt>
                <c:pt idx="1931">
                  <c:v>37012</c:v>
                </c:pt>
                <c:pt idx="1932">
                  <c:v>102715</c:v>
                </c:pt>
                <c:pt idx="1933">
                  <c:v>69888</c:v>
                </c:pt>
                <c:pt idx="1934">
                  <c:v>45407</c:v>
                </c:pt>
                <c:pt idx="1935">
                  <c:v>40527</c:v>
                </c:pt>
                <c:pt idx="1936">
                  <c:v>25468</c:v>
                </c:pt>
                <c:pt idx="1937">
                  <c:v>104135</c:v>
                </c:pt>
                <c:pt idx="1938">
                  <c:v>233033</c:v>
                </c:pt>
                <c:pt idx="1939">
                  <c:v>35774</c:v>
                </c:pt>
                <c:pt idx="1940">
                  <c:v>32202</c:v>
                </c:pt>
                <c:pt idx="1941">
                  <c:v>75276</c:v>
                </c:pt>
                <c:pt idx="1942">
                  <c:v>42245</c:v>
                </c:pt>
                <c:pt idx="1943">
                  <c:v>31916</c:v>
                </c:pt>
                <c:pt idx="1944">
                  <c:v>33354</c:v>
                </c:pt>
                <c:pt idx="1945">
                  <c:v>37875</c:v>
                </c:pt>
                <c:pt idx="1946">
                  <c:v>70879</c:v>
                </c:pt>
                <c:pt idx="1947">
                  <c:v>32147</c:v>
                </c:pt>
                <c:pt idx="1948">
                  <c:v>106574</c:v>
                </c:pt>
                <c:pt idx="1949">
                  <c:v>41543</c:v>
                </c:pt>
                <c:pt idx="1950">
                  <c:v>39672</c:v>
                </c:pt>
                <c:pt idx="1951">
                  <c:v>48436</c:v>
                </c:pt>
                <c:pt idx="1952">
                  <c:v>61477</c:v>
                </c:pt>
                <c:pt idx="1953">
                  <c:v>44344</c:v>
                </c:pt>
                <c:pt idx="1954">
                  <c:v>47910</c:v>
                </c:pt>
                <c:pt idx="1955">
                  <c:v>53171</c:v>
                </c:pt>
                <c:pt idx="1956">
                  <c:v>47055</c:v>
                </c:pt>
                <c:pt idx="1957">
                  <c:v>44692</c:v>
                </c:pt>
                <c:pt idx="1958">
                  <c:v>55645</c:v>
                </c:pt>
                <c:pt idx="1959">
                  <c:v>46641</c:v>
                </c:pt>
                <c:pt idx="1960">
                  <c:v>144361</c:v>
                </c:pt>
                <c:pt idx="1961">
                  <c:v>44010</c:v>
                </c:pt>
                <c:pt idx="1962">
                  <c:v>88362</c:v>
                </c:pt>
                <c:pt idx="1963">
                  <c:v>111346</c:v>
                </c:pt>
                <c:pt idx="1964">
                  <c:v>30271</c:v>
                </c:pt>
                <c:pt idx="1965">
                  <c:v>51939</c:v>
                </c:pt>
                <c:pt idx="1966">
                  <c:v>77023</c:v>
                </c:pt>
                <c:pt idx="1967">
                  <c:v>33846</c:v>
                </c:pt>
                <c:pt idx="1968">
                  <c:v>57256</c:v>
                </c:pt>
                <c:pt idx="1969">
                  <c:v>225896</c:v>
                </c:pt>
                <c:pt idx="1970">
                  <c:v>38375</c:v>
                </c:pt>
                <c:pt idx="1971">
                  <c:v>25196</c:v>
                </c:pt>
                <c:pt idx="1972">
                  <c:v>32163</c:v>
                </c:pt>
                <c:pt idx="1973">
                  <c:v>26626</c:v>
                </c:pt>
                <c:pt idx="1974">
                  <c:v>64830</c:v>
                </c:pt>
                <c:pt idx="1975">
                  <c:v>27269</c:v>
                </c:pt>
                <c:pt idx="1976">
                  <c:v>41771</c:v>
                </c:pt>
                <c:pt idx="1977">
                  <c:v>46587</c:v>
                </c:pt>
                <c:pt idx="1978">
                  <c:v>21788</c:v>
                </c:pt>
                <c:pt idx="1979">
                  <c:v>29287</c:v>
                </c:pt>
                <c:pt idx="1980">
                  <c:v>44159</c:v>
                </c:pt>
                <c:pt idx="1981">
                  <c:v>32227</c:v>
                </c:pt>
                <c:pt idx="1982">
                  <c:v>41382</c:v>
                </c:pt>
                <c:pt idx="1983">
                  <c:v>62519</c:v>
                </c:pt>
                <c:pt idx="1984">
                  <c:v>61362</c:v>
                </c:pt>
                <c:pt idx="1985">
                  <c:v>56202</c:v>
                </c:pt>
                <c:pt idx="1986">
                  <c:v>50696</c:v>
                </c:pt>
                <c:pt idx="1987">
                  <c:v>70527</c:v>
                </c:pt>
                <c:pt idx="1988">
                  <c:v>57202</c:v>
                </c:pt>
                <c:pt idx="1989">
                  <c:v>79625</c:v>
                </c:pt>
                <c:pt idx="1990">
                  <c:v>24573</c:v>
                </c:pt>
                <c:pt idx="1991">
                  <c:v>32887</c:v>
                </c:pt>
                <c:pt idx="1992">
                  <c:v>98249</c:v>
                </c:pt>
                <c:pt idx="1993">
                  <c:v>32018</c:v>
                </c:pt>
                <c:pt idx="1994">
                  <c:v>34325</c:v>
                </c:pt>
                <c:pt idx="1995">
                  <c:v>82705</c:v>
                </c:pt>
                <c:pt idx="1996">
                  <c:v>35562</c:v>
                </c:pt>
                <c:pt idx="1997">
                  <c:v>127607</c:v>
                </c:pt>
                <c:pt idx="1998">
                  <c:v>29271</c:v>
                </c:pt>
                <c:pt idx="1999">
                  <c:v>43449</c:v>
                </c:pt>
                <c:pt idx="2000">
                  <c:v>97602</c:v>
                </c:pt>
                <c:pt idx="2001">
                  <c:v>42286</c:v>
                </c:pt>
                <c:pt idx="2002">
                  <c:v>32621</c:v>
                </c:pt>
                <c:pt idx="2003">
                  <c:v>91883</c:v>
                </c:pt>
                <c:pt idx="2004">
                  <c:v>45400</c:v>
                </c:pt>
                <c:pt idx="2005">
                  <c:v>130711</c:v>
                </c:pt>
                <c:pt idx="2006">
                  <c:v>88629</c:v>
                </c:pt>
                <c:pt idx="2007">
                  <c:v>45709</c:v>
                </c:pt>
                <c:pt idx="2008">
                  <c:v>109224</c:v>
                </c:pt>
                <c:pt idx="2009">
                  <c:v>40948</c:v>
                </c:pt>
                <c:pt idx="2010">
                  <c:v>38157</c:v>
                </c:pt>
                <c:pt idx="2011">
                  <c:v>114505</c:v>
                </c:pt>
                <c:pt idx="2012">
                  <c:v>35535</c:v>
                </c:pt>
                <c:pt idx="2013">
                  <c:v>47932</c:v>
                </c:pt>
                <c:pt idx="2014">
                  <c:v>28401</c:v>
                </c:pt>
                <c:pt idx="2015">
                  <c:v>84025</c:v>
                </c:pt>
                <c:pt idx="2016">
                  <c:v>67544</c:v>
                </c:pt>
                <c:pt idx="2017">
                  <c:v>24642</c:v>
                </c:pt>
                <c:pt idx="2018">
                  <c:v>163673</c:v>
                </c:pt>
                <c:pt idx="2019">
                  <c:v>67740</c:v>
                </c:pt>
                <c:pt idx="2020">
                  <c:v>30271</c:v>
                </c:pt>
                <c:pt idx="2021">
                  <c:v>92570</c:v>
                </c:pt>
                <c:pt idx="2022">
                  <c:v>34865</c:v>
                </c:pt>
                <c:pt idx="2023">
                  <c:v>46347</c:v>
                </c:pt>
                <c:pt idx="2024">
                  <c:v>291651</c:v>
                </c:pt>
                <c:pt idx="2025">
                  <c:v>67408</c:v>
                </c:pt>
                <c:pt idx="2026">
                  <c:v>31449</c:v>
                </c:pt>
                <c:pt idx="2027">
                  <c:v>37043</c:v>
                </c:pt>
                <c:pt idx="2028">
                  <c:v>35188</c:v>
                </c:pt>
                <c:pt idx="2029">
                  <c:v>23080</c:v>
                </c:pt>
                <c:pt idx="2030">
                  <c:v>30886</c:v>
                </c:pt>
                <c:pt idx="2031">
                  <c:v>58236</c:v>
                </c:pt>
                <c:pt idx="2032">
                  <c:v>109969</c:v>
                </c:pt>
                <c:pt idx="2033">
                  <c:v>64586</c:v>
                </c:pt>
                <c:pt idx="2034">
                  <c:v>24008</c:v>
                </c:pt>
                <c:pt idx="2035">
                  <c:v>101138</c:v>
                </c:pt>
                <c:pt idx="2036">
                  <c:v>42136</c:v>
                </c:pt>
                <c:pt idx="2037">
                  <c:v>46616</c:v>
                </c:pt>
                <c:pt idx="2038">
                  <c:v>100266</c:v>
                </c:pt>
                <c:pt idx="2039">
                  <c:v>37843</c:v>
                </c:pt>
                <c:pt idx="2040">
                  <c:v>54475</c:v>
                </c:pt>
                <c:pt idx="2041">
                  <c:v>41642</c:v>
                </c:pt>
                <c:pt idx="2042">
                  <c:v>48378</c:v>
                </c:pt>
                <c:pt idx="2043">
                  <c:v>38911</c:v>
                </c:pt>
                <c:pt idx="2044">
                  <c:v>36695</c:v>
                </c:pt>
                <c:pt idx="2045">
                  <c:v>83591</c:v>
                </c:pt>
                <c:pt idx="2046">
                  <c:v>77623</c:v>
                </c:pt>
                <c:pt idx="2047">
                  <c:v>68208</c:v>
                </c:pt>
                <c:pt idx="2048">
                  <c:v>70241</c:v>
                </c:pt>
                <c:pt idx="2049">
                  <c:v>35661</c:v>
                </c:pt>
                <c:pt idx="2050">
                  <c:v>56067</c:v>
                </c:pt>
                <c:pt idx="2051">
                  <c:v>123604</c:v>
                </c:pt>
                <c:pt idx="2052">
                  <c:v>100837</c:v>
                </c:pt>
                <c:pt idx="2053">
                  <c:v>333314</c:v>
                </c:pt>
                <c:pt idx="2054">
                  <c:v>98087</c:v>
                </c:pt>
                <c:pt idx="2055">
                  <c:v>50203</c:v>
                </c:pt>
                <c:pt idx="2056">
                  <c:v>25397</c:v>
                </c:pt>
                <c:pt idx="2057">
                  <c:v>35825</c:v>
                </c:pt>
                <c:pt idx="2058">
                  <c:v>27076</c:v>
                </c:pt>
                <c:pt idx="2059">
                  <c:v>35466</c:v>
                </c:pt>
                <c:pt idx="2060">
                  <c:v>51875</c:v>
                </c:pt>
                <c:pt idx="2061">
                  <c:v>33624</c:v>
                </c:pt>
                <c:pt idx="2062">
                  <c:v>31571</c:v>
                </c:pt>
                <c:pt idx="2063">
                  <c:v>49246</c:v>
                </c:pt>
                <c:pt idx="2064">
                  <c:v>48859</c:v>
                </c:pt>
                <c:pt idx="2065">
                  <c:v>36950</c:v>
                </c:pt>
                <c:pt idx="2066">
                  <c:v>100437</c:v>
                </c:pt>
                <c:pt idx="2067">
                  <c:v>118460</c:v>
                </c:pt>
                <c:pt idx="2068">
                  <c:v>54382</c:v>
                </c:pt>
                <c:pt idx="2069">
                  <c:v>67008</c:v>
                </c:pt>
                <c:pt idx="2070">
                  <c:v>52891</c:v>
                </c:pt>
                <c:pt idx="2071">
                  <c:v>284670</c:v>
                </c:pt>
                <c:pt idx="2072">
                  <c:v>15000</c:v>
                </c:pt>
                <c:pt idx="2073">
                  <c:v>90320</c:v>
                </c:pt>
                <c:pt idx="2074">
                  <c:v>24082</c:v>
                </c:pt>
                <c:pt idx="2075">
                  <c:v>75335</c:v>
                </c:pt>
                <c:pt idx="2076">
                  <c:v>43319</c:v>
                </c:pt>
                <c:pt idx="2077">
                  <c:v>80883</c:v>
                </c:pt>
                <c:pt idx="2078">
                  <c:v>64105</c:v>
                </c:pt>
                <c:pt idx="2079">
                  <c:v>42660</c:v>
                </c:pt>
                <c:pt idx="2080">
                  <c:v>21670</c:v>
                </c:pt>
                <c:pt idx="2081">
                  <c:v>137392</c:v>
                </c:pt>
                <c:pt idx="2082">
                  <c:v>38919</c:v>
                </c:pt>
                <c:pt idx="2083">
                  <c:v>36208</c:v>
                </c:pt>
                <c:pt idx="2084">
                  <c:v>40929</c:v>
                </c:pt>
                <c:pt idx="2085">
                  <c:v>54872</c:v>
                </c:pt>
                <c:pt idx="2086">
                  <c:v>49198</c:v>
                </c:pt>
                <c:pt idx="2087">
                  <c:v>45954</c:v>
                </c:pt>
                <c:pt idx="2088">
                  <c:v>206556</c:v>
                </c:pt>
                <c:pt idx="2089">
                  <c:v>47062</c:v>
                </c:pt>
                <c:pt idx="2090">
                  <c:v>36274</c:v>
                </c:pt>
                <c:pt idx="2091">
                  <c:v>58557</c:v>
                </c:pt>
                <c:pt idx="2092">
                  <c:v>38150</c:v>
                </c:pt>
                <c:pt idx="2093">
                  <c:v>63163</c:v>
                </c:pt>
                <c:pt idx="2094">
                  <c:v>63421</c:v>
                </c:pt>
                <c:pt idx="2095">
                  <c:v>59768</c:v>
                </c:pt>
                <c:pt idx="2096">
                  <c:v>40669</c:v>
                </c:pt>
                <c:pt idx="2097">
                  <c:v>97762</c:v>
                </c:pt>
                <c:pt idx="2098">
                  <c:v>50231</c:v>
                </c:pt>
                <c:pt idx="2099">
                  <c:v>47112</c:v>
                </c:pt>
                <c:pt idx="2100">
                  <c:v>55633</c:v>
                </c:pt>
                <c:pt idx="2101">
                  <c:v>55393</c:v>
                </c:pt>
                <c:pt idx="2102">
                  <c:v>25708</c:v>
                </c:pt>
                <c:pt idx="2103">
                  <c:v>152013</c:v>
                </c:pt>
                <c:pt idx="2104">
                  <c:v>43630</c:v>
                </c:pt>
                <c:pt idx="2105">
                  <c:v>60745</c:v>
                </c:pt>
                <c:pt idx="2106">
                  <c:v>28557</c:v>
                </c:pt>
                <c:pt idx="2107">
                  <c:v>44521</c:v>
                </c:pt>
                <c:pt idx="2108">
                  <c:v>36189</c:v>
                </c:pt>
                <c:pt idx="2109">
                  <c:v>91017</c:v>
                </c:pt>
                <c:pt idx="2110">
                  <c:v>39962</c:v>
                </c:pt>
                <c:pt idx="2111">
                  <c:v>22719</c:v>
                </c:pt>
                <c:pt idx="2112">
                  <c:v>63206</c:v>
                </c:pt>
                <c:pt idx="2113">
                  <c:v>82004</c:v>
                </c:pt>
                <c:pt idx="2114">
                  <c:v>23232</c:v>
                </c:pt>
                <c:pt idx="2115">
                  <c:v>24014</c:v>
                </c:pt>
                <c:pt idx="2116">
                  <c:v>25486</c:v>
                </c:pt>
                <c:pt idx="2117">
                  <c:v>75125</c:v>
                </c:pt>
                <c:pt idx="2118">
                  <c:v>32091</c:v>
                </c:pt>
                <c:pt idx="2119">
                  <c:v>27422</c:v>
                </c:pt>
                <c:pt idx="2120">
                  <c:v>33351</c:v>
                </c:pt>
                <c:pt idx="2121">
                  <c:v>27315</c:v>
                </c:pt>
                <c:pt idx="2122">
                  <c:v>416267</c:v>
                </c:pt>
                <c:pt idx="2123">
                  <c:v>45057</c:v>
                </c:pt>
                <c:pt idx="2124">
                  <c:v>60791</c:v>
                </c:pt>
                <c:pt idx="2125">
                  <c:v>31397</c:v>
                </c:pt>
                <c:pt idx="2126">
                  <c:v>26657</c:v>
                </c:pt>
                <c:pt idx="2127">
                  <c:v>32574</c:v>
                </c:pt>
                <c:pt idx="2128">
                  <c:v>39239</c:v>
                </c:pt>
                <c:pt idx="2129">
                  <c:v>34919</c:v>
                </c:pt>
                <c:pt idx="2130">
                  <c:v>46690</c:v>
                </c:pt>
                <c:pt idx="2131">
                  <c:v>41246</c:v>
                </c:pt>
                <c:pt idx="2132">
                  <c:v>35837</c:v>
                </c:pt>
                <c:pt idx="2133">
                  <c:v>37264</c:v>
                </c:pt>
                <c:pt idx="2134">
                  <c:v>113256</c:v>
                </c:pt>
                <c:pt idx="2135">
                  <c:v>43959</c:v>
                </c:pt>
                <c:pt idx="2136">
                  <c:v>86824</c:v>
                </c:pt>
                <c:pt idx="2137">
                  <c:v>23977</c:v>
                </c:pt>
                <c:pt idx="2138">
                  <c:v>21015</c:v>
                </c:pt>
                <c:pt idx="2139">
                  <c:v>36128</c:v>
                </c:pt>
                <c:pt idx="2140">
                  <c:v>56871</c:v>
                </c:pt>
                <c:pt idx="2141">
                  <c:v>50670</c:v>
                </c:pt>
                <c:pt idx="2142">
                  <c:v>43925</c:v>
                </c:pt>
                <c:pt idx="2143">
                  <c:v>53399</c:v>
                </c:pt>
                <c:pt idx="2144">
                  <c:v>28476</c:v>
                </c:pt>
                <c:pt idx="2145">
                  <c:v>184690</c:v>
                </c:pt>
                <c:pt idx="2146">
                  <c:v>39523</c:v>
                </c:pt>
                <c:pt idx="2147">
                  <c:v>56155</c:v>
                </c:pt>
                <c:pt idx="2148">
                  <c:v>44973</c:v>
                </c:pt>
                <c:pt idx="2149">
                  <c:v>33014</c:v>
                </c:pt>
                <c:pt idx="2150">
                  <c:v>51326</c:v>
                </c:pt>
                <c:pt idx="2151">
                  <c:v>89067</c:v>
                </c:pt>
                <c:pt idx="2152">
                  <c:v>43868</c:v>
                </c:pt>
                <c:pt idx="2153">
                  <c:v>141503</c:v>
                </c:pt>
                <c:pt idx="2154">
                  <c:v>21066</c:v>
                </c:pt>
                <c:pt idx="2155">
                  <c:v>30956</c:v>
                </c:pt>
                <c:pt idx="2156">
                  <c:v>44306</c:v>
                </c:pt>
                <c:pt idx="2157">
                  <c:v>68310</c:v>
                </c:pt>
                <c:pt idx="2158">
                  <c:v>53916</c:v>
                </c:pt>
                <c:pt idx="2159">
                  <c:v>74150</c:v>
                </c:pt>
                <c:pt idx="2160">
                  <c:v>46526</c:v>
                </c:pt>
                <c:pt idx="2161">
                  <c:v>120398</c:v>
                </c:pt>
                <c:pt idx="2162">
                  <c:v>39107</c:v>
                </c:pt>
                <c:pt idx="2163">
                  <c:v>211227</c:v>
                </c:pt>
                <c:pt idx="2164">
                  <c:v>72985</c:v>
                </c:pt>
                <c:pt idx="2165">
                  <c:v>34287</c:v>
                </c:pt>
                <c:pt idx="2166">
                  <c:v>206124</c:v>
                </c:pt>
                <c:pt idx="2167">
                  <c:v>24230</c:v>
                </c:pt>
                <c:pt idx="2168">
                  <c:v>38837</c:v>
                </c:pt>
                <c:pt idx="2169">
                  <c:v>50279</c:v>
                </c:pt>
                <c:pt idx="2170">
                  <c:v>94452</c:v>
                </c:pt>
                <c:pt idx="2171">
                  <c:v>43152</c:v>
                </c:pt>
                <c:pt idx="2172">
                  <c:v>25463</c:v>
                </c:pt>
                <c:pt idx="2173">
                  <c:v>50948</c:v>
                </c:pt>
                <c:pt idx="2174">
                  <c:v>50098</c:v>
                </c:pt>
                <c:pt idx="2175">
                  <c:v>28668</c:v>
                </c:pt>
                <c:pt idx="2176">
                  <c:v>28318</c:v>
                </c:pt>
                <c:pt idx="2177">
                  <c:v>46623</c:v>
                </c:pt>
                <c:pt idx="2178">
                  <c:v>83307</c:v>
                </c:pt>
                <c:pt idx="2179">
                  <c:v>106995</c:v>
                </c:pt>
                <c:pt idx="2180">
                  <c:v>86872</c:v>
                </c:pt>
                <c:pt idx="2181">
                  <c:v>32488</c:v>
                </c:pt>
                <c:pt idx="2182">
                  <c:v>42069</c:v>
                </c:pt>
                <c:pt idx="2183">
                  <c:v>42710</c:v>
                </c:pt>
                <c:pt idx="2184">
                  <c:v>50702</c:v>
                </c:pt>
                <c:pt idx="2185">
                  <c:v>69819</c:v>
                </c:pt>
                <c:pt idx="2186">
                  <c:v>48832</c:v>
                </c:pt>
                <c:pt idx="2187">
                  <c:v>39650</c:v>
                </c:pt>
                <c:pt idx="2188">
                  <c:v>149895</c:v>
                </c:pt>
                <c:pt idx="2189">
                  <c:v>74487</c:v>
                </c:pt>
                <c:pt idx="2190">
                  <c:v>26591</c:v>
                </c:pt>
                <c:pt idx="2191">
                  <c:v>36429</c:v>
                </c:pt>
                <c:pt idx="2192">
                  <c:v>40438</c:v>
                </c:pt>
                <c:pt idx="2193">
                  <c:v>23827</c:v>
                </c:pt>
                <c:pt idx="2194">
                  <c:v>54136</c:v>
                </c:pt>
                <c:pt idx="2195">
                  <c:v>37509</c:v>
                </c:pt>
                <c:pt idx="2196">
                  <c:v>36563</c:v>
                </c:pt>
                <c:pt idx="2197">
                  <c:v>36248</c:v>
                </c:pt>
                <c:pt idx="2198">
                  <c:v>24268</c:v>
                </c:pt>
                <c:pt idx="2199">
                  <c:v>30875</c:v>
                </c:pt>
                <c:pt idx="2200">
                  <c:v>138082</c:v>
                </c:pt>
                <c:pt idx="2201">
                  <c:v>28193</c:v>
                </c:pt>
                <c:pt idx="2202">
                  <c:v>127094</c:v>
                </c:pt>
                <c:pt idx="2203">
                  <c:v>47779</c:v>
                </c:pt>
                <c:pt idx="2204">
                  <c:v>230946</c:v>
                </c:pt>
                <c:pt idx="2205">
                  <c:v>173447</c:v>
                </c:pt>
                <c:pt idx="2206">
                  <c:v>30687</c:v>
                </c:pt>
                <c:pt idx="2207">
                  <c:v>31683</c:v>
                </c:pt>
                <c:pt idx="2208">
                  <c:v>54809</c:v>
                </c:pt>
                <c:pt idx="2209">
                  <c:v>29964</c:v>
                </c:pt>
                <c:pt idx="2210">
                  <c:v>24283</c:v>
                </c:pt>
                <c:pt idx="2211">
                  <c:v>63193</c:v>
                </c:pt>
                <c:pt idx="2212">
                  <c:v>85250</c:v>
                </c:pt>
                <c:pt idx="2213">
                  <c:v>39832</c:v>
                </c:pt>
                <c:pt idx="2214">
                  <c:v>71138</c:v>
                </c:pt>
                <c:pt idx="2215">
                  <c:v>39529</c:v>
                </c:pt>
                <c:pt idx="2216">
                  <c:v>31838</c:v>
                </c:pt>
                <c:pt idx="2217">
                  <c:v>52288</c:v>
                </c:pt>
                <c:pt idx="2218">
                  <c:v>71727</c:v>
                </c:pt>
                <c:pt idx="2219">
                  <c:v>23419</c:v>
                </c:pt>
                <c:pt idx="2220">
                  <c:v>36955</c:v>
                </c:pt>
                <c:pt idx="2221">
                  <c:v>32450</c:v>
                </c:pt>
                <c:pt idx="2222">
                  <c:v>30003</c:v>
                </c:pt>
                <c:pt idx="2223">
                  <c:v>38274</c:v>
                </c:pt>
                <c:pt idx="2224">
                  <c:v>33406</c:v>
                </c:pt>
                <c:pt idx="2225">
                  <c:v>24088</c:v>
                </c:pt>
                <c:pt idx="2226">
                  <c:v>50355</c:v>
                </c:pt>
                <c:pt idx="2227">
                  <c:v>43985</c:v>
                </c:pt>
                <c:pt idx="2228">
                  <c:v>46210</c:v>
                </c:pt>
                <c:pt idx="2229">
                  <c:v>59111</c:v>
                </c:pt>
                <c:pt idx="2230">
                  <c:v>52641</c:v>
                </c:pt>
                <c:pt idx="2231">
                  <c:v>41872</c:v>
                </c:pt>
                <c:pt idx="2232">
                  <c:v>29892</c:v>
                </c:pt>
                <c:pt idx="2233">
                  <c:v>29849</c:v>
                </c:pt>
                <c:pt idx="2234">
                  <c:v>197263</c:v>
                </c:pt>
                <c:pt idx="2235">
                  <c:v>56073</c:v>
                </c:pt>
                <c:pt idx="2236">
                  <c:v>25796</c:v>
                </c:pt>
                <c:pt idx="2237">
                  <c:v>30555</c:v>
                </c:pt>
                <c:pt idx="2238">
                  <c:v>34766</c:v>
                </c:pt>
                <c:pt idx="2239">
                  <c:v>57999</c:v>
                </c:pt>
                <c:pt idx="2240">
                  <c:v>43670</c:v>
                </c:pt>
                <c:pt idx="2241">
                  <c:v>41406</c:v>
                </c:pt>
                <c:pt idx="2242">
                  <c:v>184045</c:v>
                </c:pt>
                <c:pt idx="2243">
                  <c:v>385146</c:v>
                </c:pt>
                <c:pt idx="2244">
                  <c:v>76658</c:v>
                </c:pt>
                <c:pt idx="2245">
                  <c:v>54616</c:v>
                </c:pt>
                <c:pt idx="2246">
                  <c:v>39022</c:v>
                </c:pt>
                <c:pt idx="2247">
                  <c:v>40520</c:v>
                </c:pt>
                <c:pt idx="2248">
                  <c:v>35459</c:v>
                </c:pt>
                <c:pt idx="2249">
                  <c:v>45354</c:v>
                </c:pt>
                <c:pt idx="2250">
                  <c:v>36640</c:v>
                </c:pt>
                <c:pt idx="2251">
                  <c:v>48617</c:v>
                </c:pt>
                <c:pt idx="2252">
                  <c:v>28966</c:v>
                </c:pt>
                <c:pt idx="2253">
                  <c:v>38734</c:v>
                </c:pt>
                <c:pt idx="2254">
                  <c:v>71329</c:v>
                </c:pt>
                <c:pt idx="2255">
                  <c:v>40542</c:v>
                </c:pt>
                <c:pt idx="2256">
                  <c:v>41684</c:v>
                </c:pt>
                <c:pt idx="2257">
                  <c:v>30982</c:v>
                </c:pt>
                <c:pt idx="2258">
                  <c:v>38224</c:v>
                </c:pt>
                <c:pt idx="2259">
                  <c:v>52242</c:v>
                </c:pt>
                <c:pt idx="2260">
                  <c:v>46833</c:v>
                </c:pt>
                <c:pt idx="2261">
                  <c:v>52464</c:v>
                </c:pt>
                <c:pt idx="2262">
                  <c:v>25193</c:v>
                </c:pt>
                <c:pt idx="2263">
                  <c:v>95041</c:v>
                </c:pt>
                <c:pt idx="2264">
                  <c:v>40902</c:v>
                </c:pt>
                <c:pt idx="2265">
                  <c:v>65780</c:v>
                </c:pt>
                <c:pt idx="2266">
                  <c:v>56931</c:v>
                </c:pt>
                <c:pt idx="2267">
                  <c:v>39299</c:v>
                </c:pt>
                <c:pt idx="2268">
                  <c:v>38695</c:v>
                </c:pt>
                <c:pt idx="2269">
                  <c:v>100632</c:v>
                </c:pt>
                <c:pt idx="2270">
                  <c:v>36513</c:v>
                </c:pt>
                <c:pt idx="2271">
                  <c:v>45454</c:v>
                </c:pt>
                <c:pt idx="2272">
                  <c:v>30476</c:v>
                </c:pt>
                <c:pt idx="2273">
                  <c:v>37101</c:v>
                </c:pt>
                <c:pt idx="2274">
                  <c:v>124565</c:v>
                </c:pt>
                <c:pt idx="2275">
                  <c:v>105761</c:v>
                </c:pt>
                <c:pt idx="2276">
                  <c:v>43841</c:v>
                </c:pt>
                <c:pt idx="2277">
                  <c:v>95066</c:v>
                </c:pt>
                <c:pt idx="2278">
                  <c:v>25223</c:v>
                </c:pt>
                <c:pt idx="2279">
                  <c:v>30358</c:v>
                </c:pt>
                <c:pt idx="2280">
                  <c:v>43773</c:v>
                </c:pt>
                <c:pt idx="2281">
                  <c:v>110927</c:v>
                </c:pt>
                <c:pt idx="2282">
                  <c:v>43187</c:v>
                </c:pt>
                <c:pt idx="2283">
                  <c:v>34448</c:v>
                </c:pt>
                <c:pt idx="2284">
                  <c:v>39499</c:v>
                </c:pt>
                <c:pt idx="2285">
                  <c:v>41858</c:v>
                </c:pt>
                <c:pt idx="2286">
                  <c:v>167536</c:v>
                </c:pt>
                <c:pt idx="2287">
                  <c:v>112792</c:v>
                </c:pt>
                <c:pt idx="2288">
                  <c:v>32090</c:v>
                </c:pt>
                <c:pt idx="2289">
                  <c:v>132595</c:v>
                </c:pt>
                <c:pt idx="2290">
                  <c:v>39885</c:v>
                </c:pt>
                <c:pt idx="2291">
                  <c:v>39166</c:v>
                </c:pt>
                <c:pt idx="2292">
                  <c:v>31288</c:v>
                </c:pt>
                <c:pt idx="2293">
                  <c:v>71449</c:v>
                </c:pt>
                <c:pt idx="2294">
                  <c:v>42339</c:v>
                </c:pt>
                <c:pt idx="2295">
                  <c:v>47825</c:v>
                </c:pt>
                <c:pt idx="2296">
                  <c:v>70825</c:v>
                </c:pt>
                <c:pt idx="2297">
                  <c:v>23965</c:v>
                </c:pt>
                <c:pt idx="2298">
                  <c:v>152033</c:v>
                </c:pt>
                <c:pt idx="2299">
                  <c:v>50977</c:v>
                </c:pt>
                <c:pt idx="2300">
                  <c:v>127246</c:v>
                </c:pt>
                <c:pt idx="2301">
                  <c:v>132219</c:v>
                </c:pt>
                <c:pt idx="2302">
                  <c:v>33059</c:v>
                </c:pt>
                <c:pt idx="2303">
                  <c:v>59149</c:v>
                </c:pt>
                <c:pt idx="2304">
                  <c:v>45529</c:v>
                </c:pt>
                <c:pt idx="2305">
                  <c:v>41599</c:v>
                </c:pt>
                <c:pt idx="2306">
                  <c:v>61162</c:v>
                </c:pt>
                <c:pt idx="2307">
                  <c:v>26150</c:v>
                </c:pt>
                <c:pt idx="2308">
                  <c:v>43971</c:v>
                </c:pt>
                <c:pt idx="2309">
                  <c:v>54014</c:v>
                </c:pt>
                <c:pt idx="2310">
                  <c:v>24540</c:v>
                </c:pt>
                <c:pt idx="2311">
                  <c:v>24278</c:v>
                </c:pt>
                <c:pt idx="2312">
                  <c:v>23748</c:v>
                </c:pt>
                <c:pt idx="2313">
                  <c:v>24315</c:v>
                </c:pt>
                <c:pt idx="2314">
                  <c:v>39024</c:v>
                </c:pt>
                <c:pt idx="2315">
                  <c:v>39504</c:v>
                </c:pt>
                <c:pt idx="2316">
                  <c:v>27096</c:v>
                </c:pt>
                <c:pt idx="2317">
                  <c:v>40170</c:v>
                </c:pt>
                <c:pt idx="2318">
                  <c:v>33946</c:v>
                </c:pt>
                <c:pt idx="2319">
                  <c:v>42708</c:v>
                </c:pt>
                <c:pt idx="2320">
                  <c:v>72951</c:v>
                </c:pt>
                <c:pt idx="2321">
                  <c:v>29458</c:v>
                </c:pt>
                <c:pt idx="2322">
                  <c:v>27532</c:v>
                </c:pt>
                <c:pt idx="2323">
                  <c:v>47535</c:v>
                </c:pt>
                <c:pt idx="2324">
                  <c:v>168666</c:v>
                </c:pt>
                <c:pt idx="2325">
                  <c:v>50596</c:v>
                </c:pt>
                <c:pt idx="2326">
                  <c:v>34559</c:v>
                </c:pt>
                <c:pt idx="2327">
                  <c:v>49073</c:v>
                </c:pt>
                <c:pt idx="2328">
                  <c:v>40326</c:v>
                </c:pt>
                <c:pt idx="2329">
                  <c:v>160184</c:v>
                </c:pt>
                <c:pt idx="2330">
                  <c:v>251233</c:v>
                </c:pt>
                <c:pt idx="2331">
                  <c:v>42397</c:v>
                </c:pt>
                <c:pt idx="2332">
                  <c:v>68222</c:v>
                </c:pt>
                <c:pt idx="2333">
                  <c:v>47090</c:v>
                </c:pt>
                <c:pt idx="2334">
                  <c:v>27972</c:v>
                </c:pt>
                <c:pt idx="2335">
                  <c:v>61513</c:v>
                </c:pt>
                <c:pt idx="2336">
                  <c:v>78501</c:v>
                </c:pt>
                <c:pt idx="2337">
                  <c:v>198417</c:v>
                </c:pt>
                <c:pt idx="2338">
                  <c:v>37023</c:v>
                </c:pt>
                <c:pt idx="2339">
                  <c:v>37088</c:v>
                </c:pt>
                <c:pt idx="2340">
                  <c:v>191304</c:v>
                </c:pt>
                <c:pt idx="2341">
                  <c:v>26193</c:v>
                </c:pt>
                <c:pt idx="2342">
                  <c:v>66261</c:v>
                </c:pt>
                <c:pt idx="2343">
                  <c:v>25224</c:v>
                </c:pt>
                <c:pt idx="2344">
                  <c:v>40539</c:v>
                </c:pt>
                <c:pt idx="2345">
                  <c:v>47296</c:v>
                </c:pt>
                <c:pt idx="2346">
                  <c:v>34854</c:v>
                </c:pt>
                <c:pt idx="2347">
                  <c:v>66562</c:v>
                </c:pt>
                <c:pt idx="2348">
                  <c:v>29823</c:v>
                </c:pt>
                <c:pt idx="2349">
                  <c:v>22413</c:v>
                </c:pt>
                <c:pt idx="2350">
                  <c:v>131113</c:v>
                </c:pt>
                <c:pt idx="2351">
                  <c:v>35331</c:v>
                </c:pt>
                <c:pt idx="2352">
                  <c:v>37572</c:v>
                </c:pt>
                <c:pt idx="2353">
                  <c:v>26812</c:v>
                </c:pt>
                <c:pt idx="2354">
                  <c:v>64287</c:v>
                </c:pt>
                <c:pt idx="2355">
                  <c:v>61434</c:v>
                </c:pt>
                <c:pt idx="2356">
                  <c:v>39893</c:v>
                </c:pt>
                <c:pt idx="2357">
                  <c:v>46072</c:v>
                </c:pt>
                <c:pt idx="2358">
                  <c:v>87057</c:v>
                </c:pt>
                <c:pt idx="2359">
                  <c:v>32115</c:v>
                </c:pt>
                <c:pt idx="2360">
                  <c:v>28525</c:v>
                </c:pt>
                <c:pt idx="2361">
                  <c:v>36240</c:v>
                </c:pt>
                <c:pt idx="2362">
                  <c:v>37480</c:v>
                </c:pt>
                <c:pt idx="2363">
                  <c:v>27308</c:v>
                </c:pt>
                <c:pt idx="2364">
                  <c:v>60085</c:v>
                </c:pt>
                <c:pt idx="2365">
                  <c:v>63376</c:v>
                </c:pt>
                <c:pt idx="2366">
                  <c:v>34373</c:v>
                </c:pt>
                <c:pt idx="2367">
                  <c:v>45538</c:v>
                </c:pt>
                <c:pt idx="2368">
                  <c:v>65667</c:v>
                </c:pt>
                <c:pt idx="2369">
                  <c:v>46605</c:v>
                </c:pt>
                <c:pt idx="2370">
                  <c:v>73099</c:v>
                </c:pt>
                <c:pt idx="2371">
                  <c:v>27620</c:v>
                </c:pt>
                <c:pt idx="2372">
                  <c:v>205586</c:v>
                </c:pt>
                <c:pt idx="2373">
                  <c:v>42869</c:v>
                </c:pt>
                <c:pt idx="2374">
                  <c:v>155017</c:v>
                </c:pt>
                <c:pt idx="2375">
                  <c:v>68363</c:v>
                </c:pt>
                <c:pt idx="2376">
                  <c:v>32579</c:v>
                </c:pt>
                <c:pt idx="2377">
                  <c:v>44849</c:v>
                </c:pt>
                <c:pt idx="2378">
                  <c:v>40702</c:v>
                </c:pt>
                <c:pt idx="2379">
                  <c:v>72557</c:v>
                </c:pt>
                <c:pt idx="2380">
                  <c:v>44498</c:v>
                </c:pt>
                <c:pt idx="2381">
                  <c:v>41906</c:v>
                </c:pt>
                <c:pt idx="2382">
                  <c:v>39099</c:v>
                </c:pt>
                <c:pt idx="2383">
                  <c:v>72599</c:v>
                </c:pt>
                <c:pt idx="2384">
                  <c:v>67892</c:v>
                </c:pt>
                <c:pt idx="2385">
                  <c:v>158697</c:v>
                </c:pt>
                <c:pt idx="2386">
                  <c:v>82273</c:v>
                </c:pt>
                <c:pt idx="2387">
                  <c:v>23480</c:v>
                </c:pt>
                <c:pt idx="2388">
                  <c:v>39559</c:v>
                </c:pt>
                <c:pt idx="2389">
                  <c:v>72432</c:v>
                </c:pt>
                <c:pt idx="2390">
                  <c:v>137722</c:v>
                </c:pt>
                <c:pt idx="2391">
                  <c:v>207974</c:v>
                </c:pt>
                <c:pt idx="2392">
                  <c:v>95583</c:v>
                </c:pt>
                <c:pt idx="2393">
                  <c:v>78544</c:v>
                </c:pt>
                <c:pt idx="2394">
                  <c:v>41218</c:v>
                </c:pt>
                <c:pt idx="2395">
                  <c:v>40349</c:v>
                </c:pt>
                <c:pt idx="2396">
                  <c:v>40196</c:v>
                </c:pt>
                <c:pt idx="2397">
                  <c:v>42134</c:v>
                </c:pt>
                <c:pt idx="2398">
                  <c:v>105793</c:v>
                </c:pt>
                <c:pt idx="2399">
                  <c:v>44043</c:v>
                </c:pt>
                <c:pt idx="2400">
                  <c:v>152445</c:v>
                </c:pt>
                <c:pt idx="2401">
                  <c:v>78640</c:v>
                </c:pt>
                <c:pt idx="2402">
                  <c:v>30767</c:v>
                </c:pt>
                <c:pt idx="2403">
                  <c:v>26371</c:v>
                </c:pt>
                <c:pt idx="2404">
                  <c:v>44128</c:v>
                </c:pt>
                <c:pt idx="2405">
                  <c:v>42182</c:v>
                </c:pt>
                <c:pt idx="2406">
                  <c:v>45595</c:v>
                </c:pt>
                <c:pt idx="2407">
                  <c:v>87113</c:v>
                </c:pt>
                <c:pt idx="2408">
                  <c:v>32986</c:v>
                </c:pt>
                <c:pt idx="2409">
                  <c:v>58075</c:v>
                </c:pt>
                <c:pt idx="2410">
                  <c:v>50492</c:v>
                </c:pt>
                <c:pt idx="2411">
                  <c:v>41875</c:v>
                </c:pt>
                <c:pt idx="2412">
                  <c:v>56910</c:v>
                </c:pt>
                <c:pt idx="2413">
                  <c:v>54533</c:v>
                </c:pt>
                <c:pt idx="2414">
                  <c:v>68624</c:v>
                </c:pt>
                <c:pt idx="2415">
                  <c:v>23720</c:v>
                </c:pt>
                <c:pt idx="2416">
                  <c:v>61002</c:v>
                </c:pt>
                <c:pt idx="2417">
                  <c:v>53535</c:v>
                </c:pt>
                <c:pt idx="2418">
                  <c:v>50026</c:v>
                </c:pt>
                <c:pt idx="2419">
                  <c:v>79098</c:v>
                </c:pt>
                <c:pt idx="2420">
                  <c:v>29130</c:v>
                </c:pt>
                <c:pt idx="2421">
                  <c:v>27779</c:v>
                </c:pt>
                <c:pt idx="2422">
                  <c:v>34143</c:v>
                </c:pt>
                <c:pt idx="2423">
                  <c:v>36348</c:v>
                </c:pt>
                <c:pt idx="2424">
                  <c:v>35987</c:v>
                </c:pt>
                <c:pt idx="2425">
                  <c:v>88427</c:v>
                </c:pt>
                <c:pt idx="2426">
                  <c:v>33473</c:v>
                </c:pt>
                <c:pt idx="2427">
                  <c:v>48108</c:v>
                </c:pt>
                <c:pt idx="2428">
                  <c:v>51627</c:v>
                </c:pt>
                <c:pt idx="2429">
                  <c:v>82880</c:v>
                </c:pt>
                <c:pt idx="2430">
                  <c:v>210844</c:v>
                </c:pt>
                <c:pt idx="2431">
                  <c:v>64476</c:v>
                </c:pt>
                <c:pt idx="2432">
                  <c:v>34596</c:v>
                </c:pt>
                <c:pt idx="2433">
                  <c:v>29408</c:v>
                </c:pt>
                <c:pt idx="2434">
                  <c:v>37387</c:v>
                </c:pt>
                <c:pt idx="2435">
                  <c:v>30511</c:v>
                </c:pt>
                <c:pt idx="2436">
                  <c:v>44117</c:v>
                </c:pt>
                <c:pt idx="2437">
                  <c:v>35965</c:v>
                </c:pt>
                <c:pt idx="2438">
                  <c:v>37395</c:v>
                </c:pt>
                <c:pt idx="2439">
                  <c:v>28142</c:v>
                </c:pt>
                <c:pt idx="2440">
                  <c:v>59476</c:v>
                </c:pt>
                <c:pt idx="2441">
                  <c:v>66370</c:v>
                </c:pt>
                <c:pt idx="2442">
                  <c:v>42453</c:v>
                </c:pt>
                <c:pt idx="2443">
                  <c:v>137722</c:v>
                </c:pt>
                <c:pt idx="2444">
                  <c:v>99195</c:v>
                </c:pt>
                <c:pt idx="2445">
                  <c:v>103727</c:v>
                </c:pt>
                <c:pt idx="2446">
                  <c:v>33052</c:v>
                </c:pt>
                <c:pt idx="2447">
                  <c:v>47118</c:v>
                </c:pt>
                <c:pt idx="2448">
                  <c:v>32678</c:v>
                </c:pt>
                <c:pt idx="2449">
                  <c:v>37611</c:v>
                </c:pt>
                <c:pt idx="2450">
                  <c:v>62524</c:v>
                </c:pt>
                <c:pt idx="2451">
                  <c:v>34358</c:v>
                </c:pt>
                <c:pt idx="2452">
                  <c:v>57763</c:v>
                </c:pt>
                <c:pt idx="2453">
                  <c:v>23217</c:v>
                </c:pt>
                <c:pt idx="2454">
                  <c:v>38259</c:v>
                </c:pt>
                <c:pt idx="2455">
                  <c:v>31507</c:v>
                </c:pt>
                <c:pt idx="2456">
                  <c:v>112730</c:v>
                </c:pt>
                <c:pt idx="2457">
                  <c:v>37249</c:v>
                </c:pt>
                <c:pt idx="2458">
                  <c:v>43582</c:v>
                </c:pt>
                <c:pt idx="2459">
                  <c:v>82902</c:v>
                </c:pt>
                <c:pt idx="2460">
                  <c:v>28293</c:v>
                </c:pt>
                <c:pt idx="2461">
                  <c:v>68943</c:v>
                </c:pt>
                <c:pt idx="2462">
                  <c:v>127397</c:v>
                </c:pt>
                <c:pt idx="2463">
                  <c:v>23764</c:v>
                </c:pt>
                <c:pt idx="2464">
                  <c:v>142244</c:v>
                </c:pt>
                <c:pt idx="2465">
                  <c:v>23940</c:v>
                </c:pt>
                <c:pt idx="2466">
                  <c:v>23110</c:v>
                </c:pt>
                <c:pt idx="2467">
                  <c:v>40299</c:v>
                </c:pt>
                <c:pt idx="2468">
                  <c:v>29522</c:v>
                </c:pt>
                <c:pt idx="2469">
                  <c:v>49151</c:v>
                </c:pt>
                <c:pt idx="2470">
                  <c:v>58918</c:v>
                </c:pt>
                <c:pt idx="2471">
                  <c:v>29560</c:v>
                </c:pt>
                <c:pt idx="2472">
                  <c:v>44041</c:v>
                </c:pt>
                <c:pt idx="2473">
                  <c:v>28561</c:v>
                </c:pt>
                <c:pt idx="2474">
                  <c:v>29808</c:v>
                </c:pt>
                <c:pt idx="2475">
                  <c:v>91482</c:v>
                </c:pt>
                <c:pt idx="2476">
                  <c:v>21638</c:v>
                </c:pt>
                <c:pt idx="2477">
                  <c:v>42046</c:v>
                </c:pt>
                <c:pt idx="2478">
                  <c:v>47698</c:v>
                </c:pt>
                <c:pt idx="2479">
                  <c:v>60140</c:v>
                </c:pt>
                <c:pt idx="2480">
                  <c:v>83497</c:v>
                </c:pt>
                <c:pt idx="2481">
                  <c:v>27168</c:v>
                </c:pt>
                <c:pt idx="2482">
                  <c:v>46973</c:v>
                </c:pt>
                <c:pt idx="2483">
                  <c:v>39585</c:v>
                </c:pt>
                <c:pt idx="2484">
                  <c:v>83915</c:v>
                </c:pt>
                <c:pt idx="2485">
                  <c:v>74162</c:v>
                </c:pt>
                <c:pt idx="2486">
                  <c:v>81368</c:v>
                </c:pt>
                <c:pt idx="2487">
                  <c:v>29114</c:v>
                </c:pt>
                <c:pt idx="2488">
                  <c:v>45483</c:v>
                </c:pt>
                <c:pt idx="2489">
                  <c:v>30970</c:v>
                </c:pt>
                <c:pt idx="2490">
                  <c:v>69116</c:v>
                </c:pt>
                <c:pt idx="2491">
                  <c:v>28893</c:v>
                </c:pt>
                <c:pt idx="2492">
                  <c:v>75231</c:v>
                </c:pt>
                <c:pt idx="2493">
                  <c:v>54093</c:v>
                </c:pt>
                <c:pt idx="2494">
                  <c:v>65473</c:v>
                </c:pt>
                <c:pt idx="2495">
                  <c:v>105843</c:v>
                </c:pt>
                <c:pt idx="2496">
                  <c:v>76298</c:v>
                </c:pt>
                <c:pt idx="2497">
                  <c:v>46232</c:v>
                </c:pt>
                <c:pt idx="2498">
                  <c:v>22367</c:v>
                </c:pt>
                <c:pt idx="2499">
                  <c:v>34986</c:v>
                </c:pt>
                <c:pt idx="2500">
                  <c:v>42148</c:v>
                </c:pt>
                <c:pt idx="2501">
                  <c:v>65686</c:v>
                </c:pt>
                <c:pt idx="2502">
                  <c:v>44893</c:v>
                </c:pt>
                <c:pt idx="2503">
                  <c:v>132593</c:v>
                </c:pt>
                <c:pt idx="2504">
                  <c:v>39506</c:v>
                </c:pt>
                <c:pt idx="2505">
                  <c:v>27885</c:v>
                </c:pt>
                <c:pt idx="2506">
                  <c:v>36086</c:v>
                </c:pt>
                <c:pt idx="2507">
                  <c:v>194381</c:v>
                </c:pt>
                <c:pt idx="2508">
                  <c:v>35925</c:v>
                </c:pt>
                <c:pt idx="2509">
                  <c:v>49927</c:v>
                </c:pt>
                <c:pt idx="2510">
                  <c:v>35350</c:v>
                </c:pt>
                <c:pt idx="2511">
                  <c:v>87615</c:v>
                </c:pt>
                <c:pt idx="2512">
                  <c:v>25601</c:v>
                </c:pt>
                <c:pt idx="2513">
                  <c:v>36912</c:v>
                </c:pt>
                <c:pt idx="2514">
                  <c:v>53316</c:v>
                </c:pt>
                <c:pt idx="2515">
                  <c:v>28391</c:v>
                </c:pt>
                <c:pt idx="2516">
                  <c:v>39175</c:v>
                </c:pt>
                <c:pt idx="2517">
                  <c:v>31456</c:v>
                </c:pt>
                <c:pt idx="2518">
                  <c:v>39405</c:v>
                </c:pt>
                <c:pt idx="2519">
                  <c:v>52257</c:v>
                </c:pt>
                <c:pt idx="2520">
                  <c:v>53635</c:v>
                </c:pt>
                <c:pt idx="2521">
                  <c:v>172428</c:v>
                </c:pt>
                <c:pt idx="2522">
                  <c:v>91773</c:v>
                </c:pt>
                <c:pt idx="2523">
                  <c:v>48565</c:v>
                </c:pt>
                <c:pt idx="2524">
                  <c:v>55206</c:v>
                </c:pt>
                <c:pt idx="2525">
                  <c:v>89582</c:v>
                </c:pt>
                <c:pt idx="2526">
                  <c:v>50505</c:v>
                </c:pt>
                <c:pt idx="2527">
                  <c:v>62765</c:v>
                </c:pt>
                <c:pt idx="2528">
                  <c:v>42788</c:v>
                </c:pt>
                <c:pt idx="2529">
                  <c:v>83655</c:v>
                </c:pt>
                <c:pt idx="2530">
                  <c:v>92972</c:v>
                </c:pt>
                <c:pt idx="2531">
                  <c:v>38600</c:v>
                </c:pt>
                <c:pt idx="2532">
                  <c:v>30448</c:v>
                </c:pt>
                <c:pt idx="2533">
                  <c:v>40087</c:v>
                </c:pt>
                <c:pt idx="2534">
                  <c:v>25282</c:v>
                </c:pt>
                <c:pt idx="2535">
                  <c:v>28673</c:v>
                </c:pt>
                <c:pt idx="2536">
                  <c:v>32468</c:v>
                </c:pt>
                <c:pt idx="2537">
                  <c:v>62610</c:v>
                </c:pt>
                <c:pt idx="2538">
                  <c:v>35087</c:v>
                </c:pt>
                <c:pt idx="2539">
                  <c:v>111717</c:v>
                </c:pt>
                <c:pt idx="2540">
                  <c:v>54644</c:v>
                </c:pt>
                <c:pt idx="2541">
                  <c:v>89845</c:v>
                </c:pt>
                <c:pt idx="2542">
                  <c:v>32329</c:v>
                </c:pt>
                <c:pt idx="2543">
                  <c:v>45397</c:v>
                </c:pt>
                <c:pt idx="2544">
                  <c:v>25698</c:v>
                </c:pt>
                <c:pt idx="2545">
                  <c:v>115285</c:v>
                </c:pt>
                <c:pt idx="2546">
                  <c:v>35830</c:v>
                </c:pt>
                <c:pt idx="2547">
                  <c:v>95034</c:v>
                </c:pt>
                <c:pt idx="2548">
                  <c:v>67976</c:v>
                </c:pt>
                <c:pt idx="2549">
                  <c:v>43866</c:v>
                </c:pt>
                <c:pt idx="2550">
                  <c:v>53636</c:v>
                </c:pt>
                <c:pt idx="2551">
                  <c:v>32315</c:v>
                </c:pt>
                <c:pt idx="2552">
                  <c:v>31124</c:v>
                </c:pt>
                <c:pt idx="2553">
                  <c:v>81459</c:v>
                </c:pt>
                <c:pt idx="2554">
                  <c:v>59478</c:v>
                </c:pt>
                <c:pt idx="2555">
                  <c:v>126137</c:v>
                </c:pt>
                <c:pt idx="2556">
                  <c:v>20012</c:v>
                </c:pt>
                <c:pt idx="2557">
                  <c:v>76975</c:v>
                </c:pt>
                <c:pt idx="2558">
                  <c:v>31296</c:v>
                </c:pt>
                <c:pt idx="2559">
                  <c:v>83809</c:v>
                </c:pt>
                <c:pt idx="2560">
                  <c:v>27400</c:v>
                </c:pt>
                <c:pt idx="2561">
                  <c:v>35588</c:v>
                </c:pt>
                <c:pt idx="2562">
                  <c:v>71766</c:v>
                </c:pt>
                <c:pt idx="2563">
                  <c:v>43243</c:v>
                </c:pt>
                <c:pt idx="2564">
                  <c:v>97538</c:v>
                </c:pt>
                <c:pt idx="2565">
                  <c:v>48994</c:v>
                </c:pt>
                <c:pt idx="2566">
                  <c:v>58798</c:v>
                </c:pt>
                <c:pt idx="2567">
                  <c:v>96915</c:v>
                </c:pt>
                <c:pt idx="2568">
                  <c:v>30788</c:v>
                </c:pt>
                <c:pt idx="2569">
                  <c:v>60202</c:v>
                </c:pt>
                <c:pt idx="2570">
                  <c:v>199464</c:v>
                </c:pt>
                <c:pt idx="2571">
                  <c:v>25154</c:v>
                </c:pt>
                <c:pt idx="2572">
                  <c:v>38869</c:v>
                </c:pt>
                <c:pt idx="2573">
                  <c:v>45289</c:v>
                </c:pt>
                <c:pt idx="2574">
                  <c:v>30097</c:v>
                </c:pt>
                <c:pt idx="2575">
                  <c:v>42989</c:v>
                </c:pt>
                <c:pt idx="2576">
                  <c:v>93121</c:v>
                </c:pt>
                <c:pt idx="2577">
                  <c:v>23947</c:v>
                </c:pt>
                <c:pt idx="2578">
                  <c:v>52939</c:v>
                </c:pt>
                <c:pt idx="2579">
                  <c:v>63506</c:v>
                </c:pt>
                <c:pt idx="2580">
                  <c:v>22282</c:v>
                </c:pt>
                <c:pt idx="2581">
                  <c:v>67670</c:v>
                </c:pt>
                <c:pt idx="2582">
                  <c:v>44185</c:v>
                </c:pt>
                <c:pt idx="2583">
                  <c:v>30382</c:v>
                </c:pt>
                <c:pt idx="2584">
                  <c:v>20052</c:v>
                </c:pt>
                <c:pt idx="2585">
                  <c:v>46590</c:v>
                </c:pt>
                <c:pt idx="2586">
                  <c:v>37797</c:v>
                </c:pt>
                <c:pt idx="2587">
                  <c:v>203277</c:v>
                </c:pt>
                <c:pt idx="2588">
                  <c:v>29049</c:v>
                </c:pt>
                <c:pt idx="2589">
                  <c:v>42167</c:v>
                </c:pt>
                <c:pt idx="2590">
                  <c:v>101892</c:v>
                </c:pt>
                <c:pt idx="2591">
                  <c:v>42109</c:v>
                </c:pt>
                <c:pt idx="2592">
                  <c:v>68106</c:v>
                </c:pt>
                <c:pt idx="2593">
                  <c:v>35576</c:v>
                </c:pt>
                <c:pt idx="2594">
                  <c:v>45625</c:v>
                </c:pt>
                <c:pt idx="2595">
                  <c:v>48514</c:v>
                </c:pt>
                <c:pt idx="2596">
                  <c:v>128620</c:v>
                </c:pt>
                <c:pt idx="2597">
                  <c:v>124062</c:v>
                </c:pt>
                <c:pt idx="2598">
                  <c:v>23500</c:v>
                </c:pt>
                <c:pt idx="2599">
                  <c:v>29839</c:v>
                </c:pt>
                <c:pt idx="2600">
                  <c:v>31200</c:v>
                </c:pt>
                <c:pt idx="2601">
                  <c:v>45379</c:v>
                </c:pt>
                <c:pt idx="2602">
                  <c:v>76929</c:v>
                </c:pt>
                <c:pt idx="2603">
                  <c:v>32867</c:v>
                </c:pt>
                <c:pt idx="2604">
                  <c:v>28064</c:v>
                </c:pt>
                <c:pt idx="2605">
                  <c:v>26348</c:v>
                </c:pt>
                <c:pt idx="2606">
                  <c:v>132018</c:v>
                </c:pt>
                <c:pt idx="2607">
                  <c:v>67819</c:v>
                </c:pt>
                <c:pt idx="2608">
                  <c:v>26998</c:v>
                </c:pt>
                <c:pt idx="2609">
                  <c:v>33469</c:v>
                </c:pt>
                <c:pt idx="2610">
                  <c:v>154382</c:v>
                </c:pt>
                <c:pt idx="2611">
                  <c:v>29487</c:v>
                </c:pt>
                <c:pt idx="2612">
                  <c:v>111982</c:v>
                </c:pt>
                <c:pt idx="2613">
                  <c:v>219057</c:v>
                </c:pt>
                <c:pt idx="2614">
                  <c:v>31889</c:v>
                </c:pt>
                <c:pt idx="2615">
                  <c:v>115354</c:v>
                </c:pt>
                <c:pt idx="2616">
                  <c:v>34998</c:v>
                </c:pt>
                <c:pt idx="2617">
                  <c:v>332252</c:v>
                </c:pt>
                <c:pt idx="2618">
                  <c:v>133681</c:v>
                </c:pt>
                <c:pt idx="2619">
                  <c:v>43786</c:v>
                </c:pt>
                <c:pt idx="2620">
                  <c:v>25770</c:v>
                </c:pt>
                <c:pt idx="2621">
                  <c:v>107112</c:v>
                </c:pt>
                <c:pt idx="2622">
                  <c:v>193917</c:v>
                </c:pt>
                <c:pt idx="2623">
                  <c:v>28080</c:v>
                </c:pt>
                <c:pt idx="2624">
                  <c:v>68014</c:v>
                </c:pt>
                <c:pt idx="2625">
                  <c:v>99882</c:v>
                </c:pt>
                <c:pt idx="2626">
                  <c:v>33668</c:v>
                </c:pt>
                <c:pt idx="2627">
                  <c:v>112875</c:v>
                </c:pt>
                <c:pt idx="2628">
                  <c:v>25958</c:v>
                </c:pt>
                <c:pt idx="2629">
                  <c:v>68114</c:v>
                </c:pt>
                <c:pt idx="2630">
                  <c:v>40612</c:v>
                </c:pt>
                <c:pt idx="2631">
                  <c:v>70237</c:v>
                </c:pt>
                <c:pt idx="2632">
                  <c:v>73509</c:v>
                </c:pt>
                <c:pt idx="2633">
                  <c:v>41742</c:v>
                </c:pt>
                <c:pt idx="2634">
                  <c:v>33089</c:v>
                </c:pt>
                <c:pt idx="2635">
                  <c:v>34680</c:v>
                </c:pt>
                <c:pt idx="2636">
                  <c:v>27364</c:v>
                </c:pt>
                <c:pt idx="2637">
                  <c:v>32139</c:v>
                </c:pt>
                <c:pt idx="2638">
                  <c:v>37849</c:v>
                </c:pt>
                <c:pt idx="2639">
                  <c:v>26607</c:v>
                </c:pt>
                <c:pt idx="2640">
                  <c:v>32515</c:v>
                </c:pt>
                <c:pt idx="2641">
                  <c:v>80814</c:v>
                </c:pt>
                <c:pt idx="2642">
                  <c:v>35958</c:v>
                </c:pt>
                <c:pt idx="2643">
                  <c:v>42969</c:v>
                </c:pt>
                <c:pt idx="2644">
                  <c:v>43727</c:v>
                </c:pt>
                <c:pt idx="2645">
                  <c:v>68346</c:v>
                </c:pt>
                <c:pt idx="2646">
                  <c:v>66782</c:v>
                </c:pt>
                <c:pt idx="2647">
                  <c:v>35538</c:v>
                </c:pt>
                <c:pt idx="2648">
                  <c:v>28534</c:v>
                </c:pt>
                <c:pt idx="2649">
                  <c:v>171254</c:v>
                </c:pt>
                <c:pt idx="2650">
                  <c:v>40066</c:v>
                </c:pt>
                <c:pt idx="2651">
                  <c:v>58173</c:v>
                </c:pt>
                <c:pt idx="2652">
                  <c:v>39930</c:v>
                </c:pt>
                <c:pt idx="2653">
                  <c:v>52201</c:v>
                </c:pt>
                <c:pt idx="2654">
                  <c:v>35576</c:v>
                </c:pt>
                <c:pt idx="2655">
                  <c:v>38489</c:v>
                </c:pt>
                <c:pt idx="2656">
                  <c:v>58619</c:v>
                </c:pt>
                <c:pt idx="2657">
                  <c:v>179922</c:v>
                </c:pt>
                <c:pt idx="2658">
                  <c:v>36110</c:v>
                </c:pt>
                <c:pt idx="2659">
                  <c:v>33371</c:v>
                </c:pt>
                <c:pt idx="2660">
                  <c:v>135580</c:v>
                </c:pt>
                <c:pt idx="2661">
                  <c:v>37471</c:v>
                </c:pt>
                <c:pt idx="2662">
                  <c:v>84807</c:v>
                </c:pt>
                <c:pt idx="2663">
                  <c:v>120403</c:v>
                </c:pt>
                <c:pt idx="2664">
                  <c:v>33765</c:v>
                </c:pt>
                <c:pt idx="2665">
                  <c:v>40341</c:v>
                </c:pt>
                <c:pt idx="2666">
                  <c:v>34351</c:v>
                </c:pt>
                <c:pt idx="2667">
                  <c:v>25737</c:v>
                </c:pt>
                <c:pt idx="2668">
                  <c:v>32368</c:v>
                </c:pt>
                <c:pt idx="2669">
                  <c:v>33825</c:v>
                </c:pt>
                <c:pt idx="2670">
                  <c:v>36165</c:v>
                </c:pt>
                <c:pt idx="2671">
                  <c:v>27054</c:v>
                </c:pt>
                <c:pt idx="2672">
                  <c:v>51537</c:v>
                </c:pt>
                <c:pt idx="2673">
                  <c:v>43787</c:v>
                </c:pt>
                <c:pt idx="2674">
                  <c:v>70239</c:v>
                </c:pt>
                <c:pt idx="2675">
                  <c:v>42601</c:v>
                </c:pt>
                <c:pt idx="2676">
                  <c:v>114670</c:v>
                </c:pt>
                <c:pt idx="2677">
                  <c:v>44399</c:v>
                </c:pt>
                <c:pt idx="2678">
                  <c:v>26004</c:v>
                </c:pt>
                <c:pt idx="2679">
                  <c:v>40059</c:v>
                </c:pt>
                <c:pt idx="2680">
                  <c:v>23064</c:v>
                </c:pt>
                <c:pt idx="2681">
                  <c:v>40093</c:v>
                </c:pt>
                <c:pt idx="2682">
                  <c:v>28812</c:v>
                </c:pt>
                <c:pt idx="2683">
                  <c:v>90151</c:v>
                </c:pt>
                <c:pt idx="2684">
                  <c:v>26533</c:v>
                </c:pt>
                <c:pt idx="2685">
                  <c:v>90834</c:v>
                </c:pt>
                <c:pt idx="2686">
                  <c:v>110505</c:v>
                </c:pt>
                <c:pt idx="2687">
                  <c:v>72579</c:v>
                </c:pt>
                <c:pt idx="2688">
                  <c:v>42608</c:v>
                </c:pt>
                <c:pt idx="2689">
                  <c:v>46236</c:v>
                </c:pt>
                <c:pt idx="2690">
                  <c:v>39102</c:v>
                </c:pt>
                <c:pt idx="2691">
                  <c:v>21827</c:v>
                </c:pt>
                <c:pt idx="2692">
                  <c:v>41590</c:v>
                </c:pt>
                <c:pt idx="2693">
                  <c:v>84638</c:v>
                </c:pt>
                <c:pt idx="2694">
                  <c:v>263639</c:v>
                </c:pt>
                <c:pt idx="2695">
                  <c:v>63143</c:v>
                </c:pt>
                <c:pt idx="2696">
                  <c:v>312382</c:v>
                </c:pt>
                <c:pt idx="2697">
                  <c:v>22835</c:v>
                </c:pt>
                <c:pt idx="2698">
                  <c:v>70363</c:v>
                </c:pt>
                <c:pt idx="2699">
                  <c:v>42166</c:v>
                </c:pt>
                <c:pt idx="2700">
                  <c:v>36271</c:v>
                </c:pt>
                <c:pt idx="2701">
                  <c:v>46833</c:v>
                </c:pt>
                <c:pt idx="2702">
                  <c:v>150749</c:v>
                </c:pt>
                <c:pt idx="2703">
                  <c:v>52786</c:v>
                </c:pt>
                <c:pt idx="2704">
                  <c:v>197806</c:v>
                </c:pt>
                <c:pt idx="2705">
                  <c:v>22841</c:v>
                </c:pt>
                <c:pt idx="2706">
                  <c:v>25599</c:v>
                </c:pt>
                <c:pt idx="2707">
                  <c:v>93045</c:v>
                </c:pt>
                <c:pt idx="2708">
                  <c:v>45925</c:v>
                </c:pt>
                <c:pt idx="2709">
                  <c:v>45016</c:v>
                </c:pt>
                <c:pt idx="2710">
                  <c:v>75307</c:v>
                </c:pt>
                <c:pt idx="2711">
                  <c:v>43116</c:v>
                </c:pt>
                <c:pt idx="2712">
                  <c:v>49051</c:v>
                </c:pt>
                <c:pt idx="2713">
                  <c:v>255481</c:v>
                </c:pt>
                <c:pt idx="2714">
                  <c:v>68914</c:v>
                </c:pt>
                <c:pt idx="2715">
                  <c:v>36858</c:v>
                </c:pt>
                <c:pt idx="2716">
                  <c:v>67158</c:v>
                </c:pt>
                <c:pt idx="2717">
                  <c:v>50685</c:v>
                </c:pt>
                <c:pt idx="2718">
                  <c:v>148039</c:v>
                </c:pt>
                <c:pt idx="2719">
                  <c:v>22342</c:v>
                </c:pt>
                <c:pt idx="2720">
                  <c:v>24644</c:v>
                </c:pt>
                <c:pt idx="2721">
                  <c:v>38825</c:v>
                </c:pt>
                <c:pt idx="2722">
                  <c:v>49779</c:v>
                </c:pt>
                <c:pt idx="2723">
                  <c:v>31279</c:v>
                </c:pt>
                <c:pt idx="2724">
                  <c:v>69442</c:v>
                </c:pt>
                <c:pt idx="2725">
                  <c:v>138021</c:v>
                </c:pt>
                <c:pt idx="2726">
                  <c:v>33305</c:v>
                </c:pt>
                <c:pt idx="2727">
                  <c:v>112797</c:v>
                </c:pt>
                <c:pt idx="2728">
                  <c:v>47222</c:v>
                </c:pt>
                <c:pt idx="2729">
                  <c:v>84099</c:v>
                </c:pt>
                <c:pt idx="2730">
                  <c:v>60172</c:v>
                </c:pt>
                <c:pt idx="2731">
                  <c:v>37027</c:v>
                </c:pt>
                <c:pt idx="2732">
                  <c:v>51575</c:v>
                </c:pt>
                <c:pt idx="2733">
                  <c:v>34964</c:v>
                </c:pt>
                <c:pt idx="2734">
                  <c:v>16080</c:v>
                </c:pt>
                <c:pt idx="2735">
                  <c:v>84089</c:v>
                </c:pt>
                <c:pt idx="2736">
                  <c:v>44547</c:v>
                </c:pt>
                <c:pt idx="2737">
                  <c:v>107156</c:v>
                </c:pt>
                <c:pt idx="2738">
                  <c:v>61508</c:v>
                </c:pt>
                <c:pt idx="2739">
                  <c:v>36602</c:v>
                </c:pt>
                <c:pt idx="2740">
                  <c:v>56337</c:v>
                </c:pt>
                <c:pt idx="2741">
                  <c:v>49427</c:v>
                </c:pt>
                <c:pt idx="2742">
                  <c:v>41383</c:v>
                </c:pt>
                <c:pt idx="2743">
                  <c:v>34956</c:v>
                </c:pt>
                <c:pt idx="2744">
                  <c:v>38974</c:v>
                </c:pt>
                <c:pt idx="2745">
                  <c:v>40585</c:v>
                </c:pt>
                <c:pt idx="2746">
                  <c:v>82331</c:v>
                </c:pt>
                <c:pt idx="2747">
                  <c:v>246264</c:v>
                </c:pt>
                <c:pt idx="2748">
                  <c:v>28588</c:v>
                </c:pt>
                <c:pt idx="2749">
                  <c:v>27696</c:v>
                </c:pt>
                <c:pt idx="2750">
                  <c:v>70280</c:v>
                </c:pt>
                <c:pt idx="2751">
                  <c:v>20347</c:v>
                </c:pt>
                <c:pt idx="2752">
                  <c:v>32973</c:v>
                </c:pt>
                <c:pt idx="2753">
                  <c:v>24227</c:v>
                </c:pt>
                <c:pt idx="2754">
                  <c:v>44832</c:v>
                </c:pt>
                <c:pt idx="2755">
                  <c:v>37223</c:v>
                </c:pt>
                <c:pt idx="2756">
                  <c:v>32834</c:v>
                </c:pt>
                <c:pt idx="2757">
                  <c:v>43290</c:v>
                </c:pt>
                <c:pt idx="2758">
                  <c:v>31301</c:v>
                </c:pt>
                <c:pt idx="2759">
                  <c:v>39014</c:v>
                </c:pt>
                <c:pt idx="2760">
                  <c:v>74568</c:v>
                </c:pt>
                <c:pt idx="2761">
                  <c:v>102792</c:v>
                </c:pt>
                <c:pt idx="2762">
                  <c:v>53633</c:v>
                </c:pt>
                <c:pt idx="2763">
                  <c:v>74345</c:v>
                </c:pt>
                <c:pt idx="2764">
                  <c:v>72582</c:v>
                </c:pt>
                <c:pt idx="2765">
                  <c:v>38121</c:v>
                </c:pt>
                <c:pt idx="2766">
                  <c:v>25845</c:v>
                </c:pt>
                <c:pt idx="2767">
                  <c:v>55989</c:v>
                </c:pt>
                <c:pt idx="2768">
                  <c:v>110175</c:v>
                </c:pt>
                <c:pt idx="2769">
                  <c:v>79411</c:v>
                </c:pt>
                <c:pt idx="2770">
                  <c:v>48075</c:v>
                </c:pt>
                <c:pt idx="2771">
                  <c:v>56196</c:v>
                </c:pt>
                <c:pt idx="2772">
                  <c:v>33002</c:v>
                </c:pt>
                <c:pt idx="2773">
                  <c:v>43835</c:v>
                </c:pt>
                <c:pt idx="2774">
                  <c:v>128031</c:v>
                </c:pt>
                <c:pt idx="2775">
                  <c:v>37595</c:v>
                </c:pt>
                <c:pt idx="2776">
                  <c:v>147228</c:v>
                </c:pt>
                <c:pt idx="2777">
                  <c:v>54049</c:v>
                </c:pt>
                <c:pt idx="2778">
                  <c:v>79774</c:v>
                </c:pt>
                <c:pt idx="2779">
                  <c:v>34896</c:v>
                </c:pt>
                <c:pt idx="2780">
                  <c:v>48612</c:v>
                </c:pt>
                <c:pt idx="2781">
                  <c:v>33023</c:v>
                </c:pt>
                <c:pt idx="2782">
                  <c:v>36658</c:v>
                </c:pt>
                <c:pt idx="2783">
                  <c:v>122325</c:v>
                </c:pt>
                <c:pt idx="2784">
                  <c:v>165942</c:v>
                </c:pt>
                <c:pt idx="2785">
                  <c:v>27294</c:v>
                </c:pt>
                <c:pt idx="2786">
                  <c:v>46100</c:v>
                </c:pt>
                <c:pt idx="2787">
                  <c:v>39160</c:v>
                </c:pt>
                <c:pt idx="2788">
                  <c:v>51711</c:v>
                </c:pt>
                <c:pt idx="2789">
                  <c:v>24551</c:v>
                </c:pt>
                <c:pt idx="2790">
                  <c:v>34789</c:v>
                </c:pt>
                <c:pt idx="2791">
                  <c:v>26748</c:v>
                </c:pt>
                <c:pt idx="2792">
                  <c:v>30850</c:v>
                </c:pt>
                <c:pt idx="2793">
                  <c:v>80576</c:v>
                </c:pt>
                <c:pt idx="2794">
                  <c:v>44970</c:v>
                </c:pt>
                <c:pt idx="2795">
                  <c:v>42817</c:v>
                </c:pt>
                <c:pt idx="2796">
                  <c:v>23811</c:v>
                </c:pt>
                <c:pt idx="2797">
                  <c:v>37826</c:v>
                </c:pt>
                <c:pt idx="2798">
                  <c:v>35430</c:v>
                </c:pt>
                <c:pt idx="2799">
                  <c:v>28474</c:v>
                </c:pt>
                <c:pt idx="2800">
                  <c:v>29698</c:v>
                </c:pt>
                <c:pt idx="2801">
                  <c:v>61991</c:v>
                </c:pt>
                <c:pt idx="2802">
                  <c:v>68799</c:v>
                </c:pt>
                <c:pt idx="2803">
                  <c:v>44316</c:v>
                </c:pt>
                <c:pt idx="2804">
                  <c:v>104548</c:v>
                </c:pt>
                <c:pt idx="2805">
                  <c:v>111871</c:v>
                </c:pt>
                <c:pt idx="2806">
                  <c:v>78705</c:v>
                </c:pt>
                <c:pt idx="2807">
                  <c:v>50769</c:v>
                </c:pt>
                <c:pt idx="2808">
                  <c:v>29006</c:v>
                </c:pt>
                <c:pt idx="2809">
                  <c:v>29878</c:v>
                </c:pt>
                <c:pt idx="2810">
                  <c:v>45662</c:v>
                </c:pt>
                <c:pt idx="2811">
                  <c:v>25468</c:v>
                </c:pt>
                <c:pt idx="2812">
                  <c:v>78680</c:v>
                </c:pt>
                <c:pt idx="2813">
                  <c:v>21246</c:v>
                </c:pt>
                <c:pt idx="2814">
                  <c:v>45984</c:v>
                </c:pt>
                <c:pt idx="2815">
                  <c:v>70751</c:v>
                </c:pt>
                <c:pt idx="2816">
                  <c:v>42935</c:v>
                </c:pt>
                <c:pt idx="2817">
                  <c:v>132533</c:v>
                </c:pt>
                <c:pt idx="2818">
                  <c:v>217341</c:v>
                </c:pt>
                <c:pt idx="2819">
                  <c:v>25229</c:v>
                </c:pt>
                <c:pt idx="2820">
                  <c:v>23830</c:v>
                </c:pt>
                <c:pt idx="2821">
                  <c:v>41567</c:v>
                </c:pt>
                <c:pt idx="2822">
                  <c:v>43594</c:v>
                </c:pt>
                <c:pt idx="2823">
                  <c:v>41584</c:v>
                </c:pt>
                <c:pt idx="2824">
                  <c:v>31338</c:v>
                </c:pt>
                <c:pt idx="2825">
                  <c:v>101730</c:v>
                </c:pt>
                <c:pt idx="2826">
                  <c:v>35987</c:v>
                </c:pt>
                <c:pt idx="2827">
                  <c:v>300014</c:v>
                </c:pt>
                <c:pt idx="2828">
                  <c:v>45077</c:v>
                </c:pt>
                <c:pt idx="2829">
                  <c:v>44078</c:v>
                </c:pt>
                <c:pt idx="2830">
                  <c:v>78696</c:v>
                </c:pt>
                <c:pt idx="2831">
                  <c:v>49326</c:v>
                </c:pt>
                <c:pt idx="2832">
                  <c:v>23112</c:v>
                </c:pt>
                <c:pt idx="2833">
                  <c:v>47521</c:v>
                </c:pt>
                <c:pt idx="2834">
                  <c:v>105268</c:v>
                </c:pt>
                <c:pt idx="2835">
                  <c:v>40288</c:v>
                </c:pt>
                <c:pt idx="2836">
                  <c:v>26865</c:v>
                </c:pt>
                <c:pt idx="2837">
                  <c:v>39497</c:v>
                </c:pt>
                <c:pt idx="2838">
                  <c:v>74082</c:v>
                </c:pt>
                <c:pt idx="2839">
                  <c:v>126290</c:v>
                </c:pt>
                <c:pt idx="2840">
                  <c:v>47679</c:v>
                </c:pt>
                <c:pt idx="2841">
                  <c:v>27241</c:v>
                </c:pt>
                <c:pt idx="2842">
                  <c:v>67339</c:v>
                </c:pt>
                <c:pt idx="2843">
                  <c:v>26137</c:v>
                </c:pt>
                <c:pt idx="2844">
                  <c:v>32517</c:v>
                </c:pt>
                <c:pt idx="2845">
                  <c:v>26714</c:v>
                </c:pt>
                <c:pt idx="2846">
                  <c:v>40711</c:v>
                </c:pt>
                <c:pt idx="2847">
                  <c:v>42127</c:v>
                </c:pt>
                <c:pt idx="2848">
                  <c:v>50943</c:v>
                </c:pt>
                <c:pt idx="2849">
                  <c:v>32102</c:v>
                </c:pt>
                <c:pt idx="2850">
                  <c:v>44907</c:v>
                </c:pt>
                <c:pt idx="2851">
                  <c:v>23890</c:v>
                </c:pt>
                <c:pt idx="2852">
                  <c:v>28761</c:v>
                </c:pt>
                <c:pt idx="2853">
                  <c:v>233316</c:v>
                </c:pt>
                <c:pt idx="2854">
                  <c:v>82688</c:v>
                </c:pt>
                <c:pt idx="2855">
                  <c:v>45186</c:v>
                </c:pt>
                <c:pt idx="2856">
                  <c:v>124960</c:v>
                </c:pt>
                <c:pt idx="2857">
                  <c:v>67358</c:v>
                </c:pt>
                <c:pt idx="2858">
                  <c:v>52498</c:v>
                </c:pt>
                <c:pt idx="2859">
                  <c:v>49965</c:v>
                </c:pt>
                <c:pt idx="2860">
                  <c:v>63884</c:v>
                </c:pt>
                <c:pt idx="2861">
                  <c:v>46964</c:v>
                </c:pt>
                <c:pt idx="2862">
                  <c:v>23573</c:v>
                </c:pt>
                <c:pt idx="2863">
                  <c:v>58993</c:v>
                </c:pt>
                <c:pt idx="2864">
                  <c:v>41014</c:v>
                </c:pt>
                <c:pt idx="2865">
                  <c:v>108154</c:v>
                </c:pt>
                <c:pt idx="2866">
                  <c:v>28422</c:v>
                </c:pt>
                <c:pt idx="2867">
                  <c:v>40487</c:v>
                </c:pt>
                <c:pt idx="2868">
                  <c:v>45868</c:v>
                </c:pt>
                <c:pt idx="2869">
                  <c:v>171873</c:v>
                </c:pt>
                <c:pt idx="2870">
                  <c:v>42084</c:v>
                </c:pt>
                <c:pt idx="2871">
                  <c:v>21706</c:v>
                </c:pt>
                <c:pt idx="2872">
                  <c:v>36847</c:v>
                </c:pt>
                <c:pt idx="2873">
                  <c:v>53061</c:v>
                </c:pt>
                <c:pt idx="2874">
                  <c:v>31399</c:v>
                </c:pt>
                <c:pt idx="2875">
                  <c:v>36794</c:v>
                </c:pt>
                <c:pt idx="2876">
                  <c:v>84526</c:v>
                </c:pt>
                <c:pt idx="2877">
                  <c:v>150350</c:v>
                </c:pt>
                <c:pt idx="2878">
                  <c:v>91347</c:v>
                </c:pt>
                <c:pt idx="2879">
                  <c:v>27182</c:v>
                </c:pt>
                <c:pt idx="2880">
                  <c:v>35096</c:v>
                </c:pt>
                <c:pt idx="2881">
                  <c:v>85266</c:v>
                </c:pt>
                <c:pt idx="2882">
                  <c:v>114531</c:v>
                </c:pt>
                <c:pt idx="2883">
                  <c:v>53953</c:v>
                </c:pt>
                <c:pt idx="2884">
                  <c:v>38194</c:v>
                </c:pt>
                <c:pt idx="2885">
                  <c:v>37101</c:v>
                </c:pt>
                <c:pt idx="2886">
                  <c:v>27214</c:v>
                </c:pt>
                <c:pt idx="2887">
                  <c:v>33202</c:v>
                </c:pt>
                <c:pt idx="2888">
                  <c:v>32374</c:v>
                </c:pt>
                <c:pt idx="2889">
                  <c:v>22088</c:v>
                </c:pt>
                <c:pt idx="2890">
                  <c:v>15000</c:v>
                </c:pt>
                <c:pt idx="2891">
                  <c:v>138227</c:v>
                </c:pt>
                <c:pt idx="2892">
                  <c:v>24942</c:v>
                </c:pt>
                <c:pt idx="2893">
                  <c:v>217906</c:v>
                </c:pt>
                <c:pt idx="2894">
                  <c:v>27562</c:v>
                </c:pt>
                <c:pt idx="2895">
                  <c:v>44342</c:v>
                </c:pt>
                <c:pt idx="2896">
                  <c:v>45712</c:v>
                </c:pt>
                <c:pt idx="2897">
                  <c:v>29907</c:v>
                </c:pt>
                <c:pt idx="2898">
                  <c:v>49604</c:v>
                </c:pt>
                <c:pt idx="2899">
                  <c:v>63657</c:v>
                </c:pt>
                <c:pt idx="2900">
                  <c:v>39591</c:v>
                </c:pt>
                <c:pt idx="2901">
                  <c:v>79572</c:v>
                </c:pt>
                <c:pt idx="2902">
                  <c:v>52525</c:v>
                </c:pt>
                <c:pt idx="2903">
                  <c:v>99954</c:v>
                </c:pt>
                <c:pt idx="2904">
                  <c:v>31344</c:v>
                </c:pt>
                <c:pt idx="2905">
                  <c:v>203552</c:v>
                </c:pt>
                <c:pt idx="2906">
                  <c:v>57506</c:v>
                </c:pt>
                <c:pt idx="2907">
                  <c:v>25807</c:v>
                </c:pt>
                <c:pt idx="2908">
                  <c:v>31544</c:v>
                </c:pt>
                <c:pt idx="2909">
                  <c:v>169663</c:v>
                </c:pt>
                <c:pt idx="2910">
                  <c:v>60885</c:v>
                </c:pt>
                <c:pt idx="2911">
                  <c:v>45580</c:v>
                </c:pt>
                <c:pt idx="2912">
                  <c:v>86233</c:v>
                </c:pt>
                <c:pt idx="2913">
                  <c:v>69979</c:v>
                </c:pt>
                <c:pt idx="2914">
                  <c:v>49433</c:v>
                </c:pt>
                <c:pt idx="2915">
                  <c:v>48319</c:v>
                </c:pt>
                <c:pt idx="2916">
                  <c:v>37728</c:v>
                </c:pt>
                <c:pt idx="2917">
                  <c:v>77347</c:v>
                </c:pt>
                <c:pt idx="2918">
                  <c:v>247670</c:v>
                </c:pt>
                <c:pt idx="2919">
                  <c:v>65095</c:v>
                </c:pt>
                <c:pt idx="2920">
                  <c:v>33260</c:v>
                </c:pt>
                <c:pt idx="2921">
                  <c:v>52847</c:v>
                </c:pt>
                <c:pt idx="2922">
                  <c:v>49506</c:v>
                </c:pt>
                <c:pt idx="2923">
                  <c:v>40762</c:v>
                </c:pt>
                <c:pt idx="2924">
                  <c:v>34133</c:v>
                </c:pt>
                <c:pt idx="2925">
                  <c:v>75418</c:v>
                </c:pt>
                <c:pt idx="2926">
                  <c:v>80429</c:v>
                </c:pt>
                <c:pt idx="2927">
                  <c:v>64253</c:v>
                </c:pt>
                <c:pt idx="2928">
                  <c:v>39971</c:v>
                </c:pt>
                <c:pt idx="2929">
                  <c:v>32383</c:v>
                </c:pt>
                <c:pt idx="2930">
                  <c:v>122915</c:v>
                </c:pt>
                <c:pt idx="2931">
                  <c:v>40150</c:v>
                </c:pt>
                <c:pt idx="2932">
                  <c:v>24721</c:v>
                </c:pt>
                <c:pt idx="2933">
                  <c:v>15000</c:v>
                </c:pt>
                <c:pt idx="2934">
                  <c:v>36492</c:v>
                </c:pt>
                <c:pt idx="2935">
                  <c:v>46681</c:v>
                </c:pt>
                <c:pt idx="2936">
                  <c:v>117536</c:v>
                </c:pt>
                <c:pt idx="2937">
                  <c:v>163191</c:v>
                </c:pt>
                <c:pt idx="2938">
                  <c:v>47698</c:v>
                </c:pt>
                <c:pt idx="2939">
                  <c:v>41845</c:v>
                </c:pt>
                <c:pt idx="2940">
                  <c:v>43143</c:v>
                </c:pt>
                <c:pt idx="2941">
                  <c:v>40153</c:v>
                </c:pt>
                <c:pt idx="2942">
                  <c:v>26603</c:v>
                </c:pt>
                <c:pt idx="2943">
                  <c:v>76736</c:v>
                </c:pt>
                <c:pt idx="2944">
                  <c:v>35579</c:v>
                </c:pt>
                <c:pt idx="2945">
                  <c:v>75472</c:v>
                </c:pt>
                <c:pt idx="2946">
                  <c:v>38499</c:v>
                </c:pt>
                <c:pt idx="2947">
                  <c:v>31766</c:v>
                </c:pt>
                <c:pt idx="2948">
                  <c:v>34933</c:v>
                </c:pt>
                <c:pt idx="2949">
                  <c:v>31836</c:v>
                </c:pt>
                <c:pt idx="2950">
                  <c:v>35347</c:v>
                </c:pt>
                <c:pt idx="2951">
                  <c:v>35777</c:v>
                </c:pt>
                <c:pt idx="2952">
                  <c:v>141769</c:v>
                </c:pt>
                <c:pt idx="2953">
                  <c:v>85339</c:v>
                </c:pt>
                <c:pt idx="2954">
                  <c:v>29247</c:v>
                </c:pt>
                <c:pt idx="2955">
                  <c:v>22501</c:v>
                </c:pt>
                <c:pt idx="2956">
                  <c:v>32034</c:v>
                </c:pt>
                <c:pt idx="2957">
                  <c:v>52526</c:v>
                </c:pt>
                <c:pt idx="2958">
                  <c:v>50299</c:v>
                </c:pt>
                <c:pt idx="2959">
                  <c:v>23200</c:v>
                </c:pt>
                <c:pt idx="2960">
                  <c:v>55274</c:v>
                </c:pt>
                <c:pt idx="2961">
                  <c:v>34627</c:v>
                </c:pt>
                <c:pt idx="2962">
                  <c:v>47968</c:v>
                </c:pt>
                <c:pt idx="2963">
                  <c:v>44387</c:v>
                </c:pt>
                <c:pt idx="2964">
                  <c:v>221327</c:v>
                </c:pt>
                <c:pt idx="2965">
                  <c:v>28393</c:v>
                </c:pt>
                <c:pt idx="2966">
                  <c:v>98611</c:v>
                </c:pt>
                <c:pt idx="2967">
                  <c:v>44965</c:v>
                </c:pt>
                <c:pt idx="2968">
                  <c:v>53809</c:v>
                </c:pt>
                <c:pt idx="2969">
                  <c:v>105539</c:v>
                </c:pt>
                <c:pt idx="2970">
                  <c:v>27794</c:v>
                </c:pt>
                <c:pt idx="2971">
                  <c:v>21970</c:v>
                </c:pt>
                <c:pt idx="2972">
                  <c:v>43934</c:v>
                </c:pt>
                <c:pt idx="2973">
                  <c:v>188028</c:v>
                </c:pt>
                <c:pt idx="2974">
                  <c:v>61300</c:v>
                </c:pt>
                <c:pt idx="2975">
                  <c:v>22598</c:v>
                </c:pt>
                <c:pt idx="2976">
                  <c:v>36075</c:v>
                </c:pt>
                <c:pt idx="2977">
                  <c:v>57742</c:v>
                </c:pt>
                <c:pt idx="2978">
                  <c:v>23031</c:v>
                </c:pt>
                <c:pt idx="2979">
                  <c:v>33970</c:v>
                </c:pt>
                <c:pt idx="2980">
                  <c:v>38533</c:v>
                </c:pt>
                <c:pt idx="2981">
                  <c:v>37632</c:v>
                </c:pt>
                <c:pt idx="2982">
                  <c:v>26937</c:v>
                </c:pt>
                <c:pt idx="2983">
                  <c:v>172434</c:v>
                </c:pt>
                <c:pt idx="2984">
                  <c:v>45651</c:v>
                </c:pt>
                <c:pt idx="2985">
                  <c:v>22063</c:v>
                </c:pt>
                <c:pt idx="2986">
                  <c:v>45339</c:v>
                </c:pt>
                <c:pt idx="2987">
                  <c:v>30070</c:v>
                </c:pt>
                <c:pt idx="2988">
                  <c:v>33032</c:v>
                </c:pt>
                <c:pt idx="2989">
                  <c:v>56008</c:v>
                </c:pt>
                <c:pt idx="2990">
                  <c:v>29925</c:v>
                </c:pt>
                <c:pt idx="2991">
                  <c:v>299028</c:v>
                </c:pt>
                <c:pt idx="2992">
                  <c:v>31584</c:v>
                </c:pt>
                <c:pt idx="2993">
                  <c:v>68893</c:v>
                </c:pt>
                <c:pt idx="2994">
                  <c:v>42001</c:v>
                </c:pt>
                <c:pt idx="2995">
                  <c:v>67051</c:v>
                </c:pt>
                <c:pt idx="2996">
                  <c:v>28612</c:v>
                </c:pt>
                <c:pt idx="2997">
                  <c:v>65293</c:v>
                </c:pt>
                <c:pt idx="2998">
                  <c:v>109767</c:v>
                </c:pt>
                <c:pt idx="2999">
                  <c:v>22438</c:v>
                </c:pt>
                <c:pt idx="3000">
                  <c:v>34345</c:v>
                </c:pt>
                <c:pt idx="3001">
                  <c:v>67606</c:v>
                </c:pt>
                <c:pt idx="3002">
                  <c:v>34068</c:v>
                </c:pt>
                <c:pt idx="3003">
                  <c:v>229056</c:v>
                </c:pt>
                <c:pt idx="3004">
                  <c:v>110625</c:v>
                </c:pt>
                <c:pt idx="3005">
                  <c:v>31401</c:v>
                </c:pt>
                <c:pt idx="3006">
                  <c:v>42174</c:v>
                </c:pt>
                <c:pt idx="3007">
                  <c:v>27429</c:v>
                </c:pt>
                <c:pt idx="3008">
                  <c:v>49889</c:v>
                </c:pt>
                <c:pt idx="3009">
                  <c:v>30715</c:v>
                </c:pt>
                <c:pt idx="3010">
                  <c:v>45898</c:v>
                </c:pt>
                <c:pt idx="3011">
                  <c:v>57295</c:v>
                </c:pt>
                <c:pt idx="3012">
                  <c:v>56562</c:v>
                </c:pt>
                <c:pt idx="3013">
                  <c:v>42090</c:v>
                </c:pt>
                <c:pt idx="3014">
                  <c:v>31873</c:v>
                </c:pt>
                <c:pt idx="3015">
                  <c:v>85736</c:v>
                </c:pt>
                <c:pt idx="3016">
                  <c:v>32650</c:v>
                </c:pt>
                <c:pt idx="3017">
                  <c:v>83181</c:v>
                </c:pt>
                <c:pt idx="3018">
                  <c:v>39283</c:v>
                </c:pt>
                <c:pt idx="3019">
                  <c:v>43042</c:v>
                </c:pt>
                <c:pt idx="3020">
                  <c:v>41528</c:v>
                </c:pt>
                <c:pt idx="3021">
                  <c:v>58063</c:v>
                </c:pt>
                <c:pt idx="3022">
                  <c:v>20203</c:v>
                </c:pt>
                <c:pt idx="3023">
                  <c:v>61156</c:v>
                </c:pt>
                <c:pt idx="3024">
                  <c:v>43378</c:v>
                </c:pt>
                <c:pt idx="3025">
                  <c:v>46105</c:v>
                </c:pt>
                <c:pt idx="3026">
                  <c:v>59676</c:v>
                </c:pt>
                <c:pt idx="3027">
                  <c:v>41537</c:v>
                </c:pt>
                <c:pt idx="3028">
                  <c:v>45414</c:v>
                </c:pt>
                <c:pt idx="3029">
                  <c:v>38449</c:v>
                </c:pt>
                <c:pt idx="3030">
                  <c:v>26444</c:v>
                </c:pt>
                <c:pt idx="3031">
                  <c:v>32415</c:v>
                </c:pt>
                <c:pt idx="3032">
                  <c:v>46962</c:v>
                </c:pt>
                <c:pt idx="3033">
                  <c:v>30127</c:v>
                </c:pt>
                <c:pt idx="3034">
                  <c:v>50905</c:v>
                </c:pt>
                <c:pt idx="3035">
                  <c:v>34598</c:v>
                </c:pt>
                <c:pt idx="3036">
                  <c:v>35537</c:v>
                </c:pt>
                <c:pt idx="3037">
                  <c:v>35136</c:v>
                </c:pt>
                <c:pt idx="3038">
                  <c:v>315882</c:v>
                </c:pt>
                <c:pt idx="3039">
                  <c:v>29358</c:v>
                </c:pt>
                <c:pt idx="3040">
                  <c:v>84168</c:v>
                </c:pt>
                <c:pt idx="3041">
                  <c:v>26856</c:v>
                </c:pt>
                <c:pt idx="3042">
                  <c:v>43840</c:v>
                </c:pt>
                <c:pt idx="3043">
                  <c:v>35706</c:v>
                </c:pt>
                <c:pt idx="3044">
                  <c:v>29078</c:v>
                </c:pt>
                <c:pt idx="3045">
                  <c:v>39761</c:v>
                </c:pt>
                <c:pt idx="3046">
                  <c:v>37664</c:v>
                </c:pt>
                <c:pt idx="3047">
                  <c:v>32677</c:v>
                </c:pt>
                <c:pt idx="3048">
                  <c:v>235558</c:v>
                </c:pt>
                <c:pt idx="3049">
                  <c:v>154052</c:v>
                </c:pt>
                <c:pt idx="3050">
                  <c:v>71486</c:v>
                </c:pt>
                <c:pt idx="3051">
                  <c:v>65072</c:v>
                </c:pt>
                <c:pt idx="3052">
                  <c:v>39594</c:v>
                </c:pt>
                <c:pt idx="3053">
                  <c:v>36622</c:v>
                </c:pt>
                <c:pt idx="3054">
                  <c:v>41735</c:v>
                </c:pt>
                <c:pt idx="3055">
                  <c:v>66095</c:v>
                </c:pt>
                <c:pt idx="3056">
                  <c:v>40910</c:v>
                </c:pt>
                <c:pt idx="3057">
                  <c:v>34321</c:v>
                </c:pt>
                <c:pt idx="3058">
                  <c:v>65353</c:v>
                </c:pt>
                <c:pt idx="3059">
                  <c:v>215640</c:v>
                </c:pt>
                <c:pt idx="3060">
                  <c:v>54384</c:v>
                </c:pt>
                <c:pt idx="3061">
                  <c:v>34785</c:v>
                </c:pt>
                <c:pt idx="3062">
                  <c:v>56749</c:v>
                </c:pt>
                <c:pt idx="3063">
                  <c:v>52205</c:v>
                </c:pt>
                <c:pt idx="3064">
                  <c:v>145400</c:v>
                </c:pt>
                <c:pt idx="3065">
                  <c:v>28644</c:v>
                </c:pt>
                <c:pt idx="3066">
                  <c:v>41957</c:v>
                </c:pt>
                <c:pt idx="3067">
                  <c:v>83870</c:v>
                </c:pt>
                <c:pt idx="3068">
                  <c:v>66233</c:v>
                </c:pt>
                <c:pt idx="3069">
                  <c:v>128636</c:v>
                </c:pt>
                <c:pt idx="3070">
                  <c:v>46435</c:v>
                </c:pt>
                <c:pt idx="3071">
                  <c:v>42780</c:v>
                </c:pt>
                <c:pt idx="3072">
                  <c:v>26149</c:v>
                </c:pt>
                <c:pt idx="3073">
                  <c:v>46338</c:v>
                </c:pt>
                <c:pt idx="3074">
                  <c:v>42732</c:v>
                </c:pt>
                <c:pt idx="3075">
                  <c:v>39626</c:v>
                </c:pt>
                <c:pt idx="3076">
                  <c:v>124607</c:v>
                </c:pt>
                <c:pt idx="3077">
                  <c:v>75694</c:v>
                </c:pt>
                <c:pt idx="3078">
                  <c:v>35291</c:v>
                </c:pt>
                <c:pt idx="3079">
                  <c:v>40451</c:v>
                </c:pt>
                <c:pt idx="3080">
                  <c:v>30816</c:v>
                </c:pt>
                <c:pt idx="3081">
                  <c:v>48876</c:v>
                </c:pt>
                <c:pt idx="3082">
                  <c:v>43178</c:v>
                </c:pt>
                <c:pt idx="3083">
                  <c:v>36012</c:v>
                </c:pt>
                <c:pt idx="3084">
                  <c:v>43643</c:v>
                </c:pt>
                <c:pt idx="3085">
                  <c:v>63917</c:v>
                </c:pt>
                <c:pt idx="3086">
                  <c:v>81968</c:v>
                </c:pt>
                <c:pt idx="3087">
                  <c:v>30557</c:v>
                </c:pt>
                <c:pt idx="3088">
                  <c:v>50217</c:v>
                </c:pt>
                <c:pt idx="3089">
                  <c:v>46776</c:v>
                </c:pt>
                <c:pt idx="3090">
                  <c:v>49697</c:v>
                </c:pt>
                <c:pt idx="3091">
                  <c:v>33769</c:v>
                </c:pt>
                <c:pt idx="3092">
                  <c:v>55658</c:v>
                </c:pt>
                <c:pt idx="3093">
                  <c:v>44050</c:v>
                </c:pt>
                <c:pt idx="3094">
                  <c:v>42017</c:v>
                </c:pt>
                <c:pt idx="3095">
                  <c:v>28284</c:v>
                </c:pt>
                <c:pt idx="3096">
                  <c:v>55346</c:v>
                </c:pt>
                <c:pt idx="3097">
                  <c:v>23971</c:v>
                </c:pt>
                <c:pt idx="3098">
                  <c:v>44832</c:v>
                </c:pt>
                <c:pt idx="3099">
                  <c:v>79743</c:v>
                </c:pt>
                <c:pt idx="3100">
                  <c:v>56004</c:v>
                </c:pt>
                <c:pt idx="3101">
                  <c:v>90602</c:v>
                </c:pt>
                <c:pt idx="3102">
                  <c:v>59405</c:v>
                </c:pt>
                <c:pt idx="3103">
                  <c:v>41312</c:v>
                </c:pt>
                <c:pt idx="3104">
                  <c:v>39056</c:v>
                </c:pt>
                <c:pt idx="3105">
                  <c:v>95298</c:v>
                </c:pt>
                <c:pt idx="3106">
                  <c:v>42725</c:v>
                </c:pt>
                <c:pt idx="3107">
                  <c:v>40704</c:v>
                </c:pt>
                <c:pt idx="3108">
                  <c:v>58561</c:v>
                </c:pt>
                <c:pt idx="3109">
                  <c:v>113338</c:v>
                </c:pt>
                <c:pt idx="3110">
                  <c:v>114425</c:v>
                </c:pt>
                <c:pt idx="3111">
                  <c:v>75238</c:v>
                </c:pt>
                <c:pt idx="3112">
                  <c:v>42307</c:v>
                </c:pt>
                <c:pt idx="3113">
                  <c:v>30922</c:v>
                </c:pt>
                <c:pt idx="3114">
                  <c:v>73106</c:v>
                </c:pt>
                <c:pt idx="3115">
                  <c:v>32024</c:v>
                </c:pt>
                <c:pt idx="3116">
                  <c:v>54659</c:v>
                </c:pt>
                <c:pt idx="3117">
                  <c:v>78415</c:v>
                </c:pt>
                <c:pt idx="3118">
                  <c:v>188674</c:v>
                </c:pt>
                <c:pt idx="3119">
                  <c:v>80859</c:v>
                </c:pt>
                <c:pt idx="3120">
                  <c:v>49187</c:v>
                </c:pt>
                <c:pt idx="3121">
                  <c:v>22758</c:v>
                </c:pt>
                <c:pt idx="3122">
                  <c:v>72013</c:v>
                </c:pt>
                <c:pt idx="3123">
                  <c:v>99737</c:v>
                </c:pt>
                <c:pt idx="3124">
                  <c:v>33031</c:v>
                </c:pt>
                <c:pt idx="3125">
                  <c:v>23327</c:v>
                </c:pt>
                <c:pt idx="3126">
                  <c:v>95572</c:v>
                </c:pt>
                <c:pt idx="3127">
                  <c:v>95995</c:v>
                </c:pt>
                <c:pt idx="3128">
                  <c:v>26896</c:v>
                </c:pt>
                <c:pt idx="3129">
                  <c:v>88448</c:v>
                </c:pt>
                <c:pt idx="3130">
                  <c:v>36140</c:v>
                </c:pt>
                <c:pt idx="3131">
                  <c:v>90146</c:v>
                </c:pt>
                <c:pt idx="3132">
                  <c:v>39358</c:v>
                </c:pt>
                <c:pt idx="3133">
                  <c:v>194426</c:v>
                </c:pt>
                <c:pt idx="3134">
                  <c:v>56614</c:v>
                </c:pt>
                <c:pt idx="3135">
                  <c:v>72349</c:v>
                </c:pt>
                <c:pt idx="3136">
                  <c:v>44734</c:v>
                </c:pt>
                <c:pt idx="3137">
                  <c:v>39076</c:v>
                </c:pt>
                <c:pt idx="3138">
                  <c:v>49352</c:v>
                </c:pt>
                <c:pt idx="3139">
                  <c:v>34234</c:v>
                </c:pt>
                <c:pt idx="3140">
                  <c:v>106950</c:v>
                </c:pt>
                <c:pt idx="3141">
                  <c:v>31862</c:v>
                </c:pt>
                <c:pt idx="3142">
                  <c:v>44516</c:v>
                </c:pt>
                <c:pt idx="3143">
                  <c:v>34234</c:v>
                </c:pt>
                <c:pt idx="3144">
                  <c:v>138771</c:v>
                </c:pt>
                <c:pt idx="3145">
                  <c:v>78077</c:v>
                </c:pt>
                <c:pt idx="3146">
                  <c:v>56577</c:v>
                </c:pt>
                <c:pt idx="3147">
                  <c:v>57091</c:v>
                </c:pt>
                <c:pt idx="3148">
                  <c:v>37487</c:v>
                </c:pt>
                <c:pt idx="3149">
                  <c:v>42925</c:v>
                </c:pt>
                <c:pt idx="3150">
                  <c:v>39428</c:v>
                </c:pt>
                <c:pt idx="3151">
                  <c:v>43371</c:v>
                </c:pt>
                <c:pt idx="3152">
                  <c:v>56034</c:v>
                </c:pt>
                <c:pt idx="3153">
                  <c:v>31217</c:v>
                </c:pt>
                <c:pt idx="3154">
                  <c:v>44060</c:v>
                </c:pt>
                <c:pt idx="3155">
                  <c:v>38938</c:v>
                </c:pt>
                <c:pt idx="3156">
                  <c:v>40591</c:v>
                </c:pt>
                <c:pt idx="3157">
                  <c:v>60614</c:v>
                </c:pt>
                <c:pt idx="3158">
                  <c:v>67743</c:v>
                </c:pt>
                <c:pt idx="3159">
                  <c:v>34739</c:v>
                </c:pt>
                <c:pt idx="3160">
                  <c:v>42285</c:v>
                </c:pt>
                <c:pt idx="3161">
                  <c:v>33756</c:v>
                </c:pt>
                <c:pt idx="3162">
                  <c:v>47987</c:v>
                </c:pt>
                <c:pt idx="3163">
                  <c:v>37696</c:v>
                </c:pt>
                <c:pt idx="3164">
                  <c:v>26305</c:v>
                </c:pt>
                <c:pt idx="3165">
                  <c:v>150033</c:v>
                </c:pt>
                <c:pt idx="3166">
                  <c:v>82022</c:v>
                </c:pt>
                <c:pt idx="3167">
                  <c:v>24775</c:v>
                </c:pt>
                <c:pt idx="3168">
                  <c:v>35026</c:v>
                </c:pt>
                <c:pt idx="3169">
                  <c:v>59162</c:v>
                </c:pt>
                <c:pt idx="3170">
                  <c:v>50315</c:v>
                </c:pt>
                <c:pt idx="3171">
                  <c:v>25399</c:v>
                </c:pt>
                <c:pt idx="3172">
                  <c:v>33274</c:v>
                </c:pt>
                <c:pt idx="3173">
                  <c:v>37467</c:v>
                </c:pt>
                <c:pt idx="3174">
                  <c:v>33657</c:v>
                </c:pt>
                <c:pt idx="3175">
                  <c:v>44046</c:v>
                </c:pt>
                <c:pt idx="3176">
                  <c:v>60398</c:v>
                </c:pt>
                <c:pt idx="3177">
                  <c:v>274379</c:v>
                </c:pt>
                <c:pt idx="3178">
                  <c:v>23536</c:v>
                </c:pt>
                <c:pt idx="3179">
                  <c:v>33488</c:v>
                </c:pt>
                <c:pt idx="3180">
                  <c:v>32505</c:v>
                </c:pt>
                <c:pt idx="3181">
                  <c:v>57670</c:v>
                </c:pt>
                <c:pt idx="3182">
                  <c:v>23419</c:v>
                </c:pt>
                <c:pt idx="3183">
                  <c:v>33787</c:v>
                </c:pt>
                <c:pt idx="3184">
                  <c:v>25255</c:v>
                </c:pt>
                <c:pt idx="3185">
                  <c:v>35674</c:v>
                </c:pt>
                <c:pt idx="3186">
                  <c:v>31236</c:v>
                </c:pt>
                <c:pt idx="3187">
                  <c:v>90297</c:v>
                </c:pt>
                <c:pt idx="3188">
                  <c:v>23748</c:v>
                </c:pt>
                <c:pt idx="3189">
                  <c:v>67444</c:v>
                </c:pt>
                <c:pt idx="3190">
                  <c:v>35876</c:v>
                </c:pt>
                <c:pt idx="3191">
                  <c:v>170962</c:v>
                </c:pt>
                <c:pt idx="3192">
                  <c:v>36761</c:v>
                </c:pt>
                <c:pt idx="3193">
                  <c:v>41107</c:v>
                </c:pt>
                <c:pt idx="3194">
                  <c:v>27232</c:v>
                </c:pt>
                <c:pt idx="3195">
                  <c:v>25114</c:v>
                </c:pt>
                <c:pt idx="3196">
                  <c:v>113178</c:v>
                </c:pt>
                <c:pt idx="3197">
                  <c:v>27696</c:v>
                </c:pt>
                <c:pt idx="3198">
                  <c:v>23292</c:v>
                </c:pt>
                <c:pt idx="3199">
                  <c:v>136884</c:v>
                </c:pt>
                <c:pt idx="3200">
                  <c:v>71354</c:v>
                </c:pt>
                <c:pt idx="3201">
                  <c:v>30680</c:v>
                </c:pt>
                <c:pt idx="3202">
                  <c:v>56864</c:v>
                </c:pt>
                <c:pt idx="3203">
                  <c:v>41373</c:v>
                </c:pt>
                <c:pt idx="3204">
                  <c:v>36846</c:v>
                </c:pt>
                <c:pt idx="3205">
                  <c:v>22035</c:v>
                </c:pt>
                <c:pt idx="3206">
                  <c:v>65750</c:v>
                </c:pt>
                <c:pt idx="3207">
                  <c:v>45814</c:v>
                </c:pt>
                <c:pt idx="3208">
                  <c:v>115207</c:v>
                </c:pt>
                <c:pt idx="3209">
                  <c:v>30533</c:v>
                </c:pt>
                <c:pt idx="3210">
                  <c:v>77533</c:v>
                </c:pt>
                <c:pt idx="3211">
                  <c:v>132412</c:v>
                </c:pt>
                <c:pt idx="3212">
                  <c:v>28069</c:v>
                </c:pt>
                <c:pt idx="3213">
                  <c:v>76698</c:v>
                </c:pt>
                <c:pt idx="3214">
                  <c:v>43854</c:v>
                </c:pt>
                <c:pt idx="3215">
                  <c:v>77428</c:v>
                </c:pt>
                <c:pt idx="3216">
                  <c:v>29458</c:v>
                </c:pt>
                <c:pt idx="3217">
                  <c:v>40748</c:v>
                </c:pt>
                <c:pt idx="3218">
                  <c:v>122879</c:v>
                </c:pt>
                <c:pt idx="3219">
                  <c:v>29106</c:v>
                </c:pt>
                <c:pt idx="3220">
                  <c:v>90653</c:v>
                </c:pt>
                <c:pt idx="3221">
                  <c:v>30508</c:v>
                </c:pt>
                <c:pt idx="3222">
                  <c:v>73333</c:v>
                </c:pt>
                <c:pt idx="3223">
                  <c:v>28362</c:v>
                </c:pt>
                <c:pt idx="3224">
                  <c:v>33086</c:v>
                </c:pt>
                <c:pt idx="3225">
                  <c:v>54014</c:v>
                </c:pt>
                <c:pt idx="3226">
                  <c:v>40891</c:v>
                </c:pt>
                <c:pt idx="3227">
                  <c:v>37844</c:v>
                </c:pt>
                <c:pt idx="3228">
                  <c:v>54937</c:v>
                </c:pt>
                <c:pt idx="3229">
                  <c:v>30471</c:v>
                </c:pt>
                <c:pt idx="3230">
                  <c:v>84102</c:v>
                </c:pt>
                <c:pt idx="3231">
                  <c:v>88766</c:v>
                </c:pt>
                <c:pt idx="3232">
                  <c:v>55154</c:v>
                </c:pt>
                <c:pt idx="3233">
                  <c:v>36612</c:v>
                </c:pt>
                <c:pt idx="3234">
                  <c:v>68365</c:v>
                </c:pt>
                <c:pt idx="3235">
                  <c:v>373616</c:v>
                </c:pt>
                <c:pt idx="3236">
                  <c:v>178158</c:v>
                </c:pt>
                <c:pt idx="3237">
                  <c:v>35456</c:v>
                </c:pt>
                <c:pt idx="3238">
                  <c:v>46936</c:v>
                </c:pt>
                <c:pt idx="3239">
                  <c:v>102365</c:v>
                </c:pt>
                <c:pt idx="3240">
                  <c:v>26459</c:v>
                </c:pt>
                <c:pt idx="3241">
                  <c:v>34889</c:v>
                </c:pt>
                <c:pt idx="3242">
                  <c:v>34958</c:v>
                </c:pt>
                <c:pt idx="3243">
                  <c:v>48473</c:v>
                </c:pt>
                <c:pt idx="3244">
                  <c:v>58719</c:v>
                </c:pt>
                <c:pt idx="3245">
                  <c:v>53958</c:v>
                </c:pt>
                <c:pt idx="3246">
                  <c:v>40407</c:v>
                </c:pt>
                <c:pt idx="3247">
                  <c:v>41588</c:v>
                </c:pt>
                <c:pt idx="3248">
                  <c:v>56269</c:v>
                </c:pt>
                <c:pt idx="3249">
                  <c:v>70434</c:v>
                </c:pt>
                <c:pt idx="3250">
                  <c:v>135266</c:v>
                </c:pt>
                <c:pt idx="3251">
                  <c:v>46659</c:v>
                </c:pt>
                <c:pt idx="3252">
                  <c:v>29515</c:v>
                </c:pt>
                <c:pt idx="3253">
                  <c:v>105982</c:v>
                </c:pt>
                <c:pt idx="3254">
                  <c:v>25646</c:v>
                </c:pt>
                <c:pt idx="3255">
                  <c:v>50955</c:v>
                </c:pt>
                <c:pt idx="3256">
                  <c:v>35889</c:v>
                </c:pt>
                <c:pt idx="3257">
                  <c:v>34842</c:v>
                </c:pt>
                <c:pt idx="3258">
                  <c:v>43097</c:v>
                </c:pt>
                <c:pt idx="3259">
                  <c:v>15000</c:v>
                </c:pt>
                <c:pt idx="3260">
                  <c:v>30490</c:v>
                </c:pt>
                <c:pt idx="3261">
                  <c:v>90376</c:v>
                </c:pt>
                <c:pt idx="3262">
                  <c:v>180680</c:v>
                </c:pt>
                <c:pt idx="3263">
                  <c:v>43377</c:v>
                </c:pt>
                <c:pt idx="3264">
                  <c:v>28021</c:v>
                </c:pt>
                <c:pt idx="3265">
                  <c:v>104748</c:v>
                </c:pt>
                <c:pt idx="3266">
                  <c:v>61094</c:v>
                </c:pt>
                <c:pt idx="3267">
                  <c:v>48758</c:v>
                </c:pt>
                <c:pt idx="3268">
                  <c:v>69143</c:v>
                </c:pt>
                <c:pt idx="3269">
                  <c:v>49124</c:v>
                </c:pt>
                <c:pt idx="3270">
                  <c:v>31603</c:v>
                </c:pt>
                <c:pt idx="3271">
                  <c:v>59496</c:v>
                </c:pt>
                <c:pt idx="3272">
                  <c:v>257898</c:v>
                </c:pt>
                <c:pt idx="3273">
                  <c:v>32884</c:v>
                </c:pt>
                <c:pt idx="3274">
                  <c:v>131235</c:v>
                </c:pt>
                <c:pt idx="3275">
                  <c:v>34736</c:v>
                </c:pt>
                <c:pt idx="3276">
                  <c:v>34454</c:v>
                </c:pt>
                <c:pt idx="3277">
                  <c:v>36197</c:v>
                </c:pt>
                <c:pt idx="3278">
                  <c:v>89884</c:v>
                </c:pt>
                <c:pt idx="3279">
                  <c:v>43233</c:v>
                </c:pt>
                <c:pt idx="3280">
                  <c:v>38030</c:v>
                </c:pt>
                <c:pt idx="3281">
                  <c:v>23164</c:v>
                </c:pt>
                <c:pt idx="3282">
                  <c:v>53042</c:v>
                </c:pt>
                <c:pt idx="3283">
                  <c:v>51298</c:v>
                </c:pt>
                <c:pt idx="3284">
                  <c:v>36769</c:v>
                </c:pt>
                <c:pt idx="3285">
                  <c:v>34687</c:v>
                </c:pt>
                <c:pt idx="3286">
                  <c:v>23402</c:v>
                </c:pt>
                <c:pt idx="3287">
                  <c:v>193830</c:v>
                </c:pt>
                <c:pt idx="3288">
                  <c:v>58678</c:v>
                </c:pt>
                <c:pt idx="3289">
                  <c:v>38858</c:v>
                </c:pt>
                <c:pt idx="3290">
                  <c:v>44337</c:v>
                </c:pt>
                <c:pt idx="3291">
                  <c:v>102310</c:v>
                </c:pt>
                <c:pt idx="3292">
                  <c:v>27673</c:v>
                </c:pt>
                <c:pt idx="3293">
                  <c:v>31479</c:v>
                </c:pt>
                <c:pt idx="3294">
                  <c:v>56674</c:v>
                </c:pt>
                <c:pt idx="3295">
                  <c:v>109423</c:v>
                </c:pt>
                <c:pt idx="3296">
                  <c:v>45809</c:v>
                </c:pt>
                <c:pt idx="3297">
                  <c:v>60181</c:v>
                </c:pt>
                <c:pt idx="3298">
                  <c:v>89702</c:v>
                </c:pt>
                <c:pt idx="3299">
                  <c:v>251231</c:v>
                </c:pt>
                <c:pt idx="3300">
                  <c:v>32235</c:v>
                </c:pt>
                <c:pt idx="3301">
                  <c:v>94533</c:v>
                </c:pt>
                <c:pt idx="3302">
                  <c:v>39130</c:v>
                </c:pt>
                <c:pt idx="3303">
                  <c:v>34959</c:v>
                </c:pt>
                <c:pt idx="3304">
                  <c:v>29497</c:v>
                </c:pt>
                <c:pt idx="3305">
                  <c:v>25605</c:v>
                </c:pt>
                <c:pt idx="3306">
                  <c:v>30442</c:v>
                </c:pt>
                <c:pt idx="3307">
                  <c:v>66518</c:v>
                </c:pt>
                <c:pt idx="3308">
                  <c:v>82898</c:v>
                </c:pt>
                <c:pt idx="3309">
                  <c:v>51966</c:v>
                </c:pt>
                <c:pt idx="3310">
                  <c:v>33414</c:v>
                </c:pt>
                <c:pt idx="3311">
                  <c:v>31616</c:v>
                </c:pt>
                <c:pt idx="3312">
                  <c:v>38007</c:v>
                </c:pt>
                <c:pt idx="3313">
                  <c:v>60403</c:v>
                </c:pt>
                <c:pt idx="3314">
                  <c:v>31741</c:v>
                </c:pt>
                <c:pt idx="3315">
                  <c:v>40905</c:v>
                </c:pt>
                <c:pt idx="3316">
                  <c:v>102203</c:v>
                </c:pt>
                <c:pt idx="3317">
                  <c:v>47125</c:v>
                </c:pt>
                <c:pt idx="3318">
                  <c:v>58514</c:v>
                </c:pt>
                <c:pt idx="3319">
                  <c:v>75874</c:v>
                </c:pt>
                <c:pt idx="3320">
                  <c:v>61048</c:v>
                </c:pt>
                <c:pt idx="3321">
                  <c:v>61627</c:v>
                </c:pt>
                <c:pt idx="3322">
                  <c:v>31575</c:v>
                </c:pt>
                <c:pt idx="3323">
                  <c:v>25173</c:v>
                </c:pt>
                <c:pt idx="3324">
                  <c:v>37271</c:v>
                </c:pt>
                <c:pt idx="3325">
                  <c:v>41492</c:v>
                </c:pt>
                <c:pt idx="3326">
                  <c:v>27556</c:v>
                </c:pt>
                <c:pt idx="3327">
                  <c:v>44052</c:v>
                </c:pt>
                <c:pt idx="3328">
                  <c:v>32103</c:v>
                </c:pt>
                <c:pt idx="3329">
                  <c:v>35850</c:v>
                </c:pt>
                <c:pt idx="3330">
                  <c:v>42790</c:v>
                </c:pt>
                <c:pt idx="3331">
                  <c:v>95971</c:v>
                </c:pt>
                <c:pt idx="3332">
                  <c:v>161498</c:v>
                </c:pt>
                <c:pt idx="3333">
                  <c:v>36759</c:v>
                </c:pt>
                <c:pt idx="3334">
                  <c:v>43318</c:v>
                </c:pt>
                <c:pt idx="3335">
                  <c:v>35176</c:v>
                </c:pt>
                <c:pt idx="3336">
                  <c:v>35978</c:v>
                </c:pt>
                <c:pt idx="3337">
                  <c:v>76339</c:v>
                </c:pt>
                <c:pt idx="3338">
                  <c:v>28562</c:v>
                </c:pt>
                <c:pt idx="3339">
                  <c:v>53078</c:v>
                </c:pt>
                <c:pt idx="3340">
                  <c:v>65357</c:v>
                </c:pt>
                <c:pt idx="3341">
                  <c:v>24981</c:v>
                </c:pt>
                <c:pt idx="3342">
                  <c:v>55669</c:v>
                </c:pt>
                <c:pt idx="3343">
                  <c:v>40611</c:v>
                </c:pt>
                <c:pt idx="3344">
                  <c:v>187946</c:v>
                </c:pt>
                <c:pt idx="3345">
                  <c:v>54398</c:v>
                </c:pt>
                <c:pt idx="3346">
                  <c:v>42597</c:v>
                </c:pt>
                <c:pt idx="3347">
                  <c:v>36164</c:v>
                </c:pt>
                <c:pt idx="3348">
                  <c:v>141727</c:v>
                </c:pt>
                <c:pt idx="3349">
                  <c:v>366256</c:v>
                </c:pt>
                <c:pt idx="3350">
                  <c:v>46914</c:v>
                </c:pt>
                <c:pt idx="3351">
                  <c:v>43223</c:v>
                </c:pt>
                <c:pt idx="3352">
                  <c:v>44195</c:v>
                </c:pt>
                <c:pt idx="3353">
                  <c:v>20311</c:v>
                </c:pt>
                <c:pt idx="3354">
                  <c:v>123813</c:v>
                </c:pt>
                <c:pt idx="3355">
                  <c:v>32685</c:v>
                </c:pt>
                <c:pt idx="3356">
                  <c:v>46138</c:v>
                </c:pt>
                <c:pt idx="3357">
                  <c:v>60451</c:v>
                </c:pt>
                <c:pt idx="3358">
                  <c:v>49324</c:v>
                </c:pt>
                <c:pt idx="3359">
                  <c:v>50308</c:v>
                </c:pt>
                <c:pt idx="3360">
                  <c:v>28023</c:v>
                </c:pt>
                <c:pt idx="3361">
                  <c:v>38705</c:v>
                </c:pt>
                <c:pt idx="3362">
                  <c:v>57455</c:v>
                </c:pt>
                <c:pt idx="3363">
                  <c:v>40464</c:v>
                </c:pt>
                <c:pt idx="3364">
                  <c:v>45165</c:v>
                </c:pt>
                <c:pt idx="3365">
                  <c:v>36873</c:v>
                </c:pt>
                <c:pt idx="3366">
                  <c:v>64568</c:v>
                </c:pt>
                <c:pt idx="3367">
                  <c:v>35628</c:v>
                </c:pt>
                <c:pt idx="3368">
                  <c:v>31958</c:v>
                </c:pt>
                <c:pt idx="3369">
                  <c:v>29642</c:v>
                </c:pt>
                <c:pt idx="3370">
                  <c:v>80525</c:v>
                </c:pt>
                <c:pt idx="3371">
                  <c:v>25716</c:v>
                </c:pt>
                <c:pt idx="3372">
                  <c:v>50396</c:v>
                </c:pt>
                <c:pt idx="3373">
                  <c:v>29296</c:v>
                </c:pt>
                <c:pt idx="3374">
                  <c:v>35616</c:v>
                </c:pt>
                <c:pt idx="3375">
                  <c:v>56490</c:v>
                </c:pt>
                <c:pt idx="3376">
                  <c:v>46575</c:v>
                </c:pt>
                <c:pt idx="3377">
                  <c:v>42008</c:v>
                </c:pt>
                <c:pt idx="3378">
                  <c:v>42484</c:v>
                </c:pt>
                <c:pt idx="3379">
                  <c:v>47052</c:v>
                </c:pt>
                <c:pt idx="3380">
                  <c:v>42828</c:v>
                </c:pt>
                <c:pt idx="3381">
                  <c:v>41667</c:v>
                </c:pt>
                <c:pt idx="3382">
                  <c:v>71303</c:v>
                </c:pt>
                <c:pt idx="3383">
                  <c:v>93715</c:v>
                </c:pt>
                <c:pt idx="3384">
                  <c:v>52767</c:v>
                </c:pt>
                <c:pt idx="3385">
                  <c:v>144392</c:v>
                </c:pt>
                <c:pt idx="3386">
                  <c:v>36379</c:v>
                </c:pt>
                <c:pt idx="3387">
                  <c:v>39133</c:v>
                </c:pt>
                <c:pt idx="3388">
                  <c:v>68815</c:v>
                </c:pt>
                <c:pt idx="3389">
                  <c:v>50124</c:v>
                </c:pt>
                <c:pt idx="3390">
                  <c:v>28804</c:v>
                </c:pt>
                <c:pt idx="3391">
                  <c:v>83395</c:v>
                </c:pt>
                <c:pt idx="3392">
                  <c:v>31686</c:v>
                </c:pt>
                <c:pt idx="3393">
                  <c:v>71091</c:v>
                </c:pt>
                <c:pt idx="3394">
                  <c:v>141696</c:v>
                </c:pt>
                <c:pt idx="3395">
                  <c:v>34932</c:v>
                </c:pt>
                <c:pt idx="3396">
                  <c:v>130463</c:v>
                </c:pt>
                <c:pt idx="3397">
                  <c:v>34564</c:v>
                </c:pt>
                <c:pt idx="3398">
                  <c:v>37318</c:v>
                </c:pt>
                <c:pt idx="3399">
                  <c:v>151547</c:v>
                </c:pt>
                <c:pt idx="3400">
                  <c:v>22720</c:v>
                </c:pt>
                <c:pt idx="3401">
                  <c:v>67436</c:v>
                </c:pt>
                <c:pt idx="3402">
                  <c:v>90853</c:v>
                </c:pt>
                <c:pt idx="3403">
                  <c:v>26080</c:v>
                </c:pt>
                <c:pt idx="3404">
                  <c:v>61172</c:v>
                </c:pt>
                <c:pt idx="3405">
                  <c:v>35884</c:v>
                </c:pt>
                <c:pt idx="3406">
                  <c:v>90744</c:v>
                </c:pt>
                <c:pt idx="3407">
                  <c:v>57367</c:v>
                </c:pt>
                <c:pt idx="3408">
                  <c:v>43344</c:v>
                </c:pt>
                <c:pt idx="3409">
                  <c:v>26405</c:v>
                </c:pt>
                <c:pt idx="3410">
                  <c:v>21508</c:v>
                </c:pt>
                <c:pt idx="3411">
                  <c:v>160571</c:v>
                </c:pt>
                <c:pt idx="3412">
                  <c:v>126673</c:v>
                </c:pt>
                <c:pt idx="3413">
                  <c:v>53346</c:v>
                </c:pt>
                <c:pt idx="3414">
                  <c:v>37575</c:v>
                </c:pt>
                <c:pt idx="3415">
                  <c:v>54580</c:v>
                </c:pt>
                <c:pt idx="3416">
                  <c:v>31027</c:v>
                </c:pt>
                <c:pt idx="3417">
                  <c:v>36605</c:v>
                </c:pt>
                <c:pt idx="3418">
                  <c:v>40217</c:v>
                </c:pt>
                <c:pt idx="3419">
                  <c:v>39064</c:v>
                </c:pt>
                <c:pt idx="3420">
                  <c:v>67319</c:v>
                </c:pt>
                <c:pt idx="3421">
                  <c:v>33119</c:v>
                </c:pt>
                <c:pt idx="3422">
                  <c:v>42668</c:v>
                </c:pt>
                <c:pt idx="3423">
                  <c:v>47980</c:v>
                </c:pt>
                <c:pt idx="3424">
                  <c:v>56601</c:v>
                </c:pt>
                <c:pt idx="3425">
                  <c:v>86890</c:v>
                </c:pt>
                <c:pt idx="3426">
                  <c:v>42374</c:v>
                </c:pt>
                <c:pt idx="3427">
                  <c:v>24915</c:v>
                </c:pt>
                <c:pt idx="3428">
                  <c:v>57394</c:v>
                </c:pt>
                <c:pt idx="3429">
                  <c:v>48053</c:v>
                </c:pt>
                <c:pt idx="3430">
                  <c:v>28125</c:v>
                </c:pt>
                <c:pt idx="3431">
                  <c:v>47739</c:v>
                </c:pt>
                <c:pt idx="3432">
                  <c:v>35449</c:v>
                </c:pt>
                <c:pt idx="3433">
                  <c:v>36038</c:v>
                </c:pt>
                <c:pt idx="3434">
                  <c:v>78414</c:v>
                </c:pt>
                <c:pt idx="3435">
                  <c:v>123090</c:v>
                </c:pt>
                <c:pt idx="3436">
                  <c:v>32486</c:v>
                </c:pt>
                <c:pt idx="3437">
                  <c:v>41205</c:v>
                </c:pt>
                <c:pt idx="3438">
                  <c:v>36074</c:v>
                </c:pt>
                <c:pt idx="3439">
                  <c:v>57341</c:v>
                </c:pt>
                <c:pt idx="3440">
                  <c:v>55363</c:v>
                </c:pt>
                <c:pt idx="3441">
                  <c:v>36767</c:v>
                </c:pt>
                <c:pt idx="3442">
                  <c:v>33775</c:v>
                </c:pt>
                <c:pt idx="3443">
                  <c:v>46301</c:v>
                </c:pt>
                <c:pt idx="3444">
                  <c:v>58358</c:v>
                </c:pt>
                <c:pt idx="3445">
                  <c:v>42404</c:v>
                </c:pt>
                <c:pt idx="3446">
                  <c:v>37765</c:v>
                </c:pt>
                <c:pt idx="3447">
                  <c:v>55696</c:v>
                </c:pt>
                <c:pt idx="3448">
                  <c:v>33032</c:v>
                </c:pt>
                <c:pt idx="3449">
                  <c:v>49102</c:v>
                </c:pt>
                <c:pt idx="3450">
                  <c:v>134552</c:v>
                </c:pt>
                <c:pt idx="3451">
                  <c:v>37125</c:v>
                </c:pt>
                <c:pt idx="3452">
                  <c:v>22371</c:v>
                </c:pt>
                <c:pt idx="3453">
                  <c:v>62090</c:v>
                </c:pt>
                <c:pt idx="3454">
                  <c:v>38957</c:v>
                </c:pt>
                <c:pt idx="3455">
                  <c:v>97530</c:v>
                </c:pt>
                <c:pt idx="3456">
                  <c:v>72684</c:v>
                </c:pt>
                <c:pt idx="3457">
                  <c:v>40209</c:v>
                </c:pt>
                <c:pt idx="3458">
                  <c:v>65320</c:v>
                </c:pt>
                <c:pt idx="3459">
                  <c:v>43051</c:v>
                </c:pt>
                <c:pt idx="3460">
                  <c:v>103965</c:v>
                </c:pt>
                <c:pt idx="3461">
                  <c:v>26449</c:v>
                </c:pt>
                <c:pt idx="3462">
                  <c:v>43722</c:v>
                </c:pt>
                <c:pt idx="3463">
                  <c:v>87067</c:v>
                </c:pt>
                <c:pt idx="3464">
                  <c:v>38381</c:v>
                </c:pt>
                <c:pt idx="3465">
                  <c:v>69845</c:v>
                </c:pt>
                <c:pt idx="3466">
                  <c:v>107562</c:v>
                </c:pt>
                <c:pt idx="3467">
                  <c:v>37914</c:v>
                </c:pt>
                <c:pt idx="3468">
                  <c:v>33713</c:v>
                </c:pt>
                <c:pt idx="3469">
                  <c:v>41987</c:v>
                </c:pt>
                <c:pt idx="3470">
                  <c:v>170889</c:v>
                </c:pt>
                <c:pt idx="3471">
                  <c:v>52765</c:v>
                </c:pt>
                <c:pt idx="3472">
                  <c:v>32504</c:v>
                </c:pt>
                <c:pt idx="3473">
                  <c:v>39477</c:v>
                </c:pt>
                <c:pt idx="3474">
                  <c:v>30440</c:v>
                </c:pt>
                <c:pt idx="3475">
                  <c:v>104213</c:v>
                </c:pt>
                <c:pt idx="3476">
                  <c:v>44770</c:v>
                </c:pt>
                <c:pt idx="3477">
                  <c:v>62516</c:v>
                </c:pt>
                <c:pt idx="3478">
                  <c:v>87166</c:v>
                </c:pt>
                <c:pt idx="3479">
                  <c:v>59714</c:v>
                </c:pt>
                <c:pt idx="3480">
                  <c:v>31523</c:v>
                </c:pt>
                <c:pt idx="3481">
                  <c:v>25355</c:v>
                </c:pt>
                <c:pt idx="3482">
                  <c:v>51945</c:v>
                </c:pt>
                <c:pt idx="3483">
                  <c:v>45001</c:v>
                </c:pt>
                <c:pt idx="3484">
                  <c:v>49866</c:v>
                </c:pt>
                <c:pt idx="3485">
                  <c:v>77564</c:v>
                </c:pt>
                <c:pt idx="3486">
                  <c:v>38554</c:v>
                </c:pt>
                <c:pt idx="3487">
                  <c:v>24332</c:v>
                </c:pt>
                <c:pt idx="3488">
                  <c:v>62091</c:v>
                </c:pt>
                <c:pt idx="3489">
                  <c:v>29929</c:v>
                </c:pt>
                <c:pt idx="3490">
                  <c:v>23490</c:v>
                </c:pt>
                <c:pt idx="3491">
                  <c:v>70284</c:v>
                </c:pt>
                <c:pt idx="3492">
                  <c:v>68845</c:v>
                </c:pt>
                <c:pt idx="3493">
                  <c:v>45701</c:v>
                </c:pt>
                <c:pt idx="3494">
                  <c:v>53184</c:v>
                </c:pt>
                <c:pt idx="3495">
                  <c:v>39712</c:v>
                </c:pt>
                <c:pt idx="3496">
                  <c:v>36333</c:v>
                </c:pt>
                <c:pt idx="3497">
                  <c:v>84871</c:v>
                </c:pt>
                <c:pt idx="3498">
                  <c:v>33380</c:v>
                </c:pt>
                <c:pt idx="3499">
                  <c:v>260746</c:v>
                </c:pt>
                <c:pt idx="3500">
                  <c:v>67203</c:v>
                </c:pt>
                <c:pt idx="3501">
                  <c:v>48146</c:v>
                </c:pt>
                <c:pt idx="3502">
                  <c:v>34541</c:v>
                </c:pt>
                <c:pt idx="3503">
                  <c:v>39191</c:v>
                </c:pt>
                <c:pt idx="3504">
                  <c:v>45505</c:v>
                </c:pt>
                <c:pt idx="3505">
                  <c:v>116777</c:v>
                </c:pt>
                <c:pt idx="3506">
                  <c:v>30669</c:v>
                </c:pt>
                <c:pt idx="3507">
                  <c:v>27711</c:v>
                </c:pt>
                <c:pt idx="3508">
                  <c:v>44293</c:v>
                </c:pt>
                <c:pt idx="3509">
                  <c:v>78333</c:v>
                </c:pt>
                <c:pt idx="3510">
                  <c:v>160489</c:v>
                </c:pt>
                <c:pt idx="3511">
                  <c:v>44252</c:v>
                </c:pt>
                <c:pt idx="3512">
                  <c:v>164434</c:v>
                </c:pt>
                <c:pt idx="3513">
                  <c:v>178822</c:v>
                </c:pt>
                <c:pt idx="3514">
                  <c:v>75600</c:v>
                </c:pt>
                <c:pt idx="3515">
                  <c:v>34279</c:v>
                </c:pt>
                <c:pt idx="3516">
                  <c:v>26105</c:v>
                </c:pt>
                <c:pt idx="3517">
                  <c:v>51971</c:v>
                </c:pt>
                <c:pt idx="3518">
                  <c:v>40082</c:v>
                </c:pt>
                <c:pt idx="3519">
                  <c:v>40643</c:v>
                </c:pt>
                <c:pt idx="3520">
                  <c:v>38036</c:v>
                </c:pt>
                <c:pt idx="3521">
                  <c:v>87100</c:v>
                </c:pt>
                <c:pt idx="3522">
                  <c:v>38569</c:v>
                </c:pt>
                <c:pt idx="3523">
                  <c:v>62180</c:v>
                </c:pt>
                <c:pt idx="3524">
                  <c:v>179786</c:v>
                </c:pt>
                <c:pt idx="3525">
                  <c:v>35339</c:v>
                </c:pt>
                <c:pt idx="3526">
                  <c:v>69777</c:v>
                </c:pt>
                <c:pt idx="3527">
                  <c:v>87426</c:v>
                </c:pt>
                <c:pt idx="3528">
                  <c:v>50652</c:v>
                </c:pt>
                <c:pt idx="3529">
                  <c:v>160400</c:v>
                </c:pt>
                <c:pt idx="3530">
                  <c:v>120721</c:v>
                </c:pt>
                <c:pt idx="3531">
                  <c:v>52786</c:v>
                </c:pt>
                <c:pt idx="3532">
                  <c:v>42781</c:v>
                </c:pt>
                <c:pt idx="3533">
                  <c:v>177043</c:v>
                </c:pt>
                <c:pt idx="3534">
                  <c:v>112693</c:v>
                </c:pt>
                <c:pt idx="3535">
                  <c:v>61756</c:v>
                </c:pt>
                <c:pt idx="3536">
                  <c:v>68870</c:v>
                </c:pt>
                <c:pt idx="3537">
                  <c:v>46541</c:v>
                </c:pt>
                <c:pt idx="3538">
                  <c:v>81195</c:v>
                </c:pt>
                <c:pt idx="3539">
                  <c:v>76365</c:v>
                </c:pt>
                <c:pt idx="3540">
                  <c:v>37237</c:v>
                </c:pt>
                <c:pt idx="3541">
                  <c:v>37442</c:v>
                </c:pt>
                <c:pt idx="3542">
                  <c:v>35020</c:v>
                </c:pt>
                <c:pt idx="3543">
                  <c:v>34563</c:v>
                </c:pt>
                <c:pt idx="3544">
                  <c:v>25144</c:v>
                </c:pt>
                <c:pt idx="3545">
                  <c:v>72380</c:v>
                </c:pt>
                <c:pt idx="3546">
                  <c:v>36741</c:v>
                </c:pt>
                <c:pt idx="3547">
                  <c:v>71860</c:v>
                </c:pt>
                <c:pt idx="3548">
                  <c:v>26880</c:v>
                </c:pt>
                <c:pt idx="3549">
                  <c:v>52979</c:v>
                </c:pt>
                <c:pt idx="3550">
                  <c:v>80323</c:v>
                </c:pt>
                <c:pt idx="3551">
                  <c:v>60278</c:v>
                </c:pt>
                <c:pt idx="3552">
                  <c:v>110223</c:v>
                </c:pt>
                <c:pt idx="3553">
                  <c:v>25876</c:v>
                </c:pt>
                <c:pt idx="3554">
                  <c:v>35107</c:v>
                </c:pt>
                <c:pt idx="3555">
                  <c:v>24109</c:v>
                </c:pt>
                <c:pt idx="3556">
                  <c:v>37576</c:v>
                </c:pt>
                <c:pt idx="3557">
                  <c:v>156860</c:v>
                </c:pt>
                <c:pt idx="3558">
                  <c:v>66814</c:v>
                </c:pt>
                <c:pt idx="3559">
                  <c:v>70195</c:v>
                </c:pt>
                <c:pt idx="3560">
                  <c:v>50837</c:v>
                </c:pt>
                <c:pt idx="3561">
                  <c:v>33470</c:v>
                </c:pt>
                <c:pt idx="3562">
                  <c:v>31873</c:v>
                </c:pt>
                <c:pt idx="3563">
                  <c:v>21654</c:v>
                </c:pt>
                <c:pt idx="3564">
                  <c:v>66167</c:v>
                </c:pt>
                <c:pt idx="3565">
                  <c:v>71336</c:v>
                </c:pt>
                <c:pt idx="3566">
                  <c:v>79714</c:v>
                </c:pt>
                <c:pt idx="3567">
                  <c:v>23929</c:v>
                </c:pt>
                <c:pt idx="3568">
                  <c:v>61194</c:v>
                </c:pt>
                <c:pt idx="3569">
                  <c:v>72678</c:v>
                </c:pt>
                <c:pt idx="3570">
                  <c:v>46676</c:v>
                </c:pt>
                <c:pt idx="3571">
                  <c:v>40999</c:v>
                </c:pt>
                <c:pt idx="3572">
                  <c:v>20499</c:v>
                </c:pt>
                <c:pt idx="3573">
                  <c:v>90678</c:v>
                </c:pt>
                <c:pt idx="3574">
                  <c:v>27509</c:v>
                </c:pt>
                <c:pt idx="3575">
                  <c:v>29006</c:v>
                </c:pt>
                <c:pt idx="3576">
                  <c:v>39741</c:v>
                </c:pt>
                <c:pt idx="3577">
                  <c:v>39191</c:v>
                </c:pt>
                <c:pt idx="3578">
                  <c:v>25466</c:v>
                </c:pt>
                <c:pt idx="3579">
                  <c:v>108565</c:v>
                </c:pt>
                <c:pt idx="3580">
                  <c:v>48203</c:v>
                </c:pt>
                <c:pt idx="3581">
                  <c:v>61237</c:v>
                </c:pt>
                <c:pt idx="3582">
                  <c:v>67564</c:v>
                </c:pt>
                <c:pt idx="3583">
                  <c:v>34140</c:v>
                </c:pt>
                <c:pt idx="3584">
                  <c:v>40291</c:v>
                </c:pt>
                <c:pt idx="3585">
                  <c:v>70673</c:v>
                </c:pt>
                <c:pt idx="3586">
                  <c:v>15000</c:v>
                </c:pt>
                <c:pt idx="3587">
                  <c:v>134726</c:v>
                </c:pt>
                <c:pt idx="3588">
                  <c:v>43018</c:v>
                </c:pt>
                <c:pt idx="3589">
                  <c:v>36219</c:v>
                </c:pt>
                <c:pt idx="3590">
                  <c:v>29803</c:v>
                </c:pt>
                <c:pt idx="3591">
                  <c:v>25994</c:v>
                </c:pt>
                <c:pt idx="3592">
                  <c:v>35337</c:v>
                </c:pt>
                <c:pt idx="3593">
                  <c:v>27218</c:v>
                </c:pt>
                <c:pt idx="3594">
                  <c:v>23807</c:v>
                </c:pt>
                <c:pt idx="3595">
                  <c:v>147845</c:v>
                </c:pt>
                <c:pt idx="3596">
                  <c:v>45181</c:v>
                </c:pt>
                <c:pt idx="3597">
                  <c:v>28712</c:v>
                </c:pt>
                <c:pt idx="3598">
                  <c:v>108216</c:v>
                </c:pt>
                <c:pt idx="3599">
                  <c:v>64359</c:v>
                </c:pt>
                <c:pt idx="3600">
                  <c:v>29383</c:v>
                </c:pt>
                <c:pt idx="3601">
                  <c:v>35044</c:v>
                </c:pt>
                <c:pt idx="3602">
                  <c:v>75901</c:v>
                </c:pt>
                <c:pt idx="3603">
                  <c:v>37762</c:v>
                </c:pt>
                <c:pt idx="3604">
                  <c:v>112447</c:v>
                </c:pt>
                <c:pt idx="3605">
                  <c:v>41131</c:v>
                </c:pt>
                <c:pt idx="3606">
                  <c:v>77787</c:v>
                </c:pt>
                <c:pt idx="3607">
                  <c:v>38181</c:v>
                </c:pt>
                <c:pt idx="3608">
                  <c:v>77636</c:v>
                </c:pt>
                <c:pt idx="3609">
                  <c:v>55284</c:v>
                </c:pt>
                <c:pt idx="3610">
                  <c:v>82945</c:v>
                </c:pt>
                <c:pt idx="3611">
                  <c:v>26346</c:v>
                </c:pt>
                <c:pt idx="3612">
                  <c:v>23485</c:v>
                </c:pt>
                <c:pt idx="3613">
                  <c:v>25305</c:v>
                </c:pt>
                <c:pt idx="3614">
                  <c:v>66606</c:v>
                </c:pt>
                <c:pt idx="3615">
                  <c:v>68736</c:v>
                </c:pt>
                <c:pt idx="3616">
                  <c:v>63793</c:v>
                </c:pt>
                <c:pt idx="3617">
                  <c:v>45671</c:v>
                </c:pt>
                <c:pt idx="3618">
                  <c:v>34983</c:v>
                </c:pt>
                <c:pt idx="3619">
                  <c:v>40966</c:v>
                </c:pt>
                <c:pt idx="3620">
                  <c:v>27750</c:v>
                </c:pt>
                <c:pt idx="3621">
                  <c:v>122602</c:v>
                </c:pt>
                <c:pt idx="3622">
                  <c:v>57732</c:v>
                </c:pt>
                <c:pt idx="3623">
                  <c:v>100220</c:v>
                </c:pt>
                <c:pt idx="3624">
                  <c:v>80887</c:v>
                </c:pt>
                <c:pt idx="3625">
                  <c:v>37136</c:v>
                </c:pt>
                <c:pt idx="3626">
                  <c:v>92758</c:v>
                </c:pt>
                <c:pt idx="3627">
                  <c:v>32838</c:v>
                </c:pt>
                <c:pt idx="3628">
                  <c:v>38999</c:v>
                </c:pt>
                <c:pt idx="3629">
                  <c:v>36954</c:v>
                </c:pt>
                <c:pt idx="3630">
                  <c:v>143316</c:v>
                </c:pt>
                <c:pt idx="3631">
                  <c:v>69542</c:v>
                </c:pt>
                <c:pt idx="3632">
                  <c:v>40586</c:v>
                </c:pt>
                <c:pt idx="3633">
                  <c:v>33440</c:v>
                </c:pt>
                <c:pt idx="3634">
                  <c:v>25715</c:v>
                </c:pt>
                <c:pt idx="3635">
                  <c:v>27427</c:v>
                </c:pt>
                <c:pt idx="3636">
                  <c:v>270201</c:v>
                </c:pt>
                <c:pt idx="3637">
                  <c:v>121288</c:v>
                </c:pt>
                <c:pt idx="3638">
                  <c:v>126838</c:v>
                </c:pt>
                <c:pt idx="3639">
                  <c:v>48016</c:v>
                </c:pt>
                <c:pt idx="3640">
                  <c:v>71771</c:v>
                </c:pt>
                <c:pt idx="3641">
                  <c:v>34749</c:v>
                </c:pt>
                <c:pt idx="3642">
                  <c:v>90554</c:v>
                </c:pt>
                <c:pt idx="3643">
                  <c:v>83075</c:v>
                </c:pt>
                <c:pt idx="3644">
                  <c:v>52490</c:v>
                </c:pt>
                <c:pt idx="3645">
                  <c:v>77061</c:v>
                </c:pt>
                <c:pt idx="3646">
                  <c:v>216764</c:v>
                </c:pt>
                <c:pt idx="3647">
                  <c:v>29574</c:v>
                </c:pt>
                <c:pt idx="3648">
                  <c:v>42559</c:v>
                </c:pt>
                <c:pt idx="3649">
                  <c:v>26392</c:v>
                </c:pt>
                <c:pt idx="3650">
                  <c:v>114278</c:v>
                </c:pt>
                <c:pt idx="3651">
                  <c:v>47218</c:v>
                </c:pt>
                <c:pt idx="3652">
                  <c:v>51044</c:v>
                </c:pt>
                <c:pt idx="3653">
                  <c:v>41663</c:v>
                </c:pt>
                <c:pt idx="3654">
                  <c:v>34988</c:v>
                </c:pt>
                <c:pt idx="3655">
                  <c:v>195101</c:v>
                </c:pt>
                <c:pt idx="3656">
                  <c:v>24841</c:v>
                </c:pt>
                <c:pt idx="3657">
                  <c:v>35353</c:v>
                </c:pt>
                <c:pt idx="3658">
                  <c:v>166331</c:v>
                </c:pt>
                <c:pt idx="3659">
                  <c:v>39541</c:v>
                </c:pt>
                <c:pt idx="3660">
                  <c:v>31763</c:v>
                </c:pt>
                <c:pt idx="3661">
                  <c:v>43443</c:v>
                </c:pt>
                <c:pt idx="3662">
                  <c:v>45746</c:v>
                </c:pt>
                <c:pt idx="3663">
                  <c:v>34942</c:v>
                </c:pt>
                <c:pt idx="3664">
                  <c:v>28890</c:v>
                </c:pt>
                <c:pt idx="3665">
                  <c:v>50627</c:v>
                </c:pt>
                <c:pt idx="3666">
                  <c:v>34459</c:v>
                </c:pt>
                <c:pt idx="3667">
                  <c:v>58958</c:v>
                </c:pt>
                <c:pt idx="3668">
                  <c:v>68466</c:v>
                </c:pt>
                <c:pt idx="3669">
                  <c:v>96933</c:v>
                </c:pt>
                <c:pt idx="3670">
                  <c:v>73485</c:v>
                </c:pt>
                <c:pt idx="3671">
                  <c:v>46895</c:v>
                </c:pt>
                <c:pt idx="3672">
                  <c:v>38773</c:v>
                </c:pt>
                <c:pt idx="3673">
                  <c:v>30196</c:v>
                </c:pt>
                <c:pt idx="3674">
                  <c:v>87969</c:v>
                </c:pt>
                <c:pt idx="3675">
                  <c:v>24127</c:v>
                </c:pt>
                <c:pt idx="3676">
                  <c:v>65985</c:v>
                </c:pt>
                <c:pt idx="3677">
                  <c:v>38511</c:v>
                </c:pt>
                <c:pt idx="3678">
                  <c:v>39968</c:v>
                </c:pt>
                <c:pt idx="3679">
                  <c:v>54637</c:v>
                </c:pt>
                <c:pt idx="3680">
                  <c:v>52423</c:v>
                </c:pt>
                <c:pt idx="3681">
                  <c:v>41888</c:v>
                </c:pt>
                <c:pt idx="3682">
                  <c:v>64601</c:v>
                </c:pt>
                <c:pt idx="3683">
                  <c:v>73435</c:v>
                </c:pt>
                <c:pt idx="3684">
                  <c:v>44546</c:v>
                </c:pt>
                <c:pt idx="3685">
                  <c:v>44314</c:v>
                </c:pt>
                <c:pt idx="3686">
                  <c:v>45516</c:v>
                </c:pt>
                <c:pt idx="3687">
                  <c:v>62272</c:v>
                </c:pt>
                <c:pt idx="3688">
                  <c:v>31306</c:v>
                </c:pt>
                <c:pt idx="3689">
                  <c:v>28212</c:v>
                </c:pt>
                <c:pt idx="3690">
                  <c:v>43959</c:v>
                </c:pt>
                <c:pt idx="3691">
                  <c:v>34182</c:v>
                </c:pt>
                <c:pt idx="3692">
                  <c:v>32206</c:v>
                </c:pt>
                <c:pt idx="3693">
                  <c:v>44079</c:v>
                </c:pt>
                <c:pt idx="3694">
                  <c:v>40569</c:v>
                </c:pt>
                <c:pt idx="3695">
                  <c:v>185205</c:v>
                </c:pt>
                <c:pt idx="3696">
                  <c:v>31983</c:v>
                </c:pt>
                <c:pt idx="3697">
                  <c:v>40852</c:v>
                </c:pt>
                <c:pt idx="3698">
                  <c:v>63489</c:v>
                </c:pt>
                <c:pt idx="3699">
                  <c:v>29017</c:v>
                </c:pt>
                <c:pt idx="3700">
                  <c:v>119784</c:v>
                </c:pt>
                <c:pt idx="3701">
                  <c:v>34396</c:v>
                </c:pt>
                <c:pt idx="3702">
                  <c:v>121267</c:v>
                </c:pt>
                <c:pt idx="3703">
                  <c:v>59740</c:v>
                </c:pt>
                <c:pt idx="3704">
                  <c:v>164080</c:v>
                </c:pt>
                <c:pt idx="3705">
                  <c:v>49125</c:v>
                </c:pt>
                <c:pt idx="3706">
                  <c:v>80331</c:v>
                </c:pt>
                <c:pt idx="3707">
                  <c:v>26967</c:v>
                </c:pt>
                <c:pt idx="3708">
                  <c:v>33444</c:v>
                </c:pt>
                <c:pt idx="3709">
                  <c:v>31316</c:v>
                </c:pt>
                <c:pt idx="3710">
                  <c:v>62128</c:v>
                </c:pt>
                <c:pt idx="3711">
                  <c:v>38355</c:v>
                </c:pt>
                <c:pt idx="3712">
                  <c:v>28109</c:v>
                </c:pt>
                <c:pt idx="3713">
                  <c:v>50067</c:v>
                </c:pt>
                <c:pt idx="3714">
                  <c:v>46868</c:v>
                </c:pt>
                <c:pt idx="3715">
                  <c:v>48732</c:v>
                </c:pt>
                <c:pt idx="3716">
                  <c:v>104898</c:v>
                </c:pt>
                <c:pt idx="3717">
                  <c:v>39373</c:v>
                </c:pt>
                <c:pt idx="3718">
                  <c:v>47903</c:v>
                </c:pt>
                <c:pt idx="3719">
                  <c:v>147776</c:v>
                </c:pt>
                <c:pt idx="3720">
                  <c:v>33275</c:v>
                </c:pt>
                <c:pt idx="3721">
                  <c:v>31192</c:v>
                </c:pt>
                <c:pt idx="3722">
                  <c:v>138302</c:v>
                </c:pt>
                <c:pt idx="3723">
                  <c:v>40917</c:v>
                </c:pt>
                <c:pt idx="3724">
                  <c:v>56970</c:v>
                </c:pt>
                <c:pt idx="3725">
                  <c:v>192430</c:v>
                </c:pt>
                <c:pt idx="3726">
                  <c:v>172750</c:v>
                </c:pt>
                <c:pt idx="3727">
                  <c:v>45396</c:v>
                </c:pt>
                <c:pt idx="3728">
                  <c:v>120825</c:v>
                </c:pt>
                <c:pt idx="3729">
                  <c:v>33420</c:v>
                </c:pt>
                <c:pt idx="3730">
                  <c:v>38574</c:v>
                </c:pt>
                <c:pt idx="3731">
                  <c:v>45076</c:v>
                </c:pt>
                <c:pt idx="3732">
                  <c:v>28568</c:v>
                </c:pt>
                <c:pt idx="3733">
                  <c:v>41017</c:v>
                </c:pt>
                <c:pt idx="3734">
                  <c:v>59088</c:v>
                </c:pt>
                <c:pt idx="3735">
                  <c:v>109300</c:v>
                </c:pt>
                <c:pt idx="3736">
                  <c:v>45396</c:v>
                </c:pt>
                <c:pt idx="3737">
                  <c:v>82516</c:v>
                </c:pt>
                <c:pt idx="3738">
                  <c:v>105748</c:v>
                </c:pt>
                <c:pt idx="3739">
                  <c:v>69692</c:v>
                </c:pt>
                <c:pt idx="3740">
                  <c:v>25244</c:v>
                </c:pt>
                <c:pt idx="3741">
                  <c:v>21052</c:v>
                </c:pt>
                <c:pt idx="3742">
                  <c:v>65771</c:v>
                </c:pt>
                <c:pt idx="3743">
                  <c:v>39613</c:v>
                </c:pt>
                <c:pt idx="3744">
                  <c:v>31819</c:v>
                </c:pt>
                <c:pt idx="3745">
                  <c:v>26013</c:v>
                </c:pt>
                <c:pt idx="3746">
                  <c:v>107406</c:v>
                </c:pt>
                <c:pt idx="3747">
                  <c:v>49144</c:v>
                </c:pt>
                <c:pt idx="3748">
                  <c:v>58132</c:v>
                </c:pt>
                <c:pt idx="3749">
                  <c:v>174718</c:v>
                </c:pt>
                <c:pt idx="3750">
                  <c:v>81463</c:v>
                </c:pt>
                <c:pt idx="3751">
                  <c:v>102745</c:v>
                </c:pt>
                <c:pt idx="3752">
                  <c:v>63312</c:v>
                </c:pt>
                <c:pt idx="3753">
                  <c:v>34180</c:v>
                </c:pt>
                <c:pt idx="3754">
                  <c:v>42505</c:v>
                </c:pt>
                <c:pt idx="3755">
                  <c:v>41045</c:v>
                </c:pt>
                <c:pt idx="3756">
                  <c:v>27249</c:v>
                </c:pt>
                <c:pt idx="3757">
                  <c:v>23421</c:v>
                </c:pt>
                <c:pt idx="3758">
                  <c:v>70635</c:v>
                </c:pt>
                <c:pt idx="3759">
                  <c:v>33010</c:v>
                </c:pt>
                <c:pt idx="3760">
                  <c:v>34168</c:v>
                </c:pt>
                <c:pt idx="3761">
                  <c:v>49548</c:v>
                </c:pt>
                <c:pt idx="3762">
                  <c:v>94427</c:v>
                </c:pt>
                <c:pt idx="3763">
                  <c:v>71965</c:v>
                </c:pt>
                <c:pt idx="3764">
                  <c:v>35864</c:v>
                </c:pt>
                <c:pt idx="3765">
                  <c:v>117203</c:v>
                </c:pt>
                <c:pt idx="3766">
                  <c:v>92235</c:v>
                </c:pt>
                <c:pt idx="3767">
                  <c:v>70051</c:v>
                </c:pt>
                <c:pt idx="3768">
                  <c:v>110516</c:v>
                </c:pt>
                <c:pt idx="3769">
                  <c:v>110702</c:v>
                </c:pt>
                <c:pt idx="3770">
                  <c:v>36488</c:v>
                </c:pt>
                <c:pt idx="3771">
                  <c:v>35389</c:v>
                </c:pt>
                <c:pt idx="3772">
                  <c:v>49927</c:v>
                </c:pt>
                <c:pt idx="3773">
                  <c:v>43595</c:v>
                </c:pt>
                <c:pt idx="3774">
                  <c:v>173021</c:v>
                </c:pt>
                <c:pt idx="3775">
                  <c:v>51184</c:v>
                </c:pt>
                <c:pt idx="3776">
                  <c:v>34339</c:v>
                </c:pt>
                <c:pt idx="3777">
                  <c:v>179749</c:v>
                </c:pt>
                <c:pt idx="3778">
                  <c:v>46669</c:v>
                </c:pt>
                <c:pt idx="3779">
                  <c:v>46883</c:v>
                </c:pt>
                <c:pt idx="3780">
                  <c:v>43887</c:v>
                </c:pt>
                <c:pt idx="3781">
                  <c:v>42172</c:v>
                </c:pt>
                <c:pt idx="3782">
                  <c:v>38116</c:v>
                </c:pt>
                <c:pt idx="3783">
                  <c:v>38137</c:v>
                </c:pt>
                <c:pt idx="3784">
                  <c:v>78870</c:v>
                </c:pt>
                <c:pt idx="3785">
                  <c:v>255296</c:v>
                </c:pt>
                <c:pt idx="3786">
                  <c:v>35110</c:v>
                </c:pt>
                <c:pt idx="3787">
                  <c:v>31463</c:v>
                </c:pt>
                <c:pt idx="3788">
                  <c:v>48239</c:v>
                </c:pt>
                <c:pt idx="3789">
                  <c:v>54416</c:v>
                </c:pt>
                <c:pt idx="3790">
                  <c:v>48057</c:v>
                </c:pt>
                <c:pt idx="3791">
                  <c:v>46265</c:v>
                </c:pt>
                <c:pt idx="3792">
                  <c:v>41494</c:v>
                </c:pt>
                <c:pt idx="3793">
                  <c:v>43434</c:v>
                </c:pt>
                <c:pt idx="3794">
                  <c:v>45755</c:v>
                </c:pt>
                <c:pt idx="3795">
                  <c:v>46324</c:v>
                </c:pt>
                <c:pt idx="3796">
                  <c:v>26529</c:v>
                </c:pt>
                <c:pt idx="3797">
                  <c:v>61628</c:v>
                </c:pt>
                <c:pt idx="3798">
                  <c:v>23659</c:v>
                </c:pt>
                <c:pt idx="3799">
                  <c:v>49513</c:v>
                </c:pt>
                <c:pt idx="3800">
                  <c:v>42301</c:v>
                </c:pt>
                <c:pt idx="3801">
                  <c:v>204682</c:v>
                </c:pt>
                <c:pt idx="3802">
                  <c:v>106078</c:v>
                </c:pt>
                <c:pt idx="3803">
                  <c:v>212893</c:v>
                </c:pt>
                <c:pt idx="3804">
                  <c:v>37097</c:v>
                </c:pt>
                <c:pt idx="3805">
                  <c:v>40741</c:v>
                </c:pt>
                <c:pt idx="3806">
                  <c:v>99283</c:v>
                </c:pt>
                <c:pt idx="3807">
                  <c:v>42442</c:v>
                </c:pt>
                <c:pt idx="3808">
                  <c:v>35335</c:v>
                </c:pt>
                <c:pt idx="3809">
                  <c:v>29963</c:v>
                </c:pt>
                <c:pt idx="3810">
                  <c:v>33838</c:v>
                </c:pt>
                <c:pt idx="3811">
                  <c:v>45934</c:v>
                </c:pt>
                <c:pt idx="3812">
                  <c:v>40384</c:v>
                </c:pt>
                <c:pt idx="3813">
                  <c:v>55884</c:v>
                </c:pt>
                <c:pt idx="3814">
                  <c:v>105562</c:v>
                </c:pt>
                <c:pt idx="3815">
                  <c:v>182375</c:v>
                </c:pt>
                <c:pt idx="3816">
                  <c:v>63524</c:v>
                </c:pt>
                <c:pt idx="3817">
                  <c:v>25374</c:v>
                </c:pt>
                <c:pt idx="3818">
                  <c:v>43235</c:v>
                </c:pt>
                <c:pt idx="3819">
                  <c:v>35824</c:v>
                </c:pt>
                <c:pt idx="3820">
                  <c:v>176986</c:v>
                </c:pt>
                <c:pt idx="3821">
                  <c:v>69286</c:v>
                </c:pt>
                <c:pt idx="3822">
                  <c:v>28179</c:v>
                </c:pt>
                <c:pt idx="3823">
                  <c:v>31975</c:v>
                </c:pt>
                <c:pt idx="3824">
                  <c:v>91619</c:v>
                </c:pt>
                <c:pt idx="3825">
                  <c:v>46208</c:v>
                </c:pt>
                <c:pt idx="3826">
                  <c:v>108257</c:v>
                </c:pt>
                <c:pt idx="3827">
                  <c:v>57040</c:v>
                </c:pt>
                <c:pt idx="3828">
                  <c:v>35564</c:v>
                </c:pt>
                <c:pt idx="3829">
                  <c:v>34110</c:v>
                </c:pt>
                <c:pt idx="3830">
                  <c:v>117148</c:v>
                </c:pt>
                <c:pt idx="3831">
                  <c:v>166702</c:v>
                </c:pt>
                <c:pt idx="3832">
                  <c:v>121361</c:v>
                </c:pt>
                <c:pt idx="3833">
                  <c:v>79265</c:v>
                </c:pt>
                <c:pt idx="3834">
                  <c:v>94616</c:v>
                </c:pt>
                <c:pt idx="3835">
                  <c:v>163619</c:v>
                </c:pt>
                <c:pt idx="3836">
                  <c:v>48804</c:v>
                </c:pt>
                <c:pt idx="3837">
                  <c:v>128461</c:v>
                </c:pt>
                <c:pt idx="3838">
                  <c:v>41268</c:v>
                </c:pt>
                <c:pt idx="3839">
                  <c:v>39714</c:v>
                </c:pt>
                <c:pt idx="3840">
                  <c:v>114728</c:v>
                </c:pt>
                <c:pt idx="3841">
                  <c:v>90126</c:v>
                </c:pt>
                <c:pt idx="3842">
                  <c:v>23371</c:v>
                </c:pt>
                <c:pt idx="3843">
                  <c:v>51085</c:v>
                </c:pt>
                <c:pt idx="3844">
                  <c:v>34106</c:v>
                </c:pt>
                <c:pt idx="3845">
                  <c:v>169660</c:v>
                </c:pt>
                <c:pt idx="3846">
                  <c:v>24723</c:v>
                </c:pt>
                <c:pt idx="3847">
                  <c:v>33219</c:v>
                </c:pt>
                <c:pt idx="3848">
                  <c:v>42833</c:v>
                </c:pt>
                <c:pt idx="3849">
                  <c:v>28778</c:v>
                </c:pt>
                <c:pt idx="3850">
                  <c:v>40505</c:v>
                </c:pt>
                <c:pt idx="3851">
                  <c:v>101030</c:v>
                </c:pt>
                <c:pt idx="3852">
                  <c:v>31763</c:v>
                </c:pt>
                <c:pt idx="3853">
                  <c:v>22666</c:v>
                </c:pt>
                <c:pt idx="3854">
                  <c:v>134956</c:v>
                </c:pt>
                <c:pt idx="3855">
                  <c:v>23667</c:v>
                </c:pt>
                <c:pt idx="3856">
                  <c:v>24594</c:v>
                </c:pt>
                <c:pt idx="3857">
                  <c:v>148391</c:v>
                </c:pt>
                <c:pt idx="3858">
                  <c:v>40905</c:v>
                </c:pt>
                <c:pt idx="3859">
                  <c:v>98373</c:v>
                </c:pt>
                <c:pt idx="3860">
                  <c:v>35431</c:v>
                </c:pt>
                <c:pt idx="3861">
                  <c:v>40687</c:v>
                </c:pt>
                <c:pt idx="3862">
                  <c:v>112354</c:v>
                </c:pt>
                <c:pt idx="3863">
                  <c:v>31509</c:v>
                </c:pt>
                <c:pt idx="3864">
                  <c:v>31143</c:v>
                </c:pt>
                <c:pt idx="3865">
                  <c:v>394685</c:v>
                </c:pt>
                <c:pt idx="3866">
                  <c:v>66788</c:v>
                </c:pt>
                <c:pt idx="3867">
                  <c:v>64102</c:v>
                </c:pt>
                <c:pt idx="3868">
                  <c:v>25383</c:v>
                </c:pt>
                <c:pt idx="3869">
                  <c:v>96788</c:v>
                </c:pt>
                <c:pt idx="3870">
                  <c:v>28160</c:v>
                </c:pt>
                <c:pt idx="3871">
                  <c:v>34028</c:v>
                </c:pt>
                <c:pt idx="3872">
                  <c:v>45205</c:v>
                </c:pt>
                <c:pt idx="3873">
                  <c:v>50957</c:v>
                </c:pt>
                <c:pt idx="3874">
                  <c:v>45904</c:v>
                </c:pt>
                <c:pt idx="3875">
                  <c:v>110723</c:v>
                </c:pt>
                <c:pt idx="3876">
                  <c:v>41631</c:v>
                </c:pt>
                <c:pt idx="3877">
                  <c:v>84599</c:v>
                </c:pt>
                <c:pt idx="3878">
                  <c:v>32385</c:v>
                </c:pt>
                <c:pt idx="3879">
                  <c:v>26793</c:v>
                </c:pt>
                <c:pt idx="3880">
                  <c:v>117354</c:v>
                </c:pt>
                <c:pt idx="3881">
                  <c:v>352421</c:v>
                </c:pt>
                <c:pt idx="3882">
                  <c:v>28824</c:v>
                </c:pt>
                <c:pt idx="3883">
                  <c:v>70589</c:v>
                </c:pt>
                <c:pt idx="3884">
                  <c:v>57068</c:v>
                </c:pt>
                <c:pt idx="3885">
                  <c:v>45893</c:v>
                </c:pt>
                <c:pt idx="3886">
                  <c:v>37826</c:v>
                </c:pt>
                <c:pt idx="3887">
                  <c:v>80042</c:v>
                </c:pt>
                <c:pt idx="3888">
                  <c:v>47150</c:v>
                </c:pt>
                <c:pt idx="3889">
                  <c:v>214046</c:v>
                </c:pt>
                <c:pt idx="3890">
                  <c:v>100172</c:v>
                </c:pt>
                <c:pt idx="3891">
                  <c:v>192631</c:v>
                </c:pt>
                <c:pt idx="3892">
                  <c:v>35052</c:v>
                </c:pt>
                <c:pt idx="3893">
                  <c:v>41022</c:v>
                </c:pt>
                <c:pt idx="3894">
                  <c:v>27846</c:v>
                </c:pt>
                <c:pt idx="3895">
                  <c:v>41036</c:v>
                </c:pt>
                <c:pt idx="3896">
                  <c:v>34375</c:v>
                </c:pt>
                <c:pt idx="3897">
                  <c:v>53854</c:v>
                </c:pt>
                <c:pt idx="3898">
                  <c:v>29611</c:v>
                </c:pt>
                <c:pt idx="3899">
                  <c:v>47335</c:v>
                </c:pt>
                <c:pt idx="3900">
                  <c:v>51540</c:v>
                </c:pt>
                <c:pt idx="3901">
                  <c:v>85643</c:v>
                </c:pt>
                <c:pt idx="3902">
                  <c:v>88151</c:v>
                </c:pt>
                <c:pt idx="3903">
                  <c:v>106868</c:v>
                </c:pt>
                <c:pt idx="3904">
                  <c:v>51709</c:v>
                </c:pt>
                <c:pt idx="3905">
                  <c:v>53387</c:v>
                </c:pt>
                <c:pt idx="3906">
                  <c:v>83736</c:v>
                </c:pt>
                <c:pt idx="3907">
                  <c:v>37246</c:v>
                </c:pt>
                <c:pt idx="3908">
                  <c:v>54720</c:v>
                </c:pt>
                <c:pt idx="3909">
                  <c:v>230448</c:v>
                </c:pt>
                <c:pt idx="3910">
                  <c:v>76723</c:v>
                </c:pt>
                <c:pt idx="3911">
                  <c:v>36892</c:v>
                </c:pt>
                <c:pt idx="3912">
                  <c:v>30808</c:v>
                </c:pt>
                <c:pt idx="3913">
                  <c:v>90583</c:v>
                </c:pt>
                <c:pt idx="3914">
                  <c:v>55139</c:v>
                </c:pt>
                <c:pt idx="3915">
                  <c:v>38610</c:v>
                </c:pt>
                <c:pt idx="3916">
                  <c:v>43309</c:v>
                </c:pt>
                <c:pt idx="3917">
                  <c:v>178466</c:v>
                </c:pt>
                <c:pt idx="3918">
                  <c:v>44410</c:v>
                </c:pt>
                <c:pt idx="3919">
                  <c:v>42670</c:v>
                </c:pt>
                <c:pt idx="3920">
                  <c:v>41274</c:v>
                </c:pt>
                <c:pt idx="3921">
                  <c:v>69147</c:v>
                </c:pt>
                <c:pt idx="3922">
                  <c:v>37856</c:v>
                </c:pt>
                <c:pt idx="3923">
                  <c:v>198201</c:v>
                </c:pt>
                <c:pt idx="3924">
                  <c:v>31697</c:v>
                </c:pt>
                <c:pt idx="3925">
                  <c:v>36750</c:v>
                </c:pt>
                <c:pt idx="3926">
                  <c:v>40122</c:v>
                </c:pt>
                <c:pt idx="3927">
                  <c:v>24947</c:v>
                </c:pt>
                <c:pt idx="3928">
                  <c:v>150705</c:v>
                </c:pt>
                <c:pt idx="3929">
                  <c:v>43075</c:v>
                </c:pt>
                <c:pt idx="3930">
                  <c:v>70165</c:v>
                </c:pt>
                <c:pt idx="3931">
                  <c:v>30997</c:v>
                </c:pt>
                <c:pt idx="3932">
                  <c:v>35252</c:v>
                </c:pt>
                <c:pt idx="3933">
                  <c:v>75246</c:v>
                </c:pt>
                <c:pt idx="3934">
                  <c:v>48949</c:v>
                </c:pt>
                <c:pt idx="3935">
                  <c:v>30355</c:v>
                </c:pt>
                <c:pt idx="3936">
                  <c:v>31487</c:v>
                </c:pt>
                <c:pt idx="3937">
                  <c:v>28695</c:v>
                </c:pt>
                <c:pt idx="3938">
                  <c:v>170037</c:v>
                </c:pt>
                <c:pt idx="3939">
                  <c:v>31480</c:v>
                </c:pt>
                <c:pt idx="3940">
                  <c:v>42140</c:v>
                </c:pt>
                <c:pt idx="3941">
                  <c:v>45578</c:v>
                </c:pt>
                <c:pt idx="3942">
                  <c:v>308327</c:v>
                </c:pt>
                <c:pt idx="3943">
                  <c:v>32621</c:v>
                </c:pt>
                <c:pt idx="3944">
                  <c:v>28246</c:v>
                </c:pt>
                <c:pt idx="3945">
                  <c:v>46327</c:v>
                </c:pt>
                <c:pt idx="3946">
                  <c:v>146359</c:v>
                </c:pt>
                <c:pt idx="3947">
                  <c:v>349557</c:v>
                </c:pt>
                <c:pt idx="3948">
                  <c:v>165356</c:v>
                </c:pt>
                <c:pt idx="3949">
                  <c:v>76522</c:v>
                </c:pt>
                <c:pt idx="3950">
                  <c:v>64233</c:v>
                </c:pt>
                <c:pt idx="3951">
                  <c:v>40213</c:v>
                </c:pt>
                <c:pt idx="3952">
                  <c:v>41591</c:v>
                </c:pt>
                <c:pt idx="3953">
                  <c:v>154631</c:v>
                </c:pt>
                <c:pt idx="3954">
                  <c:v>59927</c:v>
                </c:pt>
                <c:pt idx="3955">
                  <c:v>38477</c:v>
                </c:pt>
                <c:pt idx="3956">
                  <c:v>78173</c:v>
                </c:pt>
                <c:pt idx="3957">
                  <c:v>26494</c:v>
                </c:pt>
                <c:pt idx="3958">
                  <c:v>110300</c:v>
                </c:pt>
                <c:pt idx="3959">
                  <c:v>41434</c:v>
                </c:pt>
                <c:pt idx="3960">
                  <c:v>141305</c:v>
                </c:pt>
                <c:pt idx="3961">
                  <c:v>27213</c:v>
                </c:pt>
                <c:pt idx="3962">
                  <c:v>32790</c:v>
                </c:pt>
                <c:pt idx="3963">
                  <c:v>46149</c:v>
                </c:pt>
                <c:pt idx="3964">
                  <c:v>82613</c:v>
                </c:pt>
                <c:pt idx="3965">
                  <c:v>64476</c:v>
                </c:pt>
                <c:pt idx="3966">
                  <c:v>15000</c:v>
                </c:pt>
                <c:pt idx="3967">
                  <c:v>51568</c:v>
                </c:pt>
                <c:pt idx="3968">
                  <c:v>80863</c:v>
                </c:pt>
                <c:pt idx="3969">
                  <c:v>31601</c:v>
                </c:pt>
                <c:pt idx="3970">
                  <c:v>126495</c:v>
                </c:pt>
                <c:pt idx="3971">
                  <c:v>36930</c:v>
                </c:pt>
                <c:pt idx="3972">
                  <c:v>28852</c:v>
                </c:pt>
                <c:pt idx="3973">
                  <c:v>35517</c:v>
                </c:pt>
                <c:pt idx="3974">
                  <c:v>21255</c:v>
                </c:pt>
                <c:pt idx="3975">
                  <c:v>148974</c:v>
                </c:pt>
                <c:pt idx="3976">
                  <c:v>80768</c:v>
                </c:pt>
                <c:pt idx="3977">
                  <c:v>37626</c:v>
                </c:pt>
                <c:pt idx="3978">
                  <c:v>150888</c:v>
                </c:pt>
                <c:pt idx="3979">
                  <c:v>99740</c:v>
                </c:pt>
                <c:pt idx="3980">
                  <c:v>49125</c:v>
                </c:pt>
                <c:pt idx="3981">
                  <c:v>86000</c:v>
                </c:pt>
                <c:pt idx="3982">
                  <c:v>84406</c:v>
                </c:pt>
                <c:pt idx="3983">
                  <c:v>96117</c:v>
                </c:pt>
                <c:pt idx="3984">
                  <c:v>94212</c:v>
                </c:pt>
                <c:pt idx="3985">
                  <c:v>60855</c:v>
                </c:pt>
                <c:pt idx="3986">
                  <c:v>81201</c:v>
                </c:pt>
                <c:pt idx="3987">
                  <c:v>73747</c:v>
                </c:pt>
                <c:pt idx="3988">
                  <c:v>44368</c:v>
                </c:pt>
                <c:pt idx="3989">
                  <c:v>30100</c:v>
                </c:pt>
                <c:pt idx="3990">
                  <c:v>24104</c:v>
                </c:pt>
                <c:pt idx="3991">
                  <c:v>47458</c:v>
                </c:pt>
                <c:pt idx="3992">
                  <c:v>40217</c:v>
                </c:pt>
                <c:pt idx="3993">
                  <c:v>41463</c:v>
                </c:pt>
                <c:pt idx="3994">
                  <c:v>48278</c:v>
                </c:pt>
                <c:pt idx="3995">
                  <c:v>73367</c:v>
                </c:pt>
                <c:pt idx="3996">
                  <c:v>77711</c:v>
                </c:pt>
                <c:pt idx="3997">
                  <c:v>51548</c:v>
                </c:pt>
                <c:pt idx="3998">
                  <c:v>40864</c:v>
                </c:pt>
                <c:pt idx="3999">
                  <c:v>30208</c:v>
                </c:pt>
                <c:pt idx="4000">
                  <c:v>46252</c:v>
                </c:pt>
                <c:pt idx="4001">
                  <c:v>69623</c:v>
                </c:pt>
                <c:pt idx="4002">
                  <c:v>118138</c:v>
                </c:pt>
                <c:pt idx="4003">
                  <c:v>40944</c:v>
                </c:pt>
                <c:pt idx="4004">
                  <c:v>101621</c:v>
                </c:pt>
                <c:pt idx="4005">
                  <c:v>31412</c:v>
                </c:pt>
                <c:pt idx="4006">
                  <c:v>39717</c:v>
                </c:pt>
                <c:pt idx="4007">
                  <c:v>40133</c:v>
                </c:pt>
                <c:pt idx="4008">
                  <c:v>128680</c:v>
                </c:pt>
                <c:pt idx="4009">
                  <c:v>45993</c:v>
                </c:pt>
                <c:pt idx="4010">
                  <c:v>45286</c:v>
                </c:pt>
                <c:pt idx="4011">
                  <c:v>32513</c:v>
                </c:pt>
                <c:pt idx="4012">
                  <c:v>32717</c:v>
                </c:pt>
                <c:pt idx="4013">
                  <c:v>96217</c:v>
                </c:pt>
                <c:pt idx="4014">
                  <c:v>35348</c:v>
                </c:pt>
                <c:pt idx="4015">
                  <c:v>80349</c:v>
                </c:pt>
                <c:pt idx="4016">
                  <c:v>68897</c:v>
                </c:pt>
                <c:pt idx="4017">
                  <c:v>31999</c:v>
                </c:pt>
                <c:pt idx="4018">
                  <c:v>45223</c:v>
                </c:pt>
                <c:pt idx="4019">
                  <c:v>133201</c:v>
                </c:pt>
                <c:pt idx="4020">
                  <c:v>43529</c:v>
                </c:pt>
                <c:pt idx="4021">
                  <c:v>52219</c:v>
                </c:pt>
                <c:pt idx="4022">
                  <c:v>35973</c:v>
                </c:pt>
                <c:pt idx="4023">
                  <c:v>31092</c:v>
                </c:pt>
                <c:pt idx="4024">
                  <c:v>35449</c:v>
                </c:pt>
                <c:pt idx="4025">
                  <c:v>50737</c:v>
                </c:pt>
                <c:pt idx="4026">
                  <c:v>28504</c:v>
                </c:pt>
                <c:pt idx="4027">
                  <c:v>60745</c:v>
                </c:pt>
                <c:pt idx="4028">
                  <c:v>78753</c:v>
                </c:pt>
                <c:pt idx="4029">
                  <c:v>38648</c:v>
                </c:pt>
                <c:pt idx="4030">
                  <c:v>173989</c:v>
                </c:pt>
                <c:pt idx="4031">
                  <c:v>238996</c:v>
                </c:pt>
                <c:pt idx="4032">
                  <c:v>45999</c:v>
                </c:pt>
                <c:pt idx="4033">
                  <c:v>57715</c:v>
                </c:pt>
                <c:pt idx="4034">
                  <c:v>35480</c:v>
                </c:pt>
                <c:pt idx="4035">
                  <c:v>112706</c:v>
                </c:pt>
                <c:pt idx="4036">
                  <c:v>57368</c:v>
                </c:pt>
                <c:pt idx="4037">
                  <c:v>92679</c:v>
                </c:pt>
                <c:pt idx="4038">
                  <c:v>32885</c:v>
                </c:pt>
                <c:pt idx="4039">
                  <c:v>39098</c:v>
                </c:pt>
                <c:pt idx="4040">
                  <c:v>24087</c:v>
                </c:pt>
                <c:pt idx="4041">
                  <c:v>36982</c:v>
                </c:pt>
                <c:pt idx="4042">
                  <c:v>71302</c:v>
                </c:pt>
                <c:pt idx="4043">
                  <c:v>24034</c:v>
                </c:pt>
                <c:pt idx="4044">
                  <c:v>27913</c:v>
                </c:pt>
                <c:pt idx="4045">
                  <c:v>37434</c:v>
                </c:pt>
                <c:pt idx="4046">
                  <c:v>29787</c:v>
                </c:pt>
                <c:pt idx="4047">
                  <c:v>25525</c:v>
                </c:pt>
                <c:pt idx="4048">
                  <c:v>39570</c:v>
                </c:pt>
                <c:pt idx="4049">
                  <c:v>30410</c:v>
                </c:pt>
                <c:pt idx="4050">
                  <c:v>38406</c:v>
                </c:pt>
                <c:pt idx="4051">
                  <c:v>25030</c:v>
                </c:pt>
                <c:pt idx="4052">
                  <c:v>65794</c:v>
                </c:pt>
                <c:pt idx="4053">
                  <c:v>25373</c:v>
                </c:pt>
                <c:pt idx="4054">
                  <c:v>45170</c:v>
                </c:pt>
                <c:pt idx="4055">
                  <c:v>69003</c:v>
                </c:pt>
                <c:pt idx="4056">
                  <c:v>76347</c:v>
                </c:pt>
                <c:pt idx="4057">
                  <c:v>36135</c:v>
                </c:pt>
                <c:pt idx="4058">
                  <c:v>40695</c:v>
                </c:pt>
                <c:pt idx="4059">
                  <c:v>50910</c:v>
                </c:pt>
                <c:pt idx="4060">
                  <c:v>54166</c:v>
                </c:pt>
                <c:pt idx="4061">
                  <c:v>24589</c:v>
                </c:pt>
                <c:pt idx="4062">
                  <c:v>41811</c:v>
                </c:pt>
                <c:pt idx="4063">
                  <c:v>37019</c:v>
                </c:pt>
                <c:pt idx="4064">
                  <c:v>43172</c:v>
                </c:pt>
                <c:pt idx="4065">
                  <c:v>46254</c:v>
                </c:pt>
                <c:pt idx="4066">
                  <c:v>48907</c:v>
                </c:pt>
                <c:pt idx="4067">
                  <c:v>77912</c:v>
                </c:pt>
                <c:pt idx="4068">
                  <c:v>27946</c:v>
                </c:pt>
                <c:pt idx="4069">
                  <c:v>144590</c:v>
                </c:pt>
                <c:pt idx="4070">
                  <c:v>94712</c:v>
                </c:pt>
                <c:pt idx="4071">
                  <c:v>73405</c:v>
                </c:pt>
                <c:pt idx="4072">
                  <c:v>33061</c:v>
                </c:pt>
                <c:pt idx="4073">
                  <c:v>19750</c:v>
                </c:pt>
                <c:pt idx="4074">
                  <c:v>33886</c:v>
                </c:pt>
                <c:pt idx="4075">
                  <c:v>42804</c:v>
                </c:pt>
                <c:pt idx="4076">
                  <c:v>46624</c:v>
                </c:pt>
                <c:pt idx="4077">
                  <c:v>43845</c:v>
                </c:pt>
                <c:pt idx="4078">
                  <c:v>41046</c:v>
                </c:pt>
                <c:pt idx="4079">
                  <c:v>35649</c:v>
                </c:pt>
                <c:pt idx="4080">
                  <c:v>34156</c:v>
                </c:pt>
                <c:pt idx="4081">
                  <c:v>89775</c:v>
                </c:pt>
                <c:pt idx="4082">
                  <c:v>89527</c:v>
                </c:pt>
                <c:pt idx="4083">
                  <c:v>174271</c:v>
                </c:pt>
                <c:pt idx="4084">
                  <c:v>51791</c:v>
                </c:pt>
                <c:pt idx="4085">
                  <c:v>29437</c:v>
                </c:pt>
                <c:pt idx="4086">
                  <c:v>25001</c:v>
                </c:pt>
                <c:pt idx="4087">
                  <c:v>79979</c:v>
                </c:pt>
                <c:pt idx="4088">
                  <c:v>220946</c:v>
                </c:pt>
                <c:pt idx="4089">
                  <c:v>22766</c:v>
                </c:pt>
                <c:pt idx="4090">
                  <c:v>37766</c:v>
                </c:pt>
                <c:pt idx="4091">
                  <c:v>28952</c:v>
                </c:pt>
                <c:pt idx="4092">
                  <c:v>235677</c:v>
                </c:pt>
                <c:pt idx="4093">
                  <c:v>40633</c:v>
                </c:pt>
                <c:pt idx="4094">
                  <c:v>32595</c:v>
                </c:pt>
                <c:pt idx="4095">
                  <c:v>89194</c:v>
                </c:pt>
                <c:pt idx="4096">
                  <c:v>26752</c:v>
                </c:pt>
                <c:pt idx="4097">
                  <c:v>32216</c:v>
                </c:pt>
                <c:pt idx="4098">
                  <c:v>39385</c:v>
                </c:pt>
                <c:pt idx="4099">
                  <c:v>39617</c:v>
                </c:pt>
                <c:pt idx="4100">
                  <c:v>42745</c:v>
                </c:pt>
                <c:pt idx="4101">
                  <c:v>53075</c:v>
                </c:pt>
                <c:pt idx="4102">
                  <c:v>53211</c:v>
                </c:pt>
                <c:pt idx="4103">
                  <c:v>34510</c:v>
                </c:pt>
                <c:pt idx="4104">
                  <c:v>26305</c:v>
                </c:pt>
                <c:pt idx="4105">
                  <c:v>26869</c:v>
                </c:pt>
                <c:pt idx="4106">
                  <c:v>48917</c:v>
                </c:pt>
                <c:pt idx="4107">
                  <c:v>92475</c:v>
                </c:pt>
                <c:pt idx="4108">
                  <c:v>50569</c:v>
                </c:pt>
                <c:pt idx="4109">
                  <c:v>26773</c:v>
                </c:pt>
                <c:pt idx="4110">
                  <c:v>86217</c:v>
                </c:pt>
                <c:pt idx="4111">
                  <c:v>52058</c:v>
                </c:pt>
                <c:pt idx="4112">
                  <c:v>101498</c:v>
                </c:pt>
                <c:pt idx="4113">
                  <c:v>107033</c:v>
                </c:pt>
                <c:pt idx="4114">
                  <c:v>49080</c:v>
                </c:pt>
                <c:pt idx="4115">
                  <c:v>107528</c:v>
                </c:pt>
                <c:pt idx="4116">
                  <c:v>41989</c:v>
                </c:pt>
                <c:pt idx="4117">
                  <c:v>48420</c:v>
                </c:pt>
                <c:pt idx="4118">
                  <c:v>49094</c:v>
                </c:pt>
                <c:pt idx="4119">
                  <c:v>22060</c:v>
                </c:pt>
                <c:pt idx="4120">
                  <c:v>36020</c:v>
                </c:pt>
                <c:pt idx="4121">
                  <c:v>29779</c:v>
                </c:pt>
                <c:pt idx="4122">
                  <c:v>22022</c:v>
                </c:pt>
                <c:pt idx="4123">
                  <c:v>30535</c:v>
                </c:pt>
                <c:pt idx="4124">
                  <c:v>47294</c:v>
                </c:pt>
                <c:pt idx="4125">
                  <c:v>25988</c:v>
                </c:pt>
                <c:pt idx="4126">
                  <c:v>89258</c:v>
                </c:pt>
                <c:pt idx="4127">
                  <c:v>87777</c:v>
                </c:pt>
                <c:pt idx="4128">
                  <c:v>152574</c:v>
                </c:pt>
                <c:pt idx="4129">
                  <c:v>111523</c:v>
                </c:pt>
                <c:pt idx="4130">
                  <c:v>214112</c:v>
                </c:pt>
                <c:pt idx="4131">
                  <c:v>27212</c:v>
                </c:pt>
                <c:pt idx="4132">
                  <c:v>79370</c:v>
                </c:pt>
                <c:pt idx="4133">
                  <c:v>34357</c:v>
                </c:pt>
                <c:pt idx="4134">
                  <c:v>69111</c:v>
                </c:pt>
                <c:pt idx="4135">
                  <c:v>33762</c:v>
                </c:pt>
                <c:pt idx="4136">
                  <c:v>29257</c:v>
                </c:pt>
                <c:pt idx="4137">
                  <c:v>74665</c:v>
                </c:pt>
                <c:pt idx="4138">
                  <c:v>66593</c:v>
                </c:pt>
                <c:pt idx="4139">
                  <c:v>36660</c:v>
                </c:pt>
                <c:pt idx="4140">
                  <c:v>34609</c:v>
                </c:pt>
                <c:pt idx="4141">
                  <c:v>73487</c:v>
                </c:pt>
                <c:pt idx="4142">
                  <c:v>53607</c:v>
                </c:pt>
                <c:pt idx="4143">
                  <c:v>57951</c:v>
                </c:pt>
                <c:pt idx="4144">
                  <c:v>191470</c:v>
                </c:pt>
                <c:pt idx="4145">
                  <c:v>123257</c:v>
                </c:pt>
                <c:pt idx="4146">
                  <c:v>194823</c:v>
                </c:pt>
                <c:pt idx="4147">
                  <c:v>48867</c:v>
                </c:pt>
                <c:pt idx="4148">
                  <c:v>52375</c:v>
                </c:pt>
                <c:pt idx="4149">
                  <c:v>48789</c:v>
                </c:pt>
                <c:pt idx="4150">
                  <c:v>46473</c:v>
                </c:pt>
                <c:pt idx="4151">
                  <c:v>26345</c:v>
                </c:pt>
                <c:pt idx="4152">
                  <c:v>71819</c:v>
                </c:pt>
                <c:pt idx="4153">
                  <c:v>67711</c:v>
                </c:pt>
                <c:pt idx="4154">
                  <c:v>41812</c:v>
                </c:pt>
                <c:pt idx="4155">
                  <c:v>112374</c:v>
                </c:pt>
                <c:pt idx="4156">
                  <c:v>43077</c:v>
                </c:pt>
                <c:pt idx="4157">
                  <c:v>80674</c:v>
                </c:pt>
                <c:pt idx="4158">
                  <c:v>38045</c:v>
                </c:pt>
                <c:pt idx="4159">
                  <c:v>88457</c:v>
                </c:pt>
                <c:pt idx="4160">
                  <c:v>25968</c:v>
                </c:pt>
                <c:pt idx="4161">
                  <c:v>52889</c:v>
                </c:pt>
                <c:pt idx="4162">
                  <c:v>26177</c:v>
                </c:pt>
                <c:pt idx="4163">
                  <c:v>33060</c:v>
                </c:pt>
                <c:pt idx="4164">
                  <c:v>114043</c:v>
                </c:pt>
                <c:pt idx="4165">
                  <c:v>100395</c:v>
                </c:pt>
                <c:pt idx="4166">
                  <c:v>23742</c:v>
                </c:pt>
                <c:pt idx="4167">
                  <c:v>165897</c:v>
                </c:pt>
                <c:pt idx="4168">
                  <c:v>39394</c:v>
                </c:pt>
                <c:pt idx="4169">
                  <c:v>82667</c:v>
                </c:pt>
                <c:pt idx="4170">
                  <c:v>37659</c:v>
                </c:pt>
                <c:pt idx="4171">
                  <c:v>23435</c:v>
                </c:pt>
                <c:pt idx="4172">
                  <c:v>98868</c:v>
                </c:pt>
                <c:pt idx="4173">
                  <c:v>27510</c:v>
                </c:pt>
                <c:pt idx="4174">
                  <c:v>29596</c:v>
                </c:pt>
                <c:pt idx="4175">
                  <c:v>81380</c:v>
                </c:pt>
                <c:pt idx="4176">
                  <c:v>43737</c:v>
                </c:pt>
                <c:pt idx="4177">
                  <c:v>51414</c:v>
                </c:pt>
                <c:pt idx="4178">
                  <c:v>97508</c:v>
                </c:pt>
                <c:pt idx="4179">
                  <c:v>41388</c:v>
                </c:pt>
                <c:pt idx="4180">
                  <c:v>117105</c:v>
                </c:pt>
                <c:pt idx="4181">
                  <c:v>27989</c:v>
                </c:pt>
                <c:pt idx="4182">
                  <c:v>112181</c:v>
                </c:pt>
                <c:pt idx="4183">
                  <c:v>75189</c:v>
                </c:pt>
                <c:pt idx="4184">
                  <c:v>29985</c:v>
                </c:pt>
                <c:pt idx="4185">
                  <c:v>51565</c:v>
                </c:pt>
                <c:pt idx="4186">
                  <c:v>33340</c:v>
                </c:pt>
                <c:pt idx="4187">
                  <c:v>41068</c:v>
                </c:pt>
                <c:pt idx="4188">
                  <c:v>26577</c:v>
                </c:pt>
                <c:pt idx="4189">
                  <c:v>48358</c:v>
                </c:pt>
                <c:pt idx="4190">
                  <c:v>32822</c:v>
                </c:pt>
                <c:pt idx="4191">
                  <c:v>23392</c:v>
                </c:pt>
                <c:pt idx="4192">
                  <c:v>25231</c:v>
                </c:pt>
                <c:pt idx="4193">
                  <c:v>30584</c:v>
                </c:pt>
                <c:pt idx="4194">
                  <c:v>38492</c:v>
                </c:pt>
                <c:pt idx="4195">
                  <c:v>25269</c:v>
                </c:pt>
                <c:pt idx="4196">
                  <c:v>73249</c:v>
                </c:pt>
                <c:pt idx="4197">
                  <c:v>41437</c:v>
                </c:pt>
                <c:pt idx="4198">
                  <c:v>227274</c:v>
                </c:pt>
                <c:pt idx="4199">
                  <c:v>28541</c:v>
                </c:pt>
                <c:pt idx="4200">
                  <c:v>31083</c:v>
                </c:pt>
                <c:pt idx="4201">
                  <c:v>75200</c:v>
                </c:pt>
                <c:pt idx="4202">
                  <c:v>95417</c:v>
                </c:pt>
                <c:pt idx="4203">
                  <c:v>36108</c:v>
                </c:pt>
                <c:pt idx="4204">
                  <c:v>31365</c:v>
                </c:pt>
                <c:pt idx="4205">
                  <c:v>260503</c:v>
                </c:pt>
                <c:pt idx="4206">
                  <c:v>38023</c:v>
                </c:pt>
                <c:pt idx="4207">
                  <c:v>41248</c:v>
                </c:pt>
                <c:pt idx="4208">
                  <c:v>53272</c:v>
                </c:pt>
                <c:pt idx="4209">
                  <c:v>30187</c:v>
                </c:pt>
                <c:pt idx="4210">
                  <c:v>174839</c:v>
                </c:pt>
                <c:pt idx="4211">
                  <c:v>50310</c:v>
                </c:pt>
                <c:pt idx="4212">
                  <c:v>43883</c:v>
                </c:pt>
                <c:pt idx="4213">
                  <c:v>55961</c:v>
                </c:pt>
                <c:pt idx="4214">
                  <c:v>33643</c:v>
                </c:pt>
                <c:pt idx="4215">
                  <c:v>47337</c:v>
                </c:pt>
                <c:pt idx="4216">
                  <c:v>105266</c:v>
                </c:pt>
                <c:pt idx="4217">
                  <c:v>68501</c:v>
                </c:pt>
                <c:pt idx="4218">
                  <c:v>40016</c:v>
                </c:pt>
                <c:pt idx="4219">
                  <c:v>33549</c:v>
                </c:pt>
                <c:pt idx="4220">
                  <c:v>30051</c:v>
                </c:pt>
                <c:pt idx="4221">
                  <c:v>46829</c:v>
                </c:pt>
                <c:pt idx="4222">
                  <c:v>37177</c:v>
                </c:pt>
                <c:pt idx="4223">
                  <c:v>40201</c:v>
                </c:pt>
                <c:pt idx="4224">
                  <c:v>66210</c:v>
                </c:pt>
                <c:pt idx="4225">
                  <c:v>50223</c:v>
                </c:pt>
                <c:pt idx="4226">
                  <c:v>86623</c:v>
                </c:pt>
                <c:pt idx="4227">
                  <c:v>22879</c:v>
                </c:pt>
                <c:pt idx="4228">
                  <c:v>123195</c:v>
                </c:pt>
                <c:pt idx="4229">
                  <c:v>36646</c:v>
                </c:pt>
                <c:pt idx="4230">
                  <c:v>114471</c:v>
                </c:pt>
                <c:pt idx="4231">
                  <c:v>58353</c:v>
                </c:pt>
                <c:pt idx="4232">
                  <c:v>40080</c:v>
                </c:pt>
                <c:pt idx="4233">
                  <c:v>36528</c:v>
                </c:pt>
                <c:pt idx="4234">
                  <c:v>24309</c:v>
                </c:pt>
                <c:pt idx="4235">
                  <c:v>85188</c:v>
                </c:pt>
                <c:pt idx="4236">
                  <c:v>34956</c:v>
                </c:pt>
                <c:pt idx="4237">
                  <c:v>45586</c:v>
                </c:pt>
                <c:pt idx="4238">
                  <c:v>46965</c:v>
                </c:pt>
                <c:pt idx="4239">
                  <c:v>69423</c:v>
                </c:pt>
                <c:pt idx="4240">
                  <c:v>67477</c:v>
                </c:pt>
                <c:pt idx="4241">
                  <c:v>28685</c:v>
                </c:pt>
                <c:pt idx="4242">
                  <c:v>50642</c:v>
                </c:pt>
                <c:pt idx="4243">
                  <c:v>77725</c:v>
                </c:pt>
                <c:pt idx="4244">
                  <c:v>36264</c:v>
                </c:pt>
                <c:pt idx="4245">
                  <c:v>37656</c:v>
                </c:pt>
                <c:pt idx="4246">
                  <c:v>42273</c:v>
                </c:pt>
                <c:pt idx="4247">
                  <c:v>43841</c:v>
                </c:pt>
                <c:pt idx="4248">
                  <c:v>51108</c:v>
                </c:pt>
                <c:pt idx="4249">
                  <c:v>50581</c:v>
                </c:pt>
                <c:pt idx="4250">
                  <c:v>242516</c:v>
                </c:pt>
                <c:pt idx="4251">
                  <c:v>159971</c:v>
                </c:pt>
                <c:pt idx="4252">
                  <c:v>31253</c:v>
                </c:pt>
                <c:pt idx="4253">
                  <c:v>56369</c:v>
                </c:pt>
                <c:pt idx="4254">
                  <c:v>39944</c:v>
                </c:pt>
                <c:pt idx="4255">
                  <c:v>53871</c:v>
                </c:pt>
                <c:pt idx="4256">
                  <c:v>31063</c:v>
                </c:pt>
                <c:pt idx="4257">
                  <c:v>47810</c:v>
                </c:pt>
                <c:pt idx="4258">
                  <c:v>172068</c:v>
                </c:pt>
                <c:pt idx="4259">
                  <c:v>38282</c:v>
                </c:pt>
                <c:pt idx="4260">
                  <c:v>63468</c:v>
                </c:pt>
                <c:pt idx="4261">
                  <c:v>60683</c:v>
                </c:pt>
                <c:pt idx="4262">
                  <c:v>146384</c:v>
                </c:pt>
                <c:pt idx="4263">
                  <c:v>39183</c:v>
                </c:pt>
                <c:pt idx="4264">
                  <c:v>67447</c:v>
                </c:pt>
                <c:pt idx="4265">
                  <c:v>48610</c:v>
                </c:pt>
                <c:pt idx="4266">
                  <c:v>35781</c:v>
                </c:pt>
                <c:pt idx="4267">
                  <c:v>116906</c:v>
                </c:pt>
                <c:pt idx="4268">
                  <c:v>30905</c:v>
                </c:pt>
                <c:pt idx="4269">
                  <c:v>73544</c:v>
                </c:pt>
                <c:pt idx="4270">
                  <c:v>26525</c:v>
                </c:pt>
                <c:pt idx="4271">
                  <c:v>38231</c:v>
                </c:pt>
                <c:pt idx="4272">
                  <c:v>53582</c:v>
                </c:pt>
                <c:pt idx="4273">
                  <c:v>27337</c:v>
                </c:pt>
                <c:pt idx="4274">
                  <c:v>64767</c:v>
                </c:pt>
                <c:pt idx="4275">
                  <c:v>103375</c:v>
                </c:pt>
                <c:pt idx="4276">
                  <c:v>39411</c:v>
                </c:pt>
                <c:pt idx="4277">
                  <c:v>63767</c:v>
                </c:pt>
                <c:pt idx="4278">
                  <c:v>36114</c:v>
                </c:pt>
                <c:pt idx="4279">
                  <c:v>33180</c:v>
                </c:pt>
                <c:pt idx="4280">
                  <c:v>104756</c:v>
                </c:pt>
                <c:pt idx="4281">
                  <c:v>72639</c:v>
                </c:pt>
                <c:pt idx="4282">
                  <c:v>208502</c:v>
                </c:pt>
                <c:pt idx="4283">
                  <c:v>32828</c:v>
                </c:pt>
                <c:pt idx="4284">
                  <c:v>105235</c:v>
                </c:pt>
                <c:pt idx="4285">
                  <c:v>50875</c:v>
                </c:pt>
                <c:pt idx="4286">
                  <c:v>30940</c:v>
                </c:pt>
                <c:pt idx="4287">
                  <c:v>54441</c:v>
                </c:pt>
                <c:pt idx="4288">
                  <c:v>67137</c:v>
                </c:pt>
                <c:pt idx="4289">
                  <c:v>32322</c:v>
                </c:pt>
                <c:pt idx="4290">
                  <c:v>39630</c:v>
                </c:pt>
                <c:pt idx="4291">
                  <c:v>36199</c:v>
                </c:pt>
                <c:pt idx="4292">
                  <c:v>63812</c:v>
                </c:pt>
                <c:pt idx="4293">
                  <c:v>52514</c:v>
                </c:pt>
                <c:pt idx="4294">
                  <c:v>51991</c:v>
                </c:pt>
                <c:pt idx="4295">
                  <c:v>44157</c:v>
                </c:pt>
                <c:pt idx="4296">
                  <c:v>61865</c:v>
                </c:pt>
                <c:pt idx="4297">
                  <c:v>52282</c:v>
                </c:pt>
                <c:pt idx="4298">
                  <c:v>210415</c:v>
                </c:pt>
                <c:pt idx="4299">
                  <c:v>114336</c:v>
                </c:pt>
                <c:pt idx="4300">
                  <c:v>86934</c:v>
                </c:pt>
                <c:pt idx="4301">
                  <c:v>48773</c:v>
                </c:pt>
                <c:pt idx="4302">
                  <c:v>28598</c:v>
                </c:pt>
                <c:pt idx="4303">
                  <c:v>38243</c:v>
                </c:pt>
                <c:pt idx="4304">
                  <c:v>230432</c:v>
                </c:pt>
                <c:pt idx="4305">
                  <c:v>245161</c:v>
                </c:pt>
                <c:pt idx="4306">
                  <c:v>19835</c:v>
                </c:pt>
                <c:pt idx="4307">
                  <c:v>47241</c:v>
                </c:pt>
                <c:pt idx="4308">
                  <c:v>48080</c:v>
                </c:pt>
                <c:pt idx="4309">
                  <c:v>38138</c:v>
                </c:pt>
                <c:pt idx="4310">
                  <c:v>25610</c:v>
                </c:pt>
                <c:pt idx="4311">
                  <c:v>129466</c:v>
                </c:pt>
                <c:pt idx="4312">
                  <c:v>24795</c:v>
                </c:pt>
                <c:pt idx="4313">
                  <c:v>15000</c:v>
                </c:pt>
                <c:pt idx="4314">
                  <c:v>26725</c:v>
                </c:pt>
                <c:pt idx="4315">
                  <c:v>27919</c:v>
                </c:pt>
                <c:pt idx="4316">
                  <c:v>46251</c:v>
                </c:pt>
                <c:pt idx="4317">
                  <c:v>51009</c:v>
                </c:pt>
                <c:pt idx="4318">
                  <c:v>40201</c:v>
                </c:pt>
                <c:pt idx="4319">
                  <c:v>27830</c:v>
                </c:pt>
                <c:pt idx="4320">
                  <c:v>103439</c:v>
                </c:pt>
                <c:pt idx="4321">
                  <c:v>59972</c:v>
                </c:pt>
                <c:pt idx="4322">
                  <c:v>30376</c:v>
                </c:pt>
                <c:pt idx="4323">
                  <c:v>35632</c:v>
                </c:pt>
                <c:pt idx="4324">
                  <c:v>27235</c:v>
                </c:pt>
                <c:pt idx="4325">
                  <c:v>40279</c:v>
                </c:pt>
                <c:pt idx="4326">
                  <c:v>67952</c:v>
                </c:pt>
                <c:pt idx="4327">
                  <c:v>91901</c:v>
                </c:pt>
                <c:pt idx="4328">
                  <c:v>52722</c:v>
                </c:pt>
                <c:pt idx="4329">
                  <c:v>81174</c:v>
                </c:pt>
                <c:pt idx="4330">
                  <c:v>37579</c:v>
                </c:pt>
                <c:pt idx="4331">
                  <c:v>41015</c:v>
                </c:pt>
                <c:pt idx="4332">
                  <c:v>244755</c:v>
                </c:pt>
                <c:pt idx="4333">
                  <c:v>25521</c:v>
                </c:pt>
                <c:pt idx="4334">
                  <c:v>41808</c:v>
                </c:pt>
                <c:pt idx="4335">
                  <c:v>28870</c:v>
                </c:pt>
                <c:pt idx="4336">
                  <c:v>42127</c:v>
                </c:pt>
                <c:pt idx="4337">
                  <c:v>44764</c:v>
                </c:pt>
                <c:pt idx="4338">
                  <c:v>26097</c:v>
                </c:pt>
                <c:pt idx="4339">
                  <c:v>65914</c:v>
                </c:pt>
                <c:pt idx="4340">
                  <c:v>35218</c:v>
                </c:pt>
                <c:pt idx="4341">
                  <c:v>33861</c:v>
                </c:pt>
                <c:pt idx="4342">
                  <c:v>91767</c:v>
                </c:pt>
                <c:pt idx="4343">
                  <c:v>43050</c:v>
                </c:pt>
                <c:pt idx="4344">
                  <c:v>79158</c:v>
                </c:pt>
                <c:pt idx="4345">
                  <c:v>57500</c:v>
                </c:pt>
                <c:pt idx="4346">
                  <c:v>62609</c:v>
                </c:pt>
                <c:pt idx="4347">
                  <c:v>15000</c:v>
                </c:pt>
                <c:pt idx="4348">
                  <c:v>53111</c:v>
                </c:pt>
                <c:pt idx="4349">
                  <c:v>45934</c:v>
                </c:pt>
                <c:pt idx="4350">
                  <c:v>47934</c:v>
                </c:pt>
                <c:pt idx="4351">
                  <c:v>47676</c:v>
                </c:pt>
                <c:pt idx="4352">
                  <c:v>294228</c:v>
                </c:pt>
                <c:pt idx="4353">
                  <c:v>31317</c:v>
                </c:pt>
                <c:pt idx="4354">
                  <c:v>101318</c:v>
                </c:pt>
                <c:pt idx="4355">
                  <c:v>78856</c:v>
                </c:pt>
                <c:pt idx="4356">
                  <c:v>23273</c:v>
                </c:pt>
                <c:pt idx="4357">
                  <c:v>35050</c:v>
                </c:pt>
                <c:pt idx="4358">
                  <c:v>27232</c:v>
                </c:pt>
                <c:pt idx="4359">
                  <c:v>165262</c:v>
                </c:pt>
                <c:pt idx="4360">
                  <c:v>28604</c:v>
                </c:pt>
                <c:pt idx="4361">
                  <c:v>73572</c:v>
                </c:pt>
                <c:pt idx="4362">
                  <c:v>70457</c:v>
                </c:pt>
                <c:pt idx="4363">
                  <c:v>82706</c:v>
                </c:pt>
                <c:pt idx="4364">
                  <c:v>81524</c:v>
                </c:pt>
                <c:pt idx="4365">
                  <c:v>53615</c:v>
                </c:pt>
                <c:pt idx="4366">
                  <c:v>15000</c:v>
                </c:pt>
                <c:pt idx="4367">
                  <c:v>42792</c:v>
                </c:pt>
                <c:pt idx="4368">
                  <c:v>34008</c:v>
                </c:pt>
                <c:pt idx="4369">
                  <c:v>50665</c:v>
                </c:pt>
                <c:pt idx="4370">
                  <c:v>36930</c:v>
                </c:pt>
                <c:pt idx="4371">
                  <c:v>49716</c:v>
                </c:pt>
                <c:pt idx="4372">
                  <c:v>36086</c:v>
                </c:pt>
                <c:pt idx="4373">
                  <c:v>49128</c:v>
                </c:pt>
                <c:pt idx="4374">
                  <c:v>47742</c:v>
                </c:pt>
                <c:pt idx="4375">
                  <c:v>105083</c:v>
                </c:pt>
                <c:pt idx="4376">
                  <c:v>45106</c:v>
                </c:pt>
                <c:pt idx="4377">
                  <c:v>35296</c:v>
                </c:pt>
                <c:pt idx="4378">
                  <c:v>84190</c:v>
                </c:pt>
                <c:pt idx="4379">
                  <c:v>32356</c:v>
                </c:pt>
                <c:pt idx="4380">
                  <c:v>26356</c:v>
                </c:pt>
                <c:pt idx="4381">
                  <c:v>33563</c:v>
                </c:pt>
                <c:pt idx="4382">
                  <c:v>57263</c:v>
                </c:pt>
                <c:pt idx="4383">
                  <c:v>30176</c:v>
                </c:pt>
                <c:pt idx="4384">
                  <c:v>78136</c:v>
                </c:pt>
                <c:pt idx="4385">
                  <c:v>59180</c:v>
                </c:pt>
                <c:pt idx="4386">
                  <c:v>45975</c:v>
                </c:pt>
                <c:pt idx="4387">
                  <c:v>40108</c:v>
                </c:pt>
                <c:pt idx="4388">
                  <c:v>216591</c:v>
                </c:pt>
                <c:pt idx="4389">
                  <c:v>57041</c:v>
                </c:pt>
                <c:pt idx="4390">
                  <c:v>26090</c:v>
                </c:pt>
                <c:pt idx="4391">
                  <c:v>35484</c:v>
                </c:pt>
                <c:pt idx="4392">
                  <c:v>203613</c:v>
                </c:pt>
                <c:pt idx="4393">
                  <c:v>33058</c:v>
                </c:pt>
                <c:pt idx="4394">
                  <c:v>160072</c:v>
                </c:pt>
                <c:pt idx="4395">
                  <c:v>106101</c:v>
                </c:pt>
                <c:pt idx="4396">
                  <c:v>46430</c:v>
                </c:pt>
                <c:pt idx="4397">
                  <c:v>66438</c:v>
                </c:pt>
                <c:pt idx="4398">
                  <c:v>37392</c:v>
                </c:pt>
                <c:pt idx="4399">
                  <c:v>42731</c:v>
                </c:pt>
                <c:pt idx="4400">
                  <c:v>30672</c:v>
                </c:pt>
                <c:pt idx="4401">
                  <c:v>41066</c:v>
                </c:pt>
                <c:pt idx="4402">
                  <c:v>28057</c:v>
                </c:pt>
                <c:pt idx="4403">
                  <c:v>25998</c:v>
                </c:pt>
                <c:pt idx="4404">
                  <c:v>368169</c:v>
                </c:pt>
                <c:pt idx="4405">
                  <c:v>36175</c:v>
                </c:pt>
                <c:pt idx="4406">
                  <c:v>35189</c:v>
                </c:pt>
                <c:pt idx="4407">
                  <c:v>43131</c:v>
                </c:pt>
                <c:pt idx="4408">
                  <c:v>128560</c:v>
                </c:pt>
                <c:pt idx="4409">
                  <c:v>118549</c:v>
                </c:pt>
                <c:pt idx="4410">
                  <c:v>194128</c:v>
                </c:pt>
                <c:pt idx="4411">
                  <c:v>32962</c:v>
                </c:pt>
                <c:pt idx="4412">
                  <c:v>138189</c:v>
                </c:pt>
                <c:pt idx="4413">
                  <c:v>80463</c:v>
                </c:pt>
                <c:pt idx="4414">
                  <c:v>43013</c:v>
                </c:pt>
                <c:pt idx="4415">
                  <c:v>165305</c:v>
                </c:pt>
                <c:pt idx="4416">
                  <c:v>49493</c:v>
                </c:pt>
                <c:pt idx="4417">
                  <c:v>36133</c:v>
                </c:pt>
                <c:pt idx="4418">
                  <c:v>60676</c:v>
                </c:pt>
                <c:pt idx="4419">
                  <c:v>101737</c:v>
                </c:pt>
                <c:pt idx="4420">
                  <c:v>22793</c:v>
                </c:pt>
                <c:pt idx="4421">
                  <c:v>33398</c:v>
                </c:pt>
                <c:pt idx="4422">
                  <c:v>56430</c:v>
                </c:pt>
                <c:pt idx="4423">
                  <c:v>57445</c:v>
                </c:pt>
                <c:pt idx="4424">
                  <c:v>44693</c:v>
                </c:pt>
                <c:pt idx="4425">
                  <c:v>71544</c:v>
                </c:pt>
                <c:pt idx="4426">
                  <c:v>40334</c:v>
                </c:pt>
                <c:pt idx="4427">
                  <c:v>29442</c:v>
                </c:pt>
                <c:pt idx="4428">
                  <c:v>31802</c:v>
                </c:pt>
                <c:pt idx="4429">
                  <c:v>53884</c:v>
                </c:pt>
                <c:pt idx="4430">
                  <c:v>60670</c:v>
                </c:pt>
                <c:pt idx="4431">
                  <c:v>114388</c:v>
                </c:pt>
                <c:pt idx="4432">
                  <c:v>46352</c:v>
                </c:pt>
                <c:pt idx="4433">
                  <c:v>55355</c:v>
                </c:pt>
                <c:pt idx="4434">
                  <c:v>49281</c:v>
                </c:pt>
                <c:pt idx="4435">
                  <c:v>81086</c:v>
                </c:pt>
                <c:pt idx="4436">
                  <c:v>29839</c:v>
                </c:pt>
                <c:pt idx="4437">
                  <c:v>24439</c:v>
                </c:pt>
                <c:pt idx="4438">
                  <c:v>58352</c:v>
                </c:pt>
                <c:pt idx="4439">
                  <c:v>32998</c:v>
                </c:pt>
                <c:pt idx="4440">
                  <c:v>38477</c:v>
                </c:pt>
                <c:pt idx="4441">
                  <c:v>35077</c:v>
                </c:pt>
                <c:pt idx="4442">
                  <c:v>29822</c:v>
                </c:pt>
                <c:pt idx="4443">
                  <c:v>52253</c:v>
                </c:pt>
                <c:pt idx="4444">
                  <c:v>47369</c:v>
                </c:pt>
                <c:pt idx="4445">
                  <c:v>160781</c:v>
                </c:pt>
                <c:pt idx="4446">
                  <c:v>25085</c:v>
                </c:pt>
                <c:pt idx="4447">
                  <c:v>47514</c:v>
                </c:pt>
                <c:pt idx="4448">
                  <c:v>30818</c:v>
                </c:pt>
                <c:pt idx="4449">
                  <c:v>117575</c:v>
                </c:pt>
                <c:pt idx="4450">
                  <c:v>43557</c:v>
                </c:pt>
                <c:pt idx="4451">
                  <c:v>39036</c:v>
                </c:pt>
                <c:pt idx="4452">
                  <c:v>163874</c:v>
                </c:pt>
                <c:pt idx="4453">
                  <c:v>35724</c:v>
                </c:pt>
                <c:pt idx="4454">
                  <c:v>102951</c:v>
                </c:pt>
                <c:pt idx="4455">
                  <c:v>35711</c:v>
                </c:pt>
                <c:pt idx="4456">
                  <c:v>312019</c:v>
                </c:pt>
                <c:pt idx="4457">
                  <c:v>23582</c:v>
                </c:pt>
                <c:pt idx="4458">
                  <c:v>29909</c:v>
                </c:pt>
                <c:pt idx="4459">
                  <c:v>84544</c:v>
                </c:pt>
                <c:pt idx="4460">
                  <c:v>203053</c:v>
                </c:pt>
                <c:pt idx="4461">
                  <c:v>239152</c:v>
                </c:pt>
                <c:pt idx="4462">
                  <c:v>34590</c:v>
                </c:pt>
                <c:pt idx="4463">
                  <c:v>21669</c:v>
                </c:pt>
                <c:pt idx="4464">
                  <c:v>30265</c:v>
                </c:pt>
                <c:pt idx="4465">
                  <c:v>30386</c:v>
                </c:pt>
                <c:pt idx="4466">
                  <c:v>40049</c:v>
                </c:pt>
                <c:pt idx="4467">
                  <c:v>36461</c:v>
                </c:pt>
                <c:pt idx="4468">
                  <c:v>128097</c:v>
                </c:pt>
                <c:pt idx="4469">
                  <c:v>33661</c:v>
                </c:pt>
                <c:pt idx="4470">
                  <c:v>103113</c:v>
                </c:pt>
                <c:pt idx="4471">
                  <c:v>71193</c:v>
                </c:pt>
                <c:pt idx="4472">
                  <c:v>63403</c:v>
                </c:pt>
                <c:pt idx="4473">
                  <c:v>35261</c:v>
                </c:pt>
                <c:pt idx="4474">
                  <c:v>36230</c:v>
                </c:pt>
                <c:pt idx="4475">
                  <c:v>76751</c:v>
                </c:pt>
                <c:pt idx="4476">
                  <c:v>58223</c:v>
                </c:pt>
                <c:pt idx="4477">
                  <c:v>77412</c:v>
                </c:pt>
                <c:pt idx="4478">
                  <c:v>62770</c:v>
                </c:pt>
                <c:pt idx="4479">
                  <c:v>61305</c:v>
                </c:pt>
                <c:pt idx="4480">
                  <c:v>29852</c:v>
                </c:pt>
                <c:pt idx="4481">
                  <c:v>39283</c:v>
                </c:pt>
                <c:pt idx="4482">
                  <c:v>46964</c:v>
                </c:pt>
                <c:pt idx="4483">
                  <c:v>212011</c:v>
                </c:pt>
                <c:pt idx="4484">
                  <c:v>39158</c:v>
                </c:pt>
                <c:pt idx="4485">
                  <c:v>25496</c:v>
                </c:pt>
                <c:pt idx="4486">
                  <c:v>29635</c:v>
                </c:pt>
                <c:pt idx="4487">
                  <c:v>28029</c:v>
                </c:pt>
                <c:pt idx="4488">
                  <c:v>31818</c:v>
                </c:pt>
                <c:pt idx="4489">
                  <c:v>73496</c:v>
                </c:pt>
                <c:pt idx="4490">
                  <c:v>203709</c:v>
                </c:pt>
                <c:pt idx="4491">
                  <c:v>40497</c:v>
                </c:pt>
                <c:pt idx="4492">
                  <c:v>42355</c:v>
                </c:pt>
                <c:pt idx="4493">
                  <c:v>25644</c:v>
                </c:pt>
                <c:pt idx="4494">
                  <c:v>58923</c:v>
                </c:pt>
                <c:pt idx="4495">
                  <c:v>31414</c:v>
                </c:pt>
                <c:pt idx="4496">
                  <c:v>35159</c:v>
                </c:pt>
                <c:pt idx="4497">
                  <c:v>50495</c:v>
                </c:pt>
                <c:pt idx="4498">
                  <c:v>38223</c:v>
                </c:pt>
                <c:pt idx="4499">
                  <c:v>32187</c:v>
                </c:pt>
                <c:pt idx="4500">
                  <c:v>76797</c:v>
                </c:pt>
                <c:pt idx="4501">
                  <c:v>39153</c:v>
                </c:pt>
                <c:pt idx="4502">
                  <c:v>86159</c:v>
                </c:pt>
                <c:pt idx="4503">
                  <c:v>57002</c:v>
                </c:pt>
                <c:pt idx="4504">
                  <c:v>39068</c:v>
                </c:pt>
                <c:pt idx="4505">
                  <c:v>104695</c:v>
                </c:pt>
                <c:pt idx="4506">
                  <c:v>100882</c:v>
                </c:pt>
                <c:pt idx="4507">
                  <c:v>45095</c:v>
                </c:pt>
                <c:pt idx="4508">
                  <c:v>30988</c:v>
                </c:pt>
                <c:pt idx="4509">
                  <c:v>29731</c:v>
                </c:pt>
                <c:pt idx="4510">
                  <c:v>36216</c:v>
                </c:pt>
                <c:pt idx="4511">
                  <c:v>41910</c:v>
                </c:pt>
                <c:pt idx="4512">
                  <c:v>69457</c:v>
                </c:pt>
                <c:pt idx="4513">
                  <c:v>52573</c:v>
                </c:pt>
                <c:pt idx="4514">
                  <c:v>30961</c:v>
                </c:pt>
                <c:pt idx="4515">
                  <c:v>58116</c:v>
                </c:pt>
                <c:pt idx="4516">
                  <c:v>355321</c:v>
                </c:pt>
                <c:pt idx="4517">
                  <c:v>99786</c:v>
                </c:pt>
                <c:pt idx="4518">
                  <c:v>82314</c:v>
                </c:pt>
                <c:pt idx="4519">
                  <c:v>26745</c:v>
                </c:pt>
                <c:pt idx="4520">
                  <c:v>47682</c:v>
                </c:pt>
                <c:pt idx="4521">
                  <c:v>23389</c:v>
                </c:pt>
                <c:pt idx="4522">
                  <c:v>266144</c:v>
                </c:pt>
                <c:pt idx="4523">
                  <c:v>90594</c:v>
                </c:pt>
                <c:pt idx="4524">
                  <c:v>56749</c:v>
                </c:pt>
                <c:pt idx="4525">
                  <c:v>62881</c:v>
                </c:pt>
                <c:pt idx="4526">
                  <c:v>38273</c:v>
                </c:pt>
                <c:pt idx="4527">
                  <c:v>49251</c:v>
                </c:pt>
                <c:pt idx="4528">
                  <c:v>36374</c:v>
                </c:pt>
                <c:pt idx="4529">
                  <c:v>25826</c:v>
                </c:pt>
                <c:pt idx="4530">
                  <c:v>188649</c:v>
                </c:pt>
                <c:pt idx="4531">
                  <c:v>63981</c:v>
                </c:pt>
                <c:pt idx="4532">
                  <c:v>43519</c:v>
                </c:pt>
                <c:pt idx="4533">
                  <c:v>45244</c:v>
                </c:pt>
                <c:pt idx="4534">
                  <c:v>124165</c:v>
                </c:pt>
                <c:pt idx="4535">
                  <c:v>39230</c:v>
                </c:pt>
                <c:pt idx="4536">
                  <c:v>53523</c:v>
                </c:pt>
                <c:pt idx="4537">
                  <c:v>49545</c:v>
                </c:pt>
                <c:pt idx="4538">
                  <c:v>39331</c:v>
                </c:pt>
                <c:pt idx="4539">
                  <c:v>32081</c:v>
                </c:pt>
                <c:pt idx="4540">
                  <c:v>27992</c:v>
                </c:pt>
                <c:pt idx="4541">
                  <c:v>102473</c:v>
                </c:pt>
                <c:pt idx="4542">
                  <c:v>40110</c:v>
                </c:pt>
                <c:pt idx="4543">
                  <c:v>35352</c:v>
                </c:pt>
                <c:pt idx="4544">
                  <c:v>97773</c:v>
                </c:pt>
                <c:pt idx="4545">
                  <c:v>36828</c:v>
                </c:pt>
                <c:pt idx="4546">
                  <c:v>76816</c:v>
                </c:pt>
                <c:pt idx="4547">
                  <c:v>47571</c:v>
                </c:pt>
                <c:pt idx="4548">
                  <c:v>23443</c:v>
                </c:pt>
                <c:pt idx="4549">
                  <c:v>45302</c:v>
                </c:pt>
                <c:pt idx="4550">
                  <c:v>58924</c:v>
                </c:pt>
                <c:pt idx="4551">
                  <c:v>39544</c:v>
                </c:pt>
                <c:pt idx="4552">
                  <c:v>40878</c:v>
                </c:pt>
                <c:pt idx="4553">
                  <c:v>197623</c:v>
                </c:pt>
                <c:pt idx="4554">
                  <c:v>80808</c:v>
                </c:pt>
                <c:pt idx="4555">
                  <c:v>84105</c:v>
                </c:pt>
                <c:pt idx="4556">
                  <c:v>120678</c:v>
                </c:pt>
                <c:pt idx="4557">
                  <c:v>27420</c:v>
                </c:pt>
                <c:pt idx="4558">
                  <c:v>48419</c:v>
                </c:pt>
                <c:pt idx="4559">
                  <c:v>89949</c:v>
                </c:pt>
                <c:pt idx="4560">
                  <c:v>45856</c:v>
                </c:pt>
                <c:pt idx="4561">
                  <c:v>48542</c:v>
                </c:pt>
                <c:pt idx="4562">
                  <c:v>122963</c:v>
                </c:pt>
                <c:pt idx="4563">
                  <c:v>46904</c:v>
                </c:pt>
                <c:pt idx="4564">
                  <c:v>36899</c:v>
                </c:pt>
                <c:pt idx="4565">
                  <c:v>184625</c:v>
                </c:pt>
                <c:pt idx="4566">
                  <c:v>31058</c:v>
                </c:pt>
                <c:pt idx="4567">
                  <c:v>43515</c:v>
                </c:pt>
                <c:pt idx="4568">
                  <c:v>110306</c:v>
                </c:pt>
                <c:pt idx="4569">
                  <c:v>81739</c:v>
                </c:pt>
                <c:pt idx="4570">
                  <c:v>47646</c:v>
                </c:pt>
                <c:pt idx="4571">
                  <c:v>117960</c:v>
                </c:pt>
                <c:pt idx="4572">
                  <c:v>25350</c:v>
                </c:pt>
                <c:pt idx="4573">
                  <c:v>53829</c:v>
                </c:pt>
                <c:pt idx="4574">
                  <c:v>37522</c:v>
                </c:pt>
                <c:pt idx="4575">
                  <c:v>185036</c:v>
                </c:pt>
                <c:pt idx="4576">
                  <c:v>48574</c:v>
                </c:pt>
                <c:pt idx="4577">
                  <c:v>23879</c:v>
                </c:pt>
                <c:pt idx="4578">
                  <c:v>31567</c:v>
                </c:pt>
                <c:pt idx="4579">
                  <c:v>32941</c:v>
                </c:pt>
                <c:pt idx="4580">
                  <c:v>53293</c:v>
                </c:pt>
                <c:pt idx="4581">
                  <c:v>45544</c:v>
                </c:pt>
                <c:pt idx="4582">
                  <c:v>40776</c:v>
                </c:pt>
                <c:pt idx="4583">
                  <c:v>45637</c:v>
                </c:pt>
                <c:pt idx="4584">
                  <c:v>94018</c:v>
                </c:pt>
                <c:pt idx="4585">
                  <c:v>33588</c:v>
                </c:pt>
                <c:pt idx="4586">
                  <c:v>27184</c:v>
                </c:pt>
                <c:pt idx="4587">
                  <c:v>39404</c:v>
                </c:pt>
                <c:pt idx="4588">
                  <c:v>64022</c:v>
                </c:pt>
                <c:pt idx="4589">
                  <c:v>73702</c:v>
                </c:pt>
                <c:pt idx="4590">
                  <c:v>50790</c:v>
                </c:pt>
                <c:pt idx="4591">
                  <c:v>29896</c:v>
                </c:pt>
                <c:pt idx="4592">
                  <c:v>32462</c:v>
                </c:pt>
                <c:pt idx="4593">
                  <c:v>56601</c:v>
                </c:pt>
                <c:pt idx="4594">
                  <c:v>37617</c:v>
                </c:pt>
                <c:pt idx="4595">
                  <c:v>92214</c:v>
                </c:pt>
                <c:pt idx="4596">
                  <c:v>114589</c:v>
                </c:pt>
                <c:pt idx="4597">
                  <c:v>21022</c:v>
                </c:pt>
                <c:pt idx="4598">
                  <c:v>37248</c:v>
                </c:pt>
                <c:pt idx="4599">
                  <c:v>44474</c:v>
                </c:pt>
                <c:pt idx="4600">
                  <c:v>54902</c:v>
                </c:pt>
                <c:pt idx="4601">
                  <c:v>338803</c:v>
                </c:pt>
                <c:pt idx="4602">
                  <c:v>194519</c:v>
                </c:pt>
                <c:pt idx="4603">
                  <c:v>41592</c:v>
                </c:pt>
                <c:pt idx="4604">
                  <c:v>61707</c:v>
                </c:pt>
                <c:pt idx="4605">
                  <c:v>22773</c:v>
                </c:pt>
                <c:pt idx="4606">
                  <c:v>67965</c:v>
                </c:pt>
                <c:pt idx="4607">
                  <c:v>29849</c:v>
                </c:pt>
                <c:pt idx="4608">
                  <c:v>35197</c:v>
                </c:pt>
                <c:pt idx="4609">
                  <c:v>35876</c:v>
                </c:pt>
                <c:pt idx="4610">
                  <c:v>63451</c:v>
                </c:pt>
                <c:pt idx="4611">
                  <c:v>26426</c:v>
                </c:pt>
                <c:pt idx="4612">
                  <c:v>43178</c:v>
                </c:pt>
                <c:pt idx="4613">
                  <c:v>45604</c:v>
                </c:pt>
                <c:pt idx="4614">
                  <c:v>23785</c:v>
                </c:pt>
                <c:pt idx="4615">
                  <c:v>32282</c:v>
                </c:pt>
                <c:pt idx="4616">
                  <c:v>23494</c:v>
                </c:pt>
                <c:pt idx="4617">
                  <c:v>66860</c:v>
                </c:pt>
                <c:pt idx="4618">
                  <c:v>51324</c:v>
                </c:pt>
                <c:pt idx="4619">
                  <c:v>29078</c:v>
                </c:pt>
                <c:pt idx="4620">
                  <c:v>34816</c:v>
                </c:pt>
                <c:pt idx="4621">
                  <c:v>62902</c:v>
                </c:pt>
                <c:pt idx="4622">
                  <c:v>21463</c:v>
                </c:pt>
                <c:pt idx="4623">
                  <c:v>38420</c:v>
                </c:pt>
                <c:pt idx="4624">
                  <c:v>117916</c:v>
                </c:pt>
                <c:pt idx="4625">
                  <c:v>67628</c:v>
                </c:pt>
                <c:pt idx="4626">
                  <c:v>144647</c:v>
                </c:pt>
                <c:pt idx="4627">
                  <c:v>32127</c:v>
                </c:pt>
                <c:pt idx="4628">
                  <c:v>45180</c:v>
                </c:pt>
                <c:pt idx="4629">
                  <c:v>56772</c:v>
                </c:pt>
                <c:pt idx="4630">
                  <c:v>30956</c:v>
                </c:pt>
                <c:pt idx="4631">
                  <c:v>42039</c:v>
                </c:pt>
                <c:pt idx="4632">
                  <c:v>104930</c:v>
                </c:pt>
                <c:pt idx="4633">
                  <c:v>51112</c:v>
                </c:pt>
                <c:pt idx="4634">
                  <c:v>75222</c:v>
                </c:pt>
                <c:pt idx="4635">
                  <c:v>28314</c:v>
                </c:pt>
                <c:pt idx="4636">
                  <c:v>197273</c:v>
                </c:pt>
                <c:pt idx="4637">
                  <c:v>38335</c:v>
                </c:pt>
                <c:pt idx="4638">
                  <c:v>75350</c:v>
                </c:pt>
                <c:pt idx="4639">
                  <c:v>31385</c:v>
                </c:pt>
                <c:pt idx="4640">
                  <c:v>31594</c:v>
                </c:pt>
                <c:pt idx="4641">
                  <c:v>55880</c:v>
                </c:pt>
                <c:pt idx="4642">
                  <c:v>136605</c:v>
                </c:pt>
                <c:pt idx="4643">
                  <c:v>28126</c:v>
                </c:pt>
                <c:pt idx="4644">
                  <c:v>33340</c:v>
                </c:pt>
                <c:pt idx="4645">
                  <c:v>54016</c:v>
                </c:pt>
                <c:pt idx="4646">
                  <c:v>39617</c:v>
                </c:pt>
                <c:pt idx="4647">
                  <c:v>23157</c:v>
                </c:pt>
                <c:pt idx="4648">
                  <c:v>39054</c:v>
                </c:pt>
                <c:pt idx="4649">
                  <c:v>37343</c:v>
                </c:pt>
                <c:pt idx="4650">
                  <c:v>37082</c:v>
                </c:pt>
                <c:pt idx="4651">
                  <c:v>21230</c:v>
                </c:pt>
                <c:pt idx="4652">
                  <c:v>33306</c:v>
                </c:pt>
                <c:pt idx="4653">
                  <c:v>101440</c:v>
                </c:pt>
                <c:pt idx="4654">
                  <c:v>39773</c:v>
                </c:pt>
                <c:pt idx="4655">
                  <c:v>35251</c:v>
                </c:pt>
                <c:pt idx="4656">
                  <c:v>91507</c:v>
                </c:pt>
                <c:pt idx="4657">
                  <c:v>34802</c:v>
                </c:pt>
                <c:pt idx="4658">
                  <c:v>46824</c:v>
                </c:pt>
                <c:pt idx="4659">
                  <c:v>79876</c:v>
                </c:pt>
                <c:pt idx="4660">
                  <c:v>49331</c:v>
                </c:pt>
                <c:pt idx="4661">
                  <c:v>53457</c:v>
                </c:pt>
                <c:pt idx="4662">
                  <c:v>21887</c:v>
                </c:pt>
                <c:pt idx="4663">
                  <c:v>80538</c:v>
                </c:pt>
                <c:pt idx="4664">
                  <c:v>151817</c:v>
                </c:pt>
                <c:pt idx="4665">
                  <c:v>75707</c:v>
                </c:pt>
                <c:pt idx="4666">
                  <c:v>175874</c:v>
                </c:pt>
                <c:pt idx="4667">
                  <c:v>89618</c:v>
                </c:pt>
                <c:pt idx="4668">
                  <c:v>38568</c:v>
                </c:pt>
                <c:pt idx="4669">
                  <c:v>27359</c:v>
                </c:pt>
                <c:pt idx="4670">
                  <c:v>35902</c:v>
                </c:pt>
                <c:pt idx="4671">
                  <c:v>38565</c:v>
                </c:pt>
                <c:pt idx="4672">
                  <c:v>41735</c:v>
                </c:pt>
                <c:pt idx="4673">
                  <c:v>41084</c:v>
                </c:pt>
                <c:pt idx="4674">
                  <c:v>81413</c:v>
                </c:pt>
                <c:pt idx="4675">
                  <c:v>32327</c:v>
                </c:pt>
                <c:pt idx="4676">
                  <c:v>38932</c:v>
                </c:pt>
                <c:pt idx="4677">
                  <c:v>75807</c:v>
                </c:pt>
                <c:pt idx="4678">
                  <c:v>42744</c:v>
                </c:pt>
                <c:pt idx="4679">
                  <c:v>86023</c:v>
                </c:pt>
                <c:pt idx="4680">
                  <c:v>27190</c:v>
                </c:pt>
                <c:pt idx="4681">
                  <c:v>48740</c:v>
                </c:pt>
                <c:pt idx="4682">
                  <c:v>43084</c:v>
                </c:pt>
                <c:pt idx="4683">
                  <c:v>25869</c:v>
                </c:pt>
                <c:pt idx="4684">
                  <c:v>43979</c:v>
                </c:pt>
                <c:pt idx="4685">
                  <c:v>80863</c:v>
                </c:pt>
                <c:pt idx="4686">
                  <c:v>46245</c:v>
                </c:pt>
                <c:pt idx="4687">
                  <c:v>39760</c:v>
                </c:pt>
                <c:pt idx="4688">
                  <c:v>75116</c:v>
                </c:pt>
                <c:pt idx="4689">
                  <c:v>42109</c:v>
                </c:pt>
                <c:pt idx="4690">
                  <c:v>27804</c:v>
                </c:pt>
                <c:pt idx="4691">
                  <c:v>25990</c:v>
                </c:pt>
                <c:pt idx="4692">
                  <c:v>47673</c:v>
                </c:pt>
                <c:pt idx="4693">
                  <c:v>79016</c:v>
                </c:pt>
                <c:pt idx="4694">
                  <c:v>58751</c:v>
                </c:pt>
                <c:pt idx="4695">
                  <c:v>70814</c:v>
                </c:pt>
                <c:pt idx="4696">
                  <c:v>24636</c:v>
                </c:pt>
                <c:pt idx="4697">
                  <c:v>104542</c:v>
                </c:pt>
                <c:pt idx="4698">
                  <c:v>104588</c:v>
                </c:pt>
                <c:pt idx="4699">
                  <c:v>59776</c:v>
                </c:pt>
                <c:pt idx="4700">
                  <c:v>64988</c:v>
                </c:pt>
                <c:pt idx="4701">
                  <c:v>76964</c:v>
                </c:pt>
                <c:pt idx="4702">
                  <c:v>30740</c:v>
                </c:pt>
                <c:pt idx="4703">
                  <c:v>35071</c:v>
                </c:pt>
                <c:pt idx="4704">
                  <c:v>98054</c:v>
                </c:pt>
                <c:pt idx="4705">
                  <c:v>26449</c:v>
                </c:pt>
                <c:pt idx="4706">
                  <c:v>54431</c:v>
                </c:pt>
                <c:pt idx="4707">
                  <c:v>37940</c:v>
                </c:pt>
                <c:pt idx="4708">
                  <c:v>25135</c:v>
                </c:pt>
                <c:pt idx="4709">
                  <c:v>58047</c:v>
                </c:pt>
                <c:pt idx="4710">
                  <c:v>88677</c:v>
                </c:pt>
                <c:pt idx="4711">
                  <c:v>37598</c:v>
                </c:pt>
                <c:pt idx="4712">
                  <c:v>48084</c:v>
                </c:pt>
                <c:pt idx="4713">
                  <c:v>33345</c:v>
                </c:pt>
                <c:pt idx="4714">
                  <c:v>41799</c:v>
                </c:pt>
                <c:pt idx="4715">
                  <c:v>46639</c:v>
                </c:pt>
                <c:pt idx="4716">
                  <c:v>59676</c:v>
                </c:pt>
                <c:pt idx="4717">
                  <c:v>181757</c:v>
                </c:pt>
                <c:pt idx="4718">
                  <c:v>41882</c:v>
                </c:pt>
                <c:pt idx="4719">
                  <c:v>50792</c:v>
                </c:pt>
                <c:pt idx="4720">
                  <c:v>26455</c:v>
                </c:pt>
                <c:pt idx="4721">
                  <c:v>24046</c:v>
                </c:pt>
                <c:pt idx="4722">
                  <c:v>32645</c:v>
                </c:pt>
                <c:pt idx="4723">
                  <c:v>31553</c:v>
                </c:pt>
                <c:pt idx="4724">
                  <c:v>119200</c:v>
                </c:pt>
                <c:pt idx="4725">
                  <c:v>265298</c:v>
                </c:pt>
                <c:pt idx="4726">
                  <c:v>39292</c:v>
                </c:pt>
                <c:pt idx="4727">
                  <c:v>41024</c:v>
                </c:pt>
                <c:pt idx="4728">
                  <c:v>199591</c:v>
                </c:pt>
                <c:pt idx="4729">
                  <c:v>39310</c:v>
                </c:pt>
                <c:pt idx="4730">
                  <c:v>146130</c:v>
                </c:pt>
                <c:pt idx="4731">
                  <c:v>24743</c:v>
                </c:pt>
                <c:pt idx="4732">
                  <c:v>41385</c:v>
                </c:pt>
                <c:pt idx="4733">
                  <c:v>212675</c:v>
                </c:pt>
                <c:pt idx="4734">
                  <c:v>82696</c:v>
                </c:pt>
                <c:pt idx="4735">
                  <c:v>38275</c:v>
                </c:pt>
                <c:pt idx="4736">
                  <c:v>22510</c:v>
                </c:pt>
                <c:pt idx="4737">
                  <c:v>57887</c:v>
                </c:pt>
                <c:pt idx="4738">
                  <c:v>105816</c:v>
                </c:pt>
                <c:pt idx="4739">
                  <c:v>169139</c:v>
                </c:pt>
                <c:pt idx="4740">
                  <c:v>68742</c:v>
                </c:pt>
                <c:pt idx="4741">
                  <c:v>78123</c:v>
                </c:pt>
                <c:pt idx="4742">
                  <c:v>78380</c:v>
                </c:pt>
                <c:pt idx="4743">
                  <c:v>59303</c:v>
                </c:pt>
                <c:pt idx="4744">
                  <c:v>40579</c:v>
                </c:pt>
                <c:pt idx="4745">
                  <c:v>36603</c:v>
                </c:pt>
                <c:pt idx="4746">
                  <c:v>195357</c:v>
                </c:pt>
                <c:pt idx="4747">
                  <c:v>204949</c:v>
                </c:pt>
                <c:pt idx="4748">
                  <c:v>26391</c:v>
                </c:pt>
                <c:pt idx="4749">
                  <c:v>109848</c:v>
                </c:pt>
                <c:pt idx="4750">
                  <c:v>150103</c:v>
                </c:pt>
                <c:pt idx="4751">
                  <c:v>45072</c:v>
                </c:pt>
                <c:pt idx="4752">
                  <c:v>26641</c:v>
                </c:pt>
                <c:pt idx="4753">
                  <c:v>44196</c:v>
                </c:pt>
                <c:pt idx="4754">
                  <c:v>123102</c:v>
                </c:pt>
                <c:pt idx="4755">
                  <c:v>40921</c:v>
                </c:pt>
                <c:pt idx="4756">
                  <c:v>181538</c:v>
                </c:pt>
                <c:pt idx="4757">
                  <c:v>39883</c:v>
                </c:pt>
                <c:pt idx="4758">
                  <c:v>43952</c:v>
                </c:pt>
                <c:pt idx="4759">
                  <c:v>75416</c:v>
                </c:pt>
                <c:pt idx="4760">
                  <c:v>243700</c:v>
                </c:pt>
                <c:pt idx="4761">
                  <c:v>122384</c:v>
                </c:pt>
                <c:pt idx="4762">
                  <c:v>33966</c:v>
                </c:pt>
                <c:pt idx="4763">
                  <c:v>97504</c:v>
                </c:pt>
                <c:pt idx="4764">
                  <c:v>119517</c:v>
                </c:pt>
                <c:pt idx="4765">
                  <c:v>110927</c:v>
                </c:pt>
                <c:pt idx="4766">
                  <c:v>65328</c:v>
                </c:pt>
                <c:pt idx="4767">
                  <c:v>162317</c:v>
                </c:pt>
                <c:pt idx="4768">
                  <c:v>62940</c:v>
                </c:pt>
                <c:pt idx="4769">
                  <c:v>61399</c:v>
                </c:pt>
                <c:pt idx="4770">
                  <c:v>35777</c:v>
                </c:pt>
                <c:pt idx="4771">
                  <c:v>44686</c:v>
                </c:pt>
                <c:pt idx="4772">
                  <c:v>31104</c:v>
                </c:pt>
                <c:pt idx="4773">
                  <c:v>35914</c:v>
                </c:pt>
                <c:pt idx="4774">
                  <c:v>315129</c:v>
                </c:pt>
                <c:pt idx="4775">
                  <c:v>107522</c:v>
                </c:pt>
                <c:pt idx="4776">
                  <c:v>36353</c:v>
                </c:pt>
                <c:pt idx="4777">
                  <c:v>24668</c:v>
                </c:pt>
                <c:pt idx="4778">
                  <c:v>62338</c:v>
                </c:pt>
                <c:pt idx="4779">
                  <c:v>39976</c:v>
                </c:pt>
                <c:pt idx="4780">
                  <c:v>45186</c:v>
                </c:pt>
                <c:pt idx="4781">
                  <c:v>72795</c:v>
                </c:pt>
                <c:pt idx="4782">
                  <c:v>34742</c:v>
                </c:pt>
                <c:pt idx="4783">
                  <c:v>88415</c:v>
                </c:pt>
                <c:pt idx="4784">
                  <c:v>37590</c:v>
                </c:pt>
                <c:pt idx="4785">
                  <c:v>43444</c:v>
                </c:pt>
                <c:pt idx="4786">
                  <c:v>34875</c:v>
                </c:pt>
                <c:pt idx="4787">
                  <c:v>33222</c:v>
                </c:pt>
                <c:pt idx="4788">
                  <c:v>46205</c:v>
                </c:pt>
                <c:pt idx="4789">
                  <c:v>472155</c:v>
                </c:pt>
                <c:pt idx="4790">
                  <c:v>35264</c:v>
                </c:pt>
                <c:pt idx="4791">
                  <c:v>52577</c:v>
                </c:pt>
                <c:pt idx="4792">
                  <c:v>31955</c:v>
                </c:pt>
                <c:pt idx="4793">
                  <c:v>27202</c:v>
                </c:pt>
                <c:pt idx="4794">
                  <c:v>40548</c:v>
                </c:pt>
                <c:pt idx="4795">
                  <c:v>124671</c:v>
                </c:pt>
                <c:pt idx="4796">
                  <c:v>91661</c:v>
                </c:pt>
                <c:pt idx="4797">
                  <c:v>206342</c:v>
                </c:pt>
                <c:pt idx="4798">
                  <c:v>42045</c:v>
                </c:pt>
                <c:pt idx="4799">
                  <c:v>82407</c:v>
                </c:pt>
                <c:pt idx="4800">
                  <c:v>73106</c:v>
                </c:pt>
                <c:pt idx="4801">
                  <c:v>29270</c:v>
                </c:pt>
                <c:pt idx="4802">
                  <c:v>75412</c:v>
                </c:pt>
                <c:pt idx="4803">
                  <c:v>27990</c:v>
                </c:pt>
                <c:pt idx="4804">
                  <c:v>24253</c:v>
                </c:pt>
                <c:pt idx="4805">
                  <c:v>78362</c:v>
                </c:pt>
                <c:pt idx="4806">
                  <c:v>81306</c:v>
                </c:pt>
                <c:pt idx="4807">
                  <c:v>52730</c:v>
                </c:pt>
                <c:pt idx="4808">
                  <c:v>48669</c:v>
                </c:pt>
                <c:pt idx="4809">
                  <c:v>106727</c:v>
                </c:pt>
                <c:pt idx="4810">
                  <c:v>21767</c:v>
                </c:pt>
                <c:pt idx="4811">
                  <c:v>54452</c:v>
                </c:pt>
                <c:pt idx="4812">
                  <c:v>43910</c:v>
                </c:pt>
                <c:pt idx="4813">
                  <c:v>62829</c:v>
                </c:pt>
                <c:pt idx="4814">
                  <c:v>44626</c:v>
                </c:pt>
                <c:pt idx="4815">
                  <c:v>210498</c:v>
                </c:pt>
                <c:pt idx="4816">
                  <c:v>119422</c:v>
                </c:pt>
                <c:pt idx="4817">
                  <c:v>126831</c:v>
                </c:pt>
                <c:pt idx="4818">
                  <c:v>35875</c:v>
                </c:pt>
                <c:pt idx="4819">
                  <c:v>30688</c:v>
                </c:pt>
                <c:pt idx="4820">
                  <c:v>38549</c:v>
                </c:pt>
                <c:pt idx="4821">
                  <c:v>44811</c:v>
                </c:pt>
                <c:pt idx="4822">
                  <c:v>23631</c:v>
                </c:pt>
                <c:pt idx="4823">
                  <c:v>34191</c:v>
                </c:pt>
                <c:pt idx="4824">
                  <c:v>38696</c:v>
                </c:pt>
                <c:pt idx="4825">
                  <c:v>110503</c:v>
                </c:pt>
                <c:pt idx="4826">
                  <c:v>56069</c:v>
                </c:pt>
                <c:pt idx="4827">
                  <c:v>23731</c:v>
                </c:pt>
                <c:pt idx="4828">
                  <c:v>34060</c:v>
                </c:pt>
                <c:pt idx="4829">
                  <c:v>27870</c:v>
                </c:pt>
                <c:pt idx="4830">
                  <c:v>55643</c:v>
                </c:pt>
                <c:pt idx="4831">
                  <c:v>94498</c:v>
                </c:pt>
                <c:pt idx="4832">
                  <c:v>37296</c:v>
                </c:pt>
                <c:pt idx="4833">
                  <c:v>48664</c:v>
                </c:pt>
                <c:pt idx="4834">
                  <c:v>36017</c:v>
                </c:pt>
                <c:pt idx="4835">
                  <c:v>49910</c:v>
                </c:pt>
                <c:pt idx="4836">
                  <c:v>45584</c:v>
                </c:pt>
                <c:pt idx="4837">
                  <c:v>45770</c:v>
                </c:pt>
                <c:pt idx="4838">
                  <c:v>26903</c:v>
                </c:pt>
                <c:pt idx="4839">
                  <c:v>26228</c:v>
                </c:pt>
                <c:pt idx="4840">
                  <c:v>44504</c:v>
                </c:pt>
                <c:pt idx="4841">
                  <c:v>48908</c:v>
                </c:pt>
                <c:pt idx="4842">
                  <c:v>48398</c:v>
                </c:pt>
                <c:pt idx="4843">
                  <c:v>141900</c:v>
                </c:pt>
                <c:pt idx="4844">
                  <c:v>51970</c:v>
                </c:pt>
                <c:pt idx="4845">
                  <c:v>40844</c:v>
                </c:pt>
                <c:pt idx="4846">
                  <c:v>194550</c:v>
                </c:pt>
                <c:pt idx="4847">
                  <c:v>23287</c:v>
                </c:pt>
                <c:pt idx="4848">
                  <c:v>63803</c:v>
                </c:pt>
                <c:pt idx="4849">
                  <c:v>38984</c:v>
                </c:pt>
                <c:pt idx="4850">
                  <c:v>36610</c:v>
                </c:pt>
                <c:pt idx="4851">
                  <c:v>49829</c:v>
                </c:pt>
                <c:pt idx="4852">
                  <c:v>25185</c:v>
                </c:pt>
                <c:pt idx="4853">
                  <c:v>135256</c:v>
                </c:pt>
                <c:pt idx="4854">
                  <c:v>48609</c:v>
                </c:pt>
                <c:pt idx="4855">
                  <c:v>21718</c:v>
                </c:pt>
                <c:pt idx="4856">
                  <c:v>52631</c:v>
                </c:pt>
                <c:pt idx="4857">
                  <c:v>30960</c:v>
                </c:pt>
                <c:pt idx="4858">
                  <c:v>43628</c:v>
                </c:pt>
                <c:pt idx="4859">
                  <c:v>37602</c:v>
                </c:pt>
                <c:pt idx="4860">
                  <c:v>60337</c:v>
                </c:pt>
                <c:pt idx="4861">
                  <c:v>27124</c:v>
                </c:pt>
                <c:pt idx="4862">
                  <c:v>37926</c:v>
                </c:pt>
                <c:pt idx="4863">
                  <c:v>32550</c:v>
                </c:pt>
                <c:pt idx="4864">
                  <c:v>82025</c:v>
                </c:pt>
                <c:pt idx="4865">
                  <c:v>43243</c:v>
                </c:pt>
                <c:pt idx="4866">
                  <c:v>51254</c:v>
                </c:pt>
                <c:pt idx="4867">
                  <c:v>38985</c:v>
                </c:pt>
                <c:pt idx="4868">
                  <c:v>159195</c:v>
                </c:pt>
                <c:pt idx="4869">
                  <c:v>66353</c:v>
                </c:pt>
                <c:pt idx="4870">
                  <c:v>64491</c:v>
                </c:pt>
                <c:pt idx="4871">
                  <c:v>50873</c:v>
                </c:pt>
                <c:pt idx="4872">
                  <c:v>42591</c:v>
                </c:pt>
                <c:pt idx="4873">
                  <c:v>61161</c:v>
                </c:pt>
                <c:pt idx="4874">
                  <c:v>26488</c:v>
                </c:pt>
                <c:pt idx="4875">
                  <c:v>117508</c:v>
                </c:pt>
                <c:pt idx="4876">
                  <c:v>20584</c:v>
                </c:pt>
                <c:pt idx="4877">
                  <c:v>119969</c:v>
                </c:pt>
                <c:pt idx="4878">
                  <c:v>258919</c:v>
                </c:pt>
                <c:pt idx="4879">
                  <c:v>198855</c:v>
                </c:pt>
                <c:pt idx="4880">
                  <c:v>27498</c:v>
                </c:pt>
                <c:pt idx="4881">
                  <c:v>42323</c:v>
                </c:pt>
                <c:pt idx="4882">
                  <c:v>45961</c:v>
                </c:pt>
                <c:pt idx="4883">
                  <c:v>25041</c:v>
                </c:pt>
                <c:pt idx="4884">
                  <c:v>38184</c:v>
                </c:pt>
                <c:pt idx="4885">
                  <c:v>52728</c:v>
                </c:pt>
                <c:pt idx="4886">
                  <c:v>36885</c:v>
                </c:pt>
                <c:pt idx="4887">
                  <c:v>36443</c:v>
                </c:pt>
                <c:pt idx="4888">
                  <c:v>65027</c:v>
                </c:pt>
                <c:pt idx="4889">
                  <c:v>31789</c:v>
                </c:pt>
                <c:pt idx="4890">
                  <c:v>23926</c:v>
                </c:pt>
                <c:pt idx="4891">
                  <c:v>22671</c:v>
                </c:pt>
                <c:pt idx="4892">
                  <c:v>58016</c:v>
                </c:pt>
                <c:pt idx="4893">
                  <c:v>70529</c:v>
                </c:pt>
                <c:pt idx="4894">
                  <c:v>116429</c:v>
                </c:pt>
                <c:pt idx="4895">
                  <c:v>35364</c:v>
                </c:pt>
                <c:pt idx="4896">
                  <c:v>35399</c:v>
                </c:pt>
                <c:pt idx="4897">
                  <c:v>40297</c:v>
                </c:pt>
                <c:pt idx="4898">
                  <c:v>45972</c:v>
                </c:pt>
                <c:pt idx="4899">
                  <c:v>126648</c:v>
                </c:pt>
                <c:pt idx="4900">
                  <c:v>36032</c:v>
                </c:pt>
                <c:pt idx="4901">
                  <c:v>44376</c:v>
                </c:pt>
                <c:pt idx="4902">
                  <c:v>45304</c:v>
                </c:pt>
                <c:pt idx="4903">
                  <c:v>48739</c:v>
                </c:pt>
                <c:pt idx="4904">
                  <c:v>60398</c:v>
                </c:pt>
                <c:pt idx="4905">
                  <c:v>30998</c:v>
                </c:pt>
                <c:pt idx="4906">
                  <c:v>30795</c:v>
                </c:pt>
                <c:pt idx="4907">
                  <c:v>33741</c:v>
                </c:pt>
                <c:pt idx="4908">
                  <c:v>44122</c:v>
                </c:pt>
                <c:pt idx="4909">
                  <c:v>68394</c:v>
                </c:pt>
                <c:pt idx="4910">
                  <c:v>106658</c:v>
                </c:pt>
                <c:pt idx="4911">
                  <c:v>50820</c:v>
                </c:pt>
                <c:pt idx="4912">
                  <c:v>28980</c:v>
                </c:pt>
                <c:pt idx="4913">
                  <c:v>78416</c:v>
                </c:pt>
                <c:pt idx="4914">
                  <c:v>162019</c:v>
                </c:pt>
                <c:pt idx="4915">
                  <c:v>78782</c:v>
                </c:pt>
                <c:pt idx="4916">
                  <c:v>59059</c:v>
                </c:pt>
                <c:pt idx="4917">
                  <c:v>33647</c:v>
                </c:pt>
                <c:pt idx="4918">
                  <c:v>28957</c:v>
                </c:pt>
                <c:pt idx="4919">
                  <c:v>48911</c:v>
                </c:pt>
                <c:pt idx="4920">
                  <c:v>159816</c:v>
                </c:pt>
                <c:pt idx="4921">
                  <c:v>79622</c:v>
                </c:pt>
                <c:pt idx="4922">
                  <c:v>29957</c:v>
                </c:pt>
                <c:pt idx="4923">
                  <c:v>51903</c:v>
                </c:pt>
                <c:pt idx="4924">
                  <c:v>27341</c:v>
                </c:pt>
                <c:pt idx="4925">
                  <c:v>40439</c:v>
                </c:pt>
                <c:pt idx="4926">
                  <c:v>79605</c:v>
                </c:pt>
                <c:pt idx="4927">
                  <c:v>47718</c:v>
                </c:pt>
                <c:pt idx="4928">
                  <c:v>63722</c:v>
                </c:pt>
                <c:pt idx="4929">
                  <c:v>422688</c:v>
                </c:pt>
                <c:pt idx="4930">
                  <c:v>42941</c:v>
                </c:pt>
                <c:pt idx="4931">
                  <c:v>24850</c:v>
                </c:pt>
                <c:pt idx="4932">
                  <c:v>35656</c:v>
                </c:pt>
                <c:pt idx="4933">
                  <c:v>33110</c:v>
                </c:pt>
                <c:pt idx="4934">
                  <c:v>44096</c:v>
                </c:pt>
                <c:pt idx="4935">
                  <c:v>34825</c:v>
                </c:pt>
                <c:pt idx="4936">
                  <c:v>39904</c:v>
                </c:pt>
                <c:pt idx="4937">
                  <c:v>41280</c:v>
                </c:pt>
                <c:pt idx="4938">
                  <c:v>61213</c:v>
                </c:pt>
                <c:pt idx="4939">
                  <c:v>46722</c:v>
                </c:pt>
                <c:pt idx="4940">
                  <c:v>97685</c:v>
                </c:pt>
                <c:pt idx="4941">
                  <c:v>39007</c:v>
                </c:pt>
                <c:pt idx="4942">
                  <c:v>23716</c:v>
                </c:pt>
                <c:pt idx="4943">
                  <c:v>240016</c:v>
                </c:pt>
                <c:pt idx="4944">
                  <c:v>63592</c:v>
                </c:pt>
                <c:pt idx="4945">
                  <c:v>43199</c:v>
                </c:pt>
                <c:pt idx="4946">
                  <c:v>31049</c:v>
                </c:pt>
                <c:pt idx="4947">
                  <c:v>27062</c:v>
                </c:pt>
                <c:pt idx="4948">
                  <c:v>51089</c:v>
                </c:pt>
                <c:pt idx="4949">
                  <c:v>50392</c:v>
                </c:pt>
                <c:pt idx="4950">
                  <c:v>22789</c:v>
                </c:pt>
                <c:pt idx="4951">
                  <c:v>43237</c:v>
                </c:pt>
                <c:pt idx="4952">
                  <c:v>23719</c:v>
                </c:pt>
                <c:pt idx="4953">
                  <c:v>156688</c:v>
                </c:pt>
                <c:pt idx="4954">
                  <c:v>138600</c:v>
                </c:pt>
                <c:pt idx="4955">
                  <c:v>42319</c:v>
                </c:pt>
                <c:pt idx="4956">
                  <c:v>140923</c:v>
                </c:pt>
                <c:pt idx="4957">
                  <c:v>56123</c:v>
                </c:pt>
                <c:pt idx="4958">
                  <c:v>52304</c:v>
                </c:pt>
                <c:pt idx="4959">
                  <c:v>44933</c:v>
                </c:pt>
                <c:pt idx="4960">
                  <c:v>109022</c:v>
                </c:pt>
                <c:pt idx="4961">
                  <c:v>348912</c:v>
                </c:pt>
                <c:pt idx="4962">
                  <c:v>50937</c:v>
                </c:pt>
                <c:pt idx="4963">
                  <c:v>35957</c:v>
                </c:pt>
                <c:pt idx="4964">
                  <c:v>196987</c:v>
                </c:pt>
                <c:pt idx="4965">
                  <c:v>84063</c:v>
                </c:pt>
                <c:pt idx="4966">
                  <c:v>100987</c:v>
                </c:pt>
                <c:pt idx="4967">
                  <c:v>37466</c:v>
                </c:pt>
                <c:pt idx="4968">
                  <c:v>38898</c:v>
                </c:pt>
                <c:pt idx="4969">
                  <c:v>50473</c:v>
                </c:pt>
                <c:pt idx="4970">
                  <c:v>42530</c:v>
                </c:pt>
                <c:pt idx="4971">
                  <c:v>93783</c:v>
                </c:pt>
                <c:pt idx="4972">
                  <c:v>76267</c:v>
                </c:pt>
                <c:pt idx="4973">
                  <c:v>49761</c:v>
                </c:pt>
                <c:pt idx="4974">
                  <c:v>42739</c:v>
                </c:pt>
                <c:pt idx="4975">
                  <c:v>23724</c:v>
                </c:pt>
                <c:pt idx="4976">
                  <c:v>39406</c:v>
                </c:pt>
                <c:pt idx="4977">
                  <c:v>35506</c:v>
                </c:pt>
                <c:pt idx="4978">
                  <c:v>132580</c:v>
                </c:pt>
                <c:pt idx="4979">
                  <c:v>69612</c:v>
                </c:pt>
                <c:pt idx="4980">
                  <c:v>64458</c:v>
                </c:pt>
                <c:pt idx="4981">
                  <c:v>22738</c:v>
                </c:pt>
                <c:pt idx="4982">
                  <c:v>40046</c:v>
                </c:pt>
                <c:pt idx="4983">
                  <c:v>85885</c:v>
                </c:pt>
                <c:pt idx="4984">
                  <c:v>34362</c:v>
                </c:pt>
                <c:pt idx="4985">
                  <c:v>77254</c:v>
                </c:pt>
                <c:pt idx="4986">
                  <c:v>50069</c:v>
                </c:pt>
                <c:pt idx="4987">
                  <c:v>55324</c:v>
                </c:pt>
                <c:pt idx="4988">
                  <c:v>154497</c:v>
                </c:pt>
                <c:pt idx="4989">
                  <c:v>42459</c:v>
                </c:pt>
                <c:pt idx="4990">
                  <c:v>103094</c:v>
                </c:pt>
                <c:pt idx="4991">
                  <c:v>27979</c:v>
                </c:pt>
                <c:pt idx="4992">
                  <c:v>76399</c:v>
                </c:pt>
                <c:pt idx="4993">
                  <c:v>55454</c:v>
                </c:pt>
                <c:pt idx="4994">
                  <c:v>48091</c:v>
                </c:pt>
                <c:pt idx="4995">
                  <c:v>38486</c:v>
                </c:pt>
                <c:pt idx="4996">
                  <c:v>23675</c:v>
                </c:pt>
                <c:pt idx="4997">
                  <c:v>35997</c:v>
                </c:pt>
                <c:pt idx="4998">
                  <c:v>54068</c:v>
                </c:pt>
                <c:pt idx="4999">
                  <c:v>252369</c:v>
                </c:pt>
                <c:pt idx="5000">
                  <c:v>75473</c:v>
                </c:pt>
                <c:pt idx="5001">
                  <c:v>104786</c:v>
                </c:pt>
                <c:pt idx="5002">
                  <c:v>211369</c:v>
                </c:pt>
                <c:pt idx="5003">
                  <c:v>42304</c:v>
                </c:pt>
                <c:pt idx="5004">
                  <c:v>28229</c:v>
                </c:pt>
                <c:pt idx="5005">
                  <c:v>36738</c:v>
                </c:pt>
                <c:pt idx="5006">
                  <c:v>25456</c:v>
                </c:pt>
                <c:pt idx="5007">
                  <c:v>53909</c:v>
                </c:pt>
                <c:pt idx="5008">
                  <c:v>46341</c:v>
                </c:pt>
                <c:pt idx="5009">
                  <c:v>30871</c:v>
                </c:pt>
                <c:pt idx="5010">
                  <c:v>36813</c:v>
                </c:pt>
                <c:pt idx="5011">
                  <c:v>190330</c:v>
                </c:pt>
                <c:pt idx="5012">
                  <c:v>31310</c:v>
                </c:pt>
                <c:pt idx="5013">
                  <c:v>55107</c:v>
                </c:pt>
                <c:pt idx="5014">
                  <c:v>33175</c:v>
                </c:pt>
                <c:pt idx="5015">
                  <c:v>43447</c:v>
                </c:pt>
                <c:pt idx="5016">
                  <c:v>28194</c:v>
                </c:pt>
                <c:pt idx="5017">
                  <c:v>82314</c:v>
                </c:pt>
                <c:pt idx="5018">
                  <c:v>42052</c:v>
                </c:pt>
                <c:pt idx="5019">
                  <c:v>44529</c:v>
                </c:pt>
                <c:pt idx="5020">
                  <c:v>37665</c:v>
                </c:pt>
                <c:pt idx="5021">
                  <c:v>28347</c:v>
                </c:pt>
                <c:pt idx="5022">
                  <c:v>29094</c:v>
                </c:pt>
                <c:pt idx="5023">
                  <c:v>56067</c:v>
                </c:pt>
                <c:pt idx="5024">
                  <c:v>46402</c:v>
                </c:pt>
                <c:pt idx="5025">
                  <c:v>29165</c:v>
                </c:pt>
                <c:pt idx="5026">
                  <c:v>93697</c:v>
                </c:pt>
                <c:pt idx="5027">
                  <c:v>93028</c:v>
                </c:pt>
                <c:pt idx="5028">
                  <c:v>62888</c:v>
                </c:pt>
                <c:pt idx="5029">
                  <c:v>39412</c:v>
                </c:pt>
                <c:pt idx="5030">
                  <c:v>41311</c:v>
                </c:pt>
                <c:pt idx="5031">
                  <c:v>37486</c:v>
                </c:pt>
                <c:pt idx="5032">
                  <c:v>59469</c:v>
                </c:pt>
                <c:pt idx="5033">
                  <c:v>75632</c:v>
                </c:pt>
                <c:pt idx="5034">
                  <c:v>37965</c:v>
                </c:pt>
                <c:pt idx="5035">
                  <c:v>38574</c:v>
                </c:pt>
                <c:pt idx="5036">
                  <c:v>41357</c:v>
                </c:pt>
                <c:pt idx="5037">
                  <c:v>61576</c:v>
                </c:pt>
                <c:pt idx="5038">
                  <c:v>131077</c:v>
                </c:pt>
                <c:pt idx="5039">
                  <c:v>36023</c:v>
                </c:pt>
                <c:pt idx="5040">
                  <c:v>88388</c:v>
                </c:pt>
                <c:pt idx="5041">
                  <c:v>32187</c:v>
                </c:pt>
                <c:pt idx="5042">
                  <c:v>94934</c:v>
                </c:pt>
                <c:pt idx="5043">
                  <c:v>142239</c:v>
                </c:pt>
                <c:pt idx="5044">
                  <c:v>31873</c:v>
                </c:pt>
                <c:pt idx="5045">
                  <c:v>61924</c:v>
                </c:pt>
                <c:pt idx="5046">
                  <c:v>92585</c:v>
                </c:pt>
                <c:pt idx="5047">
                  <c:v>21397</c:v>
                </c:pt>
                <c:pt idx="5048">
                  <c:v>73938</c:v>
                </c:pt>
                <c:pt idx="5049">
                  <c:v>54862</c:v>
                </c:pt>
                <c:pt idx="5050">
                  <c:v>149990</c:v>
                </c:pt>
                <c:pt idx="5051">
                  <c:v>114479</c:v>
                </c:pt>
                <c:pt idx="5052">
                  <c:v>36759</c:v>
                </c:pt>
                <c:pt idx="5053">
                  <c:v>99331</c:v>
                </c:pt>
                <c:pt idx="5054">
                  <c:v>23652</c:v>
                </c:pt>
                <c:pt idx="5055">
                  <c:v>45417</c:v>
                </c:pt>
                <c:pt idx="5056">
                  <c:v>55959</c:v>
                </c:pt>
                <c:pt idx="5057">
                  <c:v>54086</c:v>
                </c:pt>
                <c:pt idx="5058">
                  <c:v>22842</c:v>
                </c:pt>
                <c:pt idx="5059">
                  <c:v>50545</c:v>
                </c:pt>
                <c:pt idx="5060">
                  <c:v>124154</c:v>
                </c:pt>
                <c:pt idx="5061">
                  <c:v>38959</c:v>
                </c:pt>
                <c:pt idx="5062">
                  <c:v>22250</c:v>
                </c:pt>
                <c:pt idx="5063">
                  <c:v>56986</c:v>
                </c:pt>
                <c:pt idx="5064">
                  <c:v>87501</c:v>
                </c:pt>
                <c:pt idx="5065">
                  <c:v>46825</c:v>
                </c:pt>
                <c:pt idx="5066">
                  <c:v>292984</c:v>
                </c:pt>
                <c:pt idx="5067">
                  <c:v>36339</c:v>
                </c:pt>
                <c:pt idx="5068">
                  <c:v>56082</c:v>
                </c:pt>
                <c:pt idx="5069">
                  <c:v>38792</c:v>
                </c:pt>
                <c:pt idx="5070">
                  <c:v>31914</c:v>
                </c:pt>
                <c:pt idx="5071">
                  <c:v>237865</c:v>
                </c:pt>
                <c:pt idx="5072">
                  <c:v>48803</c:v>
                </c:pt>
                <c:pt idx="5073">
                  <c:v>40276</c:v>
                </c:pt>
                <c:pt idx="5074">
                  <c:v>27724</c:v>
                </c:pt>
                <c:pt idx="5075">
                  <c:v>35236</c:v>
                </c:pt>
                <c:pt idx="5076">
                  <c:v>58379</c:v>
                </c:pt>
                <c:pt idx="5077">
                  <c:v>194127</c:v>
                </c:pt>
                <c:pt idx="5078">
                  <c:v>148808</c:v>
                </c:pt>
                <c:pt idx="5079">
                  <c:v>100540</c:v>
                </c:pt>
                <c:pt idx="5080">
                  <c:v>68225</c:v>
                </c:pt>
                <c:pt idx="5081">
                  <c:v>103927</c:v>
                </c:pt>
                <c:pt idx="5082">
                  <c:v>49937</c:v>
                </c:pt>
                <c:pt idx="5083">
                  <c:v>32699</c:v>
                </c:pt>
                <c:pt idx="5084">
                  <c:v>47910</c:v>
                </c:pt>
                <c:pt idx="5085">
                  <c:v>27637</c:v>
                </c:pt>
                <c:pt idx="5086">
                  <c:v>23541</c:v>
                </c:pt>
                <c:pt idx="5087">
                  <c:v>108710</c:v>
                </c:pt>
                <c:pt idx="5088">
                  <c:v>48902</c:v>
                </c:pt>
                <c:pt idx="5089">
                  <c:v>150695</c:v>
                </c:pt>
                <c:pt idx="5090">
                  <c:v>40272</c:v>
                </c:pt>
                <c:pt idx="5091">
                  <c:v>86159</c:v>
                </c:pt>
                <c:pt idx="5092">
                  <c:v>66905</c:v>
                </c:pt>
                <c:pt idx="5093">
                  <c:v>82098</c:v>
                </c:pt>
                <c:pt idx="5094">
                  <c:v>119503</c:v>
                </c:pt>
                <c:pt idx="5095">
                  <c:v>21605</c:v>
                </c:pt>
                <c:pt idx="5096">
                  <c:v>198960</c:v>
                </c:pt>
                <c:pt idx="5097">
                  <c:v>24108</c:v>
                </c:pt>
                <c:pt idx="5098">
                  <c:v>39519</c:v>
                </c:pt>
                <c:pt idx="5099">
                  <c:v>25829</c:v>
                </c:pt>
                <c:pt idx="5100">
                  <c:v>34897</c:v>
                </c:pt>
                <c:pt idx="5101">
                  <c:v>105627</c:v>
                </c:pt>
                <c:pt idx="5102">
                  <c:v>28767</c:v>
                </c:pt>
                <c:pt idx="5103">
                  <c:v>99424</c:v>
                </c:pt>
                <c:pt idx="5104">
                  <c:v>50203</c:v>
                </c:pt>
                <c:pt idx="5105">
                  <c:v>27611</c:v>
                </c:pt>
                <c:pt idx="5106">
                  <c:v>51409</c:v>
                </c:pt>
                <c:pt idx="5107">
                  <c:v>64915</c:v>
                </c:pt>
                <c:pt idx="5108">
                  <c:v>42741</c:v>
                </c:pt>
                <c:pt idx="5109">
                  <c:v>75821</c:v>
                </c:pt>
                <c:pt idx="5110">
                  <c:v>227970</c:v>
                </c:pt>
                <c:pt idx="5111">
                  <c:v>102096</c:v>
                </c:pt>
                <c:pt idx="5112">
                  <c:v>108550</c:v>
                </c:pt>
                <c:pt idx="5113">
                  <c:v>29629</c:v>
                </c:pt>
                <c:pt idx="5114">
                  <c:v>37940</c:v>
                </c:pt>
                <c:pt idx="5115">
                  <c:v>31546</c:v>
                </c:pt>
                <c:pt idx="5116">
                  <c:v>47972</c:v>
                </c:pt>
                <c:pt idx="5117">
                  <c:v>49828</c:v>
                </c:pt>
                <c:pt idx="5118">
                  <c:v>55735</c:v>
                </c:pt>
                <c:pt idx="5119">
                  <c:v>70594</c:v>
                </c:pt>
                <c:pt idx="5120">
                  <c:v>46805</c:v>
                </c:pt>
                <c:pt idx="5121">
                  <c:v>24575</c:v>
                </c:pt>
                <c:pt idx="5122">
                  <c:v>101969</c:v>
                </c:pt>
                <c:pt idx="5123">
                  <c:v>42703</c:v>
                </c:pt>
                <c:pt idx="5124">
                  <c:v>37314</c:v>
                </c:pt>
                <c:pt idx="5125">
                  <c:v>32786</c:v>
                </c:pt>
                <c:pt idx="5126">
                  <c:v>84040</c:v>
                </c:pt>
                <c:pt idx="5127">
                  <c:v>56627</c:v>
                </c:pt>
                <c:pt idx="5128">
                  <c:v>50238</c:v>
                </c:pt>
                <c:pt idx="5129">
                  <c:v>33218</c:v>
                </c:pt>
                <c:pt idx="5130">
                  <c:v>43017</c:v>
                </c:pt>
                <c:pt idx="5131">
                  <c:v>47373</c:v>
                </c:pt>
                <c:pt idx="5132">
                  <c:v>47514</c:v>
                </c:pt>
                <c:pt idx="5133">
                  <c:v>33071</c:v>
                </c:pt>
                <c:pt idx="5134">
                  <c:v>141860</c:v>
                </c:pt>
                <c:pt idx="5135">
                  <c:v>33004</c:v>
                </c:pt>
                <c:pt idx="5136">
                  <c:v>49634</c:v>
                </c:pt>
                <c:pt idx="5137">
                  <c:v>78166</c:v>
                </c:pt>
                <c:pt idx="5138">
                  <c:v>60626</c:v>
                </c:pt>
                <c:pt idx="5139">
                  <c:v>126150</c:v>
                </c:pt>
                <c:pt idx="5140">
                  <c:v>68401</c:v>
                </c:pt>
                <c:pt idx="5141">
                  <c:v>24640</c:v>
                </c:pt>
                <c:pt idx="5142">
                  <c:v>46352</c:v>
                </c:pt>
                <c:pt idx="5143">
                  <c:v>25992</c:v>
                </c:pt>
                <c:pt idx="5144">
                  <c:v>29240</c:v>
                </c:pt>
                <c:pt idx="5145">
                  <c:v>81762</c:v>
                </c:pt>
                <c:pt idx="5146">
                  <c:v>105928</c:v>
                </c:pt>
                <c:pt idx="5147">
                  <c:v>92502</c:v>
                </c:pt>
                <c:pt idx="5148">
                  <c:v>23648</c:v>
                </c:pt>
                <c:pt idx="5149">
                  <c:v>36702</c:v>
                </c:pt>
                <c:pt idx="5150">
                  <c:v>38195</c:v>
                </c:pt>
                <c:pt idx="5151">
                  <c:v>28129</c:v>
                </c:pt>
                <c:pt idx="5152">
                  <c:v>22419</c:v>
                </c:pt>
                <c:pt idx="5153">
                  <c:v>81395</c:v>
                </c:pt>
                <c:pt idx="5154">
                  <c:v>157722</c:v>
                </c:pt>
                <c:pt idx="5155">
                  <c:v>47377</c:v>
                </c:pt>
                <c:pt idx="5156">
                  <c:v>47580</c:v>
                </c:pt>
                <c:pt idx="5157">
                  <c:v>332673</c:v>
                </c:pt>
                <c:pt idx="5158">
                  <c:v>146803</c:v>
                </c:pt>
                <c:pt idx="5159">
                  <c:v>26458</c:v>
                </c:pt>
                <c:pt idx="5160">
                  <c:v>49779</c:v>
                </c:pt>
                <c:pt idx="5161">
                  <c:v>44518</c:v>
                </c:pt>
                <c:pt idx="5162">
                  <c:v>41374</c:v>
                </c:pt>
                <c:pt idx="5163">
                  <c:v>116003</c:v>
                </c:pt>
                <c:pt idx="5164">
                  <c:v>53887</c:v>
                </c:pt>
                <c:pt idx="5165">
                  <c:v>41455</c:v>
                </c:pt>
                <c:pt idx="5166">
                  <c:v>162984</c:v>
                </c:pt>
                <c:pt idx="5167">
                  <c:v>27653</c:v>
                </c:pt>
                <c:pt idx="5168">
                  <c:v>90724</c:v>
                </c:pt>
                <c:pt idx="5169">
                  <c:v>26070</c:v>
                </c:pt>
                <c:pt idx="5170">
                  <c:v>245164</c:v>
                </c:pt>
                <c:pt idx="5171">
                  <c:v>97384</c:v>
                </c:pt>
                <c:pt idx="5172">
                  <c:v>71096</c:v>
                </c:pt>
                <c:pt idx="5173">
                  <c:v>34934</c:v>
                </c:pt>
                <c:pt idx="5174">
                  <c:v>57363</c:v>
                </c:pt>
                <c:pt idx="5175">
                  <c:v>27558</c:v>
                </c:pt>
                <c:pt idx="5176">
                  <c:v>62767</c:v>
                </c:pt>
                <c:pt idx="5177">
                  <c:v>59183</c:v>
                </c:pt>
                <c:pt idx="5178">
                  <c:v>40094</c:v>
                </c:pt>
                <c:pt idx="5179">
                  <c:v>179091</c:v>
                </c:pt>
                <c:pt idx="5180">
                  <c:v>53520</c:v>
                </c:pt>
                <c:pt idx="5181">
                  <c:v>88157</c:v>
                </c:pt>
                <c:pt idx="5182">
                  <c:v>27994</c:v>
                </c:pt>
                <c:pt idx="5183">
                  <c:v>28937</c:v>
                </c:pt>
                <c:pt idx="5184">
                  <c:v>27106</c:v>
                </c:pt>
                <c:pt idx="5185">
                  <c:v>121670</c:v>
                </c:pt>
                <c:pt idx="5186">
                  <c:v>68648</c:v>
                </c:pt>
                <c:pt idx="5187">
                  <c:v>138623</c:v>
                </c:pt>
                <c:pt idx="5188">
                  <c:v>38783</c:v>
                </c:pt>
                <c:pt idx="5189">
                  <c:v>40176</c:v>
                </c:pt>
                <c:pt idx="5190">
                  <c:v>46900</c:v>
                </c:pt>
                <c:pt idx="5191">
                  <c:v>70880</c:v>
                </c:pt>
                <c:pt idx="5192">
                  <c:v>40433</c:v>
                </c:pt>
                <c:pt idx="5193">
                  <c:v>147833</c:v>
                </c:pt>
                <c:pt idx="5194">
                  <c:v>26997</c:v>
                </c:pt>
                <c:pt idx="5195">
                  <c:v>39196</c:v>
                </c:pt>
                <c:pt idx="5196">
                  <c:v>29037</c:v>
                </c:pt>
                <c:pt idx="5197">
                  <c:v>44662</c:v>
                </c:pt>
                <c:pt idx="5198">
                  <c:v>40850</c:v>
                </c:pt>
                <c:pt idx="5199">
                  <c:v>28007</c:v>
                </c:pt>
                <c:pt idx="5200">
                  <c:v>36558</c:v>
                </c:pt>
                <c:pt idx="5201">
                  <c:v>33662</c:v>
                </c:pt>
                <c:pt idx="5202">
                  <c:v>25220</c:v>
                </c:pt>
                <c:pt idx="5203">
                  <c:v>46267</c:v>
                </c:pt>
                <c:pt idx="5204">
                  <c:v>70135</c:v>
                </c:pt>
                <c:pt idx="5205">
                  <c:v>122116</c:v>
                </c:pt>
                <c:pt idx="5206">
                  <c:v>34651</c:v>
                </c:pt>
                <c:pt idx="5207">
                  <c:v>57534</c:v>
                </c:pt>
                <c:pt idx="5208">
                  <c:v>30685</c:v>
                </c:pt>
                <c:pt idx="5209">
                  <c:v>66619</c:v>
                </c:pt>
                <c:pt idx="5210">
                  <c:v>115792</c:v>
                </c:pt>
                <c:pt idx="5211">
                  <c:v>113306</c:v>
                </c:pt>
                <c:pt idx="5212">
                  <c:v>64318</c:v>
                </c:pt>
                <c:pt idx="5213">
                  <c:v>43795</c:v>
                </c:pt>
                <c:pt idx="5214">
                  <c:v>171202</c:v>
                </c:pt>
                <c:pt idx="5215">
                  <c:v>59796</c:v>
                </c:pt>
                <c:pt idx="5216">
                  <c:v>55081</c:v>
                </c:pt>
                <c:pt idx="5217">
                  <c:v>28076</c:v>
                </c:pt>
                <c:pt idx="5218">
                  <c:v>24861</c:v>
                </c:pt>
                <c:pt idx="5219">
                  <c:v>41454</c:v>
                </c:pt>
                <c:pt idx="5220">
                  <c:v>28926</c:v>
                </c:pt>
                <c:pt idx="5221">
                  <c:v>36286</c:v>
                </c:pt>
                <c:pt idx="5222">
                  <c:v>74723</c:v>
                </c:pt>
                <c:pt idx="5223">
                  <c:v>41056</c:v>
                </c:pt>
                <c:pt idx="5224">
                  <c:v>73799</c:v>
                </c:pt>
                <c:pt idx="5225">
                  <c:v>303080</c:v>
                </c:pt>
                <c:pt idx="5226">
                  <c:v>82987</c:v>
                </c:pt>
                <c:pt idx="5227">
                  <c:v>50091</c:v>
                </c:pt>
                <c:pt idx="5228">
                  <c:v>55674</c:v>
                </c:pt>
                <c:pt idx="5229">
                  <c:v>35074</c:v>
                </c:pt>
                <c:pt idx="5230">
                  <c:v>44425</c:v>
                </c:pt>
                <c:pt idx="5231">
                  <c:v>25004</c:v>
                </c:pt>
                <c:pt idx="5232">
                  <c:v>36724</c:v>
                </c:pt>
                <c:pt idx="5233">
                  <c:v>62988</c:v>
                </c:pt>
                <c:pt idx="5234">
                  <c:v>27181</c:v>
                </c:pt>
                <c:pt idx="5235">
                  <c:v>63410</c:v>
                </c:pt>
                <c:pt idx="5236">
                  <c:v>25620</c:v>
                </c:pt>
                <c:pt idx="5237">
                  <c:v>94561</c:v>
                </c:pt>
                <c:pt idx="5238">
                  <c:v>53202</c:v>
                </c:pt>
                <c:pt idx="5239">
                  <c:v>30641</c:v>
                </c:pt>
                <c:pt idx="5240">
                  <c:v>43601</c:v>
                </c:pt>
                <c:pt idx="5241">
                  <c:v>27513</c:v>
                </c:pt>
                <c:pt idx="5242">
                  <c:v>23253</c:v>
                </c:pt>
                <c:pt idx="5243">
                  <c:v>43475</c:v>
                </c:pt>
                <c:pt idx="5244">
                  <c:v>43591</c:v>
                </c:pt>
                <c:pt idx="5245">
                  <c:v>46294</c:v>
                </c:pt>
                <c:pt idx="5246">
                  <c:v>37982</c:v>
                </c:pt>
                <c:pt idx="5247">
                  <c:v>46629</c:v>
                </c:pt>
                <c:pt idx="5248">
                  <c:v>24244</c:v>
                </c:pt>
                <c:pt idx="5249">
                  <c:v>47208</c:v>
                </c:pt>
                <c:pt idx="5250">
                  <c:v>43577</c:v>
                </c:pt>
                <c:pt idx="5251">
                  <c:v>47824</c:v>
                </c:pt>
                <c:pt idx="5252">
                  <c:v>45526</c:v>
                </c:pt>
                <c:pt idx="5253">
                  <c:v>65827</c:v>
                </c:pt>
                <c:pt idx="5254">
                  <c:v>108530</c:v>
                </c:pt>
                <c:pt idx="5255">
                  <c:v>87530</c:v>
                </c:pt>
                <c:pt idx="5256">
                  <c:v>127271</c:v>
                </c:pt>
                <c:pt idx="5257">
                  <c:v>63046</c:v>
                </c:pt>
                <c:pt idx="5258">
                  <c:v>28754</c:v>
                </c:pt>
                <c:pt idx="5259">
                  <c:v>47026</c:v>
                </c:pt>
                <c:pt idx="5260">
                  <c:v>33395</c:v>
                </c:pt>
                <c:pt idx="5261">
                  <c:v>27592</c:v>
                </c:pt>
                <c:pt idx="5262">
                  <c:v>286036</c:v>
                </c:pt>
                <c:pt idx="5263">
                  <c:v>59680</c:v>
                </c:pt>
                <c:pt idx="5264">
                  <c:v>36546</c:v>
                </c:pt>
                <c:pt idx="5265">
                  <c:v>57885</c:v>
                </c:pt>
                <c:pt idx="5266">
                  <c:v>24706</c:v>
                </c:pt>
                <c:pt idx="5267">
                  <c:v>78196</c:v>
                </c:pt>
                <c:pt idx="5268">
                  <c:v>80654</c:v>
                </c:pt>
                <c:pt idx="5269">
                  <c:v>53883</c:v>
                </c:pt>
                <c:pt idx="5270">
                  <c:v>51325</c:v>
                </c:pt>
                <c:pt idx="5271">
                  <c:v>135680</c:v>
                </c:pt>
                <c:pt idx="5272">
                  <c:v>94166</c:v>
                </c:pt>
                <c:pt idx="5273">
                  <c:v>68944</c:v>
                </c:pt>
                <c:pt idx="5274">
                  <c:v>169407</c:v>
                </c:pt>
                <c:pt idx="5275">
                  <c:v>38535</c:v>
                </c:pt>
                <c:pt idx="5276">
                  <c:v>27786</c:v>
                </c:pt>
                <c:pt idx="5277">
                  <c:v>36656</c:v>
                </c:pt>
                <c:pt idx="5278">
                  <c:v>32628</c:v>
                </c:pt>
                <c:pt idx="5279">
                  <c:v>28257</c:v>
                </c:pt>
                <c:pt idx="5280">
                  <c:v>43923</c:v>
                </c:pt>
                <c:pt idx="5281">
                  <c:v>179911</c:v>
                </c:pt>
                <c:pt idx="5282">
                  <c:v>71643</c:v>
                </c:pt>
                <c:pt idx="5283">
                  <c:v>222967</c:v>
                </c:pt>
                <c:pt idx="5284">
                  <c:v>207034</c:v>
                </c:pt>
                <c:pt idx="5285">
                  <c:v>41855</c:v>
                </c:pt>
                <c:pt idx="5286">
                  <c:v>35755</c:v>
                </c:pt>
                <c:pt idx="5287">
                  <c:v>52718</c:v>
                </c:pt>
                <c:pt idx="5288">
                  <c:v>23981</c:v>
                </c:pt>
                <c:pt idx="5289">
                  <c:v>85130</c:v>
                </c:pt>
                <c:pt idx="5290">
                  <c:v>30571</c:v>
                </c:pt>
                <c:pt idx="5291">
                  <c:v>460897</c:v>
                </c:pt>
                <c:pt idx="5292">
                  <c:v>25806</c:v>
                </c:pt>
                <c:pt idx="5293">
                  <c:v>24320</c:v>
                </c:pt>
                <c:pt idx="5294">
                  <c:v>63218</c:v>
                </c:pt>
                <c:pt idx="5295">
                  <c:v>173582</c:v>
                </c:pt>
                <c:pt idx="5296">
                  <c:v>115502</c:v>
                </c:pt>
                <c:pt idx="5297">
                  <c:v>185343</c:v>
                </c:pt>
                <c:pt idx="5298">
                  <c:v>130385</c:v>
                </c:pt>
                <c:pt idx="5299">
                  <c:v>66579</c:v>
                </c:pt>
                <c:pt idx="5300">
                  <c:v>60508</c:v>
                </c:pt>
                <c:pt idx="5301">
                  <c:v>29706</c:v>
                </c:pt>
                <c:pt idx="5302">
                  <c:v>69180</c:v>
                </c:pt>
                <c:pt idx="5303">
                  <c:v>111889</c:v>
                </c:pt>
                <c:pt idx="5304">
                  <c:v>153674</c:v>
                </c:pt>
                <c:pt idx="5305">
                  <c:v>40342</c:v>
                </c:pt>
                <c:pt idx="5306">
                  <c:v>45721</c:v>
                </c:pt>
                <c:pt idx="5307">
                  <c:v>40563</c:v>
                </c:pt>
                <c:pt idx="5308">
                  <c:v>39529</c:v>
                </c:pt>
                <c:pt idx="5309">
                  <c:v>30413</c:v>
                </c:pt>
                <c:pt idx="5310">
                  <c:v>35145</c:v>
                </c:pt>
                <c:pt idx="5311">
                  <c:v>25448</c:v>
                </c:pt>
                <c:pt idx="5312">
                  <c:v>62153</c:v>
                </c:pt>
                <c:pt idx="5313">
                  <c:v>106346</c:v>
                </c:pt>
                <c:pt idx="5314">
                  <c:v>71085</c:v>
                </c:pt>
                <c:pt idx="5315">
                  <c:v>26408</c:v>
                </c:pt>
                <c:pt idx="5316">
                  <c:v>61185</c:v>
                </c:pt>
                <c:pt idx="5317">
                  <c:v>43154</c:v>
                </c:pt>
                <c:pt idx="5318">
                  <c:v>32234</c:v>
                </c:pt>
                <c:pt idx="5319">
                  <c:v>33635</c:v>
                </c:pt>
                <c:pt idx="5320">
                  <c:v>66730</c:v>
                </c:pt>
                <c:pt idx="5321">
                  <c:v>61495</c:v>
                </c:pt>
                <c:pt idx="5322">
                  <c:v>24598</c:v>
                </c:pt>
                <c:pt idx="5323">
                  <c:v>25396</c:v>
                </c:pt>
                <c:pt idx="5324">
                  <c:v>32453</c:v>
                </c:pt>
                <c:pt idx="5325">
                  <c:v>78854</c:v>
                </c:pt>
                <c:pt idx="5326">
                  <c:v>33760</c:v>
                </c:pt>
                <c:pt idx="5327">
                  <c:v>57830</c:v>
                </c:pt>
                <c:pt idx="5328">
                  <c:v>70402</c:v>
                </c:pt>
                <c:pt idx="5329">
                  <c:v>125823</c:v>
                </c:pt>
                <c:pt idx="5330">
                  <c:v>53349</c:v>
                </c:pt>
                <c:pt idx="5331">
                  <c:v>285763</c:v>
                </c:pt>
                <c:pt idx="5332">
                  <c:v>32674</c:v>
                </c:pt>
                <c:pt idx="5333">
                  <c:v>30492</c:v>
                </c:pt>
                <c:pt idx="5334">
                  <c:v>171723</c:v>
                </c:pt>
                <c:pt idx="5335">
                  <c:v>214335</c:v>
                </c:pt>
                <c:pt idx="5336">
                  <c:v>42454</c:v>
                </c:pt>
                <c:pt idx="5337">
                  <c:v>118423</c:v>
                </c:pt>
                <c:pt idx="5338">
                  <c:v>60226</c:v>
                </c:pt>
                <c:pt idx="5339">
                  <c:v>28203</c:v>
                </c:pt>
                <c:pt idx="5340">
                  <c:v>54075</c:v>
                </c:pt>
                <c:pt idx="5341">
                  <c:v>46896</c:v>
                </c:pt>
                <c:pt idx="5342">
                  <c:v>40376</c:v>
                </c:pt>
                <c:pt idx="5343">
                  <c:v>58212</c:v>
                </c:pt>
                <c:pt idx="5344">
                  <c:v>23380</c:v>
                </c:pt>
                <c:pt idx="5345">
                  <c:v>30925</c:v>
                </c:pt>
                <c:pt idx="5346">
                  <c:v>68663</c:v>
                </c:pt>
                <c:pt idx="5347">
                  <c:v>30959</c:v>
                </c:pt>
                <c:pt idx="5348">
                  <c:v>56494</c:v>
                </c:pt>
                <c:pt idx="5349">
                  <c:v>36886</c:v>
                </c:pt>
                <c:pt idx="5350">
                  <c:v>37427</c:v>
                </c:pt>
                <c:pt idx="5351">
                  <c:v>137869</c:v>
                </c:pt>
                <c:pt idx="5352">
                  <c:v>108904</c:v>
                </c:pt>
                <c:pt idx="5353">
                  <c:v>78564</c:v>
                </c:pt>
                <c:pt idx="5354">
                  <c:v>148809</c:v>
                </c:pt>
                <c:pt idx="5355">
                  <c:v>39474</c:v>
                </c:pt>
                <c:pt idx="5356">
                  <c:v>40414</c:v>
                </c:pt>
                <c:pt idx="5357">
                  <c:v>66326</c:v>
                </c:pt>
                <c:pt idx="5358">
                  <c:v>30199</c:v>
                </c:pt>
                <c:pt idx="5359">
                  <c:v>50128</c:v>
                </c:pt>
                <c:pt idx="5360">
                  <c:v>30913</c:v>
                </c:pt>
                <c:pt idx="5361">
                  <c:v>35284</c:v>
                </c:pt>
                <c:pt idx="5362">
                  <c:v>88184</c:v>
                </c:pt>
                <c:pt idx="5363">
                  <c:v>94185</c:v>
                </c:pt>
                <c:pt idx="5364">
                  <c:v>57083</c:v>
                </c:pt>
                <c:pt idx="5365">
                  <c:v>146639</c:v>
                </c:pt>
                <c:pt idx="5366">
                  <c:v>236952</c:v>
                </c:pt>
                <c:pt idx="5367">
                  <c:v>36912</c:v>
                </c:pt>
                <c:pt idx="5368">
                  <c:v>49889</c:v>
                </c:pt>
                <c:pt idx="5369">
                  <c:v>46567</c:v>
                </c:pt>
                <c:pt idx="5370">
                  <c:v>32140</c:v>
                </c:pt>
                <c:pt idx="5371">
                  <c:v>59024</c:v>
                </c:pt>
                <c:pt idx="5372">
                  <c:v>70674</c:v>
                </c:pt>
                <c:pt idx="5373">
                  <c:v>57010</c:v>
                </c:pt>
                <c:pt idx="5374">
                  <c:v>35895</c:v>
                </c:pt>
                <c:pt idx="5375">
                  <c:v>50136</c:v>
                </c:pt>
                <c:pt idx="5376">
                  <c:v>38549</c:v>
                </c:pt>
                <c:pt idx="5377">
                  <c:v>166815</c:v>
                </c:pt>
                <c:pt idx="5378">
                  <c:v>42196</c:v>
                </c:pt>
                <c:pt idx="5379">
                  <c:v>22469</c:v>
                </c:pt>
                <c:pt idx="5380">
                  <c:v>38032</c:v>
                </c:pt>
                <c:pt idx="5381">
                  <c:v>47484</c:v>
                </c:pt>
                <c:pt idx="5382">
                  <c:v>156958</c:v>
                </c:pt>
                <c:pt idx="5383">
                  <c:v>103789</c:v>
                </c:pt>
                <c:pt idx="5384">
                  <c:v>37492</c:v>
                </c:pt>
                <c:pt idx="5385">
                  <c:v>84465</c:v>
                </c:pt>
                <c:pt idx="5386">
                  <c:v>46992</c:v>
                </c:pt>
                <c:pt idx="5387">
                  <c:v>95010</c:v>
                </c:pt>
                <c:pt idx="5388">
                  <c:v>36907</c:v>
                </c:pt>
                <c:pt idx="5389">
                  <c:v>25227</c:v>
                </c:pt>
                <c:pt idx="5390">
                  <c:v>20941</c:v>
                </c:pt>
                <c:pt idx="5391">
                  <c:v>39539</c:v>
                </c:pt>
                <c:pt idx="5392">
                  <c:v>37124</c:v>
                </c:pt>
                <c:pt idx="5393">
                  <c:v>52882</c:v>
                </c:pt>
                <c:pt idx="5394">
                  <c:v>23439</c:v>
                </c:pt>
                <c:pt idx="5395">
                  <c:v>41917</c:v>
                </c:pt>
                <c:pt idx="5396">
                  <c:v>76040</c:v>
                </c:pt>
                <c:pt idx="5397">
                  <c:v>31596</c:v>
                </c:pt>
                <c:pt idx="5398">
                  <c:v>36804</c:v>
                </c:pt>
                <c:pt idx="5399">
                  <c:v>59790</c:v>
                </c:pt>
                <c:pt idx="5400">
                  <c:v>91633</c:v>
                </c:pt>
                <c:pt idx="5401">
                  <c:v>28240</c:v>
                </c:pt>
                <c:pt idx="5402">
                  <c:v>25775</c:v>
                </c:pt>
                <c:pt idx="5403">
                  <c:v>29853</c:v>
                </c:pt>
                <c:pt idx="5404">
                  <c:v>100167</c:v>
                </c:pt>
                <c:pt idx="5405">
                  <c:v>50681</c:v>
                </c:pt>
                <c:pt idx="5406">
                  <c:v>67381</c:v>
                </c:pt>
                <c:pt idx="5407">
                  <c:v>68662</c:v>
                </c:pt>
                <c:pt idx="5408">
                  <c:v>33985</c:v>
                </c:pt>
                <c:pt idx="5409">
                  <c:v>104656</c:v>
                </c:pt>
                <c:pt idx="5410">
                  <c:v>89530</c:v>
                </c:pt>
                <c:pt idx="5411">
                  <c:v>24936</c:v>
                </c:pt>
                <c:pt idx="5412">
                  <c:v>187484</c:v>
                </c:pt>
                <c:pt idx="5413">
                  <c:v>62685</c:v>
                </c:pt>
                <c:pt idx="5414">
                  <c:v>30075</c:v>
                </c:pt>
                <c:pt idx="5415">
                  <c:v>111999</c:v>
                </c:pt>
                <c:pt idx="5416">
                  <c:v>23812</c:v>
                </c:pt>
                <c:pt idx="5417">
                  <c:v>51841</c:v>
                </c:pt>
                <c:pt idx="5418">
                  <c:v>61961</c:v>
                </c:pt>
                <c:pt idx="5419">
                  <c:v>103350</c:v>
                </c:pt>
                <c:pt idx="5420">
                  <c:v>60683</c:v>
                </c:pt>
                <c:pt idx="5421">
                  <c:v>42007</c:v>
                </c:pt>
                <c:pt idx="5422">
                  <c:v>39365</c:v>
                </c:pt>
                <c:pt idx="5423">
                  <c:v>45018</c:v>
                </c:pt>
                <c:pt idx="5424">
                  <c:v>57067</c:v>
                </c:pt>
                <c:pt idx="5425">
                  <c:v>119069</c:v>
                </c:pt>
                <c:pt idx="5426">
                  <c:v>42575</c:v>
                </c:pt>
                <c:pt idx="5427">
                  <c:v>103733</c:v>
                </c:pt>
                <c:pt idx="5428">
                  <c:v>23020</c:v>
                </c:pt>
                <c:pt idx="5429">
                  <c:v>207749</c:v>
                </c:pt>
                <c:pt idx="5430">
                  <c:v>39038</c:v>
                </c:pt>
                <c:pt idx="5431">
                  <c:v>33873</c:v>
                </c:pt>
                <c:pt idx="5432">
                  <c:v>39707</c:v>
                </c:pt>
                <c:pt idx="5433">
                  <c:v>51243</c:v>
                </c:pt>
                <c:pt idx="5434">
                  <c:v>48876</c:v>
                </c:pt>
                <c:pt idx="5435">
                  <c:v>71558</c:v>
                </c:pt>
                <c:pt idx="5436">
                  <c:v>30223</c:v>
                </c:pt>
                <c:pt idx="5437">
                  <c:v>47745</c:v>
                </c:pt>
                <c:pt idx="5438">
                  <c:v>38700</c:v>
                </c:pt>
                <c:pt idx="5439">
                  <c:v>45911</c:v>
                </c:pt>
                <c:pt idx="5440">
                  <c:v>35138</c:v>
                </c:pt>
                <c:pt idx="5441">
                  <c:v>24959</c:v>
                </c:pt>
                <c:pt idx="5442">
                  <c:v>101812</c:v>
                </c:pt>
                <c:pt idx="5443">
                  <c:v>46061</c:v>
                </c:pt>
                <c:pt idx="5444">
                  <c:v>168008</c:v>
                </c:pt>
                <c:pt idx="5445">
                  <c:v>130100</c:v>
                </c:pt>
                <c:pt idx="5446">
                  <c:v>38262</c:v>
                </c:pt>
                <c:pt idx="5447">
                  <c:v>33242</c:v>
                </c:pt>
                <c:pt idx="5448">
                  <c:v>48880</c:v>
                </c:pt>
                <c:pt idx="5449">
                  <c:v>28333</c:v>
                </c:pt>
                <c:pt idx="5450">
                  <c:v>56610</c:v>
                </c:pt>
                <c:pt idx="5451">
                  <c:v>204388</c:v>
                </c:pt>
                <c:pt idx="5452">
                  <c:v>200922</c:v>
                </c:pt>
                <c:pt idx="5453">
                  <c:v>67811</c:v>
                </c:pt>
                <c:pt idx="5454">
                  <c:v>29142</c:v>
                </c:pt>
                <c:pt idx="5455">
                  <c:v>57388</c:v>
                </c:pt>
                <c:pt idx="5456">
                  <c:v>110984</c:v>
                </c:pt>
                <c:pt idx="5457">
                  <c:v>35803</c:v>
                </c:pt>
                <c:pt idx="5458">
                  <c:v>20282</c:v>
                </c:pt>
                <c:pt idx="5459">
                  <c:v>59096</c:v>
                </c:pt>
                <c:pt idx="5460">
                  <c:v>39132</c:v>
                </c:pt>
                <c:pt idx="5461">
                  <c:v>73830</c:v>
                </c:pt>
                <c:pt idx="5462">
                  <c:v>30510</c:v>
                </c:pt>
                <c:pt idx="5463">
                  <c:v>67607</c:v>
                </c:pt>
                <c:pt idx="5464">
                  <c:v>54051</c:v>
                </c:pt>
                <c:pt idx="5465">
                  <c:v>174711</c:v>
                </c:pt>
                <c:pt idx="5466">
                  <c:v>41043</c:v>
                </c:pt>
                <c:pt idx="5467">
                  <c:v>52614</c:v>
                </c:pt>
                <c:pt idx="5468">
                  <c:v>47844</c:v>
                </c:pt>
                <c:pt idx="5469">
                  <c:v>30604</c:v>
                </c:pt>
                <c:pt idx="5470">
                  <c:v>40015</c:v>
                </c:pt>
                <c:pt idx="5471">
                  <c:v>47135</c:v>
                </c:pt>
                <c:pt idx="5472">
                  <c:v>38268</c:v>
                </c:pt>
                <c:pt idx="5473">
                  <c:v>52105</c:v>
                </c:pt>
                <c:pt idx="5474">
                  <c:v>27887</c:v>
                </c:pt>
                <c:pt idx="5475">
                  <c:v>32900</c:v>
                </c:pt>
                <c:pt idx="5476">
                  <c:v>23501</c:v>
                </c:pt>
                <c:pt idx="5477">
                  <c:v>89827</c:v>
                </c:pt>
                <c:pt idx="5478">
                  <c:v>39665</c:v>
                </c:pt>
                <c:pt idx="5479">
                  <c:v>40048</c:v>
                </c:pt>
                <c:pt idx="5480">
                  <c:v>40617</c:v>
                </c:pt>
                <c:pt idx="5481">
                  <c:v>37465</c:v>
                </c:pt>
                <c:pt idx="5482">
                  <c:v>127560</c:v>
                </c:pt>
                <c:pt idx="5483">
                  <c:v>35307</c:v>
                </c:pt>
                <c:pt idx="5484">
                  <c:v>34006</c:v>
                </c:pt>
                <c:pt idx="5485">
                  <c:v>46005</c:v>
                </c:pt>
                <c:pt idx="5486">
                  <c:v>123910</c:v>
                </c:pt>
                <c:pt idx="5487">
                  <c:v>62533</c:v>
                </c:pt>
                <c:pt idx="5488">
                  <c:v>40094</c:v>
                </c:pt>
                <c:pt idx="5489">
                  <c:v>38569</c:v>
                </c:pt>
                <c:pt idx="5490">
                  <c:v>73484</c:v>
                </c:pt>
                <c:pt idx="5491">
                  <c:v>77217</c:v>
                </c:pt>
                <c:pt idx="5492">
                  <c:v>164893</c:v>
                </c:pt>
                <c:pt idx="5493">
                  <c:v>97063</c:v>
                </c:pt>
                <c:pt idx="5494">
                  <c:v>33432</c:v>
                </c:pt>
                <c:pt idx="5495">
                  <c:v>34686</c:v>
                </c:pt>
                <c:pt idx="5496">
                  <c:v>31011</c:v>
                </c:pt>
                <c:pt idx="5497">
                  <c:v>84513</c:v>
                </c:pt>
                <c:pt idx="5498">
                  <c:v>68409</c:v>
                </c:pt>
                <c:pt idx="5499">
                  <c:v>65057</c:v>
                </c:pt>
                <c:pt idx="5500">
                  <c:v>79001</c:v>
                </c:pt>
                <c:pt idx="5501">
                  <c:v>62067</c:v>
                </c:pt>
                <c:pt idx="5502">
                  <c:v>158981</c:v>
                </c:pt>
                <c:pt idx="5503">
                  <c:v>209402</c:v>
                </c:pt>
                <c:pt idx="5504">
                  <c:v>36083</c:v>
                </c:pt>
                <c:pt idx="5505">
                  <c:v>41680</c:v>
                </c:pt>
                <c:pt idx="5506">
                  <c:v>113119</c:v>
                </c:pt>
                <c:pt idx="5507">
                  <c:v>170864</c:v>
                </c:pt>
                <c:pt idx="5508">
                  <c:v>247190</c:v>
                </c:pt>
                <c:pt idx="5509">
                  <c:v>31735</c:v>
                </c:pt>
                <c:pt idx="5510">
                  <c:v>30901</c:v>
                </c:pt>
                <c:pt idx="5511">
                  <c:v>46779</c:v>
                </c:pt>
                <c:pt idx="5512">
                  <c:v>68753</c:v>
                </c:pt>
                <c:pt idx="5513">
                  <c:v>23201</c:v>
                </c:pt>
                <c:pt idx="5514">
                  <c:v>50594</c:v>
                </c:pt>
                <c:pt idx="5515">
                  <c:v>45786</c:v>
                </c:pt>
                <c:pt idx="5516">
                  <c:v>230061</c:v>
                </c:pt>
                <c:pt idx="5517">
                  <c:v>37335</c:v>
                </c:pt>
                <c:pt idx="5518">
                  <c:v>130933</c:v>
                </c:pt>
                <c:pt idx="5519">
                  <c:v>25256</c:v>
                </c:pt>
                <c:pt idx="5520">
                  <c:v>52873</c:v>
                </c:pt>
                <c:pt idx="5521">
                  <c:v>57239</c:v>
                </c:pt>
                <c:pt idx="5522">
                  <c:v>65458</c:v>
                </c:pt>
                <c:pt idx="5523">
                  <c:v>86495</c:v>
                </c:pt>
                <c:pt idx="5524">
                  <c:v>66914</c:v>
                </c:pt>
                <c:pt idx="5525">
                  <c:v>138996</c:v>
                </c:pt>
                <c:pt idx="5526">
                  <c:v>98270</c:v>
                </c:pt>
                <c:pt idx="5527">
                  <c:v>24795</c:v>
                </c:pt>
                <c:pt idx="5528">
                  <c:v>66144</c:v>
                </c:pt>
                <c:pt idx="5529">
                  <c:v>45806</c:v>
                </c:pt>
                <c:pt idx="5530">
                  <c:v>90667</c:v>
                </c:pt>
                <c:pt idx="5531">
                  <c:v>28523</c:v>
                </c:pt>
                <c:pt idx="5532">
                  <c:v>56607</c:v>
                </c:pt>
                <c:pt idx="5533">
                  <c:v>22092</c:v>
                </c:pt>
                <c:pt idx="5534">
                  <c:v>32579</c:v>
                </c:pt>
                <c:pt idx="5535">
                  <c:v>154013</c:v>
                </c:pt>
                <c:pt idx="5536">
                  <c:v>57779</c:v>
                </c:pt>
                <c:pt idx="5537">
                  <c:v>115356</c:v>
                </c:pt>
                <c:pt idx="5538">
                  <c:v>60088</c:v>
                </c:pt>
                <c:pt idx="5539">
                  <c:v>43368</c:v>
                </c:pt>
                <c:pt idx="5540">
                  <c:v>63155</c:v>
                </c:pt>
                <c:pt idx="5541">
                  <c:v>54412</c:v>
                </c:pt>
                <c:pt idx="5542">
                  <c:v>27391</c:v>
                </c:pt>
                <c:pt idx="5543">
                  <c:v>42021</c:v>
                </c:pt>
                <c:pt idx="5544">
                  <c:v>34325</c:v>
                </c:pt>
                <c:pt idx="5545">
                  <c:v>43847</c:v>
                </c:pt>
                <c:pt idx="5546">
                  <c:v>27311</c:v>
                </c:pt>
                <c:pt idx="5547">
                  <c:v>215779</c:v>
                </c:pt>
                <c:pt idx="5548">
                  <c:v>108678</c:v>
                </c:pt>
                <c:pt idx="5549">
                  <c:v>125153</c:v>
                </c:pt>
                <c:pt idx="5550">
                  <c:v>107220</c:v>
                </c:pt>
                <c:pt idx="5551">
                  <c:v>62091</c:v>
                </c:pt>
                <c:pt idx="5552">
                  <c:v>39000</c:v>
                </c:pt>
                <c:pt idx="5553">
                  <c:v>26218</c:v>
                </c:pt>
                <c:pt idx="5554">
                  <c:v>70663</c:v>
                </c:pt>
                <c:pt idx="5555">
                  <c:v>47995</c:v>
                </c:pt>
                <c:pt idx="5556">
                  <c:v>216561</c:v>
                </c:pt>
                <c:pt idx="5557">
                  <c:v>25519</c:v>
                </c:pt>
                <c:pt idx="5558">
                  <c:v>27011</c:v>
                </c:pt>
                <c:pt idx="5559">
                  <c:v>93360</c:v>
                </c:pt>
                <c:pt idx="5560">
                  <c:v>29046</c:v>
                </c:pt>
                <c:pt idx="5561">
                  <c:v>27930</c:v>
                </c:pt>
                <c:pt idx="5562">
                  <c:v>24005</c:v>
                </c:pt>
                <c:pt idx="5563">
                  <c:v>34398</c:v>
                </c:pt>
                <c:pt idx="5564">
                  <c:v>23238</c:v>
                </c:pt>
                <c:pt idx="5565">
                  <c:v>37847</c:v>
                </c:pt>
                <c:pt idx="5566">
                  <c:v>27719</c:v>
                </c:pt>
                <c:pt idx="5567">
                  <c:v>32886</c:v>
                </c:pt>
                <c:pt idx="5568">
                  <c:v>112093</c:v>
                </c:pt>
                <c:pt idx="5569">
                  <c:v>86336</c:v>
                </c:pt>
                <c:pt idx="5570">
                  <c:v>273234</c:v>
                </c:pt>
                <c:pt idx="5571">
                  <c:v>39093</c:v>
                </c:pt>
                <c:pt idx="5572">
                  <c:v>146717</c:v>
                </c:pt>
                <c:pt idx="5573">
                  <c:v>72458</c:v>
                </c:pt>
                <c:pt idx="5574">
                  <c:v>38727</c:v>
                </c:pt>
                <c:pt idx="5575">
                  <c:v>63057</c:v>
                </c:pt>
                <c:pt idx="5576">
                  <c:v>27784</c:v>
                </c:pt>
                <c:pt idx="5577">
                  <c:v>94570</c:v>
                </c:pt>
                <c:pt idx="5578">
                  <c:v>35897</c:v>
                </c:pt>
                <c:pt idx="5579">
                  <c:v>112248</c:v>
                </c:pt>
                <c:pt idx="5580">
                  <c:v>86125</c:v>
                </c:pt>
                <c:pt idx="5581">
                  <c:v>36338</c:v>
                </c:pt>
                <c:pt idx="5582">
                  <c:v>15000</c:v>
                </c:pt>
                <c:pt idx="5583">
                  <c:v>41894</c:v>
                </c:pt>
                <c:pt idx="5584">
                  <c:v>96311</c:v>
                </c:pt>
                <c:pt idx="5585">
                  <c:v>453256</c:v>
                </c:pt>
                <c:pt idx="5586">
                  <c:v>28416</c:v>
                </c:pt>
                <c:pt idx="5587">
                  <c:v>51604</c:v>
                </c:pt>
                <c:pt idx="5588">
                  <c:v>118437</c:v>
                </c:pt>
                <c:pt idx="5589">
                  <c:v>39963</c:v>
                </c:pt>
                <c:pt idx="5590">
                  <c:v>55554</c:v>
                </c:pt>
                <c:pt idx="5591">
                  <c:v>38797</c:v>
                </c:pt>
                <c:pt idx="5592">
                  <c:v>51850</c:v>
                </c:pt>
                <c:pt idx="5593">
                  <c:v>41940</c:v>
                </c:pt>
                <c:pt idx="5594">
                  <c:v>22243</c:v>
                </c:pt>
                <c:pt idx="5595">
                  <c:v>40054</c:v>
                </c:pt>
                <c:pt idx="5596">
                  <c:v>25264</c:v>
                </c:pt>
                <c:pt idx="5597">
                  <c:v>27666</c:v>
                </c:pt>
                <c:pt idx="5598">
                  <c:v>47274</c:v>
                </c:pt>
                <c:pt idx="5599">
                  <c:v>71478</c:v>
                </c:pt>
                <c:pt idx="5600">
                  <c:v>31423</c:v>
                </c:pt>
                <c:pt idx="5601">
                  <c:v>156284</c:v>
                </c:pt>
                <c:pt idx="5602">
                  <c:v>93509</c:v>
                </c:pt>
                <c:pt idx="5603">
                  <c:v>24120</c:v>
                </c:pt>
                <c:pt idx="5604">
                  <c:v>159061</c:v>
                </c:pt>
                <c:pt idx="5605">
                  <c:v>50318</c:v>
                </c:pt>
                <c:pt idx="5606">
                  <c:v>172607</c:v>
                </c:pt>
                <c:pt idx="5607">
                  <c:v>44662</c:v>
                </c:pt>
                <c:pt idx="5608">
                  <c:v>39586</c:v>
                </c:pt>
                <c:pt idx="5609">
                  <c:v>133086</c:v>
                </c:pt>
                <c:pt idx="5610">
                  <c:v>40429</c:v>
                </c:pt>
                <c:pt idx="5611">
                  <c:v>56708</c:v>
                </c:pt>
                <c:pt idx="5612">
                  <c:v>85289</c:v>
                </c:pt>
                <c:pt idx="5613">
                  <c:v>24203</c:v>
                </c:pt>
                <c:pt idx="5614">
                  <c:v>38811</c:v>
                </c:pt>
                <c:pt idx="5615">
                  <c:v>75937</c:v>
                </c:pt>
                <c:pt idx="5616">
                  <c:v>63458</c:v>
                </c:pt>
                <c:pt idx="5617">
                  <c:v>63861</c:v>
                </c:pt>
                <c:pt idx="5618">
                  <c:v>67692</c:v>
                </c:pt>
                <c:pt idx="5619">
                  <c:v>60019</c:v>
                </c:pt>
                <c:pt idx="5620">
                  <c:v>48108</c:v>
                </c:pt>
                <c:pt idx="5621">
                  <c:v>77340</c:v>
                </c:pt>
                <c:pt idx="5622">
                  <c:v>42975</c:v>
                </c:pt>
                <c:pt idx="5623">
                  <c:v>39805</c:v>
                </c:pt>
                <c:pt idx="5624">
                  <c:v>42487</c:v>
                </c:pt>
                <c:pt idx="5625">
                  <c:v>39488</c:v>
                </c:pt>
                <c:pt idx="5626">
                  <c:v>31892</c:v>
                </c:pt>
                <c:pt idx="5627">
                  <c:v>28500</c:v>
                </c:pt>
                <c:pt idx="5628">
                  <c:v>97034</c:v>
                </c:pt>
                <c:pt idx="5629">
                  <c:v>40807</c:v>
                </c:pt>
                <c:pt idx="5630">
                  <c:v>71205</c:v>
                </c:pt>
                <c:pt idx="5631">
                  <c:v>27342</c:v>
                </c:pt>
                <c:pt idx="5632">
                  <c:v>201984</c:v>
                </c:pt>
                <c:pt idx="5633">
                  <c:v>44609</c:v>
                </c:pt>
                <c:pt idx="5634">
                  <c:v>68698</c:v>
                </c:pt>
                <c:pt idx="5635">
                  <c:v>36005</c:v>
                </c:pt>
                <c:pt idx="5636">
                  <c:v>97257</c:v>
                </c:pt>
                <c:pt idx="5637">
                  <c:v>98780</c:v>
                </c:pt>
                <c:pt idx="5638">
                  <c:v>58729</c:v>
                </c:pt>
                <c:pt idx="5639">
                  <c:v>64765</c:v>
                </c:pt>
                <c:pt idx="5640">
                  <c:v>37330</c:v>
                </c:pt>
                <c:pt idx="5641">
                  <c:v>49911</c:v>
                </c:pt>
                <c:pt idx="5642">
                  <c:v>207308</c:v>
                </c:pt>
                <c:pt idx="5643">
                  <c:v>53638</c:v>
                </c:pt>
                <c:pt idx="5644">
                  <c:v>38763</c:v>
                </c:pt>
                <c:pt idx="5645">
                  <c:v>39180</c:v>
                </c:pt>
                <c:pt idx="5646">
                  <c:v>37118</c:v>
                </c:pt>
                <c:pt idx="5647">
                  <c:v>39002</c:v>
                </c:pt>
                <c:pt idx="5648">
                  <c:v>25802</c:v>
                </c:pt>
                <c:pt idx="5649">
                  <c:v>103322</c:v>
                </c:pt>
                <c:pt idx="5650">
                  <c:v>29330</c:v>
                </c:pt>
                <c:pt idx="5651">
                  <c:v>40865</c:v>
                </c:pt>
                <c:pt idx="5652">
                  <c:v>178746</c:v>
                </c:pt>
                <c:pt idx="5653">
                  <c:v>38510</c:v>
                </c:pt>
                <c:pt idx="5654">
                  <c:v>61607</c:v>
                </c:pt>
                <c:pt idx="5655">
                  <c:v>101991</c:v>
                </c:pt>
                <c:pt idx="5656">
                  <c:v>108899</c:v>
                </c:pt>
                <c:pt idx="5657">
                  <c:v>35872</c:v>
                </c:pt>
                <c:pt idx="5658">
                  <c:v>55609</c:v>
                </c:pt>
                <c:pt idx="5659">
                  <c:v>39482</c:v>
                </c:pt>
                <c:pt idx="5660">
                  <c:v>108693</c:v>
                </c:pt>
                <c:pt idx="5661">
                  <c:v>41180</c:v>
                </c:pt>
                <c:pt idx="5662">
                  <c:v>33074</c:v>
                </c:pt>
                <c:pt idx="5663">
                  <c:v>49897</c:v>
                </c:pt>
                <c:pt idx="5664">
                  <c:v>56489</c:v>
                </c:pt>
                <c:pt idx="5665">
                  <c:v>180131</c:v>
                </c:pt>
                <c:pt idx="5666">
                  <c:v>45235</c:v>
                </c:pt>
                <c:pt idx="5667">
                  <c:v>25158</c:v>
                </c:pt>
                <c:pt idx="5668">
                  <c:v>106290</c:v>
                </c:pt>
                <c:pt idx="5669">
                  <c:v>42019</c:v>
                </c:pt>
                <c:pt idx="5670">
                  <c:v>64067</c:v>
                </c:pt>
                <c:pt idx="5671">
                  <c:v>81330</c:v>
                </c:pt>
                <c:pt idx="5672">
                  <c:v>50976</c:v>
                </c:pt>
                <c:pt idx="5673">
                  <c:v>65441</c:v>
                </c:pt>
                <c:pt idx="5674">
                  <c:v>63451</c:v>
                </c:pt>
                <c:pt idx="5675">
                  <c:v>27135</c:v>
                </c:pt>
                <c:pt idx="5676">
                  <c:v>42199</c:v>
                </c:pt>
                <c:pt idx="5677">
                  <c:v>48879</c:v>
                </c:pt>
                <c:pt idx="5678">
                  <c:v>35076</c:v>
                </c:pt>
                <c:pt idx="5679">
                  <c:v>31586</c:v>
                </c:pt>
                <c:pt idx="5680">
                  <c:v>46714</c:v>
                </c:pt>
                <c:pt idx="5681">
                  <c:v>46541</c:v>
                </c:pt>
                <c:pt idx="5682">
                  <c:v>35438</c:v>
                </c:pt>
                <c:pt idx="5683">
                  <c:v>42910</c:v>
                </c:pt>
                <c:pt idx="5684">
                  <c:v>45936</c:v>
                </c:pt>
                <c:pt idx="5685">
                  <c:v>36927</c:v>
                </c:pt>
                <c:pt idx="5686">
                  <c:v>33428</c:v>
                </c:pt>
                <c:pt idx="5687">
                  <c:v>37679</c:v>
                </c:pt>
                <c:pt idx="5688">
                  <c:v>41932</c:v>
                </c:pt>
                <c:pt idx="5689">
                  <c:v>23822</c:v>
                </c:pt>
                <c:pt idx="5690">
                  <c:v>34445</c:v>
                </c:pt>
                <c:pt idx="5691">
                  <c:v>136042</c:v>
                </c:pt>
                <c:pt idx="5692">
                  <c:v>58588</c:v>
                </c:pt>
                <c:pt idx="5693">
                  <c:v>43185</c:v>
                </c:pt>
                <c:pt idx="5694">
                  <c:v>54799</c:v>
                </c:pt>
                <c:pt idx="5695">
                  <c:v>49597</c:v>
                </c:pt>
                <c:pt idx="5696">
                  <c:v>34489</c:v>
                </c:pt>
                <c:pt idx="5697">
                  <c:v>75615</c:v>
                </c:pt>
                <c:pt idx="5698">
                  <c:v>284460</c:v>
                </c:pt>
                <c:pt idx="5699">
                  <c:v>87791</c:v>
                </c:pt>
                <c:pt idx="5700">
                  <c:v>38924</c:v>
                </c:pt>
                <c:pt idx="5701">
                  <c:v>38947</c:v>
                </c:pt>
                <c:pt idx="5702">
                  <c:v>48391</c:v>
                </c:pt>
                <c:pt idx="5703">
                  <c:v>53684</c:v>
                </c:pt>
                <c:pt idx="5704">
                  <c:v>28280</c:v>
                </c:pt>
                <c:pt idx="5705">
                  <c:v>25529</c:v>
                </c:pt>
                <c:pt idx="5706">
                  <c:v>44664</c:v>
                </c:pt>
                <c:pt idx="5707">
                  <c:v>29799</c:v>
                </c:pt>
                <c:pt idx="5708">
                  <c:v>48677</c:v>
                </c:pt>
                <c:pt idx="5709">
                  <c:v>32291</c:v>
                </c:pt>
                <c:pt idx="5710">
                  <c:v>15000</c:v>
                </c:pt>
                <c:pt idx="5711">
                  <c:v>51830</c:v>
                </c:pt>
                <c:pt idx="5712">
                  <c:v>37201</c:v>
                </c:pt>
                <c:pt idx="5713">
                  <c:v>56503</c:v>
                </c:pt>
                <c:pt idx="5714">
                  <c:v>22168</c:v>
                </c:pt>
                <c:pt idx="5715">
                  <c:v>127571</c:v>
                </c:pt>
                <c:pt idx="5716">
                  <c:v>38141</c:v>
                </c:pt>
                <c:pt idx="5717">
                  <c:v>41759</c:v>
                </c:pt>
                <c:pt idx="5718">
                  <c:v>107701</c:v>
                </c:pt>
                <c:pt idx="5719">
                  <c:v>138359</c:v>
                </c:pt>
                <c:pt idx="5720">
                  <c:v>63145</c:v>
                </c:pt>
                <c:pt idx="5721">
                  <c:v>41599</c:v>
                </c:pt>
                <c:pt idx="5722">
                  <c:v>65657</c:v>
                </c:pt>
                <c:pt idx="5723">
                  <c:v>208926</c:v>
                </c:pt>
                <c:pt idx="5724">
                  <c:v>45742</c:v>
                </c:pt>
                <c:pt idx="5725">
                  <c:v>216595</c:v>
                </c:pt>
                <c:pt idx="5726">
                  <c:v>64091</c:v>
                </c:pt>
                <c:pt idx="5727">
                  <c:v>24916</c:v>
                </c:pt>
                <c:pt idx="5728">
                  <c:v>88686</c:v>
                </c:pt>
                <c:pt idx="5729">
                  <c:v>32835</c:v>
                </c:pt>
                <c:pt idx="5730">
                  <c:v>56029</c:v>
                </c:pt>
                <c:pt idx="5731">
                  <c:v>37178</c:v>
                </c:pt>
                <c:pt idx="5732">
                  <c:v>78742</c:v>
                </c:pt>
                <c:pt idx="5733">
                  <c:v>33227</c:v>
                </c:pt>
                <c:pt idx="5734">
                  <c:v>30030</c:v>
                </c:pt>
                <c:pt idx="5735">
                  <c:v>40651</c:v>
                </c:pt>
                <c:pt idx="5736">
                  <c:v>33085</c:v>
                </c:pt>
                <c:pt idx="5737">
                  <c:v>32953</c:v>
                </c:pt>
                <c:pt idx="5738">
                  <c:v>61126</c:v>
                </c:pt>
                <c:pt idx="5739">
                  <c:v>180965</c:v>
                </c:pt>
                <c:pt idx="5740">
                  <c:v>50618</c:v>
                </c:pt>
                <c:pt idx="5741">
                  <c:v>42756</c:v>
                </c:pt>
                <c:pt idx="5742">
                  <c:v>46729</c:v>
                </c:pt>
                <c:pt idx="5743">
                  <c:v>39531</c:v>
                </c:pt>
                <c:pt idx="5744">
                  <c:v>43921</c:v>
                </c:pt>
                <c:pt idx="5745">
                  <c:v>68670</c:v>
                </c:pt>
                <c:pt idx="5746">
                  <c:v>135708</c:v>
                </c:pt>
                <c:pt idx="5747">
                  <c:v>28209</c:v>
                </c:pt>
                <c:pt idx="5748">
                  <c:v>44278</c:v>
                </c:pt>
                <c:pt idx="5749">
                  <c:v>119799</c:v>
                </c:pt>
                <c:pt idx="5750">
                  <c:v>89169</c:v>
                </c:pt>
                <c:pt idx="5751">
                  <c:v>67459</c:v>
                </c:pt>
                <c:pt idx="5752">
                  <c:v>67604</c:v>
                </c:pt>
                <c:pt idx="5753">
                  <c:v>139684</c:v>
                </c:pt>
                <c:pt idx="5754">
                  <c:v>68699</c:v>
                </c:pt>
                <c:pt idx="5755">
                  <c:v>129436</c:v>
                </c:pt>
                <c:pt idx="5756">
                  <c:v>82145</c:v>
                </c:pt>
                <c:pt idx="5757">
                  <c:v>108927</c:v>
                </c:pt>
                <c:pt idx="5758">
                  <c:v>42949</c:v>
                </c:pt>
                <c:pt idx="5759">
                  <c:v>31817</c:v>
                </c:pt>
                <c:pt idx="5760">
                  <c:v>34626</c:v>
                </c:pt>
                <c:pt idx="5761">
                  <c:v>45521</c:v>
                </c:pt>
                <c:pt idx="5762">
                  <c:v>29764</c:v>
                </c:pt>
                <c:pt idx="5763">
                  <c:v>28679</c:v>
                </c:pt>
                <c:pt idx="5764">
                  <c:v>87335</c:v>
                </c:pt>
                <c:pt idx="5765">
                  <c:v>145549</c:v>
                </c:pt>
                <c:pt idx="5766">
                  <c:v>41701</c:v>
                </c:pt>
                <c:pt idx="5767">
                  <c:v>47606</c:v>
                </c:pt>
                <c:pt idx="5768">
                  <c:v>44368</c:v>
                </c:pt>
                <c:pt idx="5769">
                  <c:v>39324</c:v>
                </c:pt>
                <c:pt idx="5770">
                  <c:v>48105</c:v>
                </c:pt>
                <c:pt idx="5771">
                  <c:v>47466</c:v>
                </c:pt>
                <c:pt idx="5772">
                  <c:v>36664</c:v>
                </c:pt>
                <c:pt idx="5773">
                  <c:v>51008</c:v>
                </c:pt>
                <c:pt idx="5774">
                  <c:v>25047</c:v>
                </c:pt>
                <c:pt idx="5775">
                  <c:v>65270</c:v>
                </c:pt>
                <c:pt idx="5776">
                  <c:v>51683</c:v>
                </c:pt>
                <c:pt idx="5777">
                  <c:v>84133</c:v>
                </c:pt>
                <c:pt idx="5778">
                  <c:v>24532</c:v>
                </c:pt>
                <c:pt idx="5779">
                  <c:v>119819</c:v>
                </c:pt>
                <c:pt idx="5780">
                  <c:v>22705</c:v>
                </c:pt>
                <c:pt idx="5781">
                  <c:v>26926</c:v>
                </c:pt>
                <c:pt idx="5782">
                  <c:v>22353</c:v>
                </c:pt>
                <c:pt idx="5783">
                  <c:v>26795</c:v>
                </c:pt>
                <c:pt idx="5784">
                  <c:v>42825</c:v>
                </c:pt>
                <c:pt idx="5785">
                  <c:v>44284</c:v>
                </c:pt>
                <c:pt idx="5786">
                  <c:v>43264</c:v>
                </c:pt>
                <c:pt idx="5787">
                  <c:v>30830</c:v>
                </c:pt>
                <c:pt idx="5788">
                  <c:v>57948</c:v>
                </c:pt>
                <c:pt idx="5789">
                  <c:v>36776</c:v>
                </c:pt>
                <c:pt idx="5790">
                  <c:v>32724</c:v>
                </c:pt>
                <c:pt idx="5791">
                  <c:v>24250</c:v>
                </c:pt>
                <c:pt idx="5792">
                  <c:v>58510</c:v>
                </c:pt>
                <c:pt idx="5793">
                  <c:v>39027</c:v>
                </c:pt>
                <c:pt idx="5794">
                  <c:v>48661</c:v>
                </c:pt>
                <c:pt idx="5795">
                  <c:v>45184</c:v>
                </c:pt>
                <c:pt idx="5796">
                  <c:v>38897</c:v>
                </c:pt>
                <c:pt idx="5797">
                  <c:v>45954</c:v>
                </c:pt>
                <c:pt idx="5798">
                  <c:v>32994</c:v>
                </c:pt>
                <c:pt idx="5799">
                  <c:v>79525</c:v>
                </c:pt>
                <c:pt idx="5800">
                  <c:v>125330</c:v>
                </c:pt>
                <c:pt idx="5801">
                  <c:v>42946</c:v>
                </c:pt>
                <c:pt idx="5802">
                  <c:v>198267</c:v>
                </c:pt>
                <c:pt idx="5803">
                  <c:v>25600</c:v>
                </c:pt>
                <c:pt idx="5804">
                  <c:v>48181</c:v>
                </c:pt>
                <c:pt idx="5805">
                  <c:v>49160</c:v>
                </c:pt>
                <c:pt idx="5806">
                  <c:v>81125</c:v>
                </c:pt>
                <c:pt idx="5807">
                  <c:v>296987</c:v>
                </c:pt>
                <c:pt idx="5808">
                  <c:v>51024</c:v>
                </c:pt>
                <c:pt idx="5809">
                  <c:v>32494</c:v>
                </c:pt>
                <c:pt idx="5810">
                  <c:v>76291</c:v>
                </c:pt>
                <c:pt idx="5811">
                  <c:v>23544</c:v>
                </c:pt>
                <c:pt idx="5812">
                  <c:v>32996</c:v>
                </c:pt>
                <c:pt idx="5813">
                  <c:v>35782</c:v>
                </c:pt>
                <c:pt idx="5814">
                  <c:v>45419</c:v>
                </c:pt>
                <c:pt idx="5815">
                  <c:v>42583</c:v>
                </c:pt>
                <c:pt idx="5816">
                  <c:v>26359</c:v>
                </c:pt>
                <c:pt idx="5817">
                  <c:v>30512</c:v>
                </c:pt>
                <c:pt idx="5818">
                  <c:v>54538</c:v>
                </c:pt>
                <c:pt idx="5819">
                  <c:v>22974</c:v>
                </c:pt>
                <c:pt idx="5820">
                  <c:v>33295</c:v>
                </c:pt>
                <c:pt idx="5821">
                  <c:v>52751</c:v>
                </c:pt>
                <c:pt idx="5822">
                  <c:v>52206</c:v>
                </c:pt>
                <c:pt idx="5823">
                  <c:v>37586</c:v>
                </c:pt>
                <c:pt idx="5824">
                  <c:v>24482</c:v>
                </c:pt>
                <c:pt idx="5825">
                  <c:v>27482</c:v>
                </c:pt>
                <c:pt idx="5826">
                  <c:v>45968</c:v>
                </c:pt>
                <c:pt idx="5827">
                  <c:v>63524</c:v>
                </c:pt>
                <c:pt idx="5828">
                  <c:v>97107</c:v>
                </c:pt>
                <c:pt idx="5829">
                  <c:v>29055</c:v>
                </c:pt>
                <c:pt idx="5830">
                  <c:v>24650</c:v>
                </c:pt>
                <c:pt idx="5831">
                  <c:v>114173</c:v>
                </c:pt>
                <c:pt idx="5832">
                  <c:v>24299</c:v>
                </c:pt>
                <c:pt idx="5833">
                  <c:v>56770</c:v>
                </c:pt>
                <c:pt idx="5834">
                  <c:v>32033</c:v>
                </c:pt>
                <c:pt idx="5835">
                  <c:v>251821</c:v>
                </c:pt>
                <c:pt idx="5836">
                  <c:v>65674</c:v>
                </c:pt>
                <c:pt idx="5837">
                  <c:v>79128</c:v>
                </c:pt>
                <c:pt idx="5838">
                  <c:v>59799</c:v>
                </c:pt>
                <c:pt idx="5839">
                  <c:v>46116</c:v>
                </c:pt>
                <c:pt idx="5840">
                  <c:v>54295</c:v>
                </c:pt>
                <c:pt idx="5841">
                  <c:v>64530</c:v>
                </c:pt>
                <c:pt idx="5842">
                  <c:v>36145</c:v>
                </c:pt>
                <c:pt idx="5843">
                  <c:v>98885</c:v>
                </c:pt>
                <c:pt idx="5844">
                  <c:v>105228</c:v>
                </c:pt>
                <c:pt idx="5845">
                  <c:v>38735</c:v>
                </c:pt>
                <c:pt idx="5846">
                  <c:v>30883</c:v>
                </c:pt>
                <c:pt idx="5847">
                  <c:v>36284</c:v>
                </c:pt>
                <c:pt idx="5848">
                  <c:v>46777</c:v>
                </c:pt>
                <c:pt idx="5849">
                  <c:v>61382</c:v>
                </c:pt>
                <c:pt idx="5850">
                  <c:v>56954</c:v>
                </c:pt>
                <c:pt idx="5851">
                  <c:v>29596</c:v>
                </c:pt>
                <c:pt idx="5852">
                  <c:v>45336</c:v>
                </c:pt>
                <c:pt idx="5853">
                  <c:v>39853</c:v>
                </c:pt>
                <c:pt idx="5854">
                  <c:v>145706</c:v>
                </c:pt>
                <c:pt idx="5855">
                  <c:v>26555</c:v>
                </c:pt>
                <c:pt idx="5856">
                  <c:v>28628</c:v>
                </c:pt>
                <c:pt idx="5857">
                  <c:v>26052</c:v>
                </c:pt>
                <c:pt idx="5858">
                  <c:v>68381</c:v>
                </c:pt>
                <c:pt idx="5859">
                  <c:v>32514</c:v>
                </c:pt>
                <c:pt idx="5860">
                  <c:v>37965</c:v>
                </c:pt>
                <c:pt idx="5861">
                  <c:v>83355</c:v>
                </c:pt>
                <c:pt idx="5862">
                  <c:v>121285</c:v>
                </c:pt>
                <c:pt idx="5863">
                  <c:v>111800</c:v>
                </c:pt>
                <c:pt idx="5864">
                  <c:v>35249</c:v>
                </c:pt>
                <c:pt idx="5865">
                  <c:v>65318</c:v>
                </c:pt>
                <c:pt idx="5866">
                  <c:v>94324</c:v>
                </c:pt>
                <c:pt idx="5867">
                  <c:v>71403</c:v>
                </c:pt>
                <c:pt idx="5868">
                  <c:v>36508</c:v>
                </c:pt>
                <c:pt idx="5869">
                  <c:v>84369</c:v>
                </c:pt>
                <c:pt idx="5870">
                  <c:v>54705</c:v>
                </c:pt>
                <c:pt idx="5871">
                  <c:v>24063</c:v>
                </c:pt>
                <c:pt idx="5872">
                  <c:v>51204</c:v>
                </c:pt>
                <c:pt idx="5873">
                  <c:v>35805</c:v>
                </c:pt>
                <c:pt idx="5874">
                  <c:v>25243</c:v>
                </c:pt>
                <c:pt idx="5875">
                  <c:v>178518</c:v>
                </c:pt>
                <c:pt idx="5876">
                  <c:v>38850</c:v>
                </c:pt>
                <c:pt idx="5877">
                  <c:v>125762</c:v>
                </c:pt>
                <c:pt idx="5878">
                  <c:v>44154</c:v>
                </c:pt>
                <c:pt idx="5879">
                  <c:v>59656</c:v>
                </c:pt>
                <c:pt idx="5880">
                  <c:v>80722</c:v>
                </c:pt>
                <c:pt idx="5881">
                  <c:v>52297</c:v>
                </c:pt>
                <c:pt idx="5882">
                  <c:v>38089</c:v>
                </c:pt>
                <c:pt idx="5883">
                  <c:v>101866</c:v>
                </c:pt>
                <c:pt idx="5884">
                  <c:v>30158</c:v>
                </c:pt>
                <c:pt idx="5885">
                  <c:v>37241</c:v>
                </c:pt>
                <c:pt idx="5886">
                  <c:v>46785</c:v>
                </c:pt>
                <c:pt idx="5887">
                  <c:v>195584</c:v>
                </c:pt>
                <c:pt idx="5888">
                  <c:v>54209</c:v>
                </c:pt>
                <c:pt idx="5889">
                  <c:v>39504</c:v>
                </c:pt>
                <c:pt idx="5890">
                  <c:v>93654</c:v>
                </c:pt>
                <c:pt idx="5891">
                  <c:v>79793</c:v>
                </c:pt>
                <c:pt idx="5892">
                  <c:v>128608</c:v>
                </c:pt>
                <c:pt idx="5893">
                  <c:v>31384</c:v>
                </c:pt>
                <c:pt idx="5894">
                  <c:v>85974</c:v>
                </c:pt>
                <c:pt idx="5895">
                  <c:v>52369</c:v>
                </c:pt>
                <c:pt idx="5896">
                  <c:v>49346</c:v>
                </c:pt>
                <c:pt idx="5897">
                  <c:v>42537</c:v>
                </c:pt>
                <c:pt idx="5898">
                  <c:v>176815</c:v>
                </c:pt>
                <c:pt idx="5899">
                  <c:v>38594</c:v>
                </c:pt>
                <c:pt idx="5900">
                  <c:v>50407</c:v>
                </c:pt>
                <c:pt idx="5901">
                  <c:v>25973</c:v>
                </c:pt>
                <c:pt idx="5902">
                  <c:v>36457</c:v>
                </c:pt>
                <c:pt idx="5903">
                  <c:v>43177</c:v>
                </c:pt>
                <c:pt idx="5904">
                  <c:v>41954</c:v>
                </c:pt>
                <c:pt idx="5905">
                  <c:v>27980</c:v>
                </c:pt>
                <c:pt idx="5906">
                  <c:v>41136</c:v>
                </c:pt>
                <c:pt idx="5907">
                  <c:v>40481</c:v>
                </c:pt>
                <c:pt idx="5908">
                  <c:v>56729</c:v>
                </c:pt>
                <c:pt idx="5909">
                  <c:v>62692</c:v>
                </c:pt>
                <c:pt idx="5910">
                  <c:v>20518</c:v>
                </c:pt>
                <c:pt idx="5911">
                  <c:v>23414</c:v>
                </c:pt>
                <c:pt idx="5912">
                  <c:v>29517</c:v>
                </c:pt>
                <c:pt idx="5913">
                  <c:v>55709</c:v>
                </c:pt>
                <c:pt idx="5914">
                  <c:v>52840</c:v>
                </c:pt>
                <c:pt idx="5915">
                  <c:v>51433</c:v>
                </c:pt>
                <c:pt idx="5916">
                  <c:v>83067</c:v>
                </c:pt>
                <c:pt idx="5917">
                  <c:v>25075</c:v>
                </c:pt>
                <c:pt idx="5918">
                  <c:v>54123</c:v>
                </c:pt>
                <c:pt idx="5919">
                  <c:v>33556</c:v>
                </c:pt>
                <c:pt idx="5920">
                  <c:v>28775</c:v>
                </c:pt>
                <c:pt idx="5921">
                  <c:v>179158</c:v>
                </c:pt>
                <c:pt idx="5922">
                  <c:v>85827</c:v>
                </c:pt>
                <c:pt idx="5923">
                  <c:v>35072</c:v>
                </c:pt>
                <c:pt idx="5924">
                  <c:v>71957</c:v>
                </c:pt>
                <c:pt idx="5925">
                  <c:v>122619</c:v>
                </c:pt>
                <c:pt idx="5926">
                  <c:v>79300</c:v>
                </c:pt>
                <c:pt idx="5927">
                  <c:v>28435</c:v>
                </c:pt>
                <c:pt idx="5928">
                  <c:v>28747</c:v>
                </c:pt>
                <c:pt idx="5929">
                  <c:v>51772</c:v>
                </c:pt>
                <c:pt idx="5930">
                  <c:v>54784</c:v>
                </c:pt>
                <c:pt idx="5931">
                  <c:v>33890</c:v>
                </c:pt>
                <c:pt idx="5932">
                  <c:v>87243</c:v>
                </c:pt>
                <c:pt idx="5933">
                  <c:v>53051</c:v>
                </c:pt>
                <c:pt idx="5934">
                  <c:v>28602</c:v>
                </c:pt>
                <c:pt idx="5935">
                  <c:v>62459</c:v>
                </c:pt>
                <c:pt idx="5936">
                  <c:v>25983</c:v>
                </c:pt>
                <c:pt idx="5937">
                  <c:v>43425</c:v>
                </c:pt>
                <c:pt idx="5938">
                  <c:v>79885</c:v>
                </c:pt>
                <c:pt idx="5939">
                  <c:v>121807</c:v>
                </c:pt>
                <c:pt idx="5940">
                  <c:v>32150</c:v>
                </c:pt>
                <c:pt idx="5941">
                  <c:v>27422</c:v>
                </c:pt>
                <c:pt idx="5942">
                  <c:v>38110</c:v>
                </c:pt>
                <c:pt idx="5943">
                  <c:v>56210</c:v>
                </c:pt>
                <c:pt idx="5944">
                  <c:v>126834</c:v>
                </c:pt>
                <c:pt idx="5945">
                  <c:v>29379</c:v>
                </c:pt>
                <c:pt idx="5946">
                  <c:v>35400</c:v>
                </c:pt>
                <c:pt idx="5947">
                  <c:v>42794</c:v>
                </c:pt>
                <c:pt idx="5948">
                  <c:v>42591</c:v>
                </c:pt>
                <c:pt idx="5949">
                  <c:v>43631</c:v>
                </c:pt>
                <c:pt idx="5950">
                  <c:v>34773</c:v>
                </c:pt>
                <c:pt idx="5951">
                  <c:v>84577</c:v>
                </c:pt>
                <c:pt idx="5952">
                  <c:v>42329</c:v>
                </c:pt>
                <c:pt idx="5953">
                  <c:v>137997</c:v>
                </c:pt>
                <c:pt idx="5954">
                  <c:v>83155</c:v>
                </c:pt>
                <c:pt idx="5955">
                  <c:v>147827</c:v>
                </c:pt>
                <c:pt idx="5956">
                  <c:v>53603</c:v>
                </c:pt>
                <c:pt idx="5957">
                  <c:v>40311</c:v>
                </c:pt>
                <c:pt idx="5958">
                  <c:v>27234</c:v>
                </c:pt>
                <c:pt idx="5959">
                  <c:v>255437</c:v>
                </c:pt>
                <c:pt idx="5960">
                  <c:v>44266</c:v>
                </c:pt>
                <c:pt idx="5961">
                  <c:v>34300</c:v>
                </c:pt>
                <c:pt idx="5962">
                  <c:v>93235</c:v>
                </c:pt>
                <c:pt idx="5963">
                  <c:v>142340</c:v>
                </c:pt>
                <c:pt idx="5964">
                  <c:v>55023</c:v>
                </c:pt>
                <c:pt idx="5965">
                  <c:v>95273</c:v>
                </c:pt>
                <c:pt idx="5966">
                  <c:v>36276</c:v>
                </c:pt>
                <c:pt idx="5967">
                  <c:v>20830</c:v>
                </c:pt>
                <c:pt idx="5968">
                  <c:v>191875</c:v>
                </c:pt>
                <c:pt idx="5969">
                  <c:v>50465</c:v>
                </c:pt>
                <c:pt idx="5970">
                  <c:v>92562</c:v>
                </c:pt>
                <c:pt idx="5971">
                  <c:v>44185</c:v>
                </c:pt>
                <c:pt idx="5972">
                  <c:v>27177</c:v>
                </c:pt>
                <c:pt idx="5973">
                  <c:v>63002</c:v>
                </c:pt>
                <c:pt idx="5974">
                  <c:v>410628</c:v>
                </c:pt>
                <c:pt idx="5975">
                  <c:v>24793</c:v>
                </c:pt>
                <c:pt idx="5976">
                  <c:v>58221</c:v>
                </c:pt>
                <c:pt idx="5977">
                  <c:v>92052</c:v>
                </c:pt>
                <c:pt idx="5978">
                  <c:v>36337</c:v>
                </c:pt>
                <c:pt idx="5979">
                  <c:v>24536</c:v>
                </c:pt>
                <c:pt idx="5980">
                  <c:v>24854</c:v>
                </c:pt>
                <c:pt idx="5981">
                  <c:v>43256</c:v>
                </c:pt>
                <c:pt idx="5982">
                  <c:v>25324</c:v>
                </c:pt>
                <c:pt idx="5983">
                  <c:v>55415</c:v>
                </c:pt>
                <c:pt idx="5984">
                  <c:v>30069</c:v>
                </c:pt>
                <c:pt idx="5985">
                  <c:v>26409</c:v>
                </c:pt>
                <c:pt idx="5986">
                  <c:v>42823</c:v>
                </c:pt>
                <c:pt idx="5987">
                  <c:v>40514</c:v>
                </c:pt>
                <c:pt idx="5988">
                  <c:v>106202</c:v>
                </c:pt>
                <c:pt idx="5989">
                  <c:v>26559</c:v>
                </c:pt>
                <c:pt idx="5990">
                  <c:v>90774</c:v>
                </c:pt>
                <c:pt idx="5991">
                  <c:v>42166</c:v>
                </c:pt>
                <c:pt idx="5992">
                  <c:v>23030</c:v>
                </c:pt>
                <c:pt idx="5993">
                  <c:v>161730</c:v>
                </c:pt>
                <c:pt idx="5994">
                  <c:v>334511</c:v>
                </c:pt>
                <c:pt idx="5995">
                  <c:v>37956</c:v>
                </c:pt>
                <c:pt idx="5996">
                  <c:v>56474</c:v>
                </c:pt>
                <c:pt idx="5997">
                  <c:v>101579</c:v>
                </c:pt>
                <c:pt idx="5998">
                  <c:v>25810</c:v>
                </c:pt>
                <c:pt idx="5999">
                  <c:v>35198</c:v>
                </c:pt>
                <c:pt idx="6000">
                  <c:v>52520</c:v>
                </c:pt>
                <c:pt idx="6001">
                  <c:v>55983</c:v>
                </c:pt>
                <c:pt idx="6002">
                  <c:v>42612</c:v>
                </c:pt>
                <c:pt idx="6003">
                  <c:v>22369</c:v>
                </c:pt>
                <c:pt idx="6004">
                  <c:v>48131</c:v>
                </c:pt>
                <c:pt idx="6005">
                  <c:v>39201</c:v>
                </c:pt>
                <c:pt idx="6006">
                  <c:v>44297</c:v>
                </c:pt>
                <c:pt idx="6007">
                  <c:v>37290</c:v>
                </c:pt>
                <c:pt idx="6008">
                  <c:v>38331</c:v>
                </c:pt>
                <c:pt idx="6009">
                  <c:v>174428</c:v>
                </c:pt>
                <c:pt idx="6010">
                  <c:v>124819</c:v>
                </c:pt>
                <c:pt idx="6011">
                  <c:v>26753</c:v>
                </c:pt>
                <c:pt idx="6012">
                  <c:v>46435</c:v>
                </c:pt>
                <c:pt idx="6013">
                  <c:v>50913</c:v>
                </c:pt>
                <c:pt idx="6014">
                  <c:v>64137</c:v>
                </c:pt>
                <c:pt idx="6015">
                  <c:v>43575</c:v>
                </c:pt>
                <c:pt idx="6016">
                  <c:v>28867</c:v>
                </c:pt>
                <c:pt idx="6017">
                  <c:v>44012</c:v>
                </c:pt>
                <c:pt idx="6018">
                  <c:v>94348</c:v>
                </c:pt>
                <c:pt idx="6019">
                  <c:v>28466</c:v>
                </c:pt>
                <c:pt idx="6020">
                  <c:v>30240</c:v>
                </c:pt>
                <c:pt idx="6021">
                  <c:v>39434</c:v>
                </c:pt>
                <c:pt idx="6022">
                  <c:v>31220</c:v>
                </c:pt>
                <c:pt idx="6023">
                  <c:v>54414</c:v>
                </c:pt>
                <c:pt idx="6024">
                  <c:v>23698</c:v>
                </c:pt>
                <c:pt idx="6025">
                  <c:v>26073</c:v>
                </c:pt>
                <c:pt idx="6026">
                  <c:v>26890</c:v>
                </c:pt>
                <c:pt idx="6027">
                  <c:v>87084</c:v>
                </c:pt>
                <c:pt idx="6028">
                  <c:v>37961</c:v>
                </c:pt>
                <c:pt idx="6029">
                  <c:v>26618</c:v>
                </c:pt>
                <c:pt idx="6030">
                  <c:v>47160</c:v>
                </c:pt>
                <c:pt idx="6031">
                  <c:v>53635</c:v>
                </c:pt>
                <c:pt idx="6032">
                  <c:v>202985</c:v>
                </c:pt>
                <c:pt idx="6033">
                  <c:v>65674</c:v>
                </c:pt>
                <c:pt idx="6034">
                  <c:v>43260</c:v>
                </c:pt>
                <c:pt idx="6035">
                  <c:v>45268</c:v>
                </c:pt>
                <c:pt idx="6036">
                  <c:v>48927</c:v>
                </c:pt>
                <c:pt idx="6037">
                  <c:v>31867</c:v>
                </c:pt>
                <c:pt idx="6038">
                  <c:v>51486</c:v>
                </c:pt>
                <c:pt idx="6039">
                  <c:v>133451</c:v>
                </c:pt>
                <c:pt idx="6040">
                  <c:v>49579</c:v>
                </c:pt>
                <c:pt idx="6041">
                  <c:v>54050</c:v>
                </c:pt>
                <c:pt idx="6042">
                  <c:v>140095</c:v>
                </c:pt>
                <c:pt idx="6043">
                  <c:v>50063</c:v>
                </c:pt>
                <c:pt idx="6044">
                  <c:v>34581</c:v>
                </c:pt>
                <c:pt idx="6045">
                  <c:v>61874</c:v>
                </c:pt>
                <c:pt idx="6046">
                  <c:v>275017</c:v>
                </c:pt>
                <c:pt idx="6047">
                  <c:v>92316</c:v>
                </c:pt>
                <c:pt idx="6048">
                  <c:v>60878</c:v>
                </c:pt>
                <c:pt idx="6049">
                  <c:v>43987</c:v>
                </c:pt>
                <c:pt idx="6050">
                  <c:v>28717</c:v>
                </c:pt>
                <c:pt idx="6051">
                  <c:v>54861</c:v>
                </c:pt>
                <c:pt idx="6052">
                  <c:v>25905</c:v>
                </c:pt>
                <c:pt idx="6053">
                  <c:v>259139</c:v>
                </c:pt>
                <c:pt idx="6054">
                  <c:v>107508</c:v>
                </c:pt>
                <c:pt idx="6055">
                  <c:v>54000</c:v>
                </c:pt>
                <c:pt idx="6056">
                  <c:v>27585</c:v>
                </c:pt>
                <c:pt idx="6057">
                  <c:v>43520</c:v>
                </c:pt>
                <c:pt idx="6058">
                  <c:v>31239</c:v>
                </c:pt>
                <c:pt idx="6059">
                  <c:v>106615</c:v>
                </c:pt>
                <c:pt idx="6060">
                  <c:v>39024</c:v>
                </c:pt>
                <c:pt idx="6061">
                  <c:v>45281</c:v>
                </c:pt>
                <c:pt idx="6062">
                  <c:v>155385</c:v>
                </c:pt>
                <c:pt idx="6063">
                  <c:v>41566</c:v>
                </c:pt>
                <c:pt idx="6064">
                  <c:v>66234</c:v>
                </c:pt>
                <c:pt idx="6065">
                  <c:v>117672</c:v>
                </c:pt>
                <c:pt idx="6066">
                  <c:v>189316</c:v>
                </c:pt>
                <c:pt idx="6067">
                  <c:v>69598</c:v>
                </c:pt>
                <c:pt idx="6068">
                  <c:v>73994</c:v>
                </c:pt>
                <c:pt idx="6069">
                  <c:v>29046</c:v>
                </c:pt>
                <c:pt idx="6070">
                  <c:v>71985</c:v>
                </c:pt>
                <c:pt idx="6071">
                  <c:v>127880</c:v>
                </c:pt>
                <c:pt idx="6072">
                  <c:v>52709</c:v>
                </c:pt>
                <c:pt idx="6073">
                  <c:v>54248</c:v>
                </c:pt>
                <c:pt idx="6074">
                  <c:v>52367</c:v>
                </c:pt>
                <c:pt idx="6075">
                  <c:v>111260</c:v>
                </c:pt>
                <c:pt idx="6076">
                  <c:v>83671</c:v>
                </c:pt>
                <c:pt idx="6077">
                  <c:v>25878</c:v>
                </c:pt>
                <c:pt idx="6078">
                  <c:v>30069</c:v>
                </c:pt>
                <c:pt idx="6079">
                  <c:v>44419</c:v>
                </c:pt>
                <c:pt idx="6080">
                  <c:v>43855</c:v>
                </c:pt>
                <c:pt idx="6081">
                  <c:v>21291</c:v>
                </c:pt>
                <c:pt idx="6082">
                  <c:v>29579</c:v>
                </c:pt>
                <c:pt idx="6083">
                  <c:v>56148</c:v>
                </c:pt>
                <c:pt idx="6084">
                  <c:v>74374</c:v>
                </c:pt>
                <c:pt idx="6085">
                  <c:v>43708</c:v>
                </c:pt>
                <c:pt idx="6086">
                  <c:v>49462</c:v>
                </c:pt>
                <c:pt idx="6087">
                  <c:v>143676</c:v>
                </c:pt>
                <c:pt idx="6088">
                  <c:v>93902</c:v>
                </c:pt>
                <c:pt idx="6089">
                  <c:v>38108</c:v>
                </c:pt>
                <c:pt idx="6090">
                  <c:v>50645</c:v>
                </c:pt>
                <c:pt idx="6091">
                  <c:v>23873</c:v>
                </c:pt>
                <c:pt idx="6092">
                  <c:v>45860</c:v>
                </c:pt>
                <c:pt idx="6093">
                  <c:v>114467</c:v>
                </c:pt>
                <c:pt idx="6094">
                  <c:v>193216</c:v>
                </c:pt>
                <c:pt idx="6095">
                  <c:v>32491</c:v>
                </c:pt>
                <c:pt idx="6096">
                  <c:v>40717</c:v>
                </c:pt>
                <c:pt idx="6097">
                  <c:v>32128</c:v>
                </c:pt>
                <c:pt idx="6098">
                  <c:v>35601</c:v>
                </c:pt>
                <c:pt idx="6099">
                  <c:v>36367</c:v>
                </c:pt>
                <c:pt idx="6100">
                  <c:v>41718</c:v>
                </c:pt>
                <c:pt idx="6101">
                  <c:v>30881</c:v>
                </c:pt>
                <c:pt idx="6102">
                  <c:v>37774</c:v>
                </c:pt>
                <c:pt idx="6103">
                  <c:v>59467</c:v>
                </c:pt>
                <c:pt idx="6104">
                  <c:v>144860</c:v>
                </c:pt>
                <c:pt idx="6105">
                  <c:v>74385</c:v>
                </c:pt>
                <c:pt idx="6106">
                  <c:v>28149</c:v>
                </c:pt>
                <c:pt idx="6107">
                  <c:v>172080</c:v>
                </c:pt>
                <c:pt idx="6108">
                  <c:v>35756</c:v>
                </c:pt>
                <c:pt idx="6109">
                  <c:v>65979</c:v>
                </c:pt>
                <c:pt idx="6110">
                  <c:v>42844</c:v>
                </c:pt>
                <c:pt idx="6111">
                  <c:v>79932</c:v>
                </c:pt>
                <c:pt idx="6112">
                  <c:v>37601</c:v>
                </c:pt>
                <c:pt idx="6113">
                  <c:v>567744</c:v>
                </c:pt>
                <c:pt idx="6114">
                  <c:v>45886</c:v>
                </c:pt>
                <c:pt idx="6115">
                  <c:v>32509</c:v>
                </c:pt>
                <c:pt idx="6116">
                  <c:v>54392</c:v>
                </c:pt>
                <c:pt idx="6117">
                  <c:v>28625</c:v>
                </c:pt>
                <c:pt idx="6118">
                  <c:v>52681</c:v>
                </c:pt>
                <c:pt idx="6119">
                  <c:v>60311</c:v>
                </c:pt>
                <c:pt idx="6120">
                  <c:v>109761</c:v>
                </c:pt>
                <c:pt idx="6121">
                  <c:v>32678</c:v>
                </c:pt>
                <c:pt idx="6122">
                  <c:v>31166</c:v>
                </c:pt>
                <c:pt idx="6123">
                  <c:v>192541</c:v>
                </c:pt>
                <c:pt idx="6124">
                  <c:v>123265</c:v>
                </c:pt>
                <c:pt idx="6125">
                  <c:v>53754</c:v>
                </c:pt>
                <c:pt idx="6126">
                  <c:v>61179</c:v>
                </c:pt>
                <c:pt idx="6127">
                  <c:v>54342</c:v>
                </c:pt>
                <c:pt idx="6128">
                  <c:v>99798</c:v>
                </c:pt>
                <c:pt idx="6129">
                  <c:v>279647</c:v>
                </c:pt>
                <c:pt idx="6130">
                  <c:v>22570</c:v>
                </c:pt>
                <c:pt idx="6131">
                  <c:v>36934</c:v>
                </c:pt>
                <c:pt idx="6132">
                  <c:v>25446</c:v>
                </c:pt>
                <c:pt idx="6133">
                  <c:v>67255</c:v>
                </c:pt>
                <c:pt idx="6134">
                  <c:v>59481</c:v>
                </c:pt>
                <c:pt idx="6135">
                  <c:v>46031</c:v>
                </c:pt>
                <c:pt idx="6136">
                  <c:v>23258</c:v>
                </c:pt>
                <c:pt idx="6137">
                  <c:v>42108</c:v>
                </c:pt>
                <c:pt idx="6138">
                  <c:v>46647</c:v>
                </c:pt>
                <c:pt idx="6139">
                  <c:v>80604</c:v>
                </c:pt>
                <c:pt idx="6140">
                  <c:v>65630</c:v>
                </c:pt>
                <c:pt idx="6141">
                  <c:v>87334</c:v>
                </c:pt>
                <c:pt idx="6142">
                  <c:v>20895</c:v>
                </c:pt>
                <c:pt idx="6143">
                  <c:v>40140</c:v>
                </c:pt>
                <c:pt idx="6144">
                  <c:v>43607</c:v>
                </c:pt>
                <c:pt idx="6145">
                  <c:v>44426</c:v>
                </c:pt>
                <c:pt idx="6146">
                  <c:v>53182</c:v>
                </c:pt>
                <c:pt idx="6147">
                  <c:v>359539</c:v>
                </c:pt>
                <c:pt idx="6148">
                  <c:v>23030</c:v>
                </c:pt>
                <c:pt idx="6149">
                  <c:v>42718</c:v>
                </c:pt>
                <c:pt idx="6150">
                  <c:v>35351</c:v>
                </c:pt>
                <c:pt idx="6151">
                  <c:v>58181</c:v>
                </c:pt>
                <c:pt idx="6152">
                  <c:v>75974</c:v>
                </c:pt>
                <c:pt idx="6153">
                  <c:v>43523</c:v>
                </c:pt>
                <c:pt idx="6154">
                  <c:v>52258</c:v>
                </c:pt>
                <c:pt idx="6155">
                  <c:v>41047</c:v>
                </c:pt>
                <c:pt idx="6156">
                  <c:v>95968</c:v>
                </c:pt>
                <c:pt idx="6157">
                  <c:v>163798</c:v>
                </c:pt>
                <c:pt idx="6158">
                  <c:v>73372</c:v>
                </c:pt>
                <c:pt idx="6159">
                  <c:v>60971</c:v>
                </c:pt>
                <c:pt idx="6160">
                  <c:v>97641</c:v>
                </c:pt>
                <c:pt idx="6161">
                  <c:v>36765</c:v>
                </c:pt>
                <c:pt idx="6162">
                  <c:v>30915</c:v>
                </c:pt>
                <c:pt idx="6163">
                  <c:v>40607</c:v>
                </c:pt>
                <c:pt idx="6164">
                  <c:v>32297</c:v>
                </c:pt>
                <c:pt idx="6165">
                  <c:v>40217</c:v>
                </c:pt>
                <c:pt idx="6166">
                  <c:v>103210</c:v>
                </c:pt>
                <c:pt idx="6167">
                  <c:v>250008</c:v>
                </c:pt>
                <c:pt idx="6168">
                  <c:v>47757</c:v>
                </c:pt>
                <c:pt idx="6169">
                  <c:v>38091</c:v>
                </c:pt>
                <c:pt idx="6170">
                  <c:v>35465</c:v>
                </c:pt>
                <c:pt idx="6171">
                  <c:v>183266</c:v>
                </c:pt>
                <c:pt idx="6172">
                  <c:v>26186</c:v>
                </c:pt>
                <c:pt idx="6173">
                  <c:v>43971</c:v>
                </c:pt>
                <c:pt idx="6174">
                  <c:v>36349</c:v>
                </c:pt>
                <c:pt idx="6175">
                  <c:v>38498</c:v>
                </c:pt>
                <c:pt idx="6176">
                  <c:v>33051</c:v>
                </c:pt>
                <c:pt idx="6177">
                  <c:v>40191</c:v>
                </c:pt>
                <c:pt idx="6178">
                  <c:v>31561</c:v>
                </c:pt>
                <c:pt idx="6179">
                  <c:v>37835</c:v>
                </c:pt>
                <c:pt idx="6180">
                  <c:v>38820</c:v>
                </c:pt>
                <c:pt idx="6181">
                  <c:v>95291</c:v>
                </c:pt>
                <c:pt idx="6182">
                  <c:v>42734</c:v>
                </c:pt>
                <c:pt idx="6183">
                  <c:v>28368</c:v>
                </c:pt>
                <c:pt idx="6184">
                  <c:v>82991</c:v>
                </c:pt>
                <c:pt idx="6185">
                  <c:v>33931</c:v>
                </c:pt>
                <c:pt idx="6186">
                  <c:v>75433</c:v>
                </c:pt>
                <c:pt idx="6187">
                  <c:v>39919</c:v>
                </c:pt>
                <c:pt idx="6188">
                  <c:v>95458</c:v>
                </c:pt>
                <c:pt idx="6189">
                  <c:v>35393</c:v>
                </c:pt>
                <c:pt idx="6190">
                  <c:v>495254</c:v>
                </c:pt>
                <c:pt idx="6191">
                  <c:v>31278</c:v>
                </c:pt>
                <c:pt idx="6192">
                  <c:v>41555</c:v>
                </c:pt>
                <c:pt idx="6193">
                  <c:v>39249</c:v>
                </c:pt>
                <c:pt idx="6194">
                  <c:v>87078</c:v>
                </c:pt>
                <c:pt idx="6195">
                  <c:v>139928</c:v>
                </c:pt>
                <c:pt idx="6196">
                  <c:v>48229</c:v>
                </c:pt>
                <c:pt idx="6197">
                  <c:v>62226</c:v>
                </c:pt>
                <c:pt idx="6198">
                  <c:v>28677</c:v>
                </c:pt>
                <c:pt idx="6199">
                  <c:v>91045</c:v>
                </c:pt>
                <c:pt idx="6200">
                  <c:v>47365</c:v>
                </c:pt>
                <c:pt idx="6201">
                  <c:v>47503</c:v>
                </c:pt>
                <c:pt idx="6202">
                  <c:v>29392</c:v>
                </c:pt>
                <c:pt idx="6203">
                  <c:v>46522</c:v>
                </c:pt>
                <c:pt idx="6204">
                  <c:v>45146</c:v>
                </c:pt>
                <c:pt idx="6205">
                  <c:v>193307</c:v>
                </c:pt>
                <c:pt idx="6206">
                  <c:v>55438</c:v>
                </c:pt>
                <c:pt idx="6207">
                  <c:v>42023</c:v>
                </c:pt>
                <c:pt idx="6208">
                  <c:v>31621</c:v>
                </c:pt>
                <c:pt idx="6209">
                  <c:v>52728</c:v>
                </c:pt>
                <c:pt idx="6210">
                  <c:v>28167</c:v>
                </c:pt>
                <c:pt idx="6211">
                  <c:v>25546</c:v>
                </c:pt>
                <c:pt idx="6212">
                  <c:v>35134</c:v>
                </c:pt>
                <c:pt idx="6213">
                  <c:v>131484</c:v>
                </c:pt>
                <c:pt idx="6214">
                  <c:v>36275</c:v>
                </c:pt>
                <c:pt idx="6215">
                  <c:v>85963</c:v>
                </c:pt>
                <c:pt idx="6216">
                  <c:v>50143</c:v>
                </c:pt>
                <c:pt idx="6217">
                  <c:v>75230</c:v>
                </c:pt>
                <c:pt idx="6218">
                  <c:v>56109</c:v>
                </c:pt>
                <c:pt idx="6219">
                  <c:v>23670</c:v>
                </c:pt>
                <c:pt idx="6220">
                  <c:v>34170</c:v>
                </c:pt>
                <c:pt idx="6221">
                  <c:v>123921</c:v>
                </c:pt>
                <c:pt idx="6222">
                  <c:v>111246</c:v>
                </c:pt>
                <c:pt idx="6223">
                  <c:v>47190</c:v>
                </c:pt>
                <c:pt idx="6224">
                  <c:v>69105</c:v>
                </c:pt>
                <c:pt idx="6225">
                  <c:v>93129</c:v>
                </c:pt>
                <c:pt idx="6226">
                  <c:v>35325</c:v>
                </c:pt>
                <c:pt idx="6227">
                  <c:v>21942</c:v>
                </c:pt>
                <c:pt idx="6228">
                  <c:v>73940</c:v>
                </c:pt>
                <c:pt idx="6229">
                  <c:v>25919</c:v>
                </c:pt>
                <c:pt idx="6230">
                  <c:v>32310</c:v>
                </c:pt>
                <c:pt idx="6231">
                  <c:v>38136</c:v>
                </c:pt>
                <c:pt idx="6232">
                  <c:v>48380</c:v>
                </c:pt>
                <c:pt idx="6233">
                  <c:v>55969</c:v>
                </c:pt>
                <c:pt idx="6234">
                  <c:v>32957</c:v>
                </c:pt>
                <c:pt idx="6235">
                  <c:v>51172</c:v>
                </c:pt>
                <c:pt idx="6236">
                  <c:v>90441</c:v>
                </c:pt>
                <c:pt idx="6237">
                  <c:v>44900</c:v>
                </c:pt>
                <c:pt idx="6238">
                  <c:v>39915</c:v>
                </c:pt>
                <c:pt idx="6239">
                  <c:v>208325</c:v>
                </c:pt>
                <c:pt idx="6240">
                  <c:v>29867</c:v>
                </c:pt>
                <c:pt idx="6241">
                  <c:v>45556</c:v>
                </c:pt>
                <c:pt idx="6242">
                  <c:v>31465</c:v>
                </c:pt>
                <c:pt idx="6243">
                  <c:v>32594</c:v>
                </c:pt>
                <c:pt idx="6244">
                  <c:v>50859</c:v>
                </c:pt>
                <c:pt idx="6245">
                  <c:v>119382</c:v>
                </c:pt>
                <c:pt idx="6246">
                  <c:v>42250</c:v>
                </c:pt>
                <c:pt idx="6247">
                  <c:v>32850</c:v>
                </c:pt>
                <c:pt idx="6248">
                  <c:v>44126</c:v>
                </c:pt>
                <c:pt idx="6249">
                  <c:v>131527</c:v>
                </c:pt>
                <c:pt idx="6250">
                  <c:v>155161</c:v>
                </c:pt>
                <c:pt idx="6251">
                  <c:v>47490</c:v>
                </c:pt>
                <c:pt idx="6252">
                  <c:v>38224</c:v>
                </c:pt>
                <c:pt idx="6253">
                  <c:v>31842</c:v>
                </c:pt>
                <c:pt idx="6254">
                  <c:v>88854</c:v>
                </c:pt>
                <c:pt idx="6255">
                  <c:v>41896</c:v>
                </c:pt>
                <c:pt idx="6256">
                  <c:v>102660</c:v>
                </c:pt>
                <c:pt idx="6257">
                  <c:v>40790</c:v>
                </c:pt>
                <c:pt idx="6258">
                  <c:v>84142</c:v>
                </c:pt>
                <c:pt idx="6259">
                  <c:v>37932</c:v>
                </c:pt>
                <c:pt idx="6260">
                  <c:v>66550</c:v>
                </c:pt>
                <c:pt idx="6261">
                  <c:v>44350</c:v>
                </c:pt>
                <c:pt idx="6262">
                  <c:v>30723</c:v>
                </c:pt>
                <c:pt idx="6263">
                  <c:v>41050</c:v>
                </c:pt>
                <c:pt idx="6264">
                  <c:v>50737</c:v>
                </c:pt>
                <c:pt idx="6265">
                  <c:v>41785</c:v>
                </c:pt>
                <c:pt idx="6266">
                  <c:v>72168</c:v>
                </c:pt>
                <c:pt idx="6267">
                  <c:v>39160</c:v>
                </c:pt>
                <c:pt idx="6268">
                  <c:v>37575</c:v>
                </c:pt>
                <c:pt idx="6269">
                  <c:v>59060</c:v>
                </c:pt>
                <c:pt idx="6270">
                  <c:v>31934</c:v>
                </c:pt>
                <c:pt idx="6271">
                  <c:v>59267</c:v>
                </c:pt>
                <c:pt idx="6272">
                  <c:v>35649</c:v>
                </c:pt>
                <c:pt idx="6273">
                  <c:v>85441</c:v>
                </c:pt>
                <c:pt idx="6274">
                  <c:v>68049</c:v>
                </c:pt>
                <c:pt idx="6275">
                  <c:v>42292</c:v>
                </c:pt>
                <c:pt idx="6276">
                  <c:v>36176</c:v>
                </c:pt>
                <c:pt idx="6277">
                  <c:v>52938</c:v>
                </c:pt>
                <c:pt idx="6278">
                  <c:v>83338</c:v>
                </c:pt>
                <c:pt idx="6279">
                  <c:v>25844</c:v>
                </c:pt>
                <c:pt idx="6280">
                  <c:v>36880</c:v>
                </c:pt>
                <c:pt idx="6281">
                  <c:v>52384</c:v>
                </c:pt>
                <c:pt idx="6282">
                  <c:v>44683</c:v>
                </c:pt>
                <c:pt idx="6283">
                  <c:v>44981</c:v>
                </c:pt>
                <c:pt idx="6284">
                  <c:v>71478</c:v>
                </c:pt>
                <c:pt idx="6285">
                  <c:v>59257</c:v>
                </c:pt>
                <c:pt idx="6286">
                  <c:v>206058</c:v>
                </c:pt>
                <c:pt idx="6287">
                  <c:v>38819</c:v>
                </c:pt>
                <c:pt idx="6288">
                  <c:v>67602</c:v>
                </c:pt>
                <c:pt idx="6289">
                  <c:v>40991</c:v>
                </c:pt>
                <c:pt idx="6290">
                  <c:v>25789</c:v>
                </c:pt>
                <c:pt idx="6291">
                  <c:v>117357</c:v>
                </c:pt>
                <c:pt idx="6292">
                  <c:v>48720</c:v>
                </c:pt>
                <c:pt idx="6293">
                  <c:v>108631</c:v>
                </c:pt>
                <c:pt idx="6294">
                  <c:v>35886</c:v>
                </c:pt>
                <c:pt idx="6295">
                  <c:v>34570</c:v>
                </c:pt>
                <c:pt idx="6296">
                  <c:v>25216</c:v>
                </c:pt>
                <c:pt idx="6297">
                  <c:v>20356</c:v>
                </c:pt>
                <c:pt idx="6298">
                  <c:v>43954</c:v>
                </c:pt>
                <c:pt idx="6299">
                  <c:v>73870</c:v>
                </c:pt>
                <c:pt idx="6300">
                  <c:v>108744</c:v>
                </c:pt>
                <c:pt idx="6301">
                  <c:v>49171</c:v>
                </c:pt>
                <c:pt idx="6302">
                  <c:v>276558</c:v>
                </c:pt>
                <c:pt idx="6303">
                  <c:v>56950</c:v>
                </c:pt>
                <c:pt idx="6304">
                  <c:v>41915</c:v>
                </c:pt>
                <c:pt idx="6305">
                  <c:v>37109</c:v>
                </c:pt>
                <c:pt idx="6306">
                  <c:v>27636</c:v>
                </c:pt>
                <c:pt idx="6307">
                  <c:v>83907</c:v>
                </c:pt>
                <c:pt idx="6308">
                  <c:v>34771</c:v>
                </c:pt>
                <c:pt idx="6309">
                  <c:v>38267</c:v>
                </c:pt>
                <c:pt idx="6310">
                  <c:v>73372</c:v>
                </c:pt>
                <c:pt idx="6311">
                  <c:v>34971</c:v>
                </c:pt>
                <c:pt idx="6312">
                  <c:v>37289</c:v>
                </c:pt>
                <c:pt idx="6313">
                  <c:v>218260</c:v>
                </c:pt>
                <c:pt idx="6314">
                  <c:v>81985</c:v>
                </c:pt>
                <c:pt idx="6315">
                  <c:v>167936</c:v>
                </c:pt>
                <c:pt idx="6316">
                  <c:v>50011</c:v>
                </c:pt>
                <c:pt idx="6317">
                  <c:v>63555</c:v>
                </c:pt>
                <c:pt idx="6318">
                  <c:v>304458</c:v>
                </c:pt>
                <c:pt idx="6319">
                  <c:v>50832</c:v>
                </c:pt>
                <c:pt idx="6320">
                  <c:v>39170</c:v>
                </c:pt>
                <c:pt idx="6321">
                  <c:v>41446</c:v>
                </c:pt>
                <c:pt idx="6322">
                  <c:v>91562</c:v>
                </c:pt>
                <c:pt idx="6323">
                  <c:v>37305</c:v>
                </c:pt>
                <c:pt idx="6324">
                  <c:v>60825</c:v>
                </c:pt>
                <c:pt idx="6325">
                  <c:v>53676</c:v>
                </c:pt>
                <c:pt idx="6326">
                  <c:v>32270</c:v>
                </c:pt>
                <c:pt idx="6327">
                  <c:v>26515</c:v>
                </c:pt>
                <c:pt idx="6328">
                  <c:v>121192</c:v>
                </c:pt>
                <c:pt idx="6329">
                  <c:v>34485</c:v>
                </c:pt>
                <c:pt idx="6330">
                  <c:v>55849</c:v>
                </c:pt>
                <c:pt idx="6331">
                  <c:v>82286</c:v>
                </c:pt>
                <c:pt idx="6332">
                  <c:v>36178</c:v>
                </c:pt>
                <c:pt idx="6333">
                  <c:v>63720</c:v>
                </c:pt>
                <c:pt idx="6334">
                  <c:v>29522</c:v>
                </c:pt>
                <c:pt idx="6335">
                  <c:v>32536</c:v>
                </c:pt>
                <c:pt idx="6336">
                  <c:v>38079</c:v>
                </c:pt>
                <c:pt idx="6337">
                  <c:v>32569</c:v>
                </c:pt>
                <c:pt idx="6338">
                  <c:v>34454</c:v>
                </c:pt>
                <c:pt idx="6339">
                  <c:v>123535</c:v>
                </c:pt>
                <c:pt idx="6340">
                  <c:v>64353</c:v>
                </c:pt>
                <c:pt idx="6341">
                  <c:v>55682</c:v>
                </c:pt>
                <c:pt idx="6342">
                  <c:v>23703</c:v>
                </c:pt>
                <c:pt idx="6343">
                  <c:v>50789</c:v>
                </c:pt>
                <c:pt idx="6344">
                  <c:v>46184</c:v>
                </c:pt>
                <c:pt idx="6345">
                  <c:v>43814</c:v>
                </c:pt>
                <c:pt idx="6346">
                  <c:v>82981</c:v>
                </c:pt>
                <c:pt idx="6347">
                  <c:v>34177</c:v>
                </c:pt>
                <c:pt idx="6348">
                  <c:v>27245</c:v>
                </c:pt>
                <c:pt idx="6349">
                  <c:v>22454</c:v>
                </c:pt>
                <c:pt idx="6350">
                  <c:v>49655</c:v>
                </c:pt>
                <c:pt idx="6351">
                  <c:v>26310</c:v>
                </c:pt>
                <c:pt idx="6352">
                  <c:v>62606</c:v>
                </c:pt>
                <c:pt idx="6353">
                  <c:v>34536</c:v>
                </c:pt>
                <c:pt idx="6354">
                  <c:v>25398</c:v>
                </c:pt>
                <c:pt idx="6355">
                  <c:v>130758</c:v>
                </c:pt>
                <c:pt idx="6356">
                  <c:v>84086</c:v>
                </c:pt>
                <c:pt idx="6357">
                  <c:v>49053</c:v>
                </c:pt>
                <c:pt idx="6358">
                  <c:v>104404</c:v>
                </c:pt>
                <c:pt idx="6359">
                  <c:v>36499</c:v>
                </c:pt>
                <c:pt idx="6360">
                  <c:v>28315</c:v>
                </c:pt>
                <c:pt idx="6361">
                  <c:v>50719</c:v>
                </c:pt>
                <c:pt idx="6362">
                  <c:v>33826</c:v>
                </c:pt>
                <c:pt idx="6363">
                  <c:v>40133</c:v>
                </c:pt>
                <c:pt idx="6364">
                  <c:v>25188</c:v>
                </c:pt>
                <c:pt idx="6365">
                  <c:v>63891</c:v>
                </c:pt>
                <c:pt idx="6366">
                  <c:v>23899</c:v>
                </c:pt>
                <c:pt idx="6367">
                  <c:v>118800</c:v>
                </c:pt>
                <c:pt idx="6368">
                  <c:v>27262</c:v>
                </c:pt>
                <c:pt idx="6369">
                  <c:v>72413</c:v>
                </c:pt>
                <c:pt idx="6370">
                  <c:v>113873</c:v>
                </c:pt>
                <c:pt idx="6371">
                  <c:v>55643</c:v>
                </c:pt>
                <c:pt idx="6372">
                  <c:v>45576</c:v>
                </c:pt>
                <c:pt idx="6373">
                  <c:v>192908</c:v>
                </c:pt>
                <c:pt idx="6374">
                  <c:v>23028</c:v>
                </c:pt>
                <c:pt idx="6375">
                  <c:v>26271</c:v>
                </c:pt>
                <c:pt idx="6376">
                  <c:v>45376</c:v>
                </c:pt>
                <c:pt idx="6377">
                  <c:v>37071</c:v>
                </c:pt>
                <c:pt idx="6378">
                  <c:v>70091</c:v>
                </c:pt>
                <c:pt idx="6379">
                  <c:v>37377</c:v>
                </c:pt>
                <c:pt idx="6380">
                  <c:v>59256</c:v>
                </c:pt>
                <c:pt idx="6381">
                  <c:v>105892</c:v>
                </c:pt>
                <c:pt idx="6382">
                  <c:v>57055</c:v>
                </c:pt>
                <c:pt idx="6383">
                  <c:v>139810</c:v>
                </c:pt>
                <c:pt idx="6384">
                  <c:v>55268</c:v>
                </c:pt>
                <c:pt idx="6385">
                  <c:v>36003</c:v>
                </c:pt>
                <c:pt idx="6386">
                  <c:v>94212</c:v>
                </c:pt>
                <c:pt idx="6387">
                  <c:v>31626</c:v>
                </c:pt>
                <c:pt idx="6388">
                  <c:v>45056</c:v>
                </c:pt>
                <c:pt idx="6389">
                  <c:v>36160</c:v>
                </c:pt>
                <c:pt idx="6390">
                  <c:v>44090</c:v>
                </c:pt>
                <c:pt idx="6391">
                  <c:v>33429</c:v>
                </c:pt>
                <c:pt idx="6392">
                  <c:v>37607</c:v>
                </c:pt>
                <c:pt idx="6393">
                  <c:v>33755</c:v>
                </c:pt>
                <c:pt idx="6394">
                  <c:v>39845</c:v>
                </c:pt>
                <c:pt idx="6395">
                  <c:v>32763</c:v>
                </c:pt>
                <c:pt idx="6396">
                  <c:v>26366</c:v>
                </c:pt>
                <c:pt idx="6397">
                  <c:v>29561</c:v>
                </c:pt>
                <c:pt idx="6398">
                  <c:v>47649</c:v>
                </c:pt>
                <c:pt idx="6399">
                  <c:v>43239</c:v>
                </c:pt>
                <c:pt idx="6400">
                  <c:v>47152</c:v>
                </c:pt>
                <c:pt idx="6401">
                  <c:v>162744</c:v>
                </c:pt>
                <c:pt idx="6402">
                  <c:v>26853</c:v>
                </c:pt>
                <c:pt idx="6403">
                  <c:v>129171</c:v>
                </c:pt>
                <c:pt idx="6404">
                  <c:v>38116</c:v>
                </c:pt>
                <c:pt idx="6405">
                  <c:v>240155</c:v>
                </c:pt>
                <c:pt idx="6406">
                  <c:v>33073</c:v>
                </c:pt>
                <c:pt idx="6407">
                  <c:v>63607</c:v>
                </c:pt>
                <c:pt idx="6408">
                  <c:v>64179</c:v>
                </c:pt>
                <c:pt idx="6409">
                  <c:v>46961</c:v>
                </c:pt>
                <c:pt idx="6410">
                  <c:v>26529</c:v>
                </c:pt>
                <c:pt idx="6411">
                  <c:v>44158</c:v>
                </c:pt>
                <c:pt idx="6412">
                  <c:v>91858</c:v>
                </c:pt>
                <c:pt idx="6413">
                  <c:v>56640</c:v>
                </c:pt>
                <c:pt idx="6414">
                  <c:v>36933</c:v>
                </c:pt>
                <c:pt idx="6415">
                  <c:v>35554</c:v>
                </c:pt>
                <c:pt idx="6416">
                  <c:v>40736</c:v>
                </c:pt>
                <c:pt idx="6417">
                  <c:v>77379</c:v>
                </c:pt>
                <c:pt idx="6418">
                  <c:v>387296</c:v>
                </c:pt>
                <c:pt idx="6419">
                  <c:v>38808</c:v>
                </c:pt>
                <c:pt idx="6420">
                  <c:v>27791</c:v>
                </c:pt>
                <c:pt idx="6421">
                  <c:v>45300</c:v>
                </c:pt>
                <c:pt idx="6422">
                  <c:v>81964</c:v>
                </c:pt>
                <c:pt idx="6423">
                  <c:v>46607</c:v>
                </c:pt>
                <c:pt idx="6424">
                  <c:v>59768</c:v>
                </c:pt>
                <c:pt idx="6425">
                  <c:v>103753</c:v>
                </c:pt>
                <c:pt idx="6426">
                  <c:v>23373</c:v>
                </c:pt>
                <c:pt idx="6427">
                  <c:v>28281</c:v>
                </c:pt>
                <c:pt idx="6428">
                  <c:v>31506</c:v>
                </c:pt>
                <c:pt idx="6429">
                  <c:v>97272</c:v>
                </c:pt>
                <c:pt idx="6430">
                  <c:v>22607</c:v>
                </c:pt>
                <c:pt idx="6431">
                  <c:v>49035</c:v>
                </c:pt>
                <c:pt idx="6432">
                  <c:v>58886</c:v>
                </c:pt>
                <c:pt idx="6433">
                  <c:v>80881</c:v>
                </c:pt>
                <c:pt idx="6434">
                  <c:v>50060</c:v>
                </c:pt>
                <c:pt idx="6435">
                  <c:v>102700</c:v>
                </c:pt>
                <c:pt idx="6436">
                  <c:v>130121</c:v>
                </c:pt>
                <c:pt idx="6437">
                  <c:v>31109</c:v>
                </c:pt>
                <c:pt idx="6438">
                  <c:v>20692</c:v>
                </c:pt>
                <c:pt idx="6439">
                  <c:v>139236</c:v>
                </c:pt>
                <c:pt idx="6440">
                  <c:v>43038</c:v>
                </c:pt>
                <c:pt idx="6441">
                  <c:v>59378</c:v>
                </c:pt>
                <c:pt idx="6442">
                  <c:v>209094</c:v>
                </c:pt>
                <c:pt idx="6443">
                  <c:v>25828</c:v>
                </c:pt>
                <c:pt idx="6444">
                  <c:v>27936</c:v>
                </c:pt>
                <c:pt idx="6445">
                  <c:v>332014</c:v>
                </c:pt>
                <c:pt idx="6446">
                  <c:v>34576</c:v>
                </c:pt>
                <c:pt idx="6447">
                  <c:v>45463</c:v>
                </c:pt>
                <c:pt idx="6448">
                  <c:v>36193</c:v>
                </c:pt>
                <c:pt idx="6449">
                  <c:v>26322</c:v>
                </c:pt>
                <c:pt idx="6450">
                  <c:v>27800</c:v>
                </c:pt>
                <c:pt idx="6451">
                  <c:v>174001</c:v>
                </c:pt>
                <c:pt idx="6452">
                  <c:v>37665</c:v>
                </c:pt>
                <c:pt idx="6453">
                  <c:v>95481</c:v>
                </c:pt>
                <c:pt idx="6454">
                  <c:v>15000</c:v>
                </c:pt>
                <c:pt idx="6455">
                  <c:v>46841</c:v>
                </c:pt>
                <c:pt idx="6456">
                  <c:v>22882</c:v>
                </c:pt>
                <c:pt idx="6457">
                  <c:v>107737</c:v>
                </c:pt>
                <c:pt idx="6458">
                  <c:v>32898</c:v>
                </c:pt>
                <c:pt idx="6459">
                  <c:v>48363</c:v>
                </c:pt>
                <c:pt idx="6460">
                  <c:v>40617</c:v>
                </c:pt>
                <c:pt idx="6461">
                  <c:v>61783</c:v>
                </c:pt>
                <c:pt idx="6462">
                  <c:v>46963</c:v>
                </c:pt>
                <c:pt idx="6463">
                  <c:v>52369</c:v>
                </c:pt>
                <c:pt idx="6464">
                  <c:v>44101</c:v>
                </c:pt>
                <c:pt idx="6465">
                  <c:v>98697</c:v>
                </c:pt>
                <c:pt idx="6466">
                  <c:v>49710</c:v>
                </c:pt>
                <c:pt idx="6467">
                  <c:v>69386</c:v>
                </c:pt>
                <c:pt idx="6468">
                  <c:v>57762</c:v>
                </c:pt>
                <c:pt idx="6469">
                  <c:v>42694</c:v>
                </c:pt>
                <c:pt idx="6470">
                  <c:v>39817</c:v>
                </c:pt>
                <c:pt idx="6471">
                  <c:v>25248</c:v>
                </c:pt>
                <c:pt idx="6472">
                  <c:v>34138</c:v>
                </c:pt>
                <c:pt idx="6473">
                  <c:v>29153</c:v>
                </c:pt>
                <c:pt idx="6474">
                  <c:v>47436</c:v>
                </c:pt>
                <c:pt idx="6475">
                  <c:v>70916</c:v>
                </c:pt>
                <c:pt idx="6476">
                  <c:v>37443</c:v>
                </c:pt>
                <c:pt idx="6477">
                  <c:v>86372</c:v>
                </c:pt>
                <c:pt idx="6478">
                  <c:v>44342</c:v>
                </c:pt>
                <c:pt idx="6479">
                  <c:v>225055</c:v>
                </c:pt>
                <c:pt idx="6480">
                  <c:v>169190</c:v>
                </c:pt>
                <c:pt idx="6481">
                  <c:v>43841</c:v>
                </c:pt>
                <c:pt idx="6482">
                  <c:v>25433</c:v>
                </c:pt>
                <c:pt idx="6483">
                  <c:v>53670</c:v>
                </c:pt>
                <c:pt idx="6484">
                  <c:v>166721</c:v>
                </c:pt>
                <c:pt idx="6485">
                  <c:v>51538</c:v>
                </c:pt>
                <c:pt idx="6486">
                  <c:v>89306</c:v>
                </c:pt>
                <c:pt idx="6487">
                  <c:v>45887</c:v>
                </c:pt>
                <c:pt idx="6488">
                  <c:v>55920</c:v>
                </c:pt>
                <c:pt idx="6489">
                  <c:v>15000</c:v>
                </c:pt>
                <c:pt idx="6490">
                  <c:v>73189</c:v>
                </c:pt>
                <c:pt idx="6491">
                  <c:v>143450</c:v>
                </c:pt>
                <c:pt idx="6492">
                  <c:v>38506</c:v>
                </c:pt>
                <c:pt idx="6493">
                  <c:v>36502</c:v>
                </c:pt>
                <c:pt idx="6494">
                  <c:v>189945</c:v>
                </c:pt>
                <c:pt idx="6495">
                  <c:v>41138</c:v>
                </c:pt>
                <c:pt idx="6496">
                  <c:v>29393</c:v>
                </c:pt>
                <c:pt idx="6497">
                  <c:v>31760</c:v>
                </c:pt>
                <c:pt idx="6498">
                  <c:v>26864</c:v>
                </c:pt>
                <c:pt idx="6499">
                  <c:v>80140</c:v>
                </c:pt>
                <c:pt idx="6500">
                  <c:v>69838</c:v>
                </c:pt>
                <c:pt idx="6501">
                  <c:v>61689</c:v>
                </c:pt>
                <c:pt idx="6502">
                  <c:v>40843</c:v>
                </c:pt>
                <c:pt idx="6503">
                  <c:v>104282</c:v>
                </c:pt>
                <c:pt idx="6504">
                  <c:v>137853</c:v>
                </c:pt>
                <c:pt idx="6505">
                  <c:v>134349</c:v>
                </c:pt>
                <c:pt idx="6506">
                  <c:v>40953</c:v>
                </c:pt>
                <c:pt idx="6507">
                  <c:v>55713</c:v>
                </c:pt>
                <c:pt idx="6508">
                  <c:v>63410</c:v>
                </c:pt>
                <c:pt idx="6509">
                  <c:v>30522</c:v>
                </c:pt>
                <c:pt idx="6510">
                  <c:v>49792</c:v>
                </c:pt>
                <c:pt idx="6511">
                  <c:v>39674</c:v>
                </c:pt>
                <c:pt idx="6512">
                  <c:v>32047</c:v>
                </c:pt>
                <c:pt idx="6513">
                  <c:v>24141</c:v>
                </c:pt>
                <c:pt idx="6514">
                  <c:v>35857</c:v>
                </c:pt>
                <c:pt idx="6515">
                  <c:v>45330</c:v>
                </c:pt>
                <c:pt idx="6516">
                  <c:v>102778</c:v>
                </c:pt>
                <c:pt idx="6517">
                  <c:v>43281</c:v>
                </c:pt>
                <c:pt idx="6518">
                  <c:v>35775</c:v>
                </c:pt>
                <c:pt idx="6519">
                  <c:v>41124</c:v>
                </c:pt>
                <c:pt idx="6520">
                  <c:v>30654</c:v>
                </c:pt>
                <c:pt idx="6521">
                  <c:v>105042</c:v>
                </c:pt>
                <c:pt idx="6522">
                  <c:v>31356</c:v>
                </c:pt>
                <c:pt idx="6523">
                  <c:v>33601</c:v>
                </c:pt>
                <c:pt idx="6524">
                  <c:v>43478</c:v>
                </c:pt>
                <c:pt idx="6525">
                  <c:v>32695</c:v>
                </c:pt>
                <c:pt idx="6526">
                  <c:v>36449</c:v>
                </c:pt>
                <c:pt idx="6527">
                  <c:v>68225</c:v>
                </c:pt>
                <c:pt idx="6528">
                  <c:v>81750</c:v>
                </c:pt>
                <c:pt idx="6529">
                  <c:v>23346</c:v>
                </c:pt>
                <c:pt idx="6530">
                  <c:v>41958</c:v>
                </c:pt>
                <c:pt idx="6531">
                  <c:v>22265</c:v>
                </c:pt>
                <c:pt idx="6532">
                  <c:v>37460</c:v>
                </c:pt>
                <c:pt idx="6533">
                  <c:v>44285</c:v>
                </c:pt>
                <c:pt idx="6534">
                  <c:v>77868</c:v>
                </c:pt>
                <c:pt idx="6535">
                  <c:v>25191</c:v>
                </c:pt>
                <c:pt idx="6536">
                  <c:v>34128</c:v>
                </c:pt>
                <c:pt idx="6537">
                  <c:v>48722</c:v>
                </c:pt>
                <c:pt idx="6538">
                  <c:v>35086</c:v>
                </c:pt>
                <c:pt idx="6539">
                  <c:v>75147</c:v>
                </c:pt>
                <c:pt idx="6540">
                  <c:v>51553</c:v>
                </c:pt>
                <c:pt idx="6541">
                  <c:v>47621</c:v>
                </c:pt>
                <c:pt idx="6542">
                  <c:v>38217</c:v>
                </c:pt>
                <c:pt idx="6543">
                  <c:v>41968</c:v>
                </c:pt>
                <c:pt idx="6544">
                  <c:v>27857</c:v>
                </c:pt>
                <c:pt idx="6545">
                  <c:v>26527</c:v>
                </c:pt>
                <c:pt idx="6546">
                  <c:v>39576</c:v>
                </c:pt>
                <c:pt idx="6547">
                  <c:v>113053</c:v>
                </c:pt>
                <c:pt idx="6548">
                  <c:v>48204</c:v>
                </c:pt>
                <c:pt idx="6549">
                  <c:v>73994</c:v>
                </c:pt>
                <c:pt idx="6550">
                  <c:v>85009</c:v>
                </c:pt>
                <c:pt idx="6551">
                  <c:v>48090</c:v>
                </c:pt>
                <c:pt idx="6552">
                  <c:v>42582</c:v>
                </c:pt>
                <c:pt idx="6553">
                  <c:v>59685</c:v>
                </c:pt>
                <c:pt idx="6554">
                  <c:v>28636</c:v>
                </c:pt>
                <c:pt idx="6555">
                  <c:v>27334</c:v>
                </c:pt>
                <c:pt idx="6556">
                  <c:v>26956</c:v>
                </c:pt>
                <c:pt idx="6557">
                  <c:v>43158</c:v>
                </c:pt>
                <c:pt idx="6558">
                  <c:v>53189</c:v>
                </c:pt>
                <c:pt idx="6559">
                  <c:v>47930</c:v>
                </c:pt>
                <c:pt idx="6560">
                  <c:v>86585</c:v>
                </c:pt>
                <c:pt idx="6561">
                  <c:v>45842</c:v>
                </c:pt>
                <c:pt idx="6562">
                  <c:v>23662</c:v>
                </c:pt>
                <c:pt idx="6563">
                  <c:v>26372</c:v>
                </c:pt>
                <c:pt idx="6564">
                  <c:v>65609</c:v>
                </c:pt>
                <c:pt idx="6565">
                  <c:v>29553</c:v>
                </c:pt>
                <c:pt idx="6566">
                  <c:v>48119</c:v>
                </c:pt>
                <c:pt idx="6567">
                  <c:v>43074</c:v>
                </c:pt>
                <c:pt idx="6568">
                  <c:v>45409</c:v>
                </c:pt>
                <c:pt idx="6569">
                  <c:v>54889</c:v>
                </c:pt>
                <c:pt idx="6570">
                  <c:v>26997</c:v>
                </c:pt>
                <c:pt idx="6571">
                  <c:v>42475</c:v>
                </c:pt>
                <c:pt idx="6572">
                  <c:v>36084</c:v>
                </c:pt>
                <c:pt idx="6573">
                  <c:v>59053</c:v>
                </c:pt>
                <c:pt idx="6574">
                  <c:v>43376</c:v>
                </c:pt>
                <c:pt idx="6575">
                  <c:v>64785</c:v>
                </c:pt>
                <c:pt idx="6576">
                  <c:v>101024</c:v>
                </c:pt>
                <c:pt idx="6577">
                  <c:v>33501</c:v>
                </c:pt>
                <c:pt idx="6578">
                  <c:v>404982</c:v>
                </c:pt>
                <c:pt idx="6579">
                  <c:v>22898</c:v>
                </c:pt>
                <c:pt idx="6580">
                  <c:v>30204</c:v>
                </c:pt>
                <c:pt idx="6581">
                  <c:v>77664</c:v>
                </c:pt>
                <c:pt idx="6582">
                  <c:v>32508</c:v>
                </c:pt>
                <c:pt idx="6583">
                  <c:v>27121</c:v>
                </c:pt>
                <c:pt idx="6584">
                  <c:v>27767</c:v>
                </c:pt>
                <c:pt idx="6585">
                  <c:v>85288</c:v>
                </c:pt>
                <c:pt idx="6586">
                  <c:v>116812</c:v>
                </c:pt>
                <c:pt idx="6587">
                  <c:v>24925</c:v>
                </c:pt>
                <c:pt idx="6588">
                  <c:v>41383</c:v>
                </c:pt>
                <c:pt idx="6589">
                  <c:v>32292</c:v>
                </c:pt>
                <c:pt idx="6590">
                  <c:v>89242</c:v>
                </c:pt>
                <c:pt idx="6591">
                  <c:v>30224</c:v>
                </c:pt>
                <c:pt idx="6592">
                  <c:v>29404</c:v>
                </c:pt>
                <c:pt idx="6593">
                  <c:v>70878</c:v>
                </c:pt>
                <c:pt idx="6594">
                  <c:v>530050</c:v>
                </c:pt>
                <c:pt idx="6595">
                  <c:v>23263</c:v>
                </c:pt>
                <c:pt idx="6596">
                  <c:v>76873</c:v>
                </c:pt>
                <c:pt idx="6597">
                  <c:v>75966</c:v>
                </c:pt>
                <c:pt idx="6598">
                  <c:v>114231</c:v>
                </c:pt>
                <c:pt idx="6599">
                  <c:v>25908</c:v>
                </c:pt>
                <c:pt idx="6600">
                  <c:v>26121</c:v>
                </c:pt>
                <c:pt idx="6601">
                  <c:v>28769</c:v>
                </c:pt>
                <c:pt idx="6602">
                  <c:v>68248</c:v>
                </c:pt>
                <c:pt idx="6603">
                  <c:v>33222</c:v>
                </c:pt>
                <c:pt idx="6604">
                  <c:v>124346</c:v>
                </c:pt>
                <c:pt idx="6605">
                  <c:v>27939</c:v>
                </c:pt>
                <c:pt idx="6606">
                  <c:v>41411</c:v>
                </c:pt>
                <c:pt idx="6607">
                  <c:v>58527</c:v>
                </c:pt>
                <c:pt idx="6608">
                  <c:v>29525</c:v>
                </c:pt>
                <c:pt idx="6609">
                  <c:v>104222</c:v>
                </c:pt>
                <c:pt idx="6610">
                  <c:v>61647</c:v>
                </c:pt>
                <c:pt idx="6611">
                  <c:v>68218</c:v>
                </c:pt>
                <c:pt idx="6612">
                  <c:v>30045</c:v>
                </c:pt>
                <c:pt idx="6613">
                  <c:v>37799</c:v>
                </c:pt>
                <c:pt idx="6614">
                  <c:v>22546</c:v>
                </c:pt>
                <c:pt idx="6615">
                  <c:v>74812</c:v>
                </c:pt>
                <c:pt idx="6616">
                  <c:v>24797</c:v>
                </c:pt>
                <c:pt idx="6617">
                  <c:v>22723</c:v>
                </c:pt>
                <c:pt idx="6618">
                  <c:v>79113</c:v>
                </c:pt>
                <c:pt idx="6619">
                  <c:v>33241</c:v>
                </c:pt>
                <c:pt idx="6620">
                  <c:v>48990</c:v>
                </c:pt>
                <c:pt idx="6621">
                  <c:v>23728</c:v>
                </c:pt>
                <c:pt idx="6622">
                  <c:v>70833</c:v>
                </c:pt>
                <c:pt idx="6623">
                  <c:v>46770</c:v>
                </c:pt>
                <c:pt idx="6624">
                  <c:v>144347</c:v>
                </c:pt>
                <c:pt idx="6625">
                  <c:v>34345</c:v>
                </c:pt>
                <c:pt idx="6626">
                  <c:v>51880</c:v>
                </c:pt>
                <c:pt idx="6627">
                  <c:v>79936</c:v>
                </c:pt>
                <c:pt idx="6628">
                  <c:v>34083</c:v>
                </c:pt>
                <c:pt idx="6629">
                  <c:v>90631</c:v>
                </c:pt>
                <c:pt idx="6630">
                  <c:v>38843</c:v>
                </c:pt>
                <c:pt idx="6631">
                  <c:v>91091</c:v>
                </c:pt>
                <c:pt idx="6632">
                  <c:v>30196</c:v>
                </c:pt>
                <c:pt idx="6633">
                  <c:v>65627</c:v>
                </c:pt>
                <c:pt idx="6634">
                  <c:v>65216</c:v>
                </c:pt>
                <c:pt idx="6635">
                  <c:v>173176</c:v>
                </c:pt>
                <c:pt idx="6636">
                  <c:v>66085</c:v>
                </c:pt>
                <c:pt idx="6637">
                  <c:v>23459</c:v>
                </c:pt>
                <c:pt idx="6638">
                  <c:v>240002</c:v>
                </c:pt>
                <c:pt idx="6639">
                  <c:v>39263</c:v>
                </c:pt>
                <c:pt idx="6640">
                  <c:v>37833</c:v>
                </c:pt>
                <c:pt idx="6641">
                  <c:v>31785</c:v>
                </c:pt>
                <c:pt idx="6642">
                  <c:v>35937</c:v>
                </c:pt>
                <c:pt idx="6643">
                  <c:v>41291</c:v>
                </c:pt>
                <c:pt idx="6644">
                  <c:v>22598</c:v>
                </c:pt>
                <c:pt idx="6645">
                  <c:v>217208</c:v>
                </c:pt>
                <c:pt idx="6646">
                  <c:v>89337</c:v>
                </c:pt>
                <c:pt idx="6647">
                  <c:v>37725</c:v>
                </c:pt>
                <c:pt idx="6648">
                  <c:v>60707</c:v>
                </c:pt>
                <c:pt idx="6649">
                  <c:v>100220</c:v>
                </c:pt>
                <c:pt idx="6650">
                  <c:v>39533</c:v>
                </c:pt>
                <c:pt idx="6651">
                  <c:v>20729</c:v>
                </c:pt>
                <c:pt idx="6652">
                  <c:v>49738</c:v>
                </c:pt>
                <c:pt idx="6653">
                  <c:v>31933</c:v>
                </c:pt>
                <c:pt idx="6654">
                  <c:v>25995</c:v>
                </c:pt>
                <c:pt idx="6655">
                  <c:v>39763</c:v>
                </c:pt>
                <c:pt idx="6656">
                  <c:v>72966</c:v>
                </c:pt>
                <c:pt idx="6657">
                  <c:v>49782</c:v>
                </c:pt>
                <c:pt idx="6658">
                  <c:v>68791</c:v>
                </c:pt>
                <c:pt idx="6659">
                  <c:v>25319</c:v>
                </c:pt>
                <c:pt idx="6660">
                  <c:v>43903</c:v>
                </c:pt>
                <c:pt idx="6661">
                  <c:v>141498</c:v>
                </c:pt>
                <c:pt idx="6662">
                  <c:v>46198</c:v>
                </c:pt>
                <c:pt idx="6663">
                  <c:v>45580</c:v>
                </c:pt>
                <c:pt idx="6664">
                  <c:v>49806</c:v>
                </c:pt>
                <c:pt idx="6665">
                  <c:v>45840</c:v>
                </c:pt>
                <c:pt idx="6666">
                  <c:v>261513</c:v>
                </c:pt>
                <c:pt idx="6667">
                  <c:v>52962</c:v>
                </c:pt>
                <c:pt idx="6668">
                  <c:v>113464</c:v>
                </c:pt>
                <c:pt idx="6669">
                  <c:v>155617</c:v>
                </c:pt>
                <c:pt idx="6670">
                  <c:v>32130</c:v>
                </c:pt>
                <c:pt idx="6671">
                  <c:v>31956</c:v>
                </c:pt>
                <c:pt idx="6672">
                  <c:v>115607</c:v>
                </c:pt>
                <c:pt idx="6673">
                  <c:v>34278</c:v>
                </c:pt>
                <c:pt idx="6674">
                  <c:v>36363</c:v>
                </c:pt>
                <c:pt idx="6675">
                  <c:v>125305</c:v>
                </c:pt>
                <c:pt idx="6676">
                  <c:v>37544</c:v>
                </c:pt>
                <c:pt idx="6677">
                  <c:v>103427</c:v>
                </c:pt>
                <c:pt idx="6678">
                  <c:v>39041</c:v>
                </c:pt>
                <c:pt idx="6679">
                  <c:v>95085</c:v>
                </c:pt>
                <c:pt idx="6680">
                  <c:v>73704</c:v>
                </c:pt>
                <c:pt idx="6681">
                  <c:v>49248</c:v>
                </c:pt>
                <c:pt idx="6682">
                  <c:v>25692</c:v>
                </c:pt>
                <c:pt idx="6683">
                  <c:v>32995</c:v>
                </c:pt>
                <c:pt idx="6684">
                  <c:v>242148</c:v>
                </c:pt>
                <c:pt idx="6685">
                  <c:v>74065</c:v>
                </c:pt>
                <c:pt idx="6686">
                  <c:v>69226</c:v>
                </c:pt>
                <c:pt idx="6687">
                  <c:v>34249</c:v>
                </c:pt>
                <c:pt idx="6688">
                  <c:v>178804</c:v>
                </c:pt>
                <c:pt idx="6689">
                  <c:v>35164</c:v>
                </c:pt>
                <c:pt idx="6690">
                  <c:v>106045</c:v>
                </c:pt>
                <c:pt idx="6691">
                  <c:v>31390</c:v>
                </c:pt>
                <c:pt idx="6692">
                  <c:v>23174</c:v>
                </c:pt>
                <c:pt idx="6693">
                  <c:v>54191</c:v>
                </c:pt>
                <c:pt idx="6694">
                  <c:v>23245</c:v>
                </c:pt>
                <c:pt idx="6695">
                  <c:v>40903</c:v>
                </c:pt>
                <c:pt idx="6696">
                  <c:v>43208</c:v>
                </c:pt>
                <c:pt idx="6697">
                  <c:v>24307</c:v>
                </c:pt>
                <c:pt idx="6698">
                  <c:v>41042</c:v>
                </c:pt>
                <c:pt idx="6699">
                  <c:v>191956</c:v>
                </c:pt>
                <c:pt idx="6700">
                  <c:v>21714</c:v>
                </c:pt>
                <c:pt idx="6701">
                  <c:v>42854</c:v>
                </c:pt>
                <c:pt idx="6702">
                  <c:v>40045</c:v>
                </c:pt>
                <c:pt idx="6703">
                  <c:v>78717</c:v>
                </c:pt>
                <c:pt idx="6704">
                  <c:v>50602</c:v>
                </c:pt>
                <c:pt idx="6705">
                  <c:v>44807</c:v>
                </c:pt>
                <c:pt idx="6706">
                  <c:v>20072</c:v>
                </c:pt>
                <c:pt idx="6707">
                  <c:v>49188</c:v>
                </c:pt>
                <c:pt idx="6708">
                  <c:v>66653</c:v>
                </c:pt>
                <c:pt idx="6709">
                  <c:v>84100</c:v>
                </c:pt>
                <c:pt idx="6710">
                  <c:v>38885</c:v>
                </c:pt>
                <c:pt idx="6711">
                  <c:v>31980</c:v>
                </c:pt>
                <c:pt idx="6712">
                  <c:v>56865</c:v>
                </c:pt>
                <c:pt idx="6713">
                  <c:v>41157</c:v>
                </c:pt>
                <c:pt idx="6714">
                  <c:v>83260</c:v>
                </c:pt>
                <c:pt idx="6715">
                  <c:v>63863</c:v>
                </c:pt>
                <c:pt idx="6716">
                  <c:v>83225</c:v>
                </c:pt>
                <c:pt idx="6717">
                  <c:v>54956</c:v>
                </c:pt>
                <c:pt idx="6718">
                  <c:v>32659</c:v>
                </c:pt>
                <c:pt idx="6719">
                  <c:v>61514</c:v>
                </c:pt>
                <c:pt idx="6720">
                  <c:v>128863</c:v>
                </c:pt>
                <c:pt idx="6721">
                  <c:v>39471</c:v>
                </c:pt>
                <c:pt idx="6722">
                  <c:v>41691</c:v>
                </c:pt>
                <c:pt idx="6723">
                  <c:v>175446</c:v>
                </c:pt>
                <c:pt idx="6724">
                  <c:v>32441</c:v>
                </c:pt>
                <c:pt idx="6725">
                  <c:v>40852</c:v>
                </c:pt>
                <c:pt idx="6726">
                  <c:v>34263</c:v>
                </c:pt>
                <c:pt idx="6727">
                  <c:v>41572</c:v>
                </c:pt>
                <c:pt idx="6728">
                  <c:v>97273</c:v>
                </c:pt>
                <c:pt idx="6729">
                  <c:v>89416</c:v>
                </c:pt>
                <c:pt idx="6730">
                  <c:v>41973</c:v>
                </c:pt>
                <c:pt idx="6731">
                  <c:v>47075</c:v>
                </c:pt>
                <c:pt idx="6732">
                  <c:v>144299</c:v>
                </c:pt>
                <c:pt idx="6733">
                  <c:v>23522</c:v>
                </c:pt>
                <c:pt idx="6734">
                  <c:v>208238</c:v>
                </c:pt>
                <c:pt idx="6735">
                  <c:v>38603</c:v>
                </c:pt>
                <c:pt idx="6736">
                  <c:v>47551</c:v>
                </c:pt>
                <c:pt idx="6737">
                  <c:v>154055</c:v>
                </c:pt>
                <c:pt idx="6738">
                  <c:v>37777</c:v>
                </c:pt>
                <c:pt idx="6739">
                  <c:v>29064</c:v>
                </c:pt>
                <c:pt idx="6740">
                  <c:v>65888</c:v>
                </c:pt>
                <c:pt idx="6741">
                  <c:v>23285</c:v>
                </c:pt>
                <c:pt idx="6742">
                  <c:v>24645</c:v>
                </c:pt>
                <c:pt idx="6743">
                  <c:v>35112</c:v>
                </c:pt>
                <c:pt idx="6744">
                  <c:v>30108</c:v>
                </c:pt>
                <c:pt idx="6745">
                  <c:v>73393</c:v>
                </c:pt>
                <c:pt idx="6746">
                  <c:v>26745</c:v>
                </c:pt>
                <c:pt idx="6747">
                  <c:v>63638</c:v>
                </c:pt>
                <c:pt idx="6748">
                  <c:v>25237</c:v>
                </c:pt>
                <c:pt idx="6749">
                  <c:v>30603</c:v>
                </c:pt>
                <c:pt idx="6750">
                  <c:v>38857</c:v>
                </c:pt>
                <c:pt idx="6751">
                  <c:v>27487</c:v>
                </c:pt>
                <c:pt idx="6752">
                  <c:v>41325</c:v>
                </c:pt>
                <c:pt idx="6753">
                  <c:v>32743</c:v>
                </c:pt>
                <c:pt idx="6754">
                  <c:v>31418</c:v>
                </c:pt>
                <c:pt idx="6755">
                  <c:v>63638</c:v>
                </c:pt>
                <c:pt idx="6756">
                  <c:v>120631</c:v>
                </c:pt>
                <c:pt idx="6757">
                  <c:v>141370</c:v>
                </c:pt>
                <c:pt idx="6758">
                  <c:v>38236</c:v>
                </c:pt>
                <c:pt idx="6759">
                  <c:v>31874</c:v>
                </c:pt>
                <c:pt idx="6760">
                  <c:v>59897</c:v>
                </c:pt>
                <c:pt idx="6761">
                  <c:v>44674</c:v>
                </c:pt>
                <c:pt idx="6762">
                  <c:v>54471</c:v>
                </c:pt>
                <c:pt idx="6763">
                  <c:v>67675</c:v>
                </c:pt>
                <c:pt idx="6764">
                  <c:v>37723</c:v>
                </c:pt>
                <c:pt idx="6765">
                  <c:v>20278</c:v>
                </c:pt>
                <c:pt idx="6766">
                  <c:v>54823</c:v>
                </c:pt>
                <c:pt idx="6767">
                  <c:v>31218</c:v>
                </c:pt>
                <c:pt idx="6768">
                  <c:v>59906</c:v>
                </c:pt>
                <c:pt idx="6769">
                  <c:v>95923</c:v>
                </c:pt>
                <c:pt idx="6770">
                  <c:v>45373</c:v>
                </c:pt>
                <c:pt idx="6771">
                  <c:v>157066</c:v>
                </c:pt>
                <c:pt idx="6772">
                  <c:v>31301</c:v>
                </c:pt>
                <c:pt idx="6773">
                  <c:v>31256</c:v>
                </c:pt>
                <c:pt idx="6774">
                  <c:v>30823</c:v>
                </c:pt>
                <c:pt idx="6775">
                  <c:v>59967</c:v>
                </c:pt>
                <c:pt idx="6776">
                  <c:v>33878</c:v>
                </c:pt>
                <c:pt idx="6777">
                  <c:v>92304</c:v>
                </c:pt>
                <c:pt idx="6778">
                  <c:v>88838</c:v>
                </c:pt>
                <c:pt idx="6779">
                  <c:v>111277</c:v>
                </c:pt>
                <c:pt idx="6780">
                  <c:v>62436</c:v>
                </c:pt>
                <c:pt idx="6781">
                  <c:v>43508</c:v>
                </c:pt>
                <c:pt idx="6782">
                  <c:v>27823</c:v>
                </c:pt>
                <c:pt idx="6783">
                  <c:v>31232</c:v>
                </c:pt>
                <c:pt idx="6784">
                  <c:v>23185</c:v>
                </c:pt>
                <c:pt idx="6785">
                  <c:v>40286</c:v>
                </c:pt>
                <c:pt idx="6786">
                  <c:v>34275</c:v>
                </c:pt>
                <c:pt idx="6787">
                  <c:v>25771</c:v>
                </c:pt>
                <c:pt idx="6788">
                  <c:v>36173</c:v>
                </c:pt>
                <c:pt idx="6789">
                  <c:v>87758</c:v>
                </c:pt>
                <c:pt idx="6790">
                  <c:v>43998</c:v>
                </c:pt>
                <c:pt idx="6791">
                  <c:v>60186</c:v>
                </c:pt>
                <c:pt idx="6792">
                  <c:v>83099</c:v>
                </c:pt>
                <c:pt idx="6793">
                  <c:v>155420</c:v>
                </c:pt>
                <c:pt idx="6794">
                  <c:v>26639</c:v>
                </c:pt>
                <c:pt idx="6795">
                  <c:v>39012</c:v>
                </c:pt>
                <c:pt idx="6796">
                  <c:v>57420</c:v>
                </c:pt>
                <c:pt idx="6797">
                  <c:v>44527</c:v>
                </c:pt>
                <c:pt idx="6798">
                  <c:v>22132</c:v>
                </c:pt>
                <c:pt idx="6799">
                  <c:v>41864</c:v>
                </c:pt>
                <c:pt idx="6800">
                  <c:v>61642</c:v>
                </c:pt>
                <c:pt idx="6801">
                  <c:v>43765</c:v>
                </c:pt>
                <c:pt idx="6802">
                  <c:v>29268</c:v>
                </c:pt>
                <c:pt idx="6803">
                  <c:v>26351</c:v>
                </c:pt>
                <c:pt idx="6804">
                  <c:v>26572</c:v>
                </c:pt>
                <c:pt idx="6805">
                  <c:v>134179</c:v>
                </c:pt>
                <c:pt idx="6806">
                  <c:v>82313</c:v>
                </c:pt>
                <c:pt idx="6807">
                  <c:v>29423</c:v>
                </c:pt>
                <c:pt idx="6808">
                  <c:v>25628</c:v>
                </c:pt>
                <c:pt idx="6809">
                  <c:v>65771</c:v>
                </c:pt>
                <c:pt idx="6810">
                  <c:v>27698</c:v>
                </c:pt>
                <c:pt idx="6811">
                  <c:v>50056</c:v>
                </c:pt>
                <c:pt idx="6812">
                  <c:v>168049</c:v>
                </c:pt>
                <c:pt idx="6813">
                  <c:v>26612</c:v>
                </c:pt>
                <c:pt idx="6814">
                  <c:v>26641</c:v>
                </c:pt>
                <c:pt idx="6815">
                  <c:v>40371</c:v>
                </c:pt>
                <c:pt idx="6816">
                  <c:v>26572</c:v>
                </c:pt>
                <c:pt idx="6817">
                  <c:v>51719</c:v>
                </c:pt>
                <c:pt idx="6818">
                  <c:v>58745</c:v>
                </c:pt>
                <c:pt idx="6819">
                  <c:v>31593</c:v>
                </c:pt>
                <c:pt idx="6820">
                  <c:v>66688</c:v>
                </c:pt>
                <c:pt idx="6821">
                  <c:v>38434</c:v>
                </c:pt>
                <c:pt idx="6822">
                  <c:v>44985</c:v>
                </c:pt>
                <c:pt idx="6823">
                  <c:v>35137</c:v>
                </c:pt>
                <c:pt idx="6824">
                  <c:v>37405</c:v>
                </c:pt>
                <c:pt idx="6825">
                  <c:v>54085</c:v>
                </c:pt>
                <c:pt idx="6826">
                  <c:v>47709</c:v>
                </c:pt>
                <c:pt idx="6827">
                  <c:v>98238</c:v>
                </c:pt>
                <c:pt idx="6828">
                  <c:v>29965</c:v>
                </c:pt>
                <c:pt idx="6829">
                  <c:v>32250</c:v>
                </c:pt>
                <c:pt idx="6830">
                  <c:v>64983</c:v>
                </c:pt>
                <c:pt idx="6831">
                  <c:v>46207</c:v>
                </c:pt>
                <c:pt idx="6832">
                  <c:v>76746</c:v>
                </c:pt>
                <c:pt idx="6833">
                  <c:v>49717</c:v>
                </c:pt>
                <c:pt idx="6834">
                  <c:v>31711</c:v>
                </c:pt>
                <c:pt idx="6835">
                  <c:v>42990</c:v>
                </c:pt>
                <c:pt idx="6836">
                  <c:v>30614</c:v>
                </c:pt>
                <c:pt idx="6837">
                  <c:v>30712</c:v>
                </c:pt>
                <c:pt idx="6838">
                  <c:v>80419</c:v>
                </c:pt>
                <c:pt idx="6839">
                  <c:v>52433</c:v>
                </c:pt>
                <c:pt idx="6840">
                  <c:v>105239</c:v>
                </c:pt>
                <c:pt idx="6841">
                  <c:v>31455</c:v>
                </c:pt>
                <c:pt idx="6842">
                  <c:v>38839</c:v>
                </c:pt>
                <c:pt idx="6843">
                  <c:v>141635</c:v>
                </c:pt>
                <c:pt idx="6844">
                  <c:v>56942</c:v>
                </c:pt>
                <c:pt idx="6845">
                  <c:v>143571</c:v>
                </c:pt>
                <c:pt idx="6846">
                  <c:v>42502</c:v>
                </c:pt>
                <c:pt idx="6847">
                  <c:v>185508</c:v>
                </c:pt>
                <c:pt idx="6848">
                  <c:v>38337</c:v>
                </c:pt>
                <c:pt idx="6849">
                  <c:v>234106</c:v>
                </c:pt>
                <c:pt idx="6850">
                  <c:v>30592</c:v>
                </c:pt>
                <c:pt idx="6851">
                  <c:v>45844</c:v>
                </c:pt>
                <c:pt idx="6852">
                  <c:v>29423</c:v>
                </c:pt>
                <c:pt idx="6853">
                  <c:v>27687</c:v>
                </c:pt>
                <c:pt idx="6854">
                  <c:v>28293</c:v>
                </c:pt>
                <c:pt idx="6855">
                  <c:v>50879</c:v>
                </c:pt>
                <c:pt idx="6856">
                  <c:v>199542</c:v>
                </c:pt>
                <c:pt idx="6857">
                  <c:v>27116</c:v>
                </c:pt>
                <c:pt idx="6858">
                  <c:v>38440</c:v>
                </c:pt>
                <c:pt idx="6859">
                  <c:v>62791</c:v>
                </c:pt>
                <c:pt idx="6860">
                  <c:v>49111</c:v>
                </c:pt>
                <c:pt idx="6861">
                  <c:v>42897</c:v>
                </c:pt>
                <c:pt idx="6862">
                  <c:v>50762</c:v>
                </c:pt>
                <c:pt idx="6863">
                  <c:v>72276</c:v>
                </c:pt>
                <c:pt idx="6864">
                  <c:v>37689</c:v>
                </c:pt>
                <c:pt idx="6865">
                  <c:v>24569</c:v>
                </c:pt>
                <c:pt idx="6866">
                  <c:v>38060</c:v>
                </c:pt>
                <c:pt idx="6867">
                  <c:v>39538</c:v>
                </c:pt>
                <c:pt idx="6868">
                  <c:v>52381</c:v>
                </c:pt>
                <c:pt idx="6869">
                  <c:v>97602</c:v>
                </c:pt>
                <c:pt idx="6870">
                  <c:v>34434</c:v>
                </c:pt>
                <c:pt idx="6871">
                  <c:v>43797</c:v>
                </c:pt>
                <c:pt idx="6872">
                  <c:v>22745</c:v>
                </c:pt>
                <c:pt idx="6873">
                  <c:v>51713</c:v>
                </c:pt>
                <c:pt idx="6874">
                  <c:v>33101</c:v>
                </c:pt>
                <c:pt idx="6875">
                  <c:v>53024</c:v>
                </c:pt>
                <c:pt idx="6876">
                  <c:v>39610</c:v>
                </c:pt>
                <c:pt idx="6877">
                  <c:v>25061</c:v>
                </c:pt>
                <c:pt idx="6878">
                  <c:v>68802</c:v>
                </c:pt>
                <c:pt idx="6879">
                  <c:v>31600</c:v>
                </c:pt>
                <c:pt idx="6880">
                  <c:v>207324</c:v>
                </c:pt>
                <c:pt idx="6881">
                  <c:v>38354</c:v>
                </c:pt>
                <c:pt idx="6882">
                  <c:v>43575</c:v>
                </c:pt>
                <c:pt idx="6883">
                  <c:v>55525</c:v>
                </c:pt>
                <c:pt idx="6884">
                  <c:v>112488</c:v>
                </c:pt>
                <c:pt idx="6885">
                  <c:v>52354</c:v>
                </c:pt>
                <c:pt idx="6886">
                  <c:v>40111</c:v>
                </c:pt>
                <c:pt idx="6887">
                  <c:v>37938</c:v>
                </c:pt>
                <c:pt idx="6888">
                  <c:v>27213</c:v>
                </c:pt>
                <c:pt idx="6889">
                  <c:v>30668</c:v>
                </c:pt>
                <c:pt idx="6890">
                  <c:v>48232</c:v>
                </c:pt>
                <c:pt idx="6891">
                  <c:v>135259</c:v>
                </c:pt>
                <c:pt idx="6892">
                  <c:v>32587</c:v>
                </c:pt>
                <c:pt idx="6893">
                  <c:v>29672</c:v>
                </c:pt>
                <c:pt idx="6894">
                  <c:v>36110</c:v>
                </c:pt>
                <c:pt idx="6895">
                  <c:v>58876</c:v>
                </c:pt>
                <c:pt idx="6896">
                  <c:v>135723</c:v>
                </c:pt>
                <c:pt idx="6897">
                  <c:v>49110</c:v>
                </c:pt>
                <c:pt idx="6898">
                  <c:v>52581</c:v>
                </c:pt>
                <c:pt idx="6899">
                  <c:v>212663</c:v>
                </c:pt>
                <c:pt idx="6900">
                  <c:v>28671</c:v>
                </c:pt>
                <c:pt idx="6901">
                  <c:v>47885</c:v>
                </c:pt>
                <c:pt idx="6902">
                  <c:v>157990</c:v>
                </c:pt>
                <c:pt idx="6903">
                  <c:v>39739</c:v>
                </c:pt>
                <c:pt idx="6904">
                  <c:v>53330</c:v>
                </c:pt>
                <c:pt idx="6905">
                  <c:v>30727</c:v>
                </c:pt>
                <c:pt idx="6906">
                  <c:v>45074</c:v>
                </c:pt>
                <c:pt idx="6907">
                  <c:v>29869</c:v>
                </c:pt>
                <c:pt idx="6908">
                  <c:v>36497</c:v>
                </c:pt>
                <c:pt idx="6909">
                  <c:v>58820</c:v>
                </c:pt>
                <c:pt idx="6910">
                  <c:v>36496</c:v>
                </c:pt>
                <c:pt idx="6911">
                  <c:v>50731</c:v>
                </c:pt>
                <c:pt idx="6912">
                  <c:v>115162</c:v>
                </c:pt>
                <c:pt idx="6913">
                  <c:v>37998</c:v>
                </c:pt>
                <c:pt idx="6914">
                  <c:v>19358</c:v>
                </c:pt>
                <c:pt idx="6915">
                  <c:v>43213</c:v>
                </c:pt>
                <c:pt idx="6916">
                  <c:v>26635</c:v>
                </c:pt>
                <c:pt idx="6917">
                  <c:v>34855</c:v>
                </c:pt>
                <c:pt idx="6918">
                  <c:v>33727</c:v>
                </c:pt>
                <c:pt idx="6919">
                  <c:v>33257</c:v>
                </c:pt>
                <c:pt idx="6920">
                  <c:v>25736</c:v>
                </c:pt>
                <c:pt idx="6921">
                  <c:v>78651</c:v>
                </c:pt>
                <c:pt idx="6922">
                  <c:v>43495</c:v>
                </c:pt>
                <c:pt idx="6923">
                  <c:v>46054</c:v>
                </c:pt>
                <c:pt idx="6924">
                  <c:v>28968</c:v>
                </c:pt>
                <c:pt idx="6925">
                  <c:v>39780</c:v>
                </c:pt>
                <c:pt idx="6926">
                  <c:v>49066</c:v>
                </c:pt>
                <c:pt idx="6927">
                  <c:v>42671</c:v>
                </c:pt>
                <c:pt idx="6928">
                  <c:v>32971</c:v>
                </c:pt>
                <c:pt idx="6929">
                  <c:v>60816</c:v>
                </c:pt>
                <c:pt idx="6930">
                  <c:v>33453</c:v>
                </c:pt>
                <c:pt idx="6931">
                  <c:v>85026</c:v>
                </c:pt>
                <c:pt idx="6932">
                  <c:v>117412</c:v>
                </c:pt>
                <c:pt idx="6933">
                  <c:v>29742</c:v>
                </c:pt>
                <c:pt idx="6934">
                  <c:v>53983</c:v>
                </c:pt>
                <c:pt idx="6935">
                  <c:v>46003</c:v>
                </c:pt>
                <c:pt idx="6936">
                  <c:v>25740</c:v>
                </c:pt>
                <c:pt idx="6937">
                  <c:v>22423</c:v>
                </c:pt>
                <c:pt idx="6938">
                  <c:v>36120</c:v>
                </c:pt>
                <c:pt idx="6939">
                  <c:v>124416</c:v>
                </c:pt>
                <c:pt idx="6940">
                  <c:v>39099</c:v>
                </c:pt>
                <c:pt idx="6941">
                  <c:v>85703</c:v>
                </c:pt>
                <c:pt idx="6942">
                  <c:v>63752</c:v>
                </c:pt>
                <c:pt idx="6943">
                  <c:v>42516</c:v>
                </c:pt>
                <c:pt idx="6944">
                  <c:v>78980</c:v>
                </c:pt>
                <c:pt idx="6945">
                  <c:v>113684</c:v>
                </c:pt>
                <c:pt idx="6946">
                  <c:v>22586</c:v>
                </c:pt>
                <c:pt idx="6947">
                  <c:v>138056</c:v>
                </c:pt>
                <c:pt idx="6948">
                  <c:v>19518</c:v>
                </c:pt>
                <c:pt idx="6949">
                  <c:v>61978</c:v>
                </c:pt>
                <c:pt idx="6950">
                  <c:v>44210</c:v>
                </c:pt>
                <c:pt idx="6951">
                  <c:v>66901</c:v>
                </c:pt>
                <c:pt idx="6952">
                  <c:v>27827</c:v>
                </c:pt>
                <c:pt idx="6953">
                  <c:v>35128</c:v>
                </c:pt>
                <c:pt idx="6954">
                  <c:v>53859</c:v>
                </c:pt>
                <c:pt idx="6955">
                  <c:v>141357</c:v>
                </c:pt>
                <c:pt idx="6956">
                  <c:v>53132</c:v>
                </c:pt>
                <c:pt idx="6957">
                  <c:v>31021</c:v>
                </c:pt>
                <c:pt idx="6958">
                  <c:v>168592</c:v>
                </c:pt>
                <c:pt idx="6959">
                  <c:v>145573</c:v>
                </c:pt>
                <c:pt idx="6960">
                  <c:v>42746</c:v>
                </c:pt>
                <c:pt idx="6961">
                  <c:v>49911</c:v>
                </c:pt>
                <c:pt idx="6962">
                  <c:v>274047</c:v>
                </c:pt>
                <c:pt idx="6963">
                  <c:v>98834</c:v>
                </c:pt>
                <c:pt idx="6964">
                  <c:v>31558</c:v>
                </c:pt>
                <c:pt idx="6965">
                  <c:v>27745</c:v>
                </c:pt>
                <c:pt idx="6966">
                  <c:v>53924</c:v>
                </c:pt>
                <c:pt idx="6967">
                  <c:v>33605</c:v>
                </c:pt>
                <c:pt idx="6968">
                  <c:v>37141</c:v>
                </c:pt>
                <c:pt idx="6969">
                  <c:v>62233</c:v>
                </c:pt>
                <c:pt idx="6970">
                  <c:v>28000</c:v>
                </c:pt>
                <c:pt idx="6971">
                  <c:v>38327</c:v>
                </c:pt>
                <c:pt idx="6972">
                  <c:v>30540</c:v>
                </c:pt>
                <c:pt idx="6973">
                  <c:v>215696</c:v>
                </c:pt>
                <c:pt idx="6974">
                  <c:v>26581</c:v>
                </c:pt>
                <c:pt idx="6975">
                  <c:v>44135</c:v>
                </c:pt>
                <c:pt idx="6976">
                  <c:v>135906</c:v>
                </c:pt>
                <c:pt idx="6977">
                  <c:v>101250</c:v>
                </c:pt>
                <c:pt idx="6978">
                  <c:v>112006</c:v>
                </c:pt>
                <c:pt idx="6979">
                  <c:v>27940</c:v>
                </c:pt>
                <c:pt idx="6980">
                  <c:v>37804</c:v>
                </c:pt>
                <c:pt idx="6981">
                  <c:v>56903</c:v>
                </c:pt>
                <c:pt idx="6982">
                  <c:v>146831</c:v>
                </c:pt>
                <c:pt idx="6983">
                  <c:v>52148</c:v>
                </c:pt>
                <c:pt idx="6984">
                  <c:v>42084</c:v>
                </c:pt>
                <c:pt idx="6985">
                  <c:v>36359</c:v>
                </c:pt>
                <c:pt idx="6986">
                  <c:v>45409</c:v>
                </c:pt>
                <c:pt idx="6987">
                  <c:v>64155</c:v>
                </c:pt>
                <c:pt idx="6988">
                  <c:v>89322</c:v>
                </c:pt>
                <c:pt idx="6989">
                  <c:v>44006</c:v>
                </c:pt>
                <c:pt idx="6990">
                  <c:v>33791</c:v>
                </c:pt>
                <c:pt idx="6991">
                  <c:v>41295</c:v>
                </c:pt>
                <c:pt idx="6992">
                  <c:v>38380</c:v>
                </c:pt>
                <c:pt idx="6993">
                  <c:v>130689</c:v>
                </c:pt>
                <c:pt idx="6994">
                  <c:v>42760</c:v>
                </c:pt>
                <c:pt idx="6995">
                  <c:v>65064</c:v>
                </c:pt>
                <c:pt idx="6996">
                  <c:v>35337</c:v>
                </c:pt>
                <c:pt idx="6997">
                  <c:v>51459</c:v>
                </c:pt>
                <c:pt idx="6998">
                  <c:v>45655</c:v>
                </c:pt>
                <c:pt idx="6999">
                  <c:v>106896</c:v>
                </c:pt>
                <c:pt idx="7000">
                  <c:v>32802</c:v>
                </c:pt>
                <c:pt idx="7001">
                  <c:v>96176</c:v>
                </c:pt>
                <c:pt idx="7002">
                  <c:v>24294</c:v>
                </c:pt>
                <c:pt idx="7003">
                  <c:v>56642</c:v>
                </c:pt>
                <c:pt idx="7004">
                  <c:v>57146</c:v>
                </c:pt>
                <c:pt idx="7005">
                  <c:v>27582</c:v>
                </c:pt>
                <c:pt idx="7006">
                  <c:v>64818</c:v>
                </c:pt>
                <c:pt idx="7007">
                  <c:v>50306</c:v>
                </c:pt>
                <c:pt idx="7008">
                  <c:v>25765</c:v>
                </c:pt>
                <c:pt idx="7009">
                  <c:v>27989</c:v>
                </c:pt>
                <c:pt idx="7010">
                  <c:v>98414</c:v>
                </c:pt>
                <c:pt idx="7011">
                  <c:v>23143</c:v>
                </c:pt>
                <c:pt idx="7012">
                  <c:v>77868</c:v>
                </c:pt>
                <c:pt idx="7013">
                  <c:v>27874</c:v>
                </c:pt>
                <c:pt idx="7014">
                  <c:v>58321</c:v>
                </c:pt>
                <c:pt idx="7015">
                  <c:v>39618</c:v>
                </c:pt>
                <c:pt idx="7016">
                  <c:v>52936</c:v>
                </c:pt>
                <c:pt idx="7017">
                  <c:v>24693</c:v>
                </c:pt>
                <c:pt idx="7018">
                  <c:v>356577</c:v>
                </c:pt>
                <c:pt idx="7019">
                  <c:v>48249</c:v>
                </c:pt>
                <c:pt idx="7020">
                  <c:v>65836</c:v>
                </c:pt>
                <c:pt idx="7021">
                  <c:v>25229</c:v>
                </c:pt>
                <c:pt idx="7022">
                  <c:v>38092</c:v>
                </c:pt>
                <c:pt idx="7023">
                  <c:v>56663</c:v>
                </c:pt>
                <c:pt idx="7024">
                  <c:v>32207</c:v>
                </c:pt>
                <c:pt idx="7025">
                  <c:v>43024</c:v>
                </c:pt>
                <c:pt idx="7026">
                  <c:v>36634</c:v>
                </c:pt>
                <c:pt idx="7027">
                  <c:v>77752</c:v>
                </c:pt>
                <c:pt idx="7028">
                  <c:v>226601</c:v>
                </c:pt>
                <c:pt idx="7029">
                  <c:v>109802</c:v>
                </c:pt>
                <c:pt idx="7030">
                  <c:v>30198</c:v>
                </c:pt>
                <c:pt idx="7031">
                  <c:v>85665</c:v>
                </c:pt>
                <c:pt idx="7032">
                  <c:v>24062</c:v>
                </c:pt>
                <c:pt idx="7033">
                  <c:v>86246</c:v>
                </c:pt>
                <c:pt idx="7034">
                  <c:v>28493</c:v>
                </c:pt>
                <c:pt idx="7035">
                  <c:v>74221</c:v>
                </c:pt>
                <c:pt idx="7036">
                  <c:v>53946</c:v>
                </c:pt>
                <c:pt idx="7037">
                  <c:v>35692</c:v>
                </c:pt>
                <c:pt idx="7038">
                  <c:v>111137</c:v>
                </c:pt>
                <c:pt idx="7039">
                  <c:v>88901</c:v>
                </c:pt>
                <c:pt idx="7040">
                  <c:v>32957</c:v>
                </c:pt>
                <c:pt idx="7041">
                  <c:v>50649</c:v>
                </c:pt>
                <c:pt idx="7042">
                  <c:v>43388</c:v>
                </c:pt>
                <c:pt idx="7043">
                  <c:v>26400</c:v>
                </c:pt>
                <c:pt idx="7044">
                  <c:v>30566</c:v>
                </c:pt>
                <c:pt idx="7045">
                  <c:v>97666</c:v>
                </c:pt>
                <c:pt idx="7046">
                  <c:v>34190</c:v>
                </c:pt>
                <c:pt idx="7047">
                  <c:v>50755</c:v>
                </c:pt>
                <c:pt idx="7048">
                  <c:v>77636</c:v>
                </c:pt>
                <c:pt idx="7049">
                  <c:v>42977</c:v>
                </c:pt>
                <c:pt idx="7050">
                  <c:v>111490</c:v>
                </c:pt>
                <c:pt idx="7051">
                  <c:v>162695</c:v>
                </c:pt>
                <c:pt idx="7052">
                  <c:v>35934</c:v>
                </c:pt>
                <c:pt idx="7053">
                  <c:v>73944</c:v>
                </c:pt>
                <c:pt idx="7054">
                  <c:v>36021</c:v>
                </c:pt>
                <c:pt idx="7055">
                  <c:v>26087</c:v>
                </c:pt>
                <c:pt idx="7056">
                  <c:v>211959</c:v>
                </c:pt>
                <c:pt idx="7057">
                  <c:v>41672</c:v>
                </c:pt>
                <c:pt idx="7058">
                  <c:v>48688</c:v>
                </c:pt>
                <c:pt idx="7059">
                  <c:v>68199</c:v>
                </c:pt>
                <c:pt idx="7060">
                  <c:v>111610</c:v>
                </c:pt>
                <c:pt idx="7061">
                  <c:v>72387</c:v>
                </c:pt>
                <c:pt idx="7062">
                  <c:v>44310</c:v>
                </c:pt>
                <c:pt idx="7063">
                  <c:v>62576</c:v>
                </c:pt>
                <c:pt idx="7064">
                  <c:v>25001</c:v>
                </c:pt>
                <c:pt idx="7065">
                  <c:v>63850</c:v>
                </c:pt>
                <c:pt idx="7066">
                  <c:v>72049</c:v>
                </c:pt>
                <c:pt idx="7067">
                  <c:v>103012</c:v>
                </c:pt>
                <c:pt idx="7068">
                  <c:v>76013</c:v>
                </c:pt>
                <c:pt idx="7069">
                  <c:v>40555</c:v>
                </c:pt>
                <c:pt idx="7070">
                  <c:v>105512</c:v>
                </c:pt>
                <c:pt idx="7071">
                  <c:v>52939</c:v>
                </c:pt>
                <c:pt idx="7072">
                  <c:v>127358</c:v>
                </c:pt>
                <c:pt idx="7073">
                  <c:v>38554</c:v>
                </c:pt>
                <c:pt idx="7074">
                  <c:v>62722</c:v>
                </c:pt>
                <c:pt idx="7075">
                  <c:v>86830</c:v>
                </c:pt>
                <c:pt idx="7076">
                  <c:v>149138</c:v>
                </c:pt>
                <c:pt idx="7077">
                  <c:v>104392</c:v>
                </c:pt>
                <c:pt idx="7078">
                  <c:v>238193</c:v>
                </c:pt>
                <c:pt idx="7079">
                  <c:v>67227</c:v>
                </c:pt>
                <c:pt idx="7080">
                  <c:v>62209</c:v>
                </c:pt>
                <c:pt idx="7081">
                  <c:v>35171</c:v>
                </c:pt>
                <c:pt idx="7082">
                  <c:v>40303</c:v>
                </c:pt>
                <c:pt idx="7083">
                  <c:v>33010</c:v>
                </c:pt>
                <c:pt idx="7084">
                  <c:v>48887</c:v>
                </c:pt>
                <c:pt idx="7085">
                  <c:v>35931</c:v>
                </c:pt>
                <c:pt idx="7086">
                  <c:v>49459</c:v>
                </c:pt>
                <c:pt idx="7087">
                  <c:v>42245</c:v>
                </c:pt>
                <c:pt idx="7088">
                  <c:v>44243</c:v>
                </c:pt>
                <c:pt idx="7089">
                  <c:v>23110</c:v>
                </c:pt>
                <c:pt idx="7090">
                  <c:v>44228</c:v>
                </c:pt>
                <c:pt idx="7091">
                  <c:v>46196</c:v>
                </c:pt>
                <c:pt idx="7092">
                  <c:v>244852</c:v>
                </c:pt>
                <c:pt idx="7093">
                  <c:v>53927</c:v>
                </c:pt>
                <c:pt idx="7094">
                  <c:v>48023</c:v>
                </c:pt>
                <c:pt idx="7095">
                  <c:v>24294</c:v>
                </c:pt>
                <c:pt idx="7096">
                  <c:v>81234</c:v>
                </c:pt>
                <c:pt idx="7097">
                  <c:v>24497</c:v>
                </c:pt>
                <c:pt idx="7098">
                  <c:v>45943</c:v>
                </c:pt>
                <c:pt idx="7099">
                  <c:v>134495</c:v>
                </c:pt>
                <c:pt idx="7100">
                  <c:v>41343</c:v>
                </c:pt>
                <c:pt idx="7101">
                  <c:v>70497</c:v>
                </c:pt>
                <c:pt idx="7102">
                  <c:v>46731</c:v>
                </c:pt>
                <c:pt idx="7103">
                  <c:v>50381</c:v>
                </c:pt>
                <c:pt idx="7104">
                  <c:v>23288</c:v>
                </c:pt>
                <c:pt idx="7105">
                  <c:v>243618</c:v>
                </c:pt>
                <c:pt idx="7106">
                  <c:v>109485</c:v>
                </c:pt>
                <c:pt idx="7107">
                  <c:v>31142</c:v>
                </c:pt>
                <c:pt idx="7108">
                  <c:v>25339</c:v>
                </c:pt>
                <c:pt idx="7109">
                  <c:v>32279</c:v>
                </c:pt>
                <c:pt idx="7110">
                  <c:v>27095</c:v>
                </c:pt>
                <c:pt idx="7111">
                  <c:v>45313</c:v>
                </c:pt>
                <c:pt idx="7112">
                  <c:v>145497</c:v>
                </c:pt>
                <c:pt idx="7113">
                  <c:v>27501</c:v>
                </c:pt>
                <c:pt idx="7114">
                  <c:v>206852</c:v>
                </c:pt>
                <c:pt idx="7115">
                  <c:v>23832</c:v>
                </c:pt>
                <c:pt idx="7116">
                  <c:v>78286</c:v>
                </c:pt>
                <c:pt idx="7117">
                  <c:v>38144</c:v>
                </c:pt>
                <c:pt idx="7118">
                  <c:v>30996</c:v>
                </c:pt>
                <c:pt idx="7119">
                  <c:v>39590</c:v>
                </c:pt>
                <c:pt idx="7120">
                  <c:v>42547</c:v>
                </c:pt>
                <c:pt idx="7121">
                  <c:v>106097</c:v>
                </c:pt>
                <c:pt idx="7122">
                  <c:v>121140</c:v>
                </c:pt>
                <c:pt idx="7123">
                  <c:v>100998</c:v>
                </c:pt>
                <c:pt idx="7124">
                  <c:v>51766</c:v>
                </c:pt>
                <c:pt idx="7125">
                  <c:v>28054</c:v>
                </c:pt>
                <c:pt idx="7126">
                  <c:v>50767</c:v>
                </c:pt>
                <c:pt idx="7127">
                  <c:v>26758</c:v>
                </c:pt>
                <c:pt idx="7128">
                  <c:v>45780</c:v>
                </c:pt>
                <c:pt idx="7129">
                  <c:v>43916</c:v>
                </c:pt>
                <c:pt idx="7130">
                  <c:v>99080</c:v>
                </c:pt>
                <c:pt idx="7131">
                  <c:v>59815</c:v>
                </c:pt>
                <c:pt idx="7132">
                  <c:v>125900</c:v>
                </c:pt>
                <c:pt idx="7133">
                  <c:v>53453</c:v>
                </c:pt>
                <c:pt idx="7134">
                  <c:v>117049</c:v>
                </c:pt>
                <c:pt idx="7135">
                  <c:v>25657</c:v>
                </c:pt>
                <c:pt idx="7136">
                  <c:v>78339</c:v>
                </c:pt>
                <c:pt idx="7137">
                  <c:v>66188</c:v>
                </c:pt>
                <c:pt idx="7138">
                  <c:v>37069</c:v>
                </c:pt>
                <c:pt idx="7139">
                  <c:v>39378</c:v>
                </c:pt>
                <c:pt idx="7140">
                  <c:v>31649</c:v>
                </c:pt>
                <c:pt idx="7141">
                  <c:v>40044</c:v>
                </c:pt>
                <c:pt idx="7142">
                  <c:v>271357</c:v>
                </c:pt>
                <c:pt idx="7143">
                  <c:v>37246</c:v>
                </c:pt>
                <c:pt idx="7144">
                  <c:v>32492</c:v>
                </c:pt>
                <c:pt idx="7145">
                  <c:v>40919</c:v>
                </c:pt>
                <c:pt idx="7146">
                  <c:v>132419</c:v>
                </c:pt>
                <c:pt idx="7147">
                  <c:v>74852</c:v>
                </c:pt>
                <c:pt idx="7148">
                  <c:v>39353</c:v>
                </c:pt>
                <c:pt idx="7149">
                  <c:v>46421</c:v>
                </c:pt>
                <c:pt idx="7150">
                  <c:v>103050</c:v>
                </c:pt>
                <c:pt idx="7151">
                  <c:v>46025</c:v>
                </c:pt>
                <c:pt idx="7152">
                  <c:v>152076</c:v>
                </c:pt>
                <c:pt idx="7153">
                  <c:v>82083</c:v>
                </c:pt>
                <c:pt idx="7154">
                  <c:v>20096</c:v>
                </c:pt>
                <c:pt idx="7155">
                  <c:v>57258</c:v>
                </c:pt>
                <c:pt idx="7156">
                  <c:v>42111</c:v>
                </c:pt>
                <c:pt idx="7157">
                  <c:v>33145</c:v>
                </c:pt>
                <c:pt idx="7158">
                  <c:v>52848</c:v>
                </c:pt>
                <c:pt idx="7159">
                  <c:v>26613</c:v>
                </c:pt>
                <c:pt idx="7160">
                  <c:v>41922</c:v>
                </c:pt>
                <c:pt idx="7161">
                  <c:v>42399</c:v>
                </c:pt>
                <c:pt idx="7162">
                  <c:v>70440</c:v>
                </c:pt>
                <c:pt idx="7163">
                  <c:v>57477</c:v>
                </c:pt>
                <c:pt idx="7164">
                  <c:v>75861</c:v>
                </c:pt>
                <c:pt idx="7165">
                  <c:v>70241</c:v>
                </c:pt>
                <c:pt idx="7166">
                  <c:v>38042</c:v>
                </c:pt>
                <c:pt idx="7167">
                  <c:v>60005</c:v>
                </c:pt>
                <c:pt idx="7168">
                  <c:v>84136</c:v>
                </c:pt>
                <c:pt idx="7169">
                  <c:v>45045</c:v>
                </c:pt>
                <c:pt idx="7170">
                  <c:v>22077</c:v>
                </c:pt>
                <c:pt idx="7171">
                  <c:v>68035</c:v>
                </c:pt>
                <c:pt idx="7172">
                  <c:v>105276</c:v>
                </c:pt>
                <c:pt idx="7173">
                  <c:v>44805</c:v>
                </c:pt>
                <c:pt idx="7174">
                  <c:v>37267</c:v>
                </c:pt>
                <c:pt idx="7175">
                  <c:v>29734</c:v>
                </c:pt>
                <c:pt idx="7176">
                  <c:v>92353</c:v>
                </c:pt>
                <c:pt idx="7177">
                  <c:v>102476</c:v>
                </c:pt>
                <c:pt idx="7178">
                  <c:v>91140</c:v>
                </c:pt>
                <c:pt idx="7179">
                  <c:v>25283</c:v>
                </c:pt>
                <c:pt idx="7180">
                  <c:v>34491</c:v>
                </c:pt>
                <c:pt idx="7181">
                  <c:v>65599</c:v>
                </c:pt>
                <c:pt idx="7182">
                  <c:v>24045</c:v>
                </c:pt>
                <c:pt idx="7183">
                  <c:v>58821</c:v>
                </c:pt>
                <c:pt idx="7184">
                  <c:v>64387</c:v>
                </c:pt>
                <c:pt idx="7185">
                  <c:v>24954</c:v>
                </c:pt>
                <c:pt idx="7186">
                  <c:v>96729</c:v>
                </c:pt>
                <c:pt idx="7187">
                  <c:v>45311</c:v>
                </c:pt>
                <c:pt idx="7188">
                  <c:v>67221</c:v>
                </c:pt>
                <c:pt idx="7189">
                  <c:v>35148</c:v>
                </c:pt>
                <c:pt idx="7190">
                  <c:v>58647</c:v>
                </c:pt>
                <c:pt idx="7191">
                  <c:v>124341</c:v>
                </c:pt>
                <c:pt idx="7192">
                  <c:v>25657</c:v>
                </c:pt>
                <c:pt idx="7193">
                  <c:v>36002</c:v>
                </c:pt>
                <c:pt idx="7194">
                  <c:v>34723</c:v>
                </c:pt>
                <c:pt idx="7195">
                  <c:v>27468</c:v>
                </c:pt>
                <c:pt idx="7196">
                  <c:v>51688</c:v>
                </c:pt>
                <c:pt idx="7197">
                  <c:v>43611</c:v>
                </c:pt>
                <c:pt idx="7198">
                  <c:v>44594</c:v>
                </c:pt>
                <c:pt idx="7199">
                  <c:v>143067</c:v>
                </c:pt>
                <c:pt idx="7200">
                  <c:v>96358</c:v>
                </c:pt>
                <c:pt idx="7201">
                  <c:v>42574</c:v>
                </c:pt>
                <c:pt idx="7202">
                  <c:v>93748</c:v>
                </c:pt>
                <c:pt idx="7203">
                  <c:v>33387</c:v>
                </c:pt>
                <c:pt idx="7204">
                  <c:v>71467</c:v>
                </c:pt>
                <c:pt idx="7205">
                  <c:v>28879</c:v>
                </c:pt>
                <c:pt idx="7206">
                  <c:v>29065</c:v>
                </c:pt>
                <c:pt idx="7207">
                  <c:v>85455</c:v>
                </c:pt>
                <c:pt idx="7208">
                  <c:v>64337</c:v>
                </c:pt>
                <c:pt idx="7209">
                  <c:v>23851</c:v>
                </c:pt>
                <c:pt idx="7210">
                  <c:v>143675</c:v>
                </c:pt>
                <c:pt idx="7211">
                  <c:v>80304</c:v>
                </c:pt>
                <c:pt idx="7212">
                  <c:v>50450</c:v>
                </c:pt>
                <c:pt idx="7213">
                  <c:v>145033</c:v>
                </c:pt>
                <c:pt idx="7214">
                  <c:v>36500</c:v>
                </c:pt>
                <c:pt idx="7215">
                  <c:v>133699</c:v>
                </c:pt>
                <c:pt idx="7216">
                  <c:v>48559</c:v>
                </c:pt>
                <c:pt idx="7217">
                  <c:v>148127</c:v>
                </c:pt>
                <c:pt idx="7218">
                  <c:v>41377</c:v>
                </c:pt>
                <c:pt idx="7219">
                  <c:v>69124</c:v>
                </c:pt>
                <c:pt idx="7220">
                  <c:v>149437</c:v>
                </c:pt>
                <c:pt idx="7221">
                  <c:v>22420</c:v>
                </c:pt>
                <c:pt idx="7222">
                  <c:v>40765</c:v>
                </c:pt>
                <c:pt idx="7223">
                  <c:v>69167</c:v>
                </c:pt>
                <c:pt idx="7224">
                  <c:v>25220</c:v>
                </c:pt>
                <c:pt idx="7225">
                  <c:v>27005</c:v>
                </c:pt>
                <c:pt idx="7226">
                  <c:v>63950</c:v>
                </c:pt>
                <c:pt idx="7227">
                  <c:v>47512</c:v>
                </c:pt>
                <c:pt idx="7228">
                  <c:v>50938</c:v>
                </c:pt>
                <c:pt idx="7229">
                  <c:v>314319</c:v>
                </c:pt>
                <c:pt idx="7230">
                  <c:v>31334</c:v>
                </c:pt>
                <c:pt idx="7231">
                  <c:v>98707</c:v>
                </c:pt>
                <c:pt idx="7232">
                  <c:v>33450</c:v>
                </c:pt>
                <c:pt idx="7233">
                  <c:v>52038</c:v>
                </c:pt>
                <c:pt idx="7234">
                  <c:v>29398</c:v>
                </c:pt>
                <c:pt idx="7235">
                  <c:v>45030</c:v>
                </c:pt>
                <c:pt idx="7236">
                  <c:v>116551</c:v>
                </c:pt>
                <c:pt idx="7237">
                  <c:v>37671</c:v>
                </c:pt>
                <c:pt idx="7238">
                  <c:v>220780</c:v>
                </c:pt>
                <c:pt idx="7239">
                  <c:v>60358</c:v>
                </c:pt>
                <c:pt idx="7240">
                  <c:v>63749</c:v>
                </c:pt>
                <c:pt idx="7241">
                  <c:v>36804</c:v>
                </c:pt>
                <c:pt idx="7242">
                  <c:v>34045</c:v>
                </c:pt>
                <c:pt idx="7243">
                  <c:v>216261</c:v>
                </c:pt>
                <c:pt idx="7244">
                  <c:v>83554</c:v>
                </c:pt>
                <c:pt idx="7245">
                  <c:v>46057</c:v>
                </c:pt>
                <c:pt idx="7246">
                  <c:v>48569</c:v>
                </c:pt>
                <c:pt idx="7247">
                  <c:v>26818</c:v>
                </c:pt>
                <c:pt idx="7248">
                  <c:v>34853</c:v>
                </c:pt>
                <c:pt idx="7249">
                  <c:v>110599</c:v>
                </c:pt>
                <c:pt idx="7250">
                  <c:v>50606</c:v>
                </c:pt>
                <c:pt idx="7251">
                  <c:v>35319</c:v>
                </c:pt>
                <c:pt idx="7252">
                  <c:v>32653</c:v>
                </c:pt>
                <c:pt idx="7253">
                  <c:v>130609</c:v>
                </c:pt>
                <c:pt idx="7254">
                  <c:v>26282</c:v>
                </c:pt>
                <c:pt idx="7255">
                  <c:v>34824</c:v>
                </c:pt>
                <c:pt idx="7256">
                  <c:v>46452</c:v>
                </c:pt>
                <c:pt idx="7257">
                  <c:v>106489</c:v>
                </c:pt>
                <c:pt idx="7258">
                  <c:v>130592</c:v>
                </c:pt>
                <c:pt idx="7259">
                  <c:v>32697</c:v>
                </c:pt>
                <c:pt idx="7260">
                  <c:v>45037</c:v>
                </c:pt>
                <c:pt idx="7261">
                  <c:v>137008</c:v>
                </c:pt>
                <c:pt idx="7262">
                  <c:v>33552</c:v>
                </c:pt>
                <c:pt idx="7263">
                  <c:v>25743</c:v>
                </c:pt>
                <c:pt idx="7264">
                  <c:v>231853</c:v>
                </c:pt>
                <c:pt idx="7265">
                  <c:v>40688</c:v>
                </c:pt>
                <c:pt idx="7266">
                  <c:v>44136</c:v>
                </c:pt>
                <c:pt idx="7267">
                  <c:v>60405</c:v>
                </c:pt>
                <c:pt idx="7268">
                  <c:v>22887</c:v>
                </c:pt>
                <c:pt idx="7269">
                  <c:v>68320</c:v>
                </c:pt>
                <c:pt idx="7270">
                  <c:v>166153</c:v>
                </c:pt>
                <c:pt idx="7271">
                  <c:v>44869</c:v>
                </c:pt>
                <c:pt idx="7272">
                  <c:v>25607</c:v>
                </c:pt>
                <c:pt idx="7273">
                  <c:v>32361</c:v>
                </c:pt>
                <c:pt idx="7274">
                  <c:v>27811</c:v>
                </c:pt>
                <c:pt idx="7275">
                  <c:v>231472</c:v>
                </c:pt>
                <c:pt idx="7276">
                  <c:v>68072</c:v>
                </c:pt>
                <c:pt idx="7277">
                  <c:v>44871</c:v>
                </c:pt>
                <c:pt idx="7278">
                  <c:v>36930</c:v>
                </c:pt>
                <c:pt idx="7279">
                  <c:v>41850</c:v>
                </c:pt>
                <c:pt idx="7280">
                  <c:v>58256</c:v>
                </c:pt>
                <c:pt idx="7281">
                  <c:v>44536</c:v>
                </c:pt>
                <c:pt idx="7282">
                  <c:v>63965</c:v>
                </c:pt>
                <c:pt idx="7283">
                  <c:v>29024</c:v>
                </c:pt>
                <c:pt idx="7284">
                  <c:v>88774</c:v>
                </c:pt>
                <c:pt idx="7285">
                  <c:v>50782</c:v>
                </c:pt>
                <c:pt idx="7286">
                  <c:v>33276</c:v>
                </c:pt>
                <c:pt idx="7287">
                  <c:v>43815</c:v>
                </c:pt>
                <c:pt idx="7288">
                  <c:v>82805</c:v>
                </c:pt>
                <c:pt idx="7289">
                  <c:v>88336</c:v>
                </c:pt>
                <c:pt idx="7290">
                  <c:v>67619</c:v>
                </c:pt>
                <c:pt idx="7291">
                  <c:v>47805</c:v>
                </c:pt>
                <c:pt idx="7292">
                  <c:v>143795</c:v>
                </c:pt>
                <c:pt idx="7293">
                  <c:v>32812</c:v>
                </c:pt>
                <c:pt idx="7294">
                  <c:v>44232</c:v>
                </c:pt>
                <c:pt idx="7295">
                  <c:v>94896</c:v>
                </c:pt>
                <c:pt idx="7296">
                  <c:v>146038</c:v>
                </c:pt>
                <c:pt idx="7297">
                  <c:v>43255</c:v>
                </c:pt>
                <c:pt idx="7298">
                  <c:v>31091</c:v>
                </c:pt>
                <c:pt idx="7299">
                  <c:v>85238</c:v>
                </c:pt>
                <c:pt idx="7300">
                  <c:v>95182</c:v>
                </c:pt>
                <c:pt idx="7301">
                  <c:v>34262</c:v>
                </c:pt>
                <c:pt idx="7302">
                  <c:v>55937</c:v>
                </c:pt>
                <c:pt idx="7303">
                  <c:v>94200</c:v>
                </c:pt>
                <c:pt idx="7304">
                  <c:v>34699</c:v>
                </c:pt>
                <c:pt idx="7305">
                  <c:v>40853</c:v>
                </c:pt>
                <c:pt idx="7306">
                  <c:v>54003</c:v>
                </c:pt>
                <c:pt idx="7307">
                  <c:v>35382</c:v>
                </c:pt>
                <c:pt idx="7308">
                  <c:v>68508</c:v>
                </c:pt>
                <c:pt idx="7309">
                  <c:v>147102</c:v>
                </c:pt>
                <c:pt idx="7310">
                  <c:v>80305</c:v>
                </c:pt>
                <c:pt idx="7311">
                  <c:v>39652</c:v>
                </c:pt>
                <c:pt idx="7312">
                  <c:v>33281</c:v>
                </c:pt>
                <c:pt idx="7313">
                  <c:v>194389</c:v>
                </c:pt>
                <c:pt idx="7314">
                  <c:v>35894</c:v>
                </c:pt>
                <c:pt idx="7315">
                  <c:v>33134</c:v>
                </c:pt>
                <c:pt idx="7316">
                  <c:v>27005</c:v>
                </c:pt>
                <c:pt idx="7317">
                  <c:v>110621</c:v>
                </c:pt>
                <c:pt idx="7318">
                  <c:v>38365</c:v>
                </c:pt>
                <c:pt idx="7319">
                  <c:v>66897</c:v>
                </c:pt>
                <c:pt idx="7320">
                  <c:v>62819</c:v>
                </c:pt>
                <c:pt idx="7321">
                  <c:v>156844</c:v>
                </c:pt>
                <c:pt idx="7322">
                  <c:v>51805</c:v>
                </c:pt>
                <c:pt idx="7323">
                  <c:v>50600</c:v>
                </c:pt>
                <c:pt idx="7324">
                  <c:v>28825</c:v>
                </c:pt>
                <c:pt idx="7325">
                  <c:v>25151</c:v>
                </c:pt>
                <c:pt idx="7326">
                  <c:v>49975</c:v>
                </c:pt>
                <c:pt idx="7327">
                  <c:v>39297</c:v>
                </c:pt>
                <c:pt idx="7328">
                  <c:v>27224</c:v>
                </c:pt>
                <c:pt idx="7329">
                  <c:v>35856</c:v>
                </c:pt>
                <c:pt idx="7330">
                  <c:v>28613</c:v>
                </c:pt>
                <c:pt idx="7331">
                  <c:v>37310</c:v>
                </c:pt>
                <c:pt idx="7332">
                  <c:v>36041</c:v>
                </c:pt>
                <c:pt idx="7333">
                  <c:v>37901</c:v>
                </c:pt>
                <c:pt idx="7334">
                  <c:v>29348</c:v>
                </c:pt>
                <c:pt idx="7335">
                  <c:v>21460</c:v>
                </c:pt>
                <c:pt idx="7336">
                  <c:v>52446</c:v>
                </c:pt>
                <c:pt idx="7337">
                  <c:v>34024</c:v>
                </c:pt>
                <c:pt idx="7338">
                  <c:v>80820</c:v>
                </c:pt>
                <c:pt idx="7339">
                  <c:v>37513</c:v>
                </c:pt>
                <c:pt idx="7340">
                  <c:v>35990</c:v>
                </c:pt>
                <c:pt idx="7341">
                  <c:v>41021</c:v>
                </c:pt>
                <c:pt idx="7342">
                  <c:v>40557</c:v>
                </c:pt>
                <c:pt idx="7343">
                  <c:v>44357</c:v>
                </c:pt>
                <c:pt idx="7344">
                  <c:v>35837</c:v>
                </c:pt>
                <c:pt idx="7345">
                  <c:v>34920</c:v>
                </c:pt>
                <c:pt idx="7346">
                  <c:v>31298</c:v>
                </c:pt>
                <c:pt idx="7347">
                  <c:v>22509</c:v>
                </c:pt>
                <c:pt idx="7348">
                  <c:v>123575</c:v>
                </c:pt>
                <c:pt idx="7349">
                  <c:v>30086</c:v>
                </c:pt>
                <c:pt idx="7350">
                  <c:v>51740</c:v>
                </c:pt>
                <c:pt idx="7351">
                  <c:v>96115</c:v>
                </c:pt>
                <c:pt idx="7352">
                  <c:v>196393</c:v>
                </c:pt>
                <c:pt idx="7353">
                  <c:v>21037</c:v>
                </c:pt>
                <c:pt idx="7354">
                  <c:v>61745</c:v>
                </c:pt>
                <c:pt idx="7355">
                  <c:v>69520</c:v>
                </c:pt>
                <c:pt idx="7356">
                  <c:v>51314</c:v>
                </c:pt>
                <c:pt idx="7357">
                  <c:v>19299</c:v>
                </c:pt>
                <c:pt idx="7358">
                  <c:v>91117</c:v>
                </c:pt>
                <c:pt idx="7359">
                  <c:v>126153</c:v>
                </c:pt>
                <c:pt idx="7360">
                  <c:v>23814</c:v>
                </c:pt>
                <c:pt idx="7361">
                  <c:v>71707</c:v>
                </c:pt>
                <c:pt idx="7362">
                  <c:v>37621</c:v>
                </c:pt>
                <c:pt idx="7363">
                  <c:v>117910</c:v>
                </c:pt>
                <c:pt idx="7364">
                  <c:v>56244</c:v>
                </c:pt>
                <c:pt idx="7365">
                  <c:v>42445</c:v>
                </c:pt>
                <c:pt idx="7366">
                  <c:v>39783</c:v>
                </c:pt>
                <c:pt idx="7367">
                  <c:v>65505</c:v>
                </c:pt>
                <c:pt idx="7368">
                  <c:v>60705</c:v>
                </c:pt>
                <c:pt idx="7369">
                  <c:v>38700</c:v>
                </c:pt>
                <c:pt idx="7370">
                  <c:v>25862</c:v>
                </c:pt>
                <c:pt idx="7371">
                  <c:v>50610</c:v>
                </c:pt>
                <c:pt idx="7372">
                  <c:v>39577</c:v>
                </c:pt>
                <c:pt idx="7373">
                  <c:v>41875</c:v>
                </c:pt>
                <c:pt idx="7374">
                  <c:v>23048</c:v>
                </c:pt>
                <c:pt idx="7375">
                  <c:v>29521</c:v>
                </c:pt>
                <c:pt idx="7376">
                  <c:v>23291</c:v>
                </c:pt>
                <c:pt idx="7377">
                  <c:v>96467</c:v>
                </c:pt>
                <c:pt idx="7378">
                  <c:v>88255</c:v>
                </c:pt>
                <c:pt idx="7379">
                  <c:v>52443</c:v>
                </c:pt>
                <c:pt idx="7380">
                  <c:v>23375</c:v>
                </c:pt>
                <c:pt idx="7381">
                  <c:v>69558</c:v>
                </c:pt>
                <c:pt idx="7382">
                  <c:v>105883</c:v>
                </c:pt>
                <c:pt idx="7383">
                  <c:v>36579</c:v>
                </c:pt>
                <c:pt idx="7384">
                  <c:v>62514</c:v>
                </c:pt>
                <c:pt idx="7385">
                  <c:v>46192</c:v>
                </c:pt>
                <c:pt idx="7386">
                  <c:v>220174</c:v>
                </c:pt>
                <c:pt idx="7387">
                  <c:v>23708</c:v>
                </c:pt>
                <c:pt idx="7388">
                  <c:v>71531</c:v>
                </c:pt>
                <c:pt idx="7389">
                  <c:v>20919</c:v>
                </c:pt>
                <c:pt idx="7390">
                  <c:v>53114</c:v>
                </c:pt>
                <c:pt idx="7391">
                  <c:v>54893</c:v>
                </c:pt>
                <c:pt idx="7392">
                  <c:v>39262</c:v>
                </c:pt>
                <c:pt idx="7393">
                  <c:v>39086</c:v>
                </c:pt>
                <c:pt idx="7394">
                  <c:v>120274</c:v>
                </c:pt>
                <c:pt idx="7395">
                  <c:v>123543</c:v>
                </c:pt>
                <c:pt idx="7396">
                  <c:v>170631</c:v>
                </c:pt>
                <c:pt idx="7397">
                  <c:v>59212</c:v>
                </c:pt>
                <c:pt idx="7398">
                  <c:v>30396</c:v>
                </c:pt>
                <c:pt idx="7399">
                  <c:v>40127</c:v>
                </c:pt>
                <c:pt idx="7400">
                  <c:v>46172</c:v>
                </c:pt>
                <c:pt idx="7401">
                  <c:v>43058</c:v>
                </c:pt>
                <c:pt idx="7402">
                  <c:v>58669</c:v>
                </c:pt>
                <c:pt idx="7403">
                  <c:v>28825</c:v>
                </c:pt>
                <c:pt idx="7404">
                  <c:v>54275</c:v>
                </c:pt>
                <c:pt idx="7405">
                  <c:v>33267</c:v>
                </c:pt>
                <c:pt idx="7406">
                  <c:v>24885</c:v>
                </c:pt>
                <c:pt idx="7407">
                  <c:v>44502</c:v>
                </c:pt>
                <c:pt idx="7408">
                  <c:v>150421</c:v>
                </c:pt>
                <c:pt idx="7409">
                  <c:v>30717</c:v>
                </c:pt>
                <c:pt idx="7410">
                  <c:v>39837</c:v>
                </c:pt>
                <c:pt idx="7411">
                  <c:v>39974</c:v>
                </c:pt>
                <c:pt idx="7412">
                  <c:v>224519</c:v>
                </c:pt>
                <c:pt idx="7413">
                  <c:v>89045</c:v>
                </c:pt>
                <c:pt idx="7414">
                  <c:v>93954</c:v>
                </c:pt>
                <c:pt idx="7415">
                  <c:v>26065</c:v>
                </c:pt>
                <c:pt idx="7416">
                  <c:v>44321</c:v>
                </c:pt>
                <c:pt idx="7417">
                  <c:v>105140</c:v>
                </c:pt>
                <c:pt idx="7418">
                  <c:v>38142</c:v>
                </c:pt>
                <c:pt idx="7419">
                  <c:v>161924</c:v>
                </c:pt>
                <c:pt idx="7420">
                  <c:v>105009</c:v>
                </c:pt>
                <c:pt idx="7421">
                  <c:v>30551</c:v>
                </c:pt>
                <c:pt idx="7422">
                  <c:v>41778</c:v>
                </c:pt>
                <c:pt idx="7423">
                  <c:v>26633</c:v>
                </c:pt>
                <c:pt idx="7424">
                  <c:v>63142</c:v>
                </c:pt>
                <c:pt idx="7425">
                  <c:v>40562</c:v>
                </c:pt>
                <c:pt idx="7426">
                  <c:v>41658</c:v>
                </c:pt>
                <c:pt idx="7427">
                  <c:v>87003</c:v>
                </c:pt>
                <c:pt idx="7428">
                  <c:v>41127</c:v>
                </c:pt>
                <c:pt idx="7429">
                  <c:v>40987</c:v>
                </c:pt>
                <c:pt idx="7430">
                  <c:v>23537</c:v>
                </c:pt>
                <c:pt idx="7431">
                  <c:v>120754</c:v>
                </c:pt>
                <c:pt idx="7432">
                  <c:v>32121</c:v>
                </c:pt>
                <c:pt idx="7433">
                  <c:v>22272</c:v>
                </c:pt>
                <c:pt idx="7434">
                  <c:v>40633</c:v>
                </c:pt>
                <c:pt idx="7435">
                  <c:v>46320</c:v>
                </c:pt>
                <c:pt idx="7436">
                  <c:v>38341</c:v>
                </c:pt>
                <c:pt idx="7437">
                  <c:v>25178</c:v>
                </c:pt>
                <c:pt idx="7438">
                  <c:v>29484</c:v>
                </c:pt>
                <c:pt idx="7439">
                  <c:v>55185</c:v>
                </c:pt>
                <c:pt idx="7440">
                  <c:v>84347</c:v>
                </c:pt>
                <c:pt idx="7441">
                  <c:v>81549</c:v>
                </c:pt>
                <c:pt idx="7442">
                  <c:v>22727</c:v>
                </c:pt>
                <c:pt idx="7443">
                  <c:v>84603</c:v>
                </c:pt>
                <c:pt idx="7444">
                  <c:v>43431</c:v>
                </c:pt>
                <c:pt idx="7445">
                  <c:v>41113</c:v>
                </c:pt>
                <c:pt idx="7446">
                  <c:v>39860</c:v>
                </c:pt>
                <c:pt idx="7447">
                  <c:v>58504</c:v>
                </c:pt>
                <c:pt idx="7448">
                  <c:v>27329</c:v>
                </c:pt>
                <c:pt idx="7449">
                  <c:v>37265</c:v>
                </c:pt>
                <c:pt idx="7450">
                  <c:v>29692</c:v>
                </c:pt>
                <c:pt idx="7451">
                  <c:v>74404</c:v>
                </c:pt>
                <c:pt idx="7452">
                  <c:v>56889</c:v>
                </c:pt>
                <c:pt idx="7453">
                  <c:v>31469</c:v>
                </c:pt>
                <c:pt idx="7454">
                  <c:v>224004</c:v>
                </c:pt>
                <c:pt idx="7455">
                  <c:v>205549</c:v>
                </c:pt>
                <c:pt idx="7456">
                  <c:v>29465</c:v>
                </c:pt>
                <c:pt idx="7457">
                  <c:v>39888</c:v>
                </c:pt>
                <c:pt idx="7458">
                  <c:v>49548</c:v>
                </c:pt>
                <c:pt idx="7459">
                  <c:v>132591</c:v>
                </c:pt>
                <c:pt idx="7460">
                  <c:v>47965</c:v>
                </c:pt>
                <c:pt idx="7461">
                  <c:v>38752</c:v>
                </c:pt>
                <c:pt idx="7462">
                  <c:v>74384</c:v>
                </c:pt>
                <c:pt idx="7463">
                  <c:v>68404</c:v>
                </c:pt>
                <c:pt idx="7464">
                  <c:v>27386</c:v>
                </c:pt>
                <c:pt idx="7465">
                  <c:v>44888</c:v>
                </c:pt>
                <c:pt idx="7466">
                  <c:v>37641</c:v>
                </c:pt>
                <c:pt idx="7467">
                  <c:v>241796</c:v>
                </c:pt>
                <c:pt idx="7468">
                  <c:v>26052</c:v>
                </c:pt>
                <c:pt idx="7469">
                  <c:v>22140</c:v>
                </c:pt>
                <c:pt idx="7470">
                  <c:v>39236</c:v>
                </c:pt>
                <c:pt idx="7471">
                  <c:v>66958</c:v>
                </c:pt>
                <c:pt idx="7472">
                  <c:v>54993</c:v>
                </c:pt>
                <c:pt idx="7473">
                  <c:v>46523</c:v>
                </c:pt>
                <c:pt idx="7474">
                  <c:v>127435</c:v>
                </c:pt>
                <c:pt idx="7475">
                  <c:v>39584</c:v>
                </c:pt>
                <c:pt idx="7476">
                  <c:v>63660</c:v>
                </c:pt>
                <c:pt idx="7477">
                  <c:v>62698</c:v>
                </c:pt>
                <c:pt idx="7478">
                  <c:v>58819</c:v>
                </c:pt>
                <c:pt idx="7479">
                  <c:v>43178</c:v>
                </c:pt>
                <c:pt idx="7480">
                  <c:v>251723</c:v>
                </c:pt>
                <c:pt idx="7481">
                  <c:v>40022</c:v>
                </c:pt>
                <c:pt idx="7482">
                  <c:v>98194</c:v>
                </c:pt>
                <c:pt idx="7483">
                  <c:v>46501</c:v>
                </c:pt>
                <c:pt idx="7484">
                  <c:v>32348</c:v>
                </c:pt>
                <c:pt idx="7485">
                  <c:v>39318</c:v>
                </c:pt>
                <c:pt idx="7486">
                  <c:v>60342</c:v>
                </c:pt>
                <c:pt idx="7487">
                  <c:v>16382</c:v>
                </c:pt>
                <c:pt idx="7488">
                  <c:v>44430</c:v>
                </c:pt>
                <c:pt idx="7489">
                  <c:v>90524</c:v>
                </c:pt>
                <c:pt idx="7490">
                  <c:v>97394</c:v>
                </c:pt>
                <c:pt idx="7491">
                  <c:v>41748</c:v>
                </c:pt>
                <c:pt idx="7492">
                  <c:v>73865</c:v>
                </c:pt>
                <c:pt idx="7493">
                  <c:v>52107</c:v>
                </c:pt>
                <c:pt idx="7494">
                  <c:v>63287</c:v>
                </c:pt>
                <c:pt idx="7495">
                  <c:v>25861</c:v>
                </c:pt>
                <c:pt idx="7496">
                  <c:v>190196</c:v>
                </c:pt>
                <c:pt idx="7497">
                  <c:v>27589</c:v>
                </c:pt>
                <c:pt idx="7498">
                  <c:v>38801</c:v>
                </c:pt>
                <c:pt idx="7499">
                  <c:v>69796</c:v>
                </c:pt>
                <c:pt idx="7500">
                  <c:v>48027</c:v>
                </c:pt>
                <c:pt idx="7501">
                  <c:v>124153</c:v>
                </c:pt>
                <c:pt idx="7502">
                  <c:v>31298</c:v>
                </c:pt>
                <c:pt idx="7503">
                  <c:v>48876</c:v>
                </c:pt>
                <c:pt idx="7504">
                  <c:v>66811</c:v>
                </c:pt>
                <c:pt idx="7505">
                  <c:v>40399</c:v>
                </c:pt>
                <c:pt idx="7506">
                  <c:v>44746</c:v>
                </c:pt>
                <c:pt idx="7507">
                  <c:v>66465</c:v>
                </c:pt>
                <c:pt idx="7508">
                  <c:v>95634</c:v>
                </c:pt>
                <c:pt idx="7509">
                  <c:v>35790</c:v>
                </c:pt>
                <c:pt idx="7510">
                  <c:v>53962</c:v>
                </c:pt>
                <c:pt idx="7511">
                  <c:v>143755</c:v>
                </c:pt>
                <c:pt idx="7512">
                  <c:v>106857</c:v>
                </c:pt>
                <c:pt idx="7513">
                  <c:v>52672</c:v>
                </c:pt>
                <c:pt idx="7514">
                  <c:v>43788</c:v>
                </c:pt>
                <c:pt idx="7515">
                  <c:v>47609</c:v>
                </c:pt>
                <c:pt idx="7516">
                  <c:v>29787</c:v>
                </c:pt>
                <c:pt idx="7517">
                  <c:v>24085</c:v>
                </c:pt>
                <c:pt idx="7518">
                  <c:v>42383</c:v>
                </c:pt>
                <c:pt idx="7519">
                  <c:v>183503</c:v>
                </c:pt>
                <c:pt idx="7520">
                  <c:v>98565</c:v>
                </c:pt>
                <c:pt idx="7521">
                  <c:v>45439</c:v>
                </c:pt>
                <c:pt idx="7522">
                  <c:v>86107</c:v>
                </c:pt>
                <c:pt idx="7523">
                  <c:v>157436</c:v>
                </c:pt>
                <c:pt idx="7524">
                  <c:v>44559</c:v>
                </c:pt>
                <c:pt idx="7525">
                  <c:v>63803</c:v>
                </c:pt>
                <c:pt idx="7526">
                  <c:v>137653</c:v>
                </c:pt>
                <c:pt idx="7527">
                  <c:v>31246</c:v>
                </c:pt>
                <c:pt idx="7528">
                  <c:v>62165</c:v>
                </c:pt>
                <c:pt idx="7529">
                  <c:v>174176</c:v>
                </c:pt>
                <c:pt idx="7530">
                  <c:v>33284</c:v>
                </c:pt>
                <c:pt idx="7531">
                  <c:v>90575</c:v>
                </c:pt>
                <c:pt idx="7532">
                  <c:v>38304</c:v>
                </c:pt>
                <c:pt idx="7533">
                  <c:v>27690</c:v>
                </c:pt>
                <c:pt idx="7534">
                  <c:v>65024</c:v>
                </c:pt>
                <c:pt idx="7535">
                  <c:v>28462</c:v>
                </c:pt>
                <c:pt idx="7536">
                  <c:v>91164</c:v>
                </c:pt>
                <c:pt idx="7537">
                  <c:v>35836</c:v>
                </c:pt>
                <c:pt idx="7538">
                  <c:v>135338</c:v>
                </c:pt>
                <c:pt idx="7539">
                  <c:v>46775</c:v>
                </c:pt>
                <c:pt idx="7540">
                  <c:v>66811</c:v>
                </c:pt>
                <c:pt idx="7541">
                  <c:v>126104</c:v>
                </c:pt>
                <c:pt idx="7542">
                  <c:v>122201</c:v>
                </c:pt>
                <c:pt idx="7543">
                  <c:v>45825</c:v>
                </c:pt>
                <c:pt idx="7544">
                  <c:v>39927</c:v>
                </c:pt>
                <c:pt idx="7545">
                  <c:v>26394</c:v>
                </c:pt>
                <c:pt idx="7546">
                  <c:v>60906</c:v>
                </c:pt>
                <c:pt idx="7547">
                  <c:v>28203</c:v>
                </c:pt>
                <c:pt idx="7548">
                  <c:v>36011</c:v>
                </c:pt>
                <c:pt idx="7549">
                  <c:v>40120</c:v>
                </c:pt>
                <c:pt idx="7550">
                  <c:v>66527</c:v>
                </c:pt>
                <c:pt idx="7551">
                  <c:v>116947</c:v>
                </c:pt>
                <c:pt idx="7552">
                  <c:v>114513</c:v>
                </c:pt>
                <c:pt idx="7553">
                  <c:v>54482</c:v>
                </c:pt>
                <c:pt idx="7554">
                  <c:v>57702</c:v>
                </c:pt>
                <c:pt idx="7555">
                  <c:v>269141</c:v>
                </c:pt>
                <c:pt idx="7556">
                  <c:v>33775</c:v>
                </c:pt>
                <c:pt idx="7557">
                  <c:v>38975</c:v>
                </c:pt>
                <c:pt idx="7558">
                  <c:v>54713</c:v>
                </c:pt>
                <c:pt idx="7559">
                  <c:v>29311</c:v>
                </c:pt>
                <c:pt idx="7560">
                  <c:v>38963</c:v>
                </c:pt>
                <c:pt idx="7561">
                  <c:v>43543</c:v>
                </c:pt>
                <c:pt idx="7562">
                  <c:v>36337</c:v>
                </c:pt>
                <c:pt idx="7563">
                  <c:v>138653</c:v>
                </c:pt>
                <c:pt idx="7564">
                  <c:v>24565</c:v>
                </c:pt>
                <c:pt idx="7565">
                  <c:v>61715</c:v>
                </c:pt>
                <c:pt idx="7566">
                  <c:v>226208</c:v>
                </c:pt>
                <c:pt idx="7567">
                  <c:v>24823</c:v>
                </c:pt>
                <c:pt idx="7568">
                  <c:v>44475</c:v>
                </c:pt>
                <c:pt idx="7569">
                  <c:v>91315</c:v>
                </c:pt>
                <c:pt idx="7570">
                  <c:v>146859</c:v>
                </c:pt>
                <c:pt idx="7571">
                  <c:v>122140</c:v>
                </c:pt>
                <c:pt idx="7572">
                  <c:v>232611</c:v>
                </c:pt>
                <c:pt idx="7573">
                  <c:v>40252</c:v>
                </c:pt>
                <c:pt idx="7574">
                  <c:v>46177</c:v>
                </c:pt>
                <c:pt idx="7575">
                  <c:v>57537</c:v>
                </c:pt>
                <c:pt idx="7576">
                  <c:v>31161</c:v>
                </c:pt>
                <c:pt idx="7577">
                  <c:v>125221</c:v>
                </c:pt>
                <c:pt idx="7578">
                  <c:v>138767</c:v>
                </c:pt>
                <c:pt idx="7579">
                  <c:v>162479</c:v>
                </c:pt>
                <c:pt idx="7580">
                  <c:v>52432</c:v>
                </c:pt>
                <c:pt idx="7581">
                  <c:v>75072</c:v>
                </c:pt>
                <c:pt idx="7582">
                  <c:v>42509</c:v>
                </c:pt>
                <c:pt idx="7583">
                  <c:v>25257</c:v>
                </c:pt>
                <c:pt idx="7584">
                  <c:v>88151</c:v>
                </c:pt>
                <c:pt idx="7585">
                  <c:v>240427</c:v>
                </c:pt>
                <c:pt idx="7586">
                  <c:v>127859</c:v>
                </c:pt>
                <c:pt idx="7587">
                  <c:v>53697</c:v>
                </c:pt>
                <c:pt idx="7588">
                  <c:v>261230</c:v>
                </c:pt>
                <c:pt idx="7589">
                  <c:v>31200</c:v>
                </c:pt>
                <c:pt idx="7590">
                  <c:v>103390</c:v>
                </c:pt>
                <c:pt idx="7591">
                  <c:v>72397</c:v>
                </c:pt>
                <c:pt idx="7592">
                  <c:v>93931</c:v>
                </c:pt>
                <c:pt idx="7593">
                  <c:v>37858</c:v>
                </c:pt>
                <c:pt idx="7594">
                  <c:v>52218</c:v>
                </c:pt>
                <c:pt idx="7595">
                  <c:v>27145</c:v>
                </c:pt>
                <c:pt idx="7596">
                  <c:v>46515</c:v>
                </c:pt>
                <c:pt idx="7597">
                  <c:v>53035</c:v>
                </c:pt>
                <c:pt idx="7598">
                  <c:v>32925</c:v>
                </c:pt>
                <c:pt idx="7599">
                  <c:v>23719</c:v>
                </c:pt>
                <c:pt idx="7600">
                  <c:v>24168</c:v>
                </c:pt>
                <c:pt idx="7601">
                  <c:v>49704</c:v>
                </c:pt>
                <c:pt idx="7602">
                  <c:v>30641</c:v>
                </c:pt>
                <c:pt idx="7603">
                  <c:v>251780</c:v>
                </c:pt>
                <c:pt idx="7604">
                  <c:v>115919</c:v>
                </c:pt>
                <c:pt idx="7605">
                  <c:v>97982</c:v>
                </c:pt>
                <c:pt idx="7606">
                  <c:v>43254</c:v>
                </c:pt>
                <c:pt idx="7607">
                  <c:v>33244</c:v>
                </c:pt>
                <c:pt idx="7608">
                  <c:v>26883</c:v>
                </c:pt>
                <c:pt idx="7609">
                  <c:v>67959</c:v>
                </c:pt>
                <c:pt idx="7610">
                  <c:v>31376</c:v>
                </c:pt>
                <c:pt idx="7611">
                  <c:v>67235</c:v>
                </c:pt>
                <c:pt idx="7612">
                  <c:v>44967</c:v>
                </c:pt>
                <c:pt idx="7613">
                  <c:v>41172</c:v>
                </c:pt>
                <c:pt idx="7614">
                  <c:v>28484</c:v>
                </c:pt>
                <c:pt idx="7615">
                  <c:v>40362</c:v>
                </c:pt>
                <c:pt idx="7616">
                  <c:v>109992</c:v>
                </c:pt>
                <c:pt idx="7617">
                  <c:v>36269</c:v>
                </c:pt>
                <c:pt idx="7618">
                  <c:v>30608</c:v>
                </c:pt>
                <c:pt idx="7619">
                  <c:v>22127</c:v>
                </c:pt>
                <c:pt idx="7620">
                  <c:v>148997</c:v>
                </c:pt>
                <c:pt idx="7621">
                  <c:v>62483</c:v>
                </c:pt>
                <c:pt idx="7622">
                  <c:v>197372</c:v>
                </c:pt>
                <c:pt idx="7623">
                  <c:v>33681</c:v>
                </c:pt>
                <c:pt idx="7624">
                  <c:v>101253</c:v>
                </c:pt>
                <c:pt idx="7625">
                  <c:v>20717</c:v>
                </c:pt>
                <c:pt idx="7626">
                  <c:v>31488</c:v>
                </c:pt>
                <c:pt idx="7627">
                  <c:v>41133</c:v>
                </c:pt>
                <c:pt idx="7628">
                  <c:v>40971</c:v>
                </c:pt>
                <c:pt idx="7629">
                  <c:v>43861</c:v>
                </c:pt>
                <c:pt idx="7630">
                  <c:v>35998</c:v>
                </c:pt>
                <c:pt idx="7631">
                  <c:v>43224</c:v>
                </c:pt>
                <c:pt idx="7632">
                  <c:v>43173</c:v>
                </c:pt>
                <c:pt idx="7633">
                  <c:v>74929</c:v>
                </c:pt>
                <c:pt idx="7634">
                  <c:v>31933</c:v>
                </c:pt>
                <c:pt idx="7635">
                  <c:v>153377</c:v>
                </c:pt>
                <c:pt idx="7636">
                  <c:v>23362</c:v>
                </c:pt>
                <c:pt idx="7637">
                  <c:v>25438</c:v>
                </c:pt>
                <c:pt idx="7638">
                  <c:v>28993</c:v>
                </c:pt>
                <c:pt idx="7639">
                  <c:v>42309</c:v>
                </c:pt>
                <c:pt idx="7640">
                  <c:v>24988</c:v>
                </c:pt>
                <c:pt idx="7641">
                  <c:v>31362</c:v>
                </c:pt>
                <c:pt idx="7642">
                  <c:v>47534</c:v>
                </c:pt>
                <c:pt idx="7643">
                  <c:v>68110</c:v>
                </c:pt>
                <c:pt idx="7644">
                  <c:v>281326</c:v>
                </c:pt>
                <c:pt idx="7645">
                  <c:v>51249</c:v>
                </c:pt>
                <c:pt idx="7646">
                  <c:v>45897</c:v>
                </c:pt>
                <c:pt idx="7647">
                  <c:v>258247</c:v>
                </c:pt>
                <c:pt idx="7648">
                  <c:v>97181</c:v>
                </c:pt>
                <c:pt idx="7649">
                  <c:v>28553</c:v>
                </c:pt>
                <c:pt idx="7650">
                  <c:v>58295</c:v>
                </c:pt>
                <c:pt idx="7651">
                  <c:v>98514</c:v>
                </c:pt>
                <c:pt idx="7652">
                  <c:v>43884</c:v>
                </c:pt>
                <c:pt idx="7653">
                  <c:v>26037</c:v>
                </c:pt>
                <c:pt idx="7654">
                  <c:v>43383</c:v>
                </c:pt>
                <c:pt idx="7655">
                  <c:v>26736</c:v>
                </c:pt>
                <c:pt idx="7656">
                  <c:v>80246</c:v>
                </c:pt>
                <c:pt idx="7657">
                  <c:v>81197</c:v>
                </c:pt>
                <c:pt idx="7658">
                  <c:v>43386</c:v>
                </c:pt>
                <c:pt idx="7659">
                  <c:v>29490</c:v>
                </c:pt>
                <c:pt idx="7660">
                  <c:v>27823</c:v>
                </c:pt>
                <c:pt idx="7661">
                  <c:v>57479</c:v>
                </c:pt>
                <c:pt idx="7662">
                  <c:v>40899</c:v>
                </c:pt>
                <c:pt idx="7663">
                  <c:v>30349</c:v>
                </c:pt>
                <c:pt idx="7664">
                  <c:v>33125</c:v>
                </c:pt>
                <c:pt idx="7665">
                  <c:v>123483</c:v>
                </c:pt>
                <c:pt idx="7666">
                  <c:v>168663</c:v>
                </c:pt>
                <c:pt idx="7667">
                  <c:v>21545</c:v>
                </c:pt>
                <c:pt idx="7668">
                  <c:v>29947</c:v>
                </c:pt>
                <c:pt idx="7669">
                  <c:v>32974</c:v>
                </c:pt>
                <c:pt idx="7670">
                  <c:v>24698</c:v>
                </c:pt>
                <c:pt idx="7671">
                  <c:v>28274</c:v>
                </c:pt>
                <c:pt idx="7672">
                  <c:v>30277</c:v>
                </c:pt>
                <c:pt idx="7673">
                  <c:v>73000</c:v>
                </c:pt>
                <c:pt idx="7674">
                  <c:v>24810</c:v>
                </c:pt>
                <c:pt idx="7675">
                  <c:v>144506</c:v>
                </c:pt>
                <c:pt idx="7676">
                  <c:v>29376</c:v>
                </c:pt>
                <c:pt idx="7677">
                  <c:v>147077</c:v>
                </c:pt>
                <c:pt idx="7678">
                  <c:v>70045</c:v>
                </c:pt>
                <c:pt idx="7679">
                  <c:v>43951</c:v>
                </c:pt>
                <c:pt idx="7680">
                  <c:v>184392</c:v>
                </c:pt>
                <c:pt idx="7681">
                  <c:v>33366</c:v>
                </c:pt>
                <c:pt idx="7682">
                  <c:v>44921</c:v>
                </c:pt>
                <c:pt idx="7683">
                  <c:v>23514</c:v>
                </c:pt>
                <c:pt idx="7684">
                  <c:v>228650</c:v>
                </c:pt>
                <c:pt idx="7685">
                  <c:v>176367</c:v>
                </c:pt>
                <c:pt idx="7686">
                  <c:v>42520</c:v>
                </c:pt>
                <c:pt idx="7687">
                  <c:v>65566</c:v>
                </c:pt>
                <c:pt idx="7688">
                  <c:v>44143</c:v>
                </c:pt>
                <c:pt idx="7689">
                  <c:v>37913</c:v>
                </c:pt>
                <c:pt idx="7690">
                  <c:v>77395</c:v>
                </c:pt>
                <c:pt idx="7691">
                  <c:v>63500</c:v>
                </c:pt>
                <c:pt idx="7692">
                  <c:v>77346</c:v>
                </c:pt>
                <c:pt idx="7693">
                  <c:v>43143</c:v>
                </c:pt>
                <c:pt idx="7694">
                  <c:v>35275</c:v>
                </c:pt>
                <c:pt idx="7695">
                  <c:v>68308</c:v>
                </c:pt>
                <c:pt idx="7696">
                  <c:v>71607</c:v>
                </c:pt>
                <c:pt idx="7697">
                  <c:v>105567</c:v>
                </c:pt>
                <c:pt idx="7698">
                  <c:v>49578</c:v>
                </c:pt>
                <c:pt idx="7699">
                  <c:v>122023</c:v>
                </c:pt>
                <c:pt idx="7700">
                  <c:v>39110</c:v>
                </c:pt>
                <c:pt idx="7701">
                  <c:v>30664</c:v>
                </c:pt>
                <c:pt idx="7702">
                  <c:v>61702</c:v>
                </c:pt>
                <c:pt idx="7703">
                  <c:v>56967</c:v>
                </c:pt>
                <c:pt idx="7704">
                  <c:v>60779</c:v>
                </c:pt>
                <c:pt idx="7705">
                  <c:v>117435</c:v>
                </c:pt>
                <c:pt idx="7706">
                  <c:v>119447</c:v>
                </c:pt>
                <c:pt idx="7707">
                  <c:v>51461</c:v>
                </c:pt>
                <c:pt idx="7708">
                  <c:v>27545</c:v>
                </c:pt>
                <c:pt idx="7709">
                  <c:v>42462</c:v>
                </c:pt>
                <c:pt idx="7710">
                  <c:v>35413</c:v>
                </c:pt>
                <c:pt idx="7711">
                  <c:v>132256</c:v>
                </c:pt>
                <c:pt idx="7712">
                  <c:v>59753</c:v>
                </c:pt>
                <c:pt idx="7713">
                  <c:v>15000</c:v>
                </c:pt>
                <c:pt idx="7714">
                  <c:v>36341</c:v>
                </c:pt>
                <c:pt idx="7715">
                  <c:v>41309</c:v>
                </c:pt>
                <c:pt idx="7716">
                  <c:v>82900</c:v>
                </c:pt>
                <c:pt idx="7717">
                  <c:v>40633</c:v>
                </c:pt>
                <c:pt idx="7718">
                  <c:v>27314</c:v>
                </c:pt>
                <c:pt idx="7719">
                  <c:v>34109</c:v>
                </c:pt>
                <c:pt idx="7720">
                  <c:v>27158</c:v>
                </c:pt>
                <c:pt idx="7721">
                  <c:v>54564</c:v>
                </c:pt>
                <c:pt idx="7722">
                  <c:v>36380</c:v>
                </c:pt>
                <c:pt idx="7723">
                  <c:v>63766</c:v>
                </c:pt>
                <c:pt idx="7724">
                  <c:v>39288</c:v>
                </c:pt>
                <c:pt idx="7725">
                  <c:v>38230</c:v>
                </c:pt>
                <c:pt idx="7726">
                  <c:v>155633</c:v>
                </c:pt>
                <c:pt idx="7727">
                  <c:v>22844</c:v>
                </c:pt>
                <c:pt idx="7728">
                  <c:v>40049</c:v>
                </c:pt>
                <c:pt idx="7729">
                  <c:v>37763</c:v>
                </c:pt>
                <c:pt idx="7730">
                  <c:v>37674</c:v>
                </c:pt>
                <c:pt idx="7731">
                  <c:v>50796</c:v>
                </c:pt>
                <c:pt idx="7732">
                  <c:v>41277</c:v>
                </c:pt>
                <c:pt idx="7733">
                  <c:v>104528</c:v>
                </c:pt>
                <c:pt idx="7734">
                  <c:v>81754</c:v>
                </c:pt>
                <c:pt idx="7735">
                  <c:v>56544</c:v>
                </c:pt>
                <c:pt idx="7736">
                  <c:v>80554</c:v>
                </c:pt>
                <c:pt idx="7737">
                  <c:v>36329</c:v>
                </c:pt>
                <c:pt idx="7738">
                  <c:v>60508</c:v>
                </c:pt>
                <c:pt idx="7739">
                  <c:v>50655</c:v>
                </c:pt>
                <c:pt idx="7740">
                  <c:v>37516</c:v>
                </c:pt>
                <c:pt idx="7741">
                  <c:v>29602</c:v>
                </c:pt>
                <c:pt idx="7742">
                  <c:v>27515</c:v>
                </c:pt>
                <c:pt idx="7743">
                  <c:v>28923</c:v>
                </c:pt>
                <c:pt idx="7744">
                  <c:v>46896</c:v>
                </c:pt>
                <c:pt idx="7745">
                  <c:v>22508</c:v>
                </c:pt>
                <c:pt idx="7746">
                  <c:v>42654</c:v>
                </c:pt>
                <c:pt idx="7747">
                  <c:v>30168</c:v>
                </c:pt>
                <c:pt idx="7748">
                  <c:v>35492</c:v>
                </c:pt>
                <c:pt idx="7749">
                  <c:v>125301</c:v>
                </c:pt>
                <c:pt idx="7750">
                  <c:v>38209</c:v>
                </c:pt>
                <c:pt idx="7751">
                  <c:v>36968</c:v>
                </c:pt>
                <c:pt idx="7752">
                  <c:v>59697</c:v>
                </c:pt>
                <c:pt idx="7753">
                  <c:v>242294</c:v>
                </c:pt>
                <c:pt idx="7754">
                  <c:v>184425</c:v>
                </c:pt>
                <c:pt idx="7755">
                  <c:v>26060</c:v>
                </c:pt>
                <c:pt idx="7756">
                  <c:v>166466</c:v>
                </c:pt>
                <c:pt idx="7757">
                  <c:v>44699</c:v>
                </c:pt>
                <c:pt idx="7758">
                  <c:v>30255</c:v>
                </c:pt>
                <c:pt idx="7759">
                  <c:v>175325</c:v>
                </c:pt>
                <c:pt idx="7760">
                  <c:v>29602</c:v>
                </c:pt>
                <c:pt idx="7761">
                  <c:v>155169</c:v>
                </c:pt>
                <c:pt idx="7762">
                  <c:v>33535</c:v>
                </c:pt>
                <c:pt idx="7763">
                  <c:v>56254</c:v>
                </c:pt>
                <c:pt idx="7764">
                  <c:v>43145</c:v>
                </c:pt>
                <c:pt idx="7765">
                  <c:v>35168</c:v>
                </c:pt>
                <c:pt idx="7766">
                  <c:v>97957</c:v>
                </c:pt>
                <c:pt idx="7767">
                  <c:v>63860</c:v>
                </c:pt>
                <c:pt idx="7768">
                  <c:v>48539</c:v>
                </c:pt>
                <c:pt idx="7769">
                  <c:v>25910</c:v>
                </c:pt>
                <c:pt idx="7770">
                  <c:v>31306</c:v>
                </c:pt>
                <c:pt idx="7771">
                  <c:v>87006</c:v>
                </c:pt>
                <c:pt idx="7772">
                  <c:v>42544</c:v>
                </c:pt>
                <c:pt idx="7773">
                  <c:v>21905</c:v>
                </c:pt>
                <c:pt idx="7774">
                  <c:v>51968</c:v>
                </c:pt>
                <c:pt idx="7775">
                  <c:v>145205</c:v>
                </c:pt>
                <c:pt idx="7776">
                  <c:v>164648</c:v>
                </c:pt>
                <c:pt idx="7777">
                  <c:v>23513</c:v>
                </c:pt>
                <c:pt idx="7778">
                  <c:v>25117</c:v>
                </c:pt>
                <c:pt idx="7779">
                  <c:v>46912</c:v>
                </c:pt>
                <c:pt idx="7780">
                  <c:v>38560</c:v>
                </c:pt>
                <c:pt idx="7781">
                  <c:v>64757</c:v>
                </c:pt>
                <c:pt idx="7782">
                  <c:v>36311</c:v>
                </c:pt>
                <c:pt idx="7783">
                  <c:v>33069</c:v>
                </c:pt>
                <c:pt idx="7784">
                  <c:v>128741</c:v>
                </c:pt>
                <c:pt idx="7785">
                  <c:v>31945</c:v>
                </c:pt>
                <c:pt idx="7786">
                  <c:v>104267</c:v>
                </c:pt>
                <c:pt idx="7787">
                  <c:v>159286</c:v>
                </c:pt>
                <c:pt idx="7788">
                  <c:v>44212</c:v>
                </c:pt>
                <c:pt idx="7789">
                  <c:v>31010</c:v>
                </c:pt>
                <c:pt idx="7790">
                  <c:v>37123</c:v>
                </c:pt>
                <c:pt idx="7791">
                  <c:v>50229</c:v>
                </c:pt>
                <c:pt idx="7792">
                  <c:v>161893</c:v>
                </c:pt>
                <c:pt idx="7793">
                  <c:v>60931</c:v>
                </c:pt>
                <c:pt idx="7794">
                  <c:v>47219</c:v>
                </c:pt>
                <c:pt idx="7795">
                  <c:v>79142</c:v>
                </c:pt>
                <c:pt idx="7796">
                  <c:v>34749</c:v>
                </c:pt>
                <c:pt idx="7797">
                  <c:v>35772</c:v>
                </c:pt>
                <c:pt idx="7798">
                  <c:v>60789</c:v>
                </c:pt>
                <c:pt idx="7799">
                  <c:v>42963</c:v>
                </c:pt>
                <c:pt idx="7800">
                  <c:v>49101</c:v>
                </c:pt>
                <c:pt idx="7801">
                  <c:v>114837</c:v>
                </c:pt>
                <c:pt idx="7802">
                  <c:v>25826</c:v>
                </c:pt>
                <c:pt idx="7803">
                  <c:v>128740</c:v>
                </c:pt>
                <c:pt idx="7804">
                  <c:v>54116</c:v>
                </c:pt>
                <c:pt idx="7805">
                  <c:v>58091</c:v>
                </c:pt>
                <c:pt idx="7806">
                  <c:v>77878</c:v>
                </c:pt>
                <c:pt idx="7807">
                  <c:v>49907</c:v>
                </c:pt>
                <c:pt idx="7808">
                  <c:v>29969</c:v>
                </c:pt>
                <c:pt idx="7809">
                  <c:v>274612</c:v>
                </c:pt>
                <c:pt idx="7810">
                  <c:v>46333</c:v>
                </c:pt>
                <c:pt idx="7811">
                  <c:v>52890</c:v>
                </c:pt>
                <c:pt idx="7812">
                  <c:v>33091</c:v>
                </c:pt>
                <c:pt idx="7813">
                  <c:v>32744</c:v>
                </c:pt>
                <c:pt idx="7814">
                  <c:v>33977</c:v>
                </c:pt>
                <c:pt idx="7815">
                  <c:v>119007</c:v>
                </c:pt>
                <c:pt idx="7816">
                  <c:v>100798</c:v>
                </c:pt>
                <c:pt idx="7817">
                  <c:v>142890</c:v>
                </c:pt>
                <c:pt idx="7818">
                  <c:v>36872</c:v>
                </c:pt>
                <c:pt idx="7819">
                  <c:v>28065</c:v>
                </c:pt>
                <c:pt idx="7820">
                  <c:v>73814</c:v>
                </c:pt>
                <c:pt idx="7821">
                  <c:v>33666</c:v>
                </c:pt>
                <c:pt idx="7822">
                  <c:v>23291</c:v>
                </c:pt>
                <c:pt idx="7823">
                  <c:v>52025</c:v>
                </c:pt>
                <c:pt idx="7824">
                  <c:v>64836</c:v>
                </c:pt>
                <c:pt idx="7825">
                  <c:v>35201</c:v>
                </c:pt>
                <c:pt idx="7826">
                  <c:v>260901</c:v>
                </c:pt>
                <c:pt idx="7827">
                  <c:v>23389</c:v>
                </c:pt>
                <c:pt idx="7828">
                  <c:v>31853</c:v>
                </c:pt>
                <c:pt idx="7829">
                  <c:v>40676</c:v>
                </c:pt>
                <c:pt idx="7830">
                  <c:v>35151</c:v>
                </c:pt>
                <c:pt idx="7831">
                  <c:v>30330</c:v>
                </c:pt>
                <c:pt idx="7832">
                  <c:v>39033</c:v>
                </c:pt>
                <c:pt idx="7833">
                  <c:v>45743</c:v>
                </c:pt>
                <c:pt idx="7834">
                  <c:v>33437</c:v>
                </c:pt>
                <c:pt idx="7835">
                  <c:v>211425</c:v>
                </c:pt>
                <c:pt idx="7836">
                  <c:v>24161</c:v>
                </c:pt>
                <c:pt idx="7837">
                  <c:v>161481</c:v>
                </c:pt>
                <c:pt idx="7838">
                  <c:v>43439</c:v>
                </c:pt>
                <c:pt idx="7839">
                  <c:v>21452</c:v>
                </c:pt>
                <c:pt idx="7840">
                  <c:v>129673</c:v>
                </c:pt>
                <c:pt idx="7841">
                  <c:v>85655</c:v>
                </c:pt>
                <c:pt idx="7842">
                  <c:v>36328</c:v>
                </c:pt>
                <c:pt idx="7843">
                  <c:v>22646</c:v>
                </c:pt>
                <c:pt idx="7844">
                  <c:v>96785</c:v>
                </c:pt>
                <c:pt idx="7845">
                  <c:v>66609</c:v>
                </c:pt>
                <c:pt idx="7846">
                  <c:v>26597</c:v>
                </c:pt>
                <c:pt idx="7847">
                  <c:v>187567</c:v>
                </c:pt>
                <c:pt idx="7848">
                  <c:v>42402</c:v>
                </c:pt>
                <c:pt idx="7849">
                  <c:v>38650</c:v>
                </c:pt>
                <c:pt idx="7850">
                  <c:v>98475</c:v>
                </c:pt>
                <c:pt idx="7851">
                  <c:v>22651</c:v>
                </c:pt>
                <c:pt idx="7852">
                  <c:v>33763</c:v>
                </c:pt>
                <c:pt idx="7853">
                  <c:v>54862</c:v>
                </c:pt>
                <c:pt idx="7854">
                  <c:v>117127</c:v>
                </c:pt>
                <c:pt idx="7855">
                  <c:v>63583</c:v>
                </c:pt>
                <c:pt idx="7856">
                  <c:v>28755</c:v>
                </c:pt>
                <c:pt idx="7857">
                  <c:v>34414</c:v>
                </c:pt>
                <c:pt idx="7858">
                  <c:v>32774</c:v>
                </c:pt>
                <c:pt idx="7859">
                  <c:v>35750</c:v>
                </c:pt>
                <c:pt idx="7860">
                  <c:v>58080</c:v>
                </c:pt>
                <c:pt idx="7861">
                  <c:v>39985</c:v>
                </c:pt>
                <c:pt idx="7862">
                  <c:v>37448</c:v>
                </c:pt>
                <c:pt idx="7863">
                  <c:v>46890</c:v>
                </c:pt>
                <c:pt idx="7864">
                  <c:v>49025</c:v>
                </c:pt>
                <c:pt idx="7865">
                  <c:v>53168</c:v>
                </c:pt>
                <c:pt idx="7866">
                  <c:v>105912</c:v>
                </c:pt>
                <c:pt idx="7867">
                  <c:v>42088</c:v>
                </c:pt>
                <c:pt idx="7868">
                  <c:v>45909</c:v>
                </c:pt>
                <c:pt idx="7869">
                  <c:v>24839</c:v>
                </c:pt>
                <c:pt idx="7870">
                  <c:v>148981</c:v>
                </c:pt>
                <c:pt idx="7871">
                  <c:v>29722</c:v>
                </c:pt>
                <c:pt idx="7872">
                  <c:v>43250</c:v>
                </c:pt>
                <c:pt idx="7873">
                  <c:v>37648</c:v>
                </c:pt>
                <c:pt idx="7874">
                  <c:v>41039</c:v>
                </c:pt>
                <c:pt idx="7875">
                  <c:v>100153</c:v>
                </c:pt>
                <c:pt idx="7876">
                  <c:v>39127</c:v>
                </c:pt>
                <c:pt idx="7877">
                  <c:v>68908</c:v>
                </c:pt>
                <c:pt idx="7878">
                  <c:v>41544</c:v>
                </c:pt>
                <c:pt idx="7879">
                  <c:v>59650</c:v>
                </c:pt>
                <c:pt idx="7880">
                  <c:v>43427</c:v>
                </c:pt>
                <c:pt idx="7881">
                  <c:v>101658</c:v>
                </c:pt>
                <c:pt idx="7882">
                  <c:v>35624</c:v>
                </c:pt>
                <c:pt idx="7883">
                  <c:v>70868</c:v>
                </c:pt>
                <c:pt idx="7884">
                  <c:v>72076</c:v>
                </c:pt>
                <c:pt idx="7885">
                  <c:v>26968</c:v>
                </c:pt>
                <c:pt idx="7886">
                  <c:v>33342</c:v>
                </c:pt>
                <c:pt idx="7887">
                  <c:v>42371</c:v>
                </c:pt>
                <c:pt idx="7888">
                  <c:v>25221</c:v>
                </c:pt>
                <c:pt idx="7889">
                  <c:v>122661</c:v>
                </c:pt>
                <c:pt idx="7890">
                  <c:v>67028</c:v>
                </c:pt>
                <c:pt idx="7891">
                  <c:v>24949</c:v>
                </c:pt>
                <c:pt idx="7892">
                  <c:v>25794</c:v>
                </c:pt>
                <c:pt idx="7893">
                  <c:v>120617</c:v>
                </c:pt>
                <c:pt idx="7894">
                  <c:v>40041</c:v>
                </c:pt>
                <c:pt idx="7895">
                  <c:v>32317</c:v>
                </c:pt>
                <c:pt idx="7896">
                  <c:v>28015</c:v>
                </c:pt>
                <c:pt idx="7897">
                  <c:v>47237</c:v>
                </c:pt>
                <c:pt idx="7898">
                  <c:v>29017</c:v>
                </c:pt>
                <c:pt idx="7899">
                  <c:v>29873</c:v>
                </c:pt>
                <c:pt idx="7900">
                  <c:v>40834</c:v>
                </c:pt>
                <c:pt idx="7901">
                  <c:v>37515</c:v>
                </c:pt>
                <c:pt idx="7902">
                  <c:v>29743</c:v>
                </c:pt>
                <c:pt idx="7903">
                  <c:v>28984</c:v>
                </c:pt>
                <c:pt idx="7904">
                  <c:v>79438</c:v>
                </c:pt>
                <c:pt idx="7905">
                  <c:v>41162</c:v>
                </c:pt>
                <c:pt idx="7906">
                  <c:v>52446</c:v>
                </c:pt>
                <c:pt idx="7907">
                  <c:v>23663</c:v>
                </c:pt>
                <c:pt idx="7908">
                  <c:v>35709</c:v>
                </c:pt>
                <c:pt idx="7909">
                  <c:v>45395</c:v>
                </c:pt>
                <c:pt idx="7910">
                  <c:v>71341</c:v>
                </c:pt>
                <c:pt idx="7911">
                  <c:v>49025</c:v>
                </c:pt>
                <c:pt idx="7912">
                  <c:v>36616</c:v>
                </c:pt>
                <c:pt idx="7913">
                  <c:v>45332</c:v>
                </c:pt>
                <c:pt idx="7914">
                  <c:v>102947</c:v>
                </c:pt>
                <c:pt idx="7915">
                  <c:v>67902</c:v>
                </c:pt>
                <c:pt idx="7916">
                  <c:v>72021</c:v>
                </c:pt>
                <c:pt idx="7917">
                  <c:v>120771</c:v>
                </c:pt>
                <c:pt idx="7918">
                  <c:v>207341</c:v>
                </c:pt>
                <c:pt idx="7919">
                  <c:v>63768</c:v>
                </c:pt>
                <c:pt idx="7920">
                  <c:v>78616</c:v>
                </c:pt>
                <c:pt idx="7921">
                  <c:v>44263</c:v>
                </c:pt>
                <c:pt idx="7922">
                  <c:v>107378</c:v>
                </c:pt>
                <c:pt idx="7923">
                  <c:v>145768</c:v>
                </c:pt>
                <c:pt idx="7924">
                  <c:v>53791</c:v>
                </c:pt>
                <c:pt idx="7925">
                  <c:v>42823</c:v>
                </c:pt>
                <c:pt idx="7926">
                  <c:v>99000</c:v>
                </c:pt>
                <c:pt idx="7927">
                  <c:v>239622</c:v>
                </c:pt>
                <c:pt idx="7928">
                  <c:v>38650</c:v>
                </c:pt>
                <c:pt idx="7929">
                  <c:v>47737</c:v>
                </c:pt>
                <c:pt idx="7930">
                  <c:v>47634</c:v>
                </c:pt>
                <c:pt idx="7931">
                  <c:v>42602</c:v>
                </c:pt>
                <c:pt idx="7932">
                  <c:v>65627</c:v>
                </c:pt>
                <c:pt idx="7933">
                  <c:v>24548</c:v>
                </c:pt>
                <c:pt idx="7934">
                  <c:v>39978</c:v>
                </c:pt>
                <c:pt idx="7935">
                  <c:v>140783</c:v>
                </c:pt>
                <c:pt idx="7936">
                  <c:v>172905</c:v>
                </c:pt>
                <c:pt idx="7937">
                  <c:v>360044</c:v>
                </c:pt>
                <c:pt idx="7938">
                  <c:v>19775</c:v>
                </c:pt>
                <c:pt idx="7939">
                  <c:v>30803</c:v>
                </c:pt>
                <c:pt idx="7940">
                  <c:v>62573</c:v>
                </c:pt>
                <c:pt idx="7941">
                  <c:v>68124</c:v>
                </c:pt>
                <c:pt idx="7942">
                  <c:v>42842</c:v>
                </c:pt>
                <c:pt idx="7943">
                  <c:v>34684</c:v>
                </c:pt>
                <c:pt idx="7944">
                  <c:v>81854</c:v>
                </c:pt>
                <c:pt idx="7945">
                  <c:v>72912</c:v>
                </c:pt>
                <c:pt idx="7946">
                  <c:v>39764</c:v>
                </c:pt>
                <c:pt idx="7947">
                  <c:v>49643</c:v>
                </c:pt>
                <c:pt idx="7948">
                  <c:v>44698</c:v>
                </c:pt>
                <c:pt idx="7949">
                  <c:v>27290</c:v>
                </c:pt>
                <c:pt idx="7950">
                  <c:v>43283</c:v>
                </c:pt>
                <c:pt idx="7951">
                  <c:v>47352</c:v>
                </c:pt>
                <c:pt idx="7952">
                  <c:v>29086</c:v>
                </c:pt>
                <c:pt idx="7953">
                  <c:v>32598</c:v>
                </c:pt>
                <c:pt idx="7954">
                  <c:v>38684</c:v>
                </c:pt>
                <c:pt idx="7955">
                  <c:v>26896</c:v>
                </c:pt>
                <c:pt idx="7956">
                  <c:v>317652</c:v>
                </c:pt>
                <c:pt idx="7957">
                  <c:v>75519</c:v>
                </c:pt>
                <c:pt idx="7958">
                  <c:v>36642</c:v>
                </c:pt>
                <c:pt idx="7959">
                  <c:v>44360</c:v>
                </c:pt>
                <c:pt idx="7960">
                  <c:v>92392</c:v>
                </c:pt>
                <c:pt idx="7961">
                  <c:v>165027</c:v>
                </c:pt>
                <c:pt idx="7962">
                  <c:v>110543</c:v>
                </c:pt>
                <c:pt idx="7963">
                  <c:v>29006</c:v>
                </c:pt>
                <c:pt idx="7964">
                  <c:v>96510</c:v>
                </c:pt>
                <c:pt idx="7965">
                  <c:v>47741</c:v>
                </c:pt>
                <c:pt idx="7966">
                  <c:v>35606</c:v>
                </c:pt>
                <c:pt idx="7967">
                  <c:v>25576</c:v>
                </c:pt>
                <c:pt idx="7968">
                  <c:v>44104</c:v>
                </c:pt>
                <c:pt idx="7969">
                  <c:v>321028</c:v>
                </c:pt>
                <c:pt idx="7970">
                  <c:v>345610</c:v>
                </c:pt>
                <c:pt idx="7971">
                  <c:v>42519</c:v>
                </c:pt>
                <c:pt idx="7972">
                  <c:v>126172</c:v>
                </c:pt>
                <c:pt idx="7973">
                  <c:v>44687</c:v>
                </c:pt>
                <c:pt idx="7974">
                  <c:v>44572</c:v>
                </c:pt>
                <c:pt idx="7975">
                  <c:v>30109</c:v>
                </c:pt>
                <c:pt idx="7976">
                  <c:v>119989</c:v>
                </c:pt>
                <c:pt idx="7977">
                  <c:v>36111</c:v>
                </c:pt>
                <c:pt idx="7978">
                  <c:v>98201</c:v>
                </c:pt>
                <c:pt idx="7979">
                  <c:v>50707</c:v>
                </c:pt>
                <c:pt idx="7980">
                  <c:v>39236</c:v>
                </c:pt>
                <c:pt idx="7981">
                  <c:v>52399</c:v>
                </c:pt>
                <c:pt idx="7982">
                  <c:v>65615</c:v>
                </c:pt>
                <c:pt idx="7983">
                  <c:v>57746</c:v>
                </c:pt>
                <c:pt idx="7984">
                  <c:v>26322</c:v>
                </c:pt>
                <c:pt idx="7985">
                  <c:v>98217</c:v>
                </c:pt>
                <c:pt idx="7986">
                  <c:v>36958</c:v>
                </c:pt>
                <c:pt idx="7987">
                  <c:v>131730</c:v>
                </c:pt>
                <c:pt idx="7988">
                  <c:v>40635</c:v>
                </c:pt>
                <c:pt idx="7989">
                  <c:v>47187</c:v>
                </c:pt>
                <c:pt idx="7990">
                  <c:v>48061</c:v>
                </c:pt>
                <c:pt idx="7991">
                  <c:v>46206</c:v>
                </c:pt>
                <c:pt idx="7992">
                  <c:v>46999</c:v>
                </c:pt>
                <c:pt idx="7993">
                  <c:v>139998</c:v>
                </c:pt>
                <c:pt idx="7994">
                  <c:v>24903</c:v>
                </c:pt>
                <c:pt idx="7995">
                  <c:v>66735</c:v>
                </c:pt>
                <c:pt idx="7996">
                  <c:v>45870</c:v>
                </c:pt>
                <c:pt idx="7997">
                  <c:v>64040</c:v>
                </c:pt>
                <c:pt idx="7998">
                  <c:v>26129</c:v>
                </c:pt>
                <c:pt idx="7999">
                  <c:v>84787</c:v>
                </c:pt>
                <c:pt idx="8000">
                  <c:v>46314</c:v>
                </c:pt>
                <c:pt idx="8001">
                  <c:v>67516</c:v>
                </c:pt>
                <c:pt idx="8002">
                  <c:v>19979</c:v>
                </c:pt>
                <c:pt idx="8003">
                  <c:v>35828</c:v>
                </c:pt>
                <c:pt idx="8004">
                  <c:v>28286</c:v>
                </c:pt>
                <c:pt idx="8005">
                  <c:v>128230</c:v>
                </c:pt>
                <c:pt idx="8006">
                  <c:v>48111</c:v>
                </c:pt>
                <c:pt idx="8007">
                  <c:v>162463</c:v>
                </c:pt>
                <c:pt idx="8008">
                  <c:v>172958</c:v>
                </c:pt>
                <c:pt idx="8009">
                  <c:v>81796</c:v>
                </c:pt>
                <c:pt idx="8010">
                  <c:v>25467</c:v>
                </c:pt>
                <c:pt idx="8011">
                  <c:v>25508</c:v>
                </c:pt>
                <c:pt idx="8012">
                  <c:v>23992</c:v>
                </c:pt>
                <c:pt idx="8013">
                  <c:v>41266</c:v>
                </c:pt>
                <c:pt idx="8014">
                  <c:v>53877</c:v>
                </c:pt>
                <c:pt idx="8015">
                  <c:v>77816</c:v>
                </c:pt>
                <c:pt idx="8016">
                  <c:v>30788</c:v>
                </c:pt>
                <c:pt idx="8017">
                  <c:v>41770</c:v>
                </c:pt>
                <c:pt idx="8018">
                  <c:v>50648</c:v>
                </c:pt>
                <c:pt idx="8019">
                  <c:v>45469</c:v>
                </c:pt>
                <c:pt idx="8020">
                  <c:v>36320</c:v>
                </c:pt>
                <c:pt idx="8021">
                  <c:v>242438</c:v>
                </c:pt>
                <c:pt idx="8022">
                  <c:v>126343</c:v>
                </c:pt>
                <c:pt idx="8023">
                  <c:v>45923</c:v>
                </c:pt>
                <c:pt idx="8024">
                  <c:v>166481</c:v>
                </c:pt>
                <c:pt idx="8025">
                  <c:v>41283</c:v>
                </c:pt>
                <c:pt idx="8026">
                  <c:v>39485</c:v>
                </c:pt>
                <c:pt idx="8027">
                  <c:v>48854</c:v>
                </c:pt>
                <c:pt idx="8028">
                  <c:v>34449</c:v>
                </c:pt>
                <c:pt idx="8029">
                  <c:v>31091</c:v>
                </c:pt>
                <c:pt idx="8030">
                  <c:v>28327</c:v>
                </c:pt>
                <c:pt idx="8031">
                  <c:v>29595</c:v>
                </c:pt>
                <c:pt idx="8032">
                  <c:v>132777</c:v>
                </c:pt>
                <c:pt idx="8033">
                  <c:v>109494</c:v>
                </c:pt>
                <c:pt idx="8034">
                  <c:v>32338</c:v>
                </c:pt>
                <c:pt idx="8035">
                  <c:v>54532</c:v>
                </c:pt>
                <c:pt idx="8036">
                  <c:v>104016</c:v>
                </c:pt>
                <c:pt idx="8037">
                  <c:v>32502</c:v>
                </c:pt>
                <c:pt idx="8038">
                  <c:v>42499</c:v>
                </c:pt>
                <c:pt idx="8039">
                  <c:v>56031</c:v>
                </c:pt>
                <c:pt idx="8040">
                  <c:v>24824</c:v>
                </c:pt>
                <c:pt idx="8041">
                  <c:v>58221</c:v>
                </c:pt>
                <c:pt idx="8042">
                  <c:v>26919</c:v>
                </c:pt>
                <c:pt idx="8043">
                  <c:v>44857</c:v>
                </c:pt>
                <c:pt idx="8044">
                  <c:v>33318</c:v>
                </c:pt>
                <c:pt idx="8045">
                  <c:v>64791</c:v>
                </c:pt>
                <c:pt idx="8046">
                  <c:v>44247</c:v>
                </c:pt>
                <c:pt idx="8047">
                  <c:v>22076</c:v>
                </c:pt>
                <c:pt idx="8048">
                  <c:v>62711</c:v>
                </c:pt>
                <c:pt idx="8049">
                  <c:v>120033</c:v>
                </c:pt>
                <c:pt idx="8050">
                  <c:v>31917</c:v>
                </c:pt>
                <c:pt idx="8051">
                  <c:v>230510</c:v>
                </c:pt>
                <c:pt idx="8052">
                  <c:v>95071</c:v>
                </c:pt>
                <c:pt idx="8053">
                  <c:v>46394</c:v>
                </c:pt>
                <c:pt idx="8054">
                  <c:v>25087</c:v>
                </c:pt>
                <c:pt idx="8055">
                  <c:v>264595</c:v>
                </c:pt>
                <c:pt idx="8056">
                  <c:v>34495</c:v>
                </c:pt>
                <c:pt idx="8057">
                  <c:v>49580</c:v>
                </c:pt>
                <c:pt idx="8058">
                  <c:v>41821</c:v>
                </c:pt>
                <c:pt idx="8059">
                  <c:v>33756</c:v>
                </c:pt>
                <c:pt idx="8060">
                  <c:v>134794</c:v>
                </c:pt>
                <c:pt idx="8061">
                  <c:v>30127</c:v>
                </c:pt>
                <c:pt idx="8062">
                  <c:v>22048</c:v>
                </c:pt>
                <c:pt idx="8063">
                  <c:v>24912</c:v>
                </c:pt>
                <c:pt idx="8064">
                  <c:v>123006</c:v>
                </c:pt>
                <c:pt idx="8065">
                  <c:v>33095</c:v>
                </c:pt>
                <c:pt idx="8066">
                  <c:v>25758</c:v>
                </c:pt>
                <c:pt idx="8067">
                  <c:v>31779</c:v>
                </c:pt>
                <c:pt idx="8068">
                  <c:v>22299</c:v>
                </c:pt>
                <c:pt idx="8069">
                  <c:v>106635</c:v>
                </c:pt>
                <c:pt idx="8070">
                  <c:v>33426</c:v>
                </c:pt>
                <c:pt idx="8071">
                  <c:v>40093</c:v>
                </c:pt>
                <c:pt idx="8072">
                  <c:v>27024</c:v>
                </c:pt>
                <c:pt idx="8073">
                  <c:v>152726</c:v>
                </c:pt>
                <c:pt idx="8074">
                  <c:v>42547</c:v>
                </c:pt>
                <c:pt idx="8075">
                  <c:v>32539</c:v>
                </c:pt>
                <c:pt idx="8076">
                  <c:v>64102</c:v>
                </c:pt>
                <c:pt idx="8077">
                  <c:v>28543</c:v>
                </c:pt>
                <c:pt idx="8078">
                  <c:v>37884</c:v>
                </c:pt>
                <c:pt idx="8079">
                  <c:v>36137</c:v>
                </c:pt>
                <c:pt idx="8080">
                  <c:v>23551</c:v>
                </c:pt>
                <c:pt idx="8081">
                  <c:v>94579</c:v>
                </c:pt>
                <c:pt idx="8082">
                  <c:v>75538</c:v>
                </c:pt>
                <c:pt idx="8083">
                  <c:v>192457</c:v>
                </c:pt>
                <c:pt idx="8084">
                  <c:v>40985</c:v>
                </c:pt>
                <c:pt idx="8085">
                  <c:v>38495</c:v>
                </c:pt>
                <c:pt idx="8086">
                  <c:v>31697</c:v>
                </c:pt>
                <c:pt idx="8087">
                  <c:v>82445</c:v>
                </c:pt>
                <c:pt idx="8088">
                  <c:v>49473</c:v>
                </c:pt>
                <c:pt idx="8089">
                  <c:v>28609</c:v>
                </c:pt>
                <c:pt idx="8090">
                  <c:v>71470</c:v>
                </c:pt>
                <c:pt idx="8091">
                  <c:v>41189</c:v>
                </c:pt>
                <c:pt idx="8092">
                  <c:v>33565</c:v>
                </c:pt>
                <c:pt idx="8093">
                  <c:v>102719</c:v>
                </c:pt>
                <c:pt idx="8094">
                  <c:v>102881</c:v>
                </c:pt>
                <c:pt idx="8095">
                  <c:v>276196</c:v>
                </c:pt>
                <c:pt idx="8096">
                  <c:v>36958</c:v>
                </c:pt>
                <c:pt idx="8097">
                  <c:v>35010</c:v>
                </c:pt>
                <c:pt idx="8098">
                  <c:v>66448</c:v>
                </c:pt>
                <c:pt idx="8099">
                  <c:v>47777</c:v>
                </c:pt>
                <c:pt idx="8100">
                  <c:v>40693</c:v>
                </c:pt>
                <c:pt idx="8101">
                  <c:v>41035</c:v>
                </c:pt>
                <c:pt idx="8102">
                  <c:v>168402</c:v>
                </c:pt>
                <c:pt idx="8103">
                  <c:v>23498</c:v>
                </c:pt>
                <c:pt idx="8104">
                  <c:v>34099</c:v>
                </c:pt>
                <c:pt idx="8105">
                  <c:v>50110</c:v>
                </c:pt>
                <c:pt idx="8106">
                  <c:v>43825</c:v>
                </c:pt>
                <c:pt idx="8107">
                  <c:v>43134</c:v>
                </c:pt>
                <c:pt idx="8108">
                  <c:v>59060</c:v>
                </c:pt>
                <c:pt idx="8109">
                  <c:v>33980</c:v>
                </c:pt>
                <c:pt idx="8110">
                  <c:v>112060</c:v>
                </c:pt>
                <c:pt idx="8111">
                  <c:v>42053</c:v>
                </c:pt>
                <c:pt idx="8112">
                  <c:v>38730</c:v>
                </c:pt>
                <c:pt idx="8113">
                  <c:v>47788</c:v>
                </c:pt>
                <c:pt idx="8114">
                  <c:v>31712</c:v>
                </c:pt>
                <c:pt idx="8115">
                  <c:v>95277</c:v>
                </c:pt>
                <c:pt idx="8116">
                  <c:v>64169</c:v>
                </c:pt>
                <c:pt idx="8117">
                  <c:v>81333</c:v>
                </c:pt>
                <c:pt idx="8118">
                  <c:v>57224</c:v>
                </c:pt>
                <c:pt idx="8119">
                  <c:v>37121</c:v>
                </c:pt>
                <c:pt idx="8120">
                  <c:v>22743</c:v>
                </c:pt>
                <c:pt idx="8121">
                  <c:v>39842</c:v>
                </c:pt>
                <c:pt idx="8122">
                  <c:v>36308</c:v>
                </c:pt>
                <c:pt idx="8123">
                  <c:v>50707</c:v>
                </c:pt>
                <c:pt idx="8124">
                  <c:v>43135</c:v>
                </c:pt>
                <c:pt idx="8125">
                  <c:v>57445</c:v>
                </c:pt>
                <c:pt idx="8126">
                  <c:v>24342</c:v>
                </c:pt>
                <c:pt idx="8127">
                  <c:v>64228</c:v>
                </c:pt>
                <c:pt idx="8128">
                  <c:v>33380</c:v>
                </c:pt>
                <c:pt idx="8129">
                  <c:v>34602</c:v>
                </c:pt>
                <c:pt idx="8130">
                  <c:v>27970</c:v>
                </c:pt>
                <c:pt idx="8131">
                  <c:v>31292</c:v>
                </c:pt>
                <c:pt idx="8132">
                  <c:v>130770</c:v>
                </c:pt>
                <c:pt idx="8133">
                  <c:v>51011</c:v>
                </c:pt>
                <c:pt idx="8134">
                  <c:v>36057</c:v>
                </c:pt>
                <c:pt idx="8135">
                  <c:v>108057</c:v>
                </c:pt>
                <c:pt idx="8136">
                  <c:v>64462</c:v>
                </c:pt>
                <c:pt idx="8137">
                  <c:v>21767</c:v>
                </c:pt>
                <c:pt idx="8138">
                  <c:v>32265</c:v>
                </c:pt>
                <c:pt idx="8139">
                  <c:v>21392</c:v>
                </c:pt>
                <c:pt idx="8140">
                  <c:v>30197</c:v>
                </c:pt>
                <c:pt idx="8141">
                  <c:v>31331</c:v>
                </c:pt>
                <c:pt idx="8142">
                  <c:v>36775</c:v>
                </c:pt>
                <c:pt idx="8143">
                  <c:v>30066</c:v>
                </c:pt>
                <c:pt idx="8144">
                  <c:v>23736</c:v>
                </c:pt>
                <c:pt idx="8145">
                  <c:v>41583</c:v>
                </c:pt>
                <c:pt idx="8146">
                  <c:v>42600</c:v>
                </c:pt>
                <c:pt idx="8147">
                  <c:v>35305</c:v>
                </c:pt>
                <c:pt idx="8148">
                  <c:v>257949</c:v>
                </c:pt>
                <c:pt idx="8149">
                  <c:v>30745</c:v>
                </c:pt>
                <c:pt idx="8150">
                  <c:v>72374</c:v>
                </c:pt>
                <c:pt idx="8151">
                  <c:v>32001</c:v>
                </c:pt>
                <c:pt idx="8152">
                  <c:v>26079</c:v>
                </c:pt>
                <c:pt idx="8153">
                  <c:v>49041</c:v>
                </c:pt>
                <c:pt idx="8154">
                  <c:v>69332</c:v>
                </c:pt>
                <c:pt idx="8155">
                  <c:v>77413</c:v>
                </c:pt>
                <c:pt idx="8156">
                  <c:v>46734</c:v>
                </c:pt>
                <c:pt idx="8157">
                  <c:v>33581</c:v>
                </c:pt>
                <c:pt idx="8158">
                  <c:v>57876</c:v>
                </c:pt>
                <c:pt idx="8159">
                  <c:v>142621</c:v>
                </c:pt>
                <c:pt idx="8160">
                  <c:v>44421</c:v>
                </c:pt>
                <c:pt idx="8161">
                  <c:v>21057</c:v>
                </c:pt>
                <c:pt idx="8162">
                  <c:v>249514</c:v>
                </c:pt>
                <c:pt idx="8163">
                  <c:v>72045</c:v>
                </c:pt>
                <c:pt idx="8164">
                  <c:v>38488</c:v>
                </c:pt>
                <c:pt idx="8165">
                  <c:v>85709</c:v>
                </c:pt>
                <c:pt idx="8166">
                  <c:v>34090</c:v>
                </c:pt>
                <c:pt idx="8167">
                  <c:v>33461</c:v>
                </c:pt>
                <c:pt idx="8168">
                  <c:v>36064</c:v>
                </c:pt>
                <c:pt idx="8169">
                  <c:v>24759</c:v>
                </c:pt>
                <c:pt idx="8170">
                  <c:v>41419</c:v>
                </c:pt>
                <c:pt idx="8171">
                  <c:v>22624</c:v>
                </c:pt>
                <c:pt idx="8172">
                  <c:v>27273</c:v>
                </c:pt>
                <c:pt idx="8173">
                  <c:v>39305</c:v>
                </c:pt>
                <c:pt idx="8174">
                  <c:v>60706</c:v>
                </c:pt>
                <c:pt idx="8175">
                  <c:v>43997</c:v>
                </c:pt>
                <c:pt idx="8176">
                  <c:v>43140</c:v>
                </c:pt>
                <c:pt idx="8177">
                  <c:v>170651</c:v>
                </c:pt>
                <c:pt idx="8178">
                  <c:v>147037</c:v>
                </c:pt>
                <c:pt idx="8179">
                  <c:v>33282</c:v>
                </c:pt>
                <c:pt idx="8180">
                  <c:v>51717</c:v>
                </c:pt>
                <c:pt idx="8181">
                  <c:v>158065</c:v>
                </c:pt>
                <c:pt idx="8182">
                  <c:v>103968</c:v>
                </c:pt>
                <c:pt idx="8183">
                  <c:v>52804</c:v>
                </c:pt>
                <c:pt idx="8184">
                  <c:v>31457</c:v>
                </c:pt>
                <c:pt idx="8185">
                  <c:v>49872</c:v>
                </c:pt>
                <c:pt idx="8186">
                  <c:v>88214</c:v>
                </c:pt>
                <c:pt idx="8187">
                  <c:v>91428</c:v>
                </c:pt>
                <c:pt idx="8188">
                  <c:v>95848</c:v>
                </c:pt>
                <c:pt idx="8189">
                  <c:v>46291</c:v>
                </c:pt>
                <c:pt idx="8190">
                  <c:v>46775</c:v>
                </c:pt>
                <c:pt idx="8191">
                  <c:v>78884</c:v>
                </c:pt>
                <c:pt idx="8192">
                  <c:v>68666</c:v>
                </c:pt>
                <c:pt idx="8193">
                  <c:v>39857</c:v>
                </c:pt>
                <c:pt idx="8194">
                  <c:v>43954</c:v>
                </c:pt>
                <c:pt idx="8195">
                  <c:v>48804</c:v>
                </c:pt>
                <c:pt idx="8196">
                  <c:v>24418</c:v>
                </c:pt>
                <c:pt idx="8197">
                  <c:v>24834</c:v>
                </c:pt>
                <c:pt idx="8198">
                  <c:v>31586</c:v>
                </c:pt>
                <c:pt idx="8199">
                  <c:v>24816</c:v>
                </c:pt>
                <c:pt idx="8200">
                  <c:v>33684</c:v>
                </c:pt>
                <c:pt idx="8201">
                  <c:v>45441</c:v>
                </c:pt>
                <c:pt idx="8202">
                  <c:v>49928</c:v>
                </c:pt>
                <c:pt idx="8203">
                  <c:v>33143</c:v>
                </c:pt>
                <c:pt idx="8204">
                  <c:v>49734</c:v>
                </c:pt>
                <c:pt idx="8205">
                  <c:v>39477</c:v>
                </c:pt>
                <c:pt idx="8206">
                  <c:v>40196</c:v>
                </c:pt>
                <c:pt idx="8207">
                  <c:v>32181</c:v>
                </c:pt>
                <c:pt idx="8208">
                  <c:v>39712</c:v>
                </c:pt>
                <c:pt idx="8209">
                  <c:v>118125</c:v>
                </c:pt>
                <c:pt idx="8210">
                  <c:v>43213</c:v>
                </c:pt>
                <c:pt idx="8211">
                  <c:v>46105</c:v>
                </c:pt>
                <c:pt idx="8212">
                  <c:v>223312</c:v>
                </c:pt>
                <c:pt idx="8213">
                  <c:v>44918</c:v>
                </c:pt>
                <c:pt idx="8214">
                  <c:v>366398</c:v>
                </c:pt>
                <c:pt idx="8215">
                  <c:v>86154</c:v>
                </c:pt>
                <c:pt idx="8216">
                  <c:v>43369</c:v>
                </c:pt>
                <c:pt idx="8217">
                  <c:v>39850</c:v>
                </c:pt>
                <c:pt idx="8218">
                  <c:v>32047</c:v>
                </c:pt>
                <c:pt idx="8219">
                  <c:v>129515</c:v>
                </c:pt>
                <c:pt idx="8220">
                  <c:v>32228</c:v>
                </c:pt>
                <c:pt idx="8221">
                  <c:v>78340</c:v>
                </c:pt>
                <c:pt idx="8222">
                  <c:v>25248</c:v>
                </c:pt>
                <c:pt idx="8223">
                  <c:v>41514</c:v>
                </c:pt>
                <c:pt idx="8224">
                  <c:v>78864</c:v>
                </c:pt>
                <c:pt idx="8225">
                  <c:v>85099</c:v>
                </c:pt>
                <c:pt idx="8226">
                  <c:v>227820</c:v>
                </c:pt>
                <c:pt idx="8227">
                  <c:v>37982</c:v>
                </c:pt>
                <c:pt idx="8228">
                  <c:v>34922</c:v>
                </c:pt>
                <c:pt idx="8229">
                  <c:v>64671</c:v>
                </c:pt>
                <c:pt idx="8230">
                  <c:v>44003</c:v>
                </c:pt>
                <c:pt idx="8231">
                  <c:v>104277</c:v>
                </c:pt>
                <c:pt idx="8232">
                  <c:v>28712</c:v>
                </c:pt>
                <c:pt idx="8233">
                  <c:v>37035</c:v>
                </c:pt>
                <c:pt idx="8234">
                  <c:v>65356</c:v>
                </c:pt>
                <c:pt idx="8235">
                  <c:v>41107</c:v>
                </c:pt>
                <c:pt idx="8236">
                  <c:v>70088</c:v>
                </c:pt>
                <c:pt idx="8237">
                  <c:v>54771</c:v>
                </c:pt>
                <c:pt idx="8238">
                  <c:v>22856</c:v>
                </c:pt>
                <c:pt idx="8239">
                  <c:v>44566</c:v>
                </c:pt>
                <c:pt idx="8240">
                  <c:v>192254</c:v>
                </c:pt>
                <c:pt idx="8241">
                  <c:v>125204</c:v>
                </c:pt>
                <c:pt idx="8242">
                  <c:v>106639</c:v>
                </c:pt>
                <c:pt idx="8243">
                  <c:v>38386</c:v>
                </c:pt>
                <c:pt idx="8244">
                  <c:v>66212</c:v>
                </c:pt>
                <c:pt idx="8245">
                  <c:v>36573</c:v>
                </c:pt>
                <c:pt idx="8246">
                  <c:v>206453</c:v>
                </c:pt>
                <c:pt idx="8247">
                  <c:v>69855</c:v>
                </c:pt>
                <c:pt idx="8248">
                  <c:v>80133</c:v>
                </c:pt>
                <c:pt idx="8249">
                  <c:v>239479</c:v>
                </c:pt>
                <c:pt idx="8250">
                  <c:v>36771</c:v>
                </c:pt>
                <c:pt idx="8251">
                  <c:v>277609</c:v>
                </c:pt>
                <c:pt idx="8252">
                  <c:v>30772</c:v>
                </c:pt>
                <c:pt idx="8253">
                  <c:v>66308</c:v>
                </c:pt>
                <c:pt idx="8254">
                  <c:v>324892</c:v>
                </c:pt>
                <c:pt idx="8255">
                  <c:v>46220</c:v>
                </c:pt>
                <c:pt idx="8256">
                  <c:v>71191</c:v>
                </c:pt>
                <c:pt idx="8257">
                  <c:v>263929</c:v>
                </c:pt>
                <c:pt idx="8258">
                  <c:v>26640</c:v>
                </c:pt>
                <c:pt idx="8259">
                  <c:v>77293</c:v>
                </c:pt>
                <c:pt idx="8260">
                  <c:v>55171</c:v>
                </c:pt>
                <c:pt idx="8261">
                  <c:v>40953</c:v>
                </c:pt>
                <c:pt idx="8262">
                  <c:v>33569</c:v>
                </c:pt>
                <c:pt idx="8263">
                  <c:v>25827</c:v>
                </c:pt>
                <c:pt idx="8264">
                  <c:v>125572</c:v>
                </c:pt>
                <c:pt idx="8265">
                  <c:v>28808</c:v>
                </c:pt>
                <c:pt idx="8266">
                  <c:v>68027</c:v>
                </c:pt>
                <c:pt idx="8267">
                  <c:v>75654</c:v>
                </c:pt>
                <c:pt idx="8268">
                  <c:v>199118</c:v>
                </c:pt>
                <c:pt idx="8269">
                  <c:v>63460</c:v>
                </c:pt>
                <c:pt idx="8270">
                  <c:v>47029</c:v>
                </c:pt>
                <c:pt idx="8271">
                  <c:v>150243</c:v>
                </c:pt>
                <c:pt idx="8272">
                  <c:v>190926</c:v>
                </c:pt>
                <c:pt idx="8273">
                  <c:v>69399</c:v>
                </c:pt>
                <c:pt idx="8274">
                  <c:v>27966</c:v>
                </c:pt>
                <c:pt idx="8275">
                  <c:v>50547</c:v>
                </c:pt>
                <c:pt idx="8276">
                  <c:v>55046</c:v>
                </c:pt>
                <c:pt idx="8277">
                  <c:v>30120</c:v>
                </c:pt>
                <c:pt idx="8278">
                  <c:v>37184</c:v>
                </c:pt>
                <c:pt idx="8279">
                  <c:v>35051</c:v>
                </c:pt>
                <c:pt idx="8280">
                  <c:v>32792</c:v>
                </c:pt>
                <c:pt idx="8281">
                  <c:v>62586</c:v>
                </c:pt>
                <c:pt idx="8282">
                  <c:v>50980</c:v>
                </c:pt>
                <c:pt idx="8283">
                  <c:v>42464</c:v>
                </c:pt>
                <c:pt idx="8284">
                  <c:v>110630</c:v>
                </c:pt>
                <c:pt idx="8285">
                  <c:v>123193</c:v>
                </c:pt>
                <c:pt idx="8286">
                  <c:v>33553</c:v>
                </c:pt>
                <c:pt idx="8287">
                  <c:v>129726</c:v>
                </c:pt>
                <c:pt idx="8288">
                  <c:v>44570</c:v>
                </c:pt>
                <c:pt idx="8289">
                  <c:v>42629</c:v>
                </c:pt>
                <c:pt idx="8290">
                  <c:v>37072</c:v>
                </c:pt>
                <c:pt idx="8291">
                  <c:v>32651</c:v>
                </c:pt>
                <c:pt idx="8292">
                  <c:v>28885</c:v>
                </c:pt>
                <c:pt idx="8293">
                  <c:v>30602</c:v>
                </c:pt>
                <c:pt idx="8294">
                  <c:v>251565</c:v>
                </c:pt>
                <c:pt idx="8295">
                  <c:v>20639</c:v>
                </c:pt>
                <c:pt idx="8296">
                  <c:v>34486</c:v>
                </c:pt>
                <c:pt idx="8297">
                  <c:v>26132</c:v>
                </c:pt>
                <c:pt idx="8298">
                  <c:v>99377</c:v>
                </c:pt>
                <c:pt idx="8299">
                  <c:v>31266</c:v>
                </c:pt>
                <c:pt idx="8300">
                  <c:v>36285</c:v>
                </c:pt>
                <c:pt idx="8301">
                  <c:v>25240</c:v>
                </c:pt>
                <c:pt idx="8302">
                  <c:v>29353</c:v>
                </c:pt>
                <c:pt idx="8303">
                  <c:v>147440</c:v>
                </c:pt>
                <c:pt idx="8304">
                  <c:v>39349</c:v>
                </c:pt>
                <c:pt idx="8305">
                  <c:v>25933</c:v>
                </c:pt>
                <c:pt idx="8306">
                  <c:v>41562</c:v>
                </c:pt>
                <c:pt idx="8307">
                  <c:v>34613</c:v>
                </c:pt>
                <c:pt idx="8308">
                  <c:v>38199</c:v>
                </c:pt>
                <c:pt idx="8309">
                  <c:v>58139</c:v>
                </c:pt>
                <c:pt idx="8310">
                  <c:v>35396</c:v>
                </c:pt>
                <c:pt idx="8311">
                  <c:v>46229</c:v>
                </c:pt>
                <c:pt idx="8312">
                  <c:v>32548</c:v>
                </c:pt>
                <c:pt idx="8313">
                  <c:v>35916</c:v>
                </c:pt>
                <c:pt idx="8314">
                  <c:v>272682</c:v>
                </c:pt>
                <c:pt idx="8315">
                  <c:v>60378</c:v>
                </c:pt>
                <c:pt idx="8316">
                  <c:v>45419</c:v>
                </c:pt>
                <c:pt idx="8317">
                  <c:v>68937</c:v>
                </c:pt>
                <c:pt idx="8318">
                  <c:v>35094</c:v>
                </c:pt>
                <c:pt idx="8319">
                  <c:v>37668</c:v>
                </c:pt>
                <c:pt idx="8320">
                  <c:v>61157</c:v>
                </c:pt>
                <c:pt idx="8321">
                  <c:v>92567</c:v>
                </c:pt>
                <c:pt idx="8322">
                  <c:v>62833</c:v>
                </c:pt>
                <c:pt idx="8323">
                  <c:v>37364</c:v>
                </c:pt>
                <c:pt idx="8324">
                  <c:v>86969</c:v>
                </c:pt>
                <c:pt idx="8325">
                  <c:v>42569</c:v>
                </c:pt>
                <c:pt idx="8326">
                  <c:v>34209</c:v>
                </c:pt>
                <c:pt idx="8327">
                  <c:v>42963</c:v>
                </c:pt>
                <c:pt idx="8328">
                  <c:v>57117</c:v>
                </c:pt>
                <c:pt idx="8329">
                  <c:v>85142</c:v>
                </c:pt>
                <c:pt idx="8330">
                  <c:v>44412</c:v>
                </c:pt>
                <c:pt idx="8331">
                  <c:v>77366</c:v>
                </c:pt>
                <c:pt idx="8332">
                  <c:v>50685</c:v>
                </c:pt>
                <c:pt idx="8333">
                  <c:v>78204</c:v>
                </c:pt>
                <c:pt idx="8334">
                  <c:v>57326</c:v>
                </c:pt>
                <c:pt idx="8335">
                  <c:v>21962</c:v>
                </c:pt>
                <c:pt idx="8336">
                  <c:v>50729</c:v>
                </c:pt>
                <c:pt idx="8337">
                  <c:v>44727</c:v>
                </c:pt>
                <c:pt idx="8338">
                  <c:v>99465</c:v>
                </c:pt>
                <c:pt idx="8339">
                  <c:v>42313</c:v>
                </c:pt>
                <c:pt idx="8340">
                  <c:v>58485</c:v>
                </c:pt>
                <c:pt idx="8341">
                  <c:v>95112</c:v>
                </c:pt>
                <c:pt idx="8342">
                  <c:v>54164</c:v>
                </c:pt>
                <c:pt idx="8343">
                  <c:v>40159</c:v>
                </c:pt>
                <c:pt idx="8344">
                  <c:v>23704</c:v>
                </c:pt>
                <c:pt idx="8345">
                  <c:v>64692</c:v>
                </c:pt>
                <c:pt idx="8346">
                  <c:v>84096</c:v>
                </c:pt>
                <c:pt idx="8347">
                  <c:v>47734</c:v>
                </c:pt>
                <c:pt idx="8348">
                  <c:v>30547</c:v>
                </c:pt>
                <c:pt idx="8349">
                  <c:v>66371</c:v>
                </c:pt>
                <c:pt idx="8350">
                  <c:v>31165</c:v>
                </c:pt>
                <c:pt idx="8351">
                  <c:v>33426</c:v>
                </c:pt>
                <c:pt idx="8352">
                  <c:v>97276</c:v>
                </c:pt>
                <c:pt idx="8353">
                  <c:v>41944</c:v>
                </c:pt>
                <c:pt idx="8354">
                  <c:v>45668</c:v>
                </c:pt>
                <c:pt idx="8355">
                  <c:v>100439</c:v>
                </c:pt>
                <c:pt idx="8356">
                  <c:v>135236</c:v>
                </c:pt>
                <c:pt idx="8357">
                  <c:v>34939</c:v>
                </c:pt>
                <c:pt idx="8358">
                  <c:v>30025</c:v>
                </c:pt>
                <c:pt idx="8359">
                  <c:v>41738</c:v>
                </c:pt>
                <c:pt idx="8360">
                  <c:v>28660</c:v>
                </c:pt>
                <c:pt idx="8361">
                  <c:v>25172</c:v>
                </c:pt>
                <c:pt idx="8362">
                  <c:v>96745</c:v>
                </c:pt>
                <c:pt idx="8363">
                  <c:v>41287</c:v>
                </c:pt>
                <c:pt idx="8364">
                  <c:v>40706</c:v>
                </c:pt>
                <c:pt idx="8365">
                  <c:v>29702</c:v>
                </c:pt>
                <c:pt idx="8366">
                  <c:v>35430</c:v>
                </c:pt>
                <c:pt idx="8367">
                  <c:v>40647</c:v>
                </c:pt>
                <c:pt idx="8368">
                  <c:v>30639</c:v>
                </c:pt>
                <c:pt idx="8369">
                  <c:v>83998</c:v>
                </c:pt>
                <c:pt idx="8370">
                  <c:v>123539</c:v>
                </c:pt>
                <c:pt idx="8371">
                  <c:v>111690</c:v>
                </c:pt>
                <c:pt idx="8372">
                  <c:v>60137</c:v>
                </c:pt>
                <c:pt idx="8373">
                  <c:v>45123</c:v>
                </c:pt>
                <c:pt idx="8374">
                  <c:v>34748</c:v>
                </c:pt>
                <c:pt idx="8375">
                  <c:v>29384</c:v>
                </c:pt>
                <c:pt idx="8376">
                  <c:v>21734</c:v>
                </c:pt>
                <c:pt idx="8377">
                  <c:v>19278</c:v>
                </c:pt>
                <c:pt idx="8378">
                  <c:v>31230</c:v>
                </c:pt>
                <c:pt idx="8379">
                  <c:v>24633</c:v>
                </c:pt>
                <c:pt idx="8380">
                  <c:v>26239</c:v>
                </c:pt>
                <c:pt idx="8381">
                  <c:v>55733</c:v>
                </c:pt>
                <c:pt idx="8382">
                  <c:v>29076</c:v>
                </c:pt>
                <c:pt idx="8383">
                  <c:v>56630</c:v>
                </c:pt>
                <c:pt idx="8384">
                  <c:v>41192</c:v>
                </c:pt>
                <c:pt idx="8385">
                  <c:v>33224</c:v>
                </c:pt>
                <c:pt idx="8386">
                  <c:v>33286</c:v>
                </c:pt>
                <c:pt idx="8387">
                  <c:v>99344</c:v>
                </c:pt>
                <c:pt idx="8388">
                  <c:v>45333</c:v>
                </c:pt>
                <c:pt idx="8389">
                  <c:v>49739</c:v>
                </c:pt>
                <c:pt idx="8390">
                  <c:v>73313</c:v>
                </c:pt>
                <c:pt idx="8391">
                  <c:v>158916</c:v>
                </c:pt>
                <c:pt idx="8392">
                  <c:v>99664</c:v>
                </c:pt>
                <c:pt idx="8393">
                  <c:v>40936</c:v>
                </c:pt>
                <c:pt idx="8394">
                  <c:v>29797</c:v>
                </c:pt>
                <c:pt idx="8395">
                  <c:v>71436</c:v>
                </c:pt>
                <c:pt idx="8396">
                  <c:v>31659</c:v>
                </c:pt>
                <c:pt idx="8397">
                  <c:v>54016</c:v>
                </c:pt>
                <c:pt idx="8398">
                  <c:v>52331</c:v>
                </c:pt>
                <c:pt idx="8399">
                  <c:v>45973</c:v>
                </c:pt>
                <c:pt idx="8400">
                  <c:v>52954</c:v>
                </c:pt>
                <c:pt idx="8401">
                  <c:v>77100</c:v>
                </c:pt>
                <c:pt idx="8402">
                  <c:v>45443</c:v>
                </c:pt>
                <c:pt idx="8403">
                  <c:v>35309</c:v>
                </c:pt>
                <c:pt idx="8404">
                  <c:v>57509</c:v>
                </c:pt>
                <c:pt idx="8405">
                  <c:v>39997</c:v>
                </c:pt>
                <c:pt idx="8406">
                  <c:v>36464</c:v>
                </c:pt>
                <c:pt idx="8407">
                  <c:v>56115</c:v>
                </c:pt>
                <c:pt idx="8408">
                  <c:v>39584</c:v>
                </c:pt>
                <c:pt idx="8409">
                  <c:v>90191</c:v>
                </c:pt>
                <c:pt idx="8410">
                  <c:v>40357</c:v>
                </c:pt>
                <c:pt idx="8411">
                  <c:v>33021</c:v>
                </c:pt>
                <c:pt idx="8412">
                  <c:v>38320</c:v>
                </c:pt>
                <c:pt idx="8413">
                  <c:v>57317</c:v>
                </c:pt>
                <c:pt idx="8414">
                  <c:v>44630</c:v>
                </c:pt>
                <c:pt idx="8415">
                  <c:v>31060</c:v>
                </c:pt>
                <c:pt idx="8416">
                  <c:v>49920</c:v>
                </c:pt>
                <c:pt idx="8417">
                  <c:v>37292</c:v>
                </c:pt>
                <c:pt idx="8418">
                  <c:v>168154</c:v>
                </c:pt>
                <c:pt idx="8419">
                  <c:v>68590</c:v>
                </c:pt>
                <c:pt idx="8420">
                  <c:v>29921</c:v>
                </c:pt>
                <c:pt idx="8421">
                  <c:v>54839</c:v>
                </c:pt>
                <c:pt idx="8422">
                  <c:v>31509</c:v>
                </c:pt>
                <c:pt idx="8423">
                  <c:v>35253</c:v>
                </c:pt>
                <c:pt idx="8424">
                  <c:v>30824</c:v>
                </c:pt>
                <c:pt idx="8425">
                  <c:v>51052</c:v>
                </c:pt>
                <c:pt idx="8426">
                  <c:v>42881</c:v>
                </c:pt>
                <c:pt idx="8427">
                  <c:v>41587</c:v>
                </c:pt>
                <c:pt idx="8428">
                  <c:v>146518</c:v>
                </c:pt>
                <c:pt idx="8429">
                  <c:v>41593</c:v>
                </c:pt>
                <c:pt idx="8430">
                  <c:v>29412</c:v>
                </c:pt>
                <c:pt idx="8431">
                  <c:v>29632</c:v>
                </c:pt>
                <c:pt idx="8432">
                  <c:v>39600</c:v>
                </c:pt>
                <c:pt idx="8433">
                  <c:v>164863</c:v>
                </c:pt>
                <c:pt idx="8434">
                  <c:v>36106</c:v>
                </c:pt>
                <c:pt idx="8435">
                  <c:v>71124</c:v>
                </c:pt>
                <c:pt idx="8436">
                  <c:v>52128</c:v>
                </c:pt>
                <c:pt idx="8437">
                  <c:v>60576</c:v>
                </c:pt>
                <c:pt idx="8438">
                  <c:v>52562</c:v>
                </c:pt>
                <c:pt idx="8439">
                  <c:v>40277</c:v>
                </c:pt>
                <c:pt idx="8440">
                  <c:v>346993</c:v>
                </c:pt>
                <c:pt idx="8441">
                  <c:v>42689</c:v>
                </c:pt>
                <c:pt idx="8442">
                  <c:v>197464</c:v>
                </c:pt>
                <c:pt idx="8443">
                  <c:v>85192</c:v>
                </c:pt>
                <c:pt idx="8444">
                  <c:v>37832</c:v>
                </c:pt>
                <c:pt idx="8445">
                  <c:v>35967</c:v>
                </c:pt>
                <c:pt idx="8446">
                  <c:v>26249</c:v>
                </c:pt>
                <c:pt idx="8447">
                  <c:v>19597</c:v>
                </c:pt>
                <c:pt idx="8448">
                  <c:v>26290</c:v>
                </c:pt>
                <c:pt idx="8449">
                  <c:v>39977</c:v>
                </c:pt>
                <c:pt idx="8450">
                  <c:v>41125</c:v>
                </c:pt>
                <c:pt idx="8451">
                  <c:v>40959</c:v>
                </c:pt>
                <c:pt idx="8452">
                  <c:v>25314</c:v>
                </c:pt>
                <c:pt idx="8453">
                  <c:v>73854</c:v>
                </c:pt>
                <c:pt idx="8454">
                  <c:v>110143</c:v>
                </c:pt>
                <c:pt idx="8455">
                  <c:v>145963</c:v>
                </c:pt>
                <c:pt idx="8456">
                  <c:v>38618</c:v>
                </c:pt>
                <c:pt idx="8457">
                  <c:v>60548</c:v>
                </c:pt>
                <c:pt idx="8458">
                  <c:v>43222</c:v>
                </c:pt>
                <c:pt idx="8459">
                  <c:v>33339</c:v>
                </c:pt>
                <c:pt idx="8460">
                  <c:v>47087</c:v>
                </c:pt>
                <c:pt idx="8461">
                  <c:v>33343</c:v>
                </c:pt>
                <c:pt idx="8462">
                  <c:v>39162</c:v>
                </c:pt>
                <c:pt idx="8463">
                  <c:v>98854</c:v>
                </c:pt>
                <c:pt idx="8464">
                  <c:v>45726</c:v>
                </c:pt>
                <c:pt idx="8465">
                  <c:v>46886</c:v>
                </c:pt>
                <c:pt idx="8466">
                  <c:v>32352</c:v>
                </c:pt>
                <c:pt idx="8467">
                  <c:v>34178</c:v>
                </c:pt>
                <c:pt idx="8468">
                  <c:v>35169</c:v>
                </c:pt>
                <c:pt idx="8469">
                  <c:v>42887</c:v>
                </c:pt>
                <c:pt idx="8470">
                  <c:v>33228</c:v>
                </c:pt>
                <c:pt idx="8471">
                  <c:v>44853</c:v>
                </c:pt>
                <c:pt idx="8472">
                  <c:v>36669</c:v>
                </c:pt>
                <c:pt idx="8473">
                  <c:v>38819</c:v>
                </c:pt>
                <c:pt idx="8474">
                  <c:v>26373</c:v>
                </c:pt>
                <c:pt idx="8475">
                  <c:v>65981</c:v>
                </c:pt>
                <c:pt idx="8476">
                  <c:v>91574</c:v>
                </c:pt>
                <c:pt idx="8477">
                  <c:v>58458</c:v>
                </c:pt>
                <c:pt idx="8478">
                  <c:v>55594</c:v>
                </c:pt>
                <c:pt idx="8479">
                  <c:v>49817</c:v>
                </c:pt>
                <c:pt idx="8480">
                  <c:v>39424</c:v>
                </c:pt>
                <c:pt idx="8481">
                  <c:v>41452</c:v>
                </c:pt>
                <c:pt idx="8482">
                  <c:v>92179</c:v>
                </c:pt>
                <c:pt idx="8483">
                  <c:v>55720</c:v>
                </c:pt>
                <c:pt idx="8484">
                  <c:v>33177</c:v>
                </c:pt>
                <c:pt idx="8485">
                  <c:v>43828</c:v>
                </c:pt>
                <c:pt idx="8486">
                  <c:v>54059</c:v>
                </c:pt>
                <c:pt idx="8487">
                  <c:v>25364</c:v>
                </c:pt>
                <c:pt idx="8488">
                  <c:v>111160</c:v>
                </c:pt>
                <c:pt idx="8489">
                  <c:v>122670</c:v>
                </c:pt>
                <c:pt idx="8490">
                  <c:v>28468</c:v>
                </c:pt>
                <c:pt idx="8491">
                  <c:v>211005</c:v>
                </c:pt>
                <c:pt idx="8492">
                  <c:v>78151</c:v>
                </c:pt>
                <c:pt idx="8493">
                  <c:v>135604</c:v>
                </c:pt>
                <c:pt idx="8494">
                  <c:v>43153</c:v>
                </c:pt>
                <c:pt idx="8495">
                  <c:v>138311</c:v>
                </c:pt>
                <c:pt idx="8496">
                  <c:v>85697</c:v>
                </c:pt>
                <c:pt idx="8497">
                  <c:v>27255</c:v>
                </c:pt>
                <c:pt idx="8498">
                  <c:v>55117</c:v>
                </c:pt>
                <c:pt idx="8499">
                  <c:v>95732</c:v>
                </c:pt>
                <c:pt idx="8500">
                  <c:v>46172</c:v>
                </c:pt>
                <c:pt idx="8501">
                  <c:v>35192</c:v>
                </c:pt>
                <c:pt idx="8502">
                  <c:v>97829</c:v>
                </c:pt>
                <c:pt idx="8503">
                  <c:v>30867</c:v>
                </c:pt>
                <c:pt idx="8504">
                  <c:v>60980</c:v>
                </c:pt>
                <c:pt idx="8505">
                  <c:v>56205</c:v>
                </c:pt>
                <c:pt idx="8506">
                  <c:v>33595</c:v>
                </c:pt>
                <c:pt idx="8507">
                  <c:v>96801</c:v>
                </c:pt>
                <c:pt idx="8508">
                  <c:v>44854</c:v>
                </c:pt>
                <c:pt idx="8509">
                  <c:v>38484</c:v>
                </c:pt>
                <c:pt idx="8510">
                  <c:v>55862</c:v>
                </c:pt>
                <c:pt idx="8511">
                  <c:v>37833</c:v>
                </c:pt>
                <c:pt idx="8512">
                  <c:v>86186</c:v>
                </c:pt>
                <c:pt idx="8513">
                  <c:v>77739</c:v>
                </c:pt>
                <c:pt idx="8514">
                  <c:v>24211</c:v>
                </c:pt>
                <c:pt idx="8515">
                  <c:v>88425</c:v>
                </c:pt>
                <c:pt idx="8516">
                  <c:v>55236</c:v>
                </c:pt>
                <c:pt idx="8517">
                  <c:v>109414</c:v>
                </c:pt>
                <c:pt idx="8518">
                  <c:v>269586</c:v>
                </c:pt>
                <c:pt idx="8519">
                  <c:v>24289</c:v>
                </c:pt>
                <c:pt idx="8520">
                  <c:v>120771</c:v>
                </c:pt>
                <c:pt idx="8521">
                  <c:v>35080</c:v>
                </c:pt>
                <c:pt idx="8522">
                  <c:v>98407</c:v>
                </c:pt>
                <c:pt idx="8523">
                  <c:v>51175</c:v>
                </c:pt>
                <c:pt idx="8524">
                  <c:v>29747</c:v>
                </c:pt>
                <c:pt idx="8525">
                  <c:v>43557</c:v>
                </c:pt>
                <c:pt idx="8526">
                  <c:v>32936</c:v>
                </c:pt>
                <c:pt idx="8527">
                  <c:v>22281</c:v>
                </c:pt>
                <c:pt idx="8528">
                  <c:v>27001</c:v>
                </c:pt>
                <c:pt idx="8529">
                  <c:v>111888</c:v>
                </c:pt>
                <c:pt idx="8530">
                  <c:v>43533</c:v>
                </c:pt>
                <c:pt idx="8531">
                  <c:v>51061</c:v>
                </c:pt>
                <c:pt idx="8532">
                  <c:v>28601</c:v>
                </c:pt>
                <c:pt idx="8533">
                  <c:v>40011</c:v>
                </c:pt>
                <c:pt idx="8534">
                  <c:v>41114</c:v>
                </c:pt>
                <c:pt idx="8535">
                  <c:v>30177</c:v>
                </c:pt>
                <c:pt idx="8536">
                  <c:v>36281</c:v>
                </c:pt>
                <c:pt idx="8537">
                  <c:v>78558</c:v>
                </c:pt>
                <c:pt idx="8538">
                  <c:v>92049</c:v>
                </c:pt>
                <c:pt idx="8539">
                  <c:v>31016</c:v>
                </c:pt>
                <c:pt idx="8540">
                  <c:v>28652</c:v>
                </c:pt>
                <c:pt idx="8541">
                  <c:v>156448</c:v>
                </c:pt>
                <c:pt idx="8542">
                  <c:v>47048</c:v>
                </c:pt>
                <c:pt idx="8543">
                  <c:v>101410</c:v>
                </c:pt>
                <c:pt idx="8544">
                  <c:v>70175</c:v>
                </c:pt>
                <c:pt idx="8545">
                  <c:v>39908</c:v>
                </c:pt>
                <c:pt idx="8546">
                  <c:v>23331</c:v>
                </c:pt>
                <c:pt idx="8547">
                  <c:v>41084</c:v>
                </c:pt>
                <c:pt idx="8548">
                  <c:v>34907</c:v>
                </c:pt>
                <c:pt idx="8549">
                  <c:v>22539</c:v>
                </c:pt>
                <c:pt idx="8550">
                  <c:v>89779</c:v>
                </c:pt>
                <c:pt idx="8551">
                  <c:v>245243</c:v>
                </c:pt>
                <c:pt idx="8552">
                  <c:v>182191</c:v>
                </c:pt>
                <c:pt idx="8553">
                  <c:v>29425</c:v>
                </c:pt>
                <c:pt idx="8554">
                  <c:v>126664</c:v>
                </c:pt>
                <c:pt idx="8555">
                  <c:v>76251</c:v>
                </c:pt>
                <c:pt idx="8556">
                  <c:v>75436</c:v>
                </c:pt>
                <c:pt idx="8557">
                  <c:v>24726</c:v>
                </c:pt>
                <c:pt idx="8558">
                  <c:v>47411</c:v>
                </c:pt>
                <c:pt idx="8559">
                  <c:v>42403</c:v>
                </c:pt>
                <c:pt idx="8560">
                  <c:v>31751</c:v>
                </c:pt>
                <c:pt idx="8561">
                  <c:v>27918</c:v>
                </c:pt>
                <c:pt idx="8562">
                  <c:v>38878</c:v>
                </c:pt>
                <c:pt idx="8563">
                  <c:v>36554</c:v>
                </c:pt>
                <c:pt idx="8564">
                  <c:v>31265</c:v>
                </c:pt>
                <c:pt idx="8565">
                  <c:v>38644</c:v>
                </c:pt>
                <c:pt idx="8566">
                  <c:v>79315</c:v>
                </c:pt>
                <c:pt idx="8567">
                  <c:v>45043</c:v>
                </c:pt>
                <c:pt idx="8568">
                  <c:v>27566</c:v>
                </c:pt>
                <c:pt idx="8569">
                  <c:v>56548</c:v>
                </c:pt>
                <c:pt idx="8570">
                  <c:v>63783</c:v>
                </c:pt>
                <c:pt idx="8571">
                  <c:v>36341</c:v>
                </c:pt>
                <c:pt idx="8572">
                  <c:v>49160</c:v>
                </c:pt>
                <c:pt idx="8573">
                  <c:v>51918</c:v>
                </c:pt>
                <c:pt idx="8574">
                  <c:v>106964</c:v>
                </c:pt>
                <c:pt idx="8575">
                  <c:v>69145</c:v>
                </c:pt>
                <c:pt idx="8576">
                  <c:v>38342</c:v>
                </c:pt>
                <c:pt idx="8577">
                  <c:v>26352</c:v>
                </c:pt>
                <c:pt idx="8578">
                  <c:v>44385</c:v>
                </c:pt>
                <c:pt idx="8579">
                  <c:v>54411</c:v>
                </c:pt>
                <c:pt idx="8580">
                  <c:v>54048</c:v>
                </c:pt>
                <c:pt idx="8581">
                  <c:v>47600</c:v>
                </c:pt>
                <c:pt idx="8582">
                  <c:v>29884</c:v>
                </c:pt>
                <c:pt idx="8583">
                  <c:v>27842</c:v>
                </c:pt>
                <c:pt idx="8584">
                  <c:v>25059</c:v>
                </c:pt>
                <c:pt idx="8585">
                  <c:v>27618</c:v>
                </c:pt>
                <c:pt idx="8586">
                  <c:v>30248</c:v>
                </c:pt>
                <c:pt idx="8587">
                  <c:v>172023</c:v>
                </c:pt>
                <c:pt idx="8588">
                  <c:v>58472</c:v>
                </c:pt>
                <c:pt idx="8589">
                  <c:v>25192</c:v>
                </c:pt>
                <c:pt idx="8590">
                  <c:v>44535</c:v>
                </c:pt>
                <c:pt idx="8591">
                  <c:v>46634</c:v>
                </c:pt>
                <c:pt idx="8592">
                  <c:v>117158</c:v>
                </c:pt>
                <c:pt idx="8593">
                  <c:v>38824</c:v>
                </c:pt>
                <c:pt idx="8594">
                  <c:v>41786</c:v>
                </c:pt>
                <c:pt idx="8595">
                  <c:v>58097</c:v>
                </c:pt>
                <c:pt idx="8596">
                  <c:v>81296</c:v>
                </c:pt>
                <c:pt idx="8597">
                  <c:v>183705</c:v>
                </c:pt>
                <c:pt idx="8598">
                  <c:v>32455</c:v>
                </c:pt>
                <c:pt idx="8599">
                  <c:v>39733</c:v>
                </c:pt>
                <c:pt idx="8600">
                  <c:v>126467</c:v>
                </c:pt>
                <c:pt idx="8601">
                  <c:v>42849</c:v>
                </c:pt>
                <c:pt idx="8602">
                  <c:v>24345</c:v>
                </c:pt>
                <c:pt idx="8603">
                  <c:v>43784</c:v>
                </c:pt>
                <c:pt idx="8604">
                  <c:v>27775</c:v>
                </c:pt>
                <c:pt idx="8605">
                  <c:v>49621</c:v>
                </c:pt>
                <c:pt idx="8606">
                  <c:v>47560</c:v>
                </c:pt>
                <c:pt idx="8607">
                  <c:v>106777</c:v>
                </c:pt>
                <c:pt idx="8608">
                  <c:v>48252</c:v>
                </c:pt>
                <c:pt idx="8609">
                  <c:v>75034</c:v>
                </c:pt>
                <c:pt idx="8610">
                  <c:v>140469</c:v>
                </c:pt>
                <c:pt idx="8611">
                  <c:v>107084</c:v>
                </c:pt>
                <c:pt idx="8612">
                  <c:v>62405</c:v>
                </c:pt>
                <c:pt idx="8613">
                  <c:v>38636</c:v>
                </c:pt>
                <c:pt idx="8614">
                  <c:v>33482</c:v>
                </c:pt>
                <c:pt idx="8615">
                  <c:v>142926</c:v>
                </c:pt>
                <c:pt idx="8616">
                  <c:v>29819</c:v>
                </c:pt>
                <c:pt idx="8617">
                  <c:v>43572</c:v>
                </c:pt>
                <c:pt idx="8618">
                  <c:v>38641</c:v>
                </c:pt>
                <c:pt idx="8619">
                  <c:v>26289</c:v>
                </c:pt>
                <c:pt idx="8620">
                  <c:v>47049</c:v>
                </c:pt>
                <c:pt idx="8621">
                  <c:v>202350</c:v>
                </c:pt>
                <c:pt idx="8622">
                  <c:v>29562</c:v>
                </c:pt>
                <c:pt idx="8623">
                  <c:v>58606</c:v>
                </c:pt>
                <c:pt idx="8624">
                  <c:v>40254</c:v>
                </c:pt>
                <c:pt idx="8625">
                  <c:v>172093</c:v>
                </c:pt>
                <c:pt idx="8626">
                  <c:v>23432</c:v>
                </c:pt>
                <c:pt idx="8627">
                  <c:v>104823</c:v>
                </c:pt>
                <c:pt idx="8628">
                  <c:v>163866</c:v>
                </c:pt>
                <c:pt idx="8629">
                  <c:v>24339</c:v>
                </c:pt>
                <c:pt idx="8630">
                  <c:v>47708</c:v>
                </c:pt>
                <c:pt idx="8631">
                  <c:v>31406</c:v>
                </c:pt>
                <c:pt idx="8632">
                  <c:v>39048</c:v>
                </c:pt>
                <c:pt idx="8633">
                  <c:v>41842</c:v>
                </c:pt>
                <c:pt idx="8634">
                  <c:v>62050</c:v>
                </c:pt>
                <c:pt idx="8635">
                  <c:v>51931</c:v>
                </c:pt>
                <c:pt idx="8636">
                  <c:v>38881</c:v>
                </c:pt>
                <c:pt idx="8637">
                  <c:v>107472</c:v>
                </c:pt>
                <c:pt idx="8638">
                  <c:v>45538</c:v>
                </c:pt>
                <c:pt idx="8639">
                  <c:v>77387</c:v>
                </c:pt>
                <c:pt idx="8640">
                  <c:v>122716</c:v>
                </c:pt>
                <c:pt idx="8641">
                  <c:v>48877</c:v>
                </c:pt>
                <c:pt idx="8642">
                  <c:v>36591</c:v>
                </c:pt>
                <c:pt idx="8643">
                  <c:v>27352</c:v>
                </c:pt>
                <c:pt idx="8644">
                  <c:v>32024</c:v>
                </c:pt>
                <c:pt idx="8645">
                  <c:v>205160</c:v>
                </c:pt>
                <c:pt idx="8646">
                  <c:v>45605</c:v>
                </c:pt>
                <c:pt idx="8647">
                  <c:v>81596</c:v>
                </c:pt>
                <c:pt idx="8648">
                  <c:v>30415</c:v>
                </c:pt>
                <c:pt idx="8649">
                  <c:v>57412</c:v>
                </c:pt>
                <c:pt idx="8650">
                  <c:v>155139</c:v>
                </c:pt>
                <c:pt idx="8651">
                  <c:v>25819</c:v>
                </c:pt>
                <c:pt idx="8652">
                  <c:v>238329</c:v>
                </c:pt>
                <c:pt idx="8653">
                  <c:v>64832</c:v>
                </c:pt>
                <c:pt idx="8654">
                  <c:v>86598</c:v>
                </c:pt>
                <c:pt idx="8655">
                  <c:v>20639</c:v>
                </c:pt>
                <c:pt idx="8656">
                  <c:v>55392</c:v>
                </c:pt>
                <c:pt idx="8657">
                  <c:v>32143</c:v>
                </c:pt>
                <c:pt idx="8658">
                  <c:v>32717</c:v>
                </c:pt>
                <c:pt idx="8659">
                  <c:v>42914</c:v>
                </c:pt>
                <c:pt idx="8660">
                  <c:v>44440</c:v>
                </c:pt>
                <c:pt idx="8661">
                  <c:v>42980</c:v>
                </c:pt>
                <c:pt idx="8662">
                  <c:v>50652</c:v>
                </c:pt>
                <c:pt idx="8663">
                  <c:v>85566</c:v>
                </c:pt>
                <c:pt idx="8664">
                  <c:v>35192</c:v>
                </c:pt>
                <c:pt idx="8665">
                  <c:v>63009</c:v>
                </c:pt>
                <c:pt idx="8666">
                  <c:v>42162</c:v>
                </c:pt>
                <c:pt idx="8667">
                  <c:v>28219</c:v>
                </c:pt>
                <c:pt idx="8668">
                  <c:v>23963</c:v>
                </c:pt>
                <c:pt idx="8669">
                  <c:v>141103</c:v>
                </c:pt>
                <c:pt idx="8670">
                  <c:v>65638</c:v>
                </c:pt>
                <c:pt idx="8671">
                  <c:v>26431</c:v>
                </c:pt>
                <c:pt idx="8672">
                  <c:v>134669</c:v>
                </c:pt>
                <c:pt idx="8673">
                  <c:v>101704</c:v>
                </c:pt>
                <c:pt idx="8674">
                  <c:v>37819</c:v>
                </c:pt>
                <c:pt idx="8675">
                  <c:v>24060</c:v>
                </c:pt>
                <c:pt idx="8676">
                  <c:v>50098</c:v>
                </c:pt>
                <c:pt idx="8677">
                  <c:v>55825</c:v>
                </c:pt>
                <c:pt idx="8678">
                  <c:v>41087</c:v>
                </c:pt>
                <c:pt idx="8679">
                  <c:v>38727</c:v>
                </c:pt>
                <c:pt idx="8680">
                  <c:v>142647</c:v>
                </c:pt>
                <c:pt idx="8681">
                  <c:v>28681</c:v>
                </c:pt>
                <c:pt idx="8682">
                  <c:v>229036</c:v>
                </c:pt>
                <c:pt idx="8683">
                  <c:v>66347</c:v>
                </c:pt>
                <c:pt idx="8684">
                  <c:v>29624</c:v>
                </c:pt>
                <c:pt idx="8685">
                  <c:v>66250</c:v>
                </c:pt>
                <c:pt idx="8686">
                  <c:v>33962</c:v>
                </c:pt>
                <c:pt idx="8687">
                  <c:v>47779</c:v>
                </c:pt>
                <c:pt idx="8688">
                  <c:v>136088</c:v>
                </c:pt>
                <c:pt idx="8689">
                  <c:v>92698</c:v>
                </c:pt>
                <c:pt idx="8690">
                  <c:v>25809</c:v>
                </c:pt>
                <c:pt idx="8691">
                  <c:v>240086</c:v>
                </c:pt>
                <c:pt idx="8692">
                  <c:v>573840</c:v>
                </c:pt>
                <c:pt idx="8693">
                  <c:v>36950</c:v>
                </c:pt>
                <c:pt idx="8694">
                  <c:v>97938</c:v>
                </c:pt>
                <c:pt idx="8695">
                  <c:v>48868</c:v>
                </c:pt>
                <c:pt idx="8696">
                  <c:v>29360</c:v>
                </c:pt>
                <c:pt idx="8697">
                  <c:v>105280</c:v>
                </c:pt>
                <c:pt idx="8698">
                  <c:v>57308</c:v>
                </c:pt>
                <c:pt idx="8699">
                  <c:v>23901</c:v>
                </c:pt>
                <c:pt idx="8700">
                  <c:v>61455</c:v>
                </c:pt>
                <c:pt idx="8701">
                  <c:v>132400</c:v>
                </c:pt>
                <c:pt idx="8702">
                  <c:v>136467</c:v>
                </c:pt>
                <c:pt idx="8703">
                  <c:v>24417</c:v>
                </c:pt>
                <c:pt idx="8704">
                  <c:v>58289</c:v>
                </c:pt>
                <c:pt idx="8705">
                  <c:v>39511</c:v>
                </c:pt>
                <c:pt idx="8706">
                  <c:v>58321</c:v>
                </c:pt>
                <c:pt idx="8707">
                  <c:v>29224</c:v>
                </c:pt>
                <c:pt idx="8708">
                  <c:v>53131</c:v>
                </c:pt>
                <c:pt idx="8709">
                  <c:v>64703</c:v>
                </c:pt>
                <c:pt idx="8710">
                  <c:v>150781</c:v>
                </c:pt>
                <c:pt idx="8711">
                  <c:v>58295</c:v>
                </c:pt>
                <c:pt idx="8712">
                  <c:v>64170</c:v>
                </c:pt>
                <c:pt idx="8713">
                  <c:v>214513</c:v>
                </c:pt>
                <c:pt idx="8714">
                  <c:v>37171</c:v>
                </c:pt>
                <c:pt idx="8715">
                  <c:v>183745</c:v>
                </c:pt>
                <c:pt idx="8716">
                  <c:v>36357</c:v>
                </c:pt>
                <c:pt idx="8717">
                  <c:v>30173</c:v>
                </c:pt>
                <c:pt idx="8718">
                  <c:v>42909</c:v>
                </c:pt>
                <c:pt idx="8719">
                  <c:v>25516</c:v>
                </c:pt>
                <c:pt idx="8720">
                  <c:v>60396</c:v>
                </c:pt>
                <c:pt idx="8721">
                  <c:v>24106</c:v>
                </c:pt>
                <c:pt idx="8722">
                  <c:v>49918</c:v>
                </c:pt>
                <c:pt idx="8723">
                  <c:v>40934</c:v>
                </c:pt>
                <c:pt idx="8724">
                  <c:v>37784</c:v>
                </c:pt>
                <c:pt idx="8725">
                  <c:v>90389</c:v>
                </c:pt>
                <c:pt idx="8726">
                  <c:v>46240</c:v>
                </c:pt>
                <c:pt idx="8727">
                  <c:v>43595</c:v>
                </c:pt>
                <c:pt idx="8728">
                  <c:v>36737</c:v>
                </c:pt>
                <c:pt idx="8729">
                  <c:v>25891</c:v>
                </c:pt>
                <c:pt idx="8730">
                  <c:v>38756</c:v>
                </c:pt>
                <c:pt idx="8731">
                  <c:v>39479</c:v>
                </c:pt>
                <c:pt idx="8732">
                  <c:v>27687</c:v>
                </c:pt>
                <c:pt idx="8733">
                  <c:v>56363</c:v>
                </c:pt>
                <c:pt idx="8734">
                  <c:v>35320</c:v>
                </c:pt>
                <c:pt idx="8735">
                  <c:v>46571</c:v>
                </c:pt>
                <c:pt idx="8736">
                  <c:v>31324</c:v>
                </c:pt>
                <c:pt idx="8737">
                  <c:v>53485</c:v>
                </c:pt>
                <c:pt idx="8738">
                  <c:v>30075</c:v>
                </c:pt>
                <c:pt idx="8739">
                  <c:v>28679</c:v>
                </c:pt>
                <c:pt idx="8740">
                  <c:v>33101</c:v>
                </c:pt>
                <c:pt idx="8741">
                  <c:v>40330</c:v>
                </c:pt>
                <c:pt idx="8742">
                  <c:v>27734</c:v>
                </c:pt>
                <c:pt idx="8743">
                  <c:v>80117</c:v>
                </c:pt>
                <c:pt idx="8744">
                  <c:v>112416</c:v>
                </c:pt>
                <c:pt idx="8745">
                  <c:v>38007</c:v>
                </c:pt>
                <c:pt idx="8746">
                  <c:v>41130</c:v>
                </c:pt>
                <c:pt idx="8747">
                  <c:v>31177</c:v>
                </c:pt>
                <c:pt idx="8748">
                  <c:v>42208</c:v>
                </c:pt>
                <c:pt idx="8749">
                  <c:v>36400</c:v>
                </c:pt>
                <c:pt idx="8750">
                  <c:v>24142</c:v>
                </c:pt>
                <c:pt idx="8751">
                  <c:v>50264</c:v>
                </c:pt>
                <c:pt idx="8752">
                  <c:v>38959</c:v>
                </c:pt>
                <c:pt idx="8753">
                  <c:v>54417</c:v>
                </c:pt>
                <c:pt idx="8754">
                  <c:v>115647</c:v>
                </c:pt>
                <c:pt idx="8755">
                  <c:v>46214</c:v>
                </c:pt>
                <c:pt idx="8756">
                  <c:v>70627</c:v>
                </c:pt>
                <c:pt idx="8757">
                  <c:v>35721</c:v>
                </c:pt>
                <c:pt idx="8758">
                  <c:v>38466</c:v>
                </c:pt>
                <c:pt idx="8759">
                  <c:v>45448</c:v>
                </c:pt>
                <c:pt idx="8760">
                  <c:v>207928</c:v>
                </c:pt>
                <c:pt idx="8761">
                  <c:v>74828</c:v>
                </c:pt>
                <c:pt idx="8762">
                  <c:v>84767</c:v>
                </c:pt>
                <c:pt idx="8763">
                  <c:v>64696</c:v>
                </c:pt>
                <c:pt idx="8764">
                  <c:v>84909</c:v>
                </c:pt>
                <c:pt idx="8765">
                  <c:v>53779</c:v>
                </c:pt>
                <c:pt idx="8766">
                  <c:v>111617</c:v>
                </c:pt>
                <c:pt idx="8767">
                  <c:v>43975</c:v>
                </c:pt>
                <c:pt idx="8768">
                  <c:v>60651</c:v>
                </c:pt>
                <c:pt idx="8769">
                  <c:v>85680</c:v>
                </c:pt>
                <c:pt idx="8770">
                  <c:v>51990</c:v>
                </c:pt>
                <c:pt idx="8771">
                  <c:v>26401</c:v>
                </c:pt>
                <c:pt idx="8772">
                  <c:v>29747</c:v>
                </c:pt>
                <c:pt idx="8773">
                  <c:v>67833</c:v>
                </c:pt>
                <c:pt idx="8774">
                  <c:v>35140</c:v>
                </c:pt>
                <c:pt idx="8775">
                  <c:v>65325</c:v>
                </c:pt>
                <c:pt idx="8776">
                  <c:v>176825</c:v>
                </c:pt>
                <c:pt idx="8777">
                  <c:v>69659</c:v>
                </c:pt>
                <c:pt idx="8778">
                  <c:v>40610</c:v>
                </c:pt>
                <c:pt idx="8779">
                  <c:v>35525</c:v>
                </c:pt>
                <c:pt idx="8780">
                  <c:v>43574</c:v>
                </c:pt>
                <c:pt idx="8781">
                  <c:v>31263</c:v>
                </c:pt>
                <c:pt idx="8782">
                  <c:v>78511</c:v>
                </c:pt>
                <c:pt idx="8783">
                  <c:v>33080</c:v>
                </c:pt>
                <c:pt idx="8784">
                  <c:v>48826</c:v>
                </c:pt>
                <c:pt idx="8785">
                  <c:v>41322</c:v>
                </c:pt>
                <c:pt idx="8786">
                  <c:v>27308</c:v>
                </c:pt>
                <c:pt idx="8787">
                  <c:v>102142</c:v>
                </c:pt>
                <c:pt idx="8788">
                  <c:v>91126</c:v>
                </c:pt>
                <c:pt idx="8789">
                  <c:v>34003</c:v>
                </c:pt>
                <c:pt idx="8790">
                  <c:v>38748</c:v>
                </c:pt>
                <c:pt idx="8791">
                  <c:v>38714</c:v>
                </c:pt>
                <c:pt idx="8792">
                  <c:v>30036</c:v>
                </c:pt>
                <c:pt idx="8793">
                  <c:v>37929</c:v>
                </c:pt>
                <c:pt idx="8794">
                  <c:v>49253</c:v>
                </c:pt>
                <c:pt idx="8795">
                  <c:v>33227</c:v>
                </c:pt>
                <c:pt idx="8796">
                  <c:v>63952</c:v>
                </c:pt>
                <c:pt idx="8797">
                  <c:v>41519</c:v>
                </c:pt>
                <c:pt idx="8798">
                  <c:v>46979</c:v>
                </c:pt>
                <c:pt idx="8799">
                  <c:v>21049</c:v>
                </c:pt>
                <c:pt idx="8800">
                  <c:v>30063</c:v>
                </c:pt>
                <c:pt idx="8801">
                  <c:v>70221</c:v>
                </c:pt>
                <c:pt idx="8802">
                  <c:v>50320</c:v>
                </c:pt>
                <c:pt idx="8803">
                  <c:v>51325</c:v>
                </c:pt>
                <c:pt idx="8804">
                  <c:v>32670</c:v>
                </c:pt>
                <c:pt idx="8805">
                  <c:v>41734</c:v>
                </c:pt>
                <c:pt idx="8806">
                  <c:v>222324</c:v>
                </c:pt>
                <c:pt idx="8807">
                  <c:v>32710</c:v>
                </c:pt>
                <c:pt idx="8808">
                  <c:v>93088</c:v>
                </c:pt>
                <c:pt idx="8809">
                  <c:v>30827</c:v>
                </c:pt>
                <c:pt idx="8810">
                  <c:v>200042</c:v>
                </c:pt>
                <c:pt idx="8811">
                  <c:v>67433</c:v>
                </c:pt>
                <c:pt idx="8812">
                  <c:v>28685</c:v>
                </c:pt>
                <c:pt idx="8813">
                  <c:v>65316</c:v>
                </c:pt>
                <c:pt idx="8814">
                  <c:v>46947</c:v>
                </c:pt>
                <c:pt idx="8815">
                  <c:v>87990</c:v>
                </c:pt>
                <c:pt idx="8816">
                  <c:v>52404</c:v>
                </c:pt>
                <c:pt idx="8817">
                  <c:v>40486</c:v>
                </c:pt>
                <c:pt idx="8818">
                  <c:v>41726</c:v>
                </c:pt>
                <c:pt idx="8819">
                  <c:v>33596</c:v>
                </c:pt>
                <c:pt idx="8820">
                  <c:v>127052</c:v>
                </c:pt>
                <c:pt idx="8821">
                  <c:v>283381</c:v>
                </c:pt>
                <c:pt idx="8822">
                  <c:v>35493</c:v>
                </c:pt>
                <c:pt idx="8823">
                  <c:v>68887</c:v>
                </c:pt>
                <c:pt idx="8824">
                  <c:v>318778</c:v>
                </c:pt>
                <c:pt idx="8825">
                  <c:v>45998</c:v>
                </c:pt>
                <c:pt idx="8826">
                  <c:v>55487</c:v>
                </c:pt>
                <c:pt idx="8827">
                  <c:v>87640</c:v>
                </c:pt>
                <c:pt idx="8828">
                  <c:v>29421</c:v>
                </c:pt>
                <c:pt idx="8829">
                  <c:v>25466</c:v>
                </c:pt>
                <c:pt idx="8830">
                  <c:v>26571</c:v>
                </c:pt>
                <c:pt idx="8831">
                  <c:v>81084</c:v>
                </c:pt>
                <c:pt idx="8832">
                  <c:v>168199</c:v>
                </c:pt>
                <c:pt idx="8833">
                  <c:v>41938</c:v>
                </c:pt>
                <c:pt idx="8834">
                  <c:v>25468</c:v>
                </c:pt>
                <c:pt idx="8835">
                  <c:v>60839</c:v>
                </c:pt>
                <c:pt idx="8836">
                  <c:v>34893</c:v>
                </c:pt>
                <c:pt idx="8837">
                  <c:v>34748</c:v>
                </c:pt>
                <c:pt idx="8838">
                  <c:v>21469</c:v>
                </c:pt>
                <c:pt idx="8839">
                  <c:v>202254</c:v>
                </c:pt>
                <c:pt idx="8840">
                  <c:v>41095</c:v>
                </c:pt>
                <c:pt idx="8841">
                  <c:v>58646</c:v>
                </c:pt>
                <c:pt idx="8842">
                  <c:v>32728</c:v>
                </c:pt>
                <c:pt idx="8843">
                  <c:v>36544</c:v>
                </c:pt>
                <c:pt idx="8844">
                  <c:v>71522</c:v>
                </c:pt>
                <c:pt idx="8845">
                  <c:v>53897</c:v>
                </c:pt>
                <c:pt idx="8846">
                  <c:v>30708</c:v>
                </c:pt>
                <c:pt idx="8847">
                  <c:v>69011</c:v>
                </c:pt>
                <c:pt idx="8848">
                  <c:v>80300</c:v>
                </c:pt>
                <c:pt idx="8849">
                  <c:v>198764</c:v>
                </c:pt>
                <c:pt idx="8850">
                  <c:v>63173</c:v>
                </c:pt>
                <c:pt idx="8851">
                  <c:v>27372</c:v>
                </c:pt>
                <c:pt idx="8852">
                  <c:v>53058</c:v>
                </c:pt>
                <c:pt idx="8853">
                  <c:v>195040</c:v>
                </c:pt>
                <c:pt idx="8854">
                  <c:v>96496</c:v>
                </c:pt>
                <c:pt idx="8855">
                  <c:v>40977</c:v>
                </c:pt>
                <c:pt idx="8856">
                  <c:v>27254</c:v>
                </c:pt>
                <c:pt idx="8857">
                  <c:v>59779</c:v>
                </c:pt>
                <c:pt idx="8858">
                  <c:v>28156</c:v>
                </c:pt>
                <c:pt idx="8859">
                  <c:v>237374</c:v>
                </c:pt>
                <c:pt idx="8860">
                  <c:v>28198</c:v>
                </c:pt>
                <c:pt idx="8861">
                  <c:v>36876</c:v>
                </c:pt>
                <c:pt idx="8862">
                  <c:v>31011</c:v>
                </c:pt>
                <c:pt idx="8863">
                  <c:v>36914</c:v>
                </c:pt>
                <c:pt idx="8864">
                  <c:v>38245</c:v>
                </c:pt>
                <c:pt idx="8865">
                  <c:v>98100</c:v>
                </c:pt>
                <c:pt idx="8866">
                  <c:v>45439</c:v>
                </c:pt>
                <c:pt idx="8867">
                  <c:v>130327</c:v>
                </c:pt>
                <c:pt idx="8868">
                  <c:v>40557</c:v>
                </c:pt>
                <c:pt idx="8869">
                  <c:v>29584</c:v>
                </c:pt>
                <c:pt idx="8870">
                  <c:v>57765</c:v>
                </c:pt>
                <c:pt idx="8871">
                  <c:v>27410</c:v>
                </c:pt>
                <c:pt idx="8872">
                  <c:v>60447</c:v>
                </c:pt>
                <c:pt idx="8873">
                  <c:v>25906</c:v>
                </c:pt>
                <c:pt idx="8874">
                  <c:v>150855</c:v>
                </c:pt>
                <c:pt idx="8875">
                  <c:v>63446</c:v>
                </c:pt>
                <c:pt idx="8876">
                  <c:v>81303</c:v>
                </c:pt>
                <c:pt idx="8877">
                  <c:v>25719</c:v>
                </c:pt>
                <c:pt idx="8878">
                  <c:v>40887</c:v>
                </c:pt>
                <c:pt idx="8879">
                  <c:v>128327</c:v>
                </c:pt>
                <c:pt idx="8880">
                  <c:v>34132</c:v>
                </c:pt>
                <c:pt idx="8881">
                  <c:v>25787</c:v>
                </c:pt>
                <c:pt idx="8882">
                  <c:v>67385</c:v>
                </c:pt>
                <c:pt idx="8883">
                  <c:v>30570</c:v>
                </c:pt>
                <c:pt idx="8884">
                  <c:v>29604</c:v>
                </c:pt>
                <c:pt idx="8885">
                  <c:v>244426</c:v>
                </c:pt>
                <c:pt idx="8886">
                  <c:v>41315</c:v>
                </c:pt>
                <c:pt idx="8887">
                  <c:v>45435</c:v>
                </c:pt>
                <c:pt idx="8888">
                  <c:v>145103</c:v>
                </c:pt>
                <c:pt idx="8889">
                  <c:v>47424</c:v>
                </c:pt>
                <c:pt idx="8890">
                  <c:v>40030</c:v>
                </c:pt>
                <c:pt idx="8891">
                  <c:v>59398</c:v>
                </c:pt>
                <c:pt idx="8892">
                  <c:v>37533</c:v>
                </c:pt>
                <c:pt idx="8893">
                  <c:v>51259</c:v>
                </c:pt>
                <c:pt idx="8894">
                  <c:v>33287</c:v>
                </c:pt>
                <c:pt idx="8895">
                  <c:v>84351</c:v>
                </c:pt>
                <c:pt idx="8896">
                  <c:v>66905</c:v>
                </c:pt>
                <c:pt idx="8897">
                  <c:v>59286</c:v>
                </c:pt>
                <c:pt idx="8898">
                  <c:v>88537</c:v>
                </c:pt>
                <c:pt idx="8899">
                  <c:v>104720</c:v>
                </c:pt>
                <c:pt idx="8900">
                  <c:v>60884</c:v>
                </c:pt>
                <c:pt idx="8901">
                  <c:v>156752</c:v>
                </c:pt>
                <c:pt idx="8902">
                  <c:v>48634</c:v>
                </c:pt>
                <c:pt idx="8903">
                  <c:v>25345</c:v>
                </c:pt>
                <c:pt idx="8904">
                  <c:v>66553</c:v>
                </c:pt>
                <c:pt idx="8905">
                  <c:v>32446</c:v>
                </c:pt>
                <c:pt idx="8906">
                  <c:v>178961</c:v>
                </c:pt>
                <c:pt idx="8907">
                  <c:v>58027</c:v>
                </c:pt>
                <c:pt idx="8908">
                  <c:v>38369</c:v>
                </c:pt>
                <c:pt idx="8909">
                  <c:v>40113</c:v>
                </c:pt>
                <c:pt idx="8910">
                  <c:v>81010</c:v>
                </c:pt>
                <c:pt idx="8911">
                  <c:v>72948</c:v>
                </c:pt>
                <c:pt idx="8912">
                  <c:v>71661</c:v>
                </c:pt>
                <c:pt idx="8913">
                  <c:v>36615</c:v>
                </c:pt>
                <c:pt idx="8914">
                  <c:v>68761</c:v>
                </c:pt>
                <c:pt idx="8915">
                  <c:v>34413</c:v>
                </c:pt>
                <c:pt idx="8916">
                  <c:v>42445</c:v>
                </c:pt>
                <c:pt idx="8917">
                  <c:v>63238</c:v>
                </c:pt>
                <c:pt idx="8918">
                  <c:v>28310</c:v>
                </c:pt>
                <c:pt idx="8919">
                  <c:v>46536</c:v>
                </c:pt>
                <c:pt idx="8920">
                  <c:v>46990</c:v>
                </c:pt>
                <c:pt idx="8921">
                  <c:v>65438</c:v>
                </c:pt>
                <c:pt idx="8922">
                  <c:v>47512</c:v>
                </c:pt>
                <c:pt idx="8923">
                  <c:v>70302</c:v>
                </c:pt>
                <c:pt idx="8924">
                  <c:v>41883</c:v>
                </c:pt>
                <c:pt idx="8925">
                  <c:v>162429</c:v>
                </c:pt>
                <c:pt idx="8926">
                  <c:v>49967</c:v>
                </c:pt>
                <c:pt idx="8927">
                  <c:v>220042</c:v>
                </c:pt>
                <c:pt idx="8928">
                  <c:v>29063</c:v>
                </c:pt>
                <c:pt idx="8929">
                  <c:v>28240</c:v>
                </c:pt>
                <c:pt idx="8930">
                  <c:v>49997</c:v>
                </c:pt>
                <c:pt idx="8931">
                  <c:v>39192</c:v>
                </c:pt>
                <c:pt idx="8932">
                  <c:v>46210</c:v>
                </c:pt>
                <c:pt idx="8933">
                  <c:v>46570</c:v>
                </c:pt>
                <c:pt idx="8934">
                  <c:v>51258</c:v>
                </c:pt>
                <c:pt idx="8935">
                  <c:v>95838</c:v>
                </c:pt>
                <c:pt idx="8936">
                  <c:v>23606</c:v>
                </c:pt>
                <c:pt idx="8937">
                  <c:v>54356</c:v>
                </c:pt>
                <c:pt idx="8938">
                  <c:v>69435</c:v>
                </c:pt>
                <c:pt idx="8939">
                  <c:v>74386</c:v>
                </c:pt>
                <c:pt idx="8940">
                  <c:v>53184</c:v>
                </c:pt>
                <c:pt idx="8941">
                  <c:v>34931</c:v>
                </c:pt>
                <c:pt idx="8942">
                  <c:v>24087</c:v>
                </c:pt>
                <c:pt idx="8943">
                  <c:v>47933</c:v>
                </c:pt>
                <c:pt idx="8944">
                  <c:v>39030</c:v>
                </c:pt>
                <c:pt idx="8945">
                  <c:v>15000</c:v>
                </c:pt>
                <c:pt idx="8946">
                  <c:v>115150</c:v>
                </c:pt>
                <c:pt idx="8947">
                  <c:v>28361</c:v>
                </c:pt>
                <c:pt idx="8948">
                  <c:v>55123</c:v>
                </c:pt>
                <c:pt idx="8949">
                  <c:v>22945</c:v>
                </c:pt>
                <c:pt idx="8950">
                  <c:v>27411</c:v>
                </c:pt>
                <c:pt idx="8951">
                  <c:v>42979</c:v>
                </c:pt>
                <c:pt idx="8952">
                  <c:v>43712</c:v>
                </c:pt>
                <c:pt idx="8953">
                  <c:v>51054</c:v>
                </c:pt>
                <c:pt idx="8954">
                  <c:v>35080</c:v>
                </c:pt>
                <c:pt idx="8955">
                  <c:v>143935</c:v>
                </c:pt>
                <c:pt idx="8956">
                  <c:v>38482</c:v>
                </c:pt>
                <c:pt idx="8957">
                  <c:v>45436</c:v>
                </c:pt>
                <c:pt idx="8958">
                  <c:v>122657</c:v>
                </c:pt>
                <c:pt idx="8959">
                  <c:v>36326</c:v>
                </c:pt>
                <c:pt idx="8960">
                  <c:v>99427</c:v>
                </c:pt>
                <c:pt idx="8961">
                  <c:v>126525</c:v>
                </c:pt>
                <c:pt idx="8962">
                  <c:v>174004</c:v>
                </c:pt>
                <c:pt idx="8963">
                  <c:v>33803</c:v>
                </c:pt>
                <c:pt idx="8964">
                  <c:v>80208</c:v>
                </c:pt>
                <c:pt idx="8965">
                  <c:v>60770</c:v>
                </c:pt>
                <c:pt idx="8966">
                  <c:v>50757</c:v>
                </c:pt>
                <c:pt idx="8967">
                  <c:v>35506</c:v>
                </c:pt>
                <c:pt idx="8968">
                  <c:v>94837</c:v>
                </c:pt>
                <c:pt idx="8969">
                  <c:v>28135</c:v>
                </c:pt>
                <c:pt idx="8970">
                  <c:v>230536</c:v>
                </c:pt>
                <c:pt idx="8971">
                  <c:v>36850</c:v>
                </c:pt>
                <c:pt idx="8972">
                  <c:v>44987</c:v>
                </c:pt>
                <c:pt idx="8973">
                  <c:v>57984</c:v>
                </c:pt>
                <c:pt idx="8974">
                  <c:v>32448</c:v>
                </c:pt>
                <c:pt idx="8975">
                  <c:v>34394</c:v>
                </c:pt>
                <c:pt idx="8976">
                  <c:v>118494</c:v>
                </c:pt>
                <c:pt idx="8977">
                  <c:v>40178</c:v>
                </c:pt>
                <c:pt idx="8978">
                  <c:v>195168</c:v>
                </c:pt>
                <c:pt idx="8979">
                  <c:v>56557</c:v>
                </c:pt>
                <c:pt idx="8980">
                  <c:v>27871</c:v>
                </c:pt>
                <c:pt idx="8981">
                  <c:v>90807</c:v>
                </c:pt>
                <c:pt idx="8982">
                  <c:v>39528</c:v>
                </c:pt>
                <c:pt idx="8983">
                  <c:v>39764</c:v>
                </c:pt>
                <c:pt idx="8984">
                  <c:v>24991</c:v>
                </c:pt>
                <c:pt idx="8985">
                  <c:v>175541</c:v>
                </c:pt>
                <c:pt idx="8986">
                  <c:v>29511</c:v>
                </c:pt>
                <c:pt idx="8987">
                  <c:v>47507</c:v>
                </c:pt>
                <c:pt idx="8988">
                  <c:v>226700</c:v>
                </c:pt>
                <c:pt idx="8989">
                  <c:v>55702</c:v>
                </c:pt>
                <c:pt idx="8990">
                  <c:v>37789</c:v>
                </c:pt>
                <c:pt idx="8991">
                  <c:v>384794</c:v>
                </c:pt>
                <c:pt idx="8992">
                  <c:v>18416</c:v>
                </c:pt>
                <c:pt idx="8993">
                  <c:v>82463</c:v>
                </c:pt>
                <c:pt idx="8994">
                  <c:v>45609</c:v>
                </c:pt>
                <c:pt idx="8995">
                  <c:v>66801</c:v>
                </c:pt>
                <c:pt idx="8996">
                  <c:v>34293</c:v>
                </c:pt>
                <c:pt idx="8997">
                  <c:v>81281</c:v>
                </c:pt>
                <c:pt idx="8998">
                  <c:v>27275</c:v>
                </c:pt>
                <c:pt idx="8999">
                  <c:v>68156</c:v>
                </c:pt>
                <c:pt idx="9000">
                  <c:v>32713</c:v>
                </c:pt>
                <c:pt idx="9001">
                  <c:v>48824</c:v>
                </c:pt>
                <c:pt idx="9002">
                  <c:v>448852</c:v>
                </c:pt>
                <c:pt idx="9003">
                  <c:v>45225</c:v>
                </c:pt>
                <c:pt idx="9004">
                  <c:v>135967</c:v>
                </c:pt>
                <c:pt idx="9005">
                  <c:v>48027</c:v>
                </c:pt>
                <c:pt idx="9006">
                  <c:v>64911</c:v>
                </c:pt>
                <c:pt idx="9007">
                  <c:v>31234</c:v>
                </c:pt>
                <c:pt idx="9008">
                  <c:v>26787</c:v>
                </c:pt>
                <c:pt idx="9009">
                  <c:v>128043</c:v>
                </c:pt>
                <c:pt idx="9010">
                  <c:v>41718</c:v>
                </c:pt>
                <c:pt idx="9011">
                  <c:v>48183</c:v>
                </c:pt>
                <c:pt idx="9012">
                  <c:v>44140</c:v>
                </c:pt>
                <c:pt idx="9013">
                  <c:v>39985</c:v>
                </c:pt>
                <c:pt idx="9014">
                  <c:v>39416</c:v>
                </c:pt>
                <c:pt idx="9015">
                  <c:v>61932</c:v>
                </c:pt>
                <c:pt idx="9016">
                  <c:v>73356</c:v>
                </c:pt>
                <c:pt idx="9017">
                  <c:v>60497</c:v>
                </c:pt>
                <c:pt idx="9018">
                  <c:v>110818</c:v>
                </c:pt>
                <c:pt idx="9019">
                  <c:v>40602</c:v>
                </c:pt>
                <c:pt idx="9020">
                  <c:v>27442</c:v>
                </c:pt>
                <c:pt idx="9021">
                  <c:v>39201</c:v>
                </c:pt>
                <c:pt idx="9022">
                  <c:v>25944</c:v>
                </c:pt>
                <c:pt idx="9023">
                  <c:v>30552</c:v>
                </c:pt>
                <c:pt idx="9024">
                  <c:v>30464</c:v>
                </c:pt>
                <c:pt idx="9025">
                  <c:v>102440</c:v>
                </c:pt>
                <c:pt idx="9026">
                  <c:v>41791</c:v>
                </c:pt>
                <c:pt idx="9027">
                  <c:v>78120</c:v>
                </c:pt>
                <c:pt idx="9028">
                  <c:v>144451</c:v>
                </c:pt>
                <c:pt idx="9029">
                  <c:v>72590</c:v>
                </c:pt>
                <c:pt idx="9030">
                  <c:v>46651</c:v>
                </c:pt>
                <c:pt idx="9031">
                  <c:v>55799</c:v>
                </c:pt>
                <c:pt idx="9032">
                  <c:v>22528</c:v>
                </c:pt>
                <c:pt idx="9033">
                  <c:v>24735</c:v>
                </c:pt>
                <c:pt idx="9034">
                  <c:v>42814</c:v>
                </c:pt>
                <c:pt idx="9035">
                  <c:v>40565</c:v>
                </c:pt>
                <c:pt idx="9036">
                  <c:v>22543</c:v>
                </c:pt>
                <c:pt idx="9037">
                  <c:v>37033</c:v>
                </c:pt>
                <c:pt idx="9038">
                  <c:v>75565</c:v>
                </c:pt>
                <c:pt idx="9039">
                  <c:v>71920</c:v>
                </c:pt>
                <c:pt idx="9040">
                  <c:v>27244</c:v>
                </c:pt>
                <c:pt idx="9041">
                  <c:v>251964</c:v>
                </c:pt>
                <c:pt idx="9042">
                  <c:v>53133</c:v>
                </c:pt>
                <c:pt idx="9043">
                  <c:v>54558</c:v>
                </c:pt>
                <c:pt idx="9044">
                  <c:v>35734</c:v>
                </c:pt>
                <c:pt idx="9045">
                  <c:v>87299</c:v>
                </c:pt>
                <c:pt idx="9046">
                  <c:v>62549</c:v>
                </c:pt>
                <c:pt idx="9047">
                  <c:v>27876</c:v>
                </c:pt>
                <c:pt idx="9048">
                  <c:v>49023</c:v>
                </c:pt>
                <c:pt idx="9049">
                  <c:v>90352</c:v>
                </c:pt>
                <c:pt idx="9050">
                  <c:v>73518</c:v>
                </c:pt>
                <c:pt idx="9051">
                  <c:v>46783</c:v>
                </c:pt>
                <c:pt idx="9052">
                  <c:v>46614</c:v>
                </c:pt>
                <c:pt idx="9053">
                  <c:v>55208</c:v>
                </c:pt>
                <c:pt idx="9054">
                  <c:v>22272</c:v>
                </c:pt>
                <c:pt idx="9055">
                  <c:v>32741</c:v>
                </c:pt>
                <c:pt idx="9056">
                  <c:v>179222</c:v>
                </c:pt>
                <c:pt idx="9057">
                  <c:v>33185</c:v>
                </c:pt>
                <c:pt idx="9058">
                  <c:v>29874</c:v>
                </c:pt>
                <c:pt idx="9059">
                  <c:v>50381</c:v>
                </c:pt>
                <c:pt idx="9060">
                  <c:v>79269</c:v>
                </c:pt>
                <c:pt idx="9061">
                  <c:v>68771</c:v>
                </c:pt>
                <c:pt idx="9062">
                  <c:v>191345</c:v>
                </c:pt>
                <c:pt idx="9063">
                  <c:v>181088</c:v>
                </c:pt>
                <c:pt idx="9064">
                  <c:v>77176</c:v>
                </c:pt>
                <c:pt idx="9065">
                  <c:v>24443</c:v>
                </c:pt>
                <c:pt idx="9066">
                  <c:v>279644</c:v>
                </c:pt>
                <c:pt idx="9067">
                  <c:v>45187</c:v>
                </c:pt>
                <c:pt idx="9068">
                  <c:v>58395</c:v>
                </c:pt>
                <c:pt idx="9069">
                  <c:v>47987</c:v>
                </c:pt>
                <c:pt idx="9070">
                  <c:v>105296</c:v>
                </c:pt>
                <c:pt idx="9071">
                  <c:v>80902</c:v>
                </c:pt>
                <c:pt idx="9072">
                  <c:v>39630</c:v>
                </c:pt>
                <c:pt idx="9073">
                  <c:v>38214</c:v>
                </c:pt>
                <c:pt idx="9074">
                  <c:v>47023</c:v>
                </c:pt>
                <c:pt idx="9075">
                  <c:v>54476</c:v>
                </c:pt>
                <c:pt idx="9076">
                  <c:v>20766</c:v>
                </c:pt>
                <c:pt idx="9077">
                  <c:v>45815</c:v>
                </c:pt>
                <c:pt idx="9078">
                  <c:v>124520</c:v>
                </c:pt>
                <c:pt idx="9079">
                  <c:v>23874</c:v>
                </c:pt>
                <c:pt idx="9080">
                  <c:v>72967</c:v>
                </c:pt>
                <c:pt idx="9081">
                  <c:v>62891</c:v>
                </c:pt>
                <c:pt idx="9082">
                  <c:v>40614</c:v>
                </c:pt>
                <c:pt idx="9083">
                  <c:v>32916</c:v>
                </c:pt>
                <c:pt idx="9084">
                  <c:v>51384</c:v>
                </c:pt>
                <c:pt idx="9085">
                  <c:v>57482</c:v>
                </c:pt>
                <c:pt idx="9086">
                  <c:v>42794</c:v>
                </c:pt>
                <c:pt idx="9087">
                  <c:v>30143</c:v>
                </c:pt>
                <c:pt idx="9088">
                  <c:v>36491</c:v>
                </c:pt>
                <c:pt idx="9089">
                  <c:v>164638</c:v>
                </c:pt>
                <c:pt idx="9090">
                  <c:v>61668</c:v>
                </c:pt>
                <c:pt idx="9091">
                  <c:v>34086</c:v>
                </c:pt>
                <c:pt idx="9092">
                  <c:v>91603</c:v>
                </c:pt>
                <c:pt idx="9093">
                  <c:v>55910</c:v>
                </c:pt>
                <c:pt idx="9094">
                  <c:v>34003</c:v>
                </c:pt>
                <c:pt idx="9095">
                  <c:v>47429</c:v>
                </c:pt>
                <c:pt idx="9096">
                  <c:v>33203</c:v>
                </c:pt>
                <c:pt idx="9097">
                  <c:v>36511</c:v>
                </c:pt>
                <c:pt idx="9098">
                  <c:v>126024</c:v>
                </c:pt>
                <c:pt idx="9099">
                  <c:v>176189</c:v>
                </c:pt>
                <c:pt idx="9100">
                  <c:v>21302</c:v>
                </c:pt>
                <c:pt idx="9101">
                  <c:v>80808</c:v>
                </c:pt>
                <c:pt idx="9102">
                  <c:v>57191</c:v>
                </c:pt>
                <c:pt idx="9103">
                  <c:v>37784</c:v>
                </c:pt>
                <c:pt idx="9104">
                  <c:v>47323</c:v>
                </c:pt>
                <c:pt idx="9105">
                  <c:v>36866</c:v>
                </c:pt>
                <c:pt idx="9106">
                  <c:v>41010</c:v>
                </c:pt>
                <c:pt idx="9107">
                  <c:v>45716</c:v>
                </c:pt>
                <c:pt idx="9108">
                  <c:v>41731</c:v>
                </c:pt>
                <c:pt idx="9109">
                  <c:v>95018</c:v>
                </c:pt>
                <c:pt idx="9110">
                  <c:v>96297</c:v>
                </c:pt>
                <c:pt idx="9111">
                  <c:v>200747</c:v>
                </c:pt>
                <c:pt idx="9112">
                  <c:v>120410</c:v>
                </c:pt>
                <c:pt idx="9113">
                  <c:v>26417</c:v>
                </c:pt>
                <c:pt idx="9114">
                  <c:v>52513</c:v>
                </c:pt>
                <c:pt idx="9115">
                  <c:v>96791</c:v>
                </c:pt>
                <c:pt idx="9116">
                  <c:v>45550</c:v>
                </c:pt>
                <c:pt idx="9117">
                  <c:v>111955</c:v>
                </c:pt>
                <c:pt idx="9118">
                  <c:v>34224</c:v>
                </c:pt>
                <c:pt idx="9119">
                  <c:v>193360</c:v>
                </c:pt>
                <c:pt idx="9120">
                  <c:v>84354</c:v>
                </c:pt>
                <c:pt idx="9121">
                  <c:v>43393</c:v>
                </c:pt>
                <c:pt idx="9122">
                  <c:v>49175</c:v>
                </c:pt>
                <c:pt idx="9123">
                  <c:v>126271</c:v>
                </c:pt>
                <c:pt idx="9124">
                  <c:v>37616</c:v>
                </c:pt>
                <c:pt idx="9125">
                  <c:v>28835</c:v>
                </c:pt>
                <c:pt idx="9126">
                  <c:v>33888</c:v>
                </c:pt>
                <c:pt idx="9127">
                  <c:v>57651</c:v>
                </c:pt>
                <c:pt idx="9128">
                  <c:v>53076</c:v>
                </c:pt>
                <c:pt idx="9129">
                  <c:v>50922</c:v>
                </c:pt>
                <c:pt idx="9130">
                  <c:v>70179</c:v>
                </c:pt>
                <c:pt idx="9131">
                  <c:v>49186</c:v>
                </c:pt>
                <c:pt idx="9132">
                  <c:v>25970</c:v>
                </c:pt>
                <c:pt idx="9133">
                  <c:v>73716</c:v>
                </c:pt>
                <c:pt idx="9134">
                  <c:v>71661</c:v>
                </c:pt>
                <c:pt idx="9135">
                  <c:v>26904</c:v>
                </c:pt>
                <c:pt idx="9136">
                  <c:v>30210</c:v>
                </c:pt>
                <c:pt idx="9137">
                  <c:v>36320</c:v>
                </c:pt>
                <c:pt idx="9138">
                  <c:v>67042</c:v>
                </c:pt>
                <c:pt idx="9139">
                  <c:v>52105</c:v>
                </c:pt>
                <c:pt idx="9140">
                  <c:v>37584</c:v>
                </c:pt>
                <c:pt idx="9141">
                  <c:v>219923</c:v>
                </c:pt>
                <c:pt idx="9142">
                  <c:v>34532</c:v>
                </c:pt>
                <c:pt idx="9143">
                  <c:v>33485</c:v>
                </c:pt>
                <c:pt idx="9144">
                  <c:v>39171</c:v>
                </c:pt>
                <c:pt idx="9145">
                  <c:v>92704</c:v>
                </c:pt>
                <c:pt idx="9146">
                  <c:v>59532</c:v>
                </c:pt>
                <c:pt idx="9147">
                  <c:v>31761</c:v>
                </c:pt>
                <c:pt idx="9148">
                  <c:v>49850</c:v>
                </c:pt>
                <c:pt idx="9149">
                  <c:v>25821</c:v>
                </c:pt>
                <c:pt idx="9150">
                  <c:v>27348</c:v>
                </c:pt>
                <c:pt idx="9151">
                  <c:v>41973</c:v>
                </c:pt>
                <c:pt idx="9152">
                  <c:v>31171</c:v>
                </c:pt>
                <c:pt idx="9153">
                  <c:v>41232</c:v>
                </c:pt>
                <c:pt idx="9154">
                  <c:v>290319</c:v>
                </c:pt>
                <c:pt idx="9155">
                  <c:v>31717</c:v>
                </c:pt>
                <c:pt idx="9156">
                  <c:v>33592</c:v>
                </c:pt>
                <c:pt idx="9157">
                  <c:v>66467</c:v>
                </c:pt>
                <c:pt idx="9158">
                  <c:v>44976</c:v>
                </c:pt>
                <c:pt idx="9159">
                  <c:v>38957</c:v>
                </c:pt>
                <c:pt idx="9160">
                  <c:v>73145</c:v>
                </c:pt>
                <c:pt idx="9161">
                  <c:v>48606</c:v>
                </c:pt>
                <c:pt idx="9162">
                  <c:v>29130</c:v>
                </c:pt>
                <c:pt idx="9163">
                  <c:v>55949</c:v>
                </c:pt>
                <c:pt idx="9164">
                  <c:v>36086</c:v>
                </c:pt>
                <c:pt idx="9165">
                  <c:v>43064</c:v>
                </c:pt>
                <c:pt idx="9166">
                  <c:v>48458</c:v>
                </c:pt>
                <c:pt idx="9167">
                  <c:v>44139</c:v>
                </c:pt>
                <c:pt idx="9168">
                  <c:v>52397</c:v>
                </c:pt>
                <c:pt idx="9169">
                  <c:v>26371</c:v>
                </c:pt>
                <c:pt idx="9170">
                  <c:v>59908</c:v>
                </c:pt>
                <c:pt idx="9171">
                  <c:v>41403</c:v>
                </c:pt>
                <c:pt idx="9172">
                  <c:v>136435</c:v>
                </c:pt>
                <c:pt idx="9173">
                  <c:v>31630</c:v>
                </c:pt>
                <c:pt idx="9174">
                  <c:v>53630</c:v>
                </c:pt>
                <c:pt idx="9175">
                  <c:v>74720</c:v>
                </c:pt>
                <c:pt idx="9176">
                  <c:v>28214</c:v>
                </c:pt>
                <c:pt idx="9177">
                  <c:v>25013</c:v>
                </c:pt>
                <c:pt idx="9178">
                  <c:v>88865</c:v>
                </c:pt>
                <c:pt idx="9179">
                  <c:v>27744</c:v>
                </c:pt>
                <c:pt idx="9180">
                  <c:v>26184</c:v>
                </c:pt>
                <c:pt idx="9181">
                  <c:v>39455</c:v>
                </c:pt>
                <c:pt idx="9182">
                  <c:v>43033</c:v>
                </c:pt>
                <c:pt idx="9183">
                  <c:v>99320</c:v>
                </c:pt>
                <c:pt idx="9184">
                  <c:v>66174</c:v>
                </c:pt>
                <c:pt idx="9185">
                  <c:v>40952</c:v>
                </c:pt>
                <c:pt idx="9186">
                  <c:v>28638</c:v>
                </c:pt>
                <c:pt idx="9187">
                  <c:v>35129</c:v>
                </c:pt>
                <c:pt idx="9188">
                  <c:v>26861</c:v>
                </c:pt>
                <c:pt idx="9189">
                  <c:v>28043</c:v>
                </c:pt>
                <c:pt idx="9190">
                  <c:v>93588</c:v>
                </c:pt>
                <c:pt idx="9191">
                  <c:v>327523</c:v>
                </c:pt>
                <c:pt idx="9192">
                  <c:v>37417</c:v>
                </c:pt>
                <c:pt idx="9193">
                  <c:v>67356</c:v>
                </c:pt>
                <c:pt idx="9194">
                  <c:v>56472</c:v>
                </c:pt>
                <c:pt idx="9195">
                  <c:v>43025</c:v>
                </c:pt>
                <c:pt idx="9196">
                  <c:v>24219</c:v>
                </c:pt>
                <c:pt idx="9197">
                  <c:v>99036</c:v>
                </c:pt>
                <c:pt idx="9198">
                  <c:v>19753</c:v>
                </c:pt>
                <c:pt idx="9199">
                  <c:v>41970</c:v>
                </c:pt>
                <c:pt idx="9200">
                  <c:v>47265</c:v>
                </c:pt>
                <c:pt idx="9201">
                  <c:v>42870</c:v>
                </c:pt>
                <c:pt idx="9202">
                  <c:v>70666</c:v>
                </c:pt>
                <c:pt idx="9203">
                  <c:v>39740</c:v>
                </c:pt>
                <c:pt idx="9204">
                  <c:v>24588</c:v>
                </c:pt>
                <c:pt idx="9205">
                  <c:v>48680</c:v>
                </c:pt>
                <c:pt idx="9206">
                  <c:v>211268</c:v>
                </c:pt>
                <c:pt idx="9207">
                  <c:v>21400</c:v>
                </c:pt>
                <c:pt idx="9208">
                  <c:v>67462</c:v>
                </c:pt>
                <c:pt idx="9209">
                  <c:v>25775</c:v>
                </c:pt>
                <c:pt idx="9210">
                  <c:v>52568</c:v>
                </c:pt>
                <c:pt idx="9211">
                  <c:v>21698</c:v>
                </c:pt>
                <c:pt idx="9212">
                  <c:v>52756</c:v>
                </c:pt>
                <c:pt idx="9213">
                  <c:v>62797</c:v>
                </c:pt>
                <c:pt idx="9214">
                  <c:v>82208</c:v>
                </c:pt>
                <c:pt idx="9215">
                  <c:v>32995</c:v>
                </c:pt>
                <c:pt idx="9216">
                  <c:v>64644</c:v>
                </c:pt>
                <c:pt idx="9217">
                  <c:v>25286</c:v>
                </c:pt>
                <c:pt idx="9218">
                  <c:v>33880</c:v>
                </c:pt>
                <c:pt idx="9219">
                  <c:v>37025</c:v>
                </c:pt>
                <c:pt idx="9220">
                  <c:v>30812</c:v>
                </c:pt>
                <c:pt idx="9221">
                  <c:v>81110</c:v>
                </c:pt>
                <c:pt idx="9222">
                  <c:v>33456</c:v>
                </c:pt>
                <c:pt idx="9223">
                  <c:v>37303</c:v>
                </c:pt>
                <c:pt idx="9224">
                  <c:v>32448</c:v>
                </c:pt>
                <c:pt idx="9225">
                  <c:v>45652</c:v>
                </c:pt>
                <c:pt idx="9226">
                  <c:v>55058</c:v>
                </c:pt>
                <c:pt idx="9227">
                  <c:v>121737</c:v>
                </c:pt>
                <c:pt idx="9228">
                  <c:v>41505</c:v>
                </c:pt>
                <c:pt idx="9229">
                  <c:v>54211</c:v>
                </c:pt>
                <c:pt idx="9230">
                  <c:v>102132</c:v>
                </c:pt>
                <c:pt idx="9231">
                  <c:v>27397</c:v>
                </c:pt>
                <c:pt idx="9232">
                  <c:v>43262</c:v>
                </c:pt>
                <c:pt idx="9233">
                  <c:v>38880</c:v>
                </c:pt>
                <c:pt idx="9234">
                  <c:v>55161</c:v>
                </c:pt>
                <c:pt idx="9235">
                  <c:v>349394</c:v>
                </c:pt>
                <c:pt idx="9236">
                  <c:v>25150</c:v>
                </c:pt>
                <c:pt idx="9237">
                  <c:v>141897</c:v>
                </c:pt>
                <c:pt idx="9238">
                  <c:v>37159</c:v>
                </c:pt>
                <c:pt idx="9239">
                  <c:v>66870</c:v>
                </c:pt>
                <c:pt idx="9240">
                  <c:v>60038</c:v>
                </c:pt>
                <c:pt idx="9241">
                  <c:v>23304</c:v>
                </c:pt>
                <c:pt idx="9242">
                  <c:v>48963</c:v>
                </c:pt>
                <c:pt idx="9243">
                  <c:v>68501</c:v>
                </c:pt>
                <c:pt idx="9244">
                  <c:v>48477</c:v>
                </c:pt>
                <c:pt idx="9245">
                  <c:v>25820</c:v>
                </c:pt>
                <c:pt idx="9246">
                  <c:v>51327</c:v>
                </c:pt>
                <c:pt idx="9247">
                  <c:v>33692</c:v>
                </c:pt>
                <c:pt idx="9248">
                  <c:v>148073</c:v>
                </c:pt>
                <c:pt idx="9249">
                  <c:v>39170</c:v>
                </c:pt>
                <c:pt idx="9250">
                  <c:v>188842</c:v>
                </c:pt>
                <c:pt idx="9251">
                  <c:v>165552</c:v>
                </c:pt>
                <c:pt idx="9252">
                  <c:v>53824</c:v>
                </c:pt>
                <c:pt idx="9253">
                  <c:v>50348</c:v>
                </c:pt>
                <c:pt idx="9254">
                  <c:v>49042</c:v>
                </c:pt>
                <c:pt idx="9255">
                  <c:v>35885</c:v>
                </c:pt>
                <c:pt idx="9256">
                  <c:v>57027</c:v>
                </c:pt>
                <c:pt idx="9257">
                  <c:v>58086</c:v>
                </c:pt>
                <c:pt idx="9258">
                  <c:v>134714</c:v>
                </c:pt>
                <c:pt idx="9259">
                  <c:v>39377</c:v>
                </c:pt>
                <c:pt idx="9260">
                  <c:v>149569</c:v>
                </c:pt>
                <c:pt idx="9261">
                  <c:v>59894</c:v>
                </c:pt>
                <c:pt idx="9262">
                  <c:v>189211</c:v>
                </c:pt>
                <c:pt idx="9263">
                  <c:v>53002</c:v>
                </c:pt>
                <c:pt idx="9264">
                  <c:v>119659</c:v>
                </c:pt>
                <c:pt idx="9265">
                  <c:v>22219</c:v>
                </c:pt>
                <c:pt idx="9266">
                  <c:v>28572</c:v>
                </c:pt>
                <c:pt idx="9267">
                  <c:v>85419</c:v>
                </c:pt>
                <c:pt idx="9268">
                  <c:v>39299</c:v>
                </c:pt>
                <c:pt idx="9269">
                  <c:v>24192</c:v>
                </c:pt>
                <c:pt idx="9270">
                  <c:v>151741</c:v>
                </c:pt>
                <c:pt idx="9271">
                  <c:v>27614</c:v>
                </c:pt>
                <c:pt idx="9272">
                  <c:v>29023</c:v>
                </c:pt>
                <c:pt idx="9273">
                  <c:v>34643</c:v>
                </c:pt>
                <c:pt idx="9274">
                  <c:v>27514</c:v>
                </c:pt>
                <c:pt idx="9275">
                  <c:v>52732</c:v>
                </c:pt>
                <c:pt idx="9276">
                  <c:v>272804</c:v>
                </c:pt>
                <c:pt idx="9277">
                  <c:v>21067</c:v>
                </c:pt>
                <c:pt idx="9278">
                  <c:v>24122</c:v>
                </c:pt>
                <c:pt idx="9279">
                  <c:v>48752</c:v>
                </c:pt>
                <c:pt idx="9280">
                  <c:v>38599</c:v>
                </c:pt>
                <c:pt idx="9281">
                  <c:v>92488</c:v>
                </c:pt>
                <c:pt idx="9282">
                  <c:v>44706</c:v>
                </c:pt>
                <c:pt idx="9283">
                  <c:v>43877</c:v>
                </c:pt>
                <c:pt idx="9284">
                  <c:v>33816</c:v>
                </c:pt>
                <c:pt idx="9285">
                  <c:v>25674</c:v>
                </c:pt>
                <c:pt idx="9286">
                  <c:v>36602</c:v>
                </c:pt>
                <c:pt idx="9287">
                  <c:v>25359</c:v>
                </c:pt>
                <c:pt idx="9288">
                  <c:v>119403</c:v>
                </c:pt>
                <c:pt idx="9289">
                  <c:v>117306</c:v>
                </c:pt>
                <c:pt idx="9290">
                  <c:v>61641</c:v>
                </c:pt>
                <c:pt idx="9291">
                  <c:v>45290</c:v>
                </c:pt>
                <c:pt idx="9292">
                  <c:v>30436</c:v>
                </c:pt>
                <c:pt idx="9293">
                  <c:v>35357</c:v>
                </c:pt>
                <c:pt idx="9294">
                  <c:v>45546</c:v>
                </c:pt>
                <c:pt idx="9295">
                  <c:v>56093</c:v>
                </c:pt>
                <c:pt idx="9296">
                  <c:v>73932</c:v>
                </c:pt>
                <c:pt idx="9297">
                  <c:v>30278</c:v>
                </c:pt>
                <c:pt idx="9298">
                  <c:v>50557</c:v>
                </c:pt>
                <c:pt idx="9299">
                  <c:v>178501</c:v>
                </c:pt>
                <c:pt idx="9300">
                  <c:v>32601</c:v>
                </c:pt>
                <c:pt idx="9301">
                  <c:v>40257</c:v>
                </c:pt>
                <c:pt idx="9302">
                  <c:v>45657</c:v>
                </c:pt>
                <c:pt idx="9303">
                  <c:v>75366</c:v>
                </c:pt>
                <c:pt idx="9304">
                  <c:v>45798</c:v>
                </c:pt>
                <c:pt idx="9305">
                  <c:v>19502</c:v>
                </c:pt>
                <c:pt idx="9306">
                  <c:v>126190</c:v>
                </c:pt>
                <c:pt idx="9307">
                  <c:v>32378</c:v>
                </c:pt>
                <c:pt idx="9308">
                  <c:v>49631</c:v>
                </c:pt>
                <c:pt idx="9309">
                  <c:v>110554</c:v>
                </c:pt>
                <c:pt idx="9310">
                  <c:v>36026</c:v>
                </c:pt>
                <c:pt idx="9311">
                  <c:v>46064</c:v>
                </c:pt>
                <c:pt idx="9312">
                  <c:v>34211</c:v>
                </c:pt>
                <c:pt idx="9313">
                  <c:v>45182</c:v>
                </c:pt>
                <c:pt idx="9314">
                  <c:v>34702</c:v>
                </c:pt>
                <c:pt idx="9315">
                  <c:v>57135</c:v>
                </c:pt>
                <c:pt idx="9316">
                  <c:v>66817</c:v>
                </c:pt>
                <c:pt idx="9317">
                  <c:v>29876</c:v>
                </c:pt>
                <c:pt idx="9318">
                  <c:v>24816</c:v>
                </c:pt>
                <c:pt idx="9319">
                  <c:v>52295</c:v>
                </c:pt>
                <c:pt idx="9320">
                  <c:v>23941</c:v>
                </c:pt>
                <c:pt idx="9321">
                  <c:v>266469</c:v>
                </c:pt>
                <c:pt idx="9322">
                  <c:v>45420</c:v>
                </c:pt>
                <c:pt idx="9323">
                  <c:v>45158</c:v>
                </c:pt>
                <c:pt idx="9324">
                  <c:v>42441</c:v>
                </c:pt>
                <c:pt idx="9325">
                  <c:v>116756</c:v>
                </c:pt>
                <c:pt idx="9326">
                  <c:v>44843</c:v>
                </c:pt>
                <c:pt idx="9327">
                  <c:v>244481</c:v>
                </c:pt>
                <c:pt idx="9328">
                  <c:v>117982</c:v>
                </c:pt>
                <c:pt idx="9329">
                  <c:v>58759</c:v>
                </c:pt>
                <c:pt idx="9330">
                  <c:v>24594</c:v>
                </c:pt>
                <c:pt idx="9331">
                  <c:v>39702</c:v>
                </c:pt>
                <c:pt idx="9332">
                  <c:v>26775</c:v>
                </c:pt>
                <c:pt idx="9333">
                  <c:v>100689</c:v>
                </c:pt>
                <c:pt idx="9334">
                  <c:v>37118</c:v>
                </c:pt>
                <c:pt idx="9335">
                  <c:v>35634</c:v>
                </c:pt>
                <c:pt idx="9336">
                  <c:v>47690</c:v>
                </c:pt>
                <c:pt idx="9337">
                  <c:v>80603</c:v>
                </c:pt>
                <c:pt idx="9338">
                  <c:v>29106</c:v>
                </c:pt>
                <c:pt idx="9339">
                  <c:v>70650</c:v>
                </c:pt>
                <c:pt idx="9340">
                  <c:v>60250</c:v>
                </c:pt>
                <c:pt idx="9341">
                  <c:v>69148</c:v>
                </c:pt>
                <c:pt idx="9342">
                  <c:v>40996</c:v>
                </c:pt>
                <c:pt idx="9343">
                  <c:v>44190</c:v>
                </c:pt>
                <c:pt idx="9344">
                  <c:v>41846</c:v>
                </c:pt>
                <c:pt idx="9345">
                  <c:v>165047</c:v>
                </c:pt>
                <c:pt idx="9346">
                  <c:v>68666</c:v>
                </c:pt>
                <c:pt idx="9347">
                  <c:v>104148</c:v>
                </c:pt>
                <c:pt idx="9348">
                  <c:v>31704</c:v>
                </c:pt>
                <c:pt idx="9349">
                  <c:v>31137</c:v>
                </c:pt>
                <c:pt idx="9350">
                  <c:v>25656</c:v>
                </c:pt>
                <c:pt idx="9351">
                  <c:v>48271</c:v>
                </c:pt>
                <c:pt idx="9352">
                  <c:v>55852</c:v>
                </c:pt>
                <c:pt idx="9353">
                  <c:v>57413</c:v>
                </c:pt>
                <c:pt idx="9354">
                  <c:v>21032</c:v>
                </c:pt>
                <c:pt idx="9355">
                  <c:v>26365</c:v>
                </c:pt>
                <c:pt idx="9356">
                  <c:v>31400</c:v>
                </c:pt>
                <c:pt idx="9357">
                  <c:v>32295</c:v>
                </c:pt>
                <c:pt idx="9358">
                  <c:v>58133</c:v>
                </c:pt>
                <c:pt idx="9359">
                  <c:v>58793</c:v>
                </c:pt>
                <c:pt idx="9360">
                  <c:v>99593</c:v>
                </c:pt>
                <c:pt idx="9361">
                  <c:v>62362</c:v>
                </c:pt>
                <c:pt idx="9362">
                  <c:v>22359</c:v>
                </c:pt>
                <c:pt idx="9363">
                  <c:v>44415</c:v>
                </c:pt>
                <c:pt idx="9364">
                  <c:v>39433</c:v>
                </c:pt>
                <c:pt idx="9365">
                  <c:v>138986</c:v>
                </c:pt>
                <c:pt idx="9366">
                  <c:v>29419</c:v>
                </c:pt>
                <c:pt idx="9367">
                  <c:v>193262</c:v>
                </c:pt>
                <c:pt idx="9368">
                  <c:v>52404</c:v>
                </c:pt>
                <c:pt idx="9369">
                  <c:v>69847</c:v>
                </c:pt>
                <c:pt idx="9370">
                  <c:v>43624</c:v>
                </c:pt>
                <c:pt idx="9371">
                  <c:v>111350</c:v>
                </c:pt>
                <c:pt idx="9372">
                  <c:v>57584</c:v>
                </c:pt>
                <c:pt idx="9373">
                  <c:v>58448</c:v>
                </c:pt>
                <c:pt idx="9374">
                  <c:v>106004</c:v>
                </c:pt>
                <c:pt idx="9375">
                  <c:v>26196</c:v>
                </c:pt>
                <c:pt idx="9376">
                  <c:v>25821</c:v>
                </c:pt>
                <c:pt idx="9377">
                  <c:v>50851</c:v>
                </c:pt>
                <c:pt idx="9378">
                  <c:v>41946</c:v>
                </c:pt>
                <c:pt idx="9379">
                  <c:v>215248</c:v>
                </c:pt>
                <c:pt idx="9380">
                  <c:v>60768</c:v>
                </c:pt>
                <c:pt idx="9381">
                  <c:v>66123</c:v>
                </c:pt>
                <c:pt idx="9382">
                  <c:v>59573</c:v>
                </c:pt>
                <c:pt idx="9383">
                  <c:v>50079</c:v>
                </c:pt>
                <c:pt idx="9384">
                  <c:v>69572</c:v>
                </c:pt>
                <c:pt idx="9385">
                  <c:v>45329</c:v>
                </c:pt>
                <c:pt idx="9386">
                  <c:v>43029</c:v>
                </c:pt>
                <c:pt idx="9387">
                  <c:v>196699</c:v>
                </c:pt>
                <c:pt idx="9388">
                  <c:v>26677</c:v>
                </c:pt>
                <c:pt idx="9389">
                  <c:v>27672</c:v>
                </c:pt>
                <c:pt idx="9390">
                  <c:v>38513</c:v>
                </c:pt>
                <c:pt idx="9391">
                  <c:v>31849</c:v>
                </c:pt>
                <c:pt idx="9392">
                  <c:v>61572</c:v>
                </c:pt>
                <c:pt idx="9393">
                  <c:v>48566</c:v>
                </c:pt>
                <c:pt idx="9394">
                  <c:v>41811</c:v>
                </c:pt>
                <c:pt idx="9395">
                  <c:v>47951</c:v>
                </c:pt>
                <c:pt idx="9396">
                  <c:v>140699</c:v>
                </c:pt>
                <c:pt idx="9397">
                  <c:v>38731</c:v>
                </c:pt>
                <c:pt idx="9398">
                  <c:v>26625</c:v>
                </c:pt>
                <c:pt idx="9399">
                  <c:v>42021</c:v>
                </c:pt>
                <c:pt idx="9400">
                  <c:v>38560</c:v>
                </c:pt>
                <c:pt idx="9401">
                  <c:v>112645</c:v>
                </c:pt>
                <c:pt idx="9402">
                  <c:v>33481</c:v>
                </c:pt>
                <c:pt idx="9403">
                  <c:v>32566</c:v>
                </c:pt>
                <c:pt idx="9404">
                  <c:v>34588</c:v>
                </c:pt>
                <c:pt idx="9405">
                  <c:v>39013</c:v>
                </c:pt>
                <c:pt idx="9406">
                  <c:v>50610</c:v>
                </c:pt>
                <c:pt idx="9407">
                  <c:v>54172</c:v>
                </c:pt>
                <c:pt idx="9408">
                  <c:v>33910</c:v>
                </c:pt>
                <c:pt idx="9409">
                  <c:v>31681</c:v>
                </c:pt>
                <c:pt idx="9410">
                  <c:v>45735</c:v>
                </c:pt>
                <c:pt idx="9411">
                  <c:v>86872</c:v>
                </c:pt>
                <c:pt idx="9412">
                  <c:v>44195</c:v>
                </c:pt>
                <c:pt idx="9413">
                  <c:v>60334</c:v>
                </c:pt>
                <c:pt idx="9414">
                  <c:v>121846</c:v>
                </c:pt>
                <c:pt idx="9415">
                  <c:v>104815</c:v>
                </c:pt>
                <c:pt idx="9416">
                  <c:v>46066</c:v>
                </c:pt>
                <c:pt idx="9417">
                  <c:v>34271</c:v>
                </c:pt>
                <c:pt idx="9418">
                  <c:v>172937</c:v>
                </c:pt>
                <c:pt idx="9419">
                  <c:v>131329</c:v>
                </c:pt>
                <c:pt idx="9420">
                  <c:v>49233</c:v>
                </c:pt>
                <c:pt idx="9421">
                  <c:v>38590</c:v>
                </c:pt>
                <c:pt idx="9422">
                  <c:v>122434</c:v>
                </c:pt>
                <c:pt idx="9423">
                  <c:v>65186</c:v>
                </c:pt>
                <c:pt idx="9424">
                  <c:v>37111</c:v>
                </c:pt>
                <c:pt idx="9425">
                  <c:v>118238</c:v>
                </c:pt>
                <c:pt idx="9426">
                  <c:v>39516</c:v>
                </c:pt>
                <c:pt idx="9427">
                  <c:v>64113</c:v>
                </c:pt>
                <c:pt idx="9428">
                  <c:v>46977</c:v>
                </c:pt>
                <c:pt idx="9429">
                  <c:v>29786</c:v>
                </c:pt>
                <c:pt idx="9430">
                  <c:v>209331</c:v>
                </c:pt>
                <c:pt idx="9431">
                  <c:v>72251</c:v>
                </c:pt>
                <c:pt idx="9432">
                  <c:v>120335</c:v>
                </c:pt>
                <c:pt idx="9433">
                  <c:v>32464</c:v>
                </c:pt>
                <c:pt idx="9434">
                  <c:v>39457</c:v>
                </c:pt>
                <c:pt idx="9435">
                  <c:v>79598</c:v>
                </c:pt>
                <c:pt idx="9436">
                  <c:v>74583</c:v>
                </c:pt>
                <c:pt idx="9437">
                  <c:v>77212</c:v>
                </c:pt>
                <c:pt idx="9438">
                  <c:v>58472</c:v>
                </c:pt>
                <c:pt idx="9439">
                  <c:v>174725</c:v>
                </c:pt>
                <c:pt idx="9440">
                  <c:v>46933</c:v>
                </c:pt>
                <c:pt idx="9441">
                  <c:v>62694</c:v>
                </c:pt>
                <c:pt idx="9442">
                  <c:v>39939</c:v>
                </c:pt>
                <c:pt idx="9443">
                  <c:v>28260</c:v>
                </c:pt>
                <c:pt idx="9444">
                  <c:v>33334</c:v>
                </c:pt>
                <c:pt idx="9445">
                  <c:v>26653</c:v>
                </c:pt>
                <c:pt idx="9446">
                  <c:v>29106</c:v>
                </c:pt>
                <c:pt idx="9447">
                  <c:v>74099</c:v>
                </c:pt>
                <c:pt idx="9448">
                  <c:v>242985</c:v>
                </c:pt>
                <c:pt idx="9449">
                  <c:v>30980</c:v>
                </c:pt>
                <c:pt idx="9450">
                  <c:v>40898</c:v>
                </c:pt>
                <c:pt idx="9451">
                  <c:v>103083</c:v>
                </c:pt>
                <c:pt idx="9452">
                  <c:v>27072</c:v>
                </c:pt>
                <c:pt idx="9453">
                  <c:v>41971</c:v>
                </c:pt>
                <c:pt idx="9454">
                  <c:v>82260</c:v>
                </c:pt>
                <c:pt idx="9455">
                  <c:v>83847</c:v>
                </c:pt>
                <c:pt idx="9456">
                  <c:v>47084</c:v>
                </c:pt>
                <c:pt idx="9457">
                  <c:v>29972</c:v>
                </c:pt>
                <c:pt idx="9458">
                  <c:v>23879</c:v>
                </c:pt>
                <c:pt idx="9459">
                  <c:v>23163</c:v>
                </c:pt>
                <c:pt idx="9460">
                  <c:v>39884</c:v>
                </c:pt>
                <c:pt idx="9461">
                  <c:v>30460</c:v>
                </c:pt>
                <c:pt idx="9462">
                  <c:v>142607</c:v>
                </c:pt>
                <c:pt idx="9463">
                  <c:v>27339</c:v>
                </c:pt>
                <c:pt idx="9464">
                  <c:v>34509</c:v>
                </c:pt>
                <c:pt idx="9465">
                  <c:v>35944</c:v>
                </c:pt>
                <c:pt idx="9466">
                  <c:v>29957</c:v>
                </c:pt>
                <c:pt idx="9467">
                  <c:v>149563</c:v>
                </c:pt>
                <c:pt idx="9468">
                  <c:v>42422</c:v>
                </c:pt>
                <c:pt idx="9469">
                  <c:v>75033</c:v>
                </c:pt>
                <c:pt idx="9470">
                  <c:v>39484</c:v>
                </c:pt>
                <c:pt idx="9471">
                  <c:v>32624</c:v>
                </c:pt>
                <c:pt idx="9472">
                  <c:v>39622</c:v>
                </c:pt>
                <c:pt idx="9473">
                  <c:v>39767</c:v>
                </c:pt>
                <c:pt idx="9474">
                  <c:v>117293</c:v>
                </c:pt>
                <c:pt idx="9475">
                  <c:v>31160</c:v>
                </c:pt>
                <c:pt idx="9476">
                  <c:v>68035</c:v>
                </c:pt>
                <c:pt idx="9477">
                  <c:v>48904</c:v>
                </c:pt>
                <c:pt idx="9478">
                  <c:v>28612</c:v>
                </c:pt>
                <c:pt idx="9479">
                  <c:v>24615</c:v>
                </c:pt>
                <c:pt idx="9480">
                  <c:v>26933</c:v>
                </c:pt>
                <c:pt idx="9481">
                  <c:v>58890</c:v>
                </c:pt>
                <c:pt idx="9482">
                  <c:v>173211</c:v>
                </c:pt>
                <c:pt idx="9483">
                  <c:v>40906</c:v>
                </c:pt>
                <c:pt idx="9484">
                  <c:v>25688</c:v>
                </c:pt>
                <c:pt idx="9485">
                  <c:v>75129</c:v>
                </c:pt>
                <c:pt idx="9486">
                  <c:v>60493</c:v>
                </c:pt>
                <c:pt idx="9487">
                  <c:v>46830</c:v>
                </c:pt>
                <c:pt idx="9488">
                  <c:v>42970</c:v>
                </c:pt>
                <c:pt idx="9489">
                  <c:v>30547</c:v>
                </c:pt>
                <c:pt idx="9490">
                  <c:v>39121</c:v>
                </c:pt>
                <c:pt idx="9491">
                  <c:v>40558</c:v>
                </c:pt>
                <c:pt idx="9492">
                  <c:v>32018</c:v>
                </c:pt>
                <c:pt idx="9493">
                  <c:v>52936</c:v>
                </c:pt>
                <c:pt idx="9494">
                  <c:v>190438</c:v>
                </c:pt>
                <c:pt idx="9495">
                  <c:v>36724</c:v>
                </c:pt>
                <c:pt idx="9496">
                  <c:v>15000</c:v>
                </c:pt>
                <c:pt idx="9497">
                  <c:v>100771</c:v>
                </c:pt>
                <c:pt idx="9498">
                  <c:v>236323</c:v>
                </c:pt>
                <c:pt idx="9499">
                  <c:v>40504</c:v>
                </c:pt>
                <c:pt idx="9500">
                  <c:v>25281</c:v>
                </c:pt>
                <c:pt idx="9501">
                  <c:v>23331</c:v>
                </c:pt>
                <c:pt idx="9502">
                  <c:v>29658</c:v>
                </c:pt>
                <c:pt idx="9503">
                  <c:v>132399</c:v>
                </c:pt>
                <c:pt idx="9504">
                  <c:v>95911</c:v>
                </c:pt>
                <c:pt idx="9505">
                  <c:v>43790</c:v>
                </c:pt>
                <c:pt idx="9506">
                  <c:v>22424</c:v>
                </c:pt>
                <c:pt idx="9507">
                  <c:v>130514</c:v>
                </c:pt>
                <c:pt idx="9508">
                  <c:v>23721</c:v>
                </c:pt>
                <c:pt idx="9509">
                  <c:v>32163</c:v>
                </c:pt>
                <c:pt idx="9510">
                  <c:v>29948</c:v>
                </c:pt>
                <c:pt idx="9511">
                  <c:v>53534</c:v>
                </c:pt>
                <c:pt idx="9512">
                  <c:v>293685</c:v>
                </c:pt>
                <c:pt idx="9513">
                  <c:v>144621</c:v>
                </c:pt>
                <c:pt idx="9514">
                  <c:v>56982</c:v>
                </c:pt>
                <c:pt idx="9515">
                  <c:v>28663</c:v>
                </c:pt>
                <c:pt idx="9516">
                  <c:v>50352</c:v>
                </c:pt>
                <c:pt idx="9517">
                  <c:v>51935</c:v>
                </c:pt>
                <c:pt idx="9518">
                  <c:v>135748</c:v>
                </c:pt>
                <c:pt idx="9519">
                  <c:v>133141</c:v>
                </c:pt>
                <c:pt idx="9520">
                  <c:v>42866</c:v>
                </c:pt>
                <c:pt idx="9521">
                  <c:v>46103</c:v>
                </c:pt>
                <c:pt idx="9522">
                  <c:v>35965</c:v>
                </c:pt>
                <c:pt idx="9523">
                  <c:v>21482</c:v>
                </c:pt>
                <c:pt idx="9524">
                  <c:v>111935</c:v>
                </c:pt>
                <c:pt idx="9525">
                  <c:v>58412</c:v>
                </c:pt>
                <c:pt idx="9526">
                  <c:v>73813</c:v>
                </c:pt>
                <c:pt idx="9527">
                  <c:v>40338</c:v>
                </c:pt>
                <c:pt idx="9528">
                  <c:v>75178</c:v>
                </c:pt>
                <c:pt idx="9529">
                  <c:v>263958</c:v>
                </c:pt>
                <c:pt idx="9530">
                  <c:v>35987</c:v>
                </c:pt>
                <c:pt idx="9531">
                  <c:v>68964</c:v>
                </c:pt>
                <c:pt idx="9532">
                  <c:v>54784</c:v>
                </c:pt>
                <c:pt idx="9533">
                  <c:v>121410</c:v>
                </c:pt>
                <c:pt idx="9534">
                  <c:v>305360</c:v>
                </c:pt>
                <c:pt idx="9535">
                  <c:v>68574</c:v>
                </c:pt>
                <c:pt idx="9536">
                  <c:v>40133</c:v>
                </c:pt>
                <c:pt idx="9537">
                  <c:v>71071</c:v>
                </c:pt>
                <c:pt idx="9538">
                  <c:v>24243</c:v>
                </c:pt>
                <c:pt idx="9539">
                  <c:v>35002</c:v>
                </c:pt>
                <c:pt idx="9540">
                  <c:v>23953</c:v>
                </c:pt>
                <c:pt idx="9541">
                  <c:v>100798</c:v>
                </c:pt>
                <c:pt idx="9542">
                  <c:v>47130</c:v>
                </c:pt>
                <c:pt idx="9543">
                  <c:v>45511</c:v>
                </c:pt>
                <c:pt idx="9544">
                  <c:v>26845</c:v>
                </c:pt>
                <c:pt idx="9545">
                  <c:v>72980</c:v>
                </c:pt>
                <c:pt idx="9546">
                  <c:v>50311</c:v>
                </c:pt>
                <c:pt idx="9547">
                  <c:v>158629</c:v>
                </c:pt>
                <c:pt idx="9548">
                  <c:v>28571</c:v>
                </c:pt>
                <c:pt idx="9549">
                  <c:v>40985</c:v>
                </c:pt>
                <c:pt idx="9550">
                  <c:v>57214</c:v>
                </c:pt>
                <c:pt idx="9551">
                  <c:v>36748</c:v>
                </c:pt>
                <c:pt idx="9552">
                  <c:v>27697</c:v>
                </c:pt>
                <c:pt idx="9553">
                  <c:v>30888</c:v>
                </c:pt>
                <c:pt idx="9554">
                  <c:v>57816</c:v>
                </c:pt>
                <c:pt idx="9555">
                  <c:v>37205</c:v>
                </c:pt>
                <c:pt idx="9556">
                  <c:v>27470</c:v>
                </c:pt>
                <c:pt idx="9557">
                  <c:v>32507</c:v>
                </c:pt>
                <c:pt idx="9558">
                  <c:v>55719</c:v>
                </c:pt>
                <c:pt idx="9559">
                  <c:v>87548</c:v>
                </c:pt>
                <c:pt idx="9560">
                  <c:v>32553</c:v>
                </c:pt>
                <c:pt idx="9561">
                  <c:v>176214</c:v>
                </c:pt>
                <c:pt idx="9562">
                  <c:v>34017</c:v>
                </c:pt>
                <c:pt idx="9563">
                  <c:v>38146</c:v>
                </c:pt>
                <c:pt idx="9564">
                  <c:v>23856</c:v>
                </c:pt>
                <c:pt idx="9565">
                  <c:v>51052</c:v>
                </c:pt>
                <c:pt idx="9566">
                  <c:v>28896</c:v>
                </c:pt>
                <c:pt idx="9567">
                  <c:v>57336</c:v>
                </c:pt>
                <c:pt idx="9568">
                  <c:v>44765</c:v>
                </c:pt>
                <c:pt idx="9569">
                  <c:v>44754</c:v>
                </c:pt>
                <c:pt idx="9570">
                  <c:v>132677</c:v>
                </c:pt>
                <c:pt idx="9571">
                  <c:v>44835</c:v>
                </c:pt>
                <c:pt idx="9572">
                  <c:v>21216</c:v>
                </c:pt>
                <c:pt idx="9573">
                  <c:v>37533</c:v>
                </c:pt>
                <c:pt idx="9574">
                  <c:v>71077</c:v>
                </c:pt>
                <c:pt idx="9575">
                  <c:v>29399</c:v>
                </c:pt>
                <c:pt idx="9576">
                  <c:v>54925</c:v>
                </c:pt>
                <c:pt idx="9577">
                  <c:v>55155</c:v>
                </c:pt>
                <c:pt idx="9578">
                  <c:v>28954</c:v>
                </c:pt>
                <c:pt idx="9579">
                  <c:v>71923</c:v>
                </c:pt>
                <c:pt idx="9580">
                  <c:v>46665</c:v>
                </c:pt>
                <c:pt idx="9581">
                  <c:v>50762</c:v>
                </c:pt>
                <c:pt idx="9582">
                  <c:v>124288</c:v>
                </c:pt>
                <c:pt idx="9583">
                  <c:v>45020</c:v>
                </c:pt>
                <c:pt idx="9584">
                  <c:v>48967</c:v>
                </c:pt>
                <c:pt idx="9585">
                  <c:v>47480</c:v>
                </c:pt>
                <c:pt idx="9586">
                  <c:v>63695</c:v>
                </c:pt>
                <c:pt idx="9587">
                  <c:v>94909</c:v>
                </c:pt>
                <c:pt idx="9588">
                  <c:v>205813</c:v>
                </c:pt>
                <c:pt idx="9589">
                  <c:v>23587</c:v>
                </c:pt>
                <c:pt idx="9590">
                  <c:v>28269</c:v>
                </c:pt>
                <c:pt idx="9591">
                  <c:v>42985</c:v>
                </c:pt>
                <c:pt idx="9592">
                  <c:v>48301</c:v>
                </c:pt>
                <c:pt idx="9593">
                  <c:v>54523</c:v>
                </c:pt>
                <c:pt idx="9594">
                  <c:v>36152</c:v>
                </c:pt>
                <c:pt idx="9595">
                  <c:v>29238</c:v>
                </c:pt>
                <c:pt idx="9596">
                  <c:v>39281</c:v>
                </c:pt>
                <c:pt idx="9597">
                  <c:v>55467</c:v>
                </c:pt>
                <c:pt idx="9598">
                  <c:v>43031</c:v>
                </c:pt>
                <c:pt idx="9599">
                  <c:v>44854</c:v>
                </c:pt>
                <c:pt idx="9600">
                  <c:v>109244</c:v>
                </c:pt>
                <c:pt idx="9601">
                  <c:v>40107</c:v>
                </c:pt>
                <c:pt idx="9602">
                  <c:v>63899</c:v>
                </c:pt>
                <c:pt idx="9603">
                  <c:v>38891</c:v>
                </c:pt>
                <c:pt idx="9604">
                  <c:v>32498</c:v>
                </c:pt>
                <c:pt idx="9605">
                  <c:v>38722</c:v>
                </c:pt>
                <c:pt idx="9606">
                  <c:v>40421</c:v>
                </c:pt>
                <c:pt idx="9607">
                  <c:v>60567</c:v>
                </c:pt>
                <c:pt idx="9608">
                  <c:v>36347</c:v>
                </c:pt>
                <c:pt idx="9609">
                  <c:v>35059</c:v>
                </c:pt>
                <c:pt idx="9610">
                  <c:v>39230</c:v>
                </c:pt>
                <c:pt idx="9611">
                  <c:v>41401</c:v>
                </c:pt>
                <c:pt idx="9612">
                  <c:v>41003</c:v>
                </c:pt>
                <c:pt idx="9613">
                  <c:v>24031</c:v>
                </c:pt>
                <c:pt idx="9614">
                  <c:v>91494</c:v>
                </c:pt>
                <c:pt idx="9615">
                  <c:v>28025</c:v>
                </c:pt>
                <c:pt idx="9616">
                  <c:v>58411</c:v>
                </c:pt>
                <c:pt idx="9617">
                  <c:v>83912</c:v>
                </c:pt>
                <c:pt idx="9618">
                  <c:v>21010</c:v>
                </c:pt>
                <c:pt idx="9619">
                  <c:v>246584</c:v>
                </c:pt>
                <c:pt idx="9620">
                  <c:v>30810</c:v>
                </c:pt>
                <c:pt idx="9621">
                  <c:v>40009</c:v>
                </c:pt>
                <c:pt idx="9622">
                  <c:v>70263</c:v>
                </c:pt>
                <c:pt idx="9623">
                  <c:v>213620</c:v>
                </c:pt>
                <c:pt idx="9624">
                  <c:v>28294</c:v>
                </c:pt>
                <c:pt idx="9625">
                  <c:v>343093</c:v>
                </c:pt>
                <c:pt idx="9626">
                  <c:v>33669</c:v>
                </c:pt>
                <c:pt idx="9627">
                  <c:v>40300</c:v>
                </c:pt>
                <c:pt idx="9628">
                  <c:v>47437</c:v>
                </c:pt>
                <c:pt idx="9629">
                  <c:v>37713</c:v>
                </c:pt>
                <c:pt idx="9630">
                  <c:v>63598</c:v>
                </c:pt>
                <c:pt idx="9631">
                  <c:v>38352</c:v>
                </c:pt>
                <c:pt idx="9632">
                  <c:v>36511</c:v>
                </c:pt>
                <c:pt idx="9633">
                  <c:v>31541</c:v>
                </c:pt>
                <c:pt idx="9634">
                  <c:v>50080</c:v>
                </c:pt>
                <c:pt idx="9635">
                  <c:v>162556</c:v>
                </c:pt>
                <c:pt idx="9636">
                  <c:v>33773</c:v>
                </c:pt>
                <c:pt idx="9637">
                  <c:v>106697</c:v>
                </c:pt>
                <c:pt idx="9638">
                  <c:v>65039</c:v>
                </c:pt>
                <c:pt idx="9639">
                  <c:v>33613</c:v>
                </c:pt>
                <c:pt idx="9640">
                  <c:v>28246</c:v>
                </c:pt>
                <c:pt idx="9641">
                  <c:v>29548</c:v>
                </c:pt>
                <c:pt idx="9642">
                  <c:v>31458</c:v>
                </c:pt>
                <c:pt idx="9643">
                  <c:v>46447</c:v>
                </c:pt>
                <c:pt idx="9644">
                  <c:v>110270</c:v>
                </c:pt>
                <c:pt idx="9645">
                  <c:v>136561</c:v>
                </c:pt>
                <c:pt idx="9646">
                  <c:v>33558</c:v>
                </c:pt>
                <c:pt idx="9647">
                  <c:v>60844</c:v>
                </c:pt>
                <c:pt idx="9648">
                  <c:v>51580</c:v>
                </c:pt>
                <c:pt idx="9649">
                  <c:v>77014</c:v>
                </c:pt>
                <c:pt idx="9650">
                  <c:v>49041</c:v>
                </c:pt>
                <c:pt idx="9651">
                  <c:v>29730</c:v>
                </c:pt>
                <c:pt idx="9652">
                  <c:v>47656</c:v>
                </c:pt>
                <c:pt idx="9653">
                  <c:v>35497</c:v>
                </c:pt>
                <c:pt idx="9654">
                  <c:v>25803</c:v>
                </c:pt>
                <c:pt idx="9655">
                  <c:v>545115</c:v>
                </c:pt>
                <c:pt idx="9656">
                  <c:v>82685</c:v>
                </c:pt>
                <c:pt idx="9657">
                  <c:v>63956</c:v>
                </c:pt>
                <c:pt idx="9658">
                  <c:v>50329</c:v>
                </c:pt>
                <c:pt idx="9659">
                  <c:v>34894</c:v>
                </c:pt>
                <c:pt idx="9660">
                  <c:v>37600</c:v>
                </c:pt>
                <c:pt idx="9661">
                  <c:v>63035</c:v>
                </c:pt>
                <c:pt idx="9662">
                  <c:v>26481</c:v>
                </c:pt>
                <c:pt idx="9663">
                  <c:v>81939</c:v>
                </c:pt>
                <c:pt idx="9664">
                  <c:v>32933</c:v>
                </c:pt>
                <c:pt idx="9665">
                  <c:v>44786</c:v>
                </c:pt>
                <c:pt idx="9666">
                  <c:v>73186</c:v>
                </c:pt>
                <c:pt idx="9667">
                  <c:v>27596</c:v>
                </c:pt>
                <c:pt idx="9668">
                  <c:v>39657</c:v>
                </c:pt>
                <c:pt idx="9669">
                  <c:v>52479</c:v>
                </c:pt>
                <c:pt idx="9670">
                  <c:v>46379</c:v>
                </c:pt>
                <c:pt idx="9671">
                  <c:v>270801</c:v>
                </c:pt>
                <c:pt idx="9672">
                  <c:v>110808</c:v>
                </c:pt>
                <c:pt idx="9673">
                  <c:v>64602</c:v>
                </c:pt>
                <c:pt idx="9674">
                  <c:v>66720</c:v>
                </c:pt>
                <c:pt idx="9675">
                  <c:v>70660</c:v>
                </c:pt>
                <c:pt idx="9676">
                  <c:v>169268</c:v>
                </c:pt>
                <c:pt idx="9677">
                  <c:v>44416</c:v>
                </c:pt>
                <c:pt idx="9678">
                  <c:v>41503</c:v>
                </c:pt>
                <c:pt idx="9679">
                  <c:v>39671</c:v>
                </c:pt>
                <c:pt idx="9680">
                  <c:v>21709</c:v>
                </c:pt>
                <c:pt idx="9681">
                  <c:v>24942</c:v>
                </c:pt>
                <c:pt idx="9682">
                  <c:v>32374</c:v>
                </c:pt>
                <c:pt idx="9683">
                  <c:v>217103</c:v>
                </c:pt>
                <c:pt idx="9684">
                  <c:v>63955</c:v>
                </c:pt>
                <c:pt idx="9685">
                  <c:v>38571</c:v>
                </c:pt>
                <c:pt idx="9686">
                  <c:v>25960</c:v>
                </c:pt>
                <c:pt idx="9687">
                  <c:v>156600</c:v>
                </c:pt>
                <c:pt idx="9688">
                  <c:v>48130</c:v>
                </c:pt>
                <c:pt idx="9689">
                  <c:v>23146</c:v>
                </c:pt>
                <c:pt idx="9690">
                  <c:v>79843</c:v>
                </c:pt>
                <c:pt idx="9691">
                  <c:v>51678</c:v>
                </c:pt>
                <c:pt idx="9692">
                  <c:v>41922</c:v>
                </c:pt>
                <c:pt idx="9693">
                  <c:v>43263</c:v>
                </c:pt>
                <c:pt idx="9694">
                  <c:v>55843</c:v>
                </c:pt>
                <c:pt idx="9695">
                  <c:v>70510</c:v>
                </c:pt>
                <c:pt idx="9696">
                  <c:v>45143</c:v>
                </c:pt>
                <c:pt idx="9697">
                  <c:v>37279</c:v>
                </c:pt>
                <c:pt idx="9698">
                  <c:v>31433</c:v>
                </c:pt>
                <c:pt idx="9699">
                  <c:v>57829</c:v>
                </c:pt>
                <c:pt idx="9700">
                  <c:v>38701</c:v>
                </c:pt>
                <c:pt idx="9701">
                  <c:v>38792</c:v>
                </c:pt>
                <c:pt idx="9702">
                  <c:v>195577</c:v>
                </c:pt>
                <c:pt idx="9703">
                  <c:v>30979</c:v>
                </c:pt>
                <c:pt idx="9704">
                  <c:v>77638</c:v>
                </c:pt>
                <c:pt idx="9705">
                  <c:v>66472</c:v>
                </c:pt>
                <c:pt idx="9706">
                  <c:v>39294</c:v>
                </c:pt>
                <c:pt idx="9707">
                  <c:v>50012</c:v>
                </c:pt>
                <c:pt idx="9708">
                  <c:v>26196</c:v>
                </c:pt>
                <c:pt idx="9709">
                  <c:v>95361</c:v>
                </c:pt>
                <c:pt idx="9710">
                  <c:v>27560</c:v>
                </c:pt>
                <c:pt idx="9711">
                  <c:v>67981</c:v>
                </c:pt>
                <c:pt idx="9712">
                  <c:v>32553</c:v>
                </c:pt>
                <c:pt idx="9713">
                  <c:v>29888</c:v>
                </c:pt>
                <c:pt idx="9714">
                  <c:v>42951</c:v>
                </c:pt>
                <c:pt idx="9715">
                  <c:v>51910</c:v>
                </c:pt>
                <c:pt idx="9716">
                  <c:v>33547</c:v>
                </c:pt>
                <c:pt idx="9717">
                  <c:v>56780</c:v>
                </c:pt>
                <c:pt idx="9718">
                  <c:v>48027</c:v>
                </c:pt>
                <c:pt idx="9719">
                  <c:v>68480</c:v>
                </c:pt>
                <c:pt idx="9720">
                  <c:v>83499</c:v>
                </c:pt>
                <c:pt idx="9721">
                  <c:v>51144</c:v>
                </c:pt>
                <c:pt idx="9722">
                  <c:v>39439</c:v>
                </c:pt>
                <c:pt idx="9723">
                  <c:v>44985</c:v>
                </c:pt>
                <c:pt idx="9724">
                  <c:v>56557</c:v>
                </c:pt>
                <c:pt idx="9725">
                  <c:v>53368</c:v>
                </c:pt>
                <c:pt idx="9726">
                  <c:v>28545</c:v>
                </c:pt>
                <c:pt idx="9727">
                  <c:v>35551</c:v>
                </c:pt>
                <c:pt idx="9728">
                  <c:v>37034</c:v>
                </c:pt>
                <c:pt idx="9729">
                  <c:v>29707</c:v>
                </c:pt>
                <c:pt idx="9730">
                  <c:v>120066</c:v>
                </c:pt>
                <c:pt idx="9731">
                  <c:v>36377</c:v>
                </c:pt>
                <c:pt idx="9732">
                  <c:v>25755</c:v>
                </c:pt>
                <c:pt idx="9733">
                  <c:v>76157</c:v>
                </c:pt>
                <c:pt idx="9734">
                  <c:v>33836</c:v>
                </c:pt>
                <c:pt idx="9735">
                  <c:v>84094</c:v>
                </c:pt>
                <c:pt idx="9736">
                  <c:v>55407</c:v>
                </c:pt>
                <c:pt idx="9737">
                  <c:v>49391</c:v>
                </c:pt>
                <c:pt idx="9738">
                  <c:v>55762</c:v>
                </c:pt>
                <c:pt idx="9739">
                  <c:v>31981</c:v>
                </c:pt>
                <c:pt idx="9740">
                  <c:v>45788</c:v>
                </c:pt>
                <c:pt idx="9741">
                  <c:v>57497</c:v>
                </c:pt>
                <c:pt idx="9742">
                  <c:v>60753</c:v>
                </c:pt>
                <c:pt idx="9743">
                  <c:v>143163</c:v>
                </c:pt>
                <c:pt idx="9744">
                  <c:v>40836</c:v>
                </c:pt>
                <c:pt idx="9745">
                  <c:v>22003</c:v>
                </c:pt>
                <c:pt idx="9746">
                  <c:v>77162</c:v>
                </c:pt>
                <c:pt idx="9747">
                  <c:v>41237</c:v>
                </c:pt>
                <c:pt idx="9748">
                  <c:v>55025</c:v>
                </c:pt>
                <c:pt idx="9749">
                  <c:v>54472</c:v>
                </c:pt>
                <c:pt idx="9750">
                  <c:v>51334</c:v>
                </c:pt>
                <c:pt idx="9751">
                  <c:v>42053</c:v>
                </c:pt>
                <c:pt idx="9752">
                  <c:v>46482</c:v>
                </c:pt>
                <c:pt idx="9753">
                  <c:v>36851</c:v>
                </c:pt>
                <c:pt idx="9754">
                  <c:v>68490</c:v>
                </c:pt>
                <c:pt idx="9755">
                  <c:v>59347</c:v>
                </c:pt>
                <c:pt idx="9756">
                  <c:v>31395</c:v>
                </c:pt>
                <c:pt idx="9757">
                  <c:v>197419</c:v>
                </c:pt>
                <c:pt idx="9758">
                  <c:v>33267</c:v>
                </c:pt>
                <c:pt idx="9759">
                  <c:v>106626</c:v>
                </c:pt>
                <c:pt idx="9760">
                  <c:v>86007</c:v>
                </c:pt>
                <c:pt idx="9761">
                  <c:v>78053</c:v>
                </c:pt>
                <c:pt idx="9762">
                  <c:v>90176</c:v>
                </c:pt>
                <c:pt idx="9763">
                  <c:v>43808</c:v>
                </c:pt>
                <c:pt idx="9764">
                  <c:v>33702</c:v>
                </c:pt>
                <c:pt idx="9765">
                  <c:v>112657</c:v>
                </c:pt>
                <c:pt idx="9766">
                  <c:v>99532</c:v>
                </c:pt>
                <c:pt idx="9767">
                  <c:v>50036</c:v>
                </c:pt>
                <c:pt idx="9768">
                  <c:v>52578</c:v>
                </c:pt>
                <c:pt idx="9769">
                  <c:v>62359</c:v>
                </c:pt>
                <c:pt idx="9770">
                  <c:v>95866</c:v>
                </c:pt>
                <c:pt idx="9771">
                  <c:v>137654</c:v>
                </c:pt>
                <c:pt idx="9772">
                  <c:v>167909</c:v>
                </c:pt>
                <c:pt idx="9773">
                  <c:v>66173</c:v>
                </c:pt>
                <c:pt idx="9774">
                  <c:v>31361</c:v>
                </c:pt>
                <c:pt idx="9775">
                  <c:v>26684</c:v>
                </c:pt>
                <c:pt idx="9776">
                  <c:v>40529</c:v>
                </c:pt>
                <c:pt idx="9777">
                  <c:v>365125</c:v>
                </c:pt>
                <c:pt idx="9778">
                  <c:v>144863</c:v>
                </c:pt>
                <c:pt idx="9779">
                  <c:v>73755</c:v>
                </c:pt>
                <c:pt idx="9780">
                  <c:v>110720</c:v>
                </c:pt>
                <c:pt idx="9781">
                  <c:v>97651</c:v>
                </c:pt>
                <c:pt idx="9782">
                  <c:v>39819</c:v>
                </c:pt>
                <c:pt idx="9783">
                  <c:v>50066</c:v>
                </c:pt>
                <c:pt idx="9784">
                  <c:v>58214</c:v>
                </c:pt>
                <c:pt idx="9785">
                  <c:v>395726</c:v>
                </c:pt>
                <c:pt idx="9786">
                  <c:v>30937</c:v>
                </c:pt>
                <c:pt idx="9787">
                  <c:v>89851</c:v>
                </c:pt>
                <c:pt idx="9788">
                  <c:v>39400</c:v>
                </c:pt>
                <c:pt idx="9789">
                  <c:v>221102</c:v>
                </c:pt>
                <c:pt idx="9790">
                  <c:v>96728</c:v>
                </c:pt>
                <c:pt idx="9791">
                  <c:v>43268</c:v>
                </c:pt>
                <c:pt idx="9792">
                  <c:v>25931</c:v>
                </c:pt>
                <c:pt idx="9793">
                  <c:v>82998</c:v>
                </c:pt>
                <c:pt idx="9794">
                  <c:v>84284</c:v>
                </c:pt>
                <c:pt idx="9795">
                  <c:v>27178</c:v>
                </c:pt>
                <c:pt idx="9796">
                  <c:v>69435</c:v>
                </c:pt>
                <c:pt idx="9797">
                  <c:v>29962</c:v>
                </c:pt>
                <c:pt idx="9798">
                  <c:v>43939</c:v>
                </c:pt>
                <c:pt idx="9799">
                  <c:v>37680</c:v>
                </c:pt>
                <c:pt idx="9800">
                  <c:v>52552</c:v>
                </c:pt>
                <c:pt idx="9801">
                  <c:v>42935</c:v>
                </c:pt>
                <c:pt idx="9802">
                  <c:v>33984</c:v>
                </c:pt>
                <c:pt idx="9803">
                  <c:v>35795</c:v>
                </c:pt>
                <c:pt idx="9804">
                  <c:v>134843</c:v>
                </c:pt>
                <c:pt idx="9805">
                  <c:v>38742</c:v>
                </c:pt>
                <c:pt idx="9806">
                  <c:v>103720</c:v>
                </c:pt>
                <c:pt idx="9807">
                  <c:v>292372</c:v>
                </c:pt>
                <c:pt idx="9808">
                  <c:v>44089</c:v>
                </c:pt>
                <c:pt idx="9809">
                  <c:v>72891</c:v>
                </c:pt>
                <c:pt idx="9810">
                  <c:v>24076</c:v>
                </c:pt>
                <c:pt idx="9811">
                  <c:v>126901</c:v>
                </c:pt>
                <c:pt idx="9812">
                  <c:v>59122</c:v>
                </c:pt>
                <c:pt idx="9813">
                  <c:v>47930</c:v>
                </c:pt>
                <c:pt idx="9814">
                  <c:v>23419</c:v>
                </c:pt>
                <c:pt idx="9815">
                  <c:v>68793</c:v>
                </c:pt>
                <c:pt idx="9816">
                  <c:v>45873</c:v>
                </c:pt>
                <c:pt idx="9817">
                  <c:v>78217</c:v>
                </c:pt>
                <c:pt idx="9818">
                  <c:v>29085</c:v>
                </c:pt>
                <c:pt idx="9819">
                  <c:v>65232</c:v>
                </c:pt>
                <c:pt idx="9820">
                  <c:v>26275</c:v>
                </c:pt>
                <c:pt idx="9821">
                  <c:v>38610</c:v>
                </c:pt>
                <c:pt idx="9822">
                  <c:v>32388</c:v>
                </c:pt>
                <c:pt idx="9823">
                  <c:v>35743</c:v>
                </c:pt>
                <c:pt idx="9824">
                  <c:v>34026</c:v>
                </c:pt>
                <c:pt idx="9825">
                  <c:v>33542</c:v>
                </c:pt>
                <c:pt idx="9826">
                  <c:v>61122</c:v>
                </c:pt>
                <c:pt idx="9827">
                  <c:v>43399</c:v>
                </c:pt>
                <c:pt idx="9828">
                  <c:v>37749</c:v>
                </c:pt>
                <c:pt idx="9829">
                  <c:v>30121</c:v>
                </c:pt>
                <c:pt idx="9830">
                  <c:v>38357</c:v>
                </c:pt>
                <c:pt idx="9831">
                  <c:v>271951</c:v>
                </c:pt>
                <c:pt idx="9832">
                  <c:v>130834</c:v>
                </c:pt>
                <c:pt idx="9833">
                  <c:v>220957</c:v>
                </c:pt>
                <c:pt idx="9834">
                  <c:v>34275</c:v>
                </c:pt>
                <c:pt idx="9835">
                  <c:v>45593</c:v>
                </c:pt>
                <c:pt idx="9836">
                  <c:v>36508</c:v>
                </c:pt>
                <c:pt idx="9837">
                  <c:v>37463</c:v>
                </c:pt>
                <c:pt idx="9838">
                  <c:v>42314</c:v>
                </c:pt>
                <c:pt idx="9839">
                  <c:v>43538</c:v>
                </c:pt>
                <c:pt idx="9840">
                  <c:v>46762</c:v>
                </c:pt>
                <c:pt idx="9841">
                  <c:v>38161</c:v>
                </c:pt>
                <c:pt idx="9842">
                  <c:v>72459</c:v>
                </c:pt>
                <c:pt idx="9843">
                  <c:v>48466</c:v>
                </c:pt>
                <c:pt idx="9844">
                  <c:v>40634</c:v>
                </c:pt>
                <c:pt idx="9845">
                  <c:v>167470</c:v>
                </c:pt>
                <c:pt idx="9846">
                  <c:v>24488</c:v>
                </c:pt>
                <c:pt idx="9847">
                  <c:v>127482</c:v>
                </c:pt>
                <c:pt idx="9848">
                  <c:v>37214</c:v>
                </c:pt>
                <c:pt idx="9849">
                  <c:v>26288</c:v>
                </c:pt>
                <c:pt idx="9850">
                  <c:v>94094</c:v>
                </c:pt>
                <c:pt idx="9851">
                  <c:v>50761</c:v>
                </c:pt>
                <c:pt idx="9852">
                  <c:v>25998</c:v>
                </c:pt>
                <c:pt idx="9853">
                  <c:v>55436</c:v>
                </c:pt>
                <c:pt idx="9854">
                  <c:v>515776</c:v>
                </c:pt>
                <c:pt idx="9855">
                  <c:v>24948</c:v>
                </c:pt>
                <c:pt idx="9856">
                  <c:v>30085</c:v>
                </c:pt>
                <c:pt idx="9857">
                  <c:v>49508</c:v>
                </c:pt>
                <c:pt idx="9858">
                  <c:v>51154</c:v>
                </c:pt>
                <c:pt idx="9859">
                  <c:v>49010</c:v>
                </c:pt>
                <c:pt idx="9860">
                  <c:v>43441</c:v>
                </c:pt>
                <c:pt idx="9861">
                  <c:v>71202</c:v>
                </c:pt>
                <c:pt idx="9862">
                  <c:v>50331</c:v>
                </c:pt>
                <c:pt idx="9863">
                  <c:v>26112</c:v>
                </c:pt>
                <c:pt idx="9864">
                  <c:v>39490</c:v>
                </c:pt>
                <c:pt idx="9865">
                  <c:v>77560</c:v>
                </c:pt>
                <c:pt idx="9866">
                  <c:v>45375</c:v>
                </c:pt>
                <c:pt idx="9867">
                  <c:v>36053</c:v>
                </c:pt>
                <c:pt idx="9868">
                  <c:v>48878</c:v>
                </c:pt>
                <c:pt idx="9869">
                  <c:v>109484</c:v>
                </c:pt>
                <c:pt idx="9870">
                  <c:v>39691</c:v>
                </c:pt>
                <c:pt idx="9871">
                  <c:v>51207</c:v>
                </c:pt>
                <c:pt idx="9872">
                  <c:v>80478</c:v>
                </c:pt>
                <c:pt idx="9873">
                  <c:v>21393</c:v>
                </c:pt>
                <c:pt idx="9874">
                  <c:v>103017</c:v>
                </c:pt>
                <c:pt idx="9875">
                  <c:v>15000</c:v>
                </c:pt>
                <c:pt idx="9876">
                  <c:v>59909</c:v>
                </c:pt>
                <c:pt idx="9877">
                  <c:v>21964</c:v>
                </c:pt>
                <c:pt idx="9878">
                  <c:v>42234</c:v>
                </c:pt>
                <c:pt idx="9879">
                  <c:v>37969</c:v>
                </c:pt>
                <c:pt idx="9880">
                  <c:v>144649</c:v>
                </c:pt>
                <c:pt idx="9881">
                  <c:v>56468</c:v>
                </c:pt>
                <c:pt idx="9882">
                  <c:v>35535</c:v>
                </c:pt>
                <c:pt idx="9883">
                  <c:v>35554</c:v>
                </c:pt>
                <c:pt idx="9884">
                  <c:v>120334</c:v>
                </c:pt>
                <c:pt idx="9885">
                  <c:v>37157</c:v>
                </c:pt>
                <c:pt idx="9886">
                  <c:v>57169</c:v>
                </c:pt>
                <c:pt idx="9887">
                  <c:v>34329</c:v>
                </c:pt>
                <c:pt idx="9888">
                  <c:v>89335</c:v>
                </c:pt>
                <c:pt idx="9889">
                  <c:v>85634</c:v>
                </c:pt>
                <c:pt idx="9890">
                  <c:v>31295</c:v>
                </c:pt>
                <c:pt idx="9891">
                  <c:v>27945</c:v>
                </c:pt>
                <c:pt idx="9892">
                  <c:v>37443</c:v>
                </c:pt>
                <c:pt idx="9893">
                  <c:v>72279</c:v>
                </c:pt>
                <c:pt idx="9894">
                  <c:v>56365</c:v>
                </c:pt>
                <c:pt idx="9895">
                  <c:v>97261</c:v>
                </c:pt>
                <c:pt idx="9896">
                  <c:v>43912</c:v>
                </c:pt>
                <c:pt idx="9897">
                  <c:v>47462</c:v>
                </c:pt>
                <c:pt idx="9898">
                  <c:v>39744</c:v>
                </c:pt>
                <c:pt idx="9899">
                  <c:v>74161</c:v>
                </c:pt>
                <c:pt idx="9900">
                  <c:v>41651</c:v>
                </c:pt>
                <c:pt idx="9901">
                  <c:v>34237</c:v>
                </c:pt>
                <c:pt idx="9902">
                  <c:v>51205</c:v>
                </c:pt>
                <c:pt idx="9903">
                  <c:v>80222</c:v>
                </c:pt>
                <c:pt idx="9904">
                  <c:v>50930</c:v>
                </c:pt>
                <c:pt idx="9905">
                  <c:v>23554</c:v>
                </c:pt>
                <c:pt idx="9906">
                  <c:v>102279</c:v>
                </c:pt>
                <c:pt idx="9907">
                  <c:v>107370</c:v>
                </c:pt>
                <c:pt idx="9908">
                  <c:v>26839</c:v>
                </c:pt>
                <c:pt idx="9909">
                  <c:v>49572</c:v>
                </c:pt>
                <c:pt idx="9910">
                  <c:v>63285</c:v>
                </c:pt>
                <c:pt idx="9911">
                  <c:v>32252</c:v>
                </c:pt>
                <c:pt idx="9912">
                  <c:v>45578</c:v>
                </c:pt>
                <c:pt idx="9913">
                  <c:v>79593</c:v>
                </c:pt>
                <c:pt idx="9914">
                  <c:v>27138</c:v>
                </c:pt>
                <c:pt idx="9915">
                  <c:v>26158</c:v>
                </c:pt>
                <c:pt idx="9916">
                  <c:v>37453</c:v>
                </c:pt>
                <c:pt idx="9917">
                  <c:v>34998</c:v>
                </c:pt>
                <c:pt idx="9918">
                  <c:v>37303</c:v>
                </c:pt>
                <c:pt idx="9919">
                  <c:v>24532</c:v>
                </c:pt>
                <c:pt idx="9920">
                  <c:v>45783</c:v>
                </c:pt>
                <c:pt idx="9921">
                  <c:v>36500</c:v>
                </c:pt>
                <c:pt idx="9922">
                  <c:v>38607</c:v>
                </c:pt>
                <c:pt idx="9923">
                  <c:v>27727</c:v>
                </c:pt>
                <c:pt idx="9924">
                  <c:v>32281</c:v>
                </c:pt>
                <c:pt idx="9925">
                  <c:v>54936</c:v>
                </c:pt>
                <c:pt idx="9926">
                  <c:v>33345</c:v>
                </c:pt>
                <c:pt idx="9927">
                  <c:v>85933</c:v>
                </c:pt>
                <c:pt idx="9928">
                  <c:v>184001</c:v>
                </c:pt>
                <c:pt idx="9929">
                  <c:v>53842</c:v>
                </c:pt>
                <c:pt idx="9930">
                  <c:v>41541</c:v>
                </c:pt>
                <c:pt idx="9931">
                  <c:v>72753</c:v>
                </c:pt>
                <c:pt idx="9932">
                  <c:v>39336</c:v>
                </c:pt>
                <c:pt idx="9933">
                  <c:v>23815</c:v>
                </c:pt>
                <c:pt idx="9934">
                  <c:v>88956</c:v>
                </c:pt>
                <c:pt idx="9935">
                  <c:v>281068</c:v>
                </c:pt>
                <c:pt idx="9936">
                  <c:v>95268</c:v>
                </c:pt>
                <c:pt idx="9937">
                  <c:v>55110</c:v>
                </c:pt>
                <c:pt idx="9938">
                  <c:v>41449</c:v>
                </c:pt>
                <c:pt idx="9939">
                  <c:v>139274</c:v>
                </c:pt>
                <c:pt idx="9940">
                  <c:v>32699</c:v>
                </c:pt>
                <c:pt idx="9941">
                  <c:v>33036</c:v>
                </c:pt>
                <c:pt idx="9942">
                  <c:v>63760</c:v>
                </c:pt>
                <c:pt idx="9943">
                  <c:v>42971</c:v>
                </c:pt>
                <c:pt idx="9944">
                  <c:v>51284</c:v>
                </c:pt>
                <c:pt idx="9945">
                  <c:v>37888</c:v>
                </c:pt>
                <c:pt idx="9946">
                  <c:v>75539</c:v>
                </c:pt>
                <c:pt idx="9947">
                  <c:v>292654</c:v>
                </c:pt>
                <c:pt idx="9948">
                  <c:v>31674</c:v>
                </c:pt>
                <c:pt idx="9949">
                  <c:v>38438</c:v>
                </c:pt>
                <c:pt idx="9950">
                  <c:v>68056</c:v>
                </c:pt>
                <c:pt idx="9951">
                  <c:v>44537</c:v>
                </c:pt>
                <c:pt idx="9952">
                  <c:v>49766</c:v>
                </c:pt>
                <c:pt idx="9953">
                  <c:v>204301</c:v>
                </c:pt>
                <c:pt idx="9954">
                  <c:v>49141</c:v>
                </c:pt>
                <c:pt idx="9955">
                  <c:v>24519</c:v>
                </c:pt>
                <c:pt idx="9956">
                  <c:v>37104</c:v>
                </c:pt>
                <c:pt idx="9957">
                  <c:v>40647</c:v>
                </c:pt>
                <c:pt idx="9958">
                  <c:v>81235</c:v>
                </c:pt>
                <c:pt idx="9959">
                  <c:v>48570</c:v>
                </c:pt>
                <c:pt idx="9960">
                  <c:v>30764</c:v>
                </c:pt>
                <c:pt idx="9961">
                  <c:v>47746</c:v>
                </c:pt>
                <c:pt idx="9962">
                  <c:v>40461</c:v>
                </c:pt>
                <c:pt idx="9963">
                  <c:v>30686</c:v>
                </c:pt>
                <c:pt idx="9964">
                  <c:v>71907</c:v>
                </c:pt>
                <c:pt idx="9965">
                  <c:v>67962</c:v>
                </c:pt>
                <c:pt idx="9966">
                  <c:v>135118</c:v>
                </c:pt>
                <c:pt idx="9967">
                  <c:v>57861</c:v>
                </c:pt>
                <c:pt idx="9968">
                  <c:v>41799</c:v>
                </c:pt>
                <c:pt idx="9969">
                  <c:v>113947</c:v>
                </c:pt>
                <c:pt idx="9970">
                  <c:v>95514</c:v>
                </c:pt>
                <c:pt idx="9971">
                  <c:v>24826</c:v>
                </c:pt>
                <c:pt idx="9972">
                  <c:v>104305</c:v>
                </c:pt>
                <c:pt idx="9973">
                  <c:v>67794</c:v>
                </c:pt>
                <c:pt idx="9974">
                  <c:v>31389</c:v>
                </c:pt>
                <c:pt idx="9975">
                  <c:v>44226</c:v>
                </c:pt>
                <c:pt idx="9976">
                  <c:v>85631</c:v>
                </c:pt>
                <c:pt idx="9977">
                  <c:v>58129</c:v>
                </c:pt>
                <c:pt idx="9978">
                  <c:v>40564</c:v>
                </c:pt>
                <c:pt idx="9979">
                  <c:v>29376</c:v>
                </c:pt>
                <c:pt idx="9980">
                  <c:v>135332</c:v>
                </c:pt>
                <c:pt idx="9981">
                  <c:v>27062</c:v>
                </c:pt>
                <c:pt idx="9982">
                  <c:v>39475</c:v>
                </c:pt>
                <c:pt idx="9983">
                  <c:v>48435</c:v>
                </c:pt>
                <c:pt idx="9984">
                  <c:v>36643</c:v>
                </c:pt>
                <c:pt idx="9985">
                  <c:v>173897</c:v>
                </c:pt>
                <c:pt idx="9986">
                  <c:v>45344</c:v>
                </c:pt>
                <c:pt idx="9987">
                  <c:v>44463</c:v>
                </c:pt>
                <c:pt idx="9988">
                  <c:v>23337</c:v>
                </c:pt>
                <c:pt idx="9989">
                  <c:v>57414</c:v>
                </c:pt>
                <c:pt idx="9990">
                  <c:v>24757</c:v>
                </c:pt>
                <c:pt idx="9991">
                  <c:v>44291</c:v>
                </c:pt>
                <c:pt idx="9992">
                  <c:v>57348</c:v>
                </c:pt>
                <c:pt idx="9993">
                  <c:v>39663</c:v>
                </c:pt>
                <c:pt idx="9994">
                  <c:v>197366</c:v>
                </c:pt>
                <c:pt idx="9995">
                  <c:v>35334</c:v>
                </c:pt>
                <c:pt idx="9996">
                  <c:v>27660</c:v>
                </c:pt>
                <c:pt idx="9997">
                  <c:v>39397</c:v>
                </c:pt>
                <c:pt idx="9998">
                  <c:v>152808</c:v>
                </c:pt>
                <c:pt idx="9999">
                  <c:v>42868</c:v>
                </c:pt>
                <c:pt idx="10000">
                  <c:v>25580</c:v>
                </c:pt>
                <c:pt idx="10001">
                  <c:v>49656</c:v>
                </c:pt>
                <c:pt idx="10002">
                  <c:v>45790</c:v>
                </c:pt>
                <c:pt idx="10003">
                  <c:v>41596</c:v>
                </c:pt>
                <c:pt idx="10004">
                  <c:v>25344</c:v>
                </c:pt>
                <c:pt idx="10005">
                  <c:v>51218</c:v>
                </c:pt>
                <c:pt idx="10006">
                  <c:v>70617</c:v>
                </c:pt>
                <c:pt idx="10007">
                  <c:v>36587</c:v>
                </c:pt>
                <c:pt idx="10008">
                  <c:v>359100</c:v>
                </c:pt>
                <c:pt idx="10009">
                  <c:v>27429</c:v>
                </c:pt>
                <c:pt idx="10010">
                  <c:v>30399</c:v>
                </c:pt>
                <c:pt idx="10011">
                  <c:v>106252</c:v>
                </c:pt>
                <c:pt idx="10012">
                  <c:v>114772</c:v>
                </c:pt>
                <c:pt idx="10013">
                  <c:v>116457</c:v>
                </c:pt>
                <c:pt idx="10014">
                  <c:v>46852</c:v>
                </c:pt>
                <c:pt idx="10015">
                  <c:v>36922</c:v>
                </c:pt>
                <c:pt idx="10016">
                  <c:v>35024</c:v>
                </c:pt>
                <c:pt idx="10017">
                  <c:v>40546</c:v>
                </c:pt>
                <c:pt idx="10018">
                  <c:v>33193</c:v>
                </c:pt>
                <c:pt idx="10019">
                  <c:v>27010</c:v>
                </c:pt>
                <c:pt idx="10020">
                  <c:v>37197</c:v>
                </c:pt>
                <c:pt idx="10021">
                  <c:v>152847</c:v>
                </c:pt>
                <c:pt idx="10022">
                  <c:v>38935</c:v>
                </c:pt>
                <c:pt idx="10023">
                  <c:v>112179</c:v>
                </c:pt>
                <c:pt idx="10024">
                  <c:v>36295</c:v>
                </c:pt>
                <c:pt idx="10025">
                  <c:v>33926</c:v>
                </c:pt>
                <c:pt idx="10026">
                  <c:v>78248</c:v>
                </c:pt>
                <c:pt idx="10027">
                  <c:v>40004</c:v>
                </c:pt>
                <c:pt idx="10028">
                  <c:v>51037</c:v>
                </c:pt>
                <c:pt idx="10029">
                  <c:v>27720</c:v>
                </c:pt>
                <c:pt idx="10030">
                  <c:v>24268</c:v>
                </c:pt>
                <c:pt idx="10031">
                  <c:v>49008</c:v>
                </c:pt>
                <c:pt idx="10032">
                  <c:v>44248</c:v>
                </c:pt>
                <c:pt idx="10033">
                  <c:v>39078</c:v>
                </c:pt>
                <c:pt idx="10034">
                  <c:v>94488</c:v>
                </c:pt>
                <c:pt idx="10035">
                  <c:v>260838</c:v>
                </c:pt>
                <c:pt idx="10036">
                  <c:v>33378</c:v>
                </c:pt>
                <c:pt idx="10037">
                  <c:v>216129</c:v>
                </c:pt>
                <c:pt idx="10038">
                  <c:v>59919</c:v>
                </c:pt>
                <c:pt idx="10039">
                  <c:v>91307</c:v>
                </c:pt>
                <c:pt idx="10040">
                  <c:v>24082</c:v>
                </c:pt>
                <c:pt idx="10041">
                  <c:v>79527</c:v>
                </c:pt>
                <c:pt idx="10042">
                  <c:v>19936</c:v>
                </c:pt>
                <c:pt idx="10043">
                  <c:v>92023</c:v>
                </c:pt>
                <c:pt idx="10044">
                  <c:v>47621</c:v>
                </c:pt>
                <c:pt idx="10045">
                  <c:v>39734</c:v>
                </c:pt>
                <c:pt idx="10046">
                  <c:v>32950</c:v>
                </c:pt>
                <c:pt idx="10047">
                  <c:v>19674</c:v>
                </c:pt>
                <c:pt idx="10048">
                  <c:v>82659</c:v>
                </c:pt>
                <c:pt idx="10049">
                  <c:v>41544</c:v>
                </c:pt>
                <c:pt idx="10050">
                  <c:v>52709</c:v>
                </c:pt>
                <c:pt idx="10051">
                  <c:v>22279</c:v>
                </c:pt>
                <c:pt idx="10052">
                  <c:v>192996</c:v>
                </c:pt>
                <c:pt idx="10053">
                  <c:v>126100</c:v>
                </c:pt>
                <c:pt idx="10054">
                  <c:v>84215</c:v>
                </c:pt>
                <c:pt idx="10055">
                  <c:v>27266</c:v>
                </c:pt>
                <c:pt idx="10056">
                  <c:v>67839</c:v>
                </c:pt>
                <c:pt idx="10057">
                  <c:v>33674</c:v>
                </c:pt>
                <c:pt idx="10058">
                  <c:v>35514</c:v>
                </c:pt>
                <c:pt idx="10059">
                  <c:v>164895</c:v>
                </c:pt>
                <c:pt idx="10060">
                  <c:v>32922</c:v>
                </c:pt>
                <c:pt idx="10061">
                  <c:v>113129</c:v>
                </c:pt>
                <c:pt idx="10062">
                  <c:v>67278</c:v>
                </c:pt>
                <c:pt idx="10063">
                  <c:v>26745</c:v>
                </c:pt>
                <c:pt idx="10064">
                  <c:v>72321</c:v>
                </c:pt>
                <c:pt idx="10065">
                  <c:v>189706</c:v>
                </c:pt>
                <c:pt idx="10066">
                  <c:v>337538</c:v>
                </c:pt>
                <c:pt idx="10067">
                  <c:v>56976</c:v>
                </c:pt>
                <c:pt idx="10068">
                  <c:v>98844</c:v>
                </c:pt>
                <c:pt idx="10069">
                  <c:v>74704</c:v>
                </c:pt>
                <c:pt idx="10070">
                  <c:v>286841</c:v>
                </c:pt>
                <c:pt idx="10071">
                  <c:v>75419</c:v>
                </c:pt>
                <c:pt idx="10072">
                  <c:v>77340</c:v>
                </c:pt>
                <c:pt idx="10073">
                  <c:v>53944</c:v>
                </c:pt>
                <c:pt idx="10074">
                  <c:v>64768</c:v>
                </c:pt>
                <c:pt idx="10075">
                  <c:v>25698</c:v>
                </c:pt>
                <c:pt idx="10076">
                  <c:v>36922</c:v>
                </c:pt>
                <c:pt idx="10077">
                  <c:v>31392</c:v>
                </c:pt>
                <c:pt idx="10078">
                  <c:v>241176</c:v>
                </c:pt>
                <c:pt idx="10079">
                  <c:v>385306</c:v>
                </c:pt>
                <c:pt idx="10080">
                  <c:v>40437</c:v>
                </c:pt>
                <c:pt idx="10081">
                  <c:v>262203</c:v>
                </c:pt>
                <c:pt idx="10082">
                  <c:v>118071</c:v>
                </c:pt>
                <c:pt idx="10083">
                  <c:v>70540</c:v>
                </c:pt>
                <c:pt idx="10084">
                  <c:v>39315</c:v>
                </c:pt>
                <c:pt idx="10085">
                  <c:v>35479</c:v>
                </c:pt>
                <c:pt idx="10086">
                  <c:v>30064</c:v>
                </c:pt>
                <c:pt idx="10087">
                  <c:v>25474</c:v>
                </c:pt>
                <c:pt idx="10088">
                  <c:v>50725</c:v>
                </c:pt>
                <c:pt idx="10089">
                  <c:v>33606</c:v>
                </c:pt>
                <c:pt idx="10090">
                  <c:v>69332</c:v>
                </c:pt>
                <c:pt idx="10091">
                  <c:v>70469</c:v>
                </c:pt>
                <c:pt idx="10092">
                  <c:v>36760</c:v>
                </c:pt>
                <c:pt idx="10093">
                  <c:v>30223</c:v>
                </c:pt>
                <c:pt idx="10094">
                  <c:v>31995</c:v>
                </c:pt>
                <c:pt idx="10095">
                  <c:v>44408</c:v>
                </c:pt>
                <c:pt idx="10096">
                  <c:v>50338</c:v>
                </c:pt>
                <c:pt idx="10097">
                  <c:v>32715</c:v>
                </c:pt>
                <c:pt idx="10098">
                  <c:v>32113</c:v>
                </c:pt>
                <c:pt idx="10099">
                  <c:v>50591</c:v>
                </c:pt>
                <c:pt idx="10100">
                  <c:v>91378</c:v>
                </c:pt>
                <c:pt idx="10101">
                  <c:v>94794</c:v>
                </c:pt>
                <c:pt idx="10102">
                  <c:v>36422</c:v>
                </c:pt>
                <c:pt idx="10103">
                  <c:v>54075</c:v>
                </c:pt>
                <c:pt idx="10104">
                  <c:v>33892</c:v>
                </c:pt>
                <c:pt idx="10105">
                  <c:v>38534</c:v>
                </c:pt>
                <c:pt idx="10106">
                  <c:v>59065</c:v>
                </c:pt>
                <c:pt idx="10107">
                  <c:v>82447</c:v>
                </c:pt>
                <c:pt idx="10108">
                  <c:v>29895</c:v>
                </c:pt>
                <c:pt idx="10109">
                  <c:v>27792</c:v>
                </c:pt>
                <c:pt idx="10110">
                  <c:v>34826</c:v>
                </c:pt>
                <c:pt idx="10111">
                  <c:v>50202</c:v>
                </c:pt>
                <c:pt idx="10112">
                  <c:v>40982</c:v>
                </c:pt>
                <c:pt idx="10113">
                  <c:v>73901</c:v>
                </c:pt>
                <c:pt idx="10114">
                  <c:v>59945</c:v>
                </c:pt>
                <c:pt idx="10115">
                  <c:v>26499</c:v>
                </c:pt>
                <c:pt idx="10116">
                  <c:v>63853</c:v>
                </c:pt>
                <c:pt idx="10117">
                  <c:v>31468</c:v>
                </c:pt>
                <c:pt idx="10118">
                  <c:v>34639</c:v>
                </c:pt>
                <c:pt idx="10119">
                  <c:v>23309</c:v>
                </c:pt>
                <c:pt idx="10120">
                  <c:v>42908</c:v>
                </c:pt>
                <c:pt idx="10121">
                  <c:v>389895</c:v>
                </c:pt>
                <c:pt idx="10122">
                  <c:v>36254</c:v>
                </c:pt>
                <c:pt idx="10123">
                  <c:v>50124</c:v>
                </c:pt>
                <c:pt idx="10124">
                  <c:v>152534</c:v>
                </c:pt>
                <c:pt idx="10125">
                  <c:v>45535</c:v>
                </c:pt>
                <c:pt idx="10126">
                  <c:v>131517</c:v>
                </c:pt>
                <c:pt idx="10127">
                  <c:v>57064</c:v>
                </c:pt>
                <c:pt idx="10128">
                  <c:v>41505</c:v>
                </c:pt>
                <c:pt idx="10129">
                  <c:v>52769</c:v>
                </c:pt>
                <c:pt idx="10130">
                  <c:v>214816</c:v>
                </c:pt>
                <c:pt idx="10131">
                  <c:v>38277</c:v>
                </c:pt>
                <c:pt idx="10132">
                  <c:v>42678</c:v>
                </c:pt>
                <c:pt idx="10133">
                  <c:v>42026</c:v>
                </c:pt>
                <c:pt idx="10134">
                  <c:v>60647</c:v>
                </c:pt>
                <c:pt idx="10135">
                  <c:v>23639</c:v>
                </c:pt>
                <c:pt idx="10136">
                  <c:v>39500</c:v>
                </c:pt>
                <c:pt idx="10137">
                  <c:v>40384</c:v>
                </c:pt>
                <c:pt idx="10138">
                  <c:v>25092</c:v>
                </c:pt>
                <c:pt idx="10139">
                  <c:v>171078</c:v>
                </c:pt>
                <c:pt idx="10140">
                  <c:v>23825</c:v>
                </c:pt>
                <c:pt idx="10141">
                  <c:v>55361</c:v>
                </c:pt>
                <c:pt idx="10142">
                  <c:v>41425</c:v>
                </c:pt>
                <c:pt idx="10143">
                  <c:v>39481</c:v>
                </c:pt>
                <c:pt idx="10144">
                  <c:v>51052</c:v>
                </c:pt>
                <c:pt idx="10145">
                  <c:v>46308</c:v>
                </c:pt>
                <c:pt idx="10146">
                  <c:v>47692</c:v>
                </c:pt>
                <c:pt idx="10147">
                  <c:v>85631</c:v>
                </c:pt>
                <c:pt idx="10148">
                  <c:v>97230</c:v>
                </c:pt>
                <c:pt idx="10149">
                  <c:v>61502</c:v>
                </c:pt>
                <c:pt idx="10150">
                  <c:v>42298</c:v>
                </c:pt>
                <c:pt idx="10151">
                  <c:v>145759</c:v>
                </c:pt>
                <c:pt idx="10152">
                  <c:v>41105</c:v>
                </c:pt>
                <c:pt idx="10153">
                  <c:v>41546</c:v>
                </c:pt>
                <c:pt idx="10154">
                  <c:v>74302</c:v>
                </c:pt>
                <c:pt idx="10155">
                  <c:v>52264</c:v>
                </c:pt>
                <c:pt idx="10156">
                  <c:v>44981</c:v>
                </c:pt>
                <c:pt idx="10157">
                  <c:v>82023</c:v>
                </c:pt>
                <c:pt idx="10158">
                  <c:v>214387</c:v>
                </c:pt>
                <c:pt idx="10159">
                  <c:v>36163</c:v>
                </c:pt>
                <c:pt idx="10160">
                  <c:v>111033</c:v>
                </c:pt>
                <c:pt idx="10161">
                  <c:v>23132</c:v>
                </c:pt>
                <c:pt idx="10162">
                  <c:v>27343</c:v>
                </c:pt>
                <c:pt idx="10163">
                  <c:v>62939</c:v>
                </c:pt>
                <c:pt idx="10164">
                  <c:v>29369</c:v>
                </c:pt>
                <c:pt idx="10165">
                  <c:v>33132</c:v>
                </c:pt>
                <c:pt idx="10166">
                  <c:v>25775</c:v>
                </c:pt>
                <c:pt idx="10167">
                  <c:v>36437</c:v>
                </c:pt>
                <c:pt idx="10168">
                  <c:v>25020</c:v>
                </c:pt>
                <c:pt idx="10169">
                  <c:v>33457</c:v>
                </c:pt>
                <c:pt idx="10170">
                  <c:v>150428</c:v>
                </c:pt>
                <c:pt idx="10171">
                  <c:v>268230</c:v>
                </c:pt>
                <c:pt idx="10172">
                  <c:v>35592</c:v>
                </c:pt>
                <c:pt idx="10173">
                  <c:v>36821</c:v>
                </c:pt>
                <c:pt idx="10174">
                  <c:v>39950</c:v>
                </c:pt>
                <c:pt idx="10175">
                  <c:v>48474</c:v>
                </c:pt>
                <c:pt idx="10176">
                  <c:v>88911</c:v>
                </c:pt>
                <c:pt idx="10177">
                  <c:v>59570</c:v>
                </c:pt>
                <c:pt idx="10178">
                  <c:v>48565</c:v>
                </c:pt>
                <c:pt idx="10179">
                  <c:v>32143</c:v>
                </c:pt>
                <c:pt idx="10180">
                  <c:v>22394</c:v>
                </c:pt>
                <c:pt idx="10181">
                  <c:v>52938</c:v>
                </c:pt>
                <c:pt idx="10182">
                  <c:v>35365</c:v>
                </c:pt>
                <c:pt idx="10183">
                  <c:v>45576</c:v>
                </c:pt>
                <c:pt idx="10184">
                  <c:v>47248</c:v>
                </c:pt>
                <c:pt idx="10185">
                  <c:v>38330</c:v>
                </c:pt>
                <c:pt idx="10186">
                  <c:v>243602</c:v>
                </c:pt>
                <c:pt idx="10187">
                  <c:v>25843</c:v>
                </c:pt>
                <c:pt idx="10188">
                  <c:v>137695</c:v>
                </c:pt>
                <c:pt idx="10189">
                  <c:v>274975</c:v>
                </c:pt>
                <c:pt idx="10190">
                  <c:v>37383</c:v>
                </c:pt>
                <c:pt idx="10191">
                  <c:v>151811</c:v>
                </c:pt>
                <c:pt idx="10192">
                  <c:v>40678</c:v>
                </c:pt>
                <c:pt idx="10193">
                  <c:v>130326</c:v>
                </c:pt>
                <c:pt idx="10194">
                  <c:v>41519</c:v>
                </c:pt>
                <c:pt idx="10195">
                  <c:v>47351</c:v>
                </c:pt>
                <c:pt idx="10196">
                  <c:v>98038</c:v>
                </c:pt>
                <c:pt idx="10197">
                  <c:v>306391</c:v>
                </c:pt>
                <c:pt idx="10198">
                  <c:v>50914</c:v>
                </c:pt>
                <c:pt idx="10199">
                  <c:v>33832</c:v>
                </c:pt>
                <c:pt idx="10200">
                  <c:v>142780</c:v>
                </c:pt>
                <c:pt idx="10201">
                  <c:v>34568</c:v>
                </c:pt>
                <c:pt idx="10202">
                  <c:v>84816</c:v>
                </c:pt>
                <c:pt idx="10203">
                  <c:v>44068</c:v>
                </c:pt>
                <c:pt idx="10204">
                  <c:v>34530</c:v>
                </c:pt>
                <c:pt idx="10205">
                  <c:v>38392</c:v>
                </c:pt>
                <c:pt idx="10206">
                  <c:v>78580</c:v>
                </c:pt>
                <c:pt idx="10207">
                  <c:v>173522</c:v>
                </c:pt>
                <c:pt idx="10208">
                  <c:v>87163</c:v>
                </c:pt>
                <c:pt idx="10209">
                  <c:v>74967</c:v>
                </c:pt>
                <c:pt idx="10210">
                  <c:v>25003</c:v>
                </c:pt>
                <c:pt idx="10211">
                  <c:v>28028</c:v>
                </c:pt>
                <c:pt idx="10212">
                  <c:v>43384</c:v>
                </c:pt>
                <c:pt idx="10213">
                  <c:v>47899</c:v>
                </c:pt>
                <c:pt idx="10214">
                  <c:v>42968</c:v>
                </c:pt>
                <c:pt idx="10215">
                  <c:v>25244</c:v>
                </c:pt>
                <c:pt idx="10216">
                  <c:v>78620</c:v>
                </c:pt>
                <c:pt idx="10217">
                  <c:v>41783</c:v>
                </c:pt>
                <c:pt idx="10218">
                  <c:v>56198</c:v>
                </c:pt>
                <c:pt idx="10219">
                  <c:v>27452</c:v>
                </c:pt>
                <c:pt idx="10220">
                  <c:v>43859</c:v>
                </c:pt>
                <c:pt idx="10221">
                  <c:v>30644</c:v>
                </c:pt>
                <c:pt idx="10222">
                  <c:v>66140</c:v>
                </c:pt>
                <c:pt idx="10223">
                  <c:v>43951</c:v>
                </c:pt>
                <c:pt idx="10224">
                  <c:v>134444</c:v>
                </c:pt>
                <c:pt idx="10225">
                  <c:v>30626</c:v>
                </c:pt>
                <c:pt idx="10226">
                  <c:v>325204</c:v>
                </c:pt>
                <c:pt idx="10227">
                  <c:v>23659</c:v>
                </c:pt>
                <c:pt idx="10228">
                  <c:v>31832</c:v>
                </c:pt>
                <c:pt idx="10229">
                  <c:v>41076</c:v>
                </c:pt>
                <c:pt idx="10230">
                  <c:v>33760</c:v>
                </c:pt>
                <c:pt idx="10231">
                  <c:v>33350</c:v>
                </c:pt>
                <c:pt idx="10232">
                  <c:v>198406</c:v>
                </c:pt>
                <c:pt idx="10233">
                  <c:v>92470</c:v>
                </c:pt>
                <c:pt idx="10234">
                  <c:v>40226</c:v>
                </c:pt>
                <c:pt idx="10235">
                  <c:v>45772</c:v>
                </c:pt>
                <c:pt idx="10236">
                  <c:v>53015</c:v>
                </c:pt>
                <c:pt idx="10237">
                  <c:v>24023</c:v>
                </c:pt>
                <c:pt idx="10238">
                  <c:v>57245</c:v>
                </c:pt>
                <c:pt idx="10239">
                  <c:v>34344</c:v>
                </c:pt>
                <c:pt idx="10240">
                  <c:v>198364</c:v>
                </c:pt>
                <c:pt idx="10241">
                  <c:v>96633</c:v>
                </c:pt>
                <c:pt idx="10242">
                  <c:v>25285</c:v>
                </c:pt>
                <c:pt idx="10243">
                  <c:v>41809</c:v>
                </c:pt>
                <c:pt idx="10244">
                  <c:v>29589</c:v>
                </c:pt>
                <c:pt idx="10245">
                  <c:v>62364</c:v>
                </c:pt>
                <c:pt idx="10246">
                  <c:v>42272</c:v>
                </c:pt>
                <c:pt idx="10247">
                  <c:v>80061</c:v>
                </c:pt>
                <c:pt idx="10248">
                  <c:v>44890</c:v>
                </c:pt>
                <c:pt idx="10249">
                  <c:v>35291</c:v>
                </c:pt>
                <c:pt idx="10250">
                  <c:v>77656</c:v>
                </c:pt>
                <c:pt idx="10251">
                  <c:v>86547</c:v>
                </c:pt>
                <c:pt idx="10252">
                  <c:v>29754</c:v>
                </c:pt>
                <c:pt idx="10253">
                  <c:v>287391</c:v>
                </c:pt>
                <c:pt idx="10254">
                  <c:v>38393</c:v>
                </c:pt>
                <c:pt idx="10255">
                  <c:v>39694</c:v>
                </c:pt>
                <c:pt idx="10256">
                  <c:v>46167</c:v>
                </c:pt>
                <c:pt idx="10257">
                  <c:v>31718</c:v>
                </c:pt>
                <c:pt idx="10258">
                  <c:v>38697</c:v>
                </c:pt>
                <c:pt idx="10259">
                  <c:v>78268</c:v>
                </c:pt>
                <c:pt idx="10260">
                  <c:v>392350</c:v>
                </c:pt>
                <c:pt idx="10261">
                  <c:v>76930</c:v>
                </c:pt>
                <c:pt idx="10262">
                  <c:v>51824</c:v>
                </c:pt>
                <c:pt idx="10263">
                  <c:v>61215</c:v>
                </c:pt>
                <c:pt idx="10264">
                  <c:v>67233</c:v>
                </c:pt>
                <c:pt idx="10265">
                  <c:v>74336</c:v>
                </c:pt>
                <c:pt idx="10266">
                  <c:v>40166</c:v>
                </c:pt>
                <c:pt idx="10267">
                  <c:v>31682</c:v>
                </c:pt>
                <c:pt idx="10268">
                  <c:v>30876</c:v>
                </c:pt>
                <c:pt idx="10269">
                  <c:v>45686</c:v>
                </c:pt>
                <c:pt idx="10270">
                  <c:v>24951</c:v>
                </c:pt>
                <c:pt idx="10271">
                  <c:v>59215</c:v>
                </c:pt>
                <c:pt idx="10272">
                  <c:v>65111</c:v>
                </c:pt>
                <c:pt idx="10273">
                  <c:v>74556</c:v>
                </c:pt>
                <c:pt idx="10274">
                  <c:v>74341</c:v>
                </c:pt>
                <c:pt idx="10275">
                  <c:v>24690</c:v>
                </c:pt>
                <c:pt idx="10276">
                  <c:v>390293</c:v>
                </c:pt>
                <c:pt idx="10277">
                  <c:v>33273</c:v>
                </c:pt>
                <c:pt idx="10278">
                  <c:v>70803</c:v>
                </c:pt>
                <c:pt idx="10279">
                  <c:v>38243</c:v>
                </c:pt>
                <c:pt idx="10280">
                  <c:v>78951</c:v>
                </c:pt>
                <c:pt idx="10281">
                  <c:v>39510</c:v>
                </c:pt>
                <c:pt idx="10282">
                  <c:v>85141</c:v>
                </c:pt>
                <c:pt idx="10283">
                  <c:v>36605</c:v>
                </c:pt>
                <c:pt idx="10284">
                  <c:v>45057</c:v>
                </c:pt>
                <c:pt idx="10285">
                  <c:v>28457</c:v>
                </c:pt>
                <c:pt idx="10286">
                  <c:v>27924</c:v>
                </c:pt>
                <c:pt idx="10287">
                  <c:v>85196</c:v>
                </c:pt>
                <c:pt idx="10288">
                  <c:v>32055</c:v>
                </c:pt>
                <c:pt idx="10289">
                  <c:v>63925</c:v>
                </c:pt>
                <c:pt idx="10290">
                  <c:v>38988</c:v>
                </c:pt>
                <c:pt idx="10291">
                  <c:v>50763</c:v>
                </c:pt>
                <c:pt idx="10292">
                  <c:v>56100</c:v>
                </c:pt>
                <c:pt idx="10293">
                  <c:v>40070</c:v>
                </c:pt>
                <c:pt idx="10294">
                  <c:v>38043</c:v>
                </c:pt>
                <c:pt idx="10295">
                  <c:v>37569</c:v>
                </c:pt>
                <c:pt idx="10296">
                  <c:v>40503</c:v>
                </c:pt>
                <c:pt idx="10297">
                  <c:v>30174</c:v>
                </c:pt>
                <c:pt idx="10298">
                  <c:v>48598</c:v>
                </c:pt>
                <c:pt idx="10299">
                  <c:v>39046</c:v>
                </c:pt>
                <c:pt idx="10300">
                  <c:v>122097</c:v>
                </c:pt>
                <c:pt idx="10301">
                  <c:v>31268</c:v>
                </c:pt>
                <c:pt idx="10302">
                  <c:v>62779</c:v>
                </c:pt>
                <c:pt idx="10303">
                  <c:v>57497</c:v>
                </c:pt>
                <c:pt idx="10304">
                  <c:v>41578</c:v>
                </c:pt>
                <c:pt idx="10305">
                  <c:v>41151</c:v>
                </c:pt>
                <c:pt idx="10306">
                  <c:v>53593</c:v>
                </c:pt>
                <c:pt idx="10307">
                  <c:v>23949</c:v>
                </c:pt>
                <c:pt idx="10308">
                  <c:v>54536</c:v>
                </c:pt>
                <c:pt idx="10309">
                  <c:v>36706</c:v>
                </c:pt>
                <c:pt idx="10310">
                  <c:v>37572</c:v>
                </c:pt>
                <c:pt idx="10311">
                  <c:v>42519</c:v>
                </c:pt>
                <c:pt idx="10312">
                  <c:v>44604</c:v>
                </c:pt>
                <c:pt idx="10313">
                  <c:v>51817</c:v>
                </c:pt>
                <c:pt idx="10314">
                  <c:v>35810</c:v>
                </c:pt>
                <c:pt idx="10315">
                  <c:v>57349</c:v>
                </c:pt>
                <c:pt idx="10316">
                  <c:v>91950</c:v>
                </c:pt>
                <c:pt idx="10317">
                  <c:v>35914</c:v>
                </c:pt>
                <c:pt idx="10318">
                  <c:v>79754</c:v>
                </c:pt>
                <c:pt idx="10319">
                  <c:v>18703</c:v>
                </c:pt>
                <c:pt idx="10320">
                  <c:v>49188</c:v>
                </c:pt>
                <c:pt idx="10321">
                  <c:v>38824</c:v>
                </c:pt>
                <c:pt idx="10322">
                  <c:v>35922</c:v>
                </c:pt>
                <c:pt idx="10323">
                  <c:v>152950</c:v>
                </c:pt>
                <c:pt idx="10324">
                  <c:v>209054</c:v>
                </c:pt>
                <c:pt idx="10325">
                  <c:v>70591</c:v>
                </c:pt>
                <c:pt idx="10326">
                  <c:v>41984</c:v>
                </c:pt>
                <c:pt idx="10327">
                  <c:v>56840</c:v>
                </c:pt>
                <c:pt idx="10328">
                  <c:v>170147</c:v>
                </c:pt>
                <c:pt idx="10329">
                  <c:v>27392</c:v>
                </c:pt>
                <c:pt idx="10330">
                  <c:v>29909</c:v>
                </c:pt>
                <c:pt idx="10331">
                  <c:v>39283</c:v>
                </c:pt>
                <c:pt idx="10332">
                  <c:v>60306</c:v>
                </c:pt>
                <c:pt idx="10333">
                  <c:v>42022</c:v>
                </c:pt>
                <c:pt idx="10334">
                  <c:v>30411</c:v>
                </c:pt>
                <c:pt idx="10335">
                  <c:v>37298</c:v>
                </c:pt>
                <c:pt idx="10336">
                  <c:v>83514</c:v>
                </c:pt>
                <c:pt idx="10337">
                  <c:v>161170</c:v>
                </c:pt>
                <c:pt idx="10338">
                  <c:v>213785</c:v>
                </c:pt>
                <c:pt idx="10339">
                  <c:v>47810</c:v>
                </c:pt>
                <c:pt idx="10340">
                  <c:v>56905</c:v>
                </c:pt>
                <c:pt idx="10341">
                  <c:v>46600</c:v>
                </c:pt>
                <c:pt idx="10342">
                  <c:v>78012</c:v>
                </c:pt>
                <c:pt idx="10343">
                  <c:v>31210</c:v>
                </c:pt>
                <c:pt idx="10344">
                  <c:v>50510</c:v>
                </c:pt>
                <c:pt idx="10345">
                  <c:v>43743</c:v>
                </c:pt>
                <c:pt idx="10346">
                  <c:v>41505</c:v>
                </c:pt>
                <c:pt idx="10347">
                  <c:v>142442</c:v>
                </c:pt>
                <c:pt idx="10348">
                  <c:v>99564</c:v>
                </c:pt>
                <c:pt idx="10349">
                  <c:v>39852</c:v>
                </c:pt>
                <c:pt idx="10350">
                  <c:v>26474</c:v>
                </c:pt>
                <c:pt idx="10351">
                  <c:v>58230</c:v>
                </c:pt>
                <c:pt idx="10352">
                  <c:v>48782</c:v>
                </c:pt>
                <c:pt idx="10353">
                  <c:v>171608</c:v>
                </c:pt>
                <c:pt idx="10354">
                  <c:v>33903</c:v>
                </c:pt>
                <c:pt idx="10355">
                  <c:v>43603</c:v>
                </c:pt>
                <c:pt idx="10356">
                  <c:v>26221</c:v>
                </c:pt>
                <c:pt idx="10357">
                  <c:v>109462</c:v>
                </c:pt>
                <c:pt idx="10358">
                  <c:v>49644</c:v>
                </c:pt>
                <c:pt idx="10359">
                  <c:v>36508</c:v>
                </c:pt>
                <c:pt idx="10360">
                  <c:v>176942</c:v>
                </c:pt>
                <c:pt idx="10361">
                  <c:v>198554</c:v>
                </c:pt>
                <c:pt idx="10362">
                  <c:v>32521</c:v>
                </c:pt>
                <c:pt idx="10363">
                  <c:v>138059</c:v>
                </c:pt>
                <c:pt idx="10364">
                  <c:v>32917</c:v>
                </c:pt>
                <c:pt idx="10365">
                  <c:v>30620</c:v>
                </c:pt>
                <c:pt idx="10366">
                  <c:v>58283</c:v>
                </c:pt>
                <c:pt idx="10367">
                  <c:v>39776</c:v>
                </c:pt>
                <c:pt idx="10368">
                  <c:v>53287</c:v>
                </c:pt>
                <c:pt idx="10369">
                  <c:v>22563</c:v>
                </c:pt>
                <c:pt idx="10370">
                  <c:v>57689</c:v>
                </c:pt>
                <c:pt idx="10371">
                  <c:v>42327</c:v>
                </c:pt>
                <c:pt idx="10372">
                  <c:v>27971</c:v>
                </c:pt>
                <c:pt idx="10373">
                  <c:v>57706</c:v>
                </c:pt>
                <c:pt idx="10374">
                  <c:v>32238</c:v>
                </c:pt>
                <c:pt idx="10375">
                  <c:v>27054</c:v>
                </c:pt>
                <c:pt idx="10376">
                  <c:v>64748</c:v>
                </c:pt>
                <c:pt idx="10377">
                  <c:v>38393</c:v>
                </c:pt>
                <c:pt idx="10378">
                  <c:v>41515</c:v>
                </c:pt>
                <c:pt idx="10379">
                  <c:v>87529</c:v>
                </c:pt>
                <c:pt idx="10380">
                  <c:v>40590</c:v>
                </c:pt>
                <c:pt idx="10381">
                  <c:v>36686</c:v>
                </c:pt>
                <c:pt idx="10382">
                  <c:v>36999</c:v>
                </c:pt>
                <c:pt idx="10383">
                  <c:v>65170</c:v>
                </c:pt>
                <c:pt idx="10384">
                  <c:v>25775</c:v>
                </c:pt>
                <c:pt idx="10385">
                  <c:v>43288</c:v>
                </c:pt>
                <c:pt idx="10386">
                  <c:v>40896</c:v>
                </c:pt>
                <c:pt idx="10387">
                  <c:v>93786</c:v>
                </c:pt>
                <c:pt idx="10388">
                  <c:v>67800</c:v>
                </c:pt>
                <c:pt idx="10389">
                  <c:v>42798</c:v>
                </c:pt>
                <c:pt idx="10390">
                  <c:v>24543</c:v>
                </c:pt>
                <c:pt idx="10391">
                  <c:v>56363</c:v>
                </c:pt>
                <c:pt idx="10392">
                  <c:v>67255</c:v>
                </c:pt>
                <c:pt idx="10393">
                  <c:v>24901</c:v>
                </c:pt>
                <c:pt idx="10394">
                  <c:v>30330</c:v>
                </c:pt>
                <c:pt idx="10395">
                  <c:v>52913</c:v>
                </c:pt>
                <c:pt idx="10396">
                  <c:v>36657</c:v>
                </c:pt>
                <c:pt idx="10397">
                  <c:v>57663</c:v>
                </c:pt>
                <c:pt idx="10398">
                  <c:v>32979</c:v>
                </c:pt>
                <c:pt idx="10399">
                  <c:v>80394</c:v>
                </c:pt>
                <c:pt idx="10400">
                  <c:v>28197</c:v>
                </c:pt>
                <c:pt idx="10401">
                  <c:v>61868</c:v>
                </c:pt>
                <c:pt idx="10402">
                  <c:v>35584</c:v>
                </c:pt>
                <c:pt idx="10403">
                  <c:v>54495</c:v>
                </c:pt>
                <c:pt idx="10404">
                  <c:v>49314</c:v>
                </c:pt>
                <c:pt idx="10405">
                  <c:v>81340</c:v>
                </c:pt>
                <c:pt idx="10406">
                  <c:v>30170</c:v>
                </c:pt>
                <c:pt idx="10407">
                  <c:v>57366</c:v>
                </c:pt>
                <c:pt idx="10408">
                  <c:v>152956</c:v>
                </c:pt>
                <c:pt idx="10409">
                  <c:v>34636</c:v>
                </c:pt>
                <c:pt idx="10410">
                  <c:v>184405</c:v>
                </c:pt>
                <c:pt idx="10411">
                  <c:v>46028</c:v>
                </c:pt>
                <c:pt idx="10412">
                  <c:v>38504</c:v>
                </c:pt>
                <c:pt idx="10413">
                  <c:v>29159</c:v>
                </c:pt>
                <c:pt idx="10414">
                  <c:v>101968</c:v>
                </c:pt>
                <c:pt idx="10415">
                  <c:v>54310</c:v>
                </c:pt>
                <c:pt idx="10416">
                  <c:v>46930</c:v>
                </c:pt>
                <c:pt idx="10417">
                  <c:v>66508</c:v>
                </c:pt>
                <c:pt idx="10418">
                  <c:v>195315</c:v>
                </c:pt>
                <c:pt idx="10419">
                  <c:v>42075</c:v>
                </c:pt>
                <c:pt idx="10420">
                  <c:v>51096</c:v>
                </c:pt>
                <c:pt idx="10421">
                  <c:v>34121</c:v>
                </c:pt>
                <c:pt idx="10422">
                  <c:v>29040</c:v>
                </c:pt>
                <c:pt idx="10423">
                  <c:v>38401</c:v>
                </c:pt>
                <c:pt idx="10424">
                  <c:v>56408</c:v>
                </c:pt>
                <c:pt idx="10425">
                  <c:v>42769</c:v>
                </c:pt>
                <c:pt idx="10426">
                  <c:v>151984</c:v>
                </c:pt>
                <c:pt idx="10427">
                  <c:v>54268</c:v>
                </c:pt>
                <c:pt idx="10428">
                  <c:v>29407</c:v>
                </c:pt>
                <c:pt idx="10429">
                  <c:v>41596</c:v>
                </c:pt>
                <c:pt idx="10430">
                  <c:v>65810</c:v>
                </c:pt>
                <c:pt idx="10431">
                  <c:v>51882</c:v>
                </c:pt>
                <c:pt idx="10432">
                  <c:v>47034</c:v>
                </c:pt>
                <c:pt idx="10433">
                  <c:v>56082</c:v>
                </c:pt>
                <c:pt idx="10434">
                  <c:v>88589</c:v>
                </c:pt>
                <c:pt idx="10435">
                  <c:v>24507</c:v>
                </c:pt>
                <c:pt idx="10436">
                  <c:v>268453</c:v>
                </c:pt>
                <c:pt idx="10437">
                  <c:v>104086</c:v>
                </c:pt>
                <c:pt idx="10438">
                  <c:v>37550</c:v>
                </c:pt>
                <c:pt idx="10439">
                  <c:v>72216</c:v>
                </c:pt>
                <c:pt idx="10440">
                  <c:v>41750</c:v>
                </c:pt>
                <c:pt idx="10441">
                  <c:v>48433</c:v>
                </c:pt>
                <c:pt idx="10442">
                  <c:v>55718</c:v>
                </c:pt>
                <c:pt idx="10443">
                  <c:v>42606</c:v>
                </c:pt>
                <c:pt idx="10444">
                  <c:v>32369</c:v>
                </c:pt>
                <c:pt idx="10445">
                  <c:v>119689</c:v>
                </c:pt>
                <c:pt idx="10446">
                  <c:v>30327</c:v>
                </c:pt>
                <c:pt idx="10447">
                  <c:v>36396</c:v>
                </c:pt>
                <c:pt idx="10448">
                  <c:v>40723</c:v>
                </c:pt>
                <c:pt idx="10449">
                  <c:v>48387</c:v>
                </c:pt>
                <c:pt idx="10450">
                  <c:v>46348</c:v>
                </c:pt>
                <c:pt idx="10451">
                  <c:v>26237</c:v>
                </c:pt>
                <c:pt idx="10452">
                  <c:v>71065</c:v>
                </c:pt>
                <c:pt idx="10453">
                  <c:v>39403</c:v>
                </c:pt>
                <c:pt idx="10454">
                  <c:v>139016</c:v>
                </c:pt>
                <c:pt idx="10455">
                  <c:v>105393</c:v>
                </c:pt>
                <c:pt idx="10456">
                  <c:v>39691</c:v>
                </c:pt>
                <c:pt idx="10457">
                  <c:v>25225</c:v>
                </c:pt>
                <c:pt idx="10458">
                  <c:v>283789</c:v>
                </c:pt>
                <c:pt idx="10459">
                  <c:v>23518</c:v>
                </c:pt>
                <c:pt idx="10460">
                  <c:v>121159</c:v>
                </c:pt>
                <c:pt idx="10461">
                  <c:v>40111</c:v>
                </c:pt>
                <c:pt idx="10462">
                  <c:v>39835</c:v>
                </c:pt>
                <c:pt idx="10463">
                  <c:v>29811</c:v>
                </c:pt>
                <c:pt idx="10464">
                  <c:v>33928</c:v>
                </c:pt>
                <c:pt idx="10465">
                  <c:v>32373</c:v>
                </c:pt>
                <c:pt idx="10466">
                  <c:v>50860</c:v>
                </c:pt>
                <c:pt idx="10467">
                  <c:v>62942</c:v>
                </c:pt>
                <c:pt idx="10468">
                  <c:v>54525</c:v>
                </c:pt>
                <c:pt idx="10469">
                  <c:v>52552</c:v>
                </c:pt>
                <c:pt idx="10470">
                  <c:v>93325</c:v>
                </c:pt>
                <c:pt idx="10471">
                  <c:v>113016</c:v>
                </c:pt>
                <c:pt idx="10472">
                  <c:v>21338</c:v>
                </c:pt>
                <c:pt idx="10473">
                  <c:v>107161</c:v>
                </c:pt>
                <c:pt idx="10474">
                  <c:v>38680</c:v>
                </c:pt>
                <c:pt idx="10475">
                  <c:v>36242</c:v>
                </c:pt>
                <c:pt idx="10476">
                  <c:v>37299</c:v>
                </c:pt>
                <c:pt idx="10477">
                  <c:v>31386</c:v>
                </c:pt>
                <c:pt idx="10478">
                  <c:v>89866</c:v>
                </c:pt>
                <c:pt idx="10479">
                  <c:v>33751</c:v>
                </c:pt>
                <c:pt idx="10480">
                  <c:v>78514</c:v>
                </c:pt>
                <c:pt idx="10481">
                  <c:v>195110</c:v>
                </c:pt>
                <c:pt idx="10482">
                  <c:v>144052</c:v>
                </c:pt>
                <c:pt idx="10483">
                  <c:v>92819</c:v>
                </c:pt>
                <c:pt idx="10484">
                  <c:v>39089</c:v>
                </c:pt>
                <c:pt idx="10485">
                  <c:v>36669</c:v>
                </c:pt>
                <c:pt idx="10486">
                  <c:v>59843</c:v>
                </c:pt>
                <c:pt idx="10487">
                  <c:v>44152</c:v>
                </c:pt>
                <c:pt idx="10488">
                  <c:v>31044</c:v>
                </c:pt>
                <c:pt idx="10489">
                  <c:v>36073</c:v>
                </c:pt>
                <c:pt idx="10490">
                  <c:v>26542</c:v>
                </c:pt>
                <c:pt idx="10491">
                  <c:v>92266</c:v>
                </c:pt>
                <c:pt idx="10492">
                  <c:v>35258</c:v>
                </c:pt>
                <c:pt idx="10493">
                  <c:v>79291</c:v>
                </c:pt>
                <c:pt idx="10494">
                  <c:v>46134</c:v>
                </c:pt>
                <c:pt idx="10495">
                  <c:v>29459</c:v>
                </c:pt>
                <c:pt idx="10496">
                  <c:v>51310</c:v>
                </c:pt>
                <c:pt idx="10497">
                  <c:v>124428</c:v>
                </c:pt>
                <c:pt idx="10498">
                  <c:v>24019</c:v>
                </c:pt>
                <c:pt idx="10499">
                  <c:v>54818</c:v>
                </c:pt>
                <c:pt idx="10500">
                  <c:v>57581</c:v>
                </c:pt>
                <c:pt idx="10501">
                  <c:v>94898</c:v>
                </c:pt>
                <c:pt idx="10502">
                  <c:v>25579</c:v>
                </c:pt>
                <c:pt idx="10503">
                  <c:v>69118</c:v>
                </c:pt>
                <c:pt idx="10504">
                  <c:v>155501</c:v>
                </c:pt>
                <c:pt idx="10505">
                  <c:v>29221</c:v>
                </c:pt>
                <c:pt idx="10506">
                  <c:v>51475</c:v>
                </c:pt>
                <c:pt idx="10507">
                  <c:v>27639</c:v>
                </c:pt>
                <c:pt idx="10508">
                  <c:v>46510</c:v>
                </c:pt>
                <c:pt idx="10509">
                  <c:v>36411</c:v>
                </c:pt>
                <c:pt idx="10510">
                  <c:v>79569</c:v>
                </c:pt>
                <c:pt idx="10511">
                  <c:v>50267</c:v>
                </c:pt>
                <c:pt idx="10512">
                  <c:v>39713</c:v>
                </c:pt>
                <c:pt idx="10513">
                  <c:v>33639</c:v>
                </c:pt>
                <c:pt idx="10514">
                  <c:v>36548</c:v>
                </c:pt>
                <c:pt idx="10515">
                  <c:v>28450</c:v>
                </c:pt>
                <c:pt idx="10516">
                  <c:v>33758</c:v>
                </c:pt>
                <c:pt idx="10517">
                  <c:v>37610</c:v>
                </c:pt>
                <c:pt idx="10518">
                  <c:v>40606</c:v>
                </c:pt>
                <c:pt idx="10519">
                  <c:v>56916</c:v>
                </c:pt>
                <c:pt idx="10520">
                  <c:v>267406</c:v>
                </c:pt>
                <c:pt idx="10521">
                  <c:v>51616</c:v>
                </c:pt>
                <c:pt idx="10522">
                  <c:v>37163</c:v>
                </c:pt>
                <c:pt idx="10523">
                  <c:v>98745</c:v>
                </c:pt>
                <c:pt idx="10524">
                  <c:v>48678</c:v>
                </c:pt>
                <c:pt idx="10525">
                  <c:v>40193</c:v>
                </c:pt>
                <c:pt idx="10526">
                  <c:v>48927</c:v>
                </c:pt>
                <c:pt idx="10527">
                  <c:v>84100</c:v>
                </c:pt>
                <c:pt idx="10528">
                  <c:v>46453</c:v>
                </c:pt>
                <c:pt idx="10529">
                  <c:v>40725</c:v>
                </c:pt>
                <c:pt idx="10530">
                  <c:v>37629</c:v>
                </c:pt>
                <c:pt idx="10531">
                  <c:v>37826</c:v>
                </c:pt>
                <c:pt idx="10532">
                  <c:v>62475</c:v>
                </c:pt>
                <c:pt idx="10533">
                  <c:v>89154</c:v>
                </c:pt>
                <c:pt idx="10534">
                  <c:v>29552</c:v>
                </c:pt>
                <c:pt idx="10535">
                  <c:v>161684</c:v>
                </c:pt>
                <c:pt idx="10536">
                  <c:v>41386</c:v>
                </c:pt>
                <c:pt idx="10537">
                  <c:v>34713</c:v>
                </c:pt>
                <c:pt idx="10538">
                  <c:v>114841</c:v>
                </c:pt>
                <c:pt idx="10539">
                  <c:v>59910</c:v>
                </c:pt>
                <c:pt idx="10540">
                  <c:v>44468</c:v>
                </c:pt>
                <c:pt idx="10541">
                  <c:v>76606</c:v>
                </c:pt>
                <c:pt idx="10542">
                  <c:v>48680</c:v>
                </c:pt>
                <c:pt idx="10543">
                  <c:v>25065</c:v>
                </c:pt>
                <c:pt idx="10544">
                  <c:v>38374</c:v>
                </c:pt>
                <c:pt idx="10545">
                  <c:v>35183</c:v>
                </c:pt>
                <c:pt idx="10546">
                  <c:v>49065</c:v>
                </c:pt>
                <c:pt idx="10547">
                  <c:v>56726</c:v>
                </c:pt>
                <c:pt idx="10548">
                  <c:v>75236</c:v>
                </c:pt>
                <c:pt idx="10549">
                  <c:v>37820</c:v>
                </c:pt>
                <c:pt idx="10550">
                  <c:v>37183</c:v>
                </c:pt>
                <c:pt idx="10551">
                  <c:v>40549</c:v>
                </c:pt>
                <c:pt idx="10552">
                  <c:v>25090</c:v>
                </c:pt>
                <c:pt idx="10553">
                  <c:v>40894</c:v>
                </c:pt>
                <c:pt idx="10554">
                  <c:v>32258</c:v>
                </c:pt>
                <c:pt idx="10555">
                  <c:v>86746</c:v>
                </c:pt>
                <c:pt idx="10556">
                  <c:v>61872</c:v>
                </c:pt>
                <c:pt idx="10557">
                  <c:v>35217</c:v>
                </c:pt>
                <c:pt idx="10558">
                  <c:v>43747</c:v>
                </c:pt>
                <c:pt idx="10559">
                  <c:v>127833</c:v>
                </c:pt>
                <c:pt idx="10560">
                  <c:v>49649</c:v>
                </c:pt>
                <c:pt idx="10561">
                  <c:v>30839</c:v>
                </c:pt>
                <c:pt idx="10562">
                  <c:v>33826</c:v>
                </c:pt>
                <c:pt idx="10563">
                  <c:v>35520</c:v>
                </c:pt>
                <c:pt idx="10564">
                  <c:v>36616</c:v>
                </c:pt>
                <c:pt idx="10565">
                  <c:v>35081</c:v>
                </c:pt>
                <c:pt idx="10566">
                  <c:v>30698</c:v>
                </c:pt>
                <c:pt idx="10567">
                  <c:v>31871</c:v>
                </c:pt>
                <c:pt idx="10568">
                  <c:v>111623</c:v>
                </c:pt>
                <c:pt idx="10569">
                  <c:v>32057</c:v>
                </c:pt>
                <c:pt idx="10570">
                  <c:v>37000</c:v>
                </c:pt>
                <c:pt idx="10571">
                  <c:v>92718</c:v>
                </c:pt>
                <c:pt idx="10572">
                  <c:v>42102</c:v>
                </c:pt>
                <c:pt idx="10573">
                  <c:v>25498</c:v>
                </c:pt>
                <c:pt idx="10574">
                  <c:v>34112</c:v>
                </c:pt>
                <c:pt idx="10575">
                  <c:v>22559</c:v>
                </c:pt>
                <c:pt idx="10576">
                  <c:v>48450</c:v>
                </c:pt>
                <c:pt idx="10577">
                  <c:v>26537</c:v>
                </c:pt>
                <c:pt idx="10578">
                  <c:v>19594</c:v>
                </c:pt>
                <c:pt idx="10579">
                  <c:v>35167</c:v>
                </c:pt>
                <c:pt idx="10580">
                  <c:v>25432</c:v>
                </c:pt>
                <c:pt idx="10581">
                  <c:v>111578</c:v>
                </c:pt>
                <c:pt idx="10582">
                  <c:v>93379</c:v>
                </c:pt>
                <c:pt idx="10583">
                  <c:v>36785</c:v>
                </c:pt>
                <c:pt idx="10584">
                  <c:v>31061</c:v>
                </c:pt>
                <c:pt idx="10585">
                  <c:v>129542</c:v>
                </c:pt>
                <c:pt idx="10586">
                  <c:v>50113</c:v>
                </c:pt>
                <c:pt idx="10587">
                  <c:v>51128</c:v>
                </c:pt>
                <c:pt idx="10588">
                  <c:v>24013</c:v>
                </c:pt>
                <c:pt idx="10589">
                  <c:v>25066</c:v>
                </c:pt>
                <c:pt idx="10590">
                  <c:v>149676</c:v>
                </c:pt>
                <c:pt idx="10591">
                  <c:v>96922</c:v>
                </c:pt>
                <c:pt idx="10592">
                  <c:v>37563</c:v>
                </c:pt>
                <c:pt idx="10593">
                  <c:v>39958</c:v>
                </c:pt>
                <c:pt idx="10594">
                  <c:v>57077</c:v>
                </c:pt>
                <c:pt idx="10595">
                  <c:v>77196</c:v>
                </c:pt>
                <c:pt idx="10596">
                  <c:v>170258</c:v>
                </c:pt>
                <c:pt idx="10597">
                  <c:v>27666</c:v>
                </c:pt>
                <c:pt idx="10598">
                  <c:v>28476</c:v>
                </c:pt>
                <c:pt idx="10599">
                  <c:v>53243</c:v>
                </c:pt>
                <c:pt idx="10600">
                  <c:v>25443</c:v>
                </c:pt>
                <c:pt idx="10601">
                  <c:v>36625</c:v>
                </c:pt>
                <c:pt idx="10602">
                  <c:v>40632</c:v>
                </c:pt>
                <c:pt idx="10603">
                  <c:v>39538</c:v>
                </c:pt>
                <c:pt idx="10604">
                  <c:v>107260</c:v>
                </c:pt>
                <c:pt idx="10605">
                  <c:v>130782</c:v>
                </c:pt>
                <c:pt idx="10606">
                  <c:v>40787</c:v>
                </c:pt>
                <c:pt idx="10607">
                  <c:v>187342</c:v>
                </c:pt>
                <c:pt idx="10608">
                  <c:v>37469</c:v>
                </c:pt>
                <c:pt idx="10609">
                  <c:v>65333</c:v>
                </c:pt>
                <c:pt idx="10610">
                  <c:v>56811</c:v>
                </c:pt>
                <c:pt idx="10611">
                  <c:v>402036</c:v>
                </c:pt>
                <c:pt idx="10612">
                  <c:v>43582</c:v>
                </c:pt>
                <c:pt idx="10613">
                  <c:v>27652</c:v>
                </c:pt>
                <c:pt idx="10614">
                  <c:v>126119</c:v>
                </c:pt>
                <c:pt idx="10615">
                  <c:v>36925</c:v>
                </c:pt>
                <c:pt idx="10616">
                  <c:v>39892</c:v>
                </c:pt>
                <c:pt idx="10617">
                  <c:v>50219</c:v>
                </c:pt>
                <c:pt idx="10618">
                  <c:v>28989</c:v>
                </c:pt>
                <c:pt idx="10619">
                  <c:v>29671</c:v>
                </c:pt>
                <c:pt idx="10620">
                  <c:v>113919</c:v>
                </c:pt>
                <c:pt idx="10621">
                  <c:v>33941</c:v>
                </c:pt>
                <c:pt idx="10622">
                  <c:v>26621</c:v>
                </c:pt>
                <c:pt idx="10623">
                  <c:v>38306</c:v>
                </c:pt>
                <c:pt idx="10624">
                  <c:v>30852</c:v>
                </c:pt>
                <c:pt idx="10625">
                  <c:v>38923</c:v>
                </c:pt>
                <c:pt idx="10626">
                  <c:v>58226</c:v>
                </c:pt>
                <c:pt idx="10627">
                  <c:v>96785</c:v>
                </c:pt>
                <c:pt idx="10628">
                  <c:v>143929</c:v>
                </c:pt>
                <c:pt idx="10629">
                  <c:v>26198</c:v>
                </c:pt>
                <c:pt idx="10630">
                  <c:v>243098</c:v>
                </c:pt>
                <c:pt idx="10631">
                  <c:v>95189</c:v>
                </c:pt>
                <c:pt idx="10632">
                  <c:v>44814</c:v>
                </c:pt>
                <c:pt idx="10633">
                  <c:v>25236</c:v>
                </c:pt>
                <c:pt idx="10634">
                  <c:v>52010</c:v>
                </c:pt>
                <c:pt idx="10635">
                  <c:v>27126</c:v>
                </c:pt>
                <c:pt idx="10636">
                  <c:v>43217</c:v>
                </c:pt>
                <c:pt idx="10637">
                  <c:v>22691</c:v>
                </c:pt>
                <c:pt idx="10638">
                  <c:v>36482</c:v>
                </c:pt>
                <c:pt idx="10639">
                  <c:v>37511</c:v>
                </c:pt>
                <c:pt idx="10640">
                  <c:v>366386</c:v>
                </c:pt>
                <c:pt idx="10641">
                  <c:v>152343</c:v>
                </c:pt>
                <c:pt idx="10642">
                  <c:v>65901</c:v>
                </c:pt>
                <c:pt idx="10643">
                  <c:v>176623</c:v>
                </c:pt>
                <c:pt idx="10644">
                  <c:v>41851</c:v>
                </c:pt>
                <c:pt idx="10645">
                  <c:v>36292</c:v>
                </c:pt>
                <c:pt idx="10646">
                  <c:v>170037</c:v>
                </c:pt>
                <c:pt idx="10647">
                  <c:v>39217</c:v>
                </c:pt>
                <c:pt idx="10648">
                  <c:v>55037</c:v>
                </c:pt>
                <c:pt idx="10649">
                  <c:v>25103</c:v>
                </c:pt>
                <c:pt idx="10650">
                  <c:v>42272</c:v>
                </c:pt>
                <c:pt idx="10651">
                  <c:v>194397</c:v>
                </c:pt>
                <c:pt idx="10652">
                  <c:v>151147</c:v>
                </c:pt>
                <c:pt idx="10653">
                  <c:v>84974</c:v>
                </c:pt>
                <c:pt idx="10654">
                  <c:v>73187</c:v>
                </c:pt>
                <c:pt idx="10655">
                  <c:v>38946</c:v>
                </c:pt>
                <c:pt idx="10656">
                  <c:v>81235</c:v>
                </c:pt>
                <c:pt idx="10657">
                  <c:v>30392</c:v>
                </c:pt>
                <c:pt idx="10658">
                  <c:v>40989</c:v>
                </c:pt>
                <c:pt idx="10659">
                  <c:v>36265</c:v>
                </c:pt>
                <c:pt idx="10660">
                  <c:v>21502</c:v>
                </c:pt>
                <c:pt idx="10661">
                  <c:v>39290</c:v>
                </c:pt>
                <c:pt idx="10662">
                  <c:v>62554</c:v>
                </c:pt>
                <c:pt idx="10663">
                  <c:v>51112</c:v>
                </c:pt>
                <c:pt idx="10664">
                  <c:v>24576</c:v>
                </c:pt>
                <c:pt idx="10665">
                  <c:v>68494</c:v>
                </c:pt>
                <c:pt idx="10666">
                  <c:v>63457</c:v>
                </c:pt>
                <c:pt idx="10667">
                  <c:v>186675</c:v>
                </c:pt>
                <c:pt idx="10668">
                  <c:v>35148</c:v>
                </c:pt>
                <c:pt idx="10669">
                  <c:v>41464</c:v>
                </c:pt>
                <c:pt idx="10670">
                  <c:v>26131</c:v>
                </c:pt>
                <c:pt idx="10671">
                  <c:v>31855</c:v>
                </c:pt>
                <c:pt idx="10672">
                  <c:v>25209</c:v>
                </c:pt>
                <c:pt idx="10673">
                  <c:v>48666</c:v>
                </c:pt>
                <c:pt idx="10674">
                  <c:v>42146</c:v>
                </c:pt>
                <c:pt idx="10675">
                  <c:v>41315</c:v>
                </c:pt>
                <c:pt idx="10676">
                  <c:v>39455</c:v>
                </c:pt>
                <c:pt idx="10677">
                  <c:v>42724</c:v>
                </c:pt>
                <c:pt idx="10678">
                  <c:v>30974</c:v>
                </c:pt>
                <c:pt idx="10679">
                  <c:v>37023</c:v>
                </c:pt>
                <c:pt idx="10680">
                  <c:v>94175</c:v>
                </c:pt>
                <c:pt idx="10681">
                  <c:v>46543</c:v>
                </c:pt>
                <c:pt idx="10682">
                  <c:v>33716</c:v>
                </c:pt>
                <c:pt idx="10683">
                  <c:v>41854</c:v>
                </c:pt>
                <c:pt idx="10684">
                  <c:v>103947</c:v>
                </c:pt>
                <c:pt idx="10685">
                  <c:v>43409</c:v>
                </c:pt>
                <c:pt idx="10686">
                  <c:v>32556</c:v>
                </c:pt>
                <c:pt idx="10687">
                  <c:v>50420</c:v>
                </c:pt>
                <c:pt idx="10688">
                  <c:v>24748</c:v>
                </c:pt>
                <c:pt idx="10689">
                  <c:v>32058</c:v>
                </c:pt>
                <c:pt idx="10690">
                  <c:v>151615</c:v>
                </c:pt>
                <c:pt idx="10691">
                  <c:v>26886</c:v>
                </c:pt>
                <c:pt idx="10692">
                  <c:v>39418</c:v>
                </c:pt>
                <c:pt idx="10693">
                  <c:v>37898</c:v>
                </c:pt>
                <c:pt idx="10694">
                  <c:v>67804</c:v>
                </c:pt>
                <c:pt idx="10695">
                  <c:v>32884</c:v>
                </c:pt>
                <c:pt idx="10696">
                  <c:v>241656</c:v>
                </c:pt>
                <c:pt idx="10697">
                  <c:v>31962</c:v>
                </c:pt>
                <c:pt idx="10698">
                  <c:v>69556</c:v>
                </c:pt>
                <c:pt idx="10699">
                  <c:v>69232</c:v>
                </c:pt>
                <c:pt idx="10700">
                  <c:v>36780</c:v>
                </c:pt>
                <c:pt idx="10701">
                  <c:v>64275</c:v>
                </c:pt>
                <c:pt idx="10702">
                  <c:v>22378</c:v>
                </c:pt>
                <c:pt idx="10703">
                  <c:v>118199</c:v>
                </c:pt>
                <c:pt idx="10704">
                  <c:v>41848</c:v>
                </c:pt>
                <c:pt idx="10705">
                  <c:v>23679</c:v>
                </c:pt>
                <c:pt idx="10706">
                  <c:v>53259</c:v>
                </c:pt>
                <c:pt idx="10707">
                  <c:v>132231</c:v>
                </c:pt>
                <c:pt idx="10708">
                  <c:v>26457</c:v>
                </c:pt>
                <c:pt idx="10709">
                  <c:v>52022</c:v>
                </c:pt>
                <c:pt idx="10710">
                  <c:v>32582</c:v>
                </c:pt>
                <c:pt idx="10711">
                  <c:v>33981</c:v>
                </c:pt>
                <c:pt idx="10712">
                  <c:v>46577</c:v>
                </c:pt>
                <c:pt idx="10713">
                  <c:v>73596</c:v>
                </c:pt>
                <c:pt idx="10714">
                  <c:v>38044</c:v>
                </c:pt>
                <c:pt idx="10715">
                  <c:v>37022</c:v>
                </c:pt>
                <c:pt idx="10716">
                  <c:v>48894</c:v>
                </c:pt>
                <c:pt idx="10717">
                  <c:v>39612</c:v>
                </c:pt>
                <c:pt idx="10718">
                  <c:v>21238</c:v>
                </c:pt>
                <c:pt idx="10719">
                  <c:v>33337</c:v>
                </c:pt>
                <c:pt idx="10720">
                  <c:v>50747</c:v>
                </c:pt>
                <c:pt idx="10721">
                  <c:v>88367</c:v>
                </c:pt>
                <c:pt idx="10722">
                  <c:v>51922</c:v>
                </c:pt>
                <c:pt idx="10723">
                  <c:v>50665</c:v>
                </c:pt>
                <c:pt idx="10724">
                  <c:v>46408</c:v>
                </c:pt>
                <c:pt idx="10725">
                  <c:v>55927</c:v>
                </c:pt>
                <c:pt idx="10726">
                  <c:v>187602</c:v>
                </c:pt>
                <c:pt idx="10727">
                  <c:v>112373</c:v>
                </c:pt>
                <c:pt idx="10728">
                  <c:v>44015</c:v>
                </c:pt>
                <c:pt idx="10729">
                  <c:v>34849</c:v>
                </c:pt>
                <c:pt idx="10730">
                  <c:v>28921</c:v>
                </c:pt>
                <c:pt idx="10731">
                  <c:v>32524</c:v>
                </c:pt>
                <c:pt idx="10732">
                  <c:v>63990</c:v>
                </c:pt>
                <c:pt idx="10733">
                  <c:v>54243</c:v>
                </c:pt>
                <c:pt idx="10734">
                  <c:v>46690</c:v>
                </c:pt>
                <c:pt idx="10735">
                  <c:v>72596</c:v>
                </c:pt>
                <c:pt idx="10736">
                  <c:v>39450</c:v>
                </c:pt>
                <c:pt idx="10737">
                  <c:v>32426</c:v>
                </c:pt>
                <c:pt idx="10738">
                  <c:v>29367</c:v>
                </c:pt>
                <c:pt idx="10739">
                  <c:v>51071</c:v>
                </c:pt>
                <c:pt idx="10740">
                  <c:v>81443</c:v>
                </c:pt>
                <c:pt idx="10741">
                  <c:v>21338</c:v>
                </c:pt>
                <c:pt idx="10742">
                  <c:v>92142</c:v>
                </c:pt>
                <c:pt idx="10743">
                  <c:v>32478</c:v>
                </c:pt>
                <c:pt idx="10744">
                  <c:v>37163</c:v>
                </c:pt>
                <c:pt idx="10745">
                  <c:v>42162</c:v>
                </c:pt>
                <c:pt idx="10746">
                  <c:v>45152</c:v>
                </c:pt>
                <c:pt idx="10747">
                  <c:v>94284</c:v>
                </c:pt>
                <c:pt idx="10748">
                  <c:v>24144</c:v>
                </c:pt>
                <c:pt idx="10749">
                  <c:v>26228</c:v>
                </c:pt>
                <c:pt idx="10750">
                  <c:v>28221</c:v>
                </c:pt>
                <c:pt idx="10751">
                  <c:v>43144</c:v>
                </c:pt>
                <c:pt idx="10752">
                  <c:v>46041</c:v>
                </c:pt>
                <c:pt idx="10753">
                  <c:v>42943</c:v>
                </c:pt>
                <c:pt idx="10754">
                  <c:v>57870</c:v>
                </c:pt>
                <c:pt idx="10755">
                  <c:v>48181</c:v>
                </c:pt>
                <c:pt idx="10756">
                  <c:v>393949</c:v>
                </c:pt>
                <c:pt idx="10757">
                  <c:v>171914</c:v>
                </c:pt>
                <c:pt idx="10758">
                  <c:v>42495</c:v>
                </c:pt>
                <c:pt idx="10759">
                  <c:v>54799</c:v>
                </c:pt>
                <c:pt idx="10760">
                  <c:v>54614</c:v>
                </c:pt>
                <c:pt idx="10761">
                  <c:v>40839</c:v>
                </c:pt>
                <c:pt idx="10762">
                  <c:v>42534</c:v>
                </c:pt>
                <c:pt idx="10763">
                  <c:v>28226</c:v>
                </c:pt>
                <c:pt idx="10764">
                  <c:v>30241</c:v>
                </c:pt>
                <c:pt idx="10765">
                  <c:v>98133</c:v>
                </c:pt>
                <c:pt idx="10766">
                  <c:v>71732</c:v>
                </c:pt>
                <c:pt idx="10767">
                  <c:v>128520</c:v>
                </c:pt>
                <c:pt idx="10768">
                  <c:v>33633</c:v>
                </c:pt>
                <c:pt idx="10769">
                  <c:v>24588</c:v>
                </c:pt>
                <c:pt idx="10770">
                  <c:v>48017</c:v>
                </c:pt>
                <c:pt idx="10771">
                  <c:v>106259</c:v>
                </c:pt>
                <c:pt idx="10772">
                  <c:v>36237</c:v>
                </c:pt>
                <c:pt idx="10773">
                  <c:v>53933</c:v>
                </c:pt>
                <c:pt idx="10774">
                  <c:v>34658</c:v>
                </c:pt>
                <c:pt idx="10775">
                  <c:v>76431</c:v>
                </c:pt>
                <c:pt idx="10776">
                  <c:v>264254</c:v>
                </c:pt>
                <c:pt idx="10777">
                  <c:v>48099</c:v>
                </c:pt>
                <c:pt idx="10778">
                  <c:v>41199</c:v>
                </c:pt>
                <c:pt idx="10779">
                  <c:v>28781</c:v>
                </c:pt>
                <c:pt idx="10780">
                  <c:v>76910</c:v>
                </c:pt>
                <c:pt idx="10781">
                  <c:v>104668</c:v>
                </c:pt>
                <c:pt idx="10782">
                  <c:v>30081</c:v>
                </c:pt>
                <c:pt idx="10783">
                  <c:v>42053</c:v>
                </c:pt>
                <c:pt idx="10784">
                  <c:v>28171</c:v>
                </c:pt>
                <c:pt idx="10785">
                  <c:v>27019</c:v>
                </c:pt>
                <c:pt idx="10786">
                  <c:v>45234</c:v>
                </c:pt>
                <c:pt idx="10787">
                  <c:v>66220</c:v>
                </c:pt>
                <c:pt idx="10788">
                  <c:v>69008</c:v>
                </c:pt>
                <c:pt idx="10789">
                  <c:v>68857</c:v>
                </c:pt>
                <c:pt idx="10790">
                  <c:v>47709</c:v>
                </c:pt>
                <c:pt idx="10791">
                  <c:v>34641</c:v>
                </c:pt>
                <c:pt idx="10792">
                  <c:v>31085</c:v>
                </c:pt>
                <c:pt idx="10793">
                  <c:v>36930</c:v>
                </c:pt>
                <c:pt idx="10794">
                  <c:v>26012</c:v>
                </c:pt>
                <c:pt idx="10795">
                  <c:v>85736</c:v>
                </c:pt>
                <c:pt idx="10796">
                  <c:v>40381</c:v>
                </c:pt>
                <c:pt idx="10797">
                  <c:v>68093</c:v>
                </c:pt>
                <c:pt idx="10798">
                  <c:v>91293</c:v>
                </c:pt>
                <c:pt idx="10799">
                  <c:v>86887</c:v>
                </c:pt>
                <c:pt idx="10800">
                  <c:v>76512</c:v>
                </c:pt>
                <c:pt idx="10801">
                  <c:v>27938</c:v>
                </c:pt>
                <c:pt idx="10802">
                  <c:v>29775</c:v>
                </c:pt>
                <c:pt idx="10803">
                  <c:v>35304</c:v>
                </c:pt>
                <c:pt idx="10804">
                  <c:v>38844</c:v>
                </c:pt>
                <c:pt idx="10805">
                  <c:v>96883</c:v>
                </c:pt>
                <c:pt idx="10806">
                  <c:v>83226</c:v>
                </c:pt>
                <c:pt idx="10807">
                  <c:v>82764</c:v>
                </c:pt>
                <c:pt idx="10808">
                  <c:v>32313</c:v>
                </c:pt>
                <c:pt idx="10809">
                  <c:v>47499</c:v>
                </c:pt>
                <c:pt idx="10810">
                  <c:v>82306</c:v>
                </c:pt>
                <c:pt idx="10811">
                  <c:v>59053</c:v>
                </c:pt>
                <c:pt idx="10812">
                  <c:v>27964</c:v>
                </c:pt>
                <c:pt idx="10813">
                  <c:v>25858</c:v>
                </c:pt>
                <c:pt idx="10814">
                  <c:v>53913</c:v>
                </c:pt>
                <c:pt idx="10815">
                  <c:v>38463</c:v>
                </c:pt>
                <c:pt idx="10816">
                  <c:v>31393</c:v>
                </c:pt>
                <c:pt idx="10817">
                  <c:v>47280</c:v>
                </c:pt>
                <c:pt idx="10818">
                  <c:v>25670</c:v>
                </c:pt>
                <c:pt idx="10819">
                  <c:v>72160</c:v>
                </c:pt>
                <c:pt idx="10820">
                  <c:v>46511</c:v>
                </c:pt>
                <c:pt idx="10821">
                  <c:v>25954</c:v>
                </c:pt>
                <c:pt idx="10822">
                  <c:v>147320</c:v>
                </c:pt>
                <c:pt idx="10823">
                  <c:v>36199</c:v>
                </c:pt>
                <c:pt idx="10824">
                  <c:v>41464</c:v>
                </c:pt>
                <c:pt idx="10825">
                  <c:v>29705</c:v>
                </c:pt>
                <c:pt idx="10826">
                  <c:v>101463</c:v>
                </c:pt>
                <c:pt idx="10827">
                  <c:v>33442</c:v>
                </c:pt>
                <c:pt idx="10828">
                  <c:v>35584</c:v>
                </c:pt>
                <c:pt idx="10829">
                  <c:v>49923</c:v>
                </c:pt>
                <c:pt idx="10830">
                  <c:v>27530</c:v>
                </c:pt>
                <c:pt idx="10831">
                  <c:v>36669</c:v>
                </c:pt>
                <c:pt idx="10832">
                  <c:v>63743</c:v>
                </c:pt>
                <c:pt idx="10833">
                  <c:v>35870</c:v>
                </c:pt>
                <c:pt idx="10834">
                  <c:v>32307</c:v>
                </c:pt>
                <c:pt idx="10835">
                  <c:v>64375</c:v>
                </c:pt>
                <c:pt idx="10836">
                  <c:v>41044</c:v>
                </c:pt>
                <c:pt idx="10837">
                  <c:v>53439</c:v>
                </c:pt>
                <c:pt idx="10838">
                  <c:v>85594</c:v>
                </c:pt>
                <c:pt idx="10839">
                  <c:v>32659</c:v>
                </c:pt>
                <c:pt idx="10840">
                  <c:v>49475</c:v>
                </c:pt>
                <c:pt idx="10841">
                  <c:v>25075</c:v>
                </c:pt>
                <c:pt idx="10842">
                  <c:v>36640</c:v>
                </c:pt>
                <c:pt idx="10843">
                  <c:v>15000</c:v>
                </c:pt>
                <c:pt idx="10844">
                  <c:v>35158</c:v>
                </c:pt>
                <c:pt idx="10845">
                  <c:v>160132</c:v>
                </c:pt>
                <c:pt idx="10846">
                  <c:v>94776</c:v>
                </c:pt>
                <c:pt idx="10847">
                  <c:v>33307</c:v>
                </c:pt>
                <c:pt idx="10848">
                  <c:v>200113</c:v>
                </c:pt>
                <c:pt idx="10849">
                  <c:v>37071</c:v>
                </c:pt>
                <c:pt idx="10850">
                  <c:v>26731</c:v>
                </c:pt>
                <c:pt idx="10851">
                  <c:v>31265</c:v>
                </c:pt>
                <c:pt idx="10852">
                  <c:v>79284</c:v>
                </c:pt>
                <c:pt idx="10853">
                  <c:v>25836</c:v>
                </c:pt>
                <c:pt idx="10854">
                  <c:v>138623</c:v>
                </c:pt>
                <c:pt idx="10855">
                  <c:v>59536</c:v>
                </c:pt>
                <c:pt idx="10856">
                  <c:v>30748</c:v>
                </c:pt>
                <c:pt idx="10857">
                  <c:v>53090</c:v>
                </c:pt>
                <c:pt idx="10858">
                  <c:v>20453</c:v>
                </c:pt>
                <c:pt idx="10859">
                  <c:v>298885</c:v>
                </c:pt>
                <c:pt idx="10860">
                  <c:v>38339</c:v>
                </c:pt>
                <c:pt idx="10861">
                  <c:v>56586</c:v>
                </c:pt>
                <c:pt idx="10862">
                  <c:v>34558</c:v>
                </c:pt>
                <c:pt idx="10863">
                  <c:v>36726</c:v>
                </c:pt>
                <c:pt idx="10864">
                  <c:v>58570</c:v>
                </c:pt>
                <c:pt idx="10865">
                  <c:v>34075</c:v>
                </c:pt>
                <c:pt idx="10866">
                  <c:v>45510</c:v>
                </c:pt>
                <c:pt idx="10867">
                  <c:v>33241</c:v>
                </c:pt>
                <c:pt idx="10868">
                  <c:v>63349</c:v>
                </c:pt>
                <c:pt idx="10869">
                  <c:v>73353</c:v>
                </c:pt>
                <c:pt idx="10870">
                  <c:v>33766</c:v>
                </c:pt>
                <c:pt idx="10871">
                  <c:v>49532</c:v>
                </c:pt>
                <c:pt idx="10872">
                  <c:v>151933</c:v>
                </c:pt>
                <c:pt idx="10873">
                  <c:v>94513</c:v>
                </c:pt>
                <c:pt idx="10874">
                  <c:v>33906</c:v>
                </c:pt>
                <c:pt idx="10875">
                  <c:v>154676</c:v>
                </c:pt>
                <c:pt idx="10876">
                  <c:v>48457</c:v>
                </c:pt>
                <c:pt idx="10877">
                  <c:v>41049</c:v>
                </c:pt>
                <c:pt idx="10878">
                  <c:v>49832</c:v>
                </c:pt>
                <c:pt idx="10879">
                  <c:v>32781</c:v>
                </c:pt>
                <c:pt idx="10880">
                  <c:v>34519</c:v>
                </c:pt>
                <c:pt idx="10881">
                  <c:v>26199</c:v>
                </c:pt>
                <c:pt idx="10882">
                  <c:v>31303</c:v>
                </c:pt>
                <c:pt idx="10883">
                  <c:v>49628</c:v>
                </c:pt>
                <c:pt idx="10884">
                  <c:v>46866</c:v>
                </c:pt>
                <c:pt idx="10885">
                  <c:v>33522</c:v>
                </c:pt>
                <c:pt idx="10886">
                  <c:v>49496</c:v>
                </c:pt>
                <c:pt idx="10887">
                  <c:v>139236</c:v>
                </c:pt>
                <c:pt idx="10888">
                  <c:v>102691</c:v>
                </c:pt>
                <c:pt idx="10889">
                  <c:v>38587</c:v>
                </c:pt>
                <c:pt idx="10890">
                  <c:v>39422</c:v>
                </c:pt>
                <c:pt idx="10891">
                  <c:v>39645</c:v>
                </c:pt>
                <c:pt idx="10892">
                  <c:v>69787</c:v>
                </c:pt>
                <c:pt idx="10893">
                  <c:v>41610</c:v>
                </c:pt>
                <c:pt idx="10894">
                  <c:v>32314</c:v>
                </c:pt>
                <c:pt idx="10895">
                  <c:v>47991</c:v>
                </c:pt>
                <c:pt idx="10896">
                  <c:v>45998</c:v>
                </c:pt>
                <c:pt idx="10897">
                  <c:v>40568</c:v>
                </c:pt>
                <c:pt idx="10898">
                  <c:v>97612</c:v>
                </c:pt>
                <c:pt idx="10899">
                  <c:v>69300</c:v>
                </c:pt>
                <c:pt idx="10900">
                  <c:v>28979</c:v>
                </c:pt>
                <c:pt idx="10901">
                  <c:v>58848</c:v>
                </c:pt>
                <c:pt idx="10902">
                  <c:v>23571</c:v>
                </c:pt>
                <c:pt idx="10903">
                  <c:v>33352</c:v>
                </c:pt>
                <c:pt idx="10904">
                  <c:v>76256</c:v>
                </c:pt>
                <c:pt idx="10905">
                  <c:v>58271</c:v>
                </c:pt>
                <c:pt idx="10906">
                  <c:v>36214</c:v>
                </c:pt>
                <c:pt idx="10907">
                  <c:v>115994</c:v>
                </c:pt>
                <c:pt idx="10908">
                  <c:v>315333</c:v>
                </c:pt>
                <c:pt idx="10909">
                  <c:v>31383</c:v>
                </c:pt>
                <c:pt idx="10910">
                  <c:v>40974</c:v>
                </c:pt>
                <c:pt idx="10911">
                  <c:v>25581</c:v>
                </c:pt>
                <c:pt idx="10912">
                  <c:v>59763</c:v>
                </c:pt>
                <c:pt idx="10913">
                  <c:v>36221</c:v>
                </c:pt>
                <c:pt idx="10914">
                  <c:v>47096</c:v>
                </c:pt>
                <c:pt idx="10915">
                  <c:v>29352</c:v>
                </c:pt>
                <c:pt idx="10916">
                  <c:v>37286</c:v>
                </c:pt>
                <c:pt idx="10917">
                  <c:v>73069</c:v>
                </c:pt>
                <c:pt idx="10918">
                  <c:v>39744</c:v>
                </c:pt>
                <c:pt idx="10919">
                  <c:v>27774</c:v>
                </c:pt>
                <c:pt idx="10920">
                  <c:v>53491</c:v>
                </c:pt>
                <c:pt idx="10921">
                  <c:v>23701</c:v>
                </c:pt>
                <c:pt idx="10922">
                  <c:v>33549</c:v>
                </c:pt>
                <c:pt idx="10923">
                  <c:v>86342</c:v>
                </c:pt>
                <c:pt idx="10924">
                  <c:v>75780</c:v>
                </c:pt>
                <c:pt idx="10925">
                  <c:v>105099</c:v>
                </c:pt>
                <c:pt idx="10926">
                  <c:v>250420</c:v>
                </c:pt>
                <c:pt idx="10927">
                  <c:v>27602</c:v>
                </c:pt>
                <c:pt idx="10928">
                  <c:v>37329</c:v>
                </c:pt>
                <c:pt idx="10929">
                  <c:v>48299</c:v>
                </c:pt>
                <c:pt idx="10930">
                  <c:v>22453</c:v>
                </c:pt>
                <c:pt idx="10931">
                  <c:v>45911</c:v>
                </c:pt>
                <c:pt idx="10932">
                  <c:v>160354</c:v>
                </c:pt>
                <c:pt idx="10933">
                  <c:v>73673</c:v>
                </c:pt>
                <c:pt idx="10934">
                  <c:v>53195</c:v>
                </c:pt>
                <c:pt idx="10935">
                  <c:v>64681</c:v>
                </c:pt>
                <c:pt idx="10936">
                  <c:v>54631</c:v>
                </c:pt>
                <c:pt idx="10937">
                  <c:v>188324</c:v>
                </c:pt>
                <c:pt idx="10938">
                  <c:v>33011</c:v>
                </c:pt>
                <c:pt idx="10939">
                  <c:v>130593</c:v>
                </c:pt>
                <c:pt idx="10940">
                  <c:v>44555</c:v>
                </c:pt>
                <c:pt idx="10941">
                  <c:v>34192</c:v>
                </c:pt>
                <c:pt idx="10942">
                  <c:v>81024</c:v>
                </c:pt>
                <c:pt idx="10943">
                  <c:v>40134</c:v>
                </c:pt>
                <c:pt idx="10944">
                  <c:v>52447</c:v>
                </c:pt>
                <c:pt idx="10945">
                  <c:v>44122</c:v>
                </c:pt>
                <c:pt idx="10946">
                  <c:v>22098</c:v>
                </c:pt>
                <c:pt idx="10947">
                  <c:v>48420</c:v>
                </c:pt>
                <c:pt idx="10948">
                  <c:v>68699</c:v>
                </c:pt>
                <c:pt idx="10949">
                  <c:v>31958</c:v>
                </c:pt>
                <c:pt idx="10950">
                  <c:v>28432</c:v>
                </c:pt>
                <c:pt idx="10951">
                  <c:v>145297</c:v>
                </c:pt>
                <c:pt idx="10952">
                  <c:v>39607</c:v>
                </c:pt>
                <c:pt idx="10953">
                  <c:v>42153</c:v>
                </c:pt>
                <c:pt idx="10954">
                  <c:v>97719</c:v>
                </c:pt>
                <c:pt idx="10955">
                  <c:v>41682</c:v>
                </c:pt>
                <c:pt idx="10956">
                  <c:v>23265</c:v>
                </c:pt>
                <c:pt idx="10957">
                  <c:v>208320</c:v>
                </c:pt>
                <c:pt idx="10958">
                  <c:v>31659</c:v>
                </c:pt>
                <c:pt idx="10959">
                  <c:v>47455</c:v>
                </c:pt>
                <c:pt idx="10960">
                  <c:v>82257</c:v>
                </c:pt>
                <c:pt idx="10961">
                  <c:v>39262</c:v>
                </c:pt>
                <c:pt idx="10962">
                  <c:v>50027</c:v>
                </c:pt>
                <c:pt idx="10963">
                  <c:v>29088</c:v>
                </c:pt>
                <c:pt idx="10964">
                  <c:v>281318</c:v>
                </c:pt>
                <c:pt idx="10965">
                  <c:v>34132</c:v>
                </c:pt>
                <c:pt idx="10966">
                  <c:v>92074</c:v>
                </c:pt>
                <c:pt idx="10967">
                  <c:v>38909</c:v>
                </c:pt>
                <c:pt idx="10968">
                  <c:v>27000</c:v>
                </c:pt>
                <c:pt idx="10969">
                  <c:v>144996</c:v>
                </c:pt>
                <c:pt idx="10970">
                  <c:v>70990</c:v>
                </c:pt>
                <c:pt idx="10971">
                  <c:v>57530</c:v>
                </c:pt>
                <c:pt idx="10972">
                  <c:v>62799</c:v>
                </c:pt>
                <c:pt idx="10973">
                  <c:v>45620</c:v>
                </c:pt>
                <c:pt idx="10974">
                  <c:v>34972</c:v>
                </c:pt>
                <c:pt idx="10975">
                  <c:v>164489</c:v>
                </c:pt>
                <c:pt idx="10976">
                  <c:v>44430</c:v>
                </c:pt>
                <c:pt idx="10977">
                  <c:v>31886</c:v>
                </c:pt>
                <c:pt idx="10978">
                  <c:v>35149</c:v>
                </c:pt>
                <c:pt idx="10979">
                  <c:v>33552</c:v>
                </c:pt>
                <c:pt idx="10980">
                  <c:v>52145</c:v>
                </c:pt>
                <c:pt idx="10981">
                  <c:v>83222</c:v>
                </c:pt>
                <c:pt idx="10982">
                  <c:v>52145</c:v>
                </c:pt>
                <c:pt idx="10983">
                  <c:v>54109</c:v>
                </c:pt>
                <c:pt idx="10984">
                  <c:v>58443</c:v>
                </c:pt>
                <c:pt idx="10985">
                  <c:v>38297</c:v>
                </c:pt>
                <c:pt idx="10986">
                  <c:v>36962</c:v>
                </c:pt>
                <c:pt idx="10987">
                  <c:v>51340</c:v>
                </c:pt>
                <c:pt idx="10988">
                  <c:v>30642</c:v>
                </c:pt>
                <c:pt idx="10989">
                  <c:v>36251</c:v>
                </c:pt>
                <c:pt idx="10990">
                  <c:v>36013</c:v>
                </c:pt>
                <c:pt idx="10991">
                  <c:v>69252</c:v>
                </c:pt>
                <c:pt idx="10992">
                  <c:v>34958</c:v>
                </c:pt>
                <c:pt idx="10993">
                  <c:v>39041</c:v>
                </c:pt>
                <c:pt idx="10994">
                  <c:v>35615</c:v>
                </c:pt>
                <c:pt idx="10995">
                  <c:v>27197</c:v>
                </c:pt>
                <c:pt idx="10996">
                  <c:v>63168</c:v>
                </c:pt>
                <c:pt idx="10997">
                  <c:v>69367</c:v>
                </c:pt>
                <c:pt idx="10998">
                  <c:v>109810</c:v>
                </c:pt>
                <c:pt idx="10999">
                  <c:v>67940</c:v>
                </c:pt>
                <c:pt idx="11000">
                  <c:v>57304</c:v>
                </c:pt>
                <c:pt idx="11001">
                  <c:v>39911</c:v>
                </c:pt>
                <c:pt idx="11002">
                  <c:v>42171</c:v>
                </c:pt>
                <c:pt idx="11003">
                  <c:v>95034</c:v>
                </c:pt>
                <c:pt idx="11004">
                  <c:v>74709</c:v>
                </c:pt>
                <c:pt idx="11005">
                  <c:v>32314</c:v>
                </c:pt>
                <c:pt idx="11006">
                  <c:v>80114</c:v>
                </c:pt>
                <c:pt idx="11007">
                  <c:v>29408</c:v>
                </c:pt>
                <c:pt idx="11008">
                  <c:v>29137</c:v>
                </c:pt>
                <c:pt idx="11009">
                  <c:v>31027</c:v>
                </c:pt>
                <c:pt idx="11010">
                  <c:v>45789</c:v>
                </c:pt>
                <c:pt idx="11011">
                  <c:v>32049</c:v>
                </c:pt>
                <c:pt idx="11012">
                  <c:v>28542</c:v>
                </c:pt>
                <c:pt idx="11013">
                  <c:v>71121</c:v>
                </c:pt>
                <c:pt idx="11014">
                  <c:v>34293</c:v>
                </c:pt>
                <c:pt idx="11015">
                  <c:v>31334</c:v>
                </c:pt>
                <c:pt idx="11016">
                  <c:v>30025</c:v>
                </c:pt>
                <c:pt idx="11017">
                  <c:v>31697</c:v>
                </c:pt>
                <c:pt idx="11018">
                  <c:v>22392</c:v>
                </c:pt>
                <c:pt idx="11019">
                  <c:v>59602</c:v>
                </c:pt>
                <c:pt idx="11020">
                  <c:v>48420</c:v>
                </c:pt>
                <c:pt idx="11021">
                  <c:v>46676</c:v>
                </c:pt>
                <c:pt idx="11022">
                  <c:v>67408</c:v>
                </c:pt>
                <c:pt idx="11023">
                  <c:v>55486</c:v>
                </c:pt>
                <c:pt idx="11024">
                  <c:v>30406</c:v>
                </c:pt>
                <c:pt idx="11025">
                  <c:v>33889</c:v>
                </c:pt>
                <c:pt idx="11026">
                  <c:v>159012</c:v>
                </c:pt>
                <c:pt idx="11027">
                  <c:v>86132</c:v>
                </c:pt>
                <c:pt idx="11028">
                  <c:v>50816</c:v>
                </c:pt>
                <c:pt idx="11029">
                  <c:v>131702</c:v>
                </c:pt>
                <c:pt idx="11030">
                  <c:v>70026</c:v>
                </c:pt>
                <c:pt idx="11031">
                  <c:v>44522</c:v>
                </c:pt>
                <c:pt idx="11032">
                  <c:v>55453</c:v>
                </c:pt>
                <c:pt idx="11033">
                  <c:v>77974</c:v>
                </c:pt>
                <c:pt idx="11034">
                  <c:v>39101</c:v>
                </c:pt>
                <c:pt idx="11035">
                  <c:v>38971</c:v>
                </c:pt>
                <c:pt idx="11036">
                  <c:v>27951</c:v>
                </c:pt>
                <c:pt idx="11037">
                  <c:v>26082</c:v>
                </c:pt>
                <c:pt idx="11038">
                  <c:v>39949</c:v>
                </c:pt>
                <c:pt idx="11039">
                  <c:v>22111</c:v>
                </c:pt>
                <c:pt idx="11040">
                  <c:v>31145</c:v>
                </c:pt>
                <c:pt idx="11041">
                  <c:v>56897</c:v>
                </c:pt>
                <c:pt idx="11042">
                  <c:v>30819</c:v>
                </c:pt>
                <c:pt idx="11043">
                  <c:v>43151</c:v>
                </c:pt>
                <c:pt idx="11044">
                  <c:v>47105</c:v>
                </c:pt>
                <c:pt idx="11045">
                  <c:v>106141</c:v>
                </c:pt>
                <c:pt idx="11046">
                  <c:v>52411</c:v>
                </c:pt>
                <c:pt idx="11047">
                  <c:v>125624</c:v>
                </c:pt>
                <c:pt idx="11048">
                  <c:v>24705</c:v>
                </c:pt>
                <c:pt idx="11049">
                  <c:v>32544</c:v>
                </c:pt>
                <c:pt idx="11050">
                  <c:v>88599</c:v>
                </c:pt>
                <c:pt idx="11051">
                  <c:v>56017</c:v>
                </c:pt>
                <c:pt idx="11052">
                  <c:v>30391</c:v>
                </c:pt>
                <c:pt idx="11053">
                  <c:v>45821</c:v>
                </c:pt>
                <c:pt idx="11054">
                  <c:v>36853</c:v>
                </c:pt>
                <c:pt idx="11055">
                  <c:v>40044</c:v>
                </c:pt>
                <c:pt idx="11056">
                  <c:v>75750</c:v>
                </c:pt>
                <c:pt idx="11057">
                  <c:v>52450</c:v>
                </c:pt>
                <c:pt idx="11058">
                  <c:v>49701</c:v>
                </c:pt>
                <c:pt idx="11059">
                  <c:v>84043</c:v>
                </c:pt>
                <c:pt idx="11060">
                  <c:v>43475</c:v>
                </c:pt>
                <c:pt idx="11061">
                  <c:v>47439</c:v>
                </c:pt>
                <c:pt idx="11062">
                  <c:v>105257</c:v>
                </c:pt>
                <c:pt idx="11063">
                  <c:v>73349</c:v>
                </c:pt>
                <c:pt idx="11064">
                  <c:v>71406</c:v>
                </c:pt>
                <c:pt idx="11065">
                  <c:v>217343</c:v>
                </c:pt>
                <c:pt idx="11066">
                  <c:v>79453</c:v>
                </c:pt>
                <c:pt idx="11067">
                  <c:v>31201</c:v>
                </c:pt>
                <c:pt idx="11068">
                  <c:v>53441</c:v>
                </c:pt>
                <c:pt idx="11069">
                  <c:v>30136</c:v>
                </c:pt>
                <c:pt idx="11070">
                  <c:v>36232</c:v>
                </c:pt>
                <c:pt idx="11071">
                  <c:v>47895</c:v>
                </c:pt>
                <c:pt idx="11072">
                  <c:v>230252</c:v>
                </c:pt>
                <c:pt idx="11073">
                  <c:v>41631</c:v>
                </c:pt>
                <c:pt idx="11074">
                  <c:v>51147</c:v>
                </c:pt>
                <c:pt idx="11075">
                  <c:v>29553</c:v>
                </c:pt>
                <c:pt idx="11076">
                  <c:v>97916</c:v>
                </c:pt>
                <c:pt idx="11077">
                  <c:v>29001</c:v>
                </c:pt>
                <c:pt idx="11078">
                  <c:v>85223</c:v>
                </c:pt>
                <c:pt idx="11079">
                  <c:v>27399</c:v>
                </c:pt>
                <c:pt idx="11080">
                  <c:v>48367</c:v>
                </c:pt>
                <c:pt idx="11081">
                  <c:v>71230</c:v>
                </c:pt>
                <c:pt idx="11082">
                  <c:v>35553</c:v>
                </c:pt>
                <c:pt idx="11083">
                  <c:v>86233</c:v>
                </c:pt>
                <c:pt idx="11084">
                  <c:v>33296</c:v>
                </c:pt>
                <c:pt idx="11085">
                  <c:v>37200</c:v>
                </c:pt>
                <c:pt idx="11086">
                  <c:v>140246</c:v>
                </c:pt>
                <c:pt idx="11087">
                  <c:v>49634</c:v>
                </c:pt>
                <c:pt idx="11088">
                  <c:v>190059</c:v>
                </c:pt>
                <c:pt idx="11089">
                  <c:v>37075</c:v>
                </c:pt>
                <c:pt idx="11090">
                  <c:v>28195</c:v>
                </c:pt>
                <c:pt idx="11091">
                  <c:v>316585</c:v>
                </c:pt>
                <c:pt idx="11092">
                  <c:v>34613</c:v>
                </c:pt>
                <c:pt idx="11093">
                  <c:v>114597</c:v>
                </c:pt>
                <c:pt idx="11094">
                  <c:v>67016</c:v>
                </c:pt>
                <c:pt idx="11095">
                  <c:v>30796</c:v>
                </c:pt>
                <c:pt idx="11096">
                  <c:v>26992</c:v>
                </c:pt>
                <c:pt idx="11097">
                  <c:v>39759</c:v>
                </c:pt>
                <c:pt idx="11098">
                  <c:v>52546</c:v>
                </c:pt>
                <c:pt idx="11099">
                  <c:v>62746</c:v>
                </c:pt>
                <c:pt idx="11100">
                  <c:v>150188</c:v>
                </c:pt>
                <c:pt idx="11101">
                  <c:v>42557</c:v>
                </c:pt>
                <c:pt idx="11102">
                  <c:v>36221</c:v>
                </c:pt>
                <c:pt idx="11103">
                  <c:v>61865</c:v>
                </c:pt>
                <c:pt idx="11104">
                  <c:v>38839</c:v>
                </c:pt>
                <c:pt idx="11105">
                  <c:v>42400</c:v>
                </c:pt>
                <c:pt idx="11106">
                  <c:v>46381</c:v>
                </c:pt>
                <c:pt idx="11107">
                  <c:v>26887</c:v>
                </c:pt>
                <c:pt idx="11108">
                  <c:v>107488</c:v>
                </c:pt>
                <c:pt idx="11109">
                  <c:v>30382</c:v>
                </c:pt>
                <c:pt idx="11110">
                  <c:v>69595</c:v>
                </c:pt>
                <c:pt idx="11111">
                  <c:v>35546</c:v>
                </c:pt>
                <c:pt idx="11112">
                  <c:v>57344</c:v>
                </c:pt>
                <c:pt idx="11113">
                  <c:v>48397</c:v>
                </c:pt>
                <c:pt idx="11114">
                  <c:v>120092</c:v>
                </c:pt>
                <c:pt idx="11115">
                  <c:v>42337</c:v>
                </c:pt>
                <c:pt idx="11116">
                  <c:v>38570</c:v>
                </c:pt>
                <c:pt idx="11117">
                  <c:v>134809</c:v>
                </c:pt>
                <c:pt idx="11118">
                  <c:v>80752</c:v>
                </c:pt>
                <c:pt idx="11119">
                  <c:v>42774</c:v>
                </c:pt>
                <c:pt idx="11120">
                  <c:v>29368</c:v>
                </c:pt>
                <c:pt idx="11121">
                  <c:v>48298</c:v>
                </c:pt>
                <c:pt idx="11122">
                  <c:v>179690</c:v>
                </c:pt>
                <c:pt idx="11123">
                  <c:v>34734</c:v>
                </c:pt>
                <c:pt idx="11124">
                  <c:v>69700</c:v>
                </c:pt>
                <c:pt idx="11125">
                  <c:v>86336</c:v>
                </c:pt>
                <c:pt idx="11126">
                  <c:v>37102</c:v>
                </c:pt>
                <c:pt idx="11127">
                  <c:v>84790</c:v>
                </c:pt>
                <c:pt idx="11128">
                  <c:v>51905</c:v>
                </c:pt>
                <c:pt idx="11129">
                  <c:v>111230</c:v>
                </c:pt>
                <c:pt idx="11130">
                  <c:v>37853</c:v>
                </c:pt>
                <c:pt idx="11131">
                  <c:v>27007</c:v>
                </c:pt>
                <c:pt idx="11132">
                  <c:v>23162</c:v>
                </c:pt>
                <c:pt idx="11133">
                  <c:v>27382</c:v>
                </c:pt>
                <c:pt idx="11134">
                  <c:v>78657</c:v>
                </c:pt>
                <c:pt idx="11135">
                  <c:v>126281</c:v>
                </c:pt>
                <c:pt idx="11136">
                  <c:v>60828</c:v>
                </c:pt>
                <c:pt idx="11137">
                  <c:v>57684</c:v>
                </c:pt>
                <c:pt idx="11138">
                  <c:v>135783</c:v>
                </c:pt>
                <c:pt idx="11139">
                  <c:v>73151</c:v>
                </c:pt>
                <c:pt idx="11140">
                  <c:v>39599</c:v>
                </c:pt>
                <c:pt idx="11141">
                  <c:v>144129</c:v>
                </c:pt>
                <c:pt idx="11142">
                  <c:v>38785</c:v>
                </c:pt>
                <c:pt idx="11143">
                  <c:v>137074</c:v>
                </c:pt>
                <c:pt idx="11144">
                  <c:v>89066</c:v>
                </c:pt>
                <c:pt idx="11145">
                  <c:v>60221</c:v>
                </c:pt>
                <c:pt idx="11146">
                  <c:v>37506</c:v>
                </c:pt>
                <c:pt idx="11147">
                  <c:v>44165</c:v>
                </c:pt>
                <c:pt idx="11148">
                  <c:v>60712</c:v>
                </c:pt>
                <c:pt idx="11149">
                  <c:v>25251</c:v>
                </c:pt>
                <c:pt idx="11150">
                  <c:v>45598</c:v>
                </c:pt>
                <c:pt idx="11151">
                  <c:v>39970</c:v>
                </c:pt>
                <c:pt idx="11152">
                  <c:v>118446</c:v>
                </c:pt>
                <c:pt idx="11153">
                  <c:v>68487</c:v>
                </c:pt>
                <c:pt idx="11154">
                  <c:v>23612</c:v>
                </c:pt>
                <c:pt idx="11155">
                  <c:v>21287</c:v>
                </c:pt>
                <c:pt idx="11156">
                  <c:v>282039</c:v>
                </c:pt>
                <c:pt idx="11157">
                  <c:v>46673</c:v>
                </c:pt>
                <c:pt idx="11158">
                  <c:v>54069</c:v>
                </c:pt>
                <c:pt idx="11159">
                  <c:v>129875</c:v>
                </c:pt>
                <c:pt idx="11160">
                  <c:v>165449</c:v>
                </c:pt>
                <c:pt idx="11161">
                  <c:v>84270</c:v>
                </c:pt>
                <c:pt idx="11162">
                  <c:v>29147</c:v>
                </c:pt>
                <c:pt idx="11163">
                  <c:v>71116</c:v>
                </c:pt>
                <c:pt idx="11164">
                  <c:v>294467</c:v>
                </c:pt>
                <c:pt idx="11165">
                  <c:v>68135</c:v>
                </c:pt>
                <c:pt idx="11166">
                  <c:v>36227</c:v>
                </c:pt>
                <c:pt idx="11167">
                  <c:v>59668</c:v>
                </c:pt>
                <c:pt idx="11168">
                  <c:v>29587</c:v>
                </c:pt>
                <c:pt idx="11169">
                  <c:v>41775</c:v>
                </c:pt>
                <c:pt idx="11170">
                  <c:v>48577</c:v>
                </c:pt>
                <c:pt idx="11171">
                  <c:v>34667</c:v>
                </c:pt>
                <c:pt idx="11172">
                  <c:v>31637</c:v>
                </c:pt>
                <c:pt idx="11173">
                  <c:v>22640</c:v>
                </c:pt>
                <c:pt idx="11174">
                  <c:v>46672</c:v>
                </c:pt>
                <c:pt idx="11175">
                  <c:v>125919</c:v>
                </c:pt>
                <c:pt idx="11176">
                  <c:v>24100</c:v>
                </c:pt>
                <c:pt idx="11177">
                  <c:v>126221</c:v>
                </c:pt>
                <c:pt idx="11178">
                  <c:v>38278</c:v>
                </c:pt>
                <c:pt idx="11179">
                  <c:v>34984</c:v>
                </c:pt>
                <c:pt idx="11180">
                  <c:v>67186</c:v>
                </c:pt>
                <c:pt idx="11181">
                  <c:v>28648</c:v>
                </c:pt>
                <c:pt idx="11182">
                  <c:v>42641</c:v>
                </c:pt>
                <c:pt idx="11183">
                  <c:v>27920</c:v>
                </c:pt>
                <c:pt idx="11184">
                  <c:v>27341</c:v>
                </c:pt>
                <c:pt idx="11185">
                  <c:v>22060</c:v>
                </c:pt>
                <c:pt idx="11186">
                  <c:v>165292</c:v>
                </c:pt>
                <c:pt idx="11187">
                  <c:v>60867</c:v>
                </c:pt>
                <c:pt idx="11188">
                  <c:v>41238</c:v>
                </c:pt>
                <c:pt idx="11189">
                  <c:v>65125</c:v>
                </c:pt>
                <c:pt idx="11190">
                  <c:v>65549</c:v>
                </c:pt>
                <c:pt idx="11191">
                  <c:v>26146</c:v>
                </c:pt>
                <c:pt idx="11192">
                  <c:v>33325</c:v>
                </c:pt>
                <c:pt idx="11193">
                  <c:v>58685</c:v>
                </c:pt>
                <c:pt idx="11194">
                  <c:v>32522</c:v>
                </c:pt>
                <c:pt idx="11195">
                  <c:v>22762</c:v>
                </c:pt>
                <c:pt idx="11196">
                  <c:v>111422</c:v>
                </c:pt>
                <c:pt idx="11197">
                  <c:v>54522</c:v>
                </c:pt>
                <c:pt idx="11198">
                  <c:v>45364</c:v>
                </c:pt>
                <c:pt idx="11199">
                  <c:v>47512</c:v>
                </c:pt>
                <c:pt idx="11200">
                  <c:v>22644</c:v>
                </c:pt>
                <c:pt idx="11201">
                  <c:v>56775</c:v>
                </c:pt>
                <c:pt idx="11202">
                  <c:v>35788</c:v>
                </c:pt>
                <c:pt idx="11203">
                  <c:v>49380</c:v>
                </c:pt>
                <c:pt idx="11204">
                  <c:v>59530</c:v>
                </c:pt>
                <c:pt idx="11205">
                  <c:v>61379</c:v>
                </c:pt>
                <c:pt idx="11206">
                  <c:v>31181</c:v>
                </c:pt>
                <c:pt idx="11207">
                  <c:v>23826</c:v>
                </c:pt>
                <c:pt idx="11208">
                  <c:v>145733</c:v>
                </c:pt>
                <c:pt idx="11209">
                  <c:v>36073</c:v>
                </c:pt>
                <c:pt idx="11210">
                  <c:v>88137</c:v>
                </c:pt>
                <c:pt idx="11211">
                  <c:v>48988</c:v>
                </c:pt>
                <c:pt idx="11212">
                  <c:v>32722</c:v>
                </c:pt>
                <c:pt idx="11213">
                  <c:v>45099</c:v>
                </c:pt>
                <c:pt idx="11214">
                  <c:v>102589</c:v>
                </c:pt>
                <c:pt idx="11215">
                  <c:v>120720</c:v>
                </c:pt>
                <c:pt idx="11216">
                  <c:v>38571</c:v>
                </c:pt>
                <c:pt idx="11217">
                  <c:v>34228</c:v>
                </c:pt>
                <c:pt idx="11218">
                  <c:v>65561</c:v>
                </c:pt>
                <c:pt idx="11219">
                  <c:v>32424</c:v>
                </c:pt>
                <c:pt idx="11220">
                  <c:v>206453</c:v>
                </c:pt>
                <c:pt idx="11221">
                  <c:v>93814</c:v>
                </c:pt>
                <c:pt idx="11222">
                  <c:v>28690</c:v>
                </c:pt>
                <c:pt idx="11223">
                  <c:v>83708</c:v>
                </c:pt>
                <c:pt idx="11224">
                  <c:v>57481</c:v>
                </c:pt>
                <c:pt idx="11225">
                  <c:v>159912</c:v>
                </c:pt>
                <c:pt idx="11226">
                  <c:v>34245</c:v>
                </c:pt>
                <c:pt idx="11227">
                  <c:v>141872</c:v>
                </c:pt>
                <c:pt idx="11228">
                  <c:v>58171</c:v>
                </c:pt>
                <c:pt idx="11229">
                  <c:v>130395</c:v>
                </c:pt>
                <c:pt idx="11230">
                  <c:v>68498</c:v>
                </c:pt>
                <c:pt idx="11231">
                  <c:v>47512</c:v>
                </c:pt>
                <c:pt idx="11232">
                  <c:v>87748</c:v>
                </c:pt>
                <c:pt idx="11233">
                  <c:v>160246</c:v>
                </c:pt>
                <c:pt idx="11234">
                  <c:v>59808</c:v>
                </c:pt>
                <c:pt idx="11235">
                  <c:v>33453</c:v>
                </c:pt>
                <c:pt idx="11236">
                  <c:v>63648</c:v>
                </c:pt>
                <c:pt idx="11237">
                  <c:v>171338</c:v>
                </c:pt>
                <c:pt idx="11238">
                  <c:v>44804</c:v>
                </c:pt>
                <c:pt idx="11239">
                  <c:v>97955</c:v>
                </c:pt>
                <c:pt idx="11240">
                  <c:v>83166</c:v>
                </c:pt>
                <c:pt idx="11241">
                  <c:v>33400</c:v>
                </c:pt>
                <c:pt idx="11242">
                  <c:v>32057</c:v>
                </c:pt>
                <c:pt idx="11243">
                  <c:v>35960</c:v>
                </c:pt>
                <c:pt idx="11244">
                  <c:v>33325</c:v>
                </c:pt>
                <c:pt idx="11245">
                  <c:v>150545</c:v>
                </c:pt>
                <c:pt idx="11246">
                  <c:v>26782</c:v>
                </c:pt>
                <c:pt idx="11247">
                  <c:v>60259</c:v>
                </c:pt>
                <c:pt idx="11248">
                  <c:v>169483</c:v>
                </c:pt>
                <c:pt idx="11249">
                  <c:v>38221</c:v>
                </c:pt>
                <c:pt idx="11250">
                  <c:v>39927</c:v>
                </c:pt>
                <c:pt idx="11251">
                  <c:v>76380</c:v>
                </c:pt>
                <c:pt idx="11252">
                  <c:v>33521</c:v>
                </c:pt>
                <c:pt idx="11253">
                  <c:v>44647</c:v>
                </c:pt>
                <c:pt idx="11254">
                  <c:v>109376</c:v>
                </c:pt>
                <c:pt idx="11255">
                  <c:v>145444</c:v>
                </c:pt>
                <c:pt idx="11256">
                  <c:v>80539</c:v>
                </c:pt>
                <c:pt idx="11257">
                  <c:v>25854</c:v>
                </c:pt>
                <c:pt idx="11258">
                  <c:v>26950</c:v>
                </c:pt>
                <c:pt idx="11259">
                  <c:v>41502</c:v>
                </c:pt>
                <c:pt idx="11260">
                  <c:v>38917</c:v>
                </c:pt>
                <c:pt idx="11261">
                  <c:v>212229</c:v>
                </c:pt>
                <c:pt idx="11262">
                  <c:v>37364</c:v>
                </c:pt>
                <c:pt idx="11263">
                  <c:v>63656</c:v>
                </c:pt>
                <c:pt idx="11264">
                  <c:v>42234</c:v>
                </c:pt>
                <c:pt idx="11265">
                  <c:v>42954</c:v>
                </c:pt>
                <c:pt idx="11266">
                  <c:v>38573</c:v>
                </c:pt>
                <c:pt idx="11267">
                  <c:v>32907</c:v>
                </c:pt>
                <c:pt idx="11268">
                  <c:v>41964</c:v>
                </c:pt>
                <c:pt idx="11269">
                  <c:v>32154</c:v>
                </c:pt>
                <c:pt idx="11270">
                  <c:v>269322</c:v>
                </c:pt>
                <c:pt idx="11271">
                  <c:v>119807</c:v>
                </c:pt>
                <c:pt idx="11272">
                  <c:v>47989</c:v>
                </c:pt>
                <c:pt idx="11273">
                  <c:v>47602</c:v>
                </c:pt>
                <c:pt idx="11274">
                  <c:v>30273</c:v>
                </c:pt>
                <c:pt idx="11275">
                  <c:v>29185</c:v>
                </c:pt>
                <c:pt idx="11276">
                  <c:v>37379</c:v>
                </c:pt>
                <c:pt idx="11277">
                  <c:v>53978</c:v>
                </c:pt>
                <c:pt idx="11278">
                  <c:v>46987</c:v>
                </c:pt>
                <c:pt idx="11279">
                  <c:v>34344</c:v>
                </c:pt>
                <c:pt idx="11280">
                  <c:v>84766</c:v>
                </c:pt>
                <c:pt idx="11281">
                  <c:v>41806</c:v>
                </c:pt>
                <c:pt idx="11282">
                  <c:v>23364</c:v>
                </c:pt>
                <c:pt idx="11283">
                  <c:v>32994</c:v>
                </c:pt>
                <c:pt idx="11284">
                  <c:v>59246</c:v>
                </c:pt>
                <c:pt idx="11285">
                  <c:v>50675</c:v>
                </c:pt>
                <c:pt idx="11286">
                  <c:v>37802</c:v>
                </c:pt>
                <c:pt idx="11287">
                  <c:v>44617</c:v>
                </c:pt>
                <c:pt idx="11288">
                  <c:v>33962</c:v>
                </c:pt>
                <c:pt idx="11289">
                  <c:v>39532</c:v>
                </c:pt>
                <c:pt idx="11290">
                  <c:v>39250</c:v>
                </c:pt>
                <c:pt idx="11291">
                  <c:v>22467</c:v>
                </c:pt>
                <c:pt idx="11292">
                  <c:v>24756</c:v>
                </c:pt>
                <c:pt idx="11293">
                  <c:v>41378</c:v>
                </c:pt>
                <c:pt idx="11294">
                  <c:v>39970</c:v>
                </c:pt>
                <c:pt idx="11295">
                  <c:v>23639</c:v>
                </c:pt>
                <c:pt idx="11296">
                  <c:v>81152</c:v>
                </c:pt>
                <c:pt idx="11297">
                  <c:v>59834</c:v>
                </c:pt>
                <c:pt idx="11298">
                  <c:v>90115</c:v>
                </c:pt>
                <c:pt idx="11299">
                  <c:v>85055</c:v>
                </c:pt>
                <c:pt idx="11300">
                  <c:v>26768</c:v>
                </c:pt>
                <c:pt idx="11301">
                  <c:v>29160</c:v>
                </c:pt>
                <c:pt idx="11302">
                  <c:v>52937</c:v>
                </c:pt>
                <c:pt idx="11303">
                  <c:v>32742</c:v>
                </c:pt>
                <c:pt idx="11304">
                  <c:v>44224</c:v>
                </c:pt>
                <c:pt idx="11305">
                  <c:v>29621</c:v>
                </c:pt>
                <c:pt idx="11306">
                  <c:v>221975</c:v>
                </c:pt>
                <c:pt idx="11307">
                  <c:v>50884</c:v>
                </c:pt>
                <c:pt idx="11308">
                  <c:v>37504</c:v>
                </c:pt>
                <c:pt idx="11309">
                  <c:v>29778</c:v>
                </c:pt>
                <c:pt idx="11310">
                  <c:v>34169</c:v>
                </c:pt>
                <c:pt idx="11311">
                  <c:v>66330</c:v>
                </c:pt>
                <c:pt idx="11312">
                  <c:v>97208</c:v>
                </c:pt>
                <c:pt idx="11313">
                  <c:v>104663</c:v>
                </c:pt>
                <c:pt idx="11314">
                  <c:v>42510</c:v>
                </c:pt>
                <c:pt idx="11315">
                  <c:v>33797</c:v>
                </c:pt>
                <c:pt idx="11316">
                  <c:v>35473</c:v>
                </c:pt>
                <c:pt idx="11317">
                  <c:v>45320</c:v>
                </c:pt>
                <c:pt idx="11318">
                  <c:v>54983</c:v>
                </c:pt>
                <c:pt idx="11319">
                  <c:v>23434</c:v>
                </c:pt>
                <c:pt idx="11320">
                  <c:v>30902</c:v>
                </c:pt>
                <c:pt idx="11321">
                  <c:v>83491</c:v>
                </c:pt>
                <c:pt idx="11322">
                  <c:v>27179</c:v>
                </c:pt>
                <c:pt idx="11323">
                  <c:v>66538</c:v>
                </c:pt>
                <c:pt idx="11324">
                  <c:v>118859</c:v>
                </c:pt>
                <c:pt idx="11325">
                  <c:v>77581</c:v>
                </c:pt>
                <c:pt idx="11326">
                  <c:v>126508</c:v>
                </c:pt>
                <c:pt idx="11327">
                  <c:v>23989</c:v>
                </c:pt>
                <c:pt idx="11328">
                  <c:v>25405</c:v>
                </c:pt>
                <c:pt idx="11329">
                  <c:v>24794</c:v>
                </c:pt>
                <c:pt idx="11330">
                  <c:v>26864</c:v>
                </c:pt>
                <c:pt idx="11331">
                  <c:v>56753</c:v>
                </c:pt>
                <c:pt idx="11332">
                  <c:v>45260</c:v>
                </c:pt>
                <c:pt idx="11333">
                  <c:v>87813</c:v>
                </c:pt>
                <c:pt idx="11334">
                  <c:v>76490</c:v>
                </c:pt>
                <c:pt idx="11335">
                  <c:v>105256</c:v>
                </c:pt>
                <c:pt idx="11336">
                  <c:v>70700</c:v>
                </c:pt>
                <c:pt idx="11337">
                  <c:v>35610</c:v>
                </c:pt>
                <c:pt idx="11338">
                  <c:v>67898</c:v>
                </c:pt>
                <c:pt idx="11339">
                  <c:v>85201</c:v>
                </c:pt>
                <c:pt idx="11340">
                  <c:v>35169</c:v>
                </c:pt>
                <c:pt idx="11341">
                  <c:v>63970</c:v>
                </c:pt>
                <c:pt idx="11342">
                  <c:v>65966</c:v>
                </c:pt>
                <c:pt idx="11343">
                  <c:v>30243</c:v>
                </c:pt>
                <c:pt idx="11344">
                  <c:v>78632</c:v>
                </c:pt>
                <c:pt idx="11345">
                  <c:v>38389</c:v>
                </c:pt>
                <c:pt idx="11346">
                  <c:v>43540</c:v>
                </c:pt>
                <c:pt idx="11347">
                  <c:v>129917</c:v>
                </c:pt>
                <c:pt idx="11348">
                  <c:v>47241</c:v>
                </c:pt>
                <c:pt idx="11349">
                  <c:v>41482</c:v>
                </c:pt>
                <c:pt idx="11350">
                  <c:v>32866</c:v>
                </c:pt>
                <c:pt idx="11351">
                  <c:v>52928</c:v>
                </c:pt>
                <c:pt idx="11352">
                  <c:v>38549</c:v>
                </c:pt>
                <c:pt idx="11353">
                  <c:v>24300</c:v>
                </c:pt>
                <c:pt idx="11354">
                  <c:v>72655</c:v>
                </c:pt>
                <c:pt idx="11355">
                  <c:v>105243</c:v>
                </c:pt>
                <c:pt idx="11356">
                  <c:v>61781</c:v>
                </c:pt>
                <c:pt idx="11357">
                  <c:v>64797</c:v>
                </c:pt>
                <c:pt idx="11358">
                  <c:v>175303</c:v>
                </c:pt>
                <c:pt idx="11359">
                  <c:v>54819</c:v>
                </c:pt>
                <c:pt idx="11360">
                  <c:v>96348</c:v>
                </c:pt>
                <c:pt idx="11361">
                  <c:v>30542</c:v>
                </c:pt>
                <c:pt idx="11362">
                  <c:v>58540</c:v>
                </c:pt>
                <c:pt idx="11363">
                  <c:v>84518</c:v>
                </c:pt>
                <c:pt idx="11364">
                  <c:v>230027</c:v>
                </c:pt>
                <c:pt idx="11365">
                  <c:v>47475</c:v>
                </c:pt>
                <c:pt idx="11366">
                  <c:v>48620</c:v>
                </c:pt>
                <c:pt idx="11367">
                  <c:v>56730</c:v>
                </c:pt>
                <c:pt idx="11368">
                  <c:v>48932</c:v>
                </c:pt>
                <c:pt idx="11369">
                  <c:v>67237</c:v>
                </c:pt>
                <c:pt idx="11370">
                  <c:v>34609</c:v>
                </c:pt>
                <c:pt idx="11371">
                  <c:v>137453</c:v>
                </c:pt>
                <c:pt idx="11372">
                  <c:v>125322</c:v>
                </c:pt>
                <c:pt idx="11373">
                  <c:v>81277</c:v>
                </c:pt>
                <c:pt idx="11374">
                  <c:v>23356</c:v>
                </c:pt>
                <c:pt idx="11375">
                  <c:v>63011</c:v>
                </c:pt>
                <c:pt idx="11376">
                  <c:v>73511</c:v>
                </c:pt>
                <c:pt idx="11377">
                  <c:v>51186</c:v>
                </c:pt>
                <c:pt idx="11378">
                  <c:v>65693</c:v>
                </c:pt>
                <c:pt idx="11379">
                  <c:v>90133</c:v>
                </c:pt>
                <c:pt idx="11380">
                  <c:v>51434</c:v>
                </c:pt>
                <c:pt idx="11381">
                  <c:v>31040</c:v>
                </c:pt>
                <c:pt idx="11382">
                  <c:v>41656</c:v>
                </c:pt>
                <c:pt idx="11383">
                  <c:v>36212</c:v>
                </c:pt>
                <c:pt idx="11384">
                  <c:v>38786</c:v>
                </c:pt>
                <c:pt idx="11385">
                  <c:v>51911</c:v>
                </c:pt>
                <c:pt idx="11386">
                  <c:v>141939</c:v>
                </c:pt>
                <c:pt idx="11387">
                  <c:v>106065</c:v>
                </c:pt>
                <c:pt idx="11388">
                  <c:v>101194</c:v>
                </c:pt>
                <c:pt idx="11389">
                  <c:v>44972</c:v>
                </c:pt>
                <c:pt idx="11390">
                  <c:v>30725</c:v>
                </c:pt>
                <c:pt idx="11391">
                  <c:v>315372</c:v>
                </c:pt>
                <c:pt idx="11392">
                  <c:v>71880</c:v>
                </c:pt>
                <c:pt idx="11393">
                  <c:v>124606</c:v>
                </c:pt>
                <c:pt idx="11394">
                  <c:v>28445</c:v>
                </c:pt>
                <c:pt idx="11395">
                  <c:v>34813</c:v>
                </c:pt>
                <c:pt idx="11396">
                  <c:v>28997</c:v>
                </c:pt>
                <c:pt idx="11397">
                  <c:v>32860</c:v>
                </c:pt>
                <c:pt idx="11398">
                  <c:v>28867</c:v>
                </c:pt>
                <c:pt idx="11399">
                  <c:v>28197</c:v>
                </c:pt>
                <c:pt idx="11400">
                  <c:v>41574</c:v>
                </c:pt>
                <c:pt idx="11401">
                  <c:v>38542</c:v>
                </c:pt>
                <c:pt idx="11402">
                  <c:v>33629</c:v>
                </c:pt>
                <c:pt idx="11403">
                  <c:v>35665</c:v>
                </c:pt>
                <c:pt idx="11404">
                  <c:v>49556</c:v>
                </c:pt>
                <c:pt idx="11405">
                  <c:v>58695</c:v>
                </c:pt>
                <c:pt idx="11406">
                  <c:v>51227</c:v>
                </c:pt>
                <c:pt idx="11407">
                  <c:v>35018</c:v>
                </c:pt>
                <c:pt idx="11408">
                  <c:v>29427</c:v>
                </c:pt>
                <c:pt idx="11409">
                  <c:v>122505</c:v>
                </c:pt>
                <c:pt idx="11410">
                  <c:v>39046</c:v>
                </c:pt>
                <c:pt idx="11411">
                  <c:v>26053</c:v>
                </c:pt>
                <c:pt idx="11412">
                  <c:v>111557</c:v>
                </c:pt>
                <c:pt idx="11413">
                  <c:v>41435</c:v>
                </c:pt>
                <c:pt idx="11414">
                  <c:v>39422</c:v>
                </c:pt>
                <c:pt idx="11415">
                  <c:v>42411</c:v>
                </c:pt>
                <c:pt idx="11416">
                  <c:v>132031</c:v>
                </c:pt>
                <c:pt idx="11417">
                  <c:v>42787</c:v>
                </c:pt>
                <c:pt idx="11418">
                  <c:v>61719</c:v>
                </c:pt>
                <c:pt idx="11419">
                  <c:v>35219</c:v>
                </c:pt>
                <c:pt idx="11420">
                  <c:v>56457</c:v>
                </c:pt>
                <c:pt idx="11421">
                  <c:v>45875</c:v>
                </c:pt>
                <c:pt idx="11422">
                  <c:v>47415</c:v>
                </c:pt>
                <c:pt idx="11423">
                  <c:v>60894</c:v>
                </c:pt>
                <c:pt idx="11424">
                  <c:v>50744</c:v>
                </c:pt>
                <c:pt idx="11425">
                  <c:v>139135</c:v>
                </c:pt>
                <c:pt idx="11426">
                  <c:v>100226</c:v>
                </c:pt>
                <c:pt idx="11427">
                  <c:v>27866</c:v>
                </c:pt>
                <c:pt idx="11428">
                  <c:v>46897</c:v>
                </c:pt>
                <c:pt idx="11429">
                  <c:v>353692</c:v>
                </c:pt>
                <c:pt idx="11430">
                  <c:v>27840</c:v>
                </c:pt>
                <c:pt idx="11431">
                  <c:v>22544</c:v>
                </c:pt>
                <c:pt idx="11432">
                  <c:v>179724</c:v>
                </c:pt>
                <c:pt idx="11433">
                  <c:v>69534</c:v>
                </c:pt>
                <c:pt idx="11434">
                  <c:v>37465</c:v>
                </c:pt>
                <c:pt idx="11435">
                  <c:v>90959</c:v>
                </c:pt>
                <c:pt idx="11436">
                  <c:v>52910</c:v>
                </c:pt>
                <c:pt idx="11437">
                  <c:v>28000</c:v>
                </c:pt>
                <c:pt idx="11438">
                  <c:v>59446</c:v>
                </c:pt>
                <c:pt idx="11439">
                  <c:v>61170</c:v>
                </c:pt>
                <c:pt idx="11440">
                  <c:v>23811</c:v>
                </c:pt>
                <c:pt idx="11441">
                  <c:v>53597</c:v>
                </c:pt>
                <c:pt idx="11442">
                  <c:v>36750</c:v>
                </c:pt>
                <c:pt idx="11443">
                  <c:v>42656</c:v>
                </c:pt>
                <c:pt idx="11444">
                  <c:v>25483</c:v>
                </c:pt>
                <c:pt idx="11445">
                  <c:v>76933</c:v>
                </c:pt>
                <c:pt idx="11446">
                  <c:v>213862</c:v>
                </c:pt>
                <c:pt idx="11447">
                  <c:v>51249</c:v>
                </c:pt>
                <c:pt idx="11448">
                  <c:v>29277</c:v>
                </c:pt>
                <c:pt idx="11449">
                  <c:v>25586</c:v>
                </c:pt>
                <c:pt idx="11450">
                  <c:v>125406</c:v>
                </c:pt>
                <c:pt idx="11451">
                  <c:v>136600</c:v>
                </c:pt>
                <c:pt idx="11452">
                  <c:v>37369</c:v>
                </c:pt>
                <c:pt idx="11453">
                  <c:v>26764</c:v>
                </c:pt>
                <c:pt idx="11454">
                  <c:v>29454</c:v>
                </c:pt>
                <c:pt idx="11455">
                  <c:v>214042</c:v>
                </c:pt>
                <c:pt idx="11456">
                  <c:v>67354</c:v>
                </c:pt>
                <c:pt idx="11457">
                  <c:v>26957</c:v>
                </c:pt>
                <c:pt idx="11458">
                  <c:v>75081</c:v>
                </c:pt>
                <c:pt idx="11459">
                  <c:v>30500</c:v>
                </c:pt>
                <c:pt idx="11460">
                  <c:v>30341</c:v>
                </c:pt>
                <c:pt idx="11461">
                  <c:v>80981</c:v>
                </c:pt>
                <c:pt idx="11462">
                  <c:v>49013</c:v>
                </c:pt>
                <c:pt idx="11463">
                  <c:v>36740</c:v>
                </c:pt>
                <c:pt idx="11464">
                  <c:v>36055</c:v>
                </c:pt>
                <c:pt idx="11465">
                  <c:v>60488</c:v>
                </c:pt>
                <c:pt idx="11466">
                  <c:v>45098</c:v>
                </c:pt>
                <c:pt idx="11467">
                  <c:v>23178</c:v>
                </c:pt>
                <c:pt idx="11468">
                  <c:v>63528</c:v>
                </c:pt>
                <c:pt idx="11469">
                  <c:v>129704</c:v>
                </c:pt>
                <c:pt idx="11470">
                  <c:v>104702</c:v>
                </c:pt>
                <c:pt idx="11471">
                  <c:v>40558</c:v>
                </c:pt>
                <c:pt idx="11472">
                  <c:v>64347</c:v>
                </c:pt>
                <c:pt idx="11473">
                  <c:v>46575</c:v>
                </c:pt>
                <c:pt idx="11474">
                  <c:v>325548</c:v>
                </c:pt>
                <c:pt idx="11475">
                  <c:v>46190</c:v>
                </c:pt>
                <c:pt idx="11476">
                  <c:v>60174</c:v>
                </c:pt>
                <c:pt idx="11477">
                  <c:v>126761</c:v>
                </c:pt>
                <c:pt idx="11478">
                  <c:v>24052</c:v>
                </c:pt>
                <c:pt idx="11479">
                  <c:v>70603</c:v>
                </c:pt>
                <c:pt idx="11480">
                  <c:v>39044</c:v>
                </c:pt>
                <c:pt idx="11481">
                  <c:v>38198</c:v>
                </c:pt>
                <c:pt idx="11482">
                  <c:v>43869</c:v>
                </c:pt>
                <c:pt idx="11483">
                  <c:v>62788</c:v>
                </c:pt>
                <c:pt idx="11484">
                  <c:v>43103</c:v>
                </c:pt>
                <c:pt idx="11485">
                  <c:v>43917</c:v>
                </c:pt>
                <c:pt idx="11486">
                  <c:v>107718</c:v>
                </c:pt>
                <c:pt idx="11487">
                  <c:v>91505</c:v>
                </c:pt>
                <c:pt idx="11488">
                  <c:v>36179</c:v>
                </c:pt>
                <c:pt idx="11489">
                  <c:v>31731</c:v>
                </c:pt>
                <c:pt idx="11490">
                  <c:v>56941</c:v>
                </c:pt>
                <c:pt idx="11491">
                  <c:v>68771</c:v>
                </c:pt>
                <c:pt idx="11492">
                  <c:v>34122</c:v>
                </c:pt>
                <c:pt idx="11493">
                  <c:v>39374</c:v>
                </c:pt>
                <c:pt idx="11494">
                  <c:v>90218</c:v>
                </c:pt>
                <c:pt idx="11495">
                  <c:v>70052</c:v>
                </c:pt>
                <c:pt idx="11496">
                  <c:v>31175</c:v>
                </c:pt>
                <c:pt idx="11497">
                  <c:v>71639</c:v>
                </c:pt>
                <c:pt idx="11498">
                  <c:v>381711</c:v>
                </c:pt>
                <c:pt idx="11499">
                  <c:v>99590</c:v>
                </c:pt>
                <c:pt idx="11500">
                  <c:v>50326</c:v>
                </c:pt>
                <c:pt idx="11501">
                  <c:v>41418</c:v>
                </c:pt>
                <c:pt idx="11502">
                  <c:v>39397</c:v>
                </c:pt>
                <c:pt idx="11503">
                  <c:v>28238</c:v>
                </c:pt>
                <c:pt idx="11504">
                  <c:v>114536</c:v>
                </c:pt>
                <c:pt idx="11505">
                  <c:v>70985</c:v>
                </c:pt>
                <c:pt idx="11506">
                  <c:v>111407</c:v>
                </c:pt>
                <c:pt idx="11507">
                  <c:v>165158</c:v>
                </c:pt>
                <c:pt idx="11508">
                  <c:v>58051</c:v>
                </c:pt>
                <c:pt idx="11509">
                  <c:v>47399</c:v>
                </c:pt>
                <c:pt idx="11510">
                  <c:v>22725</c:v>
                </c:pt>
                <c:pt idx="11511">
                  <c:v>20946</c:v>
                </c:pt>
                <c:pt idx="11512">
                  <c:v>42631</c:v>
                </c:pt>
                <c:pt idx="11513">
                  <c:v>37710</c:v>
                </c:pt>
                <c:pt idx="11514">
                  <c:v>31530</c:v>
                </c:pt>
                <c:pt idx="11515">
                  <c:v>27873</c:v>
                </c:pt>
                <c:pt idx="11516">
                  <c:v>171646</c:v>
                </c:pt>
                <c:pt idx="11517">
                  <c:v>121002</c:v>
                </c:pt>
                <c:pt idx="11518">
                  <c:v>42001</c:v>
                </c:pt>
                <c:pt idx="11519">
                  <c:v>36513</c:v>
                </c:pt>
                <c:pt idx="11520">
                  <c:v>82245</c:v>
                </c:pt>
                <c:pt idx="11521">
                  <c:v>32095</c:v>
                </c:pt>
                <c:pt idx="11522">
                  <c:v>41574</c:v>
                </c:pt>
                <c:pt idx="11523">
                  <c:v>30120</c:v>
                </c:pt>
                <c:pt idx="11524">
                  <c:v>47318</c:v>
                </c:pt>
                <c:pt idx="11525">
                  <c:v>54052</c:v>
                </c:pt>
                <c:pt idx="11526">
                  <c:v>74249</c:v>
                </c:pt>
                <c:pt idx="11527">
                  <c:v>30529</c:v>
                </c:pt>
                <c:pt idx="11528">
                  <c:v>139603</c:v>
                </c:pt>
                <c:pt idx="11529">
                  <c:v>37643</c:v>
                </c:pt>
                <c:pt idx="11530">
                  <c:v>38200</c:v>
                </c:pt>
                <c:pt idx="11531">
                  <c:v>40544</c:v>
                </c:pt>
                <c:pt idx="11532">
                  <c:v>25000</c:v>
                </c:pt>
                <c:pt idx="11533">
                  <c:v>27738</c:v>
                </c:pt>
                <c:pt idx="11534">
                  <c:v>38022</c:v>
                </c:pt>
                <c:pt idx="11535">
                  <c:v>96557</c:v>
                </c:pt>
                <c:pt idx="11536">
                  <c:v>31587</c:v>
                </c:pt>
                <c:pt idx="11537">
                  <c:v>131245</c:v>
                </c:pt>
                <c:pt idx="11538">
                  <c:v>31518</c:v>
                </c:pt>
                <c:pt idx="11539">
                  <c:v>163179</c:v>
                </c:pt>
                <c:pt idx="11540">
                  <c:v>33311</c:v>
                </c:pt>
                <c:pt idx="11541">
                  <c:v>66768</c:v>
                </c:pt>
                <c:pt idx="11542">
                  <c:v>30819</c:v>
                </c:pt>
                <c:pt idx="11543">
                  <c:v>368281</c:v>
                </c:pt>
                <c:pt idx="11544">
                  <c:v>44379</c:v>
                </c:pt>
                <c:pt idx="11545">
                  <c:v>83533</c:v>
                </c:pt>
                <c:pt idx="11546">
                  <c:v>50849</c:v>
                </c:pt>
                <c:pt idx="11547">
                  <c:v>25940</c:v>
                </c:pt>
                <c:pt idx="11548">
                  <c:v>23296</c:v>
                </c:pt>
                <c:pt idx="11549">
                  <c:v>147780</c:v>
                </c:pt>
                <c:pt idx="11550">
                  <c:v>46409</c:v>
                </c:pt>
                <c:pt idx="11551">
                  <c:v>44141</c:v>
                </c:pt>
                <c:pt idx="11552">
                  <c:v>172332</c:v>
                </c:pt>
                <c:pt idx="11553">
                  <c:v>47346</c:v>
                </c:pt>
                <c:pt idx="11554">
                  <c:v>56249</c:v>
                </c:pt>
                <c:pt idx="11555">
                  <c:v>77490</c:v>
                </c:pt>
                <c:pt idx="11556">
                  <c:v>32898</c:v>
                </c:pt>
                <c:pt idx="11557">
                  <c:v>136359</c:v>
                </c:pt>
                <c:pt idx="11558">
                  <c:v>25338</c:v>
                </c:pt>
                <c:pt idx="11559">
                  <c:v>47633</c:v>
                </c:pt>
                <c:pt idx="11560">
                  <c:v>41308</c:v>
                </c:pt>
                <c:pt idx="11561">
                  <c:v>33526</c:v>
                </c:pt>
                <c:pt idx="11562">
                  <c:v>52807</c:v>
                </c:pt>
                <c:pt idx="11563">
                  <c:v>43787</c:v>
                </c:pt>
                <c:pt idx="11564">
                  <c:v>45755</c:v>
                </c:pt>
                <c:pt idx="11565">
                  <c:v>30168</c:v>
                </c:pt>
                <c:pt idx="11566">
                  <c:v>92984</c:v>
                </c:pt>
                <c:pt idx="11567">
                  <c:v>35803</c:v>
                </c:pt>
                <c:pt idx="11568">
                  <c:v>26386</c:v>
                </c:pt>
                <c:pt idx="11569">
                  <c:v>44679</c:v>
                </c:pt>
                <c:pt idx="11570">
                  <c:v>49938</c:v>
                </c:pt>
                <c:pt idx="11571">
                  <c:v>33372</c:v>
                </c:pt>
                <c:pt idx="11572">
                  <c:v>46699</c:v>
                </c:pt>
                <c:pt idx="11573">
                  <c:v>28445</c:v>
                </c:pt>
                <c:pt idx="11574">
                  <c:v>218051</c:v>
                </c:pt>
                <c:pt idx="11575">
                  <c:v>42406</c:v>
                </c:pt>
                <c:pt idx="11576">
                  <c:v>31939</c:v>
                </c:pt>
                <c:pt idx="11577">
                  <c:v>51642</c:v>
                </c:pt>
                <c:pt idx="11578">
                  <c:v>221836</c:v>
                </c:pt>
                <c:pt idx="11579">
                  <c:v>71869</c:v>
                </c:pt>
                <c:pt idx="11580">
                  <c:v>27279</c:v>
                </c:pt>
                <c:pt idx="11581">
                  <c:v>93500</c:v>
                </c:pt>
                <c:pt idx="11582">
                  <c:v>25587</c:v>
                </c:pt>
                <c:pt idx="11583">
                  <c:v>134548</c:v>
                </c:pt>
                <c:pt idx="11584">
                  <c:v>41479</c:v>
                </c:pt>
                <c:pt idx="11585">
                  <c:v>92216</c:v>
                </c:pt>
                <c:pt idx="11586">
                  <c:v>21915</c:v>
                </c:pt>
                <c:pt idx="11587">
                  <c:v>50447</c:v>
                </c:pt>
                <c:pt idx="11588">
                  <c:v>46642</c:v>
                </c:pt>
                <c:pt idx="11589">
                  <c:v>32311</c:v>
                </c:pt>
                <c:pt idx="11590">
                  <c:v>84540</c:v>
                </c:pt>
                <c:pt idx="11591">
                  <c:v>61736</c:v>
                </c:pt>
                <c:pt idx="11592">
                  <c:v>24668</c:v>
                </c:pt>
                <c:pt idx="11593">
                  <c:v>47911</c:v>
                </c:pt>
                <c:pt idx="11594">
                  <c:v>34635</c:v>
                </c:pt>
                <c:pt idx="11595">
                  <c:v>188888</c:v>
                </c:pt>
                <c:pt idx="11596">
                  <c:v>20652</c:v>
                </c:pt>
                <c:pt idx="11597">
                  <c:v>48532</c:v>
                </c:pt>
                <c:pt idx="11598">
                  <c:v>32664</c:v>
                </c:pt>
                <c:pt idx="11599">
                  <c:v>147293</c:v>
                </c:pt>
                <c:pt idx="11600">
                  <c:v>83695</c:v>
                </c:pt>
                <c:pt idx="11601">
                  <c:v>27675</c:v>
                </c:pt>
                <c:pt idx="11602">
                  <c:v>28484</c:v>
                </c:pt>
                <c:pt idx="11603">
                  <c:v>43855</c:v>
                </c:pt>
                <c:pt idx="11604">
                  <c:v>140716</c:v>
                </c:pt>
                <c:pt idx="11605">
                  <c:v>36156</c:v>
                </c:pt>
                <c:pt idx="11606">
                  <c:v>48182</c:v>
                </c:pt>
                <c:pt idx="11607">
                  <c:v>32708</c:v>
                </c:pt>
                <c:pt idx="11608">
                  <c:v>46359</c:v>
                </c:pt>
                <c:pt idx="11609">
                  <c:v>44580</c:v>
                </c:pt>
                <c:pt idx="11610">
                  <c:v>34078</c:v>
                </c:pt>
                <c:pt idx="11611">
                  <c:v>33816</c:v>
                </c:pt>
                <c:pt idx="11612">
                  <c:v>74482</c:v>
                </c:pt>
                <c:pt idx="11613">
                  <c:v>43689</c:v>
                </c:pt>
                <c:pt idx="11614">
                  <c:v>34565</c:v>
                </c:pt>
                <c:pt idx="11615">
                  <c:v>80769</c:v>
                </c:pt>
                <c:pt idx="11616">
                  <c:v>95263</c:v>
                </c:pt>
                <c:pt idx="11617">
                  <c:v>63793</c:v>
                </c:pt>
                <c:pt idx="11618">
                  <c:v>62245</c:v>
                </c:pt>
                <c:pt idx="11619">
                  <c:v>42303</c:v>
                </c:pt>
                <c:pt idx="11620">
                  <c:v>24271</c:v>
                </c:pt>
                <c:pt idx="11621">
                  <c:v>81901</c:v>
                </c:pt>
                <c:pt idx="11622">
                  <c:v>33936</c:v>
                </c:pt>
                <c:pt idx="11623">
                  <c:v>47110</c:v>
                </c:pt>
                <c:pt idx="11624">
                  <c:v>24090</c:v>
                </c:pt>
                <c:pt idx="11625">
                  <c:v>28941</c:v>
                </c:pt>
                <c:pt idx="11626">
                  <c:v>203656</c:v>
                </c:pt>
                <c:pt idx="11627">
                  <c:v>34975</c:v>
                </c:pt>
                <c:pt idx="11628">
                  <c:v>27259</c:v>
                </c:pt>
                <c:pt idx="11629">
                  <c:v>137763</c:v>
                </c:pt>
                <c:pt idx="11630">
                  <c:v>48893</c:v>
                </c:pt>
                <c:pt idx="11631">
                  <c:v>25286</c:v>
                </c:pt>
                <c:pt idx="11632">
                  <c:v>37544</c:v>
                </c:pt>
                <c:pt idx="11633">
                  <c:v>70778</c:v>
                </c:pt>
                <c:pt idx="11634">
                  <c:v>113261</c:v>
                </c:pt>
                <c:pt idx="11635">
                  <c:v>76793</c:v>
                </c:pt>
                <c:pt idx="11636">
                  <c:v>38097</c:v>
                </c:pt>
                <c:pt idx="11637">
                  <c:v>48797</c:v>
                </c:pt>
                <c:pt idx="11638">
                  <c:v>22860</c:v>
                </c:pt>
                <c:pt idx="11639">
                  <c:v>25151</c:v>
                </c:pt>
                <c:pt idx="11640">
                  <c:v>37052</c:v>
                </c:pt>
                <c:pt idx="11641">
                  <c:v>125274</c:v>
                </c:pt>
                <c:pt idx="11642">
                  <c:v>45484</c:v>
                </c:pt>
                <c:pt idx="11643">
                  <c:v>223269</c:v>
                </c:pt>
                <c:pt idx="11644">
                  <c:v>37635</c:v>
                </c:pt>
                <c:pt idx="11645">
                  <c:v>21346</c:v>
                </c:pt>
                <c:pt idx="11646">
                  <c:v>52912</c:v>
                </c:pt>
                <c:pt idx="11647">
                  <c:v>101508</c:v>
                </c:pt>
                <c:pt idx="11648">
                  <c:v>20827</c:v>
                </c:pt>
                <c:pt idx="11649">
                  <c:v>62800</c:v>
                </c:pt>
                <c:pt idx="11650">
                  <c:v>31726</c:v>
                </c:pt>
                <c:pt idx="11651">
                  <c:v>27420</c:v>
                </c:pt>
                <c:pt idx="11652">
                  <c:v>40088</c:v>
                </c:pt>
                <c:pt idx="11653">
                  <c:v>28550</c:v>
                </c:pt>
                <c:pt idx="11654">
                  <c:v>31844</c:v>
                </c:pt>
                <c:pt idx="11655">
                  <c:v>42967</c:v>
                </c:pt>
                <c:pt idx="11656">
                  <c:v>23554</c:v>
                </c:pt>
                <c:pt idx="11657">
                  <c:v>22724</c:v>
                </c:pt>
                <c:pt idx="11658">
                  <c:v>48337</c:v>
                </c:pt>
                <c:pt idx="11659">
                  <c:v>237569</c:v>
                </c:pt>
                <c:pt idx="11660">
                  <c:v>45300</c:v>
                </c:pt>
                <c:pt idx="11661">
                  <c:v>42354</c:v>
                </c:pt>
                <c:pt idx="11662">
                  <c:v>36370</c:v>
                </c:pt>
                <c:pt idx="11663">
                  <c:v>38208</c:v>
                </c:pt>
                <c:pt idx="11664">
                  <c:v>44232</c:v>
                </c:pt>
                <c:pt idx="11665">
                  <c:v>131971</c:v>
                </c:pt>
                <c:pt idx="11666">
                  <c:v>89110</c:v>
                </c:pt>
                <c:pt idx="11667">
                  <c:v>32877</c:v>
                </c:pt>
                <c:pt idx="11668">
                  <c:v>43972</c:v>
                </c:pt>
                <c:pt idx="11669">
                  <c:v>151699</c:v>
                </c:pt>
                <c:pt idx="11670">
                  <c:v>100597</c:v>
                </c:pt>
                <c:pt idx="11671">
                  <c:v>31395</c:v>
                </c:pt>
                <c:pt idx="11672">
                  <c:v>46968</c:v>
                </c:pt>
                <c:pt idx="11673">
                  <c:v>26695</c:v>
                </c:pt>
                <c:pt idx="11674">
                  <c:v>26529</c:v>
                </c:pt>
                <c:pt idx="11675">
                  <c:v>21760</c:v>
                </c:pt>
                <c:pt idx="11676">
                  <c:v>36592</c:v>
                </c:pt>
                <c:pt idx="11677">
                  <c:v>72434</c:v>
                </c:pt>
                <c:pt idx="11678">
                  <c:v>133175</c:v>
                </c:pt>
                <c:pt idx="11679">
                  <c:v>32256</c:v>
                </c:pt>
                <c:pt idx="11680">
                  <c:v>31915</c:v>
                </c:pt>
                <c:pt idx="11681">
                  <c:v>39021</c:v>
                </c:pt>
                <c:pt idx="11682">
                  <c:v>65909</c:v>
                </c:pt>
                <c:pt idx="11683">
                  <c:v>61443</c:v>
                </c:pt>
                <c:pt idx="11684">
                  <c:v>114728</c:v>
                </c:pt>
                <c:pt idx="11685">
                  <c:v>37842</c:v>
                </c:pt>
                <c:pt idx="11686">
                  <c:v>42091</c:v>
                </c:pt>
                <c:pt idx="11687">
                  <c:v>45786</c:v>
                </c:pt>
                <c:pt idx="11688">
                  <c:v>120649</c:v>
                </c:pt>
                <c:pt idx="11689">
                  <c:v>219609</c:v>
                </c:pt>
                <c:pt idx="11690">
                  <c:v>65797</c:v>
                </c:pt>
                <c:pt idx="11691">
                  <c:v>71330</c:v>
                </c:pt>
                <c:pt idx="11692">
                  <c:v>95385</c:v>
                </c:pt>
                <c:pt idx="11693">
                  <c:v>126047</c:v>
                </c:pt>
                <c:pt idx="11694">
                  <c:v>43568</c:v>
                </c:pt>
                <c:pt idx="11695">
                  <c:v>145999</c:v>
                </c:pt>
                <c:pt idx="11696">
                  <c:v>29308</c:v>
                </c:pt>
                <c:pt idx="11697">
                  <c:v>42217</c:v>
                </c:pt>
                <c:pt idx="11698">
                  <c:v>52644</c:v>
                </c:pt>
                <c:pt idx="11699">
                  <c:v>28675</c:v>
                </c:pt>
                <c:pt idx="11700">
                  <c:v>93809</c:v>
                </c:pt>
                <c:pt idx="11701">
                  <c:v>37932</c:v>
                </c:pt>
                <c:pt idx="11702">
                  <c:v>81451</c:v>
                </c:pt>
                <c:pt idx="11703">
                  <c:v>40963</c:v>
                </c:pt>
                <c:pt idx="11704">
                  <c:v>68779</c:v>
                </c:pt>
                <c:pt idx="11705">
                  <c:v>44608</c:v>
                </c:pt>
                <c:pt idx="11706">
                  <c:v>36391</c:v>
                </c:pt>
                <c:pt idx="11707">
                  <c:v>137258</c:v>
                </c:pt>
                <c:pt idx="11708">
                  <c:v>148188</c:v>
                </c:pt>
                <c:pt idx="11709">
                  <c:v>155221</c:v>
                </c:pt>
                <c:pt idx="11710">
                  <c:v>43630</c:v>
                </c:pt>
                <c:pt idx="11711">
                  <c:v>55190</c:v>
                </c:pt>
                <c:pt idx="11712">
                  <c:v>27658</c:v>
                </c:pt>
                <c:pt idx="11713">
                  <c:v>49979</c:v>
                </c:pt>
                <c:pt idx="11714">
                  <c:v>31433</c:v>
                </c:pt>
                <c:pt idx="11715">
                  <c:v>29829</c:v>
                </c:pt>
                <c:pt idx="11716">
                  <c:v>26470</c:v>
                </c:pt>
                <c:pt idx="11717">
                  <c:v>96734</c:v>
                </c:pt>
                <c:pt idx="11718">
                  <c:v>30602</c:v>
                </c:pt>
                <c:pt idx="11719">
                  <c:v>46673</c:v>
                </c:pt>
                <c:pt idx="11720">
                  <c:v>24314</c:v>
                </c:pt>
                <c:pt idx="11721">
                  <c:v>35591</c:v>
                </c:pt>
                <c:pt idx="11722">
                  <c:v>133672</c:v>
                </c:pt>
                <c:pt idx="11723">
                  <c:v>35705</c:v>
                </c:pt>
                <c:pt idx="11724">
                  <c:v>28306</c:v>
                </c:pt>
                <c:pt idx="11725">
                  <c:v>79701</c:v>
                </c:pt>
                <c:pt idx="11726">
                  <c:v>100853</c:v>
                </c:pt>
                <c:pt idx="11727">
                  <c:v>57361</c:v>
                </c:pt>
                <c:pt idx="11728">
                  <c:v>42788</c:v>
                </c:pt>
                <c:pt idx="11729">
                  <c:v>32840</c:v>
                </c:pt>
                <c:pt idx="11730">
                  <c:v>110038</c:v>
                </c:pt>
                <c:pt idx="11731">
                  <c:v>178600</c:v>
                </c:pt>
                <c:pt idx="11732">
                  <c:v>45628</c:v>
                </c:pt>
                <c:pt idx="11733">
                  <c:v>35846</c:v>
                </c:pt>
                <c:pt idx="11734">
                  <c:v>56111</c:v>
                </c:pt>
                <c:pt idx="11735">
                  <c:v>41316</c:v>
                </c:pt>
                <c:pt idx="11736">
                  <c:v>55683</c:v>
                </c:pt>
                <c:pt idx="11737">
                  <c:v>85312</c:v>
                </c:pt>
                <c:pt idx="11738">
                  <c:v>355433</c:v>
                </c:pt>
                <c:pt idx="11739">
                  <c:v>59386</c:v>
                </c:pt>
                <c:pt idx="11740">
                  <c:v>157908</c:v>
                </c:pt>
                <c:pt idx="11741">
                  <c:v>38799</c:v>
                </c:pt>
                <c:pt idx="11742">
                  <c:v>52920</c:v>
                </c:pt>
                <c:pt idx="11743">
                  <c:v>79043</c:v>
                </c:pt>
                <c:pt idx="11744">
                  <c:v>131899</c:v>
                </c:pt>
                <c:pt idx="11745">
                  <c:v>92574</c:v>
                </c:pt>
                <c:pt idx="11746">
                  <c:v>39974</c:v>
                </c:pt>
                <c:pt idx="11747">
                  <c:v>23539</c:v>
                </c:pt>
                <c:pt idx="11748">
                  <c:v>29182</c:v>
                </c:pt>
                <c:pt idx="11749">
                  <c:v>91608</c:v>
                </c:pt>
                <c:pt idx="11750">
                  <c:v>28899</c:v>
                </c:pt>
                <c:pt idx="11751">
                  <c:v>44751</c:v>
                </c:pt>
                <c:pt idx="11752">
                  <c:v>25511</c:v>
                </c:pt>
                <c:pt idx="11753">
                  <c:v>39619</c:v>
                </c:pt>
                <c:pt idx="11754">
                  <c:v>91712</c:v>
                </c:pt>
                <c:pt idx="11755">
                  <c:v>44855</c:v>
                </c:pt>
                <c:pt idx="11756">
                  <c:v>68143</c:v>
                </c:pt>
                <c:pt idx="11757">
                  <c:v>102210</c:v>
                </c:pt>
                <c:pt idx="11758">
                  <c:v>32336</c:v>
                </c:pt>
                <c:pt idx="11759">
                  <c:v>20391</c:v>
                </c:pt>
                <c:pt idx="11760">
                  <c:v>37294</c:v>
                </c:pt>
                <c:pt idx="11761">
                  <c:v>58896</c:v>
                </c:pt>
                <c:pt idx="11762">
                  <c:v>37250</c:v>
                </c:pt>
                <c:pt idx="11763">
                  <c:v>49799</c:v>
                </c:pt>
                <c:pt idx="11764">
                  <c:v>34324</c:v>
                </c:pt>
                <c:pt idx="11765">
                  <c:v>84444</c:v>
                </c:pt>
                <c:pt idx="11766">
                  <c:v>44398</c:v>
                </c:pt>
                <c:pt idx="11767">
                  <c:v>37683</c:v>
                </c:pt>
                <c:pt idx="11768">
                  <c:v>61765</c:v>
                </c:pt>
                <c:pt idx="11769">
                  <c:v>64577</c:v>
                </c:pt>
                <c:pt idx="11770">
                  <c:v>42503</c:v>
                </c:pt>
                <c:pt idx="11771">
                  <c:v>46207</c:v>
                </c:pt>
                <c:pt idx="11772">
                  <c:v>184965</c:v>
                </c:pt>
                <c:pt idx="11773">
                  <c:v>26639</c:v>
                </c:pt>
                <c:pt idx="11774">
                  <c:v>77375</c:v>
                </c:pt>
                <c:pt idx="11775">
                  <c:v>43531</c:v>
                </c:pt>
                <c:pt idx="11776">
                  <c:v>44440</c:v>
                </c:pt>
                <c:pt idx="11777">
                  <c:v>216064</c:v>
                </c:pt>
                <c:pt idx="11778">
                  <c:v>100372</c:v>
                </c:pt>
                <c:pt idx="11779">
                  <c:v>65627</c:v>
                </c:pt>
                <c:pt idx="11780">
                  <c:v>206345</c:v>
                </c:pt>
                <c:pt idx="11781">
                  <c:v>36045</c:v>
                </c:pt>
                <c:pt idx="11782">
                  <c:v>55599</c:v>
                </c:pt>
                <c:pt idx="11783">
                  <c:v>42490</c:v>
                </c:pt>
                <c:pt idx="11784">
                  <c:v>167943</c:v>
                </c:pt>
                <c:pt idx="11785">
                  <c:v>45572</c:v>
                </c:pt>
                <c:pt idx="11786">
                  <c:v>59500</c:v>
                </c:pt>
                <c:pt idx="11787">
                  <c:v>22283</c:v>
                </c:pt>
                <c:pt idx="11788">
                  <c:v>38340</c:v>
                </c:pt>
                <c:pt idx="11789">
                  <c:v>38040</c:v>
                </c:pt>
                <c:pt idx="11790">
                  <c:v>62780</c:v>
                </c:pt>
                <c:pt idx="11791">
                  <c:v>49689</c:v>
                </c:pt>
                <c:pt idx="11792">
                  <c:v>33243</c:v>
                </c:pt>
                <c:pt idx="11793">
                  <c:v>40920</c:v>
                </c:pt>
                <c:pt idx="11794">
                  <c:v>140321</c:v>
                </c:pt>
                <c:pt idx="11795">
                  <c:v>58504</c:v>
                </c:pt>
                <c:pt idx="11796">
                  <c:v>15000</c:v>
                </c:pt>
                <c:pt idx="11797">
                  <c:v>173293</c:v>
                </c:pt>
                <c:pt idx="11798">
                  <c:v>88049</c:v>
                </c:pt>
                <c:pt idx="11799">
                  <c:v>34108</c:v>
                </c:pt>
                <c:pt idx="11800">
                  <c:v>33137</c:v>
                </c:pt>
                <c:pt idx="11801">
                  <c:v>40257</c:v>
                </c:pt>
                <c:pt idx="11802">
                  <c:v>79728</c:v>
                </c:pt>
                <c:pt idx="11803">
                  <c:v>37111</c:v>
                </c:pt>
                <c:pt idx="11804">
                  <c:v>42054</c:v>
                </c:pt>
                <c:pt idx="11805">
                  <c:v>46668</c:v>
                </c:pt>
                <c:pt idx="11806">
                  <c:v>31805</c:v>
                </c:pt>
                <c:pt idx="11807">
                  <c:v>52181</c:v>
                </c:pt>
                <c:pt idx="11808">
                  <c:v>24084</c:v>
                </c:pt>
                <c:pt idx="11809">
                  <c:v>48333</c:v>
                </c:pt>
                <c:pt idx="11810">
                  <c:v>45960</c:v>
                </c:pt>
                <c:pt idx="11811">
                  <c:v>83653</c:v>
                </c:pt>
                <c:pt idx="11812">
                  <c:v>138825</c:v>
                </c:pt>
                <c:pt idx="11813">
                  <c:v>31773</c:v>
                </c:pt>
                <c:pt idx="11814">
                  <c:v>26765</c:v>
                </c:pt>
                <c:pt idx="11815">
                  <c:v>60152</c:v>
                </c:pt>
                <c:pt idx="11816">
                  <c:v>45951</c:v>
                </c:pt>
                <c:pt idx="11817">
                  <c:v>23940</c:v>
                </c:pt>
                <c:pt idx="11818">
                  <c:v>61921</c:v>
                </c:pt>
                <c:pt idx="11819">
                  <c:v>96423</c:v>
                </c:pt>
                <c:pt idx="11820">
                  <c:v>68109</c:v>
                </c:pt>
                <c:pt idx="11821">
                  <c:v>64037</c:v>
                </c:pt>
                <c:pt idx="11822">
                  <c:v>130233</c:v>
                </c:pt>
                <c:pt idx="11823">
                  <c:v>29826</c:v>
                </c:pt>
                <c:pt idx="11824">
                  <c:v>135299</c:v>
                </c:pt>
                <c:pt idx="11825">
                  <c:v>41065</c:v>
                </c:pt>
                <c:pt idx="11826">
                  <c:v>185373</c:v>
                </c:pt>
                <c:pt idx="11827">
                  <c:v>56728</c:v>
                </c:pt>
                <c:pt idx="11828">
                  <c:v>99309</c:v>
                </c:pt>
                <c:pt idx="11829">
                  <c:v>30258</c:v>
                </c:pt>
                <c:pt idx="11830">
                  <c:v>97840</c:v>
                </c:pt>
                <c:pt idx="11831">
                  <c:v>42923</c:v>
                </c:pt>
                <c:pt idx="11832">
                  <c:v>78696</c:v>
                </c:pt>
                <c:pt idx="11833">
                  <c:v>49851</c:v>
                </c:pt>
                <c:pt idx="11834">
                  <c:v>47886</c:v>
                </c:pt>
                <c:pt idx="11835">
                  <c:v>39485</c:v>
                </c:pt>
                <c:pt idx="11836">
                  <c:v>33017</c:v>
                </c:pt>
                <c:pt idx="11837">
                  <c:v>43438</c:v>
                </c:pt>
                <c:pt idx="11838">
                  <c:v>38844</c:v>
                </c:pt>
                <c:pt idx="11839">
                  <c:v>33365</c:v>
                </c:pt>
                <c:pt idx="11840">
                  <c:v>26652</c:v>
                </c:pt>
                <c:pt idx="11841">
                  <c:v>40696</c:v>
                </c:pt>
                <c:pt idx="11842">
                  <c:v>49174</c:v>
                </c:pt>
                <c:pt idx="11843">
                  <c:v>68681</c:v>
                </c:pt>
                <c:pt idx="11844">
                  <c:v>60719</c:v>
                </c:pt>
                <c:pt idx="11845">
                  <c:v>38925</c:v>
                </c:pt>
                <c:pt idx="11846">
                  <c:v>25709</c:v>
                </c:pt>
                <c:pt idx="11847">
                  <c:v>51392</c:v>
                </c:pt>
                <c:pt idx="11848">
                  <c:v>29267</c:v>
                </c:pt>
                <c:pt idx="11849">
                  <c:v>30678</c:v>
                </c:pt>
                <c:pt idx="11850">
                  <c:v>56376</c:v>
                </c:pt>
                <c:pt idx="11851">
                  <c:v>37155</c:v>
                </c:pt>
                <c:pt idx="11852">
                  <c:v>99694</c:v>
                </c:pt>
                <c:pt idx="11853">
                  <c:v>59700</c:v>
                </c:pt>
                <c:pt idx="11854">
                  <c:v>142439</c:v>
                </c:pt>
                <c:pt idx="11855">
                  <c:v>108534</c:v>
                </c:pt>
                <c:pt idx="11856">
                  <c:v>46494</c:v>
                </c:pt>
                <c:pt idx="11857">
                  <c:v>17840</c:v>
                </c:pt>
                <c:pt idx="11858">
                  <c:v>49003</c:v>
                </c:pt>
                <c:pt idx="11859">
                  <c:v>157551</c:v>
                </c:pt>
                <c:pt idx="11860">
                  <c:v>72500</c:v>
                </c:pt>
                <c:pt idx="11861">
                  <c:v>36728</c:v>
                </c:pt>
                <c:pt idx="11862">
                  <c:v>47849</c:v>
                </c:pt>
                <c:pt idx="11863">
                  <c:v>24479</c:v>
                </c:pt>
                <c:pt idx="11864">
                  <c:v>41565</c:v>
                </c:pt>
                <c:pt idx="11865">
                  <c:v>55788</c:v>
                </c:pt>
                <c:pt idx="11866">
                  <c:v>67029</c:v>
                </c:pt>
                <c:pt idx="11867">
                  <c:v>42920</c:v>
                </c:pt>
                <c:pt idx="11868">
                  <c:v>26305</c:v>
                </c:pt>
                <c:pt idx="11869">
                  <c:v>63878</c:v>
                </c:pt>
                <c:pt idx="11870">
                  <c:v>32419</c:v>
                </c:pt>
                <c:pt idx="11871">
                  <c:v>37777</c:v>
                </c:pt>
                <c:pt idx="11872">
                  <c:v>44351</c:v>
                </c:pt>
                <c:pt idx="11873">
                  <c:v>109065</c:v>
                </c:pt>
                <c:pt idx="11874">
                  <c:v>38910</c:v>
                </c:pt>
                <c:pt idx="11875">
                  <c:v>22890</c:v>
                </c:pt>
                <c:pt idx="11876">
                  <c:v>53116</c:v>
                </c:pt>
                <c:pt idx="11877">
                  <c:v>32932</c:v>
                </c:pt>
                <c:pt idx="11878">
                  <c:v>24745</c:v>
                </c:pt>
                <c:pt idx="11879">
                  <c:v>106289</c:v>
                </c:pt>
                <c:pt idx="11880">
                  <c:v>42635</c:v>
                </c:pt>
                <c:pt idx="11881">
                  <c:v>65217</c:v>
                </c:pt>
                <c:pt idx="11882">
                  <c:v>48321</c:v>
                </c:pt>
                <c:pt idx="11883">
                  <c:v>31387</c:v>
                </c:pt>
                <c:pt idx="11884">
                  <c:v>21846</c:v>
                </c:pt>
                <c:pt idx="11885">
                  <c:v>59211</c:v>
                </c:pt>
                <c:pt idx="11886">
                  <c:v>29862</c:v>
                </c:pt>
                <c:pt idx="11887">
                  <c:v>51652</c:v>
                </c:pt>
                <c:pt idx="11888">
                  <c:v>29064</c:v>
                </c:pt>
                <c:pt idx="11889">
                  <c:v>29109</c:v>
                </c:pt>
                <c:pt idx="11890">
                  <c:v>33667</c:v>
                </c:pt>
                <c:pt idx="11891">
                  <c:v>34702</c:v>
                </c:pt>
                <c:pt idx="11892">
                  <c:v>45680</c:v>
                </c:pt>
                <c:pt idx="11893">
                  <c:v>60380</c:v>
                </c:pt>
                <c:pt idx="11894">
                  <c:v>47947</c:v>
                </c:pt>
                <c:pt idx="11895">
                  <c:v>47552</c:v>
                </c:pt>
                <c:pt idx="11896">
                  <c:v>112265</c:v>
                </c:pt>
                <c:pt idx="11897">
                  <c:v>34521</c:v>
                </c:pt>
                <c:pt idx="11898">
                  <c:v>44374</c:v>
                </c:pt>
                <c:pt idx="11899">
                  <c:v>74736</c:v>
                </c:pt>
                <c:pt idx="11900">
                  <c:v>27861</c:v>
                </c:pt>
                <c:pt idx="11901">
                  <c:v>227053</c:v>
                </c:pt>
                <c:pt idx="11902">
                  <c:v>41448</c:v>
                </c:pt>
                <c:pt idx="11903">
                  <c:v>180792</c:v>
                </c:pt>
                <c:pt idx="11904">
                  <c:v>274991</c:v>
                </c:pt>
                <c:pt idx="11905">
                  <c:v>103976</c:v>
                </c:pt>
                <c:pt idx="11906">
                  <c:v>44589</c:v>
                </c:pt>
                <c:pt idx="11907">
                  <c:v>44910</c:v>
                </c:pt>
                <c:pt idx="11908">
                  <c:v>40321</c:v>
                </c:pt>
                <c:pt idx="11909">
                  <c:v>76703</c:v>
                </c:pt>
                <c:pt idx="11910">
                  <c:v>47115</c:v>
                </c:pt>
                <c:pt idx="11911">
                  <c:v>26252</c:v>
                </c:pt>
                <c:pt idx="11912">
                  <c:v>100591</c:v>
                </c:pt>
                <c:pt idx="11913">
                  <c:v>26818</c:v>
                </c:pt>
                <c:pt idx="11914">
                  <c:v>246872</c:v>
                </c:pt>
                <c:pt idx="11915">
                  <c:v>342057</c:v>
                </c:pt>
                <c:pt idx="11916">
                  <c:v>63833</c:v>
                </c:pt>
                <c:pt idx="11917">
                  <c:v>163403</c:v>
                </c:pt>
                <c:pt idx="11918">
                  <c:v>46139</c:v>
                </c:pt>
                <c:pt idx="11919">
                  <c:v>42033</c:v>
                </c:pt>
                <c:pt idx="11920">
                  <c:v>44325</c:v>
                </c:pt>
                <c:pt idx="11921">
                  <c:v>42994</c:v>
                </c:pt>
                <c:pt idx="11922">
                  <c:v>27855</c:v>
                </c:pt>
                <c:pt idx="11923">
                  <c:v>30494</c:v>
                </c:pt>
                <c:pt idx="11924">
                  <c:v>41119</c:v>
                </c:pt>
                <c:pt idx="11925">
                  <c:v>34061</c:v>
                </c:pt>
                <c:pt idx="11926">
                  <c:v>97549</c:v>
                </c:pt>
                <c:pt idx="11927">
                  <c:v>25354</c:v>
                </c:pt>
                <c:pt idx="11928">
                  <c:v>69928</c:v>
                </c:pt>
                <c:pt idx="11929">
                  <c:v>49702</c:v>
                </c:pt>
                <c:pt idx="11930">
                  <c:v>55711</c:v>
                </c:pt>
                <c:pt idx="11931">
                  <c:v>44403</c:v>
                </c:pt>
                <c:pt idx="11932">
                  <c:v>51971</c:v>
                </c:pt>
                <c:pt idx="11933">
                  <c:v>45819</c:v>
                </c:pt>
                <c:pt idx="11934">
                  <c:v>42652</c:v>
                </c:pt>
                <c:pt idx="11935">
                  <c:v>44334</c:v>
                </c:pt>
                <c:pt idx="11936">
                  <c:v>28468</c:v>
                </c:pt>
                <c:pt idx="11937">
                  <c:v>68551</c:v>
                </c:pt>
                <c:pt idx="11938">
                  <c:v>42035</c:v>
                </c:pt>
                <c:pt idx="11939">
                  <c:v>61699</c:v>
                </c:pt>
                <c:pt idx="11940">
                  <c:v>84109</c:v>
                </c:pt>
                <c:pt idx="11941">
                  <c:v>56483</c:v>
                </c:pt>
                <c:pt idx="11942">
                  <c:v>59821</c:v>
                </c:pt>
                <c:pt idx="11943">
                  <c:v>72216</c:v>
                </c:pt>
                <c:pt idx="11944">
                  <c:v>54264</c:v>
                </c:pt>
                <c:pt idx="11945">
                  <c:v>42784</c:v>
                </c:pt>
                <c:pt idx="11946">
                  <c:v>67253</c:v>
                </c:pt>
                <c:pt idx="11947">
                  <c:v>41048</c:v>
                </c:pt>
                <c:pt idx="11948">
                  <c:v>58374</c:v>
                </c:pt>
                <c:pt idx="11949">
                  <c:v>70354</c:v>
                </c:pt>
                <c:pt idx="11950">
                  <c:v>39626</c:v>
                </c:pt>
                <c:pt idx="11951">
                  <c:v>38310</c:v>
                </c:pt>
                <c:pt idx="11952">
                  <c:v>45114</c:v>
                </c:pt>
                <c:pt idx="11953">
                  <c:v>74877</c:v>
                </c:pt>
                <c:pt idx="11954">
                  <c:v>42851</c:v>
                </c:pt>
                <c:pt idx="11955">
                  <c:v>61991</c:v>
                </c:pt>
                <c:pt idx="11956">
                  <c:v>38987</c:v>
                </c:pt>
                <c:pt idx="11957">
                  <c:v>39157</c:v>
                </c:pt>
                <c:pt idx="11958">
                  <c:v>64017</c:v>
                </c:pt>
                <c:pt idx="11959">
                  <c:v>52411</c:v>
                </c:pt>
                <c:pt idx="11960">
                  <c:v>142704</c:v>
                </c:pt>
                <c:pt idx="11961">
                  <c:v>70250</c:v>
                </c:pt>
                <c:pt idx="11962">
                  <c:v>100226</c:v>
                </c:pt>
                <c:pt idx="11963">
                  <c:v>62167</c:v>
                </c:pt>
                <c:pt idx="11964">
                  <c:v>183351</c:v>
                </c:pt>
                <c:pt idx="11965">
                  <c:v>35195</c:v>
                </c:pt>
                <c:pt idx="11966">
                  <c:v>38384</c:v>
                </c:pt>
                <c:pt idx="11967">
                  <c:v>36008</c:v>
                </c:pt>
                <c:pt idx="11968">
                  <c:v>49162</c:v>
                </c:pt>
                <c:pt idx="11969">
                  <c:v>199014</c:v>
                </c:pt>
                <c:pt idx="11970">
                  <c:v>138754</c:v>
                </c:pt>
                <c:pt idx="11971">
                  <c:v>38290</c:v>
                </c:pt>
                <c:pt idx="11972">
                  <c:v>153263</c:v>
                </c:pt>
                <c:pt idx="11973">
                  <c:v>122587</c:v>
                </c:pt>
                <c:pt idx="11974">
                  <c:v>39579</c:v>
                </c:pt>
                <c:pt idx="11975">
                  <c:v>32636</c:v>
                </c:pt>
                <c:pt idx="11976">
                  <c:v>36856</c:v>
                </c:pt>
                <c:pt idx="11977">
                  <c:v>22046</c:v>
                </c:pt>
                <c:pt idx="11978">
                  <c:v>64260</c:v>
                </c:pt>
                <c:pt idx="11979">
                  <c:v>65605</c:v>
                </c:pt>
                <c:pt idx="11980">
                  <c:v>51770</c:v>
                </c:pt>
                <c:pt idx="11981">
                  <c:v>36718</c:v>
                </c:pt>
                <c:pt idx="11982">
                  <c:v>109052</c:v>
                </c:pt>
                <c:pt idx="11983">
                  <c:v>60375</c:v>
                </c:pt>
                <c:pt idx="11984">
                  <c:v>35181</c:v>
                </c:pt>
                <c:pt idx="11985">
                  <c:v>40473</c:v>
                </c:pt>
                <c:pt idx="11986">
                  <c:v>239651</c:v>
                </c:pt>
                <c:pt idx="11987">
                  <c:v>35287</c:v>
                </c:pt>
                <c:pt idx="11988">
                  <c:v>60142</c:v>
                </c:pt>
                <c:pt idx="11989">
                  <c:v>59320</c:v>
                </c:pt>
                <c:pt idx="11990">
                  <c:v>24676</c:v>
                </c:pt>
                <c:pt idx="11991">
                  <c:v>119412</c:v>
                </c:pt>
                <c:pt idx="11992">
                  <c:v>159547</c:v>
                </c:pt>
                <c:pt idx="11993">
                  <c:v>133005</c:v>
                </c:pt>
                <c:pt idx="11994">
                  <c:v>65016</c:v>
                </c:pt>
                <c:pt idx="11995">
                  <c:v>221993</c:v>
                </c:pt>
                <c:pt idx="11996">
                  <c:v>24800</c:v>
                </c:pt>
                <c:pt idx="11997">
                  <c:v>31088</c:v>
                </c:pt>
                <c:pt idx="11998">
                  <c:v>173034</c:v>
                </c:pt>
                <c:pt idx="11999">
                  <c:v>36990</c:v>
                </c:pt>
                <c:pt idx="12000">
                  <c:v>47288</c:v>
                </c:pt>
                <c:pt idx="12001">
                  <c:v>48600</c:v>
                </c:pt>
                <c:pt idx="12002">
                  <c:v>47427</c:v>
                </c:pt>
                <c:pt idx="12003">
                  <c:v>29728</c:v>
                </c:pt>
                <c:pt idx="12004">
                  <c:v>109880</c:v>
                </c:pt>
                <c:pt idx="12005">
                  <c:v>26774</c:v>
                </c:pt>
                <c:pt idx="12006">
                  <c:v>28379</c:v>
                </c:pt>
                <c:pt idx="12007">
                  <c:v>31242</c:v>
                </c:pt>
                <c:pt idx="12008">
                  <c:v>20305</c:v>
                </c:pt>
                <c:pt idx="12009">
                  <c:v>35747</c:v>
                </c:pt>
                <c:pt idx="12010">
                  <c:v>25863</c:v>
                </c:pt>
                <c:pt idx="12011">
                  <c:v>31610</c:v>
                </c:pt>
                <c:pt idx="12012">
                  <c:v>27636</c:v>
                </c:pt>
                <c:pt idx="12013">
                  <c:v>51066</c:v>
                </c:pt>
                <c:pt idx="12014">
                  <c:v>18506</c:v>
                </c:pt>
                <c:pt idx="12015">
                  <c:v>36084</c:v>
                </c:pt>
                <c:pt idx="12016">
                  <c:v>38685</c:v>
                </c:pt>
                <c:pt idx="12017">
                  <c:v>61225</c:v>
                </c:pt>
                <c:pt idx="12018">
                  <c:v>23645</c:v>
                </c:pt>
                <c:pt idx="12019">
                  <c:v>47331</c:v>
                </c:pt>
                <c:pt idx="12020">
                  <c:v>35063</c:v>
                </c:pt>
                <c:pt idx="12021">
                  <c:v>164021</c:v>
                </c:pt>
                <c:pt idx="12022">
                  <c:v>69184</c:v>
                </c:pt>
                <c:pt idx="12023">
                  <c:v>112031</c:v>
                </c:pt>
                <c:pt idx="12024">
                  <c:v>29479</c:v>
                </c:pt>
                <c:pt idx="12025">
                  <c:v>121240</c:v>
                </c:pt>
                <c:pt idx="12026">
                  <c:v>468935</c:v>
                </c:pt>
                <c:pt idx="12027">
                  <c:v>41633</c:v>
                </c:pt>
                <c:pt idx="12028">
                  <c:v>43930</c:v>
                </c:pt>
                <c:pt idx="12029">
                  <c:v>36513</c:v>
                </c:pt>
                <c:pt idx="12030">
                  <c:v>43355</c:v>
                </c:pt>
                <c:pt idx="12031">
                  <c:v>141233</c:v>
                </c:pt>
                <c:pt idx="12032">
                  <c:v>31735</c:v>
                </c:pt>
                <c:pt idx="12033">
                  <c:v>30424</c:v>
                </c:pt>
                <c:pt idx="12034">
                  <c:v>41757</c:v>
                </c:pt>
                <c:pt idx="12035">
                  <c:v>34499</c:v>
                </c:pt>
                <c:pt idx="12036">
                  <c:v>36531</c:v>
                </c:pt>
                <c:pt idx="12037">
                  <c:v>36882</c:v>
                </c:pt>
                <c:pt idx="12038">
                  <c:v>39459</c:v>
                </c:pt>
                <c:pt idx="12039">
                  <c:v>235246</c:v>
                </c:pt>
                <c:pt idx="12040">
                  <c:v>38693</c:v>
                </c:pt>
                <c:pt idx="12041">
                  <c:v>74075</c:v>
                </c:pt>
                <c:pt idx="12042">
                  <c:v>54505</c:v>
                </c:pt>
                <c:pt idx="12043">
                  <c:v>26712</c:v>
                </c:pt>
                <c:pt idx="12044">
                  <c:v>29858</c:v>
                </c:pt>
                <c:pt idx="12045">
                  <c:v>43895</c:v>
                </c:pt>
                <c:pt idx="12046">
                  <c:v>76366</c:v>
                </c:pt>
                <c:pt idx="12047">
                  <c:v>31230</c:v>
                </c:pt>
                <c:pt idx="12048">
                  <c:v>117008</c:v>
                </c:pt>
                <c:pt idx="12049">
                  <c:v>259314</c:v>
                </c:pt>
                <c:pt idx="12050">
                  <c:v>59961</c:v>
                </c:pt>
                <c:pt idx="12051">
                  <c:v>44537</c:v>
                </c:pt>
                <c:pt idx="12052">
                  <c:v>47854</c:v>
                </c:pt>
                <c:pt idx="12053">
                  <c:v>50749</c:v>
                </c:pt>
                <c:pt idx="12054">
                  <c:v>41762</c:v>
                </c:pt>
                <c:pt idx="12055">
                  <c:v>69136</c:v>
                </c:pt>
                <c:pt idx="12056">
                  <c:v>28012</c:v>
                </c:pt>
                <c:pt idx="12057">
                  <c:v>47074</c:v>
                </c:pt>
                <c:pt idx="12058">
                  <c:v>31314</c:v>
                </c:pt>
                <c:pt idx="12059">
                  <c:v>33103</c:v>
                </c:pt>
                <c:pt idx="12060">
                  <c:v>28686</c:v>
                </c:pt>
                <c:pt idx="12061">
                  <c:v>45839</c:v>
                </c:pt>
                <c:pt idx="12062">
                  <c:v>19009</c:v>
                </c:pt>
                <c:pt idx="12063">
                  <c:v>129620</c:v>
                </c:pt>
                <c:pt idx="12064">
                  <c:v>52076</c:v>
                </c:pt>
                <c:pt idx="12065">
                  <c:v>57814</c:v>
                </c:pt>
                <c:pt idx="12066">
                  <c:v>121303</c:v>
                </c:pt>
                <c:pt idx="12067">
                  <c:v>42401</c:v>
                </c:pt>
                <c:pt idx="12068">
                  <c:v>215924</c:v>
                </c:pt>
                <c:pt idx="12069">
                  <c:v>72054</c:v>
                </c:pt>
                <c:pt idx="12070">
                  <c:v>38724</c:v>
                </c:pt>
                <c:pt idx="12071">
                  <c:v>23149</c:v>
                </c:pt>
                <c:pt idx="12072">
                  <c:v>48355</c:v>
                </c:pt>
                <c:pt idx="12073">
                  <c:v>41472</c:v>
                </c:pt>
                <c:pt idx="12074">
                  <c:v>34064</c:v>
                </c:pt>
                <c:pt idx="12075">
                  <c:v>38050</c:v>
                </c:pt>
                <c:pt idx="12076">
                  <c:v>29986</c:v>
                </c:pt>
                <c:pt idx="12077">
                  <c:v>45766</c:v>
                </c:pt>
                <c:pt idx="12078">
                  <c:v>34094</c:v>
                </c:pt>
                <c:pt idx="12079">
                  <c:v>23401</c:v>
                </c:pt>
                <c:pt idx="12080">
                  <c:v>85537</c:v>
                </c:pt>
                <c:pt idx="12081">
                  <c:v>104262</c:v>
                </c:pt>
                <c:pt idx="12082">
                  <c:v>34230</c:v>
                </c:pt>
                <c:pt idx="12083">
                  <c:v>118116</c:v>
                </c:pt>
                <c:pt idx="12084">
                  <c:v>48817</c:v>
                </c:pt>
                <c:pt idx="12085">
                  <c:v>40792</c:v>
                </c:pt>
                <c:pt idx="12086">
                  <c:v>25456</c:v>
                </c:pt>
                <c:pt idx="12087">
                  <c:v>52787</c:v>
                </c:pt>
                <c:pt idx="12088">
                  <c:v>35534</c:v>
                </c:pt>
                <c:pt idx="12089">
                  <c:v>38812</c:v>
                </c:pt>
                <c:pt idx="12090">
                  <c:v>62195</c:v>
                </c:pt>
                <c:pt idx="12091">
                  <c:v>38905</c:v>
                </c:pt>
                <c:pt idx="12092">
                  <c:v>23480</c:v>
                </c:pt>
                <c:pt idx="12093">
                  <c:v>59173</c:v>
                </c:pt>
                <c:pt idx="12094">
                  <c:v>38405</c:v>
                </c:pt>
                <c:pt idx="12095">
                  <c:v>33369</c:v>
                </c:pt>
                <c:pt idx="12096">
                  <c:v>48219</c:v>
                </c:pt>
                <c:pt idx="12097">
                  <c:v>96448</c:v>
                </c:pt>
                <c:pt idx="12098">
                  <c:v>39479</c:v>
                </c:pt>
                <c:pt idx="12099">
                  <c:v>98409</c:v>
                </c:pt>
                <c:pt idx="12100">
                  <c:v>54240</c:v>
                </c:pt>
                <c:pt idx="12101">
                  <c:v>48747</c:v>
                </c:pt>
                <c:pt idx="12102">
                  <c:v>54235</c:v>
                </c:pt>
                <c:pt idx="12103">
                  <c:v>99014</c:v>
                </c:pt>
                <c:pt idx="12104">
                  <c:v>103816</c:v>
                </c:pt>
                <c:pt idx="12105">
                  <c:v>40358</c:v>
                </c:pt>
                <c:pt idx="12106">
                  <c:v>25338</c:v>
                </c:pt>
                <c:pt idx="12107">
                  <c:v>38687</c:v>
                </c:pt>
                <c:pt idx="12108">
                  <c:v>29578</c:v>
                </c:pt>
                <c:pt idx="12109">
                  <c:v>111576</c:v>
                </c:pt>
                <c:pt idx="12110">
                  <c:v>207920</c:v>
                </c:pt>
                <c:pt idx="12111">
                  <c:v>123657</c:v>
                </c:pt>
                <c:pt idx="12112">
                  <c:v>47000</c:v>
                </c:pt>
                <c:pt idx="12113">
                  <c:v>92537</c:v>
                </c:pt>
                <c:pt idx="12114">
                  <c:v>58755</c:v>
                </c:pt>
                <c:pt idx="12115">
                  <c:v>44496</c:v>
                </c:pt>
                <c:pt idx="12116">
                  <c:v>36217</c:v>
                </c:pt>
                <c:pt idx="12117">
                  <c:v>33168</c:v>
                </c:pt>
                <c:pt idx="12118">
                  <c:v>30582</c:v>
                </c:pt>
                <c:pt idx="12119">
                  <c:v>37416</c:v>
                </c:pt>
                <c:pt idx="12120">
                  <c:v>36626</c:v>
                </c:pt>
                <c:pt idx="12121">
                  <c:v>145348</c:v>
                </c:pt>
                <c:pt idx="12122">
                  <c:v>43584</c:v>
                </c:pt>
                <c:pt idx="12123">
                  <c:v>85172</c:v>
                </c:pt>
                <c:pt idx="12124">
                  <c:v>24824</c:v>
                </c:pt>
                <c:pt idx="12125">
                  <c:v>33953</c:v>
                </c:pt>
                <c:pt idx="12126">
                  <c:v>82756</c:v>
                </c:pt>
                <c:pt idx="12127">
                  <c:v>36931</c:v>
                </c:pt>
                <c:pt idx="12128">
                  <c:v>38840</c:v>
                </c:pt>
                <c:pt idx="12129">
                  <c:v>43950</c:v>
                </c:pt>
                <c:pt idx="12130">
                  <c:v>183250</c:v>
                </c:pt>
                <c:pt idx="12131">
                  <c:v>47450</c:v>
                </c:pt>
                <c:pt idx="12132">
                  <c:v>29672</c:v>
                </c:pt>
                <c:pt idx="12133">
                  <c:v>240955</c:v>
                </c:pt>
                <c:pt idx="12134">
                  <c:v>27805</c:v>
                </c:pt>
                <c:pt idx="12135">
                  <c:v>61418</c:v>
                </c:pt>
                <c:pt idx="12136">
                  <c:v>43625</c:v>
                </c:pt>
                <c:pt idx="12137">
                  <c:v>211466</c:v>
                </c:pt>
                <c:pt idx="12138">
                  <c:v>27238</c:v>
                </c:pt>
                <c:pt idx="12139">
                  <c:v>40639</c:v>
                </c:pt>
                <c:pt idx="12140">
                  <c:v>57011</c:v>
                </c:pt>
                <c:pt idx="12141">
                  <c:v>122542</c:v>
                </c:pt>
                <c:pt idx="12142">
                  <c:v>50155</c:v>
                </c:pt>
                <c:pt idx="12143">
                  <c:v>119928</c:v>
                </c:pt>
                <c:pt idx="12144">
                  <c:v>47311</c:v>
                </c:pt>
                <c:pt idx="12145">
                  <c:v>35216</c:v>
                </c:pt>
                <c:pt idx="12146">
                  <c:v>54769</c:v>
                </c:pt>
                <c:pt idx="12147">
                  <c:v>33085</c:v>
                </c:pt>
                <c:pt idx="12148">
                  <c:v>25928</c:v>
                </c:pt>
                <c:pt idx="12149">
                  <c:v>42024</c:v>
                </c:pt>
                <c:pt idx="12150">
                  <c:v>40839</c:v>
                </c:pt>
                <c:pt idx="12151">
                  <c:v>20361</c:v>
                </c:pt>
                <c:pt idx="12152">
                  <c:v>55751</c:v>
                </c:pt>
                <c:pt idx="12153">
                  <c:v>35201</c:v>
                </c:pt>
                <c:pt idx="12154">
                  <c:v>48411</c:v>
                </c:pt>
                <c:pt idx="12155">
                  <c:v>30939</c:v>
                </c:pt>
                <c:pt idx="12156">
                  <c:v>80884</c:v>
                </c:pt>
                <c:pt idx="12157">
                  <c:v>71746</c:v>
                </c:pt>
                <c:pt idx="12158">
                  <c:v>32804</c:v>
                </c:pt>
                <c:pt idx="12159">
                  <c:v>26919</c:v>
                </c:pt>
                <c:pt idx="12160">
                  <c:v>25079</c:v>
                </c:pt>
                <c:pt idx="12161">
                  <c:v>43090</c:v>
                </c:pt>
                <c:pt idx="12162">
                  <c:v>28848</c:v>
                </c:pt>
                <c:pt idx="12163">
                  <c:v>60074</c:v>
                </c:pt>
                <c:pt idx="12164">
                  <c:v>62629</c:v>
                </c:pt>
                <c:pt idx="12165">
                  <c:v>45343</c:v>
                </c:pt>
                <c:pt idx="12166">
                  <c:v>117705</c:v>
                </c:pt>
                <c:pt idx="12167">
                  <c:v>42008</c:v>
                </c:pt>
                <c:pt idx="12168">
                  <c:v>101410</c:v>
                </c:pt>
                <c:pt idx="12169">
                  <c:v>42931</c:v>
                </c:pt>
                <c:pt idx="12170">
                  <c:v>367623</c:v>
                </c:pt>
                <c:pt idx="12171">
                  <c:v>27891</c:v>
                </c:pt>
                <c:pt idx="12172">
                  <c:v>52617</c:v>
                </c:pt>
                <c:pt idx="12173">
                  <c:v>99745</c:v>
                </c:pt>
                <c:pt idx="12174">
                  <c:v>30059</c:v>
                </c:pt>
                <c:pt idx="12175">
                  <c:v>87409</c:v>
                </c:pt>
                <c:pt idx="12176">
                  <c:v>115911</c:v>
                </c:pt>
                <c:pt idx="12177">
                  <c:v>32373</c:v>
                </c:pt>
                <c:pt idx="12178">
                  <c:v>55772</c:v>
                </c:pt>
                <c:pt idx="12179">
                  <c:v>32005</c:v>
                </c:pt>
                <c:pt idx="12180">
                  <c:v>25605</c:v>
                </c:pt>
                <c:pt idx="12181">
                  <c:v>47827</c:v>
                </c:pt>
                <c:pt idx="12182">
                  <c:v>140691</c:v>
                </c:pt>
                <c:pt idx="12183">
                  <c:v>44525</c:v>
                </c:pt>
                <c:pt idx="12184">
                  <c:v>198545</c:v>
                </c:pt>
                <c:pt idx="12185">
                  <c:v>55183</c:v>
                </c:pt>
                <c:pt idx="12186">
                  <c:v>32304</c:v>
                </c:pt>
                <c:pt idx="12187">
                  <c:v>104668</c:v>
                </c:pt>
                <c:pt idx="12188">
                  <c:v>32948</c:v>
                </c:pt>
                <c:pt idx="12189">
                  <c:v>102560</c:v>
                </c:pt>
                <c:pt idx="12190">
                  <c:v>116872</c:v>
                </c:pt>
                <c:pt idx="12191">
                  <c:v>60581</c:v>
                </c:pt>
                <c:pt idx="12192">
                  <c:v>42001</c:v>
                </c:pt>
                <c:pt idx="12193">
                  <c:v>39412</c:v>
                </c:pt>
                <c:pt idx="12194">
                  <c:v>65311</c:v>
                </c:pt>
                <c:pt idx="12195">
                  <c:v>51119</c:v>
                </c:pt>
                <c:pt idx="12196">
                  <c:v>22404</c:v>
                </c:pt>
                <c:pt idx="12197">
                  <c:v>36938</c:v>
                </c:pt>
                <c:pt idx="12198">
                  <c:v>50842</c:v>
                </c:pt>
                <c:pt idx="12199">
                  <c:v>36937</c:v>
                </c:pt>
                <c:pt idx="12200">
                  <c:v>94311</c:v>
                </c:pt>
                <c:pt idx="12201">
                  <c:v>27856</c:v>
                </c:pt>
                <c:pt idx="12202">
                  <c:v>28476</c:v>
                </c:pt>
                <c:pt idx="12203">
                  <c:v>67157</c:v>
                </c:pt>
                <c:pt idx="12204">
                  <c:v>42278</c:v>
                </c:pt>
                <c:pt idx="12205">
                  <c:v>60763</c:v>
                </c:pt>
                <c:pt idx="12206">
                  <c:v>42733</c:v>
                </c:pt>
                <c:pt idx="12207">
                  <c:v>35424</c:v>
                </c:pt>
                <c:pt idx="12208">
                  <c:v>95976</c:v>
                </c:pt>
                <c:pt idx="12209">
                  <c:v>22444</c:v>
                </c:pt>
                <c:pt idx="12210">
                  <c:v>41725</c:v>
                </c:pt>
                <c:pt idx="12211">
                  <c:v>94333</c:v>
                </c:pt>
                <c:pt idx="12212">
                  <c:v>36741</c:v>
                </c:pt>
                <c:pt idx="12213">
                  <c:v>31290</c:v>
                </c:pt>
                <c:pt idx="12214">
                  <c:v>40710</c:v>
                </c:pt>
                <c:pt idx="12215">
                  <c:v>45814</c:v>
                </c:pt>
                <c:pt idx="12216">
                  <c:v>36472</c:v>
                </c:pt>
                <c:pt idx="12217">
                  <c:v>29739</c:v>
                </c:pt>
                <c:pt idx="12218">
                  <c:v>124419</c:v>
                </c:pt>
                <c:pt idx="12219">
                  <c:v>254103</c:v>
                </c:pt>
                <c:pt idx="12220">
                  <c:v>55113</c:v>
                </c:pt>
                <c:pt idx="12221">
                  <c:v>46440</c:v>
                </c:pt>
                <c:pt idx="12222">
                  <c:v>44752</c:v>
                </c:pt>
                <c:pt idx="12223">
                  <c:v>81007</c:v>
                </c:pt>
                <c:pt idx="12224">
                  <c:v>93912</c:v>
                </c:pt>
                <c:pt idx="12225">
                  <c:v>77701</c:v>
                </c:pt>
                <c:pt idx="12226">
                  <c:v>59617</c:v>
                </c:pt>
                <c:pt idx="12227">
                  <c:v>87996</c:v>
                </c:pt>
                <c:pt idx="12228">
                  <c:v>26722</c:v>
                </c:pt>
                <c:pt idx="12229">
                  <c:v>22863</c:v>
                </c:pt>
                <c:pt idx="12230">
                  <c:v>21576</c:v>
                </c:pt>
                <c:pt idx="12231">
                  <c:v>32092</c:v>
                </c:pt>
                <c:pt idx="12232">
                  <c:v>189780</c:v>
                </c:pt>
                <c:pt idx="12233">
                  <c:v>34007</c:v>
                </c:pt>
                <c:pt idx="12234">
                  <c:v>28960</c:v>
                </c:pt>
                <c:pt idx="12235">
                  <c:v>49175</c:v>
                </c:pt>
                <c:pt idx="12236">
                  <c:v>37093</c:v>
                </c:pt>
                <c:pt idx="12237">
                  <c:v>62384</c:v>
                </c:pt>
                <c:pt idx="12238">
                  <c:v>28407</c:v>
                </c:pt>
                <c:pt idx="12239">
                  <c:v>250198</c:v>
                </c:pt>
                <c:pt idx="12240">
                  <c:v>154444</c:v>
                </c:pt>
                <c:pt idx="12241">
                  <c:v>46827</c:v>
                </c:pt>
                <c:pt idx="12242">
                  <c:v>56679</c:v>
                </c:pt>
                <c:pt idx="12243">
                  <c:v>242505</c:v>
                </c:pt>
                <c:pt idx="12244">
                  <c:v>59608</c:v>
                </c:pt>
                <c:pt idx="12245">
                  <c:v>62943</c:v>
                </c:pt>
                <c:pt idx="12246">
                  <c:v>77097</c:v>
                </c:pt>
                <c:pt idx="12247">
                  <c:v>48303</c:v>
                </c:pt>
                <c:pt idx="12248">
                  <c:v>34172</c:v>
                </c:pt>
                <c:pt idx="12249">
                  <c:v>50570</c:v>
                </c:pt>
                <c:pt idx="12250">
                  <c:v>77701</c:v>
                </c:pt>
                <c:pt idx="12251">
                  <c:v>19352</c:v>
                </c:pt>
                <c:pt idx="12252">
                  <c:v>24083</c:v>
                </c:pt>
                <c:pt idx="12253">
                  <c:v>32062</c:v>
                </c:pt>
                <c:pt idx="12254">
                  <c:v>28674</c:v>
                </c:pt>
                <c:pt idx="12255">
                  <c:v>50002</c:v>
                </c:pt>
                <c:pt idx="12256">
                  <c:v>43174</c:v>
                </c:pt>
                <c:pt idx="12257">
                  <c:v>28934</c:v>
                </c:pt>
                <c:pt idx="12258">
                  <c:v>38335</c:v>
                </c:pt>
                <c:pt idx="12259">
                  <c:v>89524</c:v>
                </c:pt>
                <c:pt idx="12260">
                  <c:v>26641</c:v>
                </c:pt>
                <c:pt idx="12261">
                  <c:v>56375</c:v>
                </c:pt>
                <c:pt idx="12262">
                  <c:v>101230</c:v>
                </c:pt>
                <c:pt idx="12263">
                  <c:v>32215</c:v>
                </c:pt>
                <c:pt idx="12264">
                  <c:v>42511</c:v>
                </c:pt>
                <c:pt idx="12265">
                  <c:v>38598</c:v>
                </c:pt>
                <c:pt idx="12266">
                  <c:v>77165</c:v>
                </c:pt>
                <c:pt idx="12267">
                  <c:v>66216</c:v>
                </c:pt>
                <c:pt idx="12268">
                  <c:v>36745</c:v>
                </c:pt>
                <c:pt idx="12269">
                  <c:v>121007</c:v>
                </c:pt>
                <c:pt idx="12270">
                  <c:v>74200</c:v>
                </c:pt>
                <c:pt idx="12271">
                  <c:v>36548</c:v>
                </c:pt>
                <c:pt idx="12272">
                  <c:v>39498</c:v>
                </c:pt>
                <c:pt idx="12273">
                  <c:v>24659</c:v>
                </c:pt>
                <c:pt idx="12274">
                  <c:v>23987</c:v>
                </c:pt>
                <c:pt idx="12275">
                  <c:v>47748</c:v>
                </c:pt>
                <c:pt idx="12276">
                  <c:v>43713</c:v>
                </c:pt>
                <c:pt idx="12277">
                  <c:v>33602</c:v>
                </c:pt>
                <c:pt idx="12278">
                  <c:v>43302</c:v>
                </c:pt>
                <c:pt idx="12279">
                  <c:v>46109</c:v>
                </c:pt>
                <c:pt idx="12280">
                  <c:v>46204</c:v>
                </c:pt>
                <c:pt idx="12281">
                  <c:v>77039</c:v>
                </c:pt>
                <c:pt idx="12282">
                  <c:v>76208</c:v>
                </c:pt>
                <c:pt idx="12283">
                  <c:v>66755</c:v>
                </c:pt>
                <c:pt idx="12284">
                  <c:v>38336</c:v>
                </c:pt>
                <c:pt idx="12285">
                  <c:v>286345</c:v>
                </c:pt>
                <c:pt idx="12286">
                  <c:v>55697</c:v>
                </c:pt>
                <c:pt idx="12287">
                  <c:v>35197</c:v>
                </c:pt>
                <c:pt idx="12288">
                  <c:v>56193</c:v>
                </c:pt>
                <c:pt idx="12289">
                  <c:v>334247</c:v>
                </c:pt>
                <c:pt idx="12290">
                  <c:v>40327</c:v>
                </c:pt>
                <c:pt idx="12291">
                  <c:v>45147</c:v>
                </c:pt>
                <c:pt idx="12292">
                  <c:v>40349</c:v>
                </c:pt>
                <c:pt idx="12293">
                  <c:v>67982</c:v>
                </c:pt>
                <c:pt idx="12294">
                  <c:v>78064</c:v>
                </c:pt>
                <c:pt idx="12295">
                  <c:v>40812</c:v>
                </c:pt>
                <c:pt idx="12296">
                  <c:v>67095</c:v>
                </c:pt>
                <c:pt idx="12297">
                  <c:v>69097</c:v>
                </c:pt>
                <c:pt idx="12298">
                  <c:v>65091</c:v>
                </c:pt>
                <c:pt idx="12299">
                  <c:v>101388</c:v>
                </c:pt>
                <c:pt idx="12300">
                  <c:v>48774</c:v>
                </c:pt>
                <c:pt idx="12301">
                  <c:v>26391</c:v>
                </c:pt>
                <c:pt idx="12302">
                  <c:v>30060</c:v>
                </c:pt>
                <c:pt idx="12303">
                  <c:v>135123</c:v>
                </c:pt>
                <c:pt idx="12304">
                  <c:v>38857</c:v>
                </c:pt>
                <c:pt idx="12305">
                  <c:v>42885</c:v>
                </c:pt>
                <c:pt idx="12306">
                  <c:v>134536</c:v>
                </c:pt>
                <c:pt idx="12307">
                  <c:v>32446</c:v>
                </c:pt>
                <c:pt idx="12308">
                  <c:v>130239</c:v>
                </c:pt>
                <c:pt idx="12309">
                  <c:v>93962</c:v>
                </c:pt>
                <c:pt idx="12310">
                  <c:v>52907</c:v>
                </c:pt>
                <c:pt idx="12311">
                  <c:v>30888</c:v>
                </c:pt>
                <c:pt idx="12312">
                  <c:v>100801</c:v>
                </c:pt>
                <c:pt idx="12313">
                  <c:v>128973</c:v>
                </c:pt>
                <c:pt idx="12314">
                  <c:v>37272</c:v>
                </c:pt>
                <c:pt idx="12315">
                  <c:v>43777</c:v>
                </c:pt>
                <c:pt idx="12316">
                  <c:v>43406</c:v>
                </c:pt>
                <c:pt idx="12317">
                  <c:v>30012</c:v>
                </c:pt>
                <c:pt idx="12318">
                  <c:v>27165</c:v>
                </c:pt>
                <c:pt idx="12319">
                  <c:v>106801</c:v>
                </c:pt>
                <c:pt idx="12320">
                  <c:v>34778</c:v>
                </c:pt>
                <c:pt idx="12321">
                  <c:v>27954</c:v>
                </c:pt>
                <c:pt idx="12322">
                  <c:v>33275</c:v>
                </c:pt>
                <c:pt idx="12323">
                  <c:v>53074</c:v>
                </c:pt>
                <c:pt idx="12324">
                  <c:v>56631</c:v>
                </c:pt>
                <c:pt idx="12325">
                  <c:v>44922</c:v>
                </c:pt>
                <c:pt idx="12326">
                  <c:v>73090</c:v>
                </c:pt>
                <c:pt idx="12327">
                  <c:v>45455</c:v>
                </c:pt>
                <c:pt idx="12328">
                  <c:v>36150</c:v>
                </c:pt>
                <c:pt idx="12329">
                  <c:v>145579</c:v>
                </c:pt>
                <c:pt idx="12330">
                  <c:v>39557</c:v>
                </c:pt>
                <c:pt idx="12331">
                  <c:v>28444</c:v>
                </c:pt>
                <c:pt idx="12332">
                  <c:v>131467</c:v>
                </c:pt>
                <c:pt idx="12333">
                  <c:v>168339</c:v>
                </c:pt>
                <c:pt idx="12334">
                  <c:v>32020</c:v>
                </c:pt>
                <c:pt idx="12335">
                  <c:v>232670</c:v>
                </c:pt>
                <c:pt idx="12336">
                  <c:v>28307</c:v>
                </c:pt>
                <c:pt idx="12337">
                  <c:v>29857</c:v>
                </c:pt>
                <c:pt idx="12338">
                  <c:v>25525</c:v>
                </c:pt>
                <c:pt idx="12339">
                  <c:v>45226</c:v>
                </c:pt>
                <c:pt idx="12340">
                  <c:v>30328</c:v>
                </c:pt>
                <c:pt idx="12341">
                  <c:v>28828</c:v>
                </c:pt>
                <c:pt idx="12342">
                  <c:v>29178</c:v>
                </c:pt>
                <c:pt idx="12343">
                  <c:v>36972</c:v>
                </c:pt>
                <c:pt idx="12344">
                  <c:v>289784</c:v>
                </c:pt>
                <c:pt idx="12345">
                  <c:v>38129</c:v>
                </c:pt>
                <c:pt idx="12346">
                  <c:v>31351</c:v>
                </c:pt>
                <c:pt idx="12347">
                  <c:v>29556</c:v>
                </c:pt>
                <c:pt idx="12348">
                  <c:v>36173</c:v>
                </c:pt>
                <c:pt idx="12349">
                  <c:v>81769</c:v>
                </c:pt>
                <c:pt idx="12350">
                  <c:v>39994</c:v>
                </c:pt>
                <c:pt idx="12351">
                  <c:v>22141</c:v>
                </c:pt>
                <c:pt idx="12352">
                  <c:v>36920</c:v>
                </c:pt>
                <c:pt idx="12353">
                  <c:v>24926</c:v>
                </c:pt>
                <c:pt idx="12354">
                  <c:v>179738</c:v>
                </c:pt>
                <c:pt idx="12355">
                  <c:v>46292</c:v>
                </c:pt>
                <c:pt idx="12356">
                  <c:v>41481</c:v>
                </c:pt>
                <c:pt idx="12357">
                  <c:v>51955</c:v>
                </c:pt>
                <c:pt idx="12358">
                  <c:v>40327</c:v>
                </c:pt>
                <c:pt idx="12359">
                  <c:v>31036</c:v>
                </c:pt>
                <c:pt idx="12360">
                  <c:v>113328</c:v>
                </c:pt>
                <c:pt idx="12361">
                  <c:v>29999</c:v>
                </c:pt>
                <c:pt idx="12362">
                  <c:v>32038</c:v>
                </c:pt>
                <c:pt idx="12363">
                  <c:v>44795</c:v>
                </c:pt>
                <c:pt idx="12364">
                  <c:v>157515</c:v>
                </c:pt>
                <c:pt idx="12365">
                  <c:v>133457</c:v>
                </c:pt>
                <c:pt idx="12366">
                  <c:v>116333</c:v>
                </c:pt>
                <c:pt idx="12367">
                  <c:v>250078</c:v>
                </c:pt>
                <c:pt idx="12368">
                  <c:v>31852</c:v>
                </c:pt>
                <c:pt idx="12369">
                  <c:v>35214</c:v>
                </c:pt>
                <c:pt idx="12370">
                  <c:v>38797</c:v>
                </c:pt>
                <c:pt idx="12371">
                  <c:v>60180</c:v>
                </c:pt>
                <c:pt idx="12372">
                  <c:v>30723</c:v>
                </c:pt>
                <c:pt idx="12373">
                  <c:v>312832</c:v>
                </c:pt>
                <c:pt idx="12374">
                  <c:v>22841</c:v>
                </c:pt>
                <c:pt idx="12375">
                  <c:v>34272</c:v>
                </c:pt>
                <c:pt idx="12376">
                  <c:v>37013</c:v>
                </c:pt>
                <c:pt idx="12377">
                  <c:v>49412</c:v>
                </c:pt>
                <c:pt idx="12378">
                  <c:v>29693</c:v>
                </c:pt>
                <c:pt idx="12379">
                  <c:v>172603</c:v>
                </c:pt>
                <c:pt idx="12380">
                  <c:v>42953</c:v>
                </c:pt>
                <c:pt idx="12381">
                  <c:v>117524</c:v>
                </c:pt>
                <c:pt idx="12382">
                  <c:v>26941</c:v>
                </c:pt>
                <c:pt idx="12383">
                  <c:v>104690</c:v>
                </c:pt>
                <c:pt idx="12384">
                  <c:v>28122</c:v>
                </c:pt>
                <c:pt idx="12385">
                  <c:v>90219</c:v>
                </c:pt>
                <c:pt idx="12386">
                  <c:v>23816</c:v>
                </c:pt>
                <c:pt idx="12387">
                  <c:v>79196</c:v>
                </c:pt>
                <c:pt idx="12388">
                  <c:v>47298</c:v>
                </c:pt>
                <c:pt idx="12389">
                  <c:v>39125</c:v>
                </c:pt>
                <c:pt idx="12390">
                  <c:v>122097</c:v>
                </c:pt>
                <c:pt idx="12391">
                  <c:v>68649</c:v>
                </c:pt>
                <c:pt idx="12392">
                  <c:v>36388</c:v>
                </c:pt>
                <c:pt idx="12393">
                  <c:v>153512</c:v>
                </c:pt>
                <c:pt idx="12394">
                  <c:v>26578</c:v>
                </c:pt>
                <c:pt idx="12395">
                  <c:v>40960</c:v>
                </c:pt>
                <c:pt idx="12396">
                  <c:v>30246</c:v>
                </c:pt>
                <c:pt idx="12397">
                  <c:v>34386</c:v>
                </c:pt>
                <c:pt idx="12398">
                  <c:v>25558</c:v>
                </c:pt>
                <c:pt idx="12399">
                  <c:v>31364</c:v>
                </c:pt>
                <c:pt idx="12400">
                  <c:v>41118</c:v>
                </c:pt>
                <c:pt idx="12401">
                  <c:v>39334</c:v>
                </c:pt>
                <c:pt idx="12402">
                  <c:v>38175</c:v>
                </c:pt>
                <c:pt idx="12403">
                  <c:v>40377</c:v>
                </c:pt>
                <c:pt idx="12404">
                  <c:v>31967</c:v>
                </c:pt>
                <c:pt idx="12405">
                  <c:v>50683</c:v>
                </c:pt>
                <c:pt idx="12406">
                  <c:v>43881</c:v>
                </c:pt>
                <c:pt idx="12407">
                  <c:v>28600</c:v>
                </c:pt>
                <c:pt idx="12408">
                  <c:v>54361</c:v>
                </c:pt>
                <c:pt idx="12409">
                  <c:v>73213</c:v>
                </c:pt>
                <c:pt idx="12410">
                  <c:v>54776</c:v>
                </c:pt>
                <c:pt idx="12411">
                  <c:v>39959</c:v>
                </c:pt>
                <c:pt idx="12412">
                  <c:v>96746</c:v>
                </c:pt>
                <c:pt idx="12413">
                  <c:v>160776</c:v>
                </c:pt>
                <c:pt idx="12414">
                  <c:v>34559</c:v>
                </c:pt>
                <c:pt idx="12415">
                  <c:v>31117</c:v>
                </c:pt>
                <c:pt idx="12416">
                  <c:v>43430</c:v>
                </c:pt>
                <c:pt idx="12417">
                  <c:v>44703</c:v>
                </c:pt>
                <c:pt idx="12418">
                  <c:v>41450</c:v>
                </c:pt>
                <c:pt idx="12419">
                  <c:v>27521</c:v>
                </c:pt>
                <c:pt idx="12420">
                  <c:v>35888</c:v>
                </c:pt>
                <c:pt idx="12421">
                  <c:v>107623</c:v>
                </c:pt>
                <c:pt idx="12422">
                  <c:v>38407</c:v>
                </c:pt>
                <c:pt idx="12423">
                  <c:v>39164</c:v>
                </c:pt>
                <c:pt idx="12424">
                  <c:v>126782</c:v>
                </c:pt>
                <c:pt idx="12425">
                  <c:v>64343</c:v>
                </c:pt>
                <c:pt idx="12426">
                  <c:v>77685</c:v>
                </c:pt>
                <c:pt idx="12427">
                  <c:v>41722</c:v>
                </c:pt>
                <c:pt idx="12428">
                  <c:v>105143</c:v>
                </c:pt>
                <c:pt idx="12429">
                  <c:v>34494</c:v>
                </c:pt>
                <c:pt idx="12430">
                  <c:v>44678</c:v>
                </c:pt>
                <c:pt idx="12431">
                  <c:v>32170</c:v>
                </c:pt>
                <c:pt idx="12432">
                  <c:v>23928</c:v>
                </c:pt>
                <c:pt idx="12433">
                  <c:v>55197</c:v>
                </c:pt>
                <c:pt idx="12434">
                  <c:v>53294</c:v>
                </c:pt>
                <c:pt idx="12435">
                  <c:v>45155</c:v>
                </c:pt>
                <c:pt idx="12436">
                  <c:v>41495</c:v>
                </c:pt>
                <c:pt idx="12437">
                  <c:v>44889</c:v>
                </c:pt>
                <c:pt idx="12438">
                  <c:v>65517</c:v>
                </c:pt>
                <c:pt idx="12439">
                  <c:v>54051</c:v>
                </c:pt>
                <c:pt idx="12440">
                  <c:v>33976</c:v>
                </c:pt>
                <c:pt idx="12441">
                  <c:v>25787</c:v>
                </c:pt>
                <c:pt idx="12442">
                  <c:v>112110</c:v>
                </c:pt>
                <c:pt idx="12443">
                  <c:v>49812</c:v>
                </c:pt>
                <c:pt idx="12444">
                  <c:v>33307</c:v>
                </c:pt>
                <c:pt idx="12445">
                  <c:v>27648</c:v>
                </c:pt>
                <c:pt idx="12446">
                  <c:v>32835</c:v>
                </c:pt>
                <c:pt idx="12447">
                  <c:v>35664</c:v>
                </c:pt>
                <c:pt idx="12448">
                  <c:v>72952</c:v>
                </c:pt>
                <c:pt idx="12449">
                  <c:v>105472</c:v>
                </c:pt>
                <c:pt idx="12450">
                  <c:v>29013</c:v>
                </c:pt>
                <c:pt idx="12451">
                  <c:v>115013</c:v>
                </c:pt>
                <c:pt idx="12452">
                  <c:v>41295</c:v>
                </c:pt>
                <c:pt idx="12453">
                  <c:v>95230</c:v>
                </c:pt>
                <c:pt idx="12454">
                  <c:v>36409</c:v>
                </c:pt>
                <c:pt idx="12455">
                  <c:v>27154</c:v>
                </c:pt>
                <c:pt idx="12456">
                  <c:v>51555</c:v>
                </c:pt>
                <c:pt idx="12457">
                  <c:v>172104</c:v>
                </c:pt>
                <c:pt idx="12458">
                  <c:v>53726</c:v>
                </c:pt>
                <c:pt idx="12459">
                  <c:v>80087</c:v>
                </c:pt>
                <c:pt idx="12460">
                  <c:v>87353</c:v>
                </c:pt>
                <c:pt idx="12461">
                  <c:v>54172</c:v>
                </c:pt>
                <c:pt idx="12462">
                  <c:v>26203</c:v>
                </c:pt>
                <c:pt idx="12463">
                  <c:v>36677</c:v>
                </c:pt>
                <c:pt idx="12464">
                  <c:v>163354</c:v>
                </c:pt>
                <c:pt idx="12465">
                  <c:v>122373</c:v>
                </c:pt>
                <c:pt idx="12466">
                  <c:v>153570</c:v>
                </c:pt>
                <c:pt idx="12467">
                  <c:v>75357</c:v>
                </c:pt>
                <c:pt idx="12468">
                  <c:v>65304</c:v>
                </c:pt>
                <c:pt idx="12469">
                  <c:v>42720</c:v>
                </c:pt>
                <c:pt idx="12470">
                  <c:v>50812</c:v>
                </c:pt>
                <c:pt idx="12471">
                  <c:v>64845</c:v>
                </c:pt>
                <c:pt idx="12472">
                  <c:v>42472</c:v>
                </c:pt>
                <c:pt idx="12473">
                  <c:v>33627</c:v>
                </c:pt>
                <c:pt idx="12474">
                  <c:v>37999</c:v>
                </c:pt>
                <c:pt idx="12475">
                  <c:v>120618</c:v>
                </c:pt>
                <c:pt idx="12476">
                  <c:v>40995</c:v>
                </c:pt>
                <c:pt idx="12477">
                  <c:v>40779</c:v>
                </c:pt>
                <c:pt idx="12478">
                  <c:v>67590</c:v>
                </c:pt>
                <c:pt idx="12479">
                  <c:v>97705</c:v>
                </c:pt>
                <c:pt idx="12480">
                  <c:v>153945</c:v>
                </c:pt>
                <c:pt idx="12481">
                  <c:v>39599</c:v>
                </c:pt>
                <c:pt idx="12482">
                  <c:v>33916</c:v>
                </c:pt>
                <c:pt idx="12483">
                  <c:v>32091</c:v>
                </c:pt>
                <c:pt idx="12484">
                  <c:v>23478</c:v>
                </c:pt>
                <c:pt idx="12485">
                  <c:v>34322</c:v>
                </c:pt>
                <c:pt idx="12486">
                  <c:v>41367</c:v>
                </c:pt>
                <c:pt idx="12487">
                  <c:v>123224</c:v>
                </c:pt>
                <c:pt idx="12488">
                  <c:v>52081</c:v>
                </c:pt>
                <c:pt idx="12489">
                  <c:v>55393</c:v>
                </c:pt>
                <c:pt idx="12490">
                  <c:v>70721</c:v>
                </c:pt>
                <c:pt idx="12491">
                  <c:v>252718</c:v>
                </c:pt>
                <c:pt idx="12492">
                  <c:v>25733</c:v>
                </c:pt>
                <c:pt idx="12493">
                  <c:v>31997</c:v>
                </c:pt>
                <c:pt idx="12494">
                  <c:v>32126</c:v>
                </c:pt>
                <c:pt idx="12495">
                  <c:v>38224</c:v>
                </c:pt>
                <c:pt idx="12496">
                  <c:v>34105</c:v>
                </c:pt>
                <c:pt idx="12497">
                  <c:v>98167</c:v>
                </c:pt>
                <c:pt idx="12498">
                  <c:v>94998</c:v>
                </c:pt>
                <c:pt idx="12499">
                  <c:v>168091</c:v>
                </c:pt>
                <c:pt idx="12500">
                  <c:v>42930</c:v>
                </c:pt>
                <c:pt idx="12501">
                  <c:v>24796</c:v>
                </c:pt>
                <c:pt idx="12502">
                  <c:v>42552</c:v>
                </c:pt>
                <c:pt idx="12503">
                  <c:v>29692</c:v>
                </c:pt>
                <c:pt idx="12504">
                  <c:v>55478</c:v>
                </c:pt>
                <c:pt idx="12505">
                  <c:v>49482</c:v>
                </c:pt>
                <c:pt idx="12506">
                  <c:v>155467</c:v>
                </c:pt>
                <c:pt idx="12507">
                  <c:v>37216</c:v>
                </c:pt>
                <c:pt idx="12508">
                  <c:v>45110</c:v>
                </c:pt>
                <c:pt idx="12509">
                  <c:v>50351</c:v>
                </c:pt>
                <c:pt idx="12510">
                  <c:v>26195</c:v>
                </c:pt>
                <c:pt idx="12511">
                  <c:v>24695</c:v>
                </c:pt>
                <c:pt idx="12512">
                  <c:v>25461</c:v>
                </c:pt>
                <c:pt idx="12513">
                  <c:v>22166</c:v>
                </c:pt>
                <c:pt idx="12514">
                  <c:v>38287</c:v>
                </c:pt>
                <c:pt idx="12515">
                  <c:v>25962</c:v>
                </c:pt>
                <c:pt idx="12516">
                  <c:v>208314</c:v>
                </c:pt>
                <c:pt idx="12517">
                  <c:v>121573</c:v>
                </c:pt>
                <c:pt idx="12518">
                  <c:v>64621</c:v>
                </c:pt>
                <c:pt idx="12519">
                  <c:v>40319</c:v>
                </c:pt>
                <c:pt idx="12520">
                  <c:v>39243</c:v>
                </c:pt>
                <c:pt idx="12521">
                  <c:v>64554</c:v>
                </c:pt>
                <c:pt idx="12522">
                  <c:v>50780</c:v>
                </c:pt>
                <c:pt idx="12523">
                  <c:v>56613</c:v>
                </c:pt>
                <c:pt idx="12524">
                  <c:v>21315</c:v>
                </c:pt>
                <c:pt idx="12525">
                  <c:v>73219</c:v>
                </c:pt>
                <c:pt idx="12526">
                  <c:v>22782</c:v>
                </c:pt>
                <c:pt idx="12527">
                  <c:v>38864</c:v>
                </c:pt>
                <c:pt idx="12528">
                  <c:v>22957</c:v>
                </c:pt>
                <c:pt idx="12529">
                  <c:v>45852</c:v>
                </c:pt>
                <c:pt idx="12530">
                  <c:v>45840</c:v>
                </c:pt>
                <c:pt idx="12531">
                  <c:v>202963</c:v>
                </c:pt>
                <c:pt idx="12532">
                  <c:v>80403</c:v>
                </c:pt>
                <c:pt idx="12533">
                  <c:v>37018</c:v>
                </c:pt>
                <c:pt idx="12534">
                  <c:v>26779</c:v>
                </c:pt>
                <c:pt idx="12535">
                  <c:v>38670</c:v>
                </c:pt>
                <c:pt idx="12536">
                  <c:v>41439</c:v>
                </c:pt>
                <c:pt idx="12537">
                  <c:v>30269</c:v>
                </c:pt>
                <c:pt idx="12538">
                  <c:v>72496</c:v>
                </c:pt>
                <c:pt idx="12539">
                  <c:v>48118</c:v>
                </c:pt>
                <c:pt idx="12540">
                  <c:v>119061</c:v>
                </c:pt>
                <c:pt idx="12541">
                  <c:v>115145</c:v>
                </c:pt>
                <c:pt idx="12542">
                  <c:v>49325</c:v>
                </c:pt>
                <c:pt idx="12543">
                  <c:v>67483</c:v>
                </c:pt>
                <c:pt idx="12544">
                  <c:v>49867</c:v>
                </c:pt>
                <c:pt idx="12545">
                  <c:v>65733</c:v>
                </c:pt>
                <c:pt idx="12546">
                  <c:v>94477</c:v>
                </c:pt>
                <c:pt idx="12547">
                  <c:v>87641</c:v>
                </c:pt>
                <c:pt idx="12548">
                  <c:v>21049</c:v>
                </c:pt>
                <c:pt idx="12549">
                  <c:v>82139</c:v>
                </c:pt>
                <c:pt idx="12550">
                  <c:v>46788</c:v>
                </c:pt>
                <c:pt idx="12551">
                  <c:v>42094</c:v>
                </c:pt>
                <c:pt idx="12552">
                  <c:v>39369</c:v>
                </c:pt>
                <c:pt idx="12553">
                  <c:v>67807</c:v>
                </c:pt>
                <c:pt idx="12554">
                  <c:v>26755</c:v>
                </c:pt>
                <c:pt idx="12555">
                  <c:v>42901</c:v>
                </c:pt>
                <c:pt idx="12556">
                  <c:v>79927</c:v>
                </c:pt>
                <c:pt idx="12557">
                  <c:v>107585</c:v>
                </c:pt>
                <c:pt idx="12558">
                  <c:v>81452</c:v>
                </c:pt>
                <c:pt idx="12559">
                  <c:v>60692</c:v>
                </c:pt>
                <c:pt idx="12560">
                  <c:v>55647</c:v>
                </c:pt>
                <c:pt idx="12561">
                  <c:v>44815</c:v>
                </c:pt>
                <c:pt idx="12562">
                  <c:v>48120</c:v>
                </c:pt>
                <c:pt idx="12563">
                  <c:v>151216</c:v>
                </c:pt>
                <c:pt idx="12564">
                  <c:v>30157</c:v>
                </c:pt>
                <c:pt idx="12565">
                  <c:v>33985</c:v>
                </c:pt>
                <c:pt idx="12566">
                  <c:v>127692</c:v>
                </c:pt>
                <c:pt idx="12567">
                  <c:v>104755</c:v>
                </c:pt>
                <c:pt idx="12568">
                  <c:v>41642</c:v>
                </c:pt>
                <c:pt idx="12569">
                  <c:v>33005</c:v>
                </c:pt>
                <c:pt idx="12570">
                  <c:v>96280</c:v>
                </c:pt>
                <c:pt idx="12571">
                  <c:v>38144</c:v>
                </c:pt>
                <c:pt idx="12572">
                  <c:v>29835</c:v>
                </c:pt>
                <c:pt idx="12573">
                  <c:v>36319</c:v>
                </c:pt>
                <c:pt idx="12574">
                  <c:v>157688</c:v>
                </c:pt>
                <c:pt idx="12575">
                  <c:v>56116</c:v>
                </c:pt>
                <c:pt idx="12576">
                  <c:v>134387</c:v>
                </c:pt>
                <c:pt idx="12577">
                  <c:v>188548</c:v>
                </c:pt>
                <c:pt idx="12578">
                  <c:v>44350</c:v>
                </c:pt>
                <c:pt idx="12579">
                  <c:v>25805</c:v>
                </c:pt>
                <c:pt idx="12580">
                  <c:v>39010</c:v>
                </c:pt>
                <c:pt idx="12581">
                  <c:v>42175</c:v>
                </c:pt>
                <c:pt idx="12582">
                  <c:v>23038</c:v>
                </c:pt>
                <c:pt idx="12583">
                  <c:v>80857</c:v>
                </c:pt>
                <c:pt idx="12584">
                  <c:v>36343</c:v>
                </c:pt>
                <c:pt idx="12585">
                  <c:v>24992</c:v>
                </c:pt>
                <c:pt idx="12586">
                  <c:v>52393</c:v>
                </c:pt>
                <c:pt idx="12587">
                  <c:v>78269</c:v>
                </c:pt>
                <c:pt idx="12588">
                  <c:v>31087</c:v>
                </c:pt>
                <c:pt idx="12589">
                  <c:v>57382</c:v>
                </c:pt>
                <c:pt idx="12590">
                  <c:v>63896</c:v>
                </c:pt>
                <c:pt idx="12591">
                  <c:v>129281</c:v>
                </c:pt>
                <c:pt idx="12592">
                  <c:v>36512</c:v>
                </c:pt>
                <c:pt idx="12593">
                  <c:v>57140</c:v>
                </c:pt>
                <c:pt idx="12594">
                  <c:v>43057</c:v>
                </c:pt>
                <c:pt idx="12595">
                  <c:v>40349</c:v>
                </c:pt>
                <c:pt idx="12596">
                  <c:v>30420</c:v>
                </c:pt>
                <c:pt idx="12597">
                  <c:v>42728</c:v>
                </c:pt>
                <c:pt idx="12598">
                  <c:v>21813</c:v>
                </c:pt>
                <c:pt idx="12599">
                  <c:v>26043</c:v>
                </c:pt>
                <c:pt idx="12600">
                  <c:v>68579</c:v>
                </c:pt>
                <c:pt idx="12601">
                  <c:v>15000</c:v>
                </c:pt>
                <c:pt idx="12602">
                  <c:v>251226</c:v>
                </c:pt>
                <c:pt idx="12603">
                  <c:v>142543</c:v>
                </c:pt>
                <c:pt idx="12604">
                  <c:v>321584</c:v>
                </c:pt>
                <c:pt idx="12605">
                  <c:v>164457</c:v>
                </c:pt>
                <c:pt idx="12606">
                  <c:v>40531</c:v>
                </c:pt>
                <c:pt idx="12607">
                  <c:v>37121</c:v>
                </c:pt>
                <c:pt idx="12608">
                  <c:v>51697</c:v>
                </c:pt>
                <c:pt idx="12609">
                  <c:v>47757</c:v>
                </c:pt>
                <c:pt idx="12610">
                  <c:v>36118</c:v>
                </c:pt>
                <c:pt idx="12611">
                  <c:v>53574</c:v>
                </c:pt>
                <c:pt idx="12612">
                  <c:v>39664</c:v>
                </c:pt>
                <c:pt idx="12613">
                  <c:v>39163</c:v>
                </c:pt>
                <c:pt idx="12614">
                  <c:v>38618</c:v>
                </c:pt>
                <c:pt idx="12615">
                  <c:v>50072</c:v>
                </c:pt>
                <c:pt idx="12616">
                  <c:v>61406</c:v>
                </c:pt>
                <c:pt idx="12617">
                  <c:v>49907</c:v>
                </c:pt>
                <c:pt idx="12618">
                  <c:v>23407</c:v>
                </c:pt>
                <c:pt idx="12619">
                  <c:v>32253</c:v>
                </c:pt>
                <c:pt idx="12620">
                  <c:v>55484</c:v>
                </c:pt>
                <c:pt idx="12621">
                  <c:v>39986</c:v>
                </c:pt>
                <c:pt idx="12622">
                  <c:v>76854</c:v>
                </c:pt>
                <c:pt idx="12623">
                  <c:v>97685</c:v>
                </c:pt>
                <c:pt idx="12624">
                  <c:v>98728</c:v>
                </c:pt>
                <c:pt idx="12625">
                  <c:v>38334</c:v>
                </c:pt>
                <c:pt idx="12626">
                  <c:v>71765</c:v>
                </c:pt>
                <c:pt idx="12627">
                  <c:v>24419</c:v>
                </c:pt>
                <c:pt idx="12628">
                  <c:v>58240</c:v>
                </c:pt>
                <c:pt idx="12629">
                  <c:v>66656</c:v>
                </c:pt>
                <c:pt idx="12630">
                  <c:v>25041</c:v>
                </c:pt>
                <c:pt idx="12631">
                  <c:v>147030</c:v>
                </c:pt>
                <c:pt idx="12632">
                  <c:v>63294</c:v>
                </c:pt>
                <c:pt idx="12633">
                  <c:v>24571</c:v>
                </c:pt>
                <c:pt idx="12634">
                  <c:v>68818</c:v>
                </c:pt>
                <c:pt idx="12635">
                  <c:v>56181</c:v>
                </c:pt>
                <c:pt idx="12636">
                  <c:v>158115</c:v>
                </c:pt>
                <c:pt idx="12637">
                  <c:v>33809</c:v>
                </c:pt>
                <c:pt idx="12638">
                  <c:v>103618</c:v>
                </c:pt>
                <c:pt idx="12639">
                  <c:v>50113</c:v>
                </c:pt>
                <c:pt idx="12640">
                  <c:v>27242</c:v>
                </c:pt>
                <c:pt idx="12641">
                  <c:v>46605</c:v>
                </c:pt>
                <c:pt idx="12642">
                  <c:v>47757</c:v>
                </c:pt>
                <c:pt idx="12643">
                  <c:v>29007</c:v>
                </c:pt>
                <c:pt idx="12644">
                  <c:v>211301</c:v>
                </c:pt>
                <c:pt idx="12645">
                  <c:v>38114</c:v>
                </c:pt>
                <c:pt idx="12646">
                  <c:v>27314</c:v>
                </c:pt>
                <c:pt idx="12647">
                  <c:v>65489</c:v>
                </c:pt>
                <c:pt idx="12648">
                  <c:v>77400</c:v>
                </c:pt>
                <c:pt idx="12649">
                  <c:v>77982</c:v>
                </c:pt>
                <c:pt idx="12650">
                  <c:v>24165</c:v>
                </c:pt>
                <c:pt idx="12651">
                  <c:v>39284</c:v>
                </c:pt>
                <c:pt idx="12652">
                  <c:v>70915</c:v>
                </c:pt>
                <c:pt idx="12653">
                  <c:v>30483</c:v>
                </c:pt>
                <c:pt idx="12654">
                  <c:v>54095</c:v>
                </c:pt>
                <c:pt idx="12655">
                  <c:v>35586</c:v>
                </c:pt>
                <c:pt idx="12656">
                  <c:v>23180</c:v>
                </c:pt>
                <c:pt idx="12657">
                  <c:v>31984</c:v>
                </c:pt>
                <c:pt idx="12658">
                  <c:v>258616</c:v>
                </c:pt>
                <c:pt idx="12659">
                  <c:v>84249</c:v>
                </c:pt>
                <c:pt idx="12660">
                  <c:v>53665</c:v>
                </c:pt>
                <c:pt idx="12661">
                  <c:v>76029</c:v>
                </c:pt>
                <c:pt idx="12662">
                  <c:v>46796</c:v>
                </c:pt>
                <c:pt idx="12663">
                  <c:v>65401</c:v>
                </c:pt>
                <c:pt idx="12664">
                  <c:v>30216</c:v>
                </c:pt>
                <c:pt idx="12665">
                  <c:v>95509</c:v>
                </c:pt>
                <c:pt idx="12666">
                  <c:v>143255</c:v>
                </c:pt>
                <c:pt idx="12667">
                  <c:v>60576</c:v>
                </c:pt>
                <c:pt idx="12668">
                  <c:v>68486</c:v>
                </c:pt>
                <c:pt idx="12669">
                  <c:v>40541</c:v>
                </c:pt>
                <c:pt idx="12670">
                  <c:v>34618</c:v>
                </c:pt>
                <c:pt idx="12671">
                  <c:v>85834</c:v>
                </c:pt>
                <c:pt idx="12672">
                  <c:v>44385</c:v>
                </c:pt>
                <c:pt idx="12673">
                  <c:v>36173</c:v>
                </c:pt>
                <c:pt idx="12674">
                  <c:v>138946</c:v>
                </c:pt>
                <c:pt idx="12675">
                  <c:v>61362</c:v>
                </c:pt>
                <c:pt idx="12676">
                  <c:v>32266</c:v>
                </c:pt>
                <c:pt idx="12677">
                  <c:v>146152</c:v>
                </c:pt>
                <c:pt idx="12678">
                  <c:v>103403</c:v>
                </c:pt>
                <c:pt idx="12679">
                  <c:v>41038</c:v>
                </c:pt>
                <c:pt idx="12680">
                  <c:v>38233</c:v>
                </c:pt>
                <c:pt idx="12681">
                  <c:v>30950</c:v>
                </c:pt>
                <c:pt idx="12682">
                  <c:v>35294</c:v>
                </c:pt>
                <c:pt idx="12683">
                  <c:v>79687</c:v>
                </c:pt>
                <c:pt idx="12684">
                  <c:v>25809</c:v>
                </c:pt>
                <c:pt idx="12685">
                  <c:v>43991</c:v>
                </c:pt>
                <c:pt idx="12686">
                  <c:v>24337</c:v>
                </c:pt>
                <c:pt idx="12687">
                  <c:v>57160</c:v>
                </c:pt>
                <c:pt idx="12688">
                  <c:v>15000</c:v>
                </c:pt>
                <c:pt idx="12689">
                  <c:v>50410</c:v>
                </c:pt>
                <c:pt idx="12690">
                  <c:v>75426</c:v>
                </c:pt>
                <c:pt idx="12691">
                  <c:v>38476</c:v>
                </c:pt>
                <c:pt idx="12692">
                  <c:v>157948</c:v>
                </c:pt>
                <c:pt idx="12693">
                  <c:v>52231</c:v>
                </c:pt>
                <c:pt idx="12694">
                  <c:v>82692</c:v>
                </c:pt>
                <c:pt idx="12695">
                  <c:v>89354</c:v>
                </c:pt>
                <c:pt idx="12696">
                  <c:v>86117</c:v>
                </c:pt>
                <c:pt idx="12697">
                  <c:v>31590</c:v>
                </c:pt>
                <c:pt idx="12698">
                  <c:v>55778</c:v>
                </c:pt>
                <c:pt idx="12699">
                  <c:v>113506</c:v>
                </c:pt>
                <c:pt idx="12700">
                  <c:v>34751</c:v>
                </c:pt>
                <c:pt idx="12701">
                  <c:v>47526</c:v>
                </c:pt>
                <c:pt idx="12702">
                  <c:v>61764</c:v>
                </c:pt>
                <c:pt idx="12703">
                  <c:v>31065</c:v>
                </c:pt>
                <c:pt idx="12704">
                  <c:v>63301</c:v>
                </c:pt>
                <c:pt idx="12705">
                  <c:v>40630</c:v>
                </c:pt>
                <c:pt idx="12706">
                  <c:v>37214</c:v>
                </c:pt>
                <c:pt idx="12707">
                  <c:v>54412</c:v>
                </c:pt>
                <c:pt idx="12708">
                  <c:v>39967</c:v>
                </c:pt>
                <c:pt idx="12709">
                  <c:v>73030</c:v>
                </c:pt>
                <c:pt idx="12710">
                  <c:v>44132</c:v>
                </c:pt>
                <c:pt idx="12711">
                  <c:v>44761</c:v>
                </c:pt>
                <c:pt idx="12712">
                  <c:v>36367</c:v>
                </c:pt>
                <c:pt idx="12713">
                  <c:v>98790</c:v>
                </c:pt>
                <c:pt idx="12714">
                  <c:v>25340</c:v>
                </c:pt>
                <c:pt idx="12715">
                  <c:v>28980</c:v>
                </c:pt>
                <c:pt idx="12716">
                  <c:v>27883</c:v>
                </c:pt>
                <c:pt idx="12717">
                  <c:v>55244</c:v>
                </c:pt>
                <c:pt idx="12718">
                  <c:v>26801</c:v>
                </c:pt>
                <c:pt idx="12719">
                  <c:v>91642</c:v>
                </c:pt>
                <c:pt idx="12720">
                  <c:v>98012</c:v>
                </c:pt>
                <c:pt idx="12721">
                  <c:v>65395</c:v>
                </c:pt>
                <c:pt idx="12722">
                  <c:v>32831</c:v>
                </c:pt>
                <c:pt idx="12723">
                  <c:v>77925</c:v>
                </c:pt>
                <c:pt idx="12724">
                  <c:v>255607</c:v>
                </c:pt>
                <c:pt idx="12725">
                  <c:v>52651</c:v>
                </c:pt>
                <c:pt idx="12726">
                  <c:v>37367</c:v>
                </c:pt>
                <c:pt idx="12727">
                  <c:v>152087</c:v>
                </c:pt>
                <c:pt idx="12728">
                  <c:v>23809</c:v>
                </c:pt>
                <c:pt idx="12729">
                  <c:v>32527</c:v>
                </c:pt>
                <c:pt idx="12730">
                  <c:v>42617</c:v>
                </c:pt>
                <c:pt idx="12731">
                  <c:v>63898</c:v>
                </c:pt>
                <c:pt idx="12732">
                  <c:v>25435</c:v>
                </c:pt>
                <c:pt idx="12733">
                  <c:v>231818</c:v>
                </c:pt>
                <c:pt idx="12734">
                  <c:v>38978</c:v>
                </c:pt>
                <c:pt idx="12735">
                  <c:v>40224</c:v>
                </c:pt>
                <c:pt idx="12736">
                  <c:v>36821</c:v>
                </c:pt>
                <c:pt idx="12737">
                  <c:v>39414</c:v>
                </c:pt>
                <c:pt idx="12738">
                  <c:v>37243</c:v>
                </c:pt>
                <c:pt idx="12739">
                  <c:v>55111</c:v>
                </c:pt>
                <c:pt idx="12740">
                  <c:v>30722</c:v>
                </c:pt>
                <c:pt idx="12741">
                  <c:v>42593</c:v>
                </c:pt>
                <c:pt idx="12742">
                  <c:v>27762</c:v>
                </c:pt>
                <c:pt idx="12743">
                  <c:v>63835</c:v>
                </c:pt>
                <c:pt idx="12744">
                  <c:v>42802</c:v>
                </c:pt>
                <c:pt idx="12745">
                  <c:v>63689</c:v>
                </c:pt>
                <c:pt idx="12746">
                  <c:v>42306</c:v>
                </c:pt>
                <c:pt idx="12747">
                  <c:v>28391</c:v>
                </c:pt>
                <c:pt idx="12748">
                  <c:v>67265</c:v>
                </c:pt>
                <c:pt idx="12749">
                  <c:v>54536</c:v>
                </c:pt>
                <c:pt idx="12750">
                  <c:v>33077</c:v>
                </c:pt>
                <c:pt idx="12751">
                  <c:v>19635</c:v>
                </c:pt>
                <c:pt idx="12752">
                  <c:v>52903</c:v>
                </c:pt>
                <c:pt idx="12753">
                  <c:v>36261</c:v>
                </c:pt>
                <c:pt idx="12754">
                  <c:v>290139</c:v>
                </c:pt>
                <c:pt idx="12755">
                  <c:v>52765</c:v>
                </c:pt>
                <c:pt idx="12756">
                  <c:v>59638</c:v>
                </c:pt>
                <c:pt idx="12757">
                  <c:v>43801</c:v>
                </c:pt>
                <c:pt idx="12758">
                  <c:v>41659</c:v>
                </c:pt>
                <c:pt idx="12759">
                  <c:v>74633</c:v>
                </c:pt>
                <c:pt idx="12760">
                  <c:v>47446</c:v>
                </c:pt>
                <c:pt idx="12761">
                  <c:v>93871</c:v>
                </c:pt>
                <c:pt idx="12762">
                  <c:v>38265</c:v>
                </c:pt>
                <c:pt idx="12763">
                  <c:v>23302</c:v>
                </c:pt>
                <c:pt idx="12764">
                  <c:v>55096</c:v>
                </c:pt>
                <c:pt idx="12765">
                  <c:v>119156</c:v>
                </c:pt>
                <c:pt idx="12766">
                  <c:v>32275</c:v>
                </c:pt>
                <c:pt idx="12767">
                  <c:v>30708</c:v>
                </c:pt>
                <c:pt idx="12768">
                  <c:v>29019</c:v>
                </c:pt>
                <c:pt idx="12769">
                  <c:v>39403</c:v>
                </c:pt>
                <c:pt idx="12770">
                  <c:v>22518</c:v>
                </c:pt>
                <c:pt idx="12771">
                  <c:v>51768</c:v>
                </c:pt>
                <c:pt idx="12772">
                  <c:v>29332</c:v>
                </c:pt>
                <c:pt idx="12773">
                  <c:v>168733</c:v>
                </c:pt>
                <c:pt idx="12774">
                  <c:v>20133</c:v>
                </c:pt>
                <c:pt idx="12775">
                  <c:v>42623</c:v>
                </c:pt>
                <c:pt idx="12776">
                  <c:v>20526</c:v>
                </c:pt>
                <c:pt idx="12777">
                  <c:v>25051</c:v>
                </c:pt>
                <c:pt idx="12778">
                  <c:v>39575</c:v>
                </c:pt>
                <c:pt idx="12779">
                  <c:v>213172</c:v>
                </c:pt>
                <c:pt idx="12780">
                  <c:v>261434</c:v>
                </c:pt>
                <c:pt idx="12781">
                  <c:v>44665</c:v>
                </c:pt>
                <c:pt idx="12782">
                  <c:v>33101</c:v>
                </c:pt>
                <c:pt idx="12783">
                  <c:v>54778</c:v>
                </c:pt>
                <c:pt idx="12784">
                  <c:v>25805</c:v>
                </c:pt>
                <c:pt idx="12785">
                  <c:v>34561</c:v>
                </c:pt>
                <c:pt idx="12786">
                  <c:v>99439</c:v>
                </c:pt>
                <c:pt idx="12787">
                  <c:v>50885</c:v>
                </c:pt>
                <c:pt idx="12788">
                  <c:v>45550</c:v>
                </c:pt>
                <c:pt idx="12789">
                  <c:v>28482</c:v>
                </c:pt>
                <c:pt idx="12790">
                  <c:v>70689</c:v>
                </c:pt>
                <c:pt idx="12791">
                  <c:v>140679</c:v>
                </c:pt>
                <c:pt idx="12792">
                  <c:v>47589</c:v>
                </c:pt>
                <c:pt idx="12793">
                  <c:v>22498</c:v>
                </c:pt>
                <c:pt idx="12794">
                  <c:v>42963</c:v>
                </c:pt>
                <c:pt idx="12795">
                  <c:v>64685</c:v>
                </c:pt>
                <c:pt idx="12796">
                  <c:v>103163</c:v>
                </c:pt>
                <c:pt idx="12797">
                  <c:v>36343</c:v>
                </c:pt>
                <c:pt idx="12798">
                  <c:v>36393</c:v>
                </c:pt>
                <c:pt idx="12799">
                  <c:v>61269</c:v>
                </c:pt>
                <c:pt idx="12800">
                  <c:v>93521</c:v>
                </c:pt>
                <c:pt idx="12801">
                  <c:v>62999</c:v>
                </c:pt>
                <c:pt idx="12802">
                  <c:v>49376</c:v>
                </c:pt>
                <c:pt idx="12803">
                  <c:v>24965</c:v>
                </c:pt>
                <c:pt idx="12804">
                  <c:v>76059</c:v>
                </c:pt>
                <c:pt idx="12805">
                  <c:v>24558</c:v>
                </c:pt>
                <c:pt idx="12806">
                  <c:v>32160</c:v>
                </c:pt>
                <c:pt idx="12807">
                  <c:v>40785</c:v>
                </c:pt>
                <c:pt idx="12808">
                  <c:v>33537</c:v>
                </c:pt>
                <c:pt idx="12809">
                  <c:v>55909</c:v>
                </c:pt>
                <c:pt idx="12810">
                  <c:v>39582</c:v>
                </c:pt>
                <c:pt idx="12811">
                  <c:v>35626</c:v>
                </c:pt>
                <c:pt idx="12812">
                  <c:v>40483</c:v>
                </c:pt>
                <c:pt idx="12813">
                  <c:v>45175</c:v>
                </c:pt>
                <c:pt idx="12814">
                  <c:v>28084</c:v>
                </c:pt>
                <c:pt idx="12815">
                  <c:v>20871</c:v>
                </c:pt>
                <c:pt idx="12816">
                  <c:v>50579</c:v>
                </c:pt>
                <c:pt idx="12817">
                  <c:v>35252</c:v>
                </c:pt>
                <c:pt idx="12818">
                  <c:v>95696</c:v>
                </c:pt>
                <c:pt idx="12819">
                  <c:v>25931</c:v>
                </c:pt>
                <c:pt idx="12820">
                  <c:v>178543</c:v>
                </c:pt>
                <c:pt idx="12821">
                  <c:v>32651</c:v>
                </c:pt>
                <c:pt idx="12822">
                  <c:v>40539</c:v>
                </c:pt>
                <c:pt idx="12823">
                  <c:v>46056</c:v>
                </c:pt>
                <c:pt idx="12824">
                  <c:v>37707</c:v>
                </c:pt>
                <c:pt idx="12825">
                  <c:v>30572</c:v>
                </c:pt>
                <c:pt idx="12826">
                  <c:v>115486</c:v>
                </c:pt>
                <c:pt idx="12827">
                  <c:v>27695</c:v>
                </c:pt>
                <c:pt idx="12828">
                  <c:v>36118</c:v>
                </c:pt>
                <c:pt idx="12829">
                  <c:v>27153</c:v>
                </c:pt>
                <c:pt idx="12830">
                  <c:v>166204</c:v>
                </c:pt>
                <c:pt idx="12831">
                  <c:v>41546</c:v>
                </c:pt>
                <c:pt idx="12832">
                  <c:v>34906</c:v>
                </c:pt>
                <c:pt idx="12833">
                  <c:v>35369</c:v>
                </c:pt>
                <c:pt idx="12834">
                  <c:v>30102</c:v>
                </c:pt>
                <c:pt idx="12835">
                  <c:v>51716</c:v>
                </c:pt>
                <c:pt idx="12836">
                  <c:v>64044</c:v>
                </c:pt>
                <c:pt idx="12837">
                  <c:v>39860</c:v>
                </c:pt>
                <c:pt idx="12838">
                  <c:v>44758</c:v>
                </c:pt>
                <c:pt idx="12839">
                  <c:v>41214</c:v>
                </c:pt>
                <c:pt idx="12840">
                  <c:v>71327</c:v>
                </c:pt>
                <c:pt idx="12841">
                  <c:v>26252</c:v>
                </c:pt>
                <c:pt idx="12842">
                  <c:v>48530</c:v>
                </c:pt>
                <c:pt idx="12843">
                  <c:v>66371</c:v>
                </c:pt>
                <c:pt idx="12844">
                  <c:v>101874</c:v>
                </c:pt>
                <c:pt idx="12845">
                  <c:v>194072</c:v>
                </c:pt>
                <c:pt idx="12846">
                  <c:v>35213</c:v>
                </c:pt>
                <c:pt idx="12847">
                  <c:v>67576</c:v>
                </c:pt>
                <c:pt idx="12848">
                  <c:v>41351</c:v>
                </c:pt>
                <c:pt idx="12849">
                  <c:v>52582</c:v>
                </c:pt>
                <c:pt idx="12850">
                  <c:v>49445</c:v>
                </c:pt>
                <c:pt idx="12851">
                  <c:v>43431</c:v>
                </c:pt>
                <c:pt idx="12852">
                  <c:v>90385</c:v>
                </c:pt>
                <c:pt idx="12853">
                  <c:v>38075</c:v>
                </c:pt>
                <c:pt idx="12854">
                  <c:v>24710</c:v>
                </c:pt>
                <c:pt idx="12855">
                  <c:v>299000</c:v>
                </c:pt>
                <c:pt idx="12856">
                  <c:v>28168</c:v>
                </c:pt>
                <c:pt idx="12857">
                  <c:v>62366</c:v>
                </c:pt>
                <c:pt idx="12858">
                  <c:v>78595</c:v>
                </c:pt>
                <c:pt idx="12859">
                  <c:v>24922</c:v>
                </c:pt>
                <c:pt idx="12860">
                  <c:v>51705</c:v>
                </c:pt>
                <c:pt idx="12861">
                  <c:v>32104</c:v>
                </c:pt>
                <c:pt idx="12862">
                  <c:v>37677</c:v>
                </c:pt>
                <c:pt idx="12863">
                  <c:v>42662</c:v>
                </c:pt>
                <c:pt idx="12864">
                  <c:v>21330</c:v>
                </c:pt>
                <c:pt idx="12865">
                  <c:v>39037</c:v>
                </c:pt>
                <c:pt idx="12866">
                  <c:v>35410</c:v>
                </c:pt>
                <c:pt idx="12867">
                  <c:v>125835</c:v>
                </c:pt>
                <c:pt idx="12868">
                  <c:v>28527</c:v>
                </c:pt>
                <c:pt idx="12869">
                  <c:v>29253</c:v>
                </c:pt>
                <c:pt idx="12870">
                  <c:v>38400</c:v>
                </c:pt>
                <c:pt idx="12871">
                  <c:v>39195</c:v>
                </c:pt>
                <c:pt idx="12872">
                  <c:v>57835</c:v>
                </c:pt>
                <c:pt idx="12873">
                  <c:v>44577</c:v>
                </c:pt>
                <c:pt idx="12874">
                  <c:v>35166</c:v>
                </c:pt>
                <c:pt idx="12875">
                  <c:v>36724</c:v>
                </c:pt>
                <c:pt idx="12876">
                  <c:v>28462</c:v>
                </c:pt>
                <c:pt idx="12877">
                  <c:v>44384</c:v>
                </c:pt>
                <c:pt idx="12878">
                  <c:v>41227</c:v>
                </c:pt>
                <c:pt idx="12879">
                  <c:v>43402</c:v>
                </c:pt>
                <c:pt idx="12880">
                  <c:v>54314</c:v>
                </c:pt>
                <c:pt idx="12881">
                  <c:v>41526</c:v>
                </c:pt>
                <c:pt idx="12882">
                  <c:v>87776</c:v>
                </c:pt>
                <c:pt idx="12883">
                  <c:v>35842</c:v>
                </c:pt>
                <c:pt idx="12884">
                  <c:v>25954</c:v>
                </c:pt>
                <c:pt idx="12885">
                  <c:v>89318</c:v>
                </c:pt>
                <c:pt idx="12886">
                  <c:v>44529</c:v>
                </c:pt>
                <c:pt idx="12887">
                  <c:v>98882</c:v>
                </c:pt>
                <c:pt idx="12888">
                  <c:v>50751</c:v>
                </c:pt>
                <c:pt idx="12889">
                  <c:v>44633</c:v>
                </c:pt>
                <c:pt idx="12890">
                  <c:v>44424</c:v>
                </c:pt>
                <c:pt idx="12891">
                  <c:v>81426</c:v>
                </c:pt>
                <c:pt idx="12892">
                  <c:v>38762</c:v>
                </c:pt>
                <c:pt idx="12893">
                  <c:v>36365</c:v>
                </c:pt>
                <c:pt idx="12894">
                  <c:v>37454</c:v>
                </c:pt>
                <c:pt idx="12895">
                  <c:v>25598</c:v>
                </c:pt>
                <c:pt idx="12896">
                  <c:v>32137</c:v>
                </c:pt>
                <c:pt idx="12897">
                  <c:v>115487</c:v>
                </c:pt>
                <c:pt idx="12898">
                  <c:v>100941</c:v>
                </c:pt>
                <c:pt idx="12899">
                  <c:v>51449</c:v>
                </c:pt>
                <c:pt idx="12900">
                  <c:v>49699</c:v>
                </c:pt>
                <c:pt idx="12901">
                  <c:v>62478</c:v>
                </c:pt>
                <c:pt idx="12902">
                  <c:v>46245</c:v>
                </c:pt>
                <c:pt idx="12903">
                  <c:v>33418</c:v>
                </c:pt>
                <c:pt idx="12904">
                  <c:v>161246</c:v>
                </c:pt>
                <c:pt idx="12905">
                  <c:v>44879</c:v>
                </c:pt>
                <c:pt idx="12906">
                  <c:v>38449</c:v>
                </c:pt>
                <c:pt idx="12907">
                  <c:v>51900</c:v>
                </c:pt>
                <c:pt idx="12908">
                  <c:v>44182</c:v>
                </c:pt>
                <c:pt idx="12909">
                  <c:v>51517</c:v>
                </c:pt>
                <c:pt idx="12910">
                  <c:v>326463</c:v>
                </c:pt>
                <c:pt idx="12911">
                  <c:v>31122</c:v>
                </c:pt>
                <c:pt idx="12912">
                  <c:v>23918</c:v>
                </c:pt>
                <c:pt idx="12913">
                  <c:v>29580</c:v>
                </c:pt>
                <c:pt idx="12914">
                  <c:v>37353</c:v>
                </c:pt>
                <c:pt idx="12915">
                  <c:v>91589</c:v>
                </c:pt>
                <c:pt idx="12916">
                  <c:v>39270</c:v>
                </c:pt>
                <c:pt idx="12917">
                  <c:v>48656</c:v>
                </c:pt>
                <c:pt idx="12918">
                  <c:v>37280</c:v>
                </c:pt>
                <c:pt idx="12919">
                  <c:v>42985</c:v>
                </c:pt>
                <c:pt idx="12920">
                  <c:v>26750</c:v>
                </c:pt>
                <c:pt idx="12921">
                  <c:v>41491</c:v>
                </c:pt>
                <c:pt idx="12922">
                  <c:v>28187</c:v>
                </c:pt>
                <c:pt idx="12923">
                  <c:v>119390</c:v>
                </c:pt>
                <c:pt idx="12924">
                  <c:v>37215</c:v>
                </c:pt>
                <c:pt idx="12925">
                  <c:v>23286</c:v>
                </c:pt>
                <c:pt idx="12926">
                  <c:v>44456</c:v>
                </c:pt>
                <c:pt idx="12927">
                  <c:v>55867</c:v>
                </c:pt>
                <c:pt idx="12928">
                  <c:v>32964</c:v>
                </c:pt>
                <c:pt idx="12929">
                  <c:v>22429</c:v>
                </c:pt>
                <c:pt idx="12930">
                  <c:v>22431</c:v>
                </c:pt>
                <c:pt idx="12931">
                  <c:v>41978</c:v>
                </c:pt>
                <c:pt idx="12932">
                  <c:v>233895</c:v>
                </c:pt>
                <c:pt idx="12933">
                  <c:v>37822</c:v>
                </c:pt>
                <c:pt idx="12934">
                  <c:v>44051</c:v>
                </c:pt>
                <c:pt idx="12935">
                  <c:v>33179</c:v>
                </c:pt>
                <c:pt idx="12936">
                  <c:v>39398</c:v>
                </c:pt>
                <c:pt idx="12937">
                  <c:v>30755</c:v>
                </c:pt>
                <c:pt idx="12938">
                  <c:v>61652</c:v>
                </c:pt>
                <c:pt idx="12939">
                  <c:v>40933</c:v>
                </c:pt>
                <c:pt idx="12940">
                  <c:v>73187</c:v>
                </c:pt>
                <c:pt idx="12941">
                  <c:v>34630</c:v>
                </c:pt>
                <c:pt idx="12942">
                  <c:v>59284</c:v>
                </c:pt>
                <c:pt idx="12943">
                  <c:v>141110</c:v>
                </c:pt>
                <c:pt idx="12944">
                  <c:v>43592</c:v>
                </c:pt>
                <c:pt idx="12945">
                  <c:v>28589</c:v>
                </c:pt>
                <c:pt idx="12946">
                  <c:v>39221</c:v>
                </c:pt>
                <c:pt idx="12947">
                  <c:v>71252</c:v>
                </c:pt>
                <c:pt idx="12948">
                  <c:v>50968</c:v>
                </c:pt>
                <c:pt idx="12949">
                  <c:v>43913</c:v>
                </c:pt>
                <c:pt idx="12950">
                  <c:v>40178</c:v>
                </c:pt>
                <c:pt idx="12951">
                  <c:v>36900</c:v>
                </c:pt>
                <c:pt idx="12952">
                  <c:v>42417</c:v>
                </c:pt>
                <c:pt idx="12953">
                  <c:v>46210</c:v>
                </c:pt>
                <c:pt idx="12954">
                  <c:v>60211</c:v>
                </c:pt>
                <c:pt idx="12955">
                  <c:v>230981</c:v>
                </c:pt>
                <c:pt idx="12956">
                  <c:v>142041</c:v>
                </c:pt>
                <c:pt idx="12957">
                  <c:v>88359</c:v>
                </c:pt>
                <c:pt idx="12958">
                  <c:v>101513</c:v>
                </c:pt>
                <c:pt idx="12959">
                  <c:v>46722</c:v>
                </c:pt>
                <c:pt idx="12960">
                  <c:v>37960</c:v>
                </c:pt>
                <c:pt idx="12961">
                  <c:v>62919</c:v>
                </c:pt>
                <c:pt idx="12962">
                  <c:v>51967</c:v>
                </c:pt>
                <c:pt idx="12963">
                  <c:v>999156</c:v>
                </c:pt>
                <c:pt idx="12964">
                  <c:v>388891</c:v>
                </c:pt>
                <c:pt idx="12965">
                  <c:v>29061</c:v>
                </c:pt>
                <c:pt idx="12966">
                  <c:v>36849</c:v>
                </c:pt>
                <c:pt idx="12967">
                  <c:v>32618</c:v>
                </c:pt>
                <c:pt idx="12968">
                  <c:v>42102</c:v>
                </c:pt>
                <c:pt idx="12969">
                  <c:v>28541</c:v>
                </c:pt>
                <c:pt idx="12970">
                  <c:v>44172</c:v>
                </c:pt>
                <c:pt idx="12971">
                  <c:v>117942</c:v>
                </c:pt>
                <c:pt idx="12972">
                  <c:v>116443</c:v>
                </c:pt>
                <c:pt idx="12973">
                  <c:v>93654</c:v>
                </c:pt>
                <c:pt idx="12974">
                  <c:v>62949</c:v>
                </c:pt>
                <c:pt idx="12975">
                  <c:v>90614</c:v>
                </c:pt>
                <c:pt idx="12976">
                  <c:v>47919</c:v>
                </c:pt>
                <c:pt idx="12977">
                  <c:v>48414</c:v>
                </c:pt>
                <c:pt idx="12978">
                  <c:v>41433</c:v>
                </c:pt>
                <c:pt idx="12979">
                  <c:v>23032</c:v>
                </c:pt>
                <c:pt idx="12980">
                  <c:v>34054</c:v>
                </c:pt>
                <c:pt idx="12981">
                  <c:v>38269</c:v>
                </c:pt>
                <c:pt idx="12982">
                  <c:v>43751</c:v>
                </c:pt>
                <c:pt idx="12983">
                  <c:v>136425</c:v>
                </c:pt>
                <c:pt idx="12984">
                  <c:v>21691</c:v>
                </c:pt>
                <c:pt idx="12985">
                  <c:v>27085</c:v>
                </c:pt>
                <c:pt idx="12986">
                  <c:v>24187</c:v>
                </c:pt>
                <c:pt idx="12987">
                  <c:v>82600</c:v>
                </c:pt>
                <c:pt idx="12988">
                  <c:v>40692</c:v>
                </c:pt>
                <c:pt idx="12989">
                  <c:v>62816</c:v>
                </c:pt>
                <c:pt idx="12990">
                  <c:v>126152</c:v>
                </c:pt>
                <c:pt idx="12991">
                  <c:v>31915</c:v>
                </c:pt>
                <c:pt idx="12992">
                  <c:v>33826</c:v>
                </c:pt>
                <c:pt idx="12993">
                  <c:v>69283</c:v>
                </c:pt>
                <c:pt idx="12994">
                  <c:v>103272</c:v>
                </c:pt>
                <c:pt idx="12995">
                  <c:v>70737</c:v>
                </c:pt>
                <c:pt idx="12996">
                  <c:v>46849</c:v>
                </c:pt>
                <c:pt idx="12997">
                  <c:v>50304</c:v>
                </c:pt>
                <c:pt idx="12998">
                  <c:v>61761</c:v>
                </c:pt>
                <c:pt idx="12999">
                  <c:v>30868</c:v>
                </c:pt>
                <c:pt idx="13000">
                  <c:v>38210</c:v>
                </c:pt>
                <c:pt idx="13001">
                  <c:v>24825</c:v>
                </c:pt>
                <c:pt idx="13002">
                  <c:v>32659</c:v>
                </c:pt>
                <c:pt idx="13003">
                  <c:v>71681</c:v>
                </c:pt>
                <c:pt idx="13004">
                  <c:v>41684</c:v>
                </c:pt>
                <c:pt idx="13005">
                  <c:v>32628</c:v>
                </c:pt>
                <c:pt idx="13006">
                  <c:v>31627</c:v>
                </c:pt>
                <c:pt idx="13007">
                  <c:v>47180</c:v>
                </c:pt>
                <c:pt idx="13008">
                  <c:v>26787</c:v>
                </c:pt>
                <c:pt idx="13009">
                  <c:v>45182</c:v>
                </c:pt>
                <c:pt idx="13010">
                  <c:v>49960</c:v>
                </c:pt>
                <c:pt idx="13011">
                  <c:v>22452</c:v>
                </c:pt>
                <c:pt idx="13012">
                  <c:v>42850</c:v>
                </c:pt>
                <c:pt idx="13013">
                  <c:v>96595</c:v>
                </c:pt>
                <c:pt idx="13014">
                  <c:v>45902</c:v>
                </c:pt>
                <c:pt idx="13015">
                  <c:v>30233</c:v>
                </c:pt>
                <c:pt idx="13016">
                  <c:v>184336</c:v>
                </c:pt>
                <c:pt idx="13017">
                  <c:v>28363</c:v>
                </c:pt>
                <c:pt idx="13018">
                  <c:v>49337</c:v>
                </c:pt>
                <c:pt idx="13019">
                  <c:v>56734</c:v>
                </c:pt>
                <c:pt idx="13020">
                  <c:v>32901</c:v>
                </c:pt>
                <c:pt idx="13021">
                  <c:v>47103</c:v>
                </c:pt>
                <c:pt idx="13022">
                  <c:v>60297</c:v>
                </c:pt>
                <c:pt idx="13023">
                  <c:v>33107</c:v>
                </c:pt>
                <c:pt idx="13024">
                  <c:v>28040</c:v>
                </c:pt>
                <c:pt idx="13025">
                  <c:v>48161</c:v>
                </c:pt>
                <c:pt idx="13026">
                  <c:v>71928</c:v>
                </c:pt>
                <c:pt idx="13027">
                  <c:v>51653</c:v>
                </c:pt>
                <c:pt idx="13028">
                  <c:v>30991</c:v>
                </c:pt>
                <c:pt idx="13029">
                  <c:v>54366</c:v>
                </c:pt>
                <c:pt idx="13030">
                  <c:v>63697</c:v>
                </c:pt>
                <c:pt idx="13031">
                  <c:v>104707</c:v>
                </c:pt>
                <c:pt idx="13032">
                  <c:v>39167</c:v>
                </c:pt>
                <c:pt idx="13033">
                  <c:v>36820</c:v>
                </c:pt>
                <c:pt idx="13034">
                  <c:v>39599</c:v>
                </c:pt>
                <c:pt idx="13035">
                  <c:v>40966</c:v>
                </c:pt>
                <c:pt idx="13036">
                  <c:v>32275</c:v>
                </c:pt>
                <c:pt idx="13037">
                  <c:v>72054</c:v>
                </c:pt>
                <c:pt idx="13038">
                  <c:v>80810</c:v>
                </c:pt>
                <c:pt idx="13039">
                  <c:v>81826</c:v>
                </c:pt>
                <c:pt idx="13040">
                  <c:v>23407</c:v>
                </c:pt>
                <c:pt idx="13041">
                  <c:v>100924</c:v>
                </c:pt>
                <c:pt idx="13042">
                  <c:v>25443</c:v>
                </c:pt>
                <c:pt idx="13043">
                  <c:v>49681</c:v>
                </c:pt>
                <c:pt idx="13044">
                  <c:v>38938</c:v>
                </c:pt>
                <c:pt idx="13045">
                  <c:v>42623</c:v>
                </c:pt>
                <c:pt idx="13046">
                  <c:v>30119</c:v>
                </c:pt>
                <c:pt idx="13047">
                  <c:v>18203</c:v>
                </c:pt>
                <c:pt idx="13048">
                  <c:v>36227</c:v>
                </c:pt>
                <c:pt idx="13049">
                  <c:v>260530</c:v>
                </c:pt>
                <c:pt idx="13050">
                  <c:v>37203</c:v>
                </c:pt>
                <c:pt idx="13051">
                  <c:v>24011</c:v>
                </c:pt>
                <c:pt idx="13052">
                  <c:v>127476</c:v>
                </c:pt>
                <c:pt idx="13053">
                  <c:v>55311</c:v>
                </c:pt>
                <c:pt idx="13054">
                  <c:v>37091</c:v>
                </c:pt>
                <c:pt idx="13055">
                  <c:v>57159</c:v>
                </c:pt>
                <c:pt idx="13056">
                  <c:v>48796</c:v>
                </c:pt>
                <c:pt idx="13057">
                  <c:v>119209</c:v>
                </c:pt>
                <c:pt idx="13058">
                  <c:v>115456</c:v>
                </c:pt>
                <c:pt idx="13059">
                  <c:v>39112</c:v>
                </c:pt>
                <c:pt idx="13060">
                  <c:v>28014</c:v>
                </c:pt>
                <c:pt idx="13061">
                  <c:v>36360</c:v>
                </c:pt>
                <c:pt idx="13062">
                  <c:v>58152</c:v>
                </c:pt>
                <c:pt idx="13063">
                  <c:v>25513</c:v>
                </c:pt>
                <c:pt idx="13064">
                  <c:v>28135</c:v>
                </c:pt>
                <c:pt idx="13065">
                  <c:v>50020</c:v>
                </c:pt>
                <c:pt idx="13066">
                  <c:v>201663</c:v>
                </c:pt>
                <c:pt idx="13067">
                  <c:v>25651</c:v>
                </c:pt>
                <c:pt idx="13068">
                  <c:v>32147</c:v>
                </c:pt>
                <c:pt idx="13069">
                  <c:v>58348</c:v>
                </c:pt>
                <c:pt idx="13070">
                  <c:v>39518</c:v>
                </c:pt>
                <c:pt idx="13071">
                  <c:v>50970</c:v>
                </c:pt>
                <c:pt idx="13072">
                  <c:v>81794</c:v>
                </c:pt>
                <c:pt idx="13073">
                  <c:v>38097</c:v>
                </c:pt>
                <c:pt idx="13074">
                  <c:v>45912</c:v>
                </c:pt>
                <c:pt idx="13075">
                  <c:v>145873</c:v>
                </c:pt>
                <c:pt idx="13076">
                  <c:v>42246</c:v>
                </c:pt>
                <c:pt idx="13077">
                  <c:v>40524</c:v>
                </c:pt>
                <c:pt idx="13078">
                  <c:v>139171</c:v>
                </c:pt>
                <c:pt idx="13079">
                  <c:v>25020</c:v>
                </c:pt>
                <c:pt idx="13080">
                  <c:v>76032</c:v>
                </c:pt>
                <c:pt idx="13081">
                  <c:v>43443</c:v>
                </c:pt>
                <c:pt idx="13082">
                  <c:v>50779</c:v>
                </c:pt>
                <c:pt idx="13083">
                  <c:v>48570</c:v>
                </c:pt>
                <c:pt idx="13084">
                  <c:v>53075</c:v>
                </c:pt>
                <c:pt idx="13085">
                  <c:v>98732</c:v>
                </c:pt>
                <c:pt idx="13086">
                  <c:v>34514</c:v>
                </c:pt>
                <c:pt idx="13087">
                  <c:v>54593</c:v>
                </c:pt>
                <c:pt idx="13088">
                  <c:v>36597</c:v>
                </c:pt>
                <c:pt idx="13089">
                  <c:v>26355</c:v>
                </c:pt>
                <c:pt idx="13090">
                  <c:v>84802</c:v>
                </c:pt>
                <c:pt idx="13091">
                  <c:v>95377</c:v>
                </c:pt>
                <c:pt idx="13092">
                  <c:v>396566</c:v>
                </c:pt>
                <c:pt idx="13093">
                  <c:v>34102</c:v>
                </c:pt>
                <c:pt idx="13094">
                  <c:v>45112</c:v>
                </c:pt>
                <c:pt idx="13095">
                  <c:v>55509</c:v>
                </c:pt>
                <c:pt idx="13096">
                  <c:v>39560</c:v>
                </c:pt>
                <c:pt idx="13097">
                  <c:v>203123</c:v>
                </c:pt>
                <c:pt idx="13098">
                  <c:v>48915</c:v>
                </c:pt>
                <c:pt idx="13099">
                  <c:v>63531</c:v>
                </c:pt>
                <c:pt idx="13100">
                  <c:v>472973</c:v>
                </c:pt>
                <c:pt idx="13101">
                  <c:v>47900</c:v>
                </c:pt>
                <c:pt idx="13102">
                  <c:v>49877</c:v>
                </c:pt>
                <c:pt idx="13103">
                  <c:v>46903</c:v>
                </c:pt>
                <c:pt idx="13104">
                  <c:v>188575</c:v>
                </c:pt>
                <c:pt idx="13105">
                  <c:v>57975</c:v>
                </c:pt>
                <c:pt idx="13106">
                  <c:v>146802</c:v>
                </c:pt>
                <c:pt idx="13107">
                  <c:v>40941</c:v>
                </c:pt>
                <c:pt idx="13108">
                  <c:v>32634</c:v>
                </c:pt>
                <c:pt idx="13109">
                  <c:v>22830</c:v>
                </c:pt>
                <c:pt idx="13110">
                  <c:v>52623</c:v>
                </c:pt>
                <c:pt idx="13111">
                  <c:v>35703</c:v>
                </c:pt>
                <c:pt idx="13112">
                  <c:v>54845</c:v>
                </c:pt>
                <c:pt idx="13113">
                  <c:v>37573</c:v>
                </c:pt>
                <c:pt idx="13114">
                  <c:v>24503</c:v>
                </c:pt>
                <c:pt idx="13115">
                  <c:v>51144</c:v>
                </c:pt>
                <c:pt idx="13116">
                  <c:v>131845</c:v>
                </c:pt>
                <c:pt idx="13117">
                  <c:v>39725</c:v>
                </c:pt>
                <c:pt idx="13118">
                  <c:v>264393</c:v>
                </c:pt>
                <c:pt idx="13119">
                  <c:v>49394</c:v>
                </c:pt>
                <c:pt idx="13120">
                  <c:v>23216</c:v>
                </c:pt>
                <c:pt idx="13121">
                  <c:v>38849</c:v>
                </c:pt>
                <c:pt idx="13122">
                  <c:v>97668</c:v>
                </c:pt>
                <c:pt idx="13123">
                  <c:v>47783</c:v>
                </c:pt>
                <c:pt idx="13124">
                  <c:v>79238</c:v>
                </c:pt>
                <c:pt idx="13125">
                  <c:v>34549</c:v>
                </c:pt>
                <c:pt idx="13126">
                  <c:v>142240</c:v>
                </c:pt>
                <c:pt idx="13127">
                  <c:v>38609</c:v>
                </c:pt>
                <c:pt idx="13128">
                  <c:v>29526</c:v>
                </c:pt>
                <c:pt idx="13129">
                  <c:v>58851</c:v>
                </c:pt>
                <c:pt idx="13130">
                  <c:v>69452</c:v>
                </c:pt>
                <c:pt idx="13131">
                  <c:v>34856</c:v>
                </c:pt>
                <c:pt idx="13132">
                  <c:v>25582</c:v>
                </c:pt>
                <c:pt idx="13133">
                  <c:v>39856</c:v>
                </c:pt>
                <c:pt idx="13134">
                  <c:v>64451</c:v>
                </c:pt>
                <c:pt idx="13135">
                  <c:v>45056</c:v>
                </c:pt>
                <c:pt idx="13136">
                  <c:v>34007</c:v>
                </c:pt>
                <c:pt idx="13137">
                  <c:v>81075</c:v>
                </c:pt>
                <c:pt idx="13138">
                  <c:v>200957</c:v>
                </c:pt>
                <c:pt idx="13139">
                  <c:v>28156</c:v>
                </c:pt>
                <c:pt idx="13140">
                  <c:v>43483</c:v>
                </c:pt>
                <c:pt idx="13141">
                  <c:v>40178</c:v>
                </c:pt>
                <c:pt idx="13142">
                  <c:v>29257</c:v>
                </c:pt>
                <c:pt idx="13143">
                  <c:v>58998</c:v>
                </c:pt>
                <c:pt idx="13144">
                  <c:v>48836</c:v>
                </c:pt>
                <c:pt idx="13145">
                  <c:v>38123</c:v>
                </c:pt>
                <c:pt idx="13146">
                  <c:v>37458</c:v>
                </c:pt>
                <c:pt idx="13147">
                  <c:v>124128</c:v>
                </c:pt>
                <c:pt idx="13148">
                  <c:v>175999</c:v>
                </c:pt>
                <c:pt idx="13149">
                  <c:v>30489</c:v>
                </c:pt>
                <c:pt idx="13150">
                  <c:v>75181</c:v>
                </c:pt>
                <c:pt idx="13151">
                  <c:v>61225</c:v>
                </c:pt>
                <c:pt idx="13152">
                  <c:v>40423</c:v>
                </c:pt>
                <c:pt idx="13153">
                  <c:v>25384</c:v>
                </c:pt>
                <c:pt idx="13154">
                  <c:v>145521</c:v>
                </c:pt>
                <c:pt idx="13155">
                  <c:v>87757</c:v>
                </c:pt>
                <c:pt idx="13156">
                  <c:v>29066</c:v>
                </c:pt>
                <c:pt idx="13157">
                  <c:v>44117</c:v>
                </c:pt>
                <c:pt idx="13158">
                  <c:v>125145</c:v>
                </c:pt>
                <c:pt idx="13159">
                  <c:v>67076</c:v>
                </c:pt>
                <c:pt idx="13160">
                  <c:v>51643</c:v>
                </c:pt>
                <c:pt idx="13161">
                  <c:v>37502</c:v>
                </c:pt>
                <c:pt idx="13162">
                  <c:v>41667</c:v>
                </c:pt>
                <c:pt idx="13163">
                  <c:v>180003</c:v>
                </c:pt>
                <c:pt idx="13164">
                  <c:v>41810</c:v>
                </c:pt>
                <c:pt idx="13165">
                  <c:v>104506</c:v>
                </c:pt>
                <c:pt idx="13166">
                  <c:v>30045</c:v>
                </c:pt>
                <c:pt idx="13167">
                  <c:v>49175</c:v>
                </c:pt>
                <c:pt idx="13168">
                  <c:v>30053</c:v>
                </c:pt>
                <c:pt idx="13169">
                  <c:v>40527</c:v>
                </c:pt>
                <c:pt idx="13170">
                  <c:v>55953</c:v>
                </c:pt>
                <c:pt idx="13171">
                  <c:v>25625</c:v>
                </c:pt>
                <c:pt idx="13172">
                  <c:v>34246</c:v>
                </c:pt>
                <c:pt idx="13173">
                  <c:v>256077</c:v>
                </c:pt>
                <c:pt idx="13174">
                  <c:v>40699</c:v>
                </c:pt>
                <c:pt idx="13175">
                  <c:v>84147</c:v>
                </c:pt>
                <c:pt idx="13176">
                  <c:v>31459</c:v>
                </c:pt>
                <c:pt idx="13177">
                  <c:v>104778</c:v>
                </c:pt>
                <c:pt idx="13178">
                  <c:v>24013</c:v>
                </c:pt>
                <c:pt idx="13179">
                  <c:v>36737</c:v>
                </c:pt>
                <c:pt idx="13180">
                  <c:v>29303</c:v>
                </c:pt>
                <c:pt idx="13181">
                  <c:v>36812</c:v>
                </c:pt>
                <c:pt idx="13182">
                  <c:v>27548</c:v>
                </c:pt>
                <c:pt idx="13183">
                  <c:v>30124</c:v>
                </c:pt>
                <c:pt idx="13184">
                  <c:v>100289</c:v>
                </c:pt>
                <c:pt idx="13185">
                  <c:v>107554</c:v>
                </c:pt>
                <c:pt idx="13186">
                  <c:v>44786</c:v>
                </c:pt>
                <c:pt idx="13187">
                  <c:v>57469</c:v>
                </c:pt>
                <c:pt idx="13188">
                  <c:v>66703</c:v>
                </c:pt>
                <c:pt idx="13189">
                  <c:v>87743</c:v>
                </c:pt>
                <c:pt idx="13190">
                  <c:v>136933</c:v>
                </c:pt>
                <c:pt idx="13191">
                  <c:v>86085</c:v>
                </c:pt>
                <c:pt idx="13192">
                  <c:v>28646</c:v>
                </c:pt>
                <c:pt idx="13193">
                  <c:v>83340</c:v>
                </c:pt>
                <c:pt idx="13194">
                  <c:v>36783</c:v>
                </c:pt>
                <c:pt idx="13195">
                  <c:v>42685</c:v>
                </c:pt>
                <c:pt idx="13196">
                  <c:v>34208</c:v>
                </c:pt>
                <c:pt idx="13197">
                  <c:v>61837</c:v>
                </c:pt>
                <c:pt idx="13198">
                  <c:v>59038</c:v>
                </c:pt>
                <c:pt idx="13199">
                  <c:v>26407</c:v>
                </c:pt>
                <c:pt idx="13200">
                  <c:v>145474</c:v>
                </c:pt>
                <c:pt idx="13201">
                  <c:v>37729</c:v>
                </c:pt>
                <c:pt idx="13202">
                  <c:v>58263</c:v>
                </c:pt>
                <c:pt idx="13203">
                  <c:v>28347</c:v>
                </c:pt>
                <c:pt idx="13204">
                  <c:v>43289</c:v>
                </c:pt>
                <c:pt idx="13205">
                  <c:v>67624</c:v>
                </c:pt>
                <c:pt idx="13206">
                  <c:v>36195</c:v>
                </c:pt>
                <c:pt idx="13207">
                  <c:v>210388</c:v>
                </c:pt>
                <c:pt idx="13208">
                  <c:v>38760</c:v>
                </c:pt>
                <c:pt idx="13209">
                  <c:v>37632</c:v>
                </c:pt>
                <c:pt idx="13210">
                  <c:v>73264</c:v>
                </c:pt>
                <c:pt idx="13211">
                  <c:v>38867</c:v>
                </c:pt>
                <c:pt idx="13212">
                  <c:v>71499</c:v>
                </c:pt>
                <c:pt idx="13213">
                  <c:v>34355</c:v>
                </c:pt>
                <c:pt idx="13214">
                  <c:v>109351</c:v>
                </c:pt>
                <c:pt idx="13215">
                  <c:v>33588</c:v>
                </c:pt>
                <c:pt idx="13216">
                  <c:v>44877</c:v>
                </c:pt>
                <c:pt idx="13217">
                  <c:v>51817</c:v>
                </c:pt>
                <c:pt idx="13218">
                  <c:v>51645</c:v>
                </c:pt>
                <c:pt idx="13219">
                  <c:v>150191</c:v>
                </c:pt>
                <c:pt idx="13220">
                  <c:v>79618</c:v>
                </c:pt>
                <c:pt idx="13221">
                  <c:v>18343</c:v>
                </c:pt>
                <c:pt idx="13222">
                  <c:v>51688</c:v>
                </c:pt>
                <c:pt idx="13223">
                  <c:v>26722</c:v>
                </c:pt>
                <c:pt idx="13224">
                  <c:v>73347</c:v>
                </c:pt>
                <c:pt idx="13225">
                  <c:v>43987</c:v>
                </c:pt>
                <c:pt idx="13226">
                  <c:v>25341</c:v>
                </c:pt>
                <c:pt idx="13227">
                  <c:v>27743</c:v>
                </c:pt>
                <c:pt idx="13228">
                  <c:v>40213</c:v>
                </c:pt>
                <c:pt idx="13229">
                  <c:v>52629</c:v>
                </c:pt>
                <c:pt idx="13230">
                  <c:v>44793</c:v>
                </c:pt>
                <c:pt idx="13231">
                  <c:v>52812</c:v>
                </c:pt>
                <c:pt idx="13232">
                  <c:v>93558</c:v>
                </c:pt>
                <c:pt idx="13233">
                  <c:v>26461</c:v>
                </c:pt>
                <c:pt idx="13234">
                  <c:v>33674</c:v>
                </c:pt>
                <c:pt idx="13235">
                  <c:v>219922</c:v>
                </c:pt>
                <c:pt idx="13236">
                  <c:v>41823</c:v>
                </c:pt>
                <c:pt idx="13237">
                  <c:v>23550</c:v>
                </c:pt>
                <c:pt idx="13238">
                  <c:v>93356</c:v>
                </c:pt>
                <c:pt idx="13239">
                  <c:v>49432</c:v>
                </c:pt>
                <c:pt idx="13240">
                  <c:v>196082</c:v>
                </c:pt>
                <c:pt idx="13241">
                  <c:v>109062</c:v>
                </c:pt>
                <c:pt idx="13242">
                  <c:v>48596</c:v>
                </c:pt>
                <c:pt idx="13243">
                  <c:v>42213</c:v>
                </c:pt>
                <c:pt idx="13244">
                  <c:v>51335</c:v>
                </c:pt>
                <c:pt idx="13245">
                  <c:v>51938</c:v>
                </c:pt>
                <c:pt idx="13246">
                  <c:v>35990</c:v>
                </c:pt>
                <c:pt idx="13247">
                  <c:v>19621</c:v>
                </c:pt>
                <c:pt idx="13248">
                  <c:v>28497</c:v>
                </c:pt>
                <c:pt idx="13249">
                  <c:v>32660</c:v>
                </c:pt>
                <c:pt idx="13250">
                  <c:v>36536</c:v>
                </c:pt>
                <c:pt idx="13251">
                  <c:v>32803</c:v>
                </c:pt>
                <c:pt idx="13252">
                  <c:v>66616</c:v>
                </c:pt>
                <c:pt idx="13253">
                  <c:v>44716</c:v>
                </c:pt>
                <c:pt idx="13254">
                  <c:v>19286</c:v>
                </c:pt>
                <c:pt idx="13255">
                  <c:v>53195</c:v>
                </c:pt>
                <c:pt idx="13256">
                  <c:v>85740</c:v>
                </c:pt>
                <c:pt idx="13257">
                  <c:v>33904</c:v>
                </c:pt>
                <c:pt idx="13258">
                  <c:v>33504</c:v>
                </c:pt>
                <c:pt idx="13259">
                  <c:v>44154</c:v>
                </c:pt>
                <c:pt idx="13260">
                  <c:v>29936</c:v>
                </c:pt>
                <c:pt idx="13261">
                  <c:v>34347</c:v>
                </c:pt>
                <c:pt idx="13262">
                  <c:v>42951</c:v>
                </c:pt>
                <c:pt idx="13263">
                  <c:v>40302</c:v>
                </c:pt>
                <c:pt idx="13264">
                  <c:v>41269</c:v>
                </c:pt>
                <c:pt idx="13265">
                  <c:v>34424</c:v>
                </c:pt>
                <c:pt idx="13266">
                  <c:v>35392</c:v>
                </c:pt>
                <c:pt idx="13267">
                  <c:v>22804</c:v>
                </c:pt>
                <c:pt idx="13268">
                  <c:v>26884</c:v>
                </c:pt>
                <c:pt idx="13269">
                  <c:v>125682</c:v>
                </c:pt>
                <c:pt idx="13270">
                  <c:v>61290</c:v>
                </c:pt>
                <c:pt idx="13271">
                  <c:v>30285</c:v>
                </c:pt>
                <c:pt idx="13272">
                  <c:v>71811</c:v>
                </c:pt>
                <c:pt idx="13273">
                  <c:v>48484</c:v>
                </c:pt>
                <c:pt idx="13274">
                  <c:v>41121</c:v>
                </c:pt>
                <c:pt idx="13275">
                  <c:v>54708</c:v>
                </c:pt>
                <c:pt idx="13276">
                  <c:v>121737</c:v>
                </c:pt>
                <c:pt idx="13277">
                  <c:v>89400</c:v>
                </c:pt>
                <c:pt idx="13278">
                  <c:v>30864</c:v>
                </c:pt>
                <c:pt idx="13279">
                  <c:v>30605</c:v>
                </c:pt>
                <c:pt idx="13280">
                  <c:v>23380</c:v>
                </c:pt>
                <c:pt idx="13281">
                  <c:v>43534</c:v>
                </c:pt>
                <c:pt idx="13282">
                  <c:v>40912</c:v>
                </c:pt>
                <c:pt idx="13283">
                  <c:v>28569</c:v>
                </c:pt>
                <c:pt idx="13284">
                  <c:v>137938</c:v>
                </c:pt>
                <c:pt idx="13285">
                  <c:v>39004</c:v>
                </c:pt>
                <c:pt idx="13286">
                  <c:v>34973</c:v>
                </c:pt>
                <c:pt idx="13287">
                  <c:v>36205</c:v>
                </c:pt>
                <c:pt idx="13288">
                  <c:v>29846</c:v>
                </c:pt>
                <c:pt idx="13289">
                  <c:v>33951</c:v>
                </c:pt>
                <c:pt idx="13290">
                  <c:v>144059</c:v>
                </c:pt>
                <c:pt idx="13291">
                  <c:v>158119</c:v>
                </c:pt>
                <c:pt idx="13292">
                  <c:v>43118</c:v>
                </c:pt>
                <c:pt idx="13293">
                  <c:v>30619</c:v>
                </c:pt>
                <c:pt idx="13294">
                  <c:v>133938</c:v>
                </c:pt>
                <c:pt idx="13295">
                  <c:v>43213</c:v>
                </c:pt>
                <c:pt idx="13296">
                  <c:v>34664</c:v>
                </c:pt>
                <c:pt idx="13297">
                  <c:v>68484</c:v>
                </c:pt>
                <c:pt idx="13298">
                  <c:v>73087</c:v>
                </c:pt>
                <c:pt idx="13299">
                  <c:v>41832</c:v>
                </c:pt>
                <c:pt idx="13300">
                  <c:v>181724</c:v>
                </c:pt>
                <c:pt idx="13301">
                  <c:v>33843</c:v>
                </c:pt>
                <c:pt idx="13302">
                  <c:v>39174</c:v>
                </c:pt>
                <c:pt idx="13303">
                  <c:v>61104</c:v>
                </c:pt>
                <c:pt idx="13304">
                  <c:v>42469</c:v>
                </c:pt>
                <c:pt idx="13305">
                  <c:v>59240</c:v>
                </c:pt>
                <c:pt idx="13306">
                  <c:v>21201</c:v>
                </c:pt>
                <c:pt idx="13307">
                  <c:v>59738</c:v>
                </c:pt>
                <c:pt idx="13308">
                  <c:v>36319</c:v>
                </c:pt>
                <c:pt idx="13309">
                  <c:v>35092</c:v>
                </c:pt>
                <c:pt idx="13310">
                  <c:v>34068</c:v>
                </c:pt>
                <c:pt idx="13311">
                  <c:v>48249</c:v>
                </c:pt>
                <c:pt idx="13312">
                  <c:v>174447</c:v>
                </c:pt>
                <c:pt idx="13313">
                  <c:v>46946</c:v>
                </c:pt>
                <c:pt idx="13314">
                  <c:v>36227</c:v>
                </c:pt>
                <c:pt idx="13315">
                  <c:v>26987</c:v>
                </c:pt>
                <c:pt idx="13316">
                  <c:v>39981</c:v>
                </c:pt>
                <c:pt idx="13317">
                  <c:v>65199</c:v>
                </c:pt>
                <c:pt idx="13318">
                  <c:v>45757</c:v>
                </c:pt>
                <c:pt idx="13319">
                  <c:v>27926</c:v>
                </c:pt>
                <c:pt idx="13320">
                  <c:v>36901</c:v>
                </c:pt>
                <c:pt idx="13321">
                  <c:v>35907</c:v>
                </c:pt>
                <c:pt idx="13322">
                  <c:v>101350</c:v>
                </c:pt>
                <c:pt idx="13323">
                  <c:v>51027</c:v>
                </c:pt>
                <c:pt idx="13324">
                  <c:v>44084</c:v>
                </c:pt>
                <c:pt idx="13325">
                  <c:v>21442</c:v>
                </c:pt>
                <c:pt idx="13326">
                  <c:v>69775</c:v>
                </c:pt>
                <c:pt idx="13327">
                  <c:v>177285</c:v>
                </c:pt>
                <c:pt idx="13328">
                  <c:v>70537</c:v>
                </c:pt>
                <c:pt idx="13329">
                  <c:v>75815</c:v>
                </c:pt>
                <c:pt idx="13330">
                  <c:v>35992</c:v>
                </c:pt>
                <c:pt idx="13331">
                  <c:v>28206</c:v>
                </c:pt>
                <c:pt idx="13332">
                  <c:v>120317</c:v>
                </c:pt>
                <c:pt idx="13333">
                  <c:v>33754</c:v>
                </c:pt>
                <c:pt idx="13334">
                  <c:v>39854</c:v>
                </c:pt>
                <c:pt idx="13335">
                  <c:v>45028</c:v>
                </c:pt>
                <c:pt idx="13336">
                  <c:v>25469</c:v>
                </c:pt>
                <c:pt idx="13337">
                  <c:v>37386</c:v>
                </c:pt>
                <c:pt idx="13338">
                  <c:v>32732</c:v>
                </c:pt>
                <c:pt idx="13339">
                  <c:v>34989</c:v>
                </c:pt>
                <c:pt idx="13340">
                  <c:v>32758</c:v>
                </c:pt>
                <c:pt idx="13341">
                  <c:v>31344</c:v>
                </c:pt>
                <c:pt idx="13342">
                  <c:v>51724</c:v>
                </c:pt>
                <c:pt idx="13343">
                  <c:v>58836</c:v>
                </c:pt>
                <c:pt idx="13344">
                  <c:v>23942</c:v>
                </c:pt>
                <c:pt idx="13345">
                  <c:v>46476</c:v>
                </c:pt>
                <c:pt idx="13346">
                  <c:v>62045</c:v>
                </c:pt>
                <c:pt idx="13347">
                  <c:v>56485</c:v>
                </c:pt>
                <c:pt idx="13348">
                  <c:v>75931</c:v>
                </c:pt>
                <c:pt idx="13349">
                  <c:v>44449</c:v>
                </c:pt>
                <c:pt idx="13350">
                  <c:v>32687</c:v>
                </c:pt>
                <c:pt idx="13351">
                  <c:v>39699</c:v>
                </c:pt>
                <c:pt idx="13352">
                  <c:v>47059</c:v>
                </c:pt>
                <c:pt idx="13353">
                  <c:v>62339</c:v>
                </c:pt>
                <c:pt idx="13354">
                  <c:v>37283</c:v>
                </c:pt>
                <c:pt idx="13355">
                  <c:v>42524</c:v>
                </c:pt>
                <c:pt idx="13356">
                  <c:v>38246</c:v>
                </c:pt>
                <c:pt idx="13357">
                  <c:v>27104</c:v>
                </c:pt>
                <c:pt idx="13358">
                  <c:v>142966</c:v>
                </c:pt>
                <c:pt idx="13359">
                  <c:v>45313</c:v>
                </c:pt>
                <c:pt idx="13360">
                  <c:v>30010</c:v>
                </c:pt>
                <c:pt idx="13361">
                  <c:v>329425</c:v>
                </c:pt>
                <c:pt idx="13362">
                  <c:v>44416</c:v>
                </c:pt>
                <c:pt idx="13363">
                  <c:v>40180</c:v>
                </c:pt>
                <c:pt idx="13364">
                  <c:v>33687</c:v>
                </c:pt>
                <c:pt idx="13365">
                  <c:v>40595</c:v>
                </c:pt>
                <c:pt idx="13366">
                  <c:v>130990</c:v>
                </c:pt>
                <c:pt idx="13367">
                  <c:v>30943</c:v>
                </c:pt>
                <c:pt idx="13368">
                  <c:v>118298</c:v>
                </c:pt>
                <c:pt idx="13369">
                  <c:v>30795</c:v>
                </c:pt>
                <c:pt idx="13370">
                  <c:v>50907</c:v>
                </c:pt>
                <c:pt idx="13371">
                  <c:v>37914</c:v>
                </c:pt>
                <c:pt idx="13372">
                  <c:v>38552</c:v>
                </c:pt>
                <c:pt idx="13373">
                  <c:v>36904</c:v>
                </c:pt>
                <c:pt idx="13374">
                  <c:v>286820</c:v>
                </c:pt>
                <c:pt idx="13375">
                  <c:v>26495</c:v>
                </c:pt>
                <c:pt idx="13376">
                  <c:v>57413</c:v>
                </c:pt>
                <c:pt idx="13377">
                  <c:v>128181</c:v>
                </c:pt>
                <c:pt idx="13378">
                  <c:v>43966</c:v>
                </c:pt>
                <c:pt idx="13379">
                  <c:v>40861</c:v>
                </c:pt>
                <c:pt idx="13380">
                  <c:v>170089</c:v>
                </c:pt>
                <c:pt idx="13381">
                  <c:v>64438</c:v>
                </c:pt>
                <c:pt idx="13382">
                  <c:v>62082</c:v>
                </c:pt>
                <c:pt idx="13383">
                  <c:v>26569</c:v>
                </c:pt>
                <c:pt idx="13384">
                  <c:v>60114</c:v>
                </c:pt>
                <c:pt idx="13385">
                  <c:v>175384</c:v>
                </c:pt>
                <c:pt idx="13386">
                  <c:v>153612</c:v>
                </c:pt>
                <c:pt idx="13387">
                  <c:v>135275</c:v>
                </c:pt>
                <c:pt idx="13388">
                  <c:v>27285</c:v>
                </c:pt>
                <c:pt idx="13389">
                  <c:v>27369</c:v>
                </c:pt>
                <c:pt idx="13390">
                  <c:v>68774</c:v>
                </c:pt>
                <c:pt idx="13391">
                  <c:v>21243</c:v>
                </c:pt>
                <c:pt idx="13392">
                  <c:v>48286</c:v>
                </c:pt>
                <c:pt idx="13393">
                  <c:v>89136</c:v>
                </c:pt>
                <c:pt idx="13394">
                  <c:v>50730</c:v>
                </c:pt>
                <c:pt idx="13395">
                  <c:v>402083</c:v>
                </c:pt>
                <c:pt idx="13396">
                  <c:v>22075</c:v>
                </c:pt>
                <c:pt idx="13397">
                  <c:v>42669</c:v>
                </c:pt>
                <c:pt idx="13398">
                  <c:v>30133</c:v>
                </c:pt>
                <c:pt idx="13399">
                  <c:v>44596</c:v>
                </c:pt>
                <c:pt idx="13400">
                  <c:v>150834</c:v>
                </c:pt>
                <c:pt idx="13401">
                  <c:v>37954</c:v>
                </c:pt>
                <c:pt idx="13402">
                  <c:v>201052</c:v>
                </c:pt>
                <c:pt idx="13403">
                  <c:v>46671</c:v>
                </c:pt>
                <c:pt idx="13404">
                  <c:v>44509</c:v>
                </c:pt>
                <c:pt idx="13405">
                  <c:v>48109</c:v>
                </c:pt>
                <c:pt idx="13406">
                  <c:v>27558</c:v>
                </c:pt>
                <c:pt idx="13407">
                  <c:v>55530</c:v>
                </c:pt>
                <c:pt idx="13408">
                  <c:v>29317</c:v>
                </c:pt>
                <c:pt idx="13409">
                  <c:v>88306</c:v>
                </c:pt>
                <c:pt idx="13410">
                  <c:v>41230</c:v>
                </c:pt>
                <c:pt idx="13411">
                  <c:v>47497</c:v>
                </c:pt>
                <c:pt idx="13412">
                  <c:v>134084</c:v>
                </c:pt>
                <c:pt idx="13413">
                  <c:v>139490</c:v>
                </c:pt>
                <c:pt idx="13414">
                  <c:v>80975</c:v>
                </c:pt>
                <c:pt idx="13415">
                  <c:v>40303</c:v>
                </c:pt>
                <c:pt idx="13416">
                  <c:v>45309</c:v>
                </c:pt>
                <c:pt idx="13417">
                  <c:v>51631</c:v>
                </c:pt>
                <c:pt idx="13418">
                  <c:v>61667</c:v>
                </c:pt>
                <c:pt idx="13419">
                  <c:v>42089</c:v>
                </c:pt>
                <c:pt idx="13420">
                  <c:v>38752</c:v>
                </c:pt>
                <c:pt idx="13421">
                  <c:v>24638</c:v>
                </c:pt>
                <c:pt idx="13422">
                  <c:v>54788</c:v>
                </c:pt>
                <c:pt idx="13423">
                  <c:v>296729</c:v>
                </c:pt>
                <c:pt idx="13424">
                  <c:v>45879</c:v>
                </c:pt>
                <c:pt idx="13425">
                  <c:v>72537</c:v>
                </c:pt>
                <c:pt idx="13426">
                  <c:v>23303</c:v>
                </c:pt>
                <c:pt idx="13427">
                  <c:v>31764</c:v>
                </c:pt>
                <c:pt idx="13428">
                  <c:v>40963</c:v>
                </c:pt>
                <c:pt idx="13429">
                  <c:v>43986</c:v>
                </c:pt>
                <c:pt idx="13430">
                  <c:v>100803</c:v>
                </c:pt>
                <c:pt idx="13431">
                  <c:v>56787</c:v>
                </c:pt>
                <c:pt idx="13432">
                  <c:v>28415</c:v>
                </c:pt>
                <c:pt idx="13433">
                  <c:v>42583</c:v>
                </c:pt>
                <c:pt idx="13434">
                  <c:v>36009</c:v>
                </c:pt>
                <c:pt idx="13435">
                  <c:v>42923</c:v>
                </c:pt>
                <c:pt idx="13436">
                  <c:v>30834</c:v>
                </c:pt>
                <c:pt idx="13437">
                  <c:v>48767</c:v>
                </c:pt>
                <c:pt idx="13438">
                  <c:v>34233</c:v>
                </c:pt>
                <c:pt idx="13439">
                  <c:v>33961</c:v>
                </c:pt>
                <c:pt idx="13440">
                  <c:v>101370</c:v>
                </c:pt>
                <c:pt idx="13441">
                  <c:v>35040</c:v>
                </c:pt>
                <c:pt idx="13442">
                  <c:v>29765</c:v>
                </c:pt>
                <c:pt idx="13443">
                  <c:v>146245</c:v>
                </c:pt>
                <c:pt idx="13444">
                  <c:v>22813</c:v>
                </c:pt>
                <c:pt idx="13445">
                  <c:v>84428</c:v>
                </c:pt>
                <c:pt idx="13446">
                  <c:v>37767</c:v>
                </c:pt>
                <c:pt idx="13447">
                  <c:v>65049</c:v>
                </c:pt>
                <c:pt idx="13448">
                  <c:v>81570</c:v>
                </c:pt>
                <c:pt idx="13449">
                  <c:v>66773</c:v>
                </c:pt>
                <c:pt idx="13450">
                  <c:v>82712</c:v>
                </c:pt>
                <c:pt idx="13451">
                  <c:v>92330</c:v>
                </c:pt>
                <c:pt idx="13452">
                  <c:v>42107</c:v>
                </c:pt>
                <c:pt idx="13453">
                  <c:v>58475</c:v>
                </c:pt>
                <c:pt idx="13454">
                  <c:v>34349</c:v>
                </c:pt>
                <c:pt idx="13455">
                  <c:v>38075</c:v>
                </c:pt>
                <c:pt idx="13456">
                  <c:v>28533</c:v>
                </c:pt>
                <c:pt idx="13457">
                  <c:v>52621</c:v>
                </c:pt>
                <c:pt idx="13458">
                  <c:v>160094</c:v>
                </c:pt>
                <c:pt idx="13459">
                  <c:v>40319</c:v>
                </c:pt>
                <c:pt idx="13460">
                  <c:v>44303</c:v>
                </c:pt>
                <c:pt idx="13461">
                  <c:v>73129</c:v>
                </c:pt>
                <c:pt idx="13462">
                  <c:v>112418</c:v>
                </c:pt>
                <c:pt idx="13463">
                  <c:v>24790</c:v>
                </c:pt>
                <c:pt idx="13464">
                  <c:v>37525</c:v>
                </c:pt>
                <c:pt idx="13465">
                  <c:v>55480</c:v>
                </c:pt>
                <c:pt idx="13466">
                  <c:v>65939</c:v>
                </c:pt>
                <c:pt idx="13467">
                  <c:v>204196</c:v>
                </c:pt>
                <c:pt idx="13468">
                  <c:v>100312</c:v>
                </c:pt>
                <c:pt idx="13469">
                  <c:v>44388</c:v>
                </c:pt>
                <c:pt idx="13470">
                  <c:v>36469</c:v>
                </c:pt>
                <c:pt idx="13471">
                  <c:v>31384</c:v>
                </c:pt>
                <c:pt idx="13472">
                  <c:v>23319</c:v>
                </c:pt>
                <c:pt idx="13473">
                  <c:v>26615</c:v>
                </c:pt>
                <c:pt idx="13474">
                  <c:v>37005</c:v>
                </c:pt>
                <c:pt idx="13475">
                  <c:v>169164</c:v>
                </c:pt>
                <c:pt idx="13476">
                  <c:v>30562</c:v>
                </c:pt>
                <c:pt idx="13477">
                  <c:v>247566</c:v>
                </c:pt>
                <c:pt idx="13478">
                  <c:v>53523</c:v>
                </c:pt>
                <c:pt idx="13479">
                  <c:v>32814</c:v>
                </c:pt>
                <c:pt idx="13480">
                  <c:v>35586</c:v>
                </c:pt>
                <c:pt idx="13481">
                  <c:v>74923</c:v>
                </c:pt>
                <c:pt idx="13482">
                  <c:v>42053</c:v>
                </c:pt>
                <c:pt idx="13483">
                  <c:v>78030</c:v>
                </c:pt>
                <c:pt idx="13484">
                  <c:v>22924</c:v>
                </c:pt>
                <c:pt idx="13485">
                  <c:v>53123</c:v>
                </c:pt>
                <c:pt idx="13486">
                  <c:v>51747</c:v>
                </c:pt>
                <c:pt idx="13487">
                  <c:v>42796</c:v>
                </c:pt>
                <c:pt idx="13488">
                  <c:v>23815</c:v>
                </c:pt>
                <c:pt idx="13489">
                  <c:v>101046</c:v>
                </c:pt>
                <c:pt idx="13490">
                  <c:v>109710</c:v>
                </c:pt>
                <c:pt idx="13491">
                  <c:v>36062</c:v>
                </c:pt>
                <c:pt idx="13492">
                  <c:v>40690</c:v>
                </c:pt>
                <c:pt idx="13493">
                  <c:v>64920</c:v>
                </c:pt>
                <c:pt idx="13494">
                  <c:v>40948</c:v>
                </c:pt>
                <c:pt idx="13495">
                  <c:v>23943</c:v>
                </c:pt>
                <c:pt idx="13496">
                  <c:v>30499</c:v>
                </c:pt>
                <c:pt idx="13497">
                  <c:v>54246</c:v>
                </c:pt>
                <c:pt idx="13498">
                  <c:v>131246</c:v>
                </c:pt>
                <c:pt idx="13499">
                  <c:v>119668</c:v>
                </c:pt>
                <c:pt idx="13500">
                  <c:v>35774</c:v>
                </c:pt>
                <c:pt idx="13501">
                  <c:v>44894</c:v>
                </c:pt>
                <c:pt idx="13502">
                  <c:v>88243</c:v>
                </c:pt>
                <c:pt idx="13503">
                  <c:v>41068</c:v>
                </c:pt>
                <c:pt idx="13504">
                  <c:v>38768</c:v>
                </c:pt>
                <c:pt idx="13505">
                  <c:v>28757</c:v>
                </c:pt>
                <c:pt idx="13506">
                  <c:v>64886</c:v>
                </c:pt>
                <c:pt idx="13507">
                  <c:v>136375</c:v>
                </c:pt>
                <c:pt idx="13508">
                  <c:v>22532</c:v>
                </c:pt>
                <c:pt idx="13509">
                  <c:v>152674</c:v>
                </c:pt>
                <c:pt idx="13510">
                  <c:v>27699</c:v>
                </c:pt>
                <c:pt idx="13511">
                  <c:v>42180</c:v>
                </c:pt>
                <c:pt idx="13512">
                  <c:v>53754</c:v>
                </c:pt>
                <c:pt idx="13513">
                  <c:v>45787</c:v>
                </c:pt>
                <c:pt idx="13514">
                  <c:v>58545</c:v>
                </c:pt>
                <c:pt idx="13515">
                  <c:v>49476</c:v>
                </c:pt>
                <c:pt idx="13516">
                  <c:v>52902</c:v>
                </c:pt>
                <c:pt idx="13517">
                  <c:v>137193</c:v>
                </c:pt>
                <c:pt idx="13518">
                  <c:v>71105</c:v>
                </c:pt>
                <c:pt idx="13519">
                  <c:v>30396</c:v>
                </c:pt>
                <c:pt idx="13520">
                  <c:v>64848</c:v>
                </c:pt>
                <c:pt idx="13521">
                  <c:v>61879</c:v>
                </c:pt>
                <c:pt idx="13522">
                  <c:v>78285</c:v>
                </c:pt>
                <c:pt idx="13523">
                  <c:v>73871</c:v>
                </c:pt>
                <c:pt idx="13524">
                  <c:v>103489</c:v>
                </c:pt>
                <c:pt idx="13525">
                  <c:v>134439</c:v>
                </c:pt>
                <c:pt idx="13526">
                  <c:v>421048</c:v>
                </c:pt>
                <c:pt idx="13527">
                  <c:v>33747</c:v>
                </c:pt>
                <c:pt idx="13528">
                  <c:v>22820</c:v>
                </c:pt>
                <c:pt idx="13529">
                  <c:v>37146</c:v>
                </c:pt>
                <c:pt idx="13530">
                  <c:v>25274</c:v>
                </c:pt>
                <c:pt idx="13531">
                  <c:v>185441</c:v>
                </c:pt>
                <c:pt idx="13532">
                  <c:v>55856</c:v>
                </c:pt>
                <c:pt idx="13533">
                  <c:v>38258</c:v>
                </c:pt>
                <c:pt idx="13534">
                  <c:v>30829</c:v>
                </c:pt>
                <c:pt idx="13535">
                  <c:v>37547</c:v>
                </c:pt>
                <c:pt idx="13536">
                  <c:v>122449</c:v>
                </c:pt>
                <c:pt idx="13537">
                  <c:v>97806</c:v>
                </c:pt>
                <c:pt idx="13538">
                  <c:v>25755</c:v>
                </c:pt>
                <c:pt idx="13539">
                  <c:v>32069</c:v>
                </c:pt>
                <c:pt idx="13540">
                  <c:v>56387</c:v>
                </c:pt>
                <c:pt idx="13541">
                  <c:v>50114</c:v>
                </c:pt>
                <c:pt idx="13542">
                  <c:v>95292</c:v>
                </c:pt>
                <c:pt idx="13543">
                  <c:v>128442</c:v>
                </c:pt>
                <c:pt idx="13544">
                  <c:v>85217</c:v>
                </c:pt>
                <c:pt idx="13545">
                  <c:v>263933</c:v>
                </c:pt>
                <c:pt idx="13546">
                  <c:v>84316</c:v>
                </c:pt>
                <c:pt idx="13547">
                  <c:v>100253</c:v>
                </c:pt>
                <c:pt idx="13548">
                  <c:v>32909</c:v>
                </c:pt>
                <c:pt idx="13549">
                  <c:v>45393</c:v>
                </c:pt>
                <c:pt idx="13550">
                  <c:v>34488</c:v>
                </c:pt>
                <c:pt idx="13551">
                  <c:v>121801</c:v>
                </c:pt>
                <c:pt idx="13552">
                  <c:v>37381</c:v>
                </c:pt>
                <c:pt idx="13553">
                  <c:v>50370</c:v>
                </c:pt>
                <c:pt idx="13554">
                  <c:v>52449</c:v>
                </c:pt>
                <c:pt idx="13555">
                  <c:v>47974</c:v>
                </c:pt>
                <c:pt idx="13556">
                  <c:v>60551</c:v>
                </c:pt>
                <c:pt idx="13557">
                  <c:v>125835</c:v>
                </c:pt>
                <c:pt idx="13558">
                  <c:v>45382</c:v>
                </c:pt>
                <c:pt idx="13559">
                  <c:v>48934</c:v>
                </c:pt>
                <c:pt idx="13560">
                  <c:v>35073</c:v>
                </c:pt>
                <c:pt idx="13561">
                  <c:v>52404</c:v>
                </c:pt>
                <c:pt idx="13562">
                  <c:v>175316</c:v>
                </c:pt>
                <c:pt idx="13563">
                  <c:v>40331</c:v>
                </c:pt>
                <c:pt idx="13564">
                  <c:v>38967</c:v>
                </c:pt>
                <c:pt idx="13565">
                  <c:v>49189</c:v>
                </c:pt>
                <c:pt idx="13566">
                  <c:v>53363</c:v>
                </c:pt>
                <c:pt idx="13567">
                  <c:v>32490</c:v>
                </c:pt>
                <c:pt idx="13568">
                  <c:v>37755</c:v>
                </c:pt>
                <c:pt idx="13569">
                  <c:v>35640</c:v>
                </c:pt>
                <c:pt idx="13570">
                  <c:v>58083</c:v>
                </c:pt>
                <c:pt idx="13571">
                  <c:v>45654</c:v>
                </c:pt>
                <c:pt idx="13572">
                  <c:v>26316</c:v>
                </c:pt>
                <c:pt idx="13573">
                  <c:v>34165</c:v>
                </c:pt>
                <c:pt idx="13574">
                  <c:v>100487</c:v>
                </c:pt>
                <c:pt idx="13575">
                  <c:v>40144</c:v>
                </c:pt>
                <c:pt idx="13576">
                  <c:v>46792</c:v>
                </c:pt>
                <c:pt idx="13577">
                  <c:v>52770</c:v>
                </c:pt>
                <c:pt idx="13578">
                  <c:v>23185</c:v>
                </c:pt>
                <c:pt idx="13579">
                  <c:v>30533</c:v>
                </c:pt>
                <c:pt idx="13580">
                  <c:v>42797</c:v>
                </c:pt>
                <c:pt idx="13581">
                  <c:v>63559</c:v>
                </c:pt>
                <c:pt idx="13582">
                  <c:v>57398</c:v>
                </c:pt>
                <c:pt idx="13583">
                  <c:v>40039</c:v>
                </c:pt>
                <c:pt idx="13584">
                  <c:v>59927</c:v>
                </c:pt>
                <c:pt idx="13585">
                  <c:v>33087</c:v>
                </c:pt>
                <c:pt idx="13586">
                  <c:v>39232</c:v>
                </c:pt>
                <c:pt idx="13587">
                  <c:v>183577</c:v>
                </c:pt>
                <c:pt idx="13588">
                  <c:v>77993</c:v>
                </c:pt>
                <c:pt idx="13589">
                  <c:v>35434</c:v>
                </c:pt>
                <c:pt idx="13590">
                  <c:v>34714</c:v>
                </c:pt>
                <c:pt idx="13591">
                  <c:v>101332</c:v>
                </c:pt>
                <c:pt idx="13592">
                  <c:v>25354</c:v>
                </c:pt>
                <c:pt idx="13593">
                  <c:v>45448</c:v>
                </c:pt>
                <c:pt idx="13594">
                  <c:v>53449</c:v>
                </c:pt>
                <c:pt idx="13595">
                  <c:v>58049</c:v>
                </c:pt>
                <c:pt idx="13596">
                  <c:v>129411</c:v>
                </c:pt>
                <c:pt idx="13597">
                  <c:v>50183</c:v>
                </c:pt>
                <c:pt idx="13598">
                  <c:v>40858</c:v>
                </c:pt>
                <c:pt idx="13599">
                  <c:v>26923</c:v>
                </c:pt>
                <c:pt idx="13600">
                  <c:v>24222</c:v>
                </c:pt>
                <c:pt idx="13601">
                  <c:v>48110</c:v>
                </c:pt>
                <c:pt idx="13602">
                  <c:v>44588</c:v>
                </c:pt>
                <c:pt idx="13603">
                  <c:v>68220</c:v>
                </c:pt>
                <c:pt idx="13604">
                  <c:v>27989</c:v>
                </c:pt>
                <c:pt idx="13605">
                  <c:v>40572</c:v>
                </c:pt>
                <c:pt idx="13606">
                  <c:v>24780</c:v>
                </c:pt>
                <c:pt idx="13607">
                  <c:v>133294</c:v>
                </c:pt>
                <c:pt idx="13608">
                  <c:v>27861</c:v>
                </c:pt>
                <c:pt idx="13609">
                  <c:v>34083</c:v>
                </c:pt>
                <c:pt idx="13610">
                  <c:v>177615</c:v>
                </c:pt>
                <c:pt idx="13611">
                  <c:v>32451</c:v>
                </c:pt>
                <c:pt idx="13612">
                  <c:v>32517</c:v>
                </c:pt>
                <c:pt idx="13613">
                  <c:v>48402</c:v>
                </c:pt>
                <c:pt idx="13614">
                  <c:v>29693</c:v>
                </c:pt>
                <c:pt idx="13615">
                  <c:v>55015</c:v>
                </c:pt>
                <c:pt idx="13616">
                  <c:v>91359</c:v>
                </c:pt>
                <c:pt idx="13617">
                  <c:v>42364</c:v>
                </c:pt>
                <c:pt idx="13618">
                  <c:v>61758</c:v>
                </c:pt>
                <c:pt idx="13619">
                  <c:v>28140</c:v>
                </c:pt>
                <c:pt idx="13620">
                  <c:v>32494</c:v>
                </c:pt>
                <c:pt idx="13621">
                  <c:v>46980</c:v>
                </c:pt>
                <c:pt idx="13622">
                  <c:v>85722</c:v>
                </c:pt>
                <c:pt idx="13623">
                  <c:v>122466</c:v>
                </c:pt>
                <c:pt idx="13624">
                  <c:v>160159</c:v>
                </c:pt>
                <c:pt idx="13625">
                  <c:v>174976</c:v>
                </c:pt>
                <c:pt idx="13626">
                  <c:v>125313</c:v>
                </c:pt>
                <c:pt idx="13627">
                  <c:v>42547</c:v>
                </c:pt>
                <c:pt idx="13628">
                  <c:v>29931</c:v>
                </c:pt>
                <c:pt idx="13629">
                  <c:v>43501</c:v>
                </c:pt>
                <c:pt idx="13630">
                  <c:v>31418</c:v>
                </c:pt>
                <c:pt idx="13631">
                  <c:v>35951</c:v>
                </c:pt>
                <c:pt idx="13632">
                  <c:v>128338</c:v>
                </c:pt>
                <c:pt idx="13633">
                  <c:v>40628</c:v>
                </c:pt>
                <c:pt idx="13634">
                  <c:v>61388</c:v>
                </c:pt>
                <c:pt idx="13635">
                  <c:v>35996</c:v>
                </c:pt>
                <c:pt idx="13636">
                  <c:v>33689</c:v>
                </c:pt>
                <c:pt idx="13637">
                  <c:v>31947</c:v>
                </c:pt>
                <c:pt idx="13638">
                  <c:v>26270</c:v>
                </c:pt>
                <c:pt idx="13639">
                  <c:v>39824</c:v>
                </c:pt>
                <c:pt idx="13640">
                  <c:v>51065</c:v>
                </c:pt>
                <c:pt idx="13641">
                  <c:v>34618</c:v>
                </c:pt>
                <c:pt idx="13642">
                  <c:v>22177</c:v>
                </c:pt>
                <c:pt idx="13643">
                  <c:v>47356</c:v>
                </c:pt>
                <c:pt idx="13644">
                  <c:v>31485</c:v>
                </c:pt>
                <c:pt idx="13645">
                  <c:v>73571</c:v>
                </c:pt>
                <c:pt idx="13646">
                  <c:v>28927</c:v>
                </c:pt>
                <c:pt idx="13647">
                  <c:v>47921</c:v>
                </c:pt>
                <c:pt idx="13648">
                  <c:v>97430</c:v>
                </c:pt>
                <c:pt idx="13649">
                  <c:v>267831</c:v>
                </c:pt>
                <c:pt idx="13650">
                  <c:v>78322</c:v>
                </c:pt>
                <c:pt idx="13651">
                  <c:v>30340</c:v>
                </c:pt>
                <c:pt idx="13652">
                  <c:v>30283</c:v>
                </c:pt>
                <c:pt idx="13653">
                  <c:v>27071</c:v>
                </c:pt>
                <c:pt idx="13654">
                  <c:v>31193</c:v>
                </c:pt>
                <c:pt idx="13655">
                  <c:v>42770</c:v>
                </c:pt>
                <c:pt idx="13656">
                  <c:v>42639</c:v>
                </c:pt>
                <c:pt idx="13657">
                  <c:v>31727</c:v>
                </c:pt>
                <c:pt idx="13658">
                  <c:v>29654</c:v>
                </c:pt>
                <c:pt idx="13659">
                  <c:v>28977</c:v>
                </c:pt>
                <c:pt idx="13660">
                  <c:v>33200</c:v>
                </c:pt>
                <c:pt idx="13661">
                  <c:v>38354</c:v>
                </c:pt>
                <c:pt idx="13662">
                  <c:v>32647</c:v>
                </c:pt>
                <c:pt idx="13663">
                  <c:v>27574</c:v>
                </c:pt>
                <c:pt idx="13664">
                  <c:v>40010</c:v>
                </c:pt>
                <c:pt idx="13665">
                  <c:v>80304</c:v>
                </c:pt>
                <c:pt idx="13666">
                  <c:v>192661</c:v>
                </c:pt>
                <c:pt idx="13667">
                  <c:v>56687</c:v>
                </c:pt>
                <c:pt idx="13668">
                  <c:v>56611</c:v>
                </c:pt>
                <c:pt idx="13669">
                  <c:v>38274</c:v>
                </c:pt>
                <c:pt idx="13670">
                  <c:v>45520</c:v>
                </c:pt>
                <c:pt idx="13671">
                  <c:v>48018</c:v>
                </c:pt>
                <c:pt idx="13672">
                  <c:v>24318</c:v>
                </c:pt>
                <c:pt idx="13673">
                  <c:v>68100</c:v>
                </c:pt>
                <c:pt idx="13674">
                  <c:v>26035</c:v>
                </c:pt>
                <c:pt idx="13675">
                  <c:v>29912</c:v>
                </c:pt>
                <c:pt idx="13676">
                  <c:v>114814</c:v>
                </c:pt>
                <c:pt idx="13677">
                  <c:v>62749</c:v>
                </c:pt>
                <c:pt idx="13678">
                  <c:v>62245</c:v>
                </c:pt>
                <c:pt idx="13679">
                  <c:v>39975</c:v>
                </c:pt>
                <c:pt idx="13680">
                  <c:v>57739</c:v>
                </c:pt>
                <c:pt idx="13681">
                  <c:v>76417</c:v>
                </c:pt>
                <c:pt idx="13682">
                  <c:v>44005</c:v>
                </c:pt>
                <c:pt idx="13683">
                  <c:v>36921</c:v>
                </c:pt>
                <c:pt idx="13684">
                  <c:v>30017</c:v>
                </c:pt>
                <c:pt idx="13685">
                  <c:v>89607</c:v>
                </c:pt>
                <c:pt idx="13686">
                  <c:v>66302</c:v>
                </c:pt>
                <c:pt idx="13687">
                  <c:v>41424</c:v>
                </c:pt>
                <c:pt idx="13688">
                  <c:v>34936</c:v>
                </c:pt>
                <c:pt idx="13689">
                  <c:v>45097</c:v>
                </c:pt>
                <c:pt idx="13690">
                  <c:v>49426</c:v>
                </c:pt>
                <c:pt idx="13691">
                  <c:v>97203</c:v>
                </c:pt>
                <c:pt idx="13692">
                  <c:v>28312</c:v>
                </c:pt>
                <c:pt idx="13693">
                  <c:v>26560</c:v>
                </c:pt>
                <c:pt idx="13694">
                  <c:v>24356</c:v>
                </c:pt>
                <c:pt idx="13695">
                  <c:v>36800</c:v>
                </c:pt>
                <c:pt idx="13696">
                  <c:v>87932</c:v>
                </c:pt>
                <c:pt idx="13697">
                  <c:v>32672</c:v>
                </c:pt>
                <c:pt idx="13698">
                  <c:v>62932</c:v>
                </c:pt>
                <c:pt idx="13699">
                  <c:v>38549</c:v>
                </c:pt>
                <c:pt idx="13700">
                  <c:v>29547</c:v>
                </c:pt>
                <c:pt idx="13701">
                  <c:v>61692</c:v>
                </c:pt>
                <c:pt idx="13702">
                  <c:v>32673</c:v>
                </c:pt>
                <c:pt idx="13703">
                  <c:v>90584</c:v>
                </c:pt>
                <c:pt idx="13704">
                  <c:v>74948</c:v>
                </c:pt>
                <c:pt idx="13705">
                  <c:v>30448</c:v>
                </c:pt>
                <c:pt idx="13706">
                  <c:v>33830</c:v>
                </c:pt>
                <c:pt idx="13707">
                  <c:v>61980</c:v>
                </c:pt>
                <c:pt idx="13708">
                  <c:v>24758</c:v>
                </c:pt>
                <c:pt idx="13709">
                  <c:v>48678</c:v>
                </c:pt>
                <c:pt idx="13710">
                  <c:v>218103</c:v>
                </c:pt>
                <c:pt idx="13711">
                  <c:v>35407</c:v>
                </c:pt>
                <c:pt idx="13712">
                  <c:v>43219</c:v>
                </c:pt>
                <c:pt idx="13713">
                  <c:v>25579</c:v>
                </c:pt>
                <c:pt idx="13714">
                  <c:v>44949</c:v>
                </c:pt>
                <c:pt idx="13715">
                  <c:v>30982</c:v>
                </c:pt>
                <c:pt idx="13716">
                  <c:v>37604</c:v>
                </c:pt>
                <c:pt idx="13717">
                  <c:v>44592</c:v>
                </c:pt>
                <c:pt idx="13718">
                  <c:v>26402</c:v>
                </c:pt>
                <c:pt idx="13719">
                  <c:v>30377</c:v>
                </c:pt>
                <c:pt idx="13720">
                  <c:v>42259</c:v>
                </c:pt>
                <c:pt idx="13721">
                  <c:v>117703</c:v>
                </c:pt>
                <c:pt idx="13722">
                  <c:v>41991</c:v>
                </c:pt>
                <c:pt idx="13723">
                  <c:v>41149</c:v>
                </c:pt>
                <c:pt idx="13724">
                  <c:v>27707</c:v>
                </c:pt>
                <c:pt idx="13725">
                  <c:v>123477</c:v>
                </c:pt>
                <c:pt idx="13726">
                  <c:v>94868</c:v>
                </c:pt>
                <c:pt idx="13727">
                  <c:v>22844</c:v>
                </c:pt>
                <c:pt idx="13728">
                  <c:v>26958</c:v>
                </c:pt>
                <c:pt idx="13729">
                  <c:v>39757</c:v>
                </c:pt>
                <c:pt idx="13730">
                  <c:v>51601</c:v>
                </c:pt>
                <c:pt idx="13731">
                  <c:v>49012</c:v>
                </c:pt>
                <c:pt idx="13732">
                  <c:v>26092</c:v>
                </c:pt>
                <c:pt idx="13733">
                  <c:v>48454</c:v>
                </c:pt>
                <c:pt idx="13734">
                  <c:v>41989</c:v>
                </c:pt>
                <c:pt idx="13735">
                  <c:v>31674</c:v>
                </c:pt>
                <c:pt idx="13736">
                  <c:v>277861</c:v>
                </c:pt>
                <c:pt idx="13737">
                  <c:v>37022</c:v>
                </c:pt>
                <c:pt idx="13738">
                  <c:v>28345</c:v>
                </c:pt>
                <c:pt idx="13739">
                  <c:v>38232</c:v>
                </c:pt>
                <c:pt idx="13740">
                  <c:v>158637</c:v>
                </c:pt>
                <c:pt idx="13741">
                  <c:v>35489</c:v>
                </c:pt>
                <c:pt idx="13742">
                  <c:v>38669</c:v>
                </c:pt>
                <c:pt idx="13743">
                  <c:v>30133</c:v>
                </c:pt>
                <c:pt idx="13744">
                  <c:v>206750</c:v>
                </c:pt>
                <c:pt idx="13745">
                  <c:v>39528</c:v>
                </c:pt>
                <c:pt idx="13746">
                  <c:v>44261</c:v>
                </c:pt>
                <c:pt idx="13747">
                  <c:v>61152</c:v>
                </c:pt>
                <c:pt idx="13748">
                  <c:v>19340</c:v>
                </c:pt>
                <c:pt idx="13749">
                  <c:v>238222</c:v>
                </c:pt>
                <c:pt idx="13750">
                  <c:v>43234</c:v>
                </c:pt>
                <c:pt idx="13751">
                  <c:v>134394</c:v>
                </c:pt>
                <c:pt idx="13752">
                  <c:v>40341</c:v>
                </c:pt>
                <c:pt idx="13753">
                  <c:v>90713</c:v>
                </c:pt>
                <c:pt idx="13754">
                  <c:v>24821</c:v>
                </c:pt>
                <c:pt idx="13755">
                  <c:v>29950</c:v>
                </c:pt>
                <c:pt idx="13756">
                  <c:v>59766</c:v>
                </c:pt>
                <c:pt idx="13757">
                  <c:v>59375</c:v>
                </c:pt>
                <c:pt idx="13758">
                  <c:v>46701</c:v>
                </c:pt>
                <c:pt idx="13759">
                  <c:v>30105</c:v>
                </c:pt>
                <c:pt idx="13760">
                  <c:v>45054</c:v>
                </c:pt>
                <c:pt idx="13761">
                  <c:v>56279</c:v>
                </c:pt>
                <c:pt idx="13762">
                  <c:v>43802</c:v>
                </c:pt>
                <c:pt idx="13763">
                  <c:v>41332</c:v>
                </c:pt>
                <c:pt idx="13764">
                  <c:v>51318</c:v>
                </c:pt>
                <c:pt idx="13765">
                  <c:v>38318</c:v>
                </c:pt>
                <c:pt idx="13766">
                  <c:v>30077</c:v>
                </c:pt>
                <c:pt idx="13767">
                  <c:v>35002</c:v>
                </c:pt>
                <c:pt idx="13768">
                  <c:v>40043</c:v>
                </c:pt>
                <c:pt idx="13769">
                  <c:v>39362</c:v>
                </c:pt>
                <c:pt idx="13770">
                  <c:v>61195</c:v>
                </c:pt>
                <c:pt idx="13771">
                  <c:v>42006</c:v>
                </c:pt>
                <c:pt idx="13772">
                  <c:v>26679</c:v>
                </c:pt>
                <c:pt idx="13773">
                  <c:v>153839</c:v>
                </c:pt>
                <c:pt idx="13774">
                  <c:v>33066</c:v>
                </c:pt>
                <c:pt idx="13775">
                  <c:v>45812</c:v>
                </c:pt>
                <c:pt idx="13776">
                  <c:v>33862</c:v>
                </c:pt>
                <c:pt idx="13777">
                  <c:v>44293</c:v>
                </c:pt>
                <c:pt idx="13778">
                  <c:v>74233</c:v>
                </c:pt>
                <c:pt idx="13779">
                  <c:v>45807</c:v>
                </c:pt>
                <c:pt idx="13780">
                  <c:v>39598</c:v>
                </c:pt>
                <c:pt idx="13781">
                  <c:v>37964</c:v>
                </c:pt>
                <c:pt idx="13782">
                  <c:v>43488</c:v>
                </c:pt>
                <c:pt idx="13783">
                  <c:v>79939</c:v>
                </c:pt>
                <c:pt idx="13784">
                  <c:v>25930</c:v>
                </c:pt>
                <c:pt idx="13785">
                  <c:v>37614</c:v>
                </c:pt>
                <c:pt idx="13786">
                  <c:v>33889</c:v>
                </c:pt>
                <c:pt idx="13787">
                  <c:v>83408</c:v>
                </c:pt>
                <c:pt idx="13788">
                  <c:v>34299</c:v>
                </c:pt>
                <c:pt idx="13789">
                  <c:v>32984</c:v>
                </c:pt>
                <c:pt idx="13790">
                  <c:v>156624</c:v>
                </c:pt>
                <c:pt idx="13791">
                  <c:v>39674</c:v>
                </c:pt>
                <c:pt idx="13792">
                  <c:v>129835</c:v>
                </c:pt>
                <c:pt idx="13793">
                  <c:v>102317</c:v>
                </c:pt>
                <c:pt idx="13794">
                  <c:v>44207</c:v>
                </c:pt>
                <c:pt idx="13795">
                  <c:v>39515</c:v>
                </c:pt>
                <c:pt idx="13796">
                  <c:v>30990</c:v>
                </c:pt>
                <c:pt idx="13797">
                  <c:v>34386</c:v>
                </c:pt>
                <c:pt idx="13798">
                  <c:v>45586</c:v>
                </c:pt>
                <c:pt idx="13799">
                  <c:v>55982</c:v>
                </c:pt>
                <c:pt idx="13800">
                  <c:v>68196</c:v>
                </c:pt>
                <c:pt idx="13801">
                  <c:v>25026</c:v>
                </c:pt>
                <c:pt idx="13802">
                  <c:v>46277</c:v>
                </c:pt>
                <c:pt idx="13803">
                  <c:v>48906</c:v>
                </c:pt>
                <c:pt idx="13804">
                  <c:v>120419</c:v>
                </c:pt>
                <c:pt idx="13805">
                  <c:v>54709</c:v>
                </c:pt>
                <c:pt idx="13806">
                  <c:v>64683</c:v>
                </c:pt>
                <c:pt idx="13807">
                  <c:v>84999</c:v>
                </c:pt>
                <c:pt idx="13808">
                  <c:v>95818</c:v>
                </c:pt>
                <c:pt idx="13809">
                  <c:v>56649</c:v>
                </c:pt>
                <c:pt idx="13810">
                  <c:v>41975</c:v>
                </c:pt>
                <c:pt idx="13811">
                  <c:v>23197</c:v>
                </c:pt>
                <c:pt idx="13812">
                  <c:v>76545</c:v>
                </c:pt>
                <c:pt idx="13813">
                  <c:v>85837</c:v>
                </c:pt>
                <c:pt idx="13814">
                  <c:v>29321</c:v>
                </c:pt>
                <c:pt idx="13815">
                  <c:v>52863</c:v>
                </c:pt>
                <c:pt idx="13816">
                  <c:v>35445</c:v>
                </c:pt>
                <c:pt idx="13817">
                  <c:v>83749</c:v>
                </c:pt>
                <c:pt idx="13818">
                  <c:v>48505</c:v>
                </c:pt>
                <c:pt idx="13819">
                  <c:v>23930</c:v>
                </c:pt>
                <c:pt idx="13820">
                  <c:v>21811</c:v>
                </c:pt>
                <c:pt idx="13821">
                  <c:v>95838</c:v>
                </c:pt>
                <c:pt idx="13822">
                  <c:v>39267</c:v>
                </c:pt>
                <c:pt idx="13823">
                  <c:v>85480</c:v>
                </c:pt>
                <c:pt idx="13824">
                  <c:v>25578</c:v>
                </c:pt>
                <c:pt idx="13825">
                  <c:v>51589</c:v>
                </c:pt>
                <c:pt idx="13826">
                  <c:v>118546</c:v>
                </c:pt>
                <c:pt idx="13827">
                  <c:v>145172</c:v>
                </c:pt>
                <c:pt idx="13828">
                  <c:v>32514</c:v>
                </c:pt>
                <c:pt idx="13829">
                  <c:v>47099</c:v>
                </c:pt>
                <c:pt idx="13830">
                  <c:v>35673</c:v>
                </c:pt>
                <c:pt idx="13831">
                  <c:v>49451</c:v>
                </c:pt>
                <c:pt idx="13832">
                  <c:v>40589</c:v>
                </c:pt>
                <c:pt idx="13833">
                  <c:v>39203</c:v>
                </c:pt>
                <c:pt idx="13834">
                  <c:v>39235</c:v>
                </c:pt>
                <c:pt idx="13835">
                  <c:v>76730</c:v>
                </c:pt>
                <c:pt idx="13836">
                  <c:v>68301</c:v>
                </c:pt>
                <c:pt idx="13837">
                  <c:v>31577</c:v>
                </c:pt>
                <c:pt idx="13838">
                  <c:v>41338</c:v>
                </c:pt>
                <c:pt idx="13839">
                  <c:v>33596</c:v>
                </c:pt>
                <c:pt idx="13840">
                  <c:v>20680</c:v>
                </c:pt>
                <c:pt idx="13841">
                  <c:v>48353</c:v>
                </c:pt>
                <c:pt idx="13842">
                  <c:v>22276</c:v>
                </c:pt>
                <c:pt idx="13843">
                  <c:v>33863</c:v>
                </c:pt>
                <c:pt idx="13844">
                  <c:v>44185</c:v>
                </c:pt>
                <c:pt idx="13845">
                  <c:v>27969</c:v>
                </c:pt>
                <c:pt idx="13846">
                  <c:v>45669</c:v>
                </c:pt>
                <c:pt idx="13847">
                  <c:v>60796</c:v>
                </c:pt>
                <c:pt idx="13848">
                  <c:v>54231</c:v>
                </c:pt>
                <c:pt idx="13849">
                  <c:v>24173</c:v>
                </c:pt>
                <c:pt idx="13850">
                  <c:v>83728</c:v>
                </c:pt>
                <c:pt idx="13851">
                  <c:v>69480</c:v>
                </c:pt>
                <c:pt idx="13852">
                  <c:v>46617</c:v>
                </c:pt>
                <c:pt idx="13853">
                  <c:v>46857</c:v>
                </c:pt>
                <c:pt idx="13854">
                  <c:v>336995</c:v>
                </c:pt>
                <c:pt idx="13855">
                  <c:v>76027</c:v>
                </c:pt>
                <c:pt idx="13856">
                  <c:v>50542</c:v>
                </c:pt>
                <c:pt idx="13857">
                  <c:v>33499</c:v>
                </c:pt>
                <c:pt idx="13858">
                  <c:v>190623</c:v>
                </c:pt>
                <c:pt idx="13859">
                  <c:v>81012</c:v>
                </c:pt>
                <c:pt idx="13860">
                  <c:v>39400</c:v>
                </c:pt>
                <c:pt idx="13861">
                  <c:v>89765</c:v>
                </c:pt>
                <c:pt idx="13862">
                  <c:v>171596</c:v>
                </c:pt>
                <c:pt idx="13863">
                  <c:v>130414</c:v>
                </c:pt>
                <c:pt idx="13864">
                  <c:v>41030</c:v>
                </c:pt>
                <c:pt idx="13865">
                  <c:v>39041</c:v>
                </c:pt>
                <c:pt idx="13866">
                  <c:v>38532</c:v>
                </c:pt>
                <c:pt idx="13867">
                  <c:v>26260</c:v>
                </c:pt>
                <c:pt idx="13868">
                  <c:v>51170</c:v>
                </c:pt>
                <c:pt idx="13869">
                  <c:v>82680</c:v>
                </c:pt>
                <c:pt idx="13870">
                  <c:v>86118</c:v>
                </c:pt>
                <c:pt idx="13871">
                  <c:v>119129</c:v>
                </c:pt>
                <c:pt idx="13872">
                  <c:v>33666</c:v>
                </c:pt>
                <c:pt idx="13873">
                  <c:v>38691</c:v>
                </c:pt>
                <c:pt idx="13874">
                  <c:v>64853</c:v>
                </c:pt>
                <c:pt idx="13875">
                  <c:v>30272</c:v>
                </c:pt>
                <c:pt idx="13876">
                  <c:v>34583</c:v>
                </c:pt>
                <c:pt idx="13877">
                  <c:v>404964</c:v>
                </c:pt>
                <c:pt idx="13878">
                  <c:v>24010</c:v>
                </c:pt>
                <c:pt idx="13879">
                  <c:v>21813</c:v>
                </c:pt>
                <c:pt idx="13880">
                  <c:v>43140</c:v>
                </c:pt>
                <c:pt idx="13881">
                  <c:v>38828</c:v>
                </c:pt>
                <c:pt idx="13882">
                  <c:v>67740</c:v>
                </c:pt>
                <c:pt idx="13883">
                  <c:v>30272</c:v>
                </c:pt>
                <c:pt idx="13884">
                  <c:v>104833</c:v>
                </c:pt>
                <c:pt idx="13885">
                  <c:v>29015</c:v>
                </c:pt>
                <c:pt idx="13886">
                  <c:v>92004</c:v>
                </c:pt>
                <c:pt idx="13887">
                  <c:v>27280</c:v>
                </c:pt>
                <c:pt idx="13888">
                  <c:v>15000</c:v>
                </c:pt>
                <c:pt idx="13889">
                  <c:v>43315</c:v>
                </c:pt>
                <c:pt idx="13890">
                  <c:v>43993</c:v>
                </c:pt>
                <c:pt idx="13891">
                  <c:v>23973</c:v>
                </c:pt>
                <c:pt idx="13892">
                  <c:v>23805</c:v>
                </c:pt>
                <c:pt idx="13893">
                  <c:v>33648</c:v>
                </c:pt>
                <c:pt idx="13894">
                  <c:v>58854</c:v>
                </c:pt>
                <c:pt idx="13895">
                  <c:v>26174</c:v>
                </c:pt>
                <c:pt idx="13896">
                  <c:v>181911</c:v>
                </c:pt>
                <c:pt idx="13897">
                  <c:v>101984</c:v>
                </c:pt>
                <c:pt idx="13898">
                  <c:v>78619</c:v>
                </c:pt>
                <c:pt idx="13899">
                  <c:v>35639</c:v>
                </c:pt>
                <c:pt idx="13900">
                  <c:v>31673</c:v>
                </c:pt>
                <c:pt idx="13901">
                  <c:v>41724</c:v>
                </c:pt>
                <c:pt idx="13902">
                  <c:v>36742</c:v>
                </c:pt>
                <c:pt idx="13903">
                  <c:v>45867</c:v>
                </c:pt>
                <c:pt idx="13904">
                  <c:v>56643</c:v>
                </c:pt>
                <c:pt idx="13905">
                  <c:v>46723</c:v>
                </c:pt>
                <c:pt idx="13906">
                  <c:v>38725</c:v>
                </c:pt>
                <c:pt idx="13907">
                  <c:v>61176</c:v>
                </c:pt>
                <c:pt idx="13908">
                  <c:v>43518</c:v>
                </c:pt>
                <c:pt idx="13909">
                  <c:v>111145</c:v>
                </c:pt>
                <c:pt idx="13910">
                  <c:v>30592</c:v>
                </c:pt>
                <c:pt idx="13911">
                  <c:v>35101</c:v>
                </c:pt>
                <c:pt idx="13912">
                  <c:v>77477</c:v>
                </c:pt>
                <c:pt idx="13913">
                  <c:v>64527</c:v>
                </c:pt>
                <c:pt idx="13914">
                  <c:v>39179</c:v>
                </c:pt>
                <c:pt idx="13915">
                  <c:v>105884</c:v>
                </c:pt>
                <c:pt idx="13916">
                  <c:v>94569</c:v>
                </c:pt>
                <c:pt idx="13917">
                  <c:v>56612</c:v>
                </c:pt>
                <c:pt idx="13918">
                  <c:v>57556</c:v>
                </c:pt>
                <c:pt idx="13919">
                  <c:v>94347</c:v>
                </c:pt>
                <c:pt idx="13920">
                  <c:v>42402</c:v>
                </c:pt>
                <c:pt idx="13921">
                  <c:v>22988</c:v>
                </c:pt>
                <c:pt idx="13922">
                  <c:v>63324</c:v>
                </c:pt>
                <c:pt idx="13923">
                  <c:v>56558</c:v>
                </c:pt>
                <c:pt idx="13924">
                  <c:v>137325</c:v>
                </c:pt>
                <c:pt idx="13925">
                  <c:v>51169</c:v>
                </c:pt>
                <c:pt idx="13926">
                  <c:v>62528</c:v>
                </c:pt>
                <c:pt idx="13927">
                  <c:v>42693</c:v>
                </c:pt>
                <c:pt idx="13928">
                  <c:v>33225</c:v>
                </c:pt>
                <c:pt idx="13929">
                  <c:v>28465</c:v>
                </c:pt>
                <c:pt idx="13930">
                  <c:v>37768</c:v>
                </c:pt>
                <c:pt idx="13931">
                  <c:v>42644</c:v>
                </c:pt>
                <c:pt idx="13932">
                  <c:v>253747</c:v>
                </c:pt>
                <c:pt idx="13933">
                  <c:v>41000</c:v>
                </c:pt>
                <c:pt idx="13934">
                  <c:v>31675</c:v>
                </c:pt>
                <c:pt idx="13935">
                  <c:v>49860</c:v>
                </c:pt>
                <c:pt idx="13936">
                  <c:v>73013</c:v>
                </c:pt>
                <c:pt idx="13937">
                  <c:v>24163</c:v>
                </c:pt>
                <c:pt idx="13938">
                  <c:v>41843</c:v>
                </c:pt>
                <c:pt idx="13939">
                  <c:v>37520</c:v>
                </c:pt>
                <c:pt idx="13940">
                  <c:v>42383</c:v>
                </c:pt>
                <c:pt idx="13941">
                  <c:v>84332</c:v>
                </c:pt>
                <c:pt idx="13942">
                  <c:v>78736</c:v>
                </c:pt>
                <c:pt idx="13943">
                  <c:v>34250</c:v>
                </c:pt>
                <c:pt idx="13944">
                  <c:v>64469</c:v>
                </c:pt>
                <c:pt idx="13945">
                  <c:v>106996</c:v>
                </c:pt>
                <c:pt idx="13946">
                  <c:v>44665</c:v>
                </c:pt>
                <c:pt idx="13947">
                  <c:v>75785</c:v>
                </c:pt>
                <c:pt idx="13948">
                  <c:v>41220</c:v>
                </c:pt>
                <c:pt idx="13949">
                  <c:v>36523</c:v>
                </c:pt>
                <c:pt idx="13950">
                  <c:v>34576</c:v>
                </c:pt>
                <c:pt idx="13951">
                  <c:v>61543</c:v>
                </c:pt>
                <c:pt idx="13952">
                  <c:v>153444</c:v>
                </c:pt>
                <c:pt idx="13953">
                  <c:v>48672</c:v>
                </c:pt>
                <c:pt idx="13954">
                  <c:v>90837</c:v>
                </c:pt>
                <c:pt idx="13955">
                  <c:v>104679</c:v>
                </c:pt>
                <c:pt idx="13956">
                  <c:v>52256</c:v>
                </c:pt>
                <c:pt idx="13957">
                  <c:v>107840</c:v>
                </c:pt>
                <c:pt idx="13958">
                  <c:v>40213</c:v>
                </c:pt>
                <c:pt idx="13959">
                  <c:v>42198</c:v>
                </c:pt>
                <c:pt idx="13960">
                  <c:v>85309</c:v>
                </c:pt>
                <c:pt idx="13961">
                  <c:v>59320</c:v>
                </c:pt>
                <c:pt idx="13962">
                  <c:v>46824</c:v>
                </c:pt>
                <c:pt idx="13963">
                  <c:v>49507</c:v>
                </c:pt>
                <c:pt idx="13964">
                  <c:v>48272</c:v>
                </c:pt>
                <c:pt idx="13965">
                  <c:v>45194</c:v>
                </c:pt>
                <c:pt idx="13966">
                  <c:v>27278</c:v>
                </c:pt>
                <c:pt idx="13967">
                  <c:v>44178</c:v>
                </c:pt>
                <c:pt idx="13968">
                  <c:v>40256</c:v>
                </c:pt>
                <c:pt idx="13969">
                  <c:v>92736</c:v>
                </c:pt>
                <c:pt idx="13970">
                  <c:v>30418</c:v>
                </c:pt>
                <c:pt idx="13971">
                  <c:v>21847</c:v>
                </c:pt>
                <c:pt idx="13972">
                  <c:v>44795</c:v>
                </c:pt>
                <c:pt idx="13973">
                  <c:v>132601</c:v>
                </c:pt>
                <c:pt idx="13974">
                  <c:v>337279</c:v>
                </c:pt>
                <c:pt idx="13975">
                  <c:v>111029</c:v>
                </c:pt>
                <c:pt idx="13976">
                  <c:v>111219</c:v>
                </c:pt>
                <c:pt idx="13977">
                  <c:v>62158</c:v>
                </c:pt>
                <c:pt idx="13978">
                  <c:v>29436</c:v>
                </c:pt>
                <c:pt idx="13979">
                  <c:v>22911</c:v>
                </c:pt>
                <c:pt idx="13980">
                  <c:v>54429</c:v>
                </c:pt>
                <c:pt idx="13981">
                  <c:v>124226</c:v>
                </c:pt>
                <c:pt idx="13982">
                  <c:v>30666</c:v>
                </c:pt>
                <c:pt idx="13983">
                  <c:v>28027</c:v>
                </c:pt>
                <c:pt idx="13984">
                  <c:v>32453</c:v>
                </c:pt>
                <c:pt idx="13985">
                  <c:v>59133</c:v>
                </c:pt>
                <c:pt idx="13986">
                  <c:v>37991</c:v>
                </c:pt>
                <c:pt idx="13987">
                  <c:v>40341</c:v>
                </c:pt>
                <c:pt idx="13988">
                  <c:v>67655</c:v>
                </c:pt>
                <c:pt idx="13989">
                  <c:v>65711</c:v>
                </c:pt>
                <c:pt idx="13990">
                  <c:v>53867</c:v>
                </c:pt>
                <c:pt idx="13991">
                  <c:v>55976</c:v>
                </c:pt>
                <c:pt idx="13992">
                  <c:v>46728</c:v>
                </c:pt>
                <c:pt idx="13993">
                  <c:v>47047</c:v>
                </c:pt>
                <c:pt idx="13994">
                  <c:v>31647</c:v>
                </c:pt>
                <c:pt idx="13995">
                  <c:v>61499</c:v>
                </c:pt>
                <c:pt idx="13996">
                  <c:v>40410</c:v>
                </c:pt>
                <c:pt idx="13997">
                  <c:v>41140</c:v>
                </c:pt>
                <c:pt idx="13998">
                  <c:v>59802</c:v>
                </c:pt>
                <c:pt idx="13999">
                  <c:v>46041</c:v>
                </c:pt>
                <c:pt idx="14000">
                  <c:v>34596</c:v>
                </c:pt>
                <c:pt idx="14001">
                  <c:v>40486</c:v>
                </c:pt>
                <c:pt idx="14002">
                  <c:v>94775</c:v>
                </c:pt>
                <c:pt idx="14003">
                  <c:v>184949</c:v>
                </c:pt>
                <c:pt idx="14004">
                  <c:v>443066</c:v>
                </c:pt>
                <c:pt idx="14005">
                  <c:v>24248</c:v>
                </c:pt>
                <c:pt idx="14006">
                  <c:v>45697</c:v>
                </c:pt>
                <c:pt idx="14007">
                  <c:v>43653</c:v>
                </c:pt>
                <c:pt idx="14008">
                  <c:v>46158</c:v>
                </c:pt>
                <c:pt idx="14009">
                  <c:v>32376</c:v>
                </c:pt>
                <c:pt idx="14010">
                  <c:v>52134</c:v>
                </c:pt>
                <c:pt idx="14011">
                  <c:v>33044</c:v>
                </c:pt>
                <c:pt idx="14012">
                  <c:v>35280</c:v>
                </c:pt>
                <c:pt idx="14013">
                  <c:v>24523</c:v>
                </c:pt>
                <c:pt idx="14014">
                  <c:v>28298</c:v>
                </c:pt>
                <c:pt idx="14015">
                  <c:v>99932</c:v>
                </c:pt>
                <c:pt idx="14016">
                  <c:v>31952</c:v>
                </c:pt>
                <c:pt idx="14017">
                  <c:v>143562</c:v>
                </c:pt>
                <c:pt idx="14018">
                  <c:v>32950</c:v>
                </c:pt>
                <c:pt idx="14019">
                  <c:v>83005</c:v>
                </c:pt>
                <c:pt idx="14020">
                  <c:v>40115</c:v>
                </c:pt>
                <c:pt idx="14021">
                  <c:v>263704</c:v>
                </c:pt>
                <c:pt idx="14022">
                  <c:v>45264</c:v>
                </c:pt>
                <c:pt idx="14023">
                  <c:v>166499</c:v>
                </c:pt>
                <c:pt idx="14024">
                  <c:v>27848</c:v>
                </c:pt>
                <c:pt idx="14025">
                  <c:v>27323</c:v>
                </c:pt>
                <c:pt idx="14026">
                  <c:v>28985</c:v>
                </c:pt>
                <c:pt idx="14027">
                  <c:v>124290</c:v>
                </c:pt>
                <c:pt idx="14028">
                  <c:v>41896</c:v>
                </c:pt>
                <c:pt idx="14029">
                  <c:v>41895</c:v>
                </c:pt>
                <c:pt idx="14030">
                  <c:v>78822</c:v>
                </c:pt>
                <c:pt idx="14031">
                  <c:v>74945</c:v>
                </c:pt>
                <c:pt idx="14032">
                  <c:v>38247</c:v>
                </c:pt>
                <c:pt idx="14033">
                  <c:v>323277</c:v>
                </c:pt>
                <c:pt idx="14034">
                  <c:v>45582</c:v>
                </c:pt>
                <c:pt idx="14035">
                  <c:v>39787</c:v>
                </c:pt>
                <c:pt idx="14036">
                  <c:v>24156</c:v>
                </c:pt>
                <c:pt idx="14037">
                  <c:v>53817</c:v>
                </c:pt>
                <c:pt idx="14038">
                  <c:v>51338</c:v>
                </c:pt>
                <c:pt idx="14039">
                  <c:v>44596</c:v>
                </c:pt>
                <c:pt idx="14040">
                  <c:v>25781</c:v>
                </c:pt>
                <c:pt idx="14041">
                  <c:v>43404</c:v>
                </c:pt>
                <c:pt idx="14042">
                  <c:v>101709</c:v>
                </c:pt>
                <c:pt idx="14043">
                  <c:v>58967</c:v>
                </c:pt>
                <c:pt idx="14044">
                  <c:v>63151</c:v>
                </c:pt>
                <c:pt idx="14045">
                  <c:v>35059</c:v>
                </c:pt>
                <c:pt idx="14046">
                  <c:v>38303</c:v>
                </c:pt>
                <c:pt idx="14047">
                  <c:v>120003</c:v>
                </c:pt>
                <c:pt idx="14048">
                  <c:v>71111</c:v>
                </c:pt>
                <c:pt idx="14049">
                  <c:v>26002</c:v>
                </c:pt>
                <c:pt idx="14050">
                  <c:v>43385</c:v>
                </c:pt>
                <c:pt idx="14051">
                  <c:v>79789</c:v>
                </c:pt>
                <c:pt idx="14052">
                  <c:v>40716</c:v>
                </c:pt>
                <c:pt idx="14053">
                  <c:v>76460</c:v>
                </c:pt>
                <c:pt idx="14054">
                  <c:v>77286</c:v>
                </c:pt>
                <c:pt idx="14055">
                  <c:v>56246</c:v>
                </c:pt>
                <c:pt idx="14056">
                  <c:v>50570</c:v>
                </c:pt>
                <c:pt idx="14057">
                  <c:v>34319</c:v>
                </c:pt>
                <c:pt idx="14058">
                  <c:v>107928</c:v>
                </c:pt>
                <c:pt idx="14059">
                  <c:v>23339</c:v>
                </c:pt>
                <c:pt idx="14060">
                  <c:v>75137</c:v>
                </c:pt>
                <c:pt idx="14061">
                  <c:v>37776</c:v>
                </c:pt>
                <c:pt idx="14062">
                  <c:v>23619</c:v>
                </c:pt>
                <c:pt idx="14063">
                  <c:v>49740</c:v>
                </c:pt>
                <c:pt idx="14064">
                  <c:v>95874</c:v>
                </c:pt>
                <c:pt idx="14065">
                  <c:v>117667</c:v>
                </c:pt>
                <c:pt idx="14066">
                  <c:v>42268</c:v>
                </c:pt>
                <c:pt idx="14067">
                  <c:v>38937</c:v>
                </c:pt>
                <c:pt idx="14068">
                  <c:v>29152</c:v>
                </c:pt>
                <c:pt idx="14069">
                  <c:v>41099</c:v>
                </c:pt>
                <c:pt idx="14070">
                  <c:v>78381</c:v>
                </c:pt>
                <c:pt idx="14071">
                  <c:v>41774</c:v>
                </c:pt>
                <c:pt idx="14072">
                  <c:v>69626</c:v>
                </c:pt>
                <c:pt idx="14073">
                  <c:v>197075</c:v>
                </c:pt>
                <c:pt idx="14074">
                  <c:v>85687</c:v>
                </c:pt>
                <c:pt idx="14075">
                  <c:v>71286</c:v>
                </c:pt>
                <c:pt idx="14076">
                  <c:v>169837</c:v>
                </c:pt>
                <c:pt idx="14077">
                  <c:v>21377</c:v>
                </c:pt>
                <c:pt idx="14078">
                  <c:v>34315</c:v>
                </c:pt>
                <c:pt idx="14079">
                  <c:v>72147</c:v>
                </c:pt>
                <c:pt idx="14080">
                  <c:v>81433</c:v>
                </c:pt>
                <c:pt idx="14081">
                  <c:v>33695</c:v>
                </c:pt>
                <c:pt idx="14082">
                  <c:v>80961</c:v>
                </c:pt>
                <c:pt idx="14083">
                  <c:v>59316</c:v>
                </c:pt>
                <c:pt idx="14084">
                  <c:v>87166</c:v>
                </c:pt>
                <c:pt idx="14085">
                  <c:v>72697</c:v>
                </c:pt>
                <c:pt idx="14086">
                  <c:v>44492</c:v>
                </c:pt>
                <c:pt idx="14087">
                  <c:v>155607</c:v>
                </c:pt>
                <c:pt idx="14088">
                  <c:v>32922</c:v>
                </c:pt>
                <c:pt idx="14089">
                  <c:v>167544</c:v>
                </c:pt>
                <c:pt idx="14090">
                  <c:v>119587</c:v>
                </c:pt>
                <c:pt idx="14091">
                  <c:v>150110</c:v>
                </c:pt>
                <c:pt idx="14092">
                  <c:v>93680</c:v>
                </c:pt>
                <c:pt idx="14093">
                  <c:v>32200</c:v>
                </c:pt>
                <c:pt idx="14094">
                  <c:v>77503</c:v>
                </c:pt>
                <c:pt idx="14095">
                  <c:v>42967</c:v>
                </c:pt>
                <c:pt idx="14096">
                  <c:v>84298</c:v>
                </c:pt>
                <c:pt idx="14097">
                  <c:v>51237</c:v>
                </c:pt>
                <c:pt idx="14098">
                  <c:v>47916</c:v>
                </c:pt>
                <c:pt idx="14099">
                  <c:v>52584</c:v>
                </c:pt>
                <c:pt idx="14100">
                  <c:v>55638</c:v>
                </c:pt>
                <c:pt idx="14101">
                  <c:v>49627</c:v>
                </c:pt>
                <c:pt idx="14102">
                  <c:v>95151</c:v>
                </c:pt>
                <c:pt idx="14103">
                  <c:v>19899</c:v>
                </c:pt>
                <c:pt idx="14104">
                  <c:v>75189</c:v>
                </c:pt>
                <c:pt idx="14105">
                  <c:v>65473</c:v>
                </c:pt>
                <c:pt idx="14106">
                  <c:v>27818</c:v>
                </c:pt>
                <c:pt idx="14107">
                  <c:v>48150</c:v>
                </c:pt>
                <c:pt idx="14108">
                  <c:v>141139</c:v>
                </c:pt>
                <c:pt idx="14109">
                  <c:v>35106</c:v>
                </c:pt>
                <c:pt idx="14110">
                  <c:v>42091</c:v>
                </c:pt>
                <c:pt idx="14111">
                  <c:v>46668</c:v>
                </c:pt>
                <c:pt idx="14112">
                  <c:v>49841</c:v>
                </c:pt>
                <c:pt idx="14113">
                  <c:v>58768</c:v>
                </c:pt>
                <c:pt idx="14114">
                  <c:v>35604</c:v>
                </c:pt>
                <c:pt idx="14115">
                  <c:v>145453</c:v>
                </c:pt>
                <c:pt idx="14116">
                  <c:v>38812</c:v>
                </c:pt>
                <c:pt idx="14117">
                  <c:v>40402</c:v>
                </c:pt>
                <c:pt idx="14118">
                  <c:v>118657</c:v>
                </c:pt>
                <c:pt idx="14119">
                  <c:v>44808</c:v>
                </c:pt>
                <c:pt idx="14120">
                  <c:v>47576</c:v>
                </c:pt>
                <c:pt idx="14121">
                  <c:v>59947</c:v>
                </c:pt>
                <c:pt idx="14122">
                  <c:v>27770</c:v>
                </c:pt>
                <c:pt idx="14123">
                  <c:v>58002</c:v>
                </c:pt>
                <c:pt idx="14124">
                  <c:v>56327</c:v>
                </c:pt>
                <c:pt idx="14125">
                  <c:v>30746</c:v>
                </c:pt>
                <c:pt idx="14126">
                  <c:v>63608</c:v>
                </c:pt>
                <c:pt idx="14127">
                  <c:v>27311</c:v>
                </c:pt>
                <c:pt idx="14128">
                  <c:v>72623</c:v>
                </c:pt>
                <c:pt idx="14129">
                  <c:v>25013</c:v>
                </c:pt>
                <c:pt idx="14130">
                  <c:v>44312</c:v>
                </c:pt>
                <c:pt idx="14131">
                  <c:v>54722</c:v>
                </c:pt>
                <c:pt idx="14132">
                  <c:v>41799</c:v>
                </c:pt>
                <c:pt idx="14133">
                  <c:v>78086</c:v>
                </c:pt>
                <c:pt idx="14134">
                  <c:v>20826</c:v>
                </c:pt>
                <c:pt idx="14135">
                  <c:v>46960</c:v>
                </c:pt>
                <c:pt idx="14136">
                  <c:v>162829</c:v>
                </c:pt>
                <c:pt idx="14137">
                  <c:v>22555</c:v>
                </c:pt>
                <c:pt idx="14138">
                  <c:v>32679</c:v>
                </c:pt>
                <c:pt idx="14139">
                  <c:v>35345</c:v>
                </c:pt>
                <c:pt idx="14140">
                  <c:v>81841</c:v>
                </c:pt>
                <c:pt idx="14141">
                  <c:v>39036</c:v>
                </c:pt>
                <c:pt idx="14142">
                  <c:v>39785</c:v>
                </c:pt>
                <c:pt idx="14143">
                  <c:v>33596</c:v>
                </c:pt>
                <c:pt idx="14144">
                  <c:v>114848</c:v>
                </c:pt>
                <c:pt idx="14145">
                  <c:v>32358</c:v>
                </c:pt>
                <c:pt idx="14146">
                  <c:v>48364</c:v>
                </c:pt>
                <c:pt idx="14147">
                  <c:v>30997</c:v>
                </c:pt>
                <c:pt idx="14148">
                  <c:v>55539</c:v>
                </c:pt>
                <c:pt idx="14149">
                  <c:v>60366</c:v>
                </c:pt>
                <c:pt idx="14150">
                  <c:v>43664</c:v>
                </c:pt>
                <c:pt idx="14151">
                  <c:v>231083</c:v>
                </c:pt>
                <c:pt idx="14152">
                  <c:v>41417</c:v>
                </c:pt>
                <c:pt idx="14153">
                  <c:v>34789</c:v>
                </c:pt>
                <c:pt idx="14154">
                  <c:v>85805</c:v>
                </c:pt>
                <c:pt idx="14155">
                  <c:v>210991</c:v>
                </c:pt>
                <c:pt idx="14156">
                  <c:v>71876</c:v>
                </c:pt>
                <c:pt idx="14157">
                  <c:v>28603</c:v>
                </c:pt>
                <c:pt idx="14158">
                  <c:v>37240</c:v>
                </c:pt>
                <c:pt idx="14159">
                  <c:v>40831</c:v>
                </c:pt>
                <c:pt idx="14160">
                  <c:v>88519</c:v>
                </c:pt>
                <c:pt idx="14161">
                  <c:v>42622</c:v>
                </c:pt>
                <c:pt idx="14162">
                  <c:v>26997</c:v>
                </c:pt>
                <c:pt idx="14163">
                  <c:v>49063</c:v>
                </c:pt>
                <c:pt idx="14164">
                  <c:v>76278</c:v>
                </c:pt>
                <c:pt idx="14165">
                  <c:v>37044</c:v>
                </c:pt>
                <c:pt idx="14166">
                  <c:v>132631</c:v>
                </c:pt>
                <c:pt idx="14167">
                  <c:v>39735</c:v>
                </c:pt>
                <c:pt idx="14168">
                  <c:v>66015</c:v>
                </c:pt>
                <c:pt idx="14169">
                  <c:v>218993</c:v>
                </c:pt>
                <c:pt idx="14170">
                  <c:v>41699</c:v>
                </c:pt>
                <c:pt idx="14171">
                  <c:v>45372</c:v>
                </c:pt>
                <c:pt idx="14172">
                  <c:v>134554</c:v>
                </c:pt>
                <c:pt idx="14173">
                  <c:v>39694</c:v>
                </c:pt>
                <c:pt idx="14174">
                  <c:v>45829</c:v>
                </c:pt>
                <c:pt idx="14175">
                  <c:v>45381</c:v>
                </c:pt>
                <c:pt idx="14176">
                  <c:v>52640</c:v>
                </c:pt>
                <c:pt idx="14177">
                  <c:v>40580</c:v>
                </c:pt>
                <c:pt idx="14178">
                  <c:v>39540</c:v>
                </c:pt>
                <c:pt idx="14179">
                  <c:v>66648</c:v>
                </c:pt>
                <c:pt idx="14180">
                  <c:v>43007</c:v>
                </c:pt>
                <c:pt idx="14181">
                  <c:v>47178</c:v>
                </c:pt>
                <c:pt idx="14182">
                  <c:v>37082</c:v>
                </c:pt>
                <c:pt idx="14183">
                  <c:v>26271</c:v>
                </c:pt>
                <c:pt idx="14184">
                  <c:v>47604</c:v>
                </c:pt>
                <c:pt idx="14185">
                  <c:v>34898</c:v>
                </c:pt>
                <c:pt idx="14186">
                  <c:v>46247</c:v>
                </c:pt>
                <c:pt idx="14187">
                  <c:v>28344</c:v>
                </c:pt>
                <c:pt idx="14188">
                  <c:v>86190</c:v>
                </c:pt>
                <c:pt idx="14189">
                  <c:v>59837</c:v>
                </c:pt>
                <c:pt idx="14190">
                  <c:v>82898</c:v>
                </c:pt>
                <c:pt idx="14191">
                  <c:v>26240</c:v>
                </c:pt>
                <c:pt idx="14192">
                  <c:v>48008</c:v>
                </c:pt>
                <c:pt idx="14193">
                  <c:v>54160</c:v>
                </c:pt>
                <c:pt idx="14194">
                  <c:v>101052</c:v>
                </c:pt>
                <c:pt idx="14195">
                  <c:v>94459</c:v>
                </c:pt>
                <c:pt idx="14196">
                  <c:v>38585</c:v>
                </c:pt>
                <c:pt idx="14197">
                  <c:v>64734</c:v>
                </c:pt>
                <c:pt idx="14198">
                  <c:v>154236</c:v>
                </c:pt>
                <c:pt idx="14199">
                  <c:v>35422</c:v>
                </c:pt>
                <c:pt idx="14200">
                  <c:v>107560</c:v>
                </c:pt>
                <c:pt idx="14201">
                  <c:v>179577</c:v>
                </c:pt>
                <c:pt idx="14202">
                  <c:v>47538</c:v>
                </c:pt>
                <c:pt idx="14203">
                  <c:v>23778</c:v>
                </c:pt>
                <c:pt idx="14204">
                  <c:v>31503</c:v>
                </c:pt>
                <c:pt idx="14205">
                  <c:v>62804</c:v>
                </c:pt>
                <c:pt idx="14206">
                  <c:v>39154</c:v>
                </c:pt>
                <c:pt idx="14207">
                  <c:v>47974</c:v>
                </c:pt>
                <c:pt idx="14208">
                  <c:v>37695</c:v>
                </c:pt>
                <c:pt idx="14209">
                  <c:v>175415</c:v>
                </c:pt>
                <c:pt idx="14210">
                  <c:v>48597</c:v>
                </c:pt>
                <c:pt idx="14211">
                  <c:v>31198</c:v>
                </c:pt>
                <c:pt idx="14212">
                  <c:v>39513</c:v>
                </c:pt>
                <c:pt idx="14213">
                  <c:v>59561</c:v>
                </c:pt>
                <c:pt idx="14214">
                  <c:v>125225</c:v>
                </c:pt>
                <c:pt idx="14215">
                  <c:v>49386</c:v>
                </c:pt>
                <c:pt idx="14216">
                  <c:v>197141</c:v>
                </c:pt>
                <c:pt idx="14217">
                  <c:v>34312</c:v>
                </c:pt>
                <c:pt idx="14218">
                  <c:v>44330</c:v>
                </c:pt>
                <c:pt idx="14219">
                  <c:v>64381</c:v>
                </c:pt>
                <c:pt idx="14220">
                  <c:v>54502</c:v>
                </c:pt>
                <c:pt idx="14221">
                  <c:v>110567</c:v>
                </c:pt>
                <c:pt idx="14222">
                  <c:v>45654</c:v>
                </c:pt>
                <c:pt idx="14223">
                  <c:v>32951</c:v>
                </c:pt>
                <c:pt idx="14224">
                  <c:v>165161</c:v>
                </c:pt>
                <c:pt idx="14225">
                  <c:v>26899</c:v>
                </c:pt>
                <c:pt idx="14226">
                  <c:v>58557</c:v>
                </c:pt>
                <c:pt idx="14227">
                  <c:v>138512</c:v>
                </c:pt>
                <c:pt idx="14228">
                  <c:v>26111</c:v>
                </c:pt>
                <c:pt idx="14229">
                  <c:v>45917</c:v>
                </c:pt>
                <c:pt idx="14230">
                  <c:v>27061</c:v>
                </c:pt>
                <c:pt idx="14231">
                  <c:v>32834</c:v>
                </c:pt>
                <c:pt idx="14232">
                  <c:v>96563</c:v>
                </c:pt>
                <c:pt idx="14233">
                  <c:v>90108</c:v>
                </c:pt>
                <c:pt idx="14234">
                  <c:v>85476</c:v>
                </c:pt>
                <c:pt idx="14235">
                  <c:v>36955</c:v>
                </c:pt>
                <c:pt idx="14236">
                  <c:v>30557</c:v>
                </c:pt>
                <c:pt idx="14237">
                  <c:v>49560</c:v>
                </c:pt>
                <c:pt idx="14238">
                  <c:v>63718</c:v>
                </c:pt>
                <c:pt idx="14239">
                  <c:v>55890</c:v>
                </c:pt>
                <c:pt idx="14240">
                  <c:v>23971</c:v>
                </c:pt>
                <c:pt idx="14241">
                  <c:v>122749</c:v>
                </c:pt>
                <c:pt idx="14242">
                  <c:v>29700</c:v>
                </c:pt>
                <c:pt idx="14243">
                  <c:v>51166</c:v>
                </c:pt>
                <c:pt idx="14244">
                  <c:v>150053</c:v>
                </c:pt>
                <c:pt idx="14245">
                  <c:v>208991</c:v>
                </c:pt>
                <c:pt idx="14246">
                  <c:v>43268</c:v>
                </c:pt>
                <c:pt idx="14247">
                  <c:v>43993</c:v>
                </c:pt>
                <c:pt idx="14248">
                  <c:v>59620</c:v>
                </c:pt>
                <c:pt idx="14249">
                  <c:v>47029</c:v>
                </c:pt>
                <c:pt idx="14250">
                  <c:v>72685</c:v>
                </c:pt>
                <c:pt idx="14251">
                  <c:v>131834</c:v>
                </c:pt>
                <c:pt idx="14252">
                  <c:v>23618</c:v>
                </c:pt>
                <c:pt idx="14253">
                  <c:v>115470</c:v>
                </c:pt>
                <c:pt idx="14254">
                  <c:v>163870</c:v>
                </c:pt>
                <c:pt idx="14255">
                  <c:v>40047</c:v>
                </c:pt>
                <c:pt idx="14256">
                  <c:v>187417</c:v>
                </c:pt>
                <c:pt idx="14257">
                  <c:v>30411</c:v>
                </c:pt>
                <c:pt idx="14258">
                  <c:v>95161</c:v>
                </c:pt>
                <c:pt idx="14259">
                  <c:v>70971</c:v>
                </c:pt>
                <c:pt idx="14260">
                  <c:v>33575</c:v>
                </c:pt>
                <c:pt idx="14261">
                  <c:v>60149</c:v>
                </c:pt>
                <c:pt idx="14262">
                  <c:v>21742</c:v>
                </c:pt>
                <c:pt idx="14263">
                  <c:v>37193</c:v>
                </c:pt>
                <c:pt idx="14264">
                  <c:v>40485</c:v>
                </c:pt>
                <c:pt idx="14265">
                  <c:v>99927</c:v>
                </c:pt>
                <c:pt idx="14266">
                  <c:v>27179</c:v>
                </c:pt>
                <c:pt idx="14267">
                  <c:v>59128</c:v>
                </c:pt>
                <c:pt idx="14268">
                  <c:v>128252</c:v>
                </c:pt>
                <c:pt idx="14269">
                  <c:v>72508</c:v>
                </c:pt>
                <c:pt idx="14270">
                  <c:v>37215</c:v>
                </c:pt>
                <c:pt idx="14271">
                  <c:v>32356</c:v>
                </c:pt>
                <c:pt idx="14272">
                  <c:v>55238</c:v>
                </c:pt>
                <c:pt idx="14273">
                  <c:v>97817</c:v>
                </c:pt>
                <c:pt idx="14274">
                  <c:v>33166</c:v>
                </c:pt>
                <c:pt idx="14275">
                  <c:v>37648</c:v>
                </c:pt>
                <c:pt idx="14276">
                  <c:v>38829</c:v>
                </c:pt>
                <c:pt idx="14277">
                  <c:v>115971</c:v>
                </c:pt>
                <c:pt idx="14278">
                  <c:v>33905</c:v>
                </c:pt>
                <c:pt idx="14279">
                  <c:v>81132</c:v>
                </c:pt>
                <c:pt idx="14280">
                  <c:v>40870</c:v>
                </c:pt>
                <c:pt idx="14281">
                  <c:v>40427</c:v>
                </c:pt>
                <c:pt idx="14282">
                  <c:v>57317</c:v>
                </c:pt>
                <c:pt idx="14283">
                  <c:v>33367</c:v>
                </c:pt>
                <c:pt idx="14284">
                  <c:v>79851</c:v>
                </c:pt>
                <c:pt idx="14285">
                  <c:v>45668</c:v>
                </c:pt>
                <c:pt idx="14286">
                  <c:v>105793</c:v>
                </c:pt>
                <c:pt idx="14287">
                  <c:v>23567</c:v>
                </c:pt>
                <c:pt idx="14288">
                  <c:v>114720</c:v>
                </c:pt>
                <c:pt idx="14289">
                  <c:v>124195</c:v>
                </c:pt>
                <c:pt idx="14290">
                  <c:v>47350</c:v>
                </c:pt>
                <c:pt idx="14291">
                  <c:v>68116</c:v>
                </c:pt>
                <c:pt idx="14292">
                  <c:v>82816</c:v>
                </c:pt>
                <c:pt idx="14293">
                  <c:v>29666</c:v>
                </c:pt>
                <c:pt idx="14294">
                  <c:v>91849</c:v>
                </c:pt>
                <c:pt idx="14295">
                  <c:v>76929</c:v>
                </c:pt>
                <c:pt idx="14296">
                  <c:v>44370</c:v>
                </c:pt>
                <c:pt idx="14297">
                  <c:v>31501</c:v>
                </c:pt>
                <c:pt idx="14298">
                  <c:v>57657</c:v>
                </c:pt>
                <c:pt idx="14299">
                  <c:v>84364</c:v>
                </c:pt>
                <c:pt idx="14300">
                  <c:v>56875</c:v>
                </c:pt>
                <c:pt idx="14301">
                  <c:v>154358</c:v>
                </c:pt>
                <c:pt idx="14302">
                  <c:v>33563</c:v>
                </c:pt>
                <c:pt idx="14303">
                  <c:v>27557</c:v>
                </c:pt>
                <c:pt idx="14304">
                  <c:v>34863</c:v>
                </c:pt>
                <c:pt idx="14305">
                  <c:v>38828</c:v>
                </c:pt>
                <c:pt idx="14306">
                  <c:v>51898</c:v>
                </c:pt>
                <c:pt idx="14307">
                  <c:v>27517</c:v>
                </c:pt>
                <c:pt idx="14308">
                  <c:v>250905</c:v>
                </c:pt>
                <c:pt idx="14309">
                  <c:v>26207</c:v>
                </c:pt>
                <c:pt idx="14310">
                  <c:v>49656</c:v>
                </c:pt>
                <c:pt idx="14311">
                  <c:v>175437</c:v>
                </c:pt>
                <c:pt idx="14312">
                  <c:v>37174</c:v>
                </c:pt>
                <c:pt idx="14313">
                  <c:v>24802</c:v>
                </c:pt>
                <c:pt idx="14314">
                  <c:v>53414</c:v>
                </c:pt>
                <c:pt idx="14315">
                  <c:v>48298</c:v>
                </c:pt>
                <c:pt idx="14316">
                  <c:v>15000</c:v>
                </c:pt>
                <c:pt idx="14317">
                  <c:v>21460</c:v>
                </c:pt>
                <c:pt idx="14318">
                  <c:v>45626</c:v>
                </c:pt>
                <c:pt idx="14319">
                  <c:v>36922</c:v>
                </c:pt>
                <c:pt idx="14320">
                  <c:v>36591</c:v>
                </c:pt>
                <c:pt idx="14321">
                  <c:v>50692</c:v>
                </c:pt>
                <c:pt idx="14322">
                  <c:v>25796</c:v>
                </c:pt>
                <c:pt idx="14323">
                  <c:v>44334</c:v>
                </c:pt>
                <c:pt idx="14324">
                  <c:v>27356</c:v>
                </c:pt>
                <c:pt idx="14325">
                  <c:v>23139</c:v>
                </c:pt>
                <c:pt idx="14326">
                  <c:v>35039</c:v>
                </c:pt>
                <c:pt idx="14327">
                  <c:v>48186</c:v>
                </c:pt>
                <c:pt idx="14328">
                  <c:v>36632</c:v>
                </c:pt>
                <c:pt idx="14329">
                  <c:v>29324</c:v>
                </c:pt>
                <c:pt idx="14330">
                  <c:v>40149</c:v>
                </c:pt>
                <c:pt idx="14331">
                  <c:v>24355</c:v>
                </c:pt>
                <c:pt idx="14332">
                  <c:v>115726</c:v>
                </c:pt>
                <c:pt idx="14333">
                  <c:v>115054</c:v>
                </c:pt>
                <c:pt idx="14334">
                  <c:v>77682</c:v>
                </c:pt>
                <c:pt idx="14335">
                  <c:v>36292</c:v>
                </c:pt>
                <c:pt idx="14336">
                  <c:v>60665</c:v>
                </c:pt>
                <c:pt idx="14337">
                  <c:v>48194</c:v>
                </c:pt>
                <c:pt idx="14338">
                  <c:v>60532</c:v>
                </c:pt>
                <c:pt idx="14339">
                  <c:v>36735</c:v>
                </c:pt>
                <c:pt idx="14340">
                  <c:v>64073</c:v>
                </c:pt>
                <c:pt idx="14341">
                  <c:v>34261</c:v>
                </c:pt>
                <c:pt idx="14342">
                  <c:v>263678</c:v>
                </c:pt>
                <c:pt idx="14343">
                  <c:v>50035</c:v>
                </c:pt>
                <c:pt idx="14344">
                  <c:v>119918</c:v>
                </c:pt>
                <c:pt idx="14345">
                  <c:v>46969</c:v>
                </c:pt>
                <c:pt idx="14346">
                  <c:v>25417</c:v>
                </c:pt>
                <c:pt idx="14347">
                  <c:v>37893</c:v>
                </c:pt>
                <c:pt idx="14348">
                  <c:v>67442</c:v>
                </c:pt>
                <c:pt idx="14349">
                  <c:v>61401</c:v>
                </c:pt>
                <c:pt idx="14350">
                  <c:v>32221</c:v>
                </c:pt>
                <c:pt idx="14351">
                  <c:v>30196</c:v>
                </c:pt>
                <c:pt idx="14352">
                  <c:v>38674</c:v>
                </c:pt>
                <c:pt idx="14353">
                  <c:v>35042</c:v>
                </c:pt>
                <c:pt idx="14354">
                  <c:v>95172</c:v>
                </c:pt>
                <c:pt idx="14355">
                  <c:v>48507</c:v>
                </c:pt>
                <c:pt idx="14356">
                  <c:v>69293</c:v>
                </c:pt>
                <c:pt idx="14357">
                  <c:v>412498</c:v>
                </c:pt>
                <c:pt idx="14358">
                  <c:v>258357</c:v>
                </c:pt>
                <c:pt idx="14359">
                  <c:v>34004</c:v>
                </c:pt>
                <c:pt idx="14360">
                  <c:v>56699</c:v>
                </c:pt>
                <c:pt idx="14361">
                  <c:v>32103</c:v>
                </c:pt>
                <c:pt idx="14362">
                  <c:v>36679</c:v>
                </c:pt>
                <c:pt idx="14363">
                  <c:v>34537</c:v>
                </c:pt>
                <c:pt idx="14364">
                  <c:v>45303</c:v>
                </c:pt>
                <c:pt idx="14365">
                  <c:v>30750</c:v>
                </c:pt>
                <c:pt idx="14366">
                  <c:v>41590</c:v>
                </c:pt>
                <c:pt idx="14367">
                  <c:v>101180</c:v>
                </c:pt>
                <c:pt idx="14368">
                  <c:v>28275</c:v>
                </c:pt>
                <c:pt idx="14369">
                  <c:v>74802</c:v>
                </c:pt>
                <c:pt idx="14370">
                  <c:v>123468</c:v>
                </c:pt>
                <c:pt idx="14371">
                  <c:v>40673</c:v>
                </c:pt>
                <c:pt idx="14372">
                  <c:v>47054</c:v>
                </c:pt>
                <c:pt idx="14373">
                  <c:v>36026</c:v>
                </c:pt>
                <c:pt idx="14374">
                  <c:v>91893</c:v>
                </c:pt>
                <c:pt idx="14375">
                  <c:v>33359</c:v>
                </c:pt>
                <c:pt idx="14376">
                  <c:v>64003</c:v>
                </c:pt>
                <c:pt idx="14377">
                  <c:v>106192</c:v>
                </c:pt>
                <c:pt idx="14378">
                  <c:v>37785</c:v>
                </c:pt>
                <c:pt idx="14379">
                  <c:v>44550</c:v>
                </c:pt>
                <c:pt idx="14380">
                  <c:v>62318</c:v>
                </c:pt>
                <c:pt idx="14381">
                  <c:v>49346</c:v>
                </c:pt>
                <c:pt idx="14382">
                  <c:v>70563</c:v>
                </c:pt>
                <c:pt idx="14383">
                  <c:v>32383</c:v>
                </c:pt>
                <c:pt idx="14384">
                  <c:v>57436</c:v>
                </c:pt>
                <c:pt idx="14385">
                  <c:v>363610</c:v>
                </c:pt>
                <c:pt idx="14386">
                  <c:v>121285</c:v>
                </c:pt>
                <c:pt idx="14387">
                  <c:v>55009</c:v>
                </c:pt>
                <c:pt idx="14388">
                  <c:v>48135</c:v>
                </c:pt>
                <c:pt idx="14389">
                  <c:v>44447</c:v>
                </c:pt>
                <c:pt idx="14390">
                  <c:v>27555</c:v>
                </c:pt>
                <c:pt idx="14391">
                  <c:v>36819</c:v>
                </c:pt>
                <c:pt idx="14392">
                  <c:v>29419</c:v>
                </c:pt>
                <c:pt idx="14393">
                  <c:v>40403</c:v>
                </c:pt>
                <c:pt idx="14394">
                  <c:v>26835</c:v>
                </c:pt>
                <c:pt idx="14395">
                  <c:v>135295</c:v>
                </c:pt>
                <c:pt idx="14396">
                  <c:v>69807</c:v>
                </c:pt>
                <c:pt idx="14397">
                  <c:v>68577</c:v>
                </c:pt>
                <c:pt idx="14398">
                  <c:v>46733</c:v>
                </c:pt>
                <c:pt idx="14399">
                  <c:v>52641</c:v>
                </c:pt>
                <c:pt idx="14400">
                  <c:v>107066</c:v>
                </c:pt>
                <c:pt idx="14401">
                  <c:v>86419</c:v>
                </c:pt>
                <c:pt idx="14402">
                  <c:v>188684</c:v>
                </c:pt>
                <c:pt idx="14403">
                  <c:v>28443</c:v>
                </c:pt>
                <c:pt idx="14404">
                  <c:v>58311</c:v>
                </c:pt>
                <c:pt idx="14405">
                  <c:v>70398</c:v>
                </c:pt>
                <c:pt idx="14406">
                  <c:v>38542</c:v>
                </c:pt>
                <c:pt idx="14407">
                  <c:v>61407</c:v>
                </c:pt>
                <c:pt idx="14408">
                  <c:v>73759</c:v>
                </c:pt>
                <c:pt idx="14409">
                  <c:v>34936</c:v>
                </c:pt>
                <c:pt idx="14410">
                  <c:v>61014</c:v>
                </c:pt>
                <c:pt idx="14411">
                  <c:v>85096</c:v>
                </c:pt>
                <c:pt idx="14412">
                  <c:v>61726</c:v>
                </c:pt>
                <c:pt idx="14413">
                  <c:v>31029</c:v>
                </c:pt>
                <c:pt idx="14414">
                  <c:v>41105</c:v>
                </c:pt>
                <c:pt idx="14415">
                  <c:v>360751</c:v>
                </c:pt>
                <c:pt idx="14416">
                  <c:v>69185</c:v>
                </c:pt>
                <c:pt idx="14417">
                  <c:v>107255</c:v>
                </c:pt>
                <c:pt idx="14418">
                  <c:v>142011</c:v>
                </c:pt>
                <c:pt idx="14419">
                  <c:v>135531</c:v>
                </c:pt>
                <c:pt idx="14420">
                  <c:v>40743</c:v>
                </c:pt>
                <c:pt idx="14421">
                  <c:v>36765</c:v>
                </c:pt>
                <c:pt idx="14422">
                  <c:v>56352</c:v>
                </c:pt>
                <c:pt idx="14423">
                  <c:v>28054</c:v>
                </c:pt>
                <c:pt idx="14424">
                  <c:v>38535</c:v>
                </c:pt>
                <c:pt idx="14425">
                  <c:v>24805</c:v>
                </c:pt>
                <c:pt idx="14426">
                  <c:v>77016</c:v>
                </c:pt>
                <c:pt idx="14427">
                  <c:v>46582</c:v>
                </c:pt>
                <c:pt idx="14428">
                  <c:v>139584</c:v>
                </c:pt>
                <c:pt idx="14429">
                  <c:v>47968</c:v>
                </c:pt>
                <c:pt idx="14430">
                  <c:v>41082</c:v>
                </c:pt>
                <c:pt idx="14431">
                  <c:v>37010</c:v>
                </c:pt>
                <c:pt idx="14432">
                  <c:v>35847</c:v>
                </c:pt>
                <c:pt idx="14433">
                  <c:v>59185</c:v>
                </c:pt>
                <c:pt idx="14434">
                  <c:v>31583</c:v>
                </c:pt>
                <c:pt idx="14435">
                  <c:v>34655</c:v>
                </c:pt>
                <c:pt idx="14436">
                  <c:v>27252</c:v>
                </c:pt>
                <c:pt idx="14437">
                  <c:v>55830</c:v>
                </c:pt>
                <c:pt idx="14438">
                  <c:v>53646</c:v>
                </c:pt>
                <c:pt idx="14439">
                  <c:v>49573</c:v>
                </c:pt>
                <c:pt idx="14440">
                  <c:v>41917</c:v>
                </c:pt>
                <c:pt idx="14441">
                  <c:v>47883</c:v>
                </c:pt>
                <c:pt idx="14442">
                  <c:v>64632</c:v>
                </c:pt>
                <c:pt idx="14443">
                  <c:v>30957</c:v>
                </c:pt>
                <c:pt idx="14444">
                  <c:v>124315</c:v>
                </c:pt>
                <c:pt idx="14445">
                  <c:v>116081</c:v>
                </c:pt>
                <c:pt idx="14446">
                  <c:v>66610</c:v>
                </c:pt>
                <c:pt idx="14447">
                  <c:v>90266</c:v>
                </c:pt>
                <c:pt idx="14448">
                  <c:v>72464</c:v>
                </c:pt>
                <c:pt idx="14449">
                  <c:v>45698</c:v>
                </c:pt>
                <c:pt idx="14450">
                  <c:v>125481</c:v>
                </c:pt>
                <c:pt idx="14451">
                  <c:v>63531</c:v>
                </c:pt>
                <c:pt idx="14452">
                  <c:v>69773</c:v>
                </c:pt>
                <c:pt idx="14453">
                  <c:v>33269</c:v>
                </c:pt>
                <c:pt idx="14454">
                  <c:v>23633</c:v>
                </c:pt>
                <c:pt idx="14455">
                  <c:v>22474</c:v>
                </c:pt>
                <c:pt idx="14456">
                  <c:v>74059</c:v>
                </c:pt>
                <c:pt idx="14457">
                  <c:v>28855</c:v>
                </c:pt>
                <c:pt idx="14458">
                  <c:v>27831</c:v>
                </c:pt>
                <c:pt idx="14459">
                  <c:v>25226</c:v>
                </c:pt>
                <c:pt idx="14460">
                  <c:v>223129</c:v>
                </c:pt>
                <c:pt idx="14461">
                  <c:v>34773</c:v>
                </c:pt>
                <c:pt idx="14462">
                  <c:v>34776</c:v>
                </c:pt>
                <c:pt idx="14463">
                  <c:v>206263</c:v>
                </c:pt>
                <c:pt idx="14464">
                  <c:v>128319</c:v>
                </c:pt>
                <c:pt idx="14465">
                  <c:v>34724</c:v>
                </c:pt>
                <c:pt idx="14466">
                  <c:v>334787</c:v>
                </c:pt>
                <c:pt idx="14467">
                  <c:v>127093</c:v>
                </c:pt>
                <c:pt idx="14468">
                  <c:v>114852</c:v>
                </c:pt>
                <c:pt idx="14469">
                  <c:v>46304</c:v>
                </c:pt>
                <c:pt idx="14470">
                  <c:v>43875</c:v>
                </c:pt>
                <c:pt idx="14471">
                  <c:v>118747</c:v>
                </c:pt>
                <c:pt idx="14472">
                  <c:v>165211</c:v>
                </c:pt>
                <c:pt idx="14473">
                  <c:v>134890</c:v>
                </c:pt>
                <c:pt idx="14474">
                  <c:v>45887</c:v>
                </c:pt>
                <c:pt idx="14475">
                  <c:v>35645</c:v>
                </c:pt>
                <c:pt idx="14476">
                  <c:v>26962</c:v>
                </c:pt>
                <c:pt idx="14477">
                  <c:v>68321</c:v>
                </c:pt>
                <c:pt idx="14478">
                  <c:v>23212</c:v>
                </c:pt>
                <c:pt idx="14479">
                  <c:v>40035</c:v>
                </c:pt>
                <c:pt idx="14480">
                  <c:v>73414</c:v>
                </c:pt>
                <c:pt idx="14481">
                  <c:v>39065</c:v>
                </c:pt>
                <c:pt idx="14482">
                  <c:v>56773</c:v>
                </c:pt>
                <c:pt idx="14483">
                  <c:v>83307</c:v>
                </c:pt>
                <c:pt idx="14484">
                  <c:v>30912</c:v>
                </c:pt>
                <c:pt idx="14485">
                  <c:v>36641</c:v>
                </c:pt>
                <c:pt idx="14486">
                  <c:v>59288</c:v>
                </c:pt>
                <c:pt idx="14487">
                  <c:v>41348</c:v>
                </c:pt>
                <c:pt idx="14488">
                  <c:v>43337</c:v>
                </c:pt>
                <c:pt idx="14489">
                  <c:v>70362</c:v>
                </c:pt>
                <c:pt idx="14490">
                  <c:v>90366</c:v>
                </c:pt>
                <c:pt idx="14491">
                  <c:v>33171</c:v>
                </c:pt>
                <c:pt idx="14492">
                  <c:v>34729</c:v>
                </c:pt>
                <c:pt idx="14493">
                  <c:v>37230</c:v>
                </c:pt>
                <c:pt idx="14494">
                  <c:v>44902</c:v>
                </c:pt>
                <c:pt idx="14495">
                  <c:v>158787</c:v>
                </c:pt>
                <c:pt idx="14496">
                  <c:v>94116</c:v>
                </c:pt>
                <c:pt idx="14497">
                  <c:v>39851</c:v>
                </c:pt>
                <c:pt idx="14498">
                  <c:v>56138</c:v>
                </c:pt>
                <c:pt idx="14499">
                  <c:v>165977</c:v>
                </c:pt>
                <c:pt idx="14500">
                  <c:v>51513</c:v>
                </c:pt>
                <c:pt idx="14501">
                  <c:v>29217</c:v>
                </c:pt>
                <c:pt idx="14502">
                  <c:v>64659</c:v>
                </c:pt>
                <c:pt idx="14503">
                  <c:v>66816</c:v>
                </c:pt>
                <c:pt idx="14504">
                  <c:v>43100</c:v>
                </c:pt>
                <c:pt idx="14505">
                  <c:v>23315</c:v>
                </c:pt>
                <c:pt idx="14506">
                  <c:v>39319</c:v>
                </c:pt>
                <c:pt idx="14507">
                  <c:v>42523</c:v>
                </c:pt>
                <c:pt idx="14508">
                  <c:v>29958</c:v>
                </c:pt>
                <c:pt idx="14509">
                  <c:v>65553</c:v>
                </c:pt>
                <c:pt idx="14510">
                  <c:v>27084</c:v>
                </c:pt>
                <c:pt idx="14511">
                  <c:v>101135</c:v>
                </c:pt>
                <c:pt idx="14512">
                  <c:v>35563</c:v>
                </c:pt>
                <c:pt idx="14513">
                  <c:v>70860</c:v>
                </c:pt>
                <c:pt idx="14514">
                  <c:v>36963</c:v>
                </c:pt>
                <c:pt idx="14515">
                  <c:v>64218</c:v>
                </c:pt>
                <c:pt idx="14516">
                  <c:v>28506</c:v>
                </c:pt>
                <c:pt idx="14517">
                  <c:v>31459</c:v>
                </c:pt>
                <c:pt idx="14518">
                  <c:v>64501</c:v>
                </c:pt>
                <c:pt idx="14519">
                  <c:v>45809</c:v>
                </c:pt>
                <c:pt idx="14520">
                  <c:v>92217</c:v>
                </c:pt>
                <c:pt idx="14521">
                  <c:v>42767</c:v>
                </c:pt>
                <c:pt idx="14522">
                  <c:v>48588</c:v>
                </c:pt>
                <c:pt idx="14523">
                  <c:v>151017</c:v>
                </c:pt>
                <c:pt idx="14524">
                  <c:v>36653</c:v>
                </c:pt>
                <c:pt idx="14525">
                  <c:v>52874</c:v>
                </c:pt>
                <c:pt idx="14526">
                  <c:v>44438</c:v>
                </c:pt>
                <c:pt idx="14527">
                  <c:v>23846</c:v>
                </c:pt>
                <c:pt idx="14528">
                  <c:v>23244</c:v>
                </c:pt>
                <c:pt idx="14529">
                  <c:v>81759</c:v>
                </c:pt>
                <c:pt idx="14530">
                  <c:v>131124</c:v>
                </c:pt>
                <c:pt idx="14531">
                  <c:v>81485</c:v>
                </c:pt>
                <c:pt idx="14532">
                  <c:v>56376</c:v>
                </c:pt>
                <c:pt idx="14533">
                  <c:v>81724</c:v>
                </c:pt>
                <c:pt idx="14534">
                  <c:v>140835</c:v>
                </c:pt>
                <c:pt idx="14535">
                  <c:v>40873</c:v>
                </c:pt>
                <c:pt idx="14536">
                  <c:v>67907</c:v>
                </c:pt>
                <c:pt idx="14537">
                  <c:v>56453</c:v>
                </c:pt>
                <c:pt idx="14538">
                  <c:v>32062</c:v>
                </c:pt>
                <c:pt idx="14539">
                  <c:v>66291</c:v>
                </c:pt>
                <c:pt idx="14540">
                  <c:v>68858</c:v>
                </c:pt>
                <c:pt idx="14541">
                  <c:v>294251</c:v>
                </c:pt>
                <c:pt idx="14542">
                  <c:v>31556</c:v>
                </c:pt>
                <c:pt idx="14543">
                  <c:v>44029</c:v>
                </c:pt>
                <c:pt idx="14544">
                  <c:v>77716</c:v>
                </c:pt>
                <c:pt idx="14545">
                  <c:v>60520</c:v>
                </c:pt>
                <c:pt idx="14546">
                  <c:v>27425</c:v>
                </c:pt>
                <c:pt idx="14547">
                  <c:v>63138</c:v>
                </c:pt>
                <c:pt idx="14548">
                  <c:v>67910</c:v>
                </c:pt>
                <c:pt idx="14549">
                  <c:v>56535</c:v>
                </c:pt>
                <c:pt idx="14550">
                  <c:v>27682</c:v>
                </c:pt>
                <c:pt idx="14551">
                  <c:v>30171</c:v>
                </c:pt>
                <c:pt idx="14552">
                  <c:v>47056</c:v>
                </c:pt>
                <c:pt idx="14553">
                  <c:v>43039</c:v>
                </c:pt>
                <c:pt idx="14554">
                  <c:v>43889</c:v>
                </c:pt>
                <c:pt idx="14555">
                  <c:v>36847</c:v>
                </c:pt>
                <c:pt idx="14556">
                  <c:v>40618</c:v>
                </c:pt>
                <c:pt idx="14557">
                  <c:v>25340</c:v>
                </c:pt>
                <c:pt idx="14558">
                  <c:v>23104</c:v>
                </c:pt>
                <c:pt idx="14559">
                  <c:v>38406</c:v>
                </c:pt>
                <c:pt idx="14560">
                  <c:v>29011</c:v>
                </c:pt>
                <c:pt idx="14561">
                  <c:v>47203</c:v>
                </c:pt>
                <c:pt idx="14562">
                  <c:v>137614</c:v>
                </c:pt>
                <c:pt idx="14563">
                  <c:v>27890</c:v>
                </c:pt>
                <c:pt idx="14564">
                  <c:v>27853</c:v>
                </c:pt>
                <c:pt idx="14565">
                  <c:v>38832</c:v>
                </c:pt>
                <c:pt idx="14566">
                  <c:v>33844</c:v>
                </c:pt>
                <c:pt idx="14567">
                  <c:v>295006</c:v>
                </c:pt>
                <c:pt idx="14568">
                  <c:v>51326</c:v>
                </c:pt>
                <c:pt idx="14569">
                  <c:v>42386</c:v>
                </c:pt>
                <c:pt idx="14570">
                  <c:v>44195</c:v>
                </c:pt>
                <c:pt idx="14571">
                  <c:v>28873</c:v>
                </c:pt>
                <c:pt idx="14572">
                  <c:v>85531</c:v>
                </c:pt>
                <c:pt idx="14573">
                  <c:v>33991</c:v>
                </c:pt>
                <c:pt idx="14574">
                  <c:v>40690</c:v>
                </c:pt>
                <c:pt idx="14575">
                  <c:v>71903</c:v>
                </c:pt>
                <c:pt idx="14576">
                  <c:v>33334</c:v>
                </c:pt>
                <c:pt idx="14577">
                  <c:v>24302</c:v>
                </c:pt>
                <c:pt idx="14578">
                  <c:v>28956</c:v>
                </c:pt>
                <c:pt idx="14579">
                  <c:v>68742</c:v>
                </c:pt>
                <c:pt idx="14580">
                  <c:v>42767</c:v>
                </c:pt>
                <c:pt idx="14581">
                  <c:v>43044</c:v>
                </c:pt>
                <c:pt idx="14582">
                  <c:v>91994</c:v>
                </c:pt>
                <c:pt idx="14583">
                  <c:v>216738</c:v>
                </c:pt>
                <c:pt idx="14584">
                  <c:v>44625</c:v>
                </c:pt>
                <c:pt idx="14585">
                  <c:v>41943</c:v>
                </c:pt>
                <c:pt idx="14586">
                  <c:v>69431</c:v>
                </c:pt>
                <c:pt idx="14587">
                  <c:v>89475</c:v>
                </c:pt>
                <c:pt idx="14588">
                  <c:v>41628</c:v>
                </c:pt>
                <c:pt idx="14589">
                  <c:v>77855</c:v>
                </c:pt>
                <c:pt idx="14590">
                  <c:v>24797</c:v>
                </c:pt>
                <c:pt idx="14591">
                  <c:v>23818</c:v>
                </c:pt>
                <c:pt idx="14592">
                  <c:v>26714</c:v>
                </c:pt>
                <c:pt idx="14593">
                  <c:v>42457</c:v>
                </c:pt>
                <c:pt idx="14594">
                  <c:v>28148</c:v>
                </c:pt>
                <c:pt idx="14595">
                  <c:v>34198</c:v>
                </c:pt>
                <c:pt idx="14596">
                  <c:v>68118</c:v>
                </c:pt>
                <c:pt idx="14597">
                  <c:v>60756</c:v>
                </c:pt>
                <c:pt idx="14598">
                  <c:v>28338</c:v>
                </c:pt>
                <c:pt idx="14599">
                  <c:v>119755</c:v>
                </c:pt>
                <c:pt idx="14600">
                  <c:v>38633</c:v>
                </c:pt>
                <c:pt idx="14601">
                  <c:v>32772</c:v>
                </c:pt>
                <c:pt idx="14602">
                  <c:v>49679</c:v>
                </c:pt>
                <c:pt idx="14603">
                  <c:v>44679</c:v>
                </c:pt>
                <c:pt idx="14604">
                  <c:v>52179</c:v>
                </c:pt>
                <c:pt idx="14605">
                  <c:v>82184</c:v>
                </c:pt>
                <c:pt idx="14606">
                  <c:v>72414</c:v>
                </c:pt>
                <c:pt idx="14607">
                  <c:v>39596</c:v>
                </c:pt>
                <c:pt idx="14608">
                  <c:v>78896</c:v>
                </c:pt>
                <c:pt idx="14609">
                  <c:v>38446</c:v>
                </c:pt>
                <c:pt idx="14610">
                  <c:v>67585</c:v>
                </c:pt>
                <c:pt idx="14611">
                  <c:v>36882</c:v>
                </c:pt>
                <c:pt idx="14612">
                  <c:v>45624</c:v>
                </c:pt>
                <c:pt idx="14613">
                  <c:v>139173</c:v>
                </c:pt>
                <c:pt idx="14614">
                  <c:v>87310</c:v>
                </c:pt>
                <c:pt idx="14615">
                  <c:v>89263</c:v>
                </c:pt>
                <c:pt idx="14616">
                  <c:v>47006</c:v>
                </c:pt>
                <c:pt idx="14617">
                  <c:v>42911</c:v>
                </c:pt>
                <c:pt idx="14618">
                  <c:v>57340</c:v>
                </c:pt>
                <c:pt idx="14619">
                  <c:v>55706</c:v>
                </c:pt>
                <c:pt idx="14620">
                  <c:v>129665</c:v>
                </c:pt>
                <c:pt idx="14621">
                  <c:v>24890</c:v>
                </c:pt>
                <c:pt idx="14622">
                  <c:v>38740</c:v>
                </c:pt>
                <c:pt idx="14623">
                  <c:v>62626</c:v>
                </c:pt>
                <c:pt idx="14624">
                  <c:v>36827</c:v>
                </c:pt>
                <c:pt idx="14625">
                  <c:v>30489</c:v>
                </c:pt>
                <c:pt idx="14626">
                  <c:v>39811</c:v>
                </c:pt>
                <c:pt idx="14627">
                  <c:v>40282</c:v>
                </c:pt>
                <c:pt idx="14628">
                  <c:v>71741</c:v>
                </c:pt>
                <c:pt idx="14629">
                  <c:v>135113</c:v>
                </c:pt>
                <c:pt idx="14630">
                  <c:v>23993</c:v>
                </c:pt>
                <c:pt idx="14631">
                  <c:v>36142</c:v>
                </c:pt>
                <c:pt idx="14632">
                  <c:v>49931</c:v>
                </c:pt>
                <c:pt idx="14633">
                  <c:v>63792</c:v>
                </c:pt>
                <c:pt idx="14634">
                  <c:v>64089</c:v>
                </c:pt>
                <c:pt idx="14635">
                  <c:v>42417</c:v>
                </c:pt>
                <c:pt idx="14636">
                  <c:v>34782</c:v>
                </c:pt>
                <c:pt idx="14637">
                  <c:v>71377</c:v>
                </c:pt>
                <c:pt idx="14638">
                  <c:v>40053</c:v>
                </c:pt>
                <c:pt idx="14639">
                  <c:v>41037</c:v>
                </c:pt>
                <c:pt idx="14640">
                  <c:v>47942</c:v>
                </c:pt>
                <c:pt idx="14641">
                  <c:v>35287</c:v>
                </c:pt>
                <c:pt idx="14642">
                  <c:v>23218</c:v>
                </c:pt>
                <c:pt idx="14643">
                  <c:v>59872</c:v>
                </c:pt>
                <c:pt idx="14644">
                  <c:v>31762</c:v>
                </c:pt>
                <c:pt idx="14645">
                  <c:v>121006</c:v>
                </c:pt>
                <c:pt idx="14646">
                  <c:v>65895</c:v>
                </c:pt>
                <c:pt idx="14647">
                  <c:v>49672</c:v>
                </c:pt>
                <c:pt idx="14648">
                  <c:v>102603</c:v>
                </c:pt>
                <c:pt idx="14649">
                  <c:v>34166</c:v>
                </c:pt>
                <c:pt idx="14650">
                  <c:v>85315</c:v>
                </c:pt>
                <c:pt idx="14651">
                  <c:v>61633</c:v>
                </c:pt>
                <c:pt idx="14652">
                  <c:v>33641</c:v>
                </c:pt>
                <c:pt idx="14653">
                  <c:v>27649</c:v>
                </c:pt>
                <c:pt idx="14654">
                  <c:v>33782</c:v>
                </c:pt>
                <c:pt idx="14655">
                  <c:v>35475</c:v>
                </c:pt>
                <c:pt idx="14656">
                  <c:v>24858</c:v>
                </c:pt>
                <c:pt idx="14657">
                  <c:v>42051</c:v>
                </c:pt>
                <c:pt idx="14658">
                  <c:v>28392</c:v>
                </c:pt>
                <c:pt idx="14659">
                  <c:v>38943</c:v>
                </c:pt>
                <c:pt idx="14660">
                  <c:v>31288</c:v>
                </c:pt>
                <c:pt idx="14661">
                  <c:v>32542</c:v>
                </c:pt>
                <c:pt idx="14662">
                  <c:v>28937</c:v>
                </c:pt>
                <c:pt idx="14663">
                  <c:v>97399</c:v>
                </c:pt>
                <c:pt idx="14664">
                  <c:v>111809</c:v>
                </c:pt>
                <c:pt idx="14665">
                  <c:v>116258</c:v>
                </c:pt>
                <c:pt idx="14666">
                  <c:v>63137</c:v>
                </c:pt>
                <c:pt idx="14667">
                  <c:v>27996</c:v>
                </c:pt>
                <c:pt idx="14668">
                  <c:v>80188</c:v>
                </c:pt>
                <c:pt idx="14669">
                  <c:v>241051</c:v>
                </c:pt>
                <c:pt idx="14670">
                  <c:v>50334</c:v>
                </c:pt>
                <c:pt idx="14671">
                  <c:v>204723</c:v>
                </c:pt>
                <c:pt idx="14672">
                  <c:v>37376</c:v>
                </c:pt>
                <c:pt idx="14673">
                  <c:v>170603</c:v>
                </c:pt>
                <c:pt idx="14674">
                  <c:v>32813</c:v>
                </c:pt>
                <c:pt idx="14675">
                  <c:v>34030</c:v>
                </c:pt>
                <c:pt idx="14676">
                  <c:v>120095</c:v>
                </c:pt>
                <c:pt idx="14677">
                  <c:v>43151</c:v>
                </c:pt>
                <c:pt idx="14678">
                  <c:v>40464</c:v>
                </c:pt>
                <c:pt idx="14679">
                  <c:v>91225</c:v>
                </c:pt>
                <c:pt idx="14680">
                  <c:v>32661</c:v>
                </c:pt>
                <c:pt idx="14681">
                  <c:v>37869</c:v>
                </c:pt>
                <c:pt idx="14682">
                  <c:v>35740</c:v>
                </c:pt>
                <c:pt idx="14683">
                  <c:v>73457</c:v>
                </c:pt>
                <c:pt idx="14684">
                  <c:v>22863</c:v>
                </c:pt>
                <c:pt idx="14685">
                  <c:v>38021</c:v>
                </c:pt>
                <c:pt idx="14686">
                  <c:v>35591</c:v>
                </c:pt>
                <c:pt idx="14687">
                  <c:v>29961</c:v>
                </c:pt>
                <c:pt idx="14688">
                  <c:v>38320</c:v>
                </c:pt>
                <c:pt idx="14689">
                  <c:v>33766</c:v>
                </c:pt>
                <c:pt idx="14690">
                  <c:v>249116</c:v>
                </c:pt>
                <c:pt idx="14691">
                  <c:v>53540</c:v>
                </c:pt>
                <c:pt idx="14692">
                  <c:v>56895</c:v>
                </c:pt>
                <c:pt idx="14693">
                  <c:v>43264</c:v>
                </c:pt>
                <c:pt idx="14694">
                  <c:v>23439</c:v>
                </c:pt>
                <c:pt idx="14695">
                  <c:v>33694</c:v>
                </c:pt>
                <c:pt idx="14696">
                  <c:v>108220</c:v>
                </c:pt>
                <c:pt idx="14697">
                  <c:v>37216</c:v>
                </c:pt>
                <c:pt idx="14698">
                  <c:v>43930</c:v>
                </c:pt>
                <c:pt idx="14699">
                  <c:v>38524</c:v>
                </c:pt>
                <c:pt idx="14700">
                  <c:v>22249</c:v>
                </c:pt>
                <c:pt idx="14701">
                  <c:v>161228</c:v>
                </c:pt>
                <c:pt idx="14702">
                  <c:v>37272</c:v>
                </c:pt>
                <c:pt idx="14703">
                  <c:v>31977</c:v>
                </c:pt>
                <c:pt idx="14704">
                  <c:v>46747</c:v>
                </c:pt>
                <c:pt idx="14705">
                  <c:v>54268</c:v>
                </c:pt>
                <c:pt idx="14706">
                  <c:v>91167</c:v>
                </c:pt>
                <c:pt idx="14707">
                  <c:v>143856</c:v>
                </c:pt>
                <c:pt idx="14708">
                  <c:v>29295</c:v>
                </c:pt>
                <c:pt idx="14709">
                  <c:v>36121</c:v>
                </c:pt>
                <c:pt idx="14710">
                  <c:v>39607</c:v>
                </c:pt>
                <c:pt idx="14711">
                  <c:v>22187</c:v>
                </c:pt>
                <c:pt idx="14712">
                  <c:v>77215</c:v>
                </c:pt>
                <c:pt idx="14713">
                  <c:v>175093</c:v>
                </c:pt>
                <c:pt idx="14714">
                  <c:v>48648</c:v>
                </c:pt>
                <c:pt idx="14715">
                  <c:v>76589</c:v>
                </c:pt>
                <c:pt idx="14716">
                  <c:v>171732</c:v>
                </c:pt>
                <c:pt idx="14717">
                  <c:v>40213</c:v>
                </c:pt>
                <c:pt idx="14718">
                  <c:v>165170</c:v>
                </c:pt>
                <c:pt idx="14719">
                  <c:v>41089</c:v>
                </c:pt>
                <c:pt idx="14720">
                  <c:v>232953</c:v>
                </c:pt>
                <c:pt idx="14721">
                  <c:v>26782</c:v>
                </c:pt>
                <c:pt idx="14722">
                  <c:v>73853</c:v>
                </c:pt>
                <c:pt idx="14723">
                  <c:v>38256</c:v>
                </c:pt>
                <c:pt idx="14724">
                  <c:v>52821</c:v>
                </c:pt>
                <c:pt idx="14725">
                  <c:v>39823</c:v>
                </c:pt>
                <c:pt idx="14726">
                  <c:v>115128</c:v>
                </c:pt>
                <c:pt idx="14727">
                  <c:v>50221</c:v>
                </c:pt>
                <c:pt idx="14728">
                  <c:v>45789</c:v>
                </c:pt>
                <c:pt idx="14729">
                  <c:v>72578</c:v>
                </c:pt>
                <c:pt idx="14730">
                  <c:v>45169</c:v>
                </c:pt>
                <c:pt idx="14731">
                  <c:v>37529</c:v>
                </c:pt>
                <c:pt idx="14732">
                  <c:v>26079</c:v>
                </c:pt>
                <c:pt idx="14733">
                  <c:v>42131</c:v>
                </c:pt>
                <c:pt idx="14734">
                  <c:v>33083</c:v>
                </c:pt>
                <c:pt idx="14735">
                  <c:v>127425</c:v>
                </c:pt>
                <c:pt idx="14736">
                  <c:v>28276</c:v>
                </c:pt>
                <c:pt idx="14737">
                  <c:v>65481</c:v>
                </c:pt>
                <c:pt idx="14738">
                  <c:v>159707</c:v>
                </c:pt>
                <c:pt idx="14739">
                  <c:v>445682</c:v>
                </c:pt>
                <c:pt idx="14740">
                  <c:v>40087</c:v>
                </c:pt>
                <c:pt idx="14741">
                  <c:v>44017</c:v>
                </c:pt>
                <c:pt idx="14742">
                  <c:v>25764</c:v>
                </c:pt>
                <c:pt idx="14743">
                  <c:v>22710</c:v>
                </c:pt>
                <c:pt idx="14744">
                  <c:v>32768</c:v>
                </c:pt>
                <c:pt idx="14745">
                  <c:v>148147</c:v>
                </c:pt>
                <c:pt idx="14746">
                  <c:v>41373</c:v>
                </c:pt>
                <c:pt idx="14747">
                  <c:v>66719</c:v>
                </c:pt>
                <c:pt idx="14748">
                  <c:v>57553</c:v>
                </c:pt>
                <c:pt idx="14749">
                  <c:v>59374</c:v>
                </c:pt>
                <c:pt idx="14750">
                  <c:v>128114</c:v>
                </c:pt>
                <c:pt idx="14751">
                  <c:v>30932</c:v>
                </c:pt>
                <c:pt idx="14752">
                  <c:v>115449</c:v>
                </c:pt>
                <c:pt idx="14753">
                  <c:v>40186</c:v>
                </c:pt>
                <c:pt idx="14754">
                  <c:v>81840</c:v>
                </c:pt>
                <c:pt idx="14755">
                  <c:v>334900</c:v>
                </c:pt>
                <c:pt idx="14756">
                  <c:v>61672</c:v>
                </c:pt>
                <c:pt idx="14757">
                  <c:v>89137</c:v>
                </c:pt>
                <c:pt idx="14758">
                  <c:v>36530</c:v>
                </c:pt>
                <c:pt idx="14759">
                  <c:v>33214</c:v>
                </c:pt>
                <c:pt idx="14760">
                  <c:v>35977</c:v>
                </c:pt>
                <c:pt idx="14761">
                  <c:v>102823</c:v>
                </c:pt>
                <c:pt idx="14762">
                  <c:v>26782</c:v>
                </c:pt>
                <c:pt idx="14763">
                  <c:v>52215</c:v>
                </c:pt>
                <c:pt idx="14764">
                  <c:v>37258</c:v>
                </c:pt>
                <c:pt idx="14765">
                  <c:v>46017</c:v>
                </c:pt>
                <c:pt idx="14766">
                  <c:v>54255</c:v>
                </c:pt>
                <c:pt idx="14767">
                  <c:v>24184</c:v>
                </c:pt>
                <c:pt idx="14768">
                  <c:v>179020</c:v>
                </c:pt>
                <c:pt idx="14769">
                  <c:v>89211</c:v>
                </c:pt>
                <c:pt idx="14770">
                  <c:v>72775</c:v>
                </c:pt>
                <c:pt idx="14771">
                  <c:v>30060</c:v>
                </c:pt>
                <c:pt idx="14772">
                  <c:v>49405</c:v>
                </c:pt>
                <c:pt idx="14773">
                  <c:v>67073</c:v>
                </c:pt>
                <c:pt idx="14774">
                  <c:v>38467</c:v>
                </c:pt>
                <c:pt idx="14775">
                  <c:v>136684</c:v>
                </c:pt>
                <c:pt idx="14776">
                  <c:v>116504</c:v>
                </c:pt>
                <c:pt idx="14777">
                  <c:v>148796</c:v>
                </c:pt>
                <c:pt idx="14778">
                  <c:v>31821</c:v>
                </c:pt>
                <c:pt idx="14779">
                  <c:v>254673</c:v>
                </c:pt>
                <c:pt idx="14780">
                  <c:v>49217</c:v>
                </c:pt>
                <c:pt idx="14781">
                  <c:v>92215</c:v>
                </c:pt>
                <c:pt idx="14782">
                  <c:v>71533</c:v>
                </c:pt>
                <c:pt idx="14783">
                  <c:v>44119</c:v>
                </c:pt>
                <c:pt idx="14784">
                  <c:v>141406</c:v>
                </c:pt>
                <c:pt idx="14785">
                  <c:v>179926</c:v>
                </c:pt>
                <c:pt idx="14786">
                  <c:v>23616</c:v>
                </c:pt>
                <c:pt idx="14787">
                  <c:v>32839</c:v>
                </c:pt>
                <c:pt idx="14788">
                  <c:v>40218</c:v>
                </c:pt>
                <c:pt idx="14789">
                  <c:v>169140</c:v>
                </c:pt>
                <c:pt idx="14790">
                  <c:v>56364</c:v>
                </c:pt>
                <c:pt idx="14791">
                  <c:v>62970</c:v>
                </c:pt>
                <c:pt idx="14792">
                  <c:v>131080</c:v>
                </c:pt>
                <c:pt idx="14793">
                  <c:v>95900</c:v>
                </c:pt>
                <c:pt idx="14794">
                  <c:v>27892</c:v>
                </c:pt>
                <c:pt idx="14795">
                  <c:v>35170</c:v>
                </c:pt>
                <c:pt idx="14796">
                  <c:v>94347</c:v>
                </c:pt>
                <c:pt idx="14797">
                  <c:v>26114</c:v>
                </c:pt>
                <c:pt idx="14798">
                  <c:v>45992</c:v>
                </c:pt>
                <c:pt idx="14799">
                  <c:v>59430</c:v>
                </c:pt>
                <c:pt idx="14800">
                  <c:v>193810</c:v>
                </c:pt>
                <c:pt idx="14801">
                  <c:v>31841</c:v>
                </c:pt>
                <c:pt idx="14802">
                  <c:v>73798</c:v>
                </c:pt>
                <c:pt idx="14803">
                  <c:v>373384</c:v>
                </c:pt>
                <c:pt idx="14804">
                  <c:v>36424</c:v>
                </c:pt>
                <c:pt idx="14805">
                  <c:v>120139</c:v>
                </c:pt>
                <c:pt idx="14806">
                  <c:v>31745</c:v>
                </c:pt>
                <c:pt idx="14807">
                  <c:v>31945</c:v>
                </c:pt>
                <c:pt idx="14808">
                  <c:v>78841</c:v>
                </c:pt>
                <c:pt idx="14809">
                  <c:v>34936</c:v>
                </c:pt>
                <c:pt idx="14810">
                  <c:v>108898</c:v>
                </c:pt>
                <c:pt idx="14811">
                  <c:v>67582</c:v>
                </c:pt>
                <c:pt idx="14812">
                  <c:v>85746</c:v>
                </c:pt>
                <c:pt idx="14813">
                  <c:v>24803</c:v>
                </c:pt>
                <c:pt idx="14814">
                  <c:v>110156</c:v>
                </c:pt>
                <c:pt idx="14815">
                  <c:v>37055</c:v>
                </c:pt>
                <c:pt idx="14816">
                  <c:v>30911</c:v>
                </c:pt>
                <c:pt idx="14817">
                  <c:v>108863</c:v>
                </c:pt>
                <c:pt idx="14818">
                  <c:v>28540</c:v>
                </c:pt>
                <c:pt idx="14819">
                  <c:v>54131</c:v>
                </c:pt>
                <c:pt idx="14820">
                  <c:v>41272</c:v>
                </c:pt>
                <c:pt idx="14821">
                  <c:v>28235</c:v>
                </c:pt>
                <c:pt idx="14822">
                  <c:v>38674</c:v>
                </c:pt>
                <c:pt idx="14823">
                  <c:v>40397</c:v>
                </c:pt>
                <c:pt idx="14824">
                  <c:v>61914</c:v>
                </c:pt>
                <c:pt idx="14825">
                  <c:v>27112</c:v>
                </c:pt>
                <c:pt idx="14826">
                  <c:v>34972</c:v>
                </c:pt>
                <c:pt idx="14827">
                  <c:v>42404</c:v>
                </c:pt>
                <c:pt idx="14828">
                  <c:v>57113</c:v>
                </c:pt>
                <c:pt idx="14829">
                  <c:v>89331</c:v>
                </c:pt>
                <c:pt idx="14830">
                  <c:v>100086</c:v>
                </c:pt>
                <c:pt idx="14831">
                  <c:v>101682</c:v>
                </c:pt>
                <c:pt idx="14832">
                  <c:v>35158</c:v>
                </c:pt>
                <c:pt idx="14833">
                  <c:v>103207</c:v>
                </c:pt>
                <c:pt idx="14834">
                  <c:v>109604</c:v>
                </c:pt>
                <c:pt idx="14835">
                  <c:v>30451</c:v>
                </c:pt>
                <c:pt idx="14836">
                  <c:v>34460</c:v>
                </c:pt>
                <c:pt idx="14837">
                  <c:v>63779</c:v>
                </c:pt>
                <c:pt idx="14838">
                  <c:v>27743</c:v>
                </c:pt>
                <c:pt idx="14839">
                  <c:v>30846</c:v>
                </c:pt>
                <c:pt idx="14840">
                  <c:v>37445</c:v>
                </c:pt>
                <c:pt idx="14841">
                  <c:v>35323</c:v>
                </c:pt>
                <c:pt idx="14842">
                  <c:v>41810</c:v>
                </c:pt>
                <c:pt idx="14843">
                  <c:v>41190</c:v>
                </c:pt>
                <c:pt idx="14844">
                  <c:v>51858</c:v>
                </c:pt>
                <c:pt idx="14845">
                  <c:v>24901</c:v>
                </c:pt>
                <c:pt idx="14846">
                  <c:v>30749</c:v>
                </c:pt>
                <c:pt idx="14847">
                  <c:v>38976</c:v>
                </c:pt>
                <c:pt idx="14848">
                  <c:v>23426</c:v>
                </c:pt>
                <c:pt idx="14849">
                  <c:v>54763</c:v>
                </c:pt>
                <c:pt idx="14850">
                  <c:v>66835</c:v>
                </c:pt>
                <c:pt idx="14851">
                  <c:v>48141</c:v>
                </c:pt>
                <c:pt idx="14852">
                  <c:v>35244</c:v>
                </c:pt>
                <c:pt idx="14853">
                  <c:v>35608</c:v>
                </c:pt>
                <c:pt idx="14854">
                  <c:v>27566</c:v>
                </c:pt>
                <c:pt idx="14855">
                  <c:v>45466</c:v>
                </c:pt>
                <c:pt idx="14856">
                  <c:v>111212</c:v>
                </c:pt>
                <c:pt idx="14857">
                  <c:v>26219</c:v>
                </c:pt>
                <c:pt idx="14858">
                  <c:v>58174</c:v>
                </c:pt>
                <c:pt idx="14859">
                  <c:v>116435</c:v>
                </c:pt>
                <c:pt idx="14860">
                  <c:v>41478</c:v>
                </c:pt>
                <c:pt idx="14861">
                  <c:v>23645</c:v>
                </c:pt>
                <c:pt idx="14862">
                  <c:v>90161</c:v>
                </c:pt>
                <c:pt idx="14863">
                  <c:v>43529</c:v>
                </c:pt>
                <c:pt idx="14864">
                  <c:v>33256</c:v>
                </c:pt>
                <c:pt idx="14865">
                  <c:v>84182</c:v>
                </c:pt>
                <c:pt idx="14866">
                  <c:v>37952</c:v>
                </c:pt>
                <c:pt idx="14867">
                  <c:v>30615</c:v>
                </c:pt>
                <c:pt idx="14868">
                  <c:v>44038</c:v>
                </c:pt>
                <c:pt idx="14869">
                  <c:v>37834</c:v>
                </c:pt>
                <c:pt idx="14870">
                  <c:v>34198</c:v>
                </c:pt>
                <c:pt idx="14871">
                  <c:v>200117</c:v>
                </c:pt>
                <c:pt idx="14872">
                  <c:v>44994</c:v>
                </c:pt>
                <c:pt idx="14873">
                  <c:v>44292</c:v>
                </c:pt>
                <c:pt idx="14874">
                  <c:v>32643</c:v>
                </c:pt>
                <c:pt idx="14875">
                  <c:v>69796</c:v>
                </c:pt>
                <c:pt idx="14876">
                  <c:v>39201</c:v>
                </c:pt>
                <c:pt idx="14877">
                  <c:v>34386</c:v>
                </c:pt>
                <c:pt idx="14878">
                  <c:v>31082</c:v>
                </c:pt>
                <c:pt idx="14879">
                  <c:v>23884</c:v>
                </c:pt>
                <c:pt idx="14880">
                  <c:v>23609</c:v>
                </c:pt>
                <c:pt idx="14881">
                  <c:v>142382</c:v>
                </c:pt>
                <c:pt idx="14882">
                  <c:v>44916</c:v>
                </c:pt>
                <c:pt idx="14883">
                  <c:v>66210</c:v>
                </c:pt>
                <c:pt idx="14884">
                  <c:v>35559</c:v>
                </c:pt>
                <c:pt idx="14885">
                  <c:v>25430</c:v>
                </c:pt>
                <c:pt idx="14886">
                  <c:v>355985</c:v>
                </c:pt>
                <c:pt idx="14887">
                  <c:v>62687</c:v>
                </c:pt>
                <c:pt idx="14888">
                  <c:v>46407</c:v>
                </c:pt>
                <c:pt idx="14889">
                  <c:v>33232</c:v>
                </c:pt>
                <c:pt idx="14890">
                  <c:v>60007</c:v>
                </c:pt>
                <c:pt idx="14891">
                  <c:v>82008</c:v>
                </c:pt>
                <c:pt idx="14892">
                  <c:v>67766</c:v>
                </c:pt>
                <c:pt idx="14893">
                  <c:v>75685</c:v>
                </c:pt>
                <c:pt idx="14894">
                  <c:v>41835</c:v>
                </c:pt>
                <c:pt idx="14895">
                  <c:v>67745</c:v>
                </c:pt>
                <c:pt idx="14896">
                  <c:v>75877</c:v>
                </c:pt>
                <c:pt idx="14897">
                  <c:v>39194</c:v>
                </c:pt>
                <c:pt idx="14898">
                  <c:v>240125</c:v>
                </c:pt>
                <c:pt idx="14899">
                  <c:v>39427</c:v>
                </c:pt>
                <c:pt idx="14900">
                  <c:v>43263</c:v>
                </c:pt>
                <c:pt idx="14901">
                  <c:v>32778</c:v>
                </c:pt>
                <c:pt idx="14902">
                  <c:v>47263</c:v>
                </c:pt>
                <c:pt idx="14903">
                  <c:v>150025</c:v>
                </c:pt>
                <c:pt idx="14904">
                  <c:v>39045</c:v>
                </c:pt>
                <c:pt idx="14905">
                  <c:v>40721</c:v>
                </c:pt>
                <c:pt idx="14906">
                  <c:v>97912</c:v>
                </c:pt>
                <c:pt idx="14907">
                  <c:v>136447</c:v>
                </c:pt>
                <c:pt idx="14908">
                  <c:v>44795</c:v>
                </c:pt>
                <c:pt idx="14909">
                  <c:v>36386</c:v>
                </c:pt>
                <c:pt idx="14910">
                  <c:v>65976</c:v>
                </c:pt>
                <c:pt idx="14911">
                  <c:v>54237</c:v>
                </c:pt>
                <c:pt idx="14912">
                  <c:v>162715</c:v>
                </c:pt>
                <c:pt idx="14913">
                  <c:v>62561</c:v>
                </c:pt>
                <c:pt idx="14914">
                  <c:v>107564</c:v>
                </c:pt>
                <c:pt idx="14915">
                  <c:v>46572</c:v>
                </c:pt>
                <c:pt idx="14916">
                  <c:v>42554</c:v>
                </c:pt>
                <c:pt idx="14917">
                  <c:v>39842</c:v>
                </c:pt>
                <c:pt idx="14918">
                  <c:v>42102</c:v>
                </c:pt>
                <c:pt idx="14919">
                  <c:v>30889</c:v>
                </c:pt>
                <c:pt idx="14920">
                  <c:v>83066</c:v>
                </c:pt>
                <c:pt idx="14921">
                  <c:v>41072</c:v>
                </c:pt>
                <c:pt idx="14922">
                  <c:v>22725</c:v>
                </c:pt>
                <c:pt idx="14923">
                  <c:v>166086</c:v>
                </c:pt>
                <c:pt idx="14924">
                  <c:v>37886</c:v>
                </c:pt>
                <c:pt idx="14925">
                  <c:v>29383</c:v>
                </c:pt>
                <c:pt idx="14926">
                  <c:v>40144</c:v>
                </c:pt>
                <c:pt idx="14927">
                  <c:v>30847</c:v>
                </c:pt>
                <c:pt idx="14928">
                  <c:v>175348</c:v>
                </c:pt>
                <c:pt idx="14929">
                  <c:v>46706</c:v>
                </c:pt>
                <c:pt idx="14930">
                  <c:v>24956</c:v>
                </c:pt>
                <c:pt idx="14931">
                  <c:v>193724</c:v>
                </c:pt>
                <c:pt idx="14932">
                  <c:v>49533</c:v>
                </c:pt>
                <c:pt idx="14933">
                  <c:v>200380</c:v>
                </c:pt>
                <c:pt idx="14934">
                  <c:v>54609</c:v>
                </c:pt>
                <c:pt idx="14935">
                  <c:v>28586</c:v>
                </c:pt>
                <c:pt idx="14936">
                  <c:v>40131</c:v>
                </c:pt>
                <c:pt idx="14937">
                  <c:v>38941</c:v>
                </c:pt>
                <c:pt idx="14938">
                  <c:v>80871</c:v>
                </c:pt>
                <c:pt idx="14939">
                  <c:v>22936</c:v>
                </c:pt>
                <c:pt idx="14940">
                  <c:v>117565</c:v>
                </c:pt>
                <c:pt idx="14941">
                  <c:v>63115</c:v>
                </c:pt>
                <c:pt idx="14942">
                  <c:v>127069</c:v>
                </c:pt>
                <c:pt idx="14943">
                  <c:v>97397</c:v>
                </c:pt>
                <c:pt idx="14944">
                  <c:v>57159</c:v>
                </c:pt>
                <c:pt idx="14945">
                  <c:v>45911</c:v>
                </c:pt>
                <c:pt idx="14946">
                  <c:v>233165</c:v>
                </c:pt>
                <c:pt idx="14947">
                  <c:v>195427</c:v>
                </c:pt>
                <c:pt idx="14948">
                  <c:v>41634</c:v>
                </c:pt>
                <c:pt idx="14949">
                  <c:v>77930</c:v>
                </c:pt>
                <c:pt idx="14950">
                  <c:v>27387</c:v>
                </c:pt>
                <c:pt idx="14951">
                  <c:v>29949</c:v>
                </c:pt>
                <c:pt idx="14952">
                  <c:v>125529</c:v>
                </c:pt>
                <c:pt idx="14953">
                  <c:v>40937</c:v>
                </c:pt>
                <c:pt idx="14954">
                  <c:v>36327</c:v>
                </c:pt>
                <c:pt idx="14955">
                  <c:v>47967</c:v>
                </c:pt>
                <c:pt idx="14956">
                  <c:v>55909</c:v>
                </c:pt>
                <c:pt idx="14957">
                  <c:v>34638</c:v>
                </c:pt>
                <c:pt idx="14958">
                  <c:v>47486</c:v>
                </c:pt>
                <c:pt idx="14959">
                  <c:v>242202</c:v>
                </c:pt>
                <c:pt idx="14960">
                  <c:v>45026</c:v>
                </c:pt>
                <c:pt idx="14961">
                  <c:v>28480</c:v>
                </c:pt>
                <c:pt idx="14962">
                  <c:v>150193</c:v>
                </c:pt>
                <c:pt idx="14963">
                  <c:v>114805</c:v>
                </c:pt>
                <c:pt idx="14964">
                  <c:v>51788</c:v>
                </c:pt>
                <c:pt idx="14965">
                  <c:v>137482</c:v>
                </c:pt>
                <c:pt idx="14966">
                  <c:v>27066</c:v>
                </c:pt>
                <c:pt idx="14967">
                  <c:v>43264</c:v>
                </c:pt>
                <c:pt idx="14968">
                  <c:v>77507</c:v>
                </c:pt>
                <c:pt idx="14969">
                  <c:v>40103</c:v>
                </c:pt>
                <c:pt idx="14970">
                  <c:v>34198</c:v>
                </c:pt>
                <c:pt idx="14971">
                  <c:v>57049</c:v>
                </c:pt>
                <c:pt idx="14972">
                  <c:v>39722</c:v>
                </c:pt>
                <c:pt idx="14973">
                  <c:v>43195</c:v>
                </c:pt>
                <c:pt idx="14974">
                  <c:v>36711</c:v>
                </c:pt>
                <c:pt idx="14975">
                  <c:v>35069</c:v>
                </c:pt>
                <c:pt idx="14976">
                  <c:v>74416</c:v>
                </c:pt>
                <c:pt idx="14977">
                  <c:v>24581</c:v>
                </c:pt>
                <c:pt idx="14978">
                  <c:v>43139</c:v>
                </c:pt>
                <c:pt idx="14979">
                  <c:v>104372</c:v>
                </c:pt>
                <c:pt idx="14980">
                  <c:v>136995</c:v>
                </c:pt>
                <c:pt idx="14981">
                  <c:v>22369</c:v>
                </c:pt>
                <c:pt idx="14982">
                  <c:v>42405</c:v>
                </c:pt>
                <c:pt idx="14983">
                  <c:v>31392</c:v>
                </c:pt>
                <c:pt idx="14984">
                  <c:v>50123</c:v>
                </c:pt>
                <c:pt idx="14985">
                  <c:v>89064</c:v>
                </c:pt>
                <c:pt idx="14986">
                  <c:v>33965</c:v>
                </c:pt>
                <c:pt idx="14987">
                  <c:v>175716</c:v>
                </c:pt>
                <c:pt idx="14988">
                  <c:v>74727</c:v>
                </c:pt>
                <c:pt idx="14989">
                  <c:v>32693</c:v>
                </c:pt>
                <c:pt idx="14990">
                  <c:v>32423</c:v>
                </c:pt>
                <c:pt idx="14991">
                  <c:v>31671</c:v>
                </c:pt>
                <c:pt idx="14992">
                  <c:v>27433</c:v>
                </c:pt>
                <c:pt idx="14993">
                  <c:v>68226</c:v>
                </c:pt>
                <c:pt idx="14994">
                  <c:v>68776</c:v>
                </c:pt>
                <c:pt idx="14995">
                  <c:v>51291</c:v>
                </c:pt>
                <c:pt idx="14996">
                  <c:v>70498</c:v>
                </c:pt>
                <c:pt idx="14997">
                  <c:v>31730</c:v>
                </c:pt>
                <c:pt idx="14998">
                  <c:v>211102</c:v>
                </c:pt>
                <c:pt idx="14999">
                  <c:v>37451</c:v>
                </c:pt>
                <c:pt idx="15000">
                  <c:v>19797</c:v>
                </c:pt>
                <c:pt idx="15001">
                  <c:v>69060</c:v>
                </c:pt>
                <c:pt idx="15002">
                  <c:v>24900</c:v>
                </c:pt>
                <c:pt idx="15003">
                  <c:v>25399</c:v>
                </c:pt>
                <c:pt idx="15004">
                  <c:v>29144</c:v>
                </c:pt>
                <c:pt idx="15005">
                  <c:v>269935</c:v>
                </c:pt>
                <c:pt idx="15006">
                  <c:v>26390</c:v>
                </c:pt>
                <c:pt idx="15007">
                  <c:v>176124</c:v>
                </c:pt>
                <c:pt idx="15008">
                  <c:v>29988</c:v>
                </c:pt>
                <c:pt idx="15009">
                  <c:v>93197</c:v>
                </c:pt>
                <c:pt idx="15010">
                  <c:v>25929</c:v>
                </c:pt>
                <c:pt idx="15011">
                  <c:v>79844</c:v>
                </c:pt>
                <c:pt idx="15012">
                  <c:v>41196</c:v>
                </c:pt>
                <c:pt idx="15013">
                  <c:v>67745</c:v>
                </c:pt>
                <c:pt idx="15014">
                  <c:v>118449</c:v>
                </c:pt>
                <c:pt idx="15015">
                  <c:v>30728</c:v>
                </c:pt>
                <c:pt idx="15016">
                  <c:v>46584</c:v>
                </c:pt>
                <c:pt idx="15017">
                  <c:v>53077</c:v>
                </c:pt>
                <c:pt idx="15018">
                  <c:v>42315</c:v>
                </c:pt>
                <c:pt idx="15019">
                  <c:v>23496</c:v>
                </c:pt>
                <c:pt idx="15020">
                  <c:v>30769</c:v>
                </c:pt>
                <c:pt idx="15021">
                  <c:v>31050</c:v>
                </c:pt>
                <c:pt idx="15022">
                  <c:v>43814</c:v>
                </c:pt>
                <c:pt idx="15023">
                  <c:v>25855</c:v>
                </c:pt>
                <c:pt idx="15024">
                  <c:v>36897</c:v>
                </c:pt>
                <c:pt idx="15025">
                  <c:v>130588</c:v>
                </c:pt>
                <c:pt idx="15026">
                  <c:v>75247</c:v>
                </c:pt>
                <c:pt idx="15027">
                  <c:v>33078</c:v>
                </c:pt>
                <c:pt idx="15028">
                  <c:v>40249</c:v>
                </c:pt>
                <c:pt idx="15029">
                  <c:v>87949</c:v>
                </c:pt>
                <c:pt idx="15030">
                  <c:v>42831</c:v>
                </c:pt>
                <c:pt idx="15031">
                  <c:v>150219</c:v>
                </c:pt>
                <c:pt idx="15032">
                  <c:v>101122</c:v>
                </c:pt>
                <c:pt idx="15033">
                  <c:v>48644</c:v>
                </c:pt>
                <c:pt idx="15034">
                  <c:v>20182</c:v>
                </c:pt>
                <c:pt idx="15035">
                  <c:v>36240</c:v>
                </c:pt>
                <c:pt idx="15036">
                  <c:v>89078</c:v>
                </c:pt>
                <c:pt idx="15037">
                  <c:v>45699</c:v>
                </c:pt>
                <c:pt idx="15038">
                  <c:v>44049</c:v>
                </c:pt>
                <c:pt idx="15039">
                  <c:v>42284</c:v>
                </c:pt>
                <c:pt idx="15040">
                  <c:v>42332</c:v>
                </c:pt>
                <c:pt idx="15041">
                  <c:v>61214</c:v>
                </c:pt>
                <c:pt idx="15042">
                  <c:v>137070</c:v>
                </c:pt>
                <c:pt idx="15043">
                  <c:v>85239</c:v>
                </c:pt>
                <c:pt idx="15044">
                  <c:v>21186</c:v>
                </c:pt>
                <c:pt idx="15045">
                  <c:v>131540</c:v>
                </c:pt>
                <c:pt idx="15046">
                  <c:v>27554</c:v>
                </c:pt>
                <c:pt idx="15047">
                  <c:v>63194</c:v>
                </c:pt>
                <c:pt idx="15048">
                  <c:v>52929</c:v>
                </c:pt>
                <c:pt idx="15049">
                  <c:v>57636</c:v>
                </c:pt>
                <c:pt idx="15050">
                  <c:v>52718</c:v>
                </c:pt>
                <c:pt idx="15051">
                  <c:v>24173</c:v>
                </c:pt>
                <c:pt idx="15052">
                  <c:v>33542</c:v>
                </c:pt>
                <c:pt idx="15053">
                  <c:v>33977</c:v>
                </c:pt>
                <c:pt idx="15054">
                  <c:v>23337</c:v>
                </c:pt>
                <c:pt idx="15055">
                  <c:v>178498</c:v>
                </c:pt>
                <c:pt idx="15056">
                  <c:v>30822</c:v>
                </c:pt>
                <c:pt idx="15057">
                  <c:v>52712</c:v>
                </c:pt>
                <c:pt idx="15058">
                  <c:v>48175</c:v>
                </c:pt>
                <c:pt idx="15059">
                  <c:v>54456</c:v>
                </c:pt>
                <c:pt idx="15060">
                  <c:v>71360</c:v>
                </c:pt>
                <c:pt idx="15061">
                  <c:v>73029</c:v>
                </c:pt>
                <c:pt idx="15062">
                  <c:v>81299</c:v>
                </c:pt>
                <c:pt idx="15063">
                  <c:v>45246</c:v>
                </c:pt>
                <c:pt idx="15064">
                  <c:v>49366</c:v>
                </c:pt>
                <c:pt idx="15065">
                  <c:v>45563</c:v>
                </c:pt>
                <c:pt idx="15066">
                  <c:v>65102</c:v>
                </c:pt>
                <c:pt idx="15067">
                  <c:v>30937</c:v>
                </c:pt>
                <c:pt idx="15068">
                  <c:v>111017</c:v>
                </c:pt>
                <c:pt idx="15069">
                  <c:v>34875</c:v>
                </c:pt>
                <c:pt idx="15070">
                  <c:v>30668</c:v>
                </c:pt>
                <c:pt idx="15071">
                  <c:v>28038</c:v>
                </c:pt>
                <c:pt idx="15072">
                  <c:v>133241</c:v>
                </c:pt>
                <c:pt idx="15073">
                  <c:v>84164</c:v>
                </c:pt>
                <c:pt idx="15074">
                  <c:v>130606</c:v>
                </c:pt>
                <c:pt idx="15075">
                  <c:v>127721</c:v>
                </c:pt>
                <c:pt idx="15076">
                  <c:v>36762</c:v>
                </c:pt>
                <c:pt idx="15077">
                  <c:v>88639</c:v>
                </c:pt>
                <c:pt idx="15078">
                  <c:v>21586</c:v>
                </c:pt>
                <c:pt idx="15079">
                  <c:v>87064</c:v>
                </c:pt>
                <c:pt idx="15080">
                  <c:v>69137</c:v>
                </c:pt>
                <c:pt idx="15081">
                  <c:v>45532</c:v>
                </c:pt>
                <c:pt idx="15082">
                  <c:v>44940</c:v>
                </c:pt>
                <c:pt idx="15083">
                  <c:v>32447</c:v>
                </c:pt>
                <c:pt idx="15084">
                  <c:v>68852</c:v>
                </c:pt>
                <c:pt idx="15085">
                  <c:v>40854</c:v>
                </c:pt>
                <c:pt idx="15086">
                  <c:v>167773</c:v>
                </c:pt>
                <c:pt idx="15087">
                  <c:v>18075</c:v>
                </c:pt>
                <c:pt idx="15088">
                  <c:v>53044</c:v>
                </c:pt>
                <c:pt idx="15089">
                  <c:v>36550</c:v>
                </c:pt>
                <c:pt idx="15090">
                  <c:v>170365</c:v>
                </c:pt>
                <c:pt idx="15091">
                  <c:v>33039</c:v>
                </c:pt>
                <c:pt idx="15092">
                  <c:v>27941</c:v>
                </c:pt>
                <c:pt idx="15093">
                  <c:v>40024</c:v>
                </c:pt>
                <c:pt idx="15094">
                  <c:v>83324</c:v>
                </c:pt>
                <c:pt idx="15095">
                  <c:v>72751</c:v>
                </c:pt>
                <c:pt idx="15096">
                  <c:v>67726</c:v>
                </c:pt>
                <c:pt idx="15097">
                  <c:v>79598</c:v>
                </c:pt>
                <c:pt idx="15098">
                  <c:v>31602</c:v>
                </c:pt>
                <c:pt idx="15099">
                  <c:v>43942</c:v>
                </c:pt>
                <c:pt idx="15100">
                  <c:v>107584</c:v>
                </c:pt>
                <c:pt idx="15101">
                  <c:v>43943</c:v>
                </c:pt>
                <c:pt idx="15102">
                  <c:v>107583</c:v>
                </c:pt>
                <c:pt idx="15103">
                  <c:v>48374</c:v>
                </c:pt>
                <c:pt idx="15104">
                  <c:v>284383</c:v>
                </c:pt>
                <c:pt idx="15105">
                  <c:v>23981</c:v>
                </c:pt>
                <c:pt idx="15106">
                  <c:v>35817</c:v>
                </c:pt>
                <c:pt idx="15107">
                  <c:v>38463</c:v>
                </c:pt>
                <c:pt idx="15108">
                  <c:v>61952</c:v>
                </c:pt>
                <c:pt idx="15109">
                  <c:v>34654</c:v>
                </c:pt>
                <c:pt idx="15110">
                  <c:v>29596</c:v>
                </c:pt>
                <c:pt idx="15111">
                  <c:v>37871</c:v>
                </c:pt>
                <c:pt idx="15112">
                  <c:v>37018</c:v>
                </c:pt>
                <c:pt idx="15113">
                  <c:v>43978</c:v>
                </c:pt>
                <c:pt idx="15114">
                  <c:v>81753</c:v>
                </c:pt>
                <c:pt idx="15115">
                  <c:v>30122</c:v>
                </c:pt>
                <c:pt idx="15116">
                  <c:v>36544</c:v>
                </c:pt>
                <c:pt idx="15117">
                  <c:v>100854</c:v>
                </c:pt>
                <c:pt idx="15118">
                  <c:v>26824</c:v>
                </c:pt>
                <c:pt idx="15119">
                  <c:v>27149</c:v>
                </c:pt>
                <c:pt idx="15120">
                  <c:v>29555</c:v>
                </c:pt>
                <c:pt idx="15121">
                  <c:v>44136</c:v>
                </c:pt>
                <c:pt idx="15122">
                  <c:v>56374</c:v>
                </c:pt>
                <c:pt idx="15123">
                  <c:v>41786</c:v>
                </c:pt>
                <c:pt idx="15124">
                  <c:v>48971</c:v>
                </c:pt>
                <c:pt idx="15125">
                  <c:v>40607</c:v>
                </c:pt>
                <c:pt idx="15126">
                  <c:v>136481</c:v>
                </c:pt>
                <c:pt idx="15127">
                  <c:v>70244</c:v>
                </c:pt>
                <c:pt idx="15128">
                  <c:v>79054</c:v>
                </c:pt>
                <c:pt idx="15129">
                  <c:v>24867</c:v>
                </c:pt>
                <c:pt idx="15130">
                  <c:v>55635</c:v>
                </c:pt>
                <c:pt idx="15131">
                  <c:v>44607</c:v>
                </c:pt>
                <c:pt idx="15132">
                  <c:v>34715</c:v>
                </c:pt>
                <c:pt idx="15133">
                  <c:v>68978</c:v>
                </c:pt>
                <c:pt idx="15134">
                  <c:v>37895</c:v>
                </c:pt>
                <c:pt idx="15135">
                  <c:v>26658</c:v>
                </c:pt>
                <c:pt idx="15136">
                  <c:v>107431</c:v>
                </c:pt>
                <c:pt idx="15137">
                  <c:v>41736</c:v>
                </c:pt>
                <c:pt idx="15138">
                  <c:v>57392</c:v>
                </c:pt>
                <c:pt idx="15139">
                  <c:v>55656</c:v>
                </c:pt>
                <c:pt idx="15140">
                  <c:v>79877</c:v>
                </c:pt>
                <c:pt idx="15141">
                  <c:v>43910</c:v>
                </c:pt>
                <c:pt idx="15142">
                  <c:v>96421</c:v>
                </c:pt>
                <c:pt idx="15143">
                  <c:v>32895</c:v>
                </c:pt>
                <c:pt idx="15144">
                  <c:v>27407</c:v>
                </c:pt>
                <c:pt idx="15145">
                  <c:v>31235</c:v>
                </c:pt>
                <c:pt idx="15146">
                  <c:v>31502</c:v>
                </c:pt>
                <c:pt idx="15147">
                  <c:v>124549</c:v>
                </c:pt>
                <c:pt idx="15148">
                  <c:v>160202</c:v>
                </c:pt>
                <c:pt idx="15149">
                  <c:v>24465</c:v>
                </c:pt>
                <c:pt idx="15150">
                  <c:v>99050</c:v>
                </c:pt>
                <c:pt idx="15151">
                  <c:v>24564</c:v>
                </c:pt>
                <c:pt idx="15152">
                  <c:v>63961</c:v>
                </c:pt>
                <c:pt idx="15153">
                  <c:v>51917</c:v>
                </c:pt>
                <c:pt idx="15154">
                  <c:v>32004</c:v>
                </c:pt>
                <c:pt idx="15155">
                  <c:v>27847</c:v>
                </c:pt>
                <c:pt idx="15156">
                  <c:v>105315</c:v>
                </c:pt>
                <c:pt idx="15157">
                  <c:v>39799</c:v>
                </c:pt>
                <c:pt idx="15158">
                  <c:v>44035</c:v>
                </c:pt>
                <c:pt idx="15159">
                  <c:v>63376</c:v>
                </c:pt>
                <c:pt idx="15160">
                  <c:v>63374</c:v>
                </c:pt>
                <c:pt idx="15161">
                  <c:v>151227</c:v>
                </c:pt>
                <c:pt idx="15162">
                  <c:v>277533</c:v>
                </c:pt>
                <c:pt idx="15163">
                  <c:v>158394</c:v>
                </c:pt>
                <c:pt idx="15164">
                  <c:v>36900</c:v>
                </c:pt>
                <c:pt idx="15165">
                  <c:v>88668</c:v>
                </c:pt>
                <c:pt idx="15166">
                  <c:v>98096</c:v>
                </c:pt>
                <c:pt idx="15167">
                  <c:v>29556</c:v>
                </c:pt>
                <c:pt idx="15168">
                  <c:v>59100</c:v>
                </c:pt>
                <c:pt idx="15169">
                  <c:v>39922</c:v>
                </c:pt>
                <c:pt idx="15170">
                  <c:v>38668</c:v>
                </c:pt>
                <c:pt idx="15171">
                  <c:v>58165</c:v>
                </c:pt>
                <c:pt idx="15172">
                  <c:v>42121</c:v>
                </c:pt>
                <c:pt idx="15173">
                  <c:v>110677</c:v>
                </c:pt>
                <c:pt idx="15174">
                  <c:v>26969</c:v>
                </c:pt>
                <c:pt idx="15175">
                  <c:v>34773</c:v>
                </c:pt>
                <c:pt idx="15176">
                  <c:v>104646</c:v>
                </c:pt>
                <c:pt idx="15177">
                  <c:v>42991</c:v>
                </c:pt>
                <c:pt idx="15178">
                  <c:v>137496</c:v>
                </c:pt>
                <c:pt idx="15179">
                  <c:v>158212</c:v>
                </c:pt>
                <c:pt idx="15180">
                  <c:v>22628</c:v>
                </c:pt>
                <c:pt idx="15181">
                  <c:v>56246</c:v>
                </c:pt>
                <c:pt idx="15182">
                  <c:v>55909</c:v>
                </c:pt>
                <c:pt idx="15183">
                  <c:v>24944</c:v>
                </c:pt>
                <c:pt idx="15184">
                  <c:v>36552</c:v>
                </c:pt>
                <c:pt idx="15185">
                  <c:v>56127</c:v>
                </c:pt>
                <c:pt idx="15186">
                  <c:v>41188</c:v>
                </c:pt>
                <c:pt idx="15187">
                  <c:v>90207</c:v>
                </c:pt>
                <c:pt idx="15188">
                  <c:v>56865</c:v>
                </c:pt>
                <c:pt idx="15189">
                  <c:v>165380</c:v>
                </c:pt>
                <c:pt idx="15190">
                  <c:v>40859</c:v>
                </c:pt>
                <c:pt idx="15191">
                  <c:v>24183</c:v>
                </c:pt>
                <c:pt idx="15192">
                  <c:v>32107</c:v>
                </c:pt>
                <c:pt idx="15193">
                  <c:v>62285</c:v>
                </c:pt>
                <c:pt idx="15194">
                  <c:v>35351</c:v>
                </c:pt>
                <c:pt idx="15195">
                  <c:v>28537</c:v>
                </c:pt>
                <c:pt idx="15196">
                  <c:v>21868</c:v>
                </c:pt>
                <c:pt idx="15197">
                  <c:v>56406</c:v>
                </c:pt>
                <c:pt idx="15198">
                  <c:v>24240</c:v>
                </c:pt>
                <c:pt idx="15199">
                  <c:v>116450</c:v>
                </c:pt>
                <c:pt idx="15200">
                  <c:v>160791</c:v>
                </c:pt>
                <c:pt idx="15201">
                  <c:v>45708</c:v>
                </c:pt>
                <c:pt idx="15202">
                  <c:v>32217</c:v>
                </c:pt>
                <c:pt idx="15203">
                  <c:v>26160</c:v>
                </c:pt>
                <c:pt idx="15204">
                  <c:v>34852</c:v>
                </c:pt>
                <c:pt idx="15205">
                  <c:v>133139</c:v>
                </c:pt>
                <c:pt idx="15206">
                  <c:v>26053</c:v>
                </c:pt>
                <c:pt idx="15207">
                  <c:v>32190</c:v>
                </c:pt>
                <c:pt idx="15208">
                  <c:v>115375</c:v>
                </c:pt>
                <c:pt idx="15209">
                  <c:v>50478</c:v>
                </c:pt>
                <c:pt idx="15210">
                  <c:v>46425</c:v>
                </c:pt>
                <c:pt idx="15211">
                  <c:v>56355</c:v>
                </c:pt>
                <c:pt idx="15212">
                  <c:v>31870</c:v>
                </c:pt>
                <c:pt idx="15213">
                  <c:v>30263</c:v>
                </c:pt>
                <c:pt idx="15214">
                  <c:v>67508</c:v>
                </c:pt>
                <c:pt idx="15215">
                  <c:v>30699</c:v>
                </c:pt>
                <c:pt idx="15216">
                  <c:v>64920</c:v>
                </c:pt>
                <c:pt idx="15217">
                  <c:v>53626</c:v>
                </c:pt>
                <c:pt idx="15218">
                  <c:v>40573</c:v>
                </c:pt>
                <c:pt idx="15219">
                  <c:v>36740</c:v>
                </c:pt>
                <c:pt idx="15220">
                  <c:v>42348</c:v>
                </c:pt>
                <c:pt idx="15221">
                  <c:v>244387</c:v>
                </c:pt>
                <c:pt idx="15222">
                  <c:v>34262</c:v>
                </c:pt>
                <c:pt idx="15223">
                  <c:v>48579</c:v>
                </c:pt>
                <c:pt idx="15224">
                  <c:v>45400</c:v>
                </c:pt>
                <c:pt idx="15225">
                  <c:v>151299</c:v>
                </c:pt>
                <c:pt idx="15226">
                  <c:v>59150</c:v>
                </c:pt>
                <c:pt idx="15227">
                  <c:v>15000</c:v>
                </c:pt>
                <c:pt idx="15228">
                  <c:v>42704</c:v>
                </c:pt>
                <c:pt idx="15229">
                  <c:v>246729</c:v>
                </c:pt>
                <c:pt idx="15230">
                  <c:v>78382</c:v>
                </c:pt>
                <c:pt idx="15231">
                  <c:v>41352</c:v>
                </c:pt>
                <c:pt idx="15232">
                  <c:v>181607</c:v>
                </c:pt>
                <c:pt idx="15233">
                  <c:v>39874</c:v>
                </c:pt>
                <c:pt idx="15234">
                  <c:v>56683</c:v>
                </c:pt>
                <c:pt idx="15235">
                  <c:v>36178</c:v>
                </c:pt>
                <c:pt idx="15236">
                  <c:v>32886</c:v>
                </c:pt>
                <c:pt idx="15237">
                  <c:v>70867</c:v>
                </c:pt>
                <c:pt idx="15238">
                  <c:v>62240</c:v>
                </c:pt>
                <c:pt idx="15239">
                  <c:v>86804</c:v>
                </c:pt>
                <c:pt idx="15240">
                  <c:v>60445</c:v>
                </c:pt>
                <c:pt idx="15241">
                  <c:v>54312</c:v>
                </c:pt>
                <c:pt idx="15242">
                  <c:v>35915</c:v>
                </c:pt>
                <c:pt idx="15243">
                  <c:v>124589</c:v>
                </c:pt>
                <c:pt idx="15244">
                  <c:v>100154</c:v>
                </c:pt>
                <c:pt idx="15245">
                  <c:v>40172</c:v>
                </c:pt>
                <c:pt idx="15246">
                  <c:v>47264</c:v>
                </c:pt>
                <c:pt idx="15247">
                  <c:v>40905</c:v>
                </c:pt>
                <c:pt idx="15248">
                  <c:v>92422</c:v>
                </c:pt>
                <c:pt idx="15249">
                  <c:v>59637</c:v>
                </c:pt>
                <c:pt idx="15250">
                  <c:v>44754</c:v>
                </c:pt>
                <c:pt idx="15251">
                  <c:v>38789</c:v>
                </c:pt>
                <c:pt idx="15252">
                  <c:v>21561</c:v>
                </c:pt>
                <c:pt idx="15253">
                  <c:v>65242</c:v>
                </c:pt>
                <c:pt idx="15254">
                  <c:v>38752</c:v>
                </c:pt>
                <c:pt idx="15255">
                  <c:v>44514</c:v>
                </c:pt>
                <c:pt idx="15256">
                  <c:v>37983</c:v>
                </c:pt>
                <c:pt idx="15257">
                  <c:v>59530</c:v>
                </c:pt>
                <c:pt idx="15258">
                  <c:v>37804</c:v>
                </c:pt>
                <c:pt idx="15259">
                  <c:v>23784</c:v>
                </c:pt>
                <c:pt idx="15260">
                  <c:v>29393</c:v>
                </c:pt>
                <c:pt idx="15261">
                  <c:v>161728</c:v>
                </c:pt>
                <c:pt idx="15262">
                  <c:v>74458</c:v>
                </c:pt>
                <c:pt idx="15263">
                  <c:v>37045</c:v>
                </c:pt>
                <c:pt idx="15264">
                  <c:v>30005</c:v>
                </c:pt>
                <c:pt idx="15265">
                  <c:v>298104</c:v>
                </c:pt>
                <c:pt idx="15266">
                  <c:v>85667</c:v>
                </c:pt>
                <c:pt idx="15267">
                  <c:v>42148</c:v>
                </c:pt>
                <c:pt idx="15268">
                  <c:v>24339</c:v>
                </c:pt>
                <c:pt idx="15269">
                  <c:v>40588</c:v>
                </c:pt>
                <c:pt idx="15270">
                  <c:v>34329</c:v>
                </c:pt>
                <c:pt idx="15271">
                  <c:v>64993</c:v>
                </c:pt>
                <c:pt idx="15272">
                  <c:v>35566</c:v>
                </c:pt>
                <c:pt idx="15273">
                  <c:v>58896</c:v>
                </c:pt>
                <c:pt idx="15274">
                  <c:v>43618</c:v>
                </c:pt>
                <c:pt idx="15275">
                  <c:v>60452</c:v>
                </c:pt>
                <c:pt idx="15276">
                  <c:v>23888</c:v>
                </c:pt>
                <c:pt idx="15277">
                  <c:v>38080</c:v>
                </c:pt>
                <c:pt idx="15278">
                  <c:v>53411</c:v>
                </c:pt>
                <c:pt idx="15279">
                  <c:v>37572</c:v>
                </c:pt>
                <c:pt idx="15280">
                  <c:v>32542</c:v>
                </c:pt>
                <c:pt idx="15281">
                  <c:v>70189</c:v>
                </c:pt>
                <c:pt idx="15282">
                  <c:v>40882</c:v>
                </c:pt>
                <c:pt idx="15283">
                  <c:v>29845</c:v>
                </c:pt>
                <c:pt idx="15284">
                  <c:v>57657</c:v>
                </c:pt>
                <c:pt idx="15285">
                  <c:v>34322</c:v>
                </c:pt>
                <c:pt idx="15286">
                  <c:v>226494</c:v>
                </c:pt>
                <c:pt idx="15287">
                  <c:v>88331</c:v>
                </c:pt>
                <c:pt idx="15288">
                  <c:v>36984</c:v>
                </c:pt>
                <c:pt idx="15289">
                  <c:v>136675</c:v>
                </c:pt>
                <c:pt idx="15290">
                  <c:v>80772</c:v>
                </c:pt>
                <c:pt idx="15291">
                  <c:v>81752</c:v>
                </c:pt>
                <c:pt idx="15292">
                  <c:v>21066</c:v>
                </c:pt>
                <c:pt idx="15293">
                  <c:v>97927</c:v>
                </c:pt>
                <c:pt idx="15294">
                  <c:v>47855</c:v>
                </c:pt>
                <c:pt idx="15295">
                  <c:v>28054</c:v>
                </c:pt>
                <c:pt idx="15296">
                  <c:v>31425</c:v>
                </c:pt>
                <c:pt idx="15297">
                  <c:v>62278</c:v>
                </c:pt>
                <c:pt idx="15298">
                  <c:v>28959</c:v>
                </c:pt>
                <c:pt idx="15299">
                  <c:v>103043</c:v>
                </c:pt>
                <c:pt idx="15300">
                  <c:v>42205</c:v>
                </c:pt>
                <c:pt idx="15301">
                  <c:v>57367</c:v>
                </c:pt>
                <c:pt idx="15302">
                  <c:v>43218</c:v>
                </c:pt>
                <c:pt idx="15303">
                  <c:v>30649</c:v>
                </c:pt>
                <c:pt idx="15304">
                  <c:v>54428</c:v>
                </c:pt>
                <c:pt idx="15305">
                  <c:v>23922</c:v>
                </c:pt>
                <c:pt idx="15306">
                  <c:v>68881</c:v>
                </c:pt>
                <c:pt idx="15307">
                  <c:v>45507</c:v>
                </c:pt>
                <c:pt idx="15308">
                  <c:v>53452</c:v>
                </c:pt>
                <c:pt idx="15309">
                  <c:v>31456</c:v>
                </c:pt>
                <c:pt idx="15310">
                  <c:v>33714</c:v>
                </c:pt>
                <c:pt idx="15311">
                  <c:v>27422</c:v>
                </c:pt>
                <c:pt idx="15312">
                  <c:v>49035</c:v>
                </c:pt>
                <c:pt idx="15313">
                  <c:v>78152</c:v>
                </c:pt>
                <c:pt idx="15314">
                  <c:v>116808</c:v>
                </c:pt>
                <c:pt idx="15315">
                  <c:v>48510</c:v>
                </c:pt>
                <c:pt idx="15316">
                  <c:v>66899</c:v>
                </c:pt>
                <c:pt idx="15317">
                  <c:v>32879</c:v>
                </c:pt>
                <c:pt idx="15318">
                  <c:v>33773</c:v>
                </c:pt>
                <c:pt idx="15319">
                  <c:v>33027</c:v>
                </c:pt>
                <c:pt idx="15320">
                  <c:v>35470</c:v>
                </c:pt>
                <c:pt idx="15321">
                  <c:v>39473</c:v>
                </c:pt>
                <c:pt idx="15322">
                  <c:v>63656</c:v>
                </c:pt>
                <c:pt idx="15323">
                  <c:v>31301</c:v>
                </c:pt>
                <c:pt idx="15324">
                  <c:v>36236</c:v>
                </c:pt>
                <c:pt idx="15325">
                  <c:v>169700</c:v>
                </c:pt>
                <c:pt idx="15326">
                  <c:v>31497</c:v>
                </c:pt>
                <c:pt idx="15327">
                  <c:v>25082</c:v>
                </c:pt>
                <c:pt idx="15328">
                  <c:v>46930</c:v>
                </c:pt>
                <c:pt idx="15329">
                  <c:v>28111</c:v>
                </c:pt>
                <c:pt idx="15330">
                  <c:v>50170</c:v>
                </c:pt>
                <c:pt idx="15331">
                  <c:v>70660</c:v>
                </c:pt>
                <c:pt idx="15332">
                  <c:v>65131</c:v>
                </c:pt>
                <c:pt idx="15333">
                  <c:v>89269</c:v>
                </c:pt>
                <c:pt idx="15334">
                  <c:v>252636</c:v>
                </c:pt>
                <c:pt idx="15335">
                  <c:v>33461</c:v>
                </c:pt>
                <c:pt idx="15336">
                  <c:v>70995</c:v>
                </c:pt>
                <c:pt idx="15337">
                  <c:v>26394</c:v>
                </c:pt>
                <c:pt idx="15338">
                  <c:v>21072</c:v>
                </c:pt>
                <c:pt idx="15339">
                  <c:v>63577</c:v>
                </c:pt>
                <c:pt idx="15340">
                  <c:v>39709</c:v>
                </c:pt>
                <c:pt idx="15341">
                  <c:v>39878</c:v>
                </c:pt>
                <c:pt idx="15342">
                  <c:v>47384</c:v>
                </c:pt>
                <c:pt idx="15343">
                  <c:v>94927</c:v>
                </c:pt>
                <c:pt idx="15344">
                  <c:v>72077</c:v>
                </c:pt>
                <c:pt idx="15345">
                  <c:v>51420</c:v>
                </c:pt>
                <c:pt idx="15346">
                  <c:v>34177</c:v>
                </c:pt>
                <c:pt idx="15347">
                  <c:v>287885</c:v>
                </c:pt>
                <c:pt idx="15348">
                  <c:v>23313</c:v>
                </c:pt>
                <c:pt idx="15349">
                  <c:v>31823</c:v>
                </c:pt>
                <c:pt idx="15350">
                  <c:v>31437</c:v>
                </c:pt>
                <c:pt idx="15351">
                  <c:v>91099</c:v>
                </c:pt>
                <c:pt idx="15352">
                  <c:v>34868</c:v>
                </c:pt>
                <c:pt idx="15353">
                  <c:v>32631</c:v>
                </c:pt>
                <c:pt idx="15354">
                  <c:v>73026</c:v>
                </c:pt>
                <c:pt idx="15355">
                  <c:v>18435</c:v>
                </c:pt>
                <c:pt idx="15356">
                  <c:v>31508</c:v>
                </c:pt>
                <c:pt idx="15357">
                  <c:v>30460</c:v>
                </c:pt>
                <c:pt idx="15358">
                  <c:v>97386</c:v>
                </c:pt>
                <c:pt idx="15359">
                  <c:v>39050</c:v>
                </c:pt>
                <c:pt idx="15360">
                  <c:v>29237</c:v>
                </c:pt>
                <c:pt idx="15361">
                  <c:v>44035</c:v>
                </c:pt>
                <c:pt idx="15362">
                  <c:v>44509</c:v>
                </c:pt>
                <c:pt idx="15363">
                  <c:v>71483</c:v>
                </c:pt>
                <c:pt idx="15364">
                  <c:v>45883</c:v>
                </c:pt>
                <c:pt idx="15365">
                  <c:v>85593</c:v>
                </c:pt>
                <c:pt idx="15366">
                  <c:v>98998</c:v>
                </c:pt>
                <c:pt idx="15367">
                  <c:v>30239</c:v>
                </c:pt>
                <c:pt idx="15368">
                  <c:v>35470</c:v>
                </c:pt>
                <c:pt idx="15369">
                  <c:v>23740</c:v>
                </c:pt>
                <c:pt idx="15370">
                  <c:v>43975</c:v>
                </c:pt>
                <c:pt idx="15371">
                  <c:v>36181</c:v>
                </c:pt>
                <c:pt idx="15372">
                  <c:v>41822</c:v>
                </c:pt>
                <c:pt idx="15373">
                  <c:v>169255</c:v>
                </c:pt>
                <c:pt idx="15374">
                  <c:v>52944</c:v>
                </c:pt>
                <c:pt idx="15375">
                  <c:v>45046</c:v>
                </c:pt>
                <c:pt idx="15376">
                  <c:v>73760</c:v>
                </c:pt>
                <c:pt idx="15377">
                  <c:v>34420</c:v>
                </c:pt>
                <c:pt idx="15378">
                  <c:v>66659</c:v>
                </c:pt>
                <c:pt idx="15379">
                  <c:v>29329</c:v>
                </c:pt>
                <c:pt idx="15380">
                  <c:v>42622</c:v>
                </c:pt>
                <c:pt idx="15381">
                  <c:v>73614</c:v>
                </c:pt>
                <c:pt idx="15382">
                  <c:v>39969</c:v>
                </c:pt>
                <c:pt idx="15383">
                  <c:v>44091</c:v>
                </c:pt>
                <c:pt idx="15384">
                  <c:v>43463</c:v>
                </c:pt>
                <c:pt idx="15385">
                  <c:v>111613</c:v>
                </c:pt>
                <c:pt idx="15386">
                  <c:v>28070</c:v>
                </c:pt>
                <c:pt idx="15387">
                  <c:v>39069</c:v>
                </c:pt>
                <c:pt idx="15388">
                  <c:v>39008</c:v>
                </c:pt>
                <c:pt idx="15389">
                  <c:v>84622</c:v>
                </c:pt>
                <c:pt idx="15390">
                  <c:v>29586</c:v>
                </c:pt>
                <c:pt idx="15391">
                  <c:v>38682</c:v>
                </c:pt>
                <c:pt idx="15392">
                  <c:v>36445</c:v>
                </c:pt>
                <c:pt idx="15393">
                  <c:v>30978</c:v>
                </c:pt>
                <c:pt idx="15394">
                  <c:v>50371</c:v>
                </c:pt>
                <c:pt idx="15395">
                  <c:v>42289</c:v>
                </c:pt>
                <c:pt idx="15396">
                  <c:v>50646</c:v>
                </c:pt>
                <c:pt idx="15397">
                  <c:v>61124</c:v>
                </c:pt>
                <c:pt idx="15398">
                  <c:v>31929</c:v>
                </c:pt>
                <c:pt idx="15399">
                  <c:v>31509</c:v>
                </c:pt>
                <c:pt idx="15400">
                  <c:v>71261</c:v>
                </c:pt>
                <c:pt idx="15401">
                  <c:v>125199</c:v>
                </c:pt>
                <c:pt idx="15402">
                  <c:v>130238</c:v>
                </c:pt>
                <c:pt idx="15403">
                  <c:v>21534</c:v>
                </c:pt>
                <c:pt idx="15404">
                  <c:v>67836</c:v>
                </c:pt>
                <c:pt idx="15405">
                  <c:v>50150</c:v>
                </c:pt>
                <c:pt idx="15406">
                  <c:v>62602</c:v>
                </c:pt>
                <c:pt idx="15407">
                  <c:v>65178</c:v>
                </c:pt>
                <c:pt idx="15408">
                  <c:v>56040</c:v>
                </c:pt>
                <c:pt idx="15409">
                  <c:v>54405</c:v>
                </c:pt>
                <c:pt idx="15410">
                  <c:v>34463</c:v>
                </c:pt>
                <c:pt idx="15411">
                  <c:v>77088</c:v>
                </c:pt>
                <c:pt idx="15412">
                  <c:v>41111</c:v>
                </c:pt>
                <c:pt idx="15413">
                  <c:v>43206</c:v>
                </c:pt>
                <c:pt idx="15414">
                  <c:v>61309</c:v>
                </c:pt>
                <c:pt idx="15415">
                  <c:v>49131</c:v>
                </c:pt>
                <c:pt idx="15416">
                  <c:v>81681</c:v>
                </c:pt>
                <c:pt idx="15417">
                  <c:v>33820</c:v>
                </c:pt>
                <c:pt idx="15418">
                  <c:v>24924</c:v>
                </c:pt>
                <c:pt idx="15419">
                  <c:v>75286</c:v>
                </c:pt>
                <c:pt idx="15420">
                  <c:v>87863</c:v>
                </c:pt>
                <c:pt idx="15421">
                  <c:v>35197</c:v>
                </c:pt>
                <c:pt idx="15422">
                  <c:v>111751</c:v>
                </c:pt>
                <c:pt idx="15423">
                  <c:v>47488</c:v>
                </c:pt>
                <c:pt idx="15424">
                  <c:v>46187</c:v>
                </c:pt>
                <c:pt idx="15425">
                  <c:v>92831</c:v>
                </c:pt>
                <c:pt idx="15426">
                  <c:v>37740</c:v>
                </c:pt>
                <c:pt idx="15427">
                  <c:v>95499</c:v>
                </c:pt>
                <c:pt idx="15428">
                  <c:v>30899</c:v>
                </c:pt>
                <c:pt idx="15429">
                  <c:v>69834</c:v>
                </c:pt>
                <c:pt idx="15430">
                  <c:v>41088</c:v>
                </c:pt>
                <c:pt idx="15431">
                  <c:v>38895</c:v>
                </c:pt>
                <c:pt idx="15432">
                  <c:v>26401</c:v>
                </c:pt>
                <c:pt idx="15433">
                  <c:v>34826</c:v>
                </c:pt>
                <c:pt idx="15434">
                  <c:v>51399</c:v>
                </c:pt>
                <c:pt idx="15435">
                  <c:v>32361</c:v>
                </c:pt>
                <c:pt idx="15436">
                  <c:v>36061</c:v>
                </c:pt>
                <c:pt idx="15437">
                  <c:v>64852</c:v>
                </c:pt>
                <c:pt idx="15438">
                  <c:v>40754</c:v>
                </c:pt>
                <c:pt idx="15439">
                  <c:v>40917</c:v>
                </c:pt>
                <c:pt idx="15440">
                  <c:v>66773</c:v>
                </c:pt>
                <c:pt idx="15441">
                  <c:v>30947</c:v>
                </c:pt>
                <c:pt idx="15442">
                  <c:v>22868</c:v>
                </c:pt>
                <c:pt idx="15443">
                  <c:v>37399</c:v>
                </c:pt>
                <c:pt idx="15444">
                  <c:v>41136</c:v>
                </c:pt>
                <c:pt idx="15445">
                  <c:v>31345</c:v>
                </c:pt>
                <c:pt idx="15446">
                  <c:v>29092</c:v>
                </c:pt>
                <c:pt idx="15447">
                  <c:v>110646</c:v>
                </c:pt>
                <c:pt idx="15448">
                  <c:v>89510</c:v>
                </c:pt>
                <c:pt idx="15449">
                  <c:v>48810</c:v>
                </c:pt>
                <c:pt idx="15450">
                  <c:v>24691</c:v>
                </c:pt>
                <c:pt idx="15451">
                  <c:v>31304</c:v>
                </c:pt>
                <c:pt idx="15452">
                  <c:v>31556</c:v>
                </c:pt>
                <c:pt idx="15453">
                  <c:v>48642</c:v>
                </c:pt>
                <c:pt idx="15454">
                  <c:v>169578</c:v>
                </c:pt>
                <c:pt idx="15455">
                  <c:v>46921</c:v>
                </c:pt>
                <c:pt idx="15456">
                  <c:v>25720</c:v>
                </c:pt>
                <c:pt idx="15457">
                  <c:v>56082</c:v>
                </c:pt>
                <c:pt idx="15458">
                  <c:v>109355</c:v>
                </c:pt>
                <c:pt idx="15459">
                  <c:v>78242</c:v>
                </c:pt>
                <c:pt idx="15460">
                  <c:v>102579</c:v>
                </c:pt>
                <c:pt idx="15461">
                  <c:v>50723</c:v>
                </c:pt>
                <c:pt idx="15462">
                  <c:v>26323</c:v>
                </c:pt>
                <c:pt idx="15463">
                  <c:v>51506</c:v>
                </c:pt>
                <c:pt idx="15464">
                  <c:v>76964</c:v>
                </c:pt>
                <c:pt idx="15465">
                  <c:v>31400</c:v>
                </c:pt>
                <c:pt idx="15466">
                  <c:v>62884</c:v>
                </c:pt>
                <c:pt idx="15467">
                  <c:v>49920</c:v>
                </c:pt>
                <c:pt idx="15468">
                  <c:v>33385</c:v>
                </c:pt>
                <c:pt idx="15469">
                  <c:v>33358</c:v>
                </c:pt>
                <c:pt idx="15470">
                  <c:v>78050</c:v>
                </c:pt>
                <c:pt idx="15471">
                  <c:v>34435</c:v>
                </c:pt>
                <c:pt idx="15472">
                  <c:v>91597</c:v>
                </c:pt>
                <c:pt idx="15473">
                  <c:v>46028</c:v>
                </c:pt>
                <c:pt idx="15474">
                  <c:v>39168</c:v>
                </c:pt>
                <c:pt idx="15475">
                  <c:v>21739</c:v>
                </c:pt>
                <c:pt idx="15476">
                  <c:v>22924</c:v>
                </c:pt>
                <c:pt idx="15477">
                  <c:v>35321</c:v>
                </c:pt>
                <c:pt idx="15478">
                  <c:v>32833</c:v>
                </c:pt>
                <c:pt idx="15479">
                  <c:v>76377</c:v>
                </c:pt>
                <c:pt idx="15480">
                  <c:v>50815</c:v>
                </c:pt>
                <c:pt idx="15481">
                  <c:v>53912</c:v>
                </c:pt>
                <c:pt idx="15482">
                  <c:v>82569</c:v>
                </c:pt>
                <c:pt idx="15483">
                  <c:v>92823</c:v>
                </c:pt>
                <c:pt idx="15484">
                  <c:v>47797</c:v>
                </c:pt>
                <c:pt idx="15485">
                  <c:v>33757</c:v>
                </c:pt>
                <c:pt idx="15486">
                  <c:v>37726</c:v>
                </c:pt>
                <c:pt idx="15487">
                  <c:v>27978</c:v>
                </c:pt>
                <c:pt idx="15488">
                  <c:v>44130</c:v>
                </c:pt>
                <c:pt idx="15489">
                  <c:v>63024</c:v>
                </c:pt>
                <c:pt idx="15490">
                  <c:v>29033</c:v>
                </c:pt>
                <c:pt idx="15491">
                  <c:v>126501</c:v>
                </c:pt>
                <c:pt idx="15492">
                  <c:v>277552</c:v>
                </c:pt>
                <c:pt idx="15493">
                  <c:v>37768</c:v>
                </c:pt>
                <c:pt idx="15494">
                  <c:v>38763</c:v>
                </c:pt>
                <c:pt idx="15495">
                  <c:v>47866</c:v>
                </c:pt>
                <c:pt idx="15496">
                  <c:v>56576</c:v>
                </c:pt>
                <c:pt idx="15497">
                  <c:v>85337</c:v>
                </c:pt>
                <c:pt idx="15498">
                  <c:v>62360</c:v>
                </c:pt>
                <c:pt idx="15499">
                  <c:v>59528</c:v>
                </c:pt>
                <c:pt idx="15500">
                  <c:v>39616</c:v>
                </c:pt>
                <c:pt idx="15501">
                  <c:v>55027</c:v>
                </c:pt>
                <c:pt idx="15502">
                  <c:v>32912</c:v>
                </c:pt>
                <c:pt idx="15503">
                  <c:v>72059</c:v>
                </c:pt>
                <c:pt idx="15504">
                  <c:v>54531</c:v>
                </c:pt>
                <c:pt idx="15505">
                  <c:v>25565</c:v>
                </c:pt>
                <c:pt idx="15506">
                  <c:v>45453</c:v>
                </c:pt>
                <c:pt idx="15507">
                  <c:v>24526</c:v>
                </c:pt>
                <c:pt idx="15508">
                  <c:v>38316</c:v>
                </c:pt>
                <c:pt idx="15509">
                  <c:v>40845</c:v>
                </c:pt>
                <c:pt idx="15510">
                  <c:v>44186</c:v>
                </c:pt>
                <c:pt idx="15511">
                  <c:v>38682</c:v>
                </c:pt>
                <c:pt idx="15512">
                  <c:v>30905</c:v>
                </c:pt>
                <c:pt idx="15513">
                  <c:v>58495</c:v>
                </c:pt>
                <c:pt idx="15514">
                  <c:v>116644</c:v>
                </c:pt>
                <c:pt idx="15515">
                  <c:v>28910</c:v>
                </c:pt>
                <c:pt idx="15516">
                  <c:v>43103</c:v>
                </c:pt>
                <c:pt idx="15517">
                  <c:v>47165</c:v>
                </c:pt>
                <c:pt idx="15518">
                  <c:v>23922</c:v>
                </c:pt>
                <c:pt idx="15519">
                  <c:v>144077</c:v>
                </c:pt>
                <c:pt idx="15520">
                  <c:v>38883</c:v>
                </c:pt>
                <c:pt idx="15521">
                  <c:v>57138</c:v>
                </c:pt>
                <c:pt idx="15522">
                  <c:v>36569</c:v>
                </c:pt>
                <c:pt idx="15523">
                  <c:v>65512</c:v>
                </c:pt>
                <c:pt idx="15524">
                  <c:v>97382</c:v>
                </c:pt>
                <c:pt idx="15525">
                  <c:v>38285</c:v>
                </c:pt>
                <c:pt idx="15526">
                  <c:v>23553</c:v>
                </c:pt>
                <c:pt idx="15527">
                  <c:v>105171</c:v>
                </c:pt>
                <c:pt idx="15528">
                  <c:v>119924</c:v>
                </c:pt>
                <c:pt idx="15529">
                  <c:v>106321</c:v>
                </c:pt>
                <c:pt idx="15530">
                  <c:v>43072</c:v>
                </c:pt>
                <c:pt idx="15531">
                  <c:v>149864</c:v>
                </c:pt>
                <c:pt idx="15532">
                  <c:v>117164</c:v>
                </c:pt>
                <c:pt idx="15533">
                  <c:v>47758</c:v>
                </c:pt>
                <c:pt idx="15534">
                  <c:v>61890</c:v>
                </c:pt>
                <c:pt idx="15535">
                  <c:v>35241</c:v>
                </c:pt>
                <c:pt idx="15536">
                  <c:v>35511</c:v>
                </c:pt>
                <c:pt idx="15537">
                  <c:v>57943</c:v>
                </c:pt>
                <c:pt idx="15538">
                  <c:v>82426</c:v>
                </c:pt>
                <c:pt idx="15539">
                  <c:v>66037</c:v>
                </c:pt>
                <c:pt idx="15540">
                  <c:v>61770</c:v>
                </c:pt>
                <c:pt idx="15541">
                  <c:v>22492</c:v>
                </c:pt>
                <c:pt idx="15542">
                  <c:v>80356</c:v>
                </c:pt>
                <c:pt idx="15543">
                  <c:v>44936</c:v>
                </c:pt>
                <c:pt idx="15544">
                  <c:v>30462</c:v>
                </c:pt>
                <c:pt idx="15545">
                  <c:v>33928</c:v>
                </c:pt>
                <c:pt idx="15546">
                  <c:v>67292</c:v>
                </c:pt>
                <c:pt idx="15547">
                  <c:v>97426</c:v>
                </c:pt>
                <c:pt idx="15548">
                  <c:v>55607</c:v>
                </c:pt>
                <c:pt idx="15549">
                  <c:v>25203</c:v>
                </c:pt>
                <c:pt idx="15550">
                  <c:v>46357</c:v>
                </c:pt>
                <c:pt idx="15551">
                  <c:v>40314</c:v>
                </c:pt>
                <c:pt idx="15552">
                  <c:v>104092</c:v>
                </c:pt>
                <c:pt idx="15553">
                  <c:v>76286</c:v>
                </c:pt>
                <c:pt idx="15554">
                  <c:v>47814</c:v>
                </c:pt>
                <c:pt idx="15555">
                  <c:v>43641</c:v>
                </c:pt>
                <c:pt idx="15556">
                  <c:v>70546</c:v>
                </c:pt>
                <c:pt idx="15557">
                  <c:v>54452</c:v>
                </c:pt>
                <c:pt idx="15558">
                  <c:v>37284</c:v>
                </c:pt>
                <c:pt idx="15559">
                  <c:v>50273</c:v>
                </c:pt>
                <c:pt idx="15560">
                  <c:v>20916</c:v>
                </c:pt>
                <c:pt idx="15561">
                  <c:v>36019</c:v>
                </c:pt>
                <c:pt idx="15562">
                  <c:v>41254</c:v>
                </c:pt>
                <c:pt idx="15563">
                  <c:v>33773</c:v>
                </c:pt>
                <c:pt idx="15564">
                  <c:v>20896</c:v>
                </c:pt>
                <c:pt idx="15565">
                  <c:v>24984</c:v>
                </c:pt>
                <c:pt idx="15566">
                  <c:v>117441</c:v>
                </c:pt>
                <c:pt idx="15567">
                  <c:v>45413</c:v>
                </c:pt>
                <c:pt idx="15568">
                  <c:v>22141</c:v>
                </c:pt>
                <c:pt idx="15569">
                  <c:v>188948</c:v>
                </c:pt>
                <c:pt idx="15570">
                  <c:v>39258</c:v>
                </c:pt>
                <c:pt idx="15571">
                  <c:v>40389</c:v>
                </c:pt>
                <c:pt idx="15572">
                  <c:v>232784</c:v>
                </c:pt>
                <c:pt idx="15573">
                  <c:v>287449</c:v>
                </c:pt>
                <c:pt idx="15574">
                  <c:v>47957</c:v>
                </c:pt>
                <c:pt idx="15575">
                  <c:v>45612</c:v>
                </c:pt>
                <c:pt idx="15576">
                  <c:v>32237</c:v>
                </c:pt>
                <c:pt idx="15577">
                  <c:v>126576</c:v>
                </c:pt>
                <c:pt idx="15578">
                  <c:v>40822</c:v>
                </c:pt>
                <c:pt idx="15579">
                  <c:v>32209</c:v>
                </c:pt>
                <c:pt idx="15580">
                  <c:v>91152</c:v>
                </c:pt>
                <c:pt idx="15581">
                  <c:v>81273</c:v>
                </c:pt>
                <c:pt idx="15582">
                  <c:v>49831</c:v>
                </c:pt>
                <c:pt idx="15583">
                  <c:v>43550</c:v>
                </c:pt>
                <c:pt idx="15584">
                  <c:v>49161</c:v>
                </c:pt>
                <c:pt idx="15585">
                  <c:v>28524</c:v>
                </c:pt>
                <c:pt idx="15586">
                  <c:v>25897</c:v>
                </c:pt>
                <c:pt idx="15587">
                  <c:v>36513</c:v>
                </c:pt>
                <c:pt idx="15588">
                  <c:v>37541</c:v>
                </c:pt>
                <c:pt idx="15589">
                  <c:v>55447</c:v>
                </c:pt>
                <c:pt idx="15590">
                  <c:v>46416</c:v>
                </c:pt>
                <c:pt idx="15591">
                  <c:v>27231</c:v>
                </c:pt>
                <c:pt idx="15592">
                  <c:v>44688</c:v>
                </c:pt>
                <c:pt idx="15593">
                  <c:v>46632</c:v>
                </c:pt>
                <c:pt idx="15594">
                  <c:v>42602</c:v>
                </c:pt>
                <c:pt idx="15595">
                  <c:v>37512</c:v>
                </c:pt>
                <c:pt idx="15596">
                  <c:v>33891</c:v>
                </c:pt>
                <c:pt idx="15597">
                  <c:v>46071</c:v>
                </c:pt>
                <c:pt idx="15598">
                  <c:v>22540</c:v>
                </c:pt>
                <c:pt idx="15599">
                  <c:v>31543</c:v>
                </c:pt>
                <c:pt idx="15600">
                  <c:v>103844</c:v>
                </c:pt>
                <c:pt idx="15601">
                  <c:v>33179</c:v>
                </c:pt>
                <c:pt idx="15602">
                  <c:v>28773</c:v>
                </c:pt>
                <c:pt idx="15603">
                  <c:v>44026</c:v>
                </c:pt>
                <c:pt idx="15604">
                  <c:v>34168</c:v>
                </c:pt>
                <c:pt idx="15605">
                  <c:v>25623</c:v>
                </c:pt>
                <c:pt idx="15606">
                  <c:v>76312</c:v>
                </c:pt>
                <c:pt idx="15607">
                  <c:v>36803</c:v>
                </c:pt>
                <c:pt idx="15608">
                  <c:v>40045</c:v>
                </c:pt>
                <c:pt idx="15609">
                  <c:v>45172</c:v>
                </c:pt>
                <c:pt idx="15610">
                  <c:v>58662</c:v>
                </c:pt>
                <c:pt idx="15611">
                  <c:v>56305</c:v>
                </c:pt>
                <c:pt idx="15612">
                  <c:v>27787</c:v>
                </c:pt>
                <c:pt idx="15613">
                  <c:v>107637</c:v>
                </c:pt>
                <c:pt idx="15614">
                  <c:v>40491</c:v>
                </c:pt>
                <c:pt idx="15615">
                  <c:v>60352</c:v>
                </c:pt>
                <c:pt idx="15616">
                  <c:v>24919</c:v>
                </c:pt>
                <c:pt idx="15617">
                  <c:v>66187</c:v>
                </c:pt>
                <c:pt idx="15618">
                  <c:v>42398</c:v>
                </c:pt>
                <c:pt idx="15619">
                  <c:v>24027</c:v>
                </c:pt>
                <c:pt idx="15620">
                  <c:v>77474</c:v>
                </c:pt>
                <c:pt idx="15621">
                  <c:v>47791</c:v>
                </c:pt>
                <c:pt idx="15622">
                  <c:v>33030</c:v>
                </c:pt>
                <c:pt idx="15623">
                  <c:v>95473</c:v>
                </c:pt>
                <c:pt idx="15624">
                  <c:v>27992</c:v>
                </c:pt>
                <c:pt idx="15625">
                  <c:v>94526</c:v>
                </c:pt>
                <c:pt idx="15626">
                  <c:v>322831</c:v>
                </c:pt>
                <c:pt idx="15627">
                  <c:v>41668</c:v>
                </c:pt>
                <c:pt idx="15628">
                  <c:v>72959</c:v>
                </c:pt>
                <c:pt idx="15629">
                  <c:v>61093</c:v>
                </c:pt>
                <c:pt idx="15630">
                  <c:v>43117</c:v>
                </c:pt>
                <c:pt idx="15631">
                  <c:v>144699</c:v>
                </c:pt>
                <c:pt idx="15632">
                  <c:v>46863</c:v>
                </c:pt>
                <c:pt idx="15633">
                  <c:v>35283</c:v>
                </c:pt>
                <c:pt idx="15634">
                  <c:v>64782</c:v>
                </c:pt>
                <c:pt idx="15635">
                  <c:v>24832</c:v>
                </c:pt>
                <c:pt idx="15636">
                  <c:v>223435</c:v>
                </c:pt>
                <c:pt idx="15637">
                  <c:v>46132</c:v>
                </c:pt>
                <c:pt idx="15638">
                  <c:v>22080</c:v>
                </c:pt>
                <c:pt idx="15639">
                  <c:v>49915</c:v>
                </c:pt>
                <c:pt idx="15640">
                  <c:v>26172</c:v>
                </c:pt>
                <c:pt idx="15641">
                  <c:v>62203</c:v>
                </c:pt>
                <c:pt idx="15642">
                  <c:v>22982</c:v>
                </c:pt>
                <c:pt idx="15643">
                  <c:v>39160</c:v>
                </c:pt>
                <c:pt idx="15644">
                  <c:v>89381</c:v>
                </c:pt>
                <c:pt idx="15645">
                  <c:v>75171</c:v>
                </c:pt>
                <c:pt idx="15646">
                  <c:v>29829</c:v>
                </c:pt>
                <c:pt idx="15647">
                  <c:v>48327</c:v>
                </c:pt>
                <c:pt idx="15648">
                  <c:v>39673</c:v>
                </c:pt>
                <c:pt idx="15649">
                  <c:v>41117</c:v>
                </c:pt>
                <c:pt idx="15650">
                  <c:v>24109</c:v>
                </c:pt>
                <c:pt idx="15651">
                  <c:v>76017</c:v>
                </c:pt>
                <c:pt idx="15652">
                  <c:v>42861</c:v>
                </c:pt>
                <c:pt idx="15653">
                  <c:v>82198</c:v>
                </c:pt>
                <c:pt idx="15654">
                  <c:v>42967</c:v>
                </c:pt>
                <c:pt idx="15655">
                  <c:v>40119</c:v>
                </c:pt>
                <c:pt idx="15656">
                  <c:v>39334</c:v>
                </c:pt>
                <c:pt idx="15657">
                  <c:v>80869</c:v>
                </c:pt>
                <c:pt idx="15658">
                  <c:v>37143</c:v>
                </c:pt>
                <c:pt idx="15659">
                  <c:v>66552</c:v>
                </c:pt>
                <c:pt idx="15660">
                  <c:v>44101</c:v>
                </c:pt>
                <c:pt idx="15661">
                  <c:v>39976</c:v>
                </c:pt>
                <c:pt idx="15662">
                  <c:v>49159</c:v>
                </c:pt>
                <c:pt idx="15663">
                  <c:v>46280</c:v>
                </c:pt>
                <c:pt idx="15664">
                  <c:v>55616</c:v>
                </c:pt>
                <c:pt idx="15665">
                  <c:v>124302</c:v>
                </c:pt>
                <c:pt idx="15666">
                  <c:v>48867</c:v>
                </c:pt>
                <c:pt idx="15667">
                  <c:v>36969</c:v>
                </c:pt>
                <c:pt idx="15668">
                  <c:v>32213</c:v>
                </c:pt>
                <c:pt idx="15669">
                  <c:v>35372</c:v>
                </c:pt>
                <c:pt idx="15670">
                  <c:v>87590</c:v>
                </c:pt>
                <c:pt idx="15671">
                  <c:v>100841</c:v>
                </c:pt>
                <c:pt idx="15672">
                  <c:v>37915</c:v>
                </c:pt>
                <c:pt idx="15673">
                  <c:v>182003</c:v>
                </c:pt>
                <c:pt idx="15674">
                  <c:v>33447</c:v>
                </c:pt>
                <c:pt idx="15675">
                  <c:v>60573</c:v>
                </c:pt>
                <c:pt idx="15676">
                  <c:v>40236</c:v>
                </c:pt>
                <c:pt idx="15677">
                  <c:v>51190</c:v>
                </c:pt>
                <c:pt idx="15678">
                  <c:v>114984</c:v>
                </c:pt>
                <c:pt idx="15679">
                  <c:v>38503</c:v>
                </c:pt>
                <c:pt idx="15680">
                  <c:v>236828</c:v>
                </c:pt>
                <c:pt idx="15681">
                  <c:v>207471</c:v>
                </c:pt>
                <c:pt idx="15682">
                  <c:v>28960</c:v>
                </c:pt>
                <c:pt idx="15683">
                  <c:v>68204</c:v>
                </c:pt>
                <c:pt idx="15684">
                  <c:v>46165</c:v>
                </c:pt>
                <c:pt idx="15685">
                  <c:v>113748</c:v>
                </c:pt>
                <c:pt idx="15686">
                  <c:v>68115</c:v>
                </c:pt>
                <c:pt idx="15687">
                  <c:v>25437</c:v>
                </c:pt>
                <c:pt idx="15688">
                  <c:v>44205</c:v>
                </c:pt>
                <c:pt idx="15689">
                  <c:v>30393</c:v>
                </c:pt>
                <c:pt idx="15690">
                  <c:v>102573</c:v>
                </c:pt>
                <c:pt idx="15691">
                  <c:v>55384</c:v>
                </c:pt>
                <c:pt idx="15692">
                  <c:v>77392</c:v>
                </c:pt>
                <c:pt idx="15693">
                  <c:v>52947</c:v>
                </c:pt>
                <c:pt idx="15694">
                  <c:v>47385</c:v>
                </c:pt>
                <c:pt idx="15695">
                  <c:v>83166</c:v>
                </c:pt>
                <c:pt idx="15696">
                  <c:v>38527</c:v>
                </c:pt>
                <c:pt idx="15697">
                  <c:v>110297</c:v>
                </c:pt>
                <c:pt idx="15698">
                  <c:v>73981</c:v>
                </c:pt>
                <c:pt idx="15699">
                  <c:v>31436</c:v>
                </c:pt>
                <c:pt idx="15700">
                  <c:v>40185</c:v>
                </c:pt>
                <c:pt idx="15701">
                  <c:v>26415</c:v>
                </c:pt>
                <c:pt idx="15702">
                  <c:v>170135</c:v>
                </c:pt>
                <c:pt idx="15703">
                  <c:v>108420</c:v>
                </c:pt>
                <c:pt idx="15704">
                  <c:v>42549</c:v>
                </c:pt>
                <c:pt idx="15705">
                  <c:v>26251</c:v>
                </c:pt>
                <c:pt idx="15706">
                  <c:v>34186</c:v>
                </c:pt>
                <c:pt idx="15707">
                  <c:v>33782</c:v>
                </c:pt>
                <c:pt idx="15708">
                  <c:v>92177</c:v>
                </c:pt>
                <c:pt idx="15709">
                  <c:v>28534</c:v>
                </c:pt>
                <c:pt idx="15710">
                  <c:v>35099</c:v>
                </c:pt>
                <c:pt idx="15711">
                  <c:v>23049</c:v>
                </c:pt>
                <c:pt idx="15712">
                  <c:v>64130</c:v>
                </c:pt>
                <c:pt idx="15713">
                  <c:v>23736</c:v>
                </c:pt>
                <c:pt idx="15714">
                  <c:v>46084</c:v>
                </c:pt>
                <c:pt idx="15715">
                  <c:v>51411</c:v>
                </c:pt>
                <c:pt idx="15716">
                  <c:v>43961</c:v>
                </c:pt>
                <c:pt idx="15717">
                  <c:v>246941</c:v>
                </c:pt>
                <c:pt idx="15718">
                  <c:v>28357</c:v>
                </c:pt>
                <c:pt idx="15719">
                  <c:v>121882</c:v>
                </c:pt>
                <c:pt idx="15720">
                  <c:v>135839</c:v>
                </c:pt>
                <c:pt idx="15721">
                  <c:v>47026</c:v>
                </c:pt>
                <c:pt idx="15722">
                  <c:v>28058</c:v>
                </c:pt>
                <c:pt idx="15723">
                  <c:v>37882</c:v>
                </c:pt>
                <c:pt idx="15724">
                  <c:v>21142</c:v>
                </c:pt>
                <c:pt idx="15725">
                  <c:v>37395</c:v>
                </c:pt>
                <c:pt idx="15726">
                  <c:v>87521</c:v>
                </c:pt>
                <c:pt idx="15727">
                  <c:v>41079</c:v>
                </c:pt>
                <c:pt idx="15728">
                  <c:v>60196</c:v>
                </c:pt>
                <c:pt idx="15729">
                  <c:v>46746</c:v>
                </c:pt>
                <c:pt idx="15730">
                  <c:v>64275</c:v>
                </c:pt>
                <c:pt idx="15731">
                  <c:v>35239</c:v>
                </c:pt>
                <c:pt idx="15732">
                  <c:v>37394</c:v>
                </c:pt>
                <c:pt idx="15733">
                  <c:v>73820</c:v>
                </c:pt>
                <c:pt idx="15734">
                  <c:v>42265</c:v>
                </c:pt>
                <c:pt idx="15735">
                  <c:v>33866</c:v>
                </c:pt>
                <c:pt idx="15736">
                  <c:v>44250</c:v>
                </c:pt>
                <c:pt idx="15737">
                  <c:v>126356</c:v>
                </c:pt>
                <c:pt idx="15738">
                  <c:v>38369</c:v>
                </c:pt>
                <c:pt idx="15739">
                  <c:v>58974</c:v>
                </c:pt>
                <c:pt idx="15740">
                  <c:v>24383</c:v>
                </c:pt>
                <c:pt idx="15741">
                  <c:v>143820</c:v>
                </c:pt>
                <c:pt idx="15742">
                  <c:v>25575</c:v>
                </c:pt>
                <c:pt idx="15743">
                  <c:v>37438</c:v>
                </c:pt>
                <c:pt idx="15744">
                  <c:v>28141</c:v>
                </c:pt>
                <c:pt idx="15745">
                  <c:v>67788</c:v>
                </c:pt>
                <c:pt idx="15746">
                  <c:v>67874</c:v>
                </c:pt>
                <c:pt idx="15747">
                  <c:v>131646</c:v>
                </c:pt>
                <c:pt idx="15748">
                  <c:v>111269</c:v>
                </c:pt>
                <c:pt idx="15749">
                  <c:v>31878</c:v>
                </c:pt>
                <c:pt idx="15750">
                  <c:v>40124</c:v>
                </c:pt>
                <c:pt idx="15751">
                  <c:v>32850</c:v>
                </c:pt>
                <c:pt idx="15752">
                  <c:v>40004</c:v>
                </c:pt>
                <c:pt idx="15753">
                  <c:v>68230</c:v>
                </c:pt>
                <c:pt idx="15754">
                  <c:v>34587</c:v>
                </c:pt>
                <c:pt idx="15755">
                  <c:v>104840</c:v>
                </c:pt>
                <c:pt idx="15756">
                  <c:v>50829</c:v>
                </c:pt>
                <c:pt idx="15757">
                  <c:v>47875</c:v>
                </c:pt>
                <c:pt idx="15758">
                  <c:v>131659</c:v>
                </c:pt>
                <c:pt idx="15759">
                  <c:v>71632</c:v>
                </c:pt>
                <c:pt idx="15760">
                  <c:v>57244</c:v>
                </c:pt>
                <c:pt idx="15761">
                  <c:v>244720</c:v>
                </c:pt>
                <c:pt idx="15762">
                  <c:v>241263</c:v>
                </c:pt>
                <c:pt idx="15763">
                  <c:v>41291</c:v>
                </c:pt>
                <c:pt idx="15764">
                  <c:v>29877</c:v>
                </c:pt>
                <c:pt idx="15765">
                  <c:v>33987</c:v>
                </c:pt>
                <c:pt idx="15766">
                  <c:v>48356</c:v>
                </c:pt>
                <c:pt idx="15767">
                  <c:v>34613</c:v>
                </c:pt>
                <c:pt idx="15768">
                  <c:v>56730</c:v>
                </c:pt>
                <c:pt idx="15769">
                  <c:v>25873</c:v>
                </c:pt>
                <c:pt idx="15770">
                  <c:v>84974</c:v>
                </c:pt>
                <c:pt idx="15771">
                  <c:v>43640</c:v>
                </c:pt>
                <c:pt idx="15772">
                  <c:v>54305</c:v>
                </c:pt>
                <c:pt idx="15773">
                  <c:v>25575</c:v>
                </c:pt>
                <c:pt idx="15774">
                  <c:v>154672</c:v>
                </c:pt>
                <c:pt idx="15775">
                  <c:v>115957</c:v>
                </c:pt>
                <c:pt idx="15776">
                  <c:v>24402</c:v>
                </c:pt>
                <c:pt idx="15777">
                  <c:v>99650</c:v>
                </c:pt>
                <c:pt idx="15778">
                  <c:v>47847</c:v>
                </c:pt>
                <c:pt idx="15779">
                  <c:v>33112</c:v>
                </c:pt>
                <c:pt idx="15780">
                  <c:v>34895</c:v>
                </c:pt>
                <c:pt idx="15781">
                  <c:v>45928</c:v>
                </c:pt>
                <c:pt idx="15782">
                  <c:v>102463</c:v>
                </c:pt>
                <c:pt idx="15783">
                  <c:v>41885</c:v>
                </c:pt>
                <c:pt idx="15784">
                  <c:v>19700</c:v>
                </c:pt>
                <c:pt idx="15785">
                  <c:v>29497</c:v>
                </c:pt>
                <c:pt idx="15786">
                  <c:v>29899</c:v>
                </c:pt>
                <c:pt idx="15787">
                  <c:v>28862</c:v>
                </c:pt>
                <c:pt idx="15788">
                  <c:v>45351</c:v>
                </c:pt>
                <c:pt idx="15789">
                  <c:v>118044</c:v>
                </c:pt>
                <c:pt idx="15790">
                  <c:v>39928</c:v>
                </c:pt>
                <c:pt idx="15791">
                  <c:v>46091</c:v>
                </c:pt>
                <c:pt idx="15792">
                  <c:v>33126</c:v>
                </c:pt>
                <c:pt idx="15793">
                  <c:v>49893</c:v>
                </c:pt>
                <c:pt idx="15794">
                  <c:v>22859</c:v>
                </c:pt>
                <c:pt idx="15795">
                  <c:v>45538</c:v>
                </c:pt>
                <c:pt idx="15796">
                  <c:v>52934</c:v>
                </c:pt>
                <c:pt idx="15797">
                  <c:v>43947</c:v>
                </c:pt>
                <c:pt idx="15798">
                  <c:v>30177</c:v>
                </c:pt>
                <c:pt idx="15799">
                  <c:v>33557</c:v>
                </c:pt>
                <c:pt idx="15800">
                  <c:v>30944</c:v>
                </c:pt>
                <c:pt idx="15801">
                  <c:v>28983</c:v>
                </c:pt>
                <c:pt idx="15802">
                  <c:v>26672</c:v>
                </c:pt>
                <c:pt idx="15803">
                  <c:v>56636</c:v>
                </c:pt>
                <c:pt idx="15804">
                  <c:v>111123</c:v>
                </c:pt>
                <c:pt idx="15805">
                  <c:v>22225</c:v>
                </c:pt>
                <c:pt idx="15806">
                  <c:v>24446</c:v>
                </c:pt>
                <c:pt idx="15807">
                  <c:v>78286</c:v>
                </c:pt>
                <c:pt idx="15808">
                  <c:v>37073</c:v>
                </c:pt>
                <c:pt idx="15809">
                  <c:v>20412</c:v>
                </c:pt>
                <c:pt idx="15810">
                  <c:v>40278</c:v>
                </c:pt>
                <c:pt idx="15811">
                  <c:v>48221</c:v>
                </c:pt>
                <c:pt idx="15812">
                  <c:v>32175</c:v>
                </c:pt>
                <c:pt idx="15813">
                  <c:v>47402</c:v>
                </c:pt>
                <c:pt idx="15814">
                  <c:v>32455</c:v>
                </c:pt>
                <c:pt idx="15815">
                  <c:v>135304</c:v>
                </c:pt>
                <c:pt idx="15816">
                  <c:v>39703</c:v>
                </c:pt>
                <c:pt idx="15817">
                  <c:v>57372</c:v>
                </c:pt>
                <c:pt idx="15818">
                  <c:v>24605</c:v>
                </c:pt>
                <c:pt idx="15819">
                  <c:v>58215</c:v>
                </c:pt>
                <c:pt idx="15820">
                  <c:v>22280</c:v>
                </c:pt>
                <c:pt idx="15821">
                  <c:v>54243</c:v>
                </c:pt>
                <c:pt idx="15822">
                  <c:v>47977</c:v>
                </c:pt>
                <c:pt idx="15823">
                  <c:v>47306</c:v>
                </c:pt>
                <c:pt idx="15824">
                  <c:v>39218</c:v>
                </c:pt>
                <c:pt idx="15825">
                  <c:v>51466</c:v>
                </c:pt>
                <c:pt idx="15826">
                  <c:v>34255</c:v>
                </c:pt>
                <c:pt idx="15827">
                  <c:v>90414</c:v>
                </c:pt>
                <c:pt idx="15828">
                  <c:v>40220</c:v>
                </c:pt>
                <c:pt idx="15829">
                  <c:v>23765</c:v>
                </c:pt>
                <c:pt idx="15830">
                  <c:v>40590</c:v>
                </c:pt>
                <c:pt idx="15831">
                  <c:v>39737</c:v>
                </c:pt>
                <c:pt idx="15832">
                  <c:v>233604</c:v>
                </c:pt>
                <c:pt idx="15833">
                  <c:v>35976</c:v>
                </c:pt>
                <c:pt idx="15834">
                  <c:v>34193</c:v>
                </c:pt>
                <c:pt idx="15835">
                  <c:v>128526</c:v>
                </c:pt>
                <c:pt idx="15836">
                  <c:v>64319</c:v>
                </c:pt>
                <c:pt idx="15837">
                  <c:v>30267</c:v>
                </c:pt>
                <c:pt idx="15838">
                  <c:v>61965</c:v>
                </c:pt>
                <c:pt idx="15839">
                  <c:v>64264</c:v>
                </c:pt>
                <c:pt idx="15840">
                  <c:v>42376</c:v>
                </c:pt>
                <c:pt idx="15841">
                  <c:v>42626</c:v>
                </c:pt>
                <c:pt idx="15842">
                  <c:v>116082</c:v>
                </c:pt>
                <c:pt idx="15843">
                  <c:v>85446</c:v>
                </c:pt>
                <c:pt idx="15844">
                  <c:v>186423</c:v>
                </c:pt>
                <c:pt idx="15845">
                  <c:v>55635</c:v>
                </c:pt>
                <c:pt idx="15846">
                  <c:v>62644</c:v>
                </c:pt>
                <c:pt idx="15847">
                  <c:v>37288</c:v>
                </c:pt>
                <c:pt idx="15848">
                  <c:v>32352</c:v>
                </c:pt>
                <c:pt idx="15849">
                  <c:v>44403</c:v>
                </c:pt>
                <c:pt idx="15850">
                  <c:v>39296</c:v>
                </c:pt>
                <c:pt idx="15851">
                  <c:v>39662</c:v>
                </c:pt>
                <c:pt idx="15852">
                  <c:v>23508</c:v>
                </c:pt>
                <c:pt idx="15853">
                  <c:v>140399</c:v>
                </c:pt>
                <c:pt idx="15854">
                  <c:v>59850</c:v>
                </c:pt>
                <c:pt idx="15855">
                  <c:v>46883</c:v>
                </c:pt>
                <c:pt idx="15856">
                  <c:v>82651</c:v>
                </c:pt>
                <c:pt idx="15857">
                  <c:v>73074</c:v>
                </c:pt>
                <c:pt idx="15858">
                  <c:v>91439</c:v>
                </c:pt>
                <c:pt idx="15859">
                  <c:v>50742</c:v>
                </c:pt>
                <c:pt idx="15860">
                  <c:v>31137</c:v>
                </c:pt>
                <c:pt idx="15861">
                  <c:v>80326</c:v>
                </c:pt>
                <c:pt idx="15862">
                  <c:v>33706</c:v>
                </c:pt>
                <c:pt idx="15863">
                  <c:v>21253</c:v>
                </c:pt>
                <c:pt idx="15864">
                  <c:v>40617</c:v>
                </c:pt>
                <c:pt idx="15865">
                  <c:v>38527</c:v>
                </c:pt>
                <c:pt idx="15866">
                  <c:v>52349</c:v>
                </c:pt>
                <c:pt idx="15867">
                  <c:v>25702</c:v>
                </c:pt>
                <c:pt idx="15868">
                  <c:v>37270</c:v>
                </c:pt>
                <c:pt idx="15869">
                  <c:v>23222</c:v>
                </c:pt>
                <c:pt idx="15870">
                  <c:v>214610</c:v>
                </c:pt>
                <c:pt idx="15871">
                  <c:v>46891</c:v>
                </c:pt>
                <c:pt idx="15872">
                  <c:v>39972</c:v>
                </c:pt>
                <c:pt idx="15873">
                  <c:v>67723</c:v>
                </c:pt>
                <c:pt idx="15874">
                  <c:v>46006</c:v>
                </c:pt>
                <c:pt idx="15875">
                  <c:v>133889</c:v>
                </c:pt>
                <c:pt idx="15876">
                  <c:v>21574</c:v>
                </c:pt>
                <c:pt idx="15877">
                  <c:v>49012</c:v>
                </c:pt>
                <c:pt idx="15878">
                  <c:v>58514</c:v>
                </c:pt>
                <c:pt idx="15879">
                  <c:v>59058</c:v>
                </c:pt>
                <c:pt idx="15880">
                  <c:v>77459</c:v>
                </c:pt>
                <c:pt idx="15881">
                  <c:v>22670</c:v>
                </c:pt>
                <c:pt idx="15882">
                  <c:v>33679</c:v>
                </c:pt>
                <c:pt idx="15883">
                  <c:v>37869</c:v>
                </c:pt>
                <c:pt idx="15884">
                  <c:v>37814</c:v>
                </c:pt>
                <c:pt idx="15885">
                  <c:v>59464</c:v>
                </c:pt>
                <c:pt idx="15886">
                  <c:v>118646</c:v>
                </c:pt>
                <c:pt idx="15887">
                  <c:v>50424</c:v>
                </c:pt>
                <c:pt idx="15888">
                  <c:v>31146</c:v>
                </c:pt>
                <c:pt idx="15889">
                  <c:v>37881</c:v>
                </c:pt>
                <c:pt idx="15890">
                  <c:v>87554</c:v>
                </c:pt>
                <c:pt idx="15891">
                  <c:v>52404</c:v>
                </c:pt>
                <c:pt idx="15892">
                  <c:v>193525</c:v>
                </c:pt>
                <c:pt idx="15893">
                  <c:v>26585</c:v>
                </c:pt>
                <c:pt idx="15894">
                  <c:v>64676</c:v>
                </c:pt>
                <c:pt idx="15895">
                  <c:v>34656</c:v>
                </c:pt>
                <c:pt idx="15896">
                  <c:v>74023</c:v>
                </c:pt>
                <c:pt idx="15897">
                  <c:v>104406</c:v>
                </c:pt>
                <c:pt idx="15898">
                  <c:v>47577</c:v>
                </c:pt>
                <c:pt idx="15899">
                  <c:v>257710</c:v>
                </c:pt>
                <c:pt idx="15900">
                  <c:v>31377</c:v>
                </c:pt>
                <c:pt idx="15901">
                  <c:v>45284</c:v>
                </c:pt>
                <c:pt idx="15902">
                  <c:v>157378</c:v>
                </c:pt>
                <c:pt idx="15903">
                  <c:v>28293</c:v>
                </c:pt>
                <c:pt idx="15904">
                  <c:v>33157</c:v>
                </c:pt>
                <c:pt idx="15905">
                  <c:v>255662</c:v>
                </c:pt>
                <c:pt idx="15906">
                  <c:v>34195</c:v>
                </c:pt>
                <c:pt idx="15907">
                  <c:v>168112</c:v>
                </c:pt>
                <c:pt idx="15908">
                  <c:v>64598</c:v>
                </c:pt>
                <c:pt idx="15909">
                  <c:v>105418</c:v>
                </c:pt>
                <c:pt idx="15910">
                  <c:v>102170</c:v>
                </c:pt>
                <c:pt idx="15911">
                  <c:v>27625</c:v>
                </c:pt>
                <c:pt idx="15912">
                  <c:v>129182</c:v>
                </c:pt>
                <c:pt idx="15913">
                  <c:v>43498</c:v>
                </c:pt>
                <c:pt idx="15914">
                  <c:v>39495</c:v>
                </c:pt>
                <c:pt idx="15915">
                  <c:v>47259</c:v>
                </c:pt>
                <c:pt idx="15916">
                  <c:v>49410</c:v>
                </c:pt>
                <c:pt idx="15917">
                  <c:v>36364</c:v>
                </c:pt>
                <c:pt idx="15918">
                  <c:v>65172</c:v>
                </c:pt>
                <c:pt idx="15919">
                  <c:v>157363</c:v>
                </c:pt>
                <c:pt idx="15920">
                  <c:v>35515</c:v>
                </c:pt>
                <c:pt idx="15921">
                  <c:v>69239</c:v>
                </c:pt>
                <c:pt idx="15922">
                  <c:v>31564</c:v>
                </c:pt>
                <c:pt idx="15923">
                  <c:v>43010</c:v>
                </c:pt>
                <c:pt idx="15924">
                  <c:v>40987</c:v>
                </c:pt>
                <c:pt idx="15925">
                  <c:v>25449</c:v>
                </c:pt>
                <c:pt idx="15926">
                  <c:v>142281</c:v>
                </c:pt>
                <c:pt idx="15927">
                  <c:v>38029</c:v>
                </c:pt>
                <c:pt idx="15928">
                  <c:v>40999</c:v>
                </c:pt>
                <c:pt idx="15929">
                  <c:v>128206</c:v>
                </c:pt>
                <c:pt idx="15930">
                  <c:v>34656</c:v>
                </c:pt>
                <c:pt idx="15931">
                  <c:v>33895</c:v>
                </c:pt>
                <c:pt idx="15932">
                  <c:v>23609</c:v>
                </c:pt>
                <c:pt idx="15933">
                  <c:v>157231</c:v>
                </c:pt>
                <c:pt idx="15934">
                  <c:v>22093</c:v>
                </c:pt>
                <c:pt idx="15935">
                  <c:v>35972</c:v>
                </c:pt>
                <c:pt idx="15936">
                  <c:v>84549</c:v>
                </c:pt>
                <c:pt idx="15937">
                  <c:v>37023</c:v>
                </c:pt>
                <c:pt idx="15938">
                  <c:v>24344</c:v>
                </c:pt>
                <c:pt idx="15939">
                  <c:v>34800</c:v>
                </c:pt>
                <c:pt idx="15940">
                  <c:v>44744</c:v>
                </c:pt>
                <c:pt idx="15941">
                  <c:v>31806</c:v>
                </c:pt>
                <c:pt idx="15942">
                  <c:v>45415</c:v>
                </c:pt>
                <c:pt idx="15943">
                  <c:v>136563</c:v>
                </c:pt>
                <c:pt idx="15944">
                  <c:v>77270</c:v>
                </c:pt>
                <c:pt idx="15945">
                  <c:v>37708</c:v>
                </c:pt>
                <c:pt idx="15946">
                  <c:v>31495</c:v>
                </c:pt>
                <c:pt idx="15947">
                  <c:v>267666</c:v>
                </c:pt>
                <c:pt idx="15948">
                  <c:v>41082</c:v>
                </c:pt>
                <c:pt idx="15949">
                  <c:v>79078</c:v>
                </c:pt>
                <c:pt idx="15950">
                  <c:v>116302</c:v>
                </c:pt>
                <c:pt idx="15951">
                  <c:v>43179</c:v>
                </c:pt>
                <c:pt idx="15952">
                  <c:v>55101</c:v>
                </c:pt>
                <c:pt idx="15953">
                  <c:v>44996</c:v>
                </c:pt>
                <c:pt idx="15954">
                  <c:v>28102</c:v>
                </c:pt>
                <c:pt idx="15955">
                  <c:v>28752</c:v>
                </c:pt>
                <c:pt idx="15956">
                  <c:v>42843</c:v>
                </c:pt>
                <c:pt idx="15957">
                  <c:v>63214</c:v>
                </c:pt>
                <c:pt idx="15958">
                  <c:v>60300</c:v>
                </c:pt>
                <c:pt idx="15959">
                  <c:v>94134</c:v>
                </c:pt>
                <c:pt idx="15960">
                  <c:v>30503</c:v>
                </c:pt>
                <c:pt idx="15961">
                  <c:v>31953</c:v>
                </c:pt>
                <c:pt idx="15962">
                  <c:v>26094</c:v>
                </c:pt>
                <c:pt idx="15963">
                  <c:v>33954</c:v>
                </c:pt>
                <c:pt idx="15964">
                  <c:v>25367</c:v>
                </c:pt>
                <c:pt idx="15965">
                  <c:v>113500</c:v>
                </c:pt>
                <c:pt idx="15966">
                  <c:v>80023</c:v>
                </c:pt>
                <c:pt idx="15967">
                  <c:v>34499</c:v>
                </c:pt>
                <c:pt idx="15968">
                  <c:v>103693</c:v>
                </c:pt>
                <c:pt idx="15969">
                  <c:v>28893</c:v>
                </c:pt>
                <c:pt idx="15970">
                  <c:v>103528</c:v>
                </c:pt>
                <c:pt idx="15971">
                  <c:v>117703</c:v>
                </c:pt>
                <c:pt idx="15972">
                  <c:v>70765</c:v>
                </c:pt>
                <c:pt idx="15973">
                  <c:v>66089</c:v>
                </c:pt>
                <c:pt idx="15974">
                  <c:v>25499</c:v>
                </c:pt>
                <c:pt idx="15975">
                  <c:v>57095</c:v>
                </c:pt>
                <c:pt idx="15976">
                  <c:v>28127</c:v>
                </c:pt>
                <c:pt idx="15977">
                  <c:v>47797</c:v>
                </c:pt>
                <c:pt idx="15978">
                  <c:v>39007</c:v>
                </c:pt>
                <c:pt idx="15979">
                  <c:v>70071</c:v>
                </c:pt>
                <c:pt idx="15980">
                  <c:v>35927</c:v>
                </c:pt>
                <c:pt idx="15981">
                  <c:v>201163</c:v>
                </c:pt>
                <c:pt idx="15982">
                  <c:v>40066</c:v>
                </c:pt>
                <c:pt idx="15983">
                  <c:v>25579</c:v>
                </c:pt>
                <c:pt idx="15984">
                  <c:v>173081</c:v>
                </c:pt>
                <c:pt idx="15985">
                  <c:v>27138</c:v>
                </c:pt>
                <c:pt idx="15986">
                  <c:v>35733</c:v>
                </c:pt>
                <c:pt idx="15987">
                  <c:v>121947</c:v>
                </c:pt>
                <c:pt idx="15988">
                  <c:v>49383</c:v>
                </c:pt>
                <c:pt idx="15989">
                  <c:v>72093</c:v>
                </c:pt>
                <c:pt idx="15990">
                  <c:v>42821</c:v>
                </c:pt>
                <c:pt idx="15991">
                  <c:v>35807</c:v>
                </c:pt>
                <c:pt idx="15992">
                  <c:v>40984</c:v>
                </c:pt>
                <c:pt idx="15993">
                  <c:v>36360</c:v>
                </c:pt>
                <c:pt idx="15994">
                  <c:v>29491</c:v>
                </c:pt>
                <c:pt idx="15995">
                  <c:v>46511</c:v>
                </c:pt>
                <c:pt idx="15996">
                  <c:v>90797</c:v>
                </c:pt>
                <c:pt idx="15997">
                  <c:v>58175</c:v>
                </c:pt>
                <c:pt idx="15998">
                  <c:v>130731</c:v>
                </c:pt>
                <c:pt idx="15999">
                  <c:v>41446</c:v>
                </c:pt>
                <c:pt idx="16000">
                  <c:v>206206</c:v>
                </c:pt>
                <c:pt idx="16001">
                  <c:v>154500</c:v>
                </c:pt>
                <c:pt idx="16002">
                  <c:v>106813</c:v>
                </c:pt>
                <c:pt idx="16003">
                  <c:v>43226</c:v>
                </c:pt>
                <c:pt idx="16004">
                  <c:v>43429</c:v>
                </c:pt>
                <c:pt idx="16005">
                  <c:v>101674</c:v>
                </c:pt>
                <c:pt idx="16006">
                  <c:v>159682</c:v>
                </c:pt>
                <c:pt idx="16007">
                  <c:v>61894</c:v>
                </c:pt>
                <c:pt idx="16008">
                  <c:v>27748</c:v>
                </c:pt>
                <c:pt idx="16009">
                  <c:v>28102</c:v>
                </c:pt>
                <c:pt idx="16010">
                  <c:v>36883</c:v>
                </c:pt>
                <c:pt idx="16011">
                  <c:v>29257</c:v>
                </c:pt>
                <c:pt idx="16012">
                  <c:v>40858</c:v>
                </c:pt>
                <c:pt idx="16013">
                  <c:v>52374</c:v>
                </c:pt>
                <c:pt idx="16014">
                  <c:v>26789</c:v>
                </c:pt>
                <c:pt idx="16015">
                  <c:v>45755</c:v>
                </c:pt>
                <c:pt idx="16016">
                  <c:v>48125</c:v>
                </c:pt>
                <c:pt idx="16017">
                  <c:v>61539</c:v>
                </c:pt>
                <c:pt idx="16018">
                  <c:v>95645</c:v>
                </c:pt>
                <c:pt idx="16019">
                  <c:v>156790</c:v>
                </c:pt>
                <c:pt idx="16020">
                  <c:v>27208</c:v>
                </c:pt>
                <c:pt idx="16021">
                  <c:v>23606</c:v>
                </c:pt>
                <c:pt idx="16022">
                  <c:v>38047</c:v>
                </c:pt>
                <c:pt idx="16023">
                  <c:v>42191</c:v>
                </c:pt>
                <c:pt idx="16024">
                  <c:v>39097</c:v>
                </c:pt>
                <c:pt idx="16025">
                  <c:v>256852</c:v>
                </c:pt>
                <c:pt idx="16026">
                  <c:v>197222</c:v>
                </c:pt>
                <c:pt idx="16027">
                  <c:v>22268</c:v>
                </c:pt>
                <c:pt idx="16028">
                  <c:v>113315</c:v>
                </c:pt>
                <c:pt idx="16029">
                  <c:v>31772</c:v>
                </c:pt>
                <c:pt idx="16030">
                  <c:v>160263</c:v>
                </c:pt>
                <c:pt idx="16031">
                  <c:v>56140</c:v>
                </c:pt>
                <c:pt idx="16032">
                  <c:v>101718</c:v>
                </c:pt>
                <c:pt idx="16033">
                  <c:v>158053</c:v>
                </c:pt>
                <c:pt idx="16034">
                  <c:v>68283</c:v>
                </c:pt>
                <c:pt idx="16035">
                  <c:v>56496</c:v>
                </c:pt>
                <c:pt idx="16036">
                  <c:v>26140</c:v>
                </c:pt>
                <c:pt idx="16037">
                  <c:v>46225</c:v>
                </c:pt>
                <c:pt idx="16038">
                  <c:v>70023</c:v>
                </c:pt>
                <c:pt idx="16039">
                  <c:v>116810</c:v>
                </c:pt>
                <c:pt idx="16040">
                  <c:v>23216</c:v>
                </c:pt>
                <c:pt idx="16041">
                  <c:v>28272</c:v>
                </c:pt>
                <c:pt idx="16042">
                  <c:v>62491</c:v>
                </c:pt>
                <c:pt idx="16043">
                  <c:v>28249</c:v>
                </c:pt>
                <c:pt idx="16044">
                  <c:v>81238</c:v>
                </c:pt>
                <c:pt idx="16045">
                  <c:v>30755</c:v>
                </c:pt>
                <c:pt idx="16046">
                  <c:v>34495</c:v>
                </c:pt>
                <c:pt idx="16047">
                  <c:v>32247</c:v>
                </c:pt>
                <c:pt idx="16048">
                  <c:v>27406</c:v>
                </c:pt>
                <c:pt idx="16049">
                  <c:v>32957</c:v>
                </c:pt>
                <c:pt idx="16050">
                  <c:v>114515</c:v>
                </c:pt>
                <c:pt idx="16051">
                  <c:v>35729</c:v>
                </c:pt>
                <c:pt idx="16052">
                  <c:v>107799</c:v>
                </c:pt>
                <c:pt idx="16053">
                  <c:v>30353</c:v>
                </c:pt>
                <c:pt idx="16054">
                  <c:v>48867</c:v>
                </c:pt>
                <c:pt idx="16055">
                  <c:v>47947</c:v>
                </c:pt>
                <c:pt idx="16056">
                  <c:v>38703</c:v>
                </c:pt>
                <c:pt idx="16057">
                  <c:v>32274</c:v>
                </c:pt>
                <c:pt idx="16058">
                  <c:v>31611</c:v>
                </c:pt>
                <c:pt idx="16059">
                  <c:v>60142</c:v>
                </c:pt>
                <c:pt idx="16060">
                  <c:v>81242</c:v>
                </c:pt>
                <c:pt idx="16061">
                  <c:v>26437</c:v>
                </c:pt>
                <c:pt idx="16062">
                  <c:v>73524</c:v>
                </c:pt>
                <c:pt idx="16063">
                  <c:v>45330</c:v>
                </c:pt>
                <c:pt idx="16064">
                  <c:v>49462</c:v>
                </c:pt>
                <c:pt idx="16065">
                  <c:v>30823</c:v>
                </c:pt>
                <c:pt idx="16066">
                  <c:v>217986</c:v>
                </c:pt>
                <c:pt idx="16067">
                  <c:v>40217</c:v>
                </c:pt>
                <c:pt idx="16068">
                  <c:v>143613</c:v>
                </c:pt>
                <c:pt idx="16069">
                  <c:v>42935</c:v>
                </c:pt>
                <c:pt idx="16070">
                  <c:v>167434</c:v>
                </c:pt>
                <c:pt idx="16071">
                  <c:v>28191</c:v>
                </c:pt>
                <c:pt idx="16072">
                  <c:v>37487</c:v>
                </c:pt>
                <c:pt idx="16073">
                  <c:v>34199</c:v>
                </c:pt>
                <c:pt idx="16074">
                  <c:v>93295</c:v>
                </c:pt>
                <c:pt idx="16075">
                  <c:v>27050</c:v>
                </c:pt>
                <c:pt idx="16076">
                  <c:v>128023</c:v>
                </c:pt>
                <c:pt idx="16077">
                  <c:v>43180</c:v>
                </c:pt>
                <c:pt idx="16078">
                  <c:v>153240</c:v>
                </c:pt>
                <c:pt idx="16079">
                  <c:v>75948</c:v>
                </c:pt>
                <c:pt idx="16080">
                  <c:v>35806</c:v>
                </c:pt>
                <c:pt idx="16081">
                  <c:v>37114</c:v>
                </c:pt>
                <c:pt idx="16082">
                  <c:v>39225</c:v>
                </c:pt>
                <c:pt idx="16083">
                  <c:v>34915</c:v>
                </c:pt>
                <c:pt idx="16084">
                  <c:v>94812</c:v>
                </c:pt>
                <c:pt idx="16085">
                  <c:v>38940</c:v>
                </c:pt>
                <c:pt idx="16086">
                  <c:v>23762</c:v>
                </c:pt>
                <c:pt idx="16087">
                  <c:v>208066</c:v>
                </c:pt>
                <c:pt idx="16088">
                  <c:v>38148</c:v>
                </c:pt>
                <c:pt idx="16089">
                  <c:v>18618</c:v>
                </c:pt>
                <c:pt idx="16090">
                  <c:v>18938</c:v>
                </c:pt>
                <c:pt idx="16091">
                  <c:v>25684</c:v>
                </c:pt>
                <c:pt idx="16092">
                  <c:v>35641</c:v>
                </c:pt>
                <c:pt idx="16093">
                  <c:v>139918</c:v>
                </c:pt>
                <c:pt idx="16094">
                  <c:v>42911</c:v>
                </c:pt>
                <c:pt idx="16095">
                  <c:v>46207</c:v>
                </c:pt>
                <c:pt idx="16096">
                  <c:v>95130</c:v>
                </c:pt>
                <c:pt idx="16097">
                  <c:v>41882</c:v>
                </c:pt>
                <c:pt idx="16098">
                  <c:v>54453</c:v>
                </c:pt>
                <c:pt idx="16099">
                  <c:v>73913</c:v>
                </c:pt>
                <c:pt idx="16100">
                  <c:v>24477</c:v>
                </c:pt>
                <c:pt idx="16101">
                  <c:v>36898</c:v>
                </c:pt>
                <c:pt idx="16102">
                  <c:v>98459</c:v>
                </c:pt>
                <c:pt idx="16103">
                  <c:v>25196</c:v>
                </c:pt>
                <c:pt idx="16104">
                  <c:v>30209</c:v>
                </c:pt>
                <c:pt idx="16105">
                  <c:v>65966</c:v>
                </c:pt>
                <c:pt idx="16106">
                  <c:v>84634</c:v>
                </c:pt>
                <c:pt idx="16107">
                  <c:v>29540</c:v>
                </c:pt>
                <c:pt idx="16108">
                  <c:v>28034</c:v>
                </c:pt>
                <c:pt idx="16109">
                  <c:v>33070</c:v>
                </c:pt>
                <c:pt idx="16110">
                  <c:v>38049</c:v>
                </c:pt>
                <c:pt idx="16111">
                  <c:v>39864</c:v>
                </c:pt>
                <c:pt idx="16112">
                  <c:v>38772</c:v>
                </c:pt>
                <c:pt idx="16113">
                  <c:v>71767</c:v>
                </c:pt>
                <c:pt idx="16114">
                  <c:v>217748</c:v>
                </c:pt>
                <c:pt idx="16115">
                  <c:v>85291</c:v>
                </c:pt>
                <c:pt idx="16116">
                  <c:v>34717</c:v>
                </c:pt>
                <c:pt idx="16117">
                  <c:v>64795</c:v>
                </c:pt>
                <c:pt idx="16118">
                  <c:v>56107</c:v>
                </c:pt>
                <c:pt idx="16119">
                  <c:v>82977</c:v>
                </c:pt>
                <c:pt idx="16120">
                  <c:v>63852</c:v>
                </c:pt>
                <c:pt idx="16121">
                  <c:v>99901</c:v>
                </c:pt>
                <c:pt idx="16122">
                  <c:v>29337</c:v>
                </c:pt>
                <c:pt idx="16123">
                  <c:v>132542</c:v>
                </c:pt>
                <c:pt idx="16124">
                  <c:v>76716</c:v>
                </c:pt>
                <c:pt idx="16125">
                  <c:v>45656</c:v>
                </c:pt>
                <c:pt idx="16126">
                  <c:v>37426</c:v>
                </c:pt>
                <c:pt idx="16127">
                  <c:v>73026</c:v>
                </c:pt>
                <c:pt idx="16128">
                  <c:v>21814</c:v>
                </c:pt>
                <c:pt idx="16129">
                  <c:v>110902</c:v>
                </c:pt>
                <c:pt idx="16130">
                  <c:v>39802</c:v>
                </c:pt>
                <c:pt idx="16131">
                  <c:v>147124</c:v>
                </c:pt>
                <c:pt idx="16132">
                  <c:v>50176</c:v>
                </c:pt>
                <c:pt idx="16133">
                  <c:v>49702</c:v>
                </c:pt>
                <c:pt idx="16134">
                  <c:v>27035</c:v>
                </c:pt>
                <c:pt idx="16135">
                  <c:v>156518</c:v>
                </c:pt>
                <c:pt idx="16136">
                  <c:v>58731</c:v>
                </c:pt>
                <c:pt idx="16137">
                  <c:v>35797</c:v>
                </c:pt>
                <c:pt idx="16138">
                  <c:v>47059</c:v>
                </c:pt>
                <c:pt idx="16139">
                  <c:v>238000</c:v>
                </c:pt>
                <c:pt idx="16140">
                  <c:v>19551</c:v>
                </c:pt>
                <c:pt idx="16141">
                  <c:v>39114</c:v>
                </c:pt>
                <c:pt idx="16142">
                  <c:v>48988</c:v>
                </c:pt>
                <c:pt idx="16143">
                  <c:v>309210</c:v>
                </c:pt>
                <c:pt idx="16144">
                  <c:v>24652</c:v>
                </c:pt>
                <c:pt idx="16145">
                  <c:v>70435</c:v>
                </c:pt>
                <c:pt idx="16146">
                  <c:v>78345</c:v>
                </c:pt>
                <c:pt idx="16147">
                  <c:v>26780</c:v>
                </c:pt>
                <c:pt idx="16148">
                  <c:v>38061</c:v>
                </c:pt>
                <c:pt idx="16149">
                  <c:v>40388</c:v>
                </c:pt>
                <c:pt idx="16150">
                  <c:v>66181</c:v>
                </c:pt>
                <c:pt idx="16151">
                  <c:v>70985</c:v>
                </c:pt>
                <c:pt idx="16152">
                  <c:v>43144</c:v>
                </c:pt>
                <c:pt idx="16153">
                  <c:v>198549</c:v>
                </c:pt>
                <c:pt idx="16154">
                  <c:v>34618</c:v>
                </c:pt>
                <c:pt idx="16155">
                  <c:v>28372</c:v>
                </c:pt>
                <c:pt idx="16156">
                  <c:v>53487</c:v>
                </c:pt>
                <c:pt idx="16157">
                  <c:v>138011</c:v>
                </c:pt>
                <c:pt idx="16158">
                  <c:v>22718</c:v>
                </c:pt>
                <c:pt idx="16159">
                  <c:v>54401</c:v>
                </c:pt>
                <c:pt idx="16160">
                  <c:v>103425</c:v>
                </c:pt>
                <c:pt idx="16161">
                  <c:v>99416</c:v>
                </c:pt>
                <c:pt idx="16162">
                  <c:v>31604</c:v>
                </c:pt>
                <c:pt idx="16163">
                  <c:v>43338</c:v>
                </c:pt>
                <c:pt idx="16164">
                  <c:v>121082</c:v>
                </c:pt>
                <c:pt idx="16165">
                  <c:v>101334</c:v>
                </c:pt>
                <c:pt idx="16166">
                  <c:v>112036</c:v>
                </c:pt>
                <c:pt idx="16167">
                  <c:v>24147</c:v>
                </c:pt>
                <c:pt idx="16168">
                  <c:v>73307</c:v>
                </c:pt>
                <c:pt idx="16169">
                  <c:v>50991</c:v>
                </c:pt>
                <c:pt idx="16170">
                  <c:v>30697</c:v>
                </c:pt>
                <c:pt idx="16171">
                  <c:v>36940</c:v>
                </c:pt>
                <c:pt idx="16172">
                  <c:v>84726</c:v>
                </c:pt>
                <c:pt idx="16173">
                  <c:v>78123</c:v>
                </c:pt>
                <c:pt idx="16174">
                  <c:v>43242</c:v>
                </c:pt>
                <c:pt idx="16175">
                  <c:v>36753</c:v>
                </c:pt>
                <c:pt idx="16176">
                  <c:v>31359</c:v>
                </c:pt>
                <c:pt idx="16177">
                  <c:v>68366</c:v>
                </c:pt>
                <c:pt idx="16178">
                  <c:v>66129</c:v>
                </c:pt>
                <c:pt idx="16179">
                  <c:v>97441</c:v>
                </c:pt>
                <c:pt idx="16180">
                  <c:v>48401</c:v>
                </c:pt>
                <c:pt idx="16181">
                  <c:v>78022</c:v>
                </c:pt>
                <c:pt idx="16182">
                  <c:v>107014</c:v>
                </c:pt>
                <c:pt idx="16183">
                  <c:v>104245</c:v>
                </c:pt>
                <c:pt idx="16184">
                  <c:v>35292</c:v>
                </c:pt>
                <c:pt idx="16185">
                  <c:v>38708</c:v>
                </c:pt>
                <c:pt idx="16186">
                  <c:v>40315</c:v>
                </c:pt>
                <c:pt idx="16187">
                  <c:v>200071</c:v>
                </c:pt>
                <c:pt idx="16188">
                  <c:v>58467</c:v>
                </c:pt>
                <c:pt idx="16189">
                  <c:v>122299</c:v>
                </c:pt>
                <c:pt idx="16190">
                  <c:v>30371</c:v>
                </c:pt>
                <c:pt idx="16191">
                  <c:v>290022</c:v>
                </c:pt>
                <c:pt idx="16192">
                  <c:v>24671</c:v>
                </c:pt>
                <c:pt idx="16193">
                  <c:v>40308</c:v>
                </c:pt>
                <c:pt idx="16194">
                  <c:v>27531</c:v>
                </c:pt>
                <c:pt idx="16195">
                  <c:v>104761</c:v>
                </c:pt>
                <c:pt idx="16196">
                  <c:v>27287</c:v>
                </c:pt>
                <c:pt idx="16197">
                  <c:v>52858</c:v>
                </c:pt>
                <c:pt idx="16198">
                  <c:v>114171</c:v>
                </c:pt>
                <c:pt idx="16199">
                  <c:v>51535</c:v>
                </c:pt>
                <c:pt idx="16200">
                  <c:v>95086</c:v>
                </c:pt>
                <c:pt idx="16201">
                  <c:v>204895</c:v>
                </c:pt>
                <c:pt idx="16202">
                  <c:v>43187</c:v>
                </c:pt>
                <c:pt idx="16203">
                  <c:v>233458</c:v>
                </c:pt>
                <c:pt idx="16204">
                  <c:v>330842</c:v>
                </c:pt>
                <c:pt idx="16205">
                  <c:v>35765</c:v>
                </c:pt>
                <c:pt idx="16206">
                  <c:v>242917</c:v>
                </c:pt>
                <c:pt idx="16207">
                  <c:v>90255</c:v>
                </c:pt>
                <c:pt idx="16208">
                  <c:v>114989</c:v>
                </c:pt>
                <c:pt idx="16209">
                  <c:v>74691</c:v>
                </c:pt>
                <c:pt idx="16210">
                  <c:v>34879</c:v>
                </c:pt>
                <c:pt idx="16211">
                  <c:v>165631</c:v>
                </c:pt>
                <c:pt idx="16212">
                  <c:v>51071</c:v>
                </c:pt>
                <c:pt idx="16213">
                  <c:v>33914</c:v>
                </c:pt>
                <c:pt idx="16214">
                  <c:v>53306</c:v>
                </c:pt>
                <c:pt idx="16215">
                  <c:v>39751</c:v>
                </c:pt>
                <c:pt idx="16216">
                  <c:v>34594</c:v>
                </c:pt>
                <c:pt idx="16217">
                  <c:v>29602</c:v>
                </c:pt>
                <c:pt idx="16218">
                  <c:v>249463</c:v>
                </c:pt>
                <c:pt idx="16219">
                  <c:v>33691</c:v>
                </c:pt>
                <c:pt idx="16220">
                  <c:v>35437</c:v>
                </c:pt>
                <c:pt idx="16221">
                  <c:v>68886</c:v>
                </c:pt>
                <c:pt idx="16222">
                  <c:v>49692</c:v>
                </c:pt>
                <c:pt idx="16223">
                  <c:v>72360</c:v>
                </c:pt>
                <c:pt idx="16224">
                  <c:v>43153</c:v>
                </c:pt>
                <c:pt idx="16225">
                  <c:v>68757</c:v>
                </c:pt>
                <c:pt idx="16226">
                  <c:v>31703</c:v>
                </c:pt>
                <c:pt idx="16227">
                  <c:v>43442</c:v>
                </c:pt>
                <c:pt idx="16228">
                  <c:v>61286</c:v>
                </c:pt>
                <c:pt idx="16229">
                  <c:v>28098</c:v>
                </c:pt>
                <c:pt idx="16230">
                  <c:v>25974</c:v>
                </c:pt>
                <c:pt idx="16231">
                  <c:v>78435</c:v>
                </c:pt>
                <c:pt idx="16232">
                  <c:v>28102</c:v>
                </c:pt>
                <c:pt idx="16233">
                  <c:v>63050</c:v>
                </c:pt>
                <c:pt idx="16234">
                  <c:v>24838</c:v>
                </c:pt>
                <c:pt idx="16235">
                  <c:v>39190</c:v>
                </c:pt>
                <c:pt idx="16236">
                  <c:v>31891</c:v>
                </c:pt>
                <c:pt idx="16237">
                  <c:v>56683</c:v>
                </c:pt>
                <c:pt idx="16238">
                  <c:v>76166</c:v>
                </c:pt>
                <c:pt idx="16239">
                  <c:v>73492</c:v>
                </c:pt>
                <c:pt idx="16240">
                  <c:v>50427</c:v>
                </c:pt>
                <c:pt idx="16241">
                  <c:v>89853</c:v>
                </c:pt>
                <c:pt idx="16242">
                  <c:v>22533</c:v>
                </c:pt>
                <c:pt idx="16243">
                  <c:v>117436</c:v>
                </c:pt>
                <c:pt idx="16244">
                  <c:v>87202</c:v>
                </c:pt>
                <c:pt idx="16245">
                  <c:v>41125</c:v>
                </c:pt>
                <c:pt idx="16246">
                  <c:v>64875</c:v>
                </c:pt>
                <c:pt idx="16247">
                  <c:v>27850</c:v>
                </c:pt>
                <c:pt idx="16248">
                  <c:v>49019</c:v>
                </c:pt>
                <c:pt idx="16249">
                  <c:v>99589</c:v>
                </c:pt>
                <c:pt idx="16250">
                  <c:v>26697</c:v>
                </c:pt>
                <c:pt idx="16251">
                  <c:v>25449</c:v>
                </c:pt>
                <c:pt idx="16252">
                  <c:v>36527</c:v>
                </c:pt>
                <c:pt idx="16253">
                  <c:v>86220</c:v>
                </c:pt>
                <c:pt idx="16254">
                  <c:v>60518</c:v>
                </c:pt>
                <c:pt idx="16255">
                  <c:v>46758</c:v>
                </c:pt>
                <c:pt idx="16256">
                  <c:v>60586</c:v>
                </c:pt>
                <c:pt idx="16257">
                  <c:v>46489</c:v>
                </c:pt>
                <c:pt idx="16258">
                  <c:v>63635</c:v>
                </c:pt>
                <c:pt idx="16259">
                  <c:v>76918</c:v>
                </c:pt>
                <c:pt idx="16260">
                  <c:v>195273</c:v>
                </c:pt>
                <c:pt idx="16261">
                  <c:v>30721</c:v>
                </c:pt>
                <c:pt idx="16262">
                  <c:v>24804</c:v>
                </c:pt>
                <c:pt idx="16263">
                  <c:v>95276</c:v>
                </c:pt>
                <c:pt idx="16264">
                  <c:v>35254</c:v>
                </c:pt>
                <c:pt idx="16265">
                  <c:v>23660</c:v>
                </c:pt>
                <c:pt idx="16266">
                  <c:v>43726</c:v>
                </c:pt>
                <c:pt idx="16267">
                  <c:v>118595</c:v>
                </c:pt>
                <c:pt idx="16268">
                  <c:v>81407</c:v>
                </c:pt>
                <c:pt idx="16269">
                  <c:v>46022</c:v>
                </c:pt>
                <c:pt idx="16270">
                  <c:v>32404</c:v>
                </c:pt>
                <c:pt idx="16271">
                  <c:v>90079</c:v>
                </c:pt>
                <c:pt idx="16272">
                  <c:v>46388</c:v>
                </c:pt>
                <c:pt idx="16273">
                  <c:v>31836</c:v>
                </c:pt>
                <c:pt idx="16274">
                  <c:v>31091</c:v>
                </c:pt>
                <c:pt idx="16275">
                  <c:v>292371</c:v>
                </c:pt>
                <c:pt idx="16276">
                  <c:v>31288</c:v>
                </c:pt>
                <c:pt idx="16277">
                  <c:v>34806</c:v>
                </c:pt>
                <c:pt idx="16278">
                  <c:v>61306</c:v>
                </c:pt>
                <c:pt idx="16279">
                  <c:v>32877</c:v>
                </c:pt>
                <c:pt idx="16280">
                  <c:v>36607</c:v>
                </c:pt>
                <c:pt idx="16281">
                  <c:v>43013</c:v>
                </c:pt>
                <c:pt idx="16282">
                  <c:v>27974</c:v>
                </c:pt>
                <c:pt idx="16283">
                  <c:v>66713</c:v>
                </c:pt>
                <c:pt idx="16284">
                  <c:v>21947</c:v>
                </c:pt>
                <c:pt idx="16285">
                  <c:v>31143</c:v>
                </c:pt>
                <c:pt idx="16286">
                  <c:v>31016</c:v>
                </c:pt>
                <c:pt idx="16287">
                  <c:v>30876</c:v>
                </c:pt>
                <c:pt idx="16288">
                  <c:v>44014</c:v>
                </c:pt>
                <c:pt idx="16289">
                  <c:v>20269</c:v>
                </c:pt>
                <c:pt idx="16290">
                  <c:v>60505</c:v>
                </c:pt>
                <c:pt idx="16291">
                  <c:v>71917</c:v>
                </c:pt>
                <c:pt idx="16292">
                  <c:v>121597</c:v>
                </c:pt>
                <c:pt idx="16293">
                  <c:v>149811</c:v>
                </c:pt>
                <c:pt idx="16294">
                  <c:v>31583</c:v>
                </c:pt>
                <c:pt idx="16295">
                  <c:v>82224</c:v>
                </c:pt>
                <c:pt idx="16296">
                  <c:v>258092</c:v>
                </c:pt>
                <c:pt idx="16297">
                  <c:v>37585</c:v>
                </c:pt>
                <c:pt idx="16298">
                  <c:v>37082</c:v>
                </c:pt>
                <c:pt idx="16299">
                  <c:v>78496</c:v>
                </c:pt>
                <c:pt idx="16300">
                  <c:v>33023</c:v>
                </c:pt>
                <c:pt idx="16301">
                  <c:v>47443</c:v>
                </c:pt>
                <c:pt idx="16302">
                  <c:v>29595</c:v>
                </c:pt>
                <c:pt idx="16303">
                  <c:v>28150</c:v>
                </c:pt>
                <c:pt idx="16304">
                  <c:v>35534</c:v>
                </c:pt>
                <c:pt idx="16305">
                  <c:v>208669</c:v>
                </c:pt>
                <c:pt idx="16306">
                  <c:v>87451</c:v>
                </c:pt>
                <c:pt idx="16307">
                  <c:v>37168</c:v>
                </c:pt>
                <c:pt idx="16308">
                  <c:v>50473</c:v>
                </c:pt>
                <c:pt idx="16309">
                  <c:v>38264</c:v>
                </c:pt>
                <c:pt idx="16310">
                  <c:v>33280</c:v>
                </c:pt>
                <c:pt idx="16311">
                  <c:v>22762</c:v>
                </c:pt>
                <c:pt idx="16312">
                  <c:v>162428</c:v>
                </c:pt>
                <c:pt idx="16313">
                  <c:v>103368</c:v>
                </c:pt>
                <c:pt idx="16314">
                  <c:v>43278</c:v>
                </c:pt>
                <c:pt idx="16315">
                  <c:v>22929</c:v>
                </c:pt>
                <c:pt idx="16316">
                  <c:v>114216</c:v>
                </c:pt>
                <c:pt idx="16317">
                  <c:v>27986</c:v>
                </c:pt>
                <c:pt idx="16318">
                  <c:v>127632</c:v>
                </c:pt>
                <c:pt idx="16319">
                  <c:v>41472</c:v>
                </c:pt>
                <c:pt idx="16320">
                  <c:v>49338</c:v>
                </c:pt>
                <c:pt idx="16321">
                  <c:v>25614</c:v>
                </c:pt>
                <c:pt idx="16322">
                  <c:v>37255</c:v>
                </c:pt>
                <c:pt idx="16323">
                  <c:v>78730</c:v>
                </c:pt>
                <c:pt idx="16324">
                  <c:v>27220</c:v>
                </c:pt>
                <c:pt idx="16325">
                  <c:v>83953</c:v>
                </c:pt>
                <c:pt idx="16326">
                  <c:v>49669</c:v>
                </c:pt>
                <c:pt idx="16327">
                  <c:v>34776</c:v>
                </c:pt>
                <c:pt idx="16328">
                  <c:v>40412</c:v>
                </c:pt>
                <c:pt idx="16329">
                  <c:v>80312</c:v>
                </c:pt>
                <c:pt idx="16330">
                  <c:v>21895</c:v>
                </c:pt>
                <c:pt idx="16331">
                  <c:v>34586</c:v>
                </c:pt>
                <c:pt idx="16332">
                  <c:v>27830</c:v>
                </c:pt>
                <c:pt idx="16333">
                  <c:v>28636</c:v>
                </c:pt>
                <c:pt idx="16334">
                  <c:v>109017</c:v>
                </c:pt>
                <c:pt idx="16335">
                  <c:v>29058</c:v>
                </c:pt>
                <c:pt idx="16336">
                  <c:v>37540</c:v>
                </c:pt>
                <c:pt idx="16337">
                  <c:v>57484</c:v>
                </c:pt>
                <c:pt idx="16338">
                  <c:v>45716</c:v>
                </c:pt>
                <c:pt idx="16339">
                  <c:v>32213</c:v>
                </c:pt>
                <c:pt idx="16340">
                  <c:v>52082</c:v>
                </c:pt>
                <c:pt idx="16341">
                  <c:v>45698</c:v>
                </c:pt>
                <c:pt idx="16342">
                  <c:v>55514</c:v>
                </c:pt>
                <c:pt idx="16343">
                  <c:v>31293</c:v>
                </c:pt>
                <c:pt idx="16344">
                  <c:v>248828</c:v>
                </c:pt>
                <c:pt idx="16345">
                  <c:v>41803</c:v>
                </c:pt>
                <c:pt idx="16346">
                  <c:v>41451</c:v>
                </c:pt>
                <c:pt idx="16347">
                  <c:v>35881</c:v>
                </c:pt>
                <c:pt idx="16348">
                  <c:v>59984</c:v>
                </c:pt>
                <c:pt idx="16349">
                  <c:v>35786</c:v>
                </c:pt>
                <c:pt idx="16350">
                  <c:v>89066</c:v>
                </c:pt>
                <c:pt idx="16351">
                  <c:v>46244</c:v>
                </c:pt>
                <c:pt idx="16352">
                  <c:v>111540</c:v>
                </c:pt>
                <c:pt idx="16353">
                  <c:v>39064</c:v>
                </c:pt>
                <c:pt idx="16354">
                  <c:v>35473</c:v>
                </c:pt>
                <c:pt idx="16355">
                  <c:v>39034</c:v>
                </c:pt>
                <c:pt idx="16356">
                  <c:v>45717</c:v>
                </c:pt>
                <c:pt idx="16357">
                  <c:v>23489</c:v>
                </c:pt>
                <c:pt idx="16358">
                  <c:v>35263</c:v>
                </c:pt>
                <c:pt idx="16359">
                  <c:v>22763</c:v>
                </c:pt>
                <c:pt idx="16360">
                  <c:v>38849</c:v>
                </c:pt>
                <c:pt idx="16361">
                  <c:v>38836</c:v>
                </c:pt>
                <c:pt idx="16362">
                  <c:v>130450</c:v>
                </c:pt>
                <c:pt idx="16363">
                  <c:v>125334</c:v>
                </c:pt>
                <c:pt idx="16364">
                  <c:v>80203</c:v>
                </c:pt>
                <c:pt idx="16365">
                  <c:v>33522</c:v>
                </c:pt>
                <c:pt idx="16366">
                  <c:v>33573</c:v>
                </c:pt>
                <c:pt idx="16367">
                  <c:v>33031</c:v>
                </c:pt>
                <c:pt idx="16368">
                  <c:v>33004</c:v>
                </c:pt>
                <c:pt idx="16369">
                  <c:v>28078</c:v>
                </c:pt>
                <c:pt idx="16370">
                  <c:v>41496</c:v>
                </c:pt>
                <c:pt idx="16371">
                  <c:v>155610</c:v>
                </c:pt>
                <c:pt idx="16372">
                  <c:v>30691</c:v>
                </c:pt>
                <c:pt idx="16373">
                  <c:v>36286</c:v>
                </c:pt>
                <c:pt idx="16374">
                  <c:v>37684</c:v>
                </c:pt>
                <c:pt idx="16375">
                  <c:v>24539</c:v>
                </c:pt>
                <c:pt idx="16376">
                  <c:v>42302</c:v>
                </c:pt>
                <c:pt idx="16377">
                  <c:v>23432</c:v>
                </c:pt>
                <c:pt idx="16378">
                  <c:v>37824</c:v>
                </c:pt>
                <c:pt idx="16379">
                  <c:v>26069</c:v>
                </c:pt>
                <c:pt idx="16380">
                  <c:v>42254</c:v>
                </c:pt>
                <c:pt idx="16381">
                  <c:v>37791</c:v>
                </c:pt>
                <c:pt idx="16382">
                  <c:v>89565</c:v>
                </c:pt>
                <c:pt idx="16383">
                  <c:v>37273</c:v>
                </c:pt>
                <c:pt idx="16384">
                  <c:v>27038</c:v>
                </c:pt>
                <c:pt idx="16385">
                  <c:v>32228</c:v>
                </c:pt>
                <c:pt idx="16386">
                  <c:v>32782</c:v>
                </c:pt>
                <c:pt idx="16387">
                  <c:v>36087</c:v>
                </c:pt>
                <c:pt idx="16388">
                  <c:v>54738</c:v>
                </c:pt>
                <c:pt idx="16389">
                  <c:v>38208</c:v>
                </c:pt>
                <c:pt idx="16390">
                  <c:v>74154</c:v>
                </c:pt>
                <c:pt idx="16391">
                  <c:v>135007</c:v>
                </c:pt>
                <c:pt idx="16392">
                  <c:v>46382</c:v>
                </c:pt>
                <c:pt idx="16393">
                  <c:v>37462</c:v>
                </c:pt>
                <c:pt idx="16394">
                  <c:v>35036</c:v>
                </c:pt>
                <c:pt idx="16395">
                  <c:v>84833</c:v>
                </c:pt>
                <c:pt idx="16396">
                  <c:v>30145</c:v>
                </c:pt>
                <c:pt idx="16397">
                  <c:v>56101</c:v>
                </c:pt>
                <c:pt idx="16398">
                  <c:v>84558</c:v>
                </c:pt>
                <c:pt idx="16399">
                  <c:v>35009</c:v>
                </c:pt>
                <c:pt idx="16400">
                  <c:v>48718</c:v>
                </c:pt>
                <c:pt idx="16401">
                  <c:v>32466</c:v>
                </c:pt>
                <c:pt idx="16402">
                  <c:v>40190</c:v>
                </c:pt>
                <c:pt idx="16403">
                  <c:v>33945</c:v>
                </c:pt>
                <c:pt idx="16404">
                  <c:v>79501</c:v>
                </c:pt>
                <c:pt idx="16405">
                  <c:v>50210</c:v>
                </c:pt>
                <c:pt idx="16406">
                  <c:v>46241</c:v>
                </c:pt>
                <c:pt idx="16407">
                  <c:v>30514</c:v>
                </c:pt>
                <c:pt idx="16408">
                  <c:v>23323</c:v>
                </c:pt>
                <c:pt idx="16409">
                  <c:v>149738</c:v>
                </c:pt>
                <c:pt idx="16410">
                  <c:v>44306</c:v>
                </c:pt>
                <c:pt idx="16411">
                  <c:v>39635</c:v>
                </c:pt>
                <c:pt idx="16412">
                  <c:v>60124</c:v>
                </c:pt>
                <c:pt idx="16413">
                  <c:v>23998</c:v>
                </c:pt>
                <c:pt idx="16414">
                  <c:v>135059</c:v>
                </c:pt>
                <c:pt idx="16415">
                  <c:v>46307</c:v>
                </c:pt>
                <c:pt idx="16416">
                  <c:v>53847</c:v>
                </c:pt>
                <c:pt idx="16417">
                  <c:v>44936</c:v>
                </c:pt>
                <c:pt idx="16418">
                  <c:v>27313</c:v>
                </c:pt>
                <c:pt idx="16419">
                  <c:v>66612</c:v>
                </c:pt>
                <c:pt idx="16420">
                  <c:v>37556</c:v>
                </c:pt>
                <c:pt idx="16421">
                  <c:v>32246</c:v>
                </c:pt>
                <c:pt idx="16422">
                  <c:v>30228</c:v>
                </c:pt>
                <c:pt idx="16423">
                  <c:v>52934</c:v>
                </c:pt>
                <c:pt idx="16424">
                  <c:v>73967</c:v>
                </c:pt>
                <c:pt idx="16425">
                  <c:v>29369</c:v>
                </c:pt>
                <c:pt idx="16426">
                  <c:v>58822</c:v>
                </c:pt>
                <c:pt idx="16427">
                  <c:v>28950</c:v>
                </c:pt>
                <c:pt idx="16428">
                  <c:v>38164</c:v>
                </c:pt>
                <c:pt idx="16429">
                  <c:v>92554</c:v>
                </c:pt>
                <c:pt idx="16430">
                  <c:v>26940</c:v>
                </c:pt>
                <c:pt idx="16431">
                  <c:v>53528</c:v>
                </c:pt>
                <c:pt idx="16432">
                  <c:v>53652</c:v>
                </c:pt>
                <c:pt idx="16433">
                  <c:v>35887</c:v>
                </c:pt>
                <c:pt idx="16434">
                  <c:v>47974</c:v>
                </c:pt>
                <c:pt idx="16435">
                  <c:v>114757</c:v>
                </c:pt>
                <c:pt idx="16436">
                  <c:v>40938</c:v>
                </c:pt>
                <c:pt idx="16437">
                  <c:v>26175</c:v>
                </c:pt>
                <c:pt idx="16438">
                  <c:v>62497</c:v>
                </c:pt>
                <c:pt idx="16439">
                  <c:v>31993</c:v>
                </c:pt>
                <c:pt idx="16440">
                  <c:v>52653</c:v>
                </c:pt>
                <c:pt idx="16441">
                  <c:v>139228</c:v>
                </c:pt>
                <c:pt idx="16442">
                  <c:v>43889</c:v>
                </c:pt>
                <c:pt idx="16443">
                  <c:v>24006</c:v>
                </c:pt>
                <c:pt idx="16444">
                  <c:v>26813</c:v>
                </c:pt>
                <c:pt idx="16445">
                  <c:v>42061</c:v>
                </c:pt>
                <c:pt idx="16446">
                  <c:v>90426</c:v>
                </c:pt>
                <c:pt idx="16447">
                  <c:v>62107</c:v>
                </c:pt>
                <c:pt idx="16448">
                  <c:v>33473</c:v>
                </c:pt>
                <c:pt idx="16449">
                  <c:v>192720</c:v>
                </c:pt>
                <c:pt idx="16450">
                  <c:v>30977</c:v>
                </c:pt>
                <c:pt idx="16451">
                  <c:v>35302</c:v>
                </c:pt>
                <c:pt idx="16452">
                  <c:v>23655</c:v>
                </c:pt>
                <c:pt idx="16453">
                  <c:v>33002</c:v>
                </c:pt>
                <c:pt idx="16454">
                  <c:v>41998</c:v>
                </c:pt>
                <c:pt idx="16455">
                  <c:v>68684</c:v>
                </c:pt>
                <c:pt idx="16456">
                  <c:v>94662</c:v>
                </c:pt>
                <c:pt idx="16457">
                  <c:v>39856</c:v>
                </c:pt>
                <c:pt idx="16458">
                  <c:v>44571</c:v>
                </c:pt>
                <c:pt idx="16459">
                  <c:v>39543</c:v>
                </c:pt>
                <c:pt idx="16460">
                  <c:v>32636</c:v>
                </c:pt>
                <c:pt idx="16461">
                  <c:v>44885</c:v>
                </c:pt>
                <c:pt idx="16462">
                  <c:v>87745</c:v>
                </c:pt>
                <c:pt idx="16463">
                  <c:v>21497</c:v>
                </c:pt>
                <c:pt idx="16464">
                  <c:v>55096</c:v>
                </c:pt>
                <c:pt idx="16465">
                  <c:v>35391</c:v>
                </c:pt>
                <c:pt idx="16466">
                  <c:v>58267</c:v>
                </c:pt>
                <c:pt idx="16467">
                  <c:v>40920</c:v>
                </c:pt>
                <c:pt idx="16468">
                  <c:v>289966</c:v>
                </c:pt>
                <c:pt idx="16469">
                  <c:v>24413</c:v>
                </c:pt>
                <c:pt idx="16470">
                  <c:v>35918</c:v>
                </c:pt>
                <c:pt idx="16471">
                  <c:v>45361</c:v>
                </c:pt>
                <c:pt idx="16472">
                  <c:v>59053</c:v>
                </c:pt>
                <c:pt idx="16473">
                  <c:v>47946</c:v>
                </c:pt>
                <c:pt idx="16474">
                  <c:v>68302</c:v>
                </c:pt>
                <c:pt idx="16475">
                  <c:v>33805</c:v>
                </c:pt>
                <c:pt idx="16476">
                  <c:v>41595</c:v>
                </c:pt>
                <c:pt idx="16477">
                  <c:v>150787</c:v>
                </c:pt>
                <c:pt idx="16478">
                  <c:v>40853</c:v>
                </c:pt>
                <c:pt idx="16479">
                  <c:v>44334</c:v>
                </c:pt>
                <c:pt idx="16480">
                  <c:v>41131</c:v>
                </c:pt>
                <c:pt idx="16481">
                  <c:v>76895</c:v>
                </c:pt>
                <c:pt idx="16482">
                  <c:v>30890</c:v>
                </c:pt>
                <c:pt idx="16483">
                  <c:v>30638</c:v>
                </c:pt>
                <c:pt idx="16484">
                  <c:v>37928</c:v>
                </c:pt>
                <c:pt idx="16485">
                  <c:v>39282</c:v>
                </c:pt>
                <c:pt idx="16486">
                  <c:v>44149</c:v>
                </c:pt>
                <c:pt idx="16487">
                  <c:v>40065</c:v>
                </c:pt>
                <c:pt idx="16488">
                  <c:v>50955</c:v>
                </c:pt>
                <c:pt idx="16489">
                  <c:v>40714</c:v>
                </c:pt>
                <c:pt idx="16490">
                  <c:v>54153</c:v>
                </c:pt>
                <c:pt idx="16491">
                  <c:v>51333</c:v>
                </c:pt>
                <c:pt idx="16492">
                  <c:v>111059</c:v>
                </c:pt>
                <c:pt idx="16493">
                  <c:v>178616</c:v>
                </c:pt>
                <c:pt idx="16494">
                  <c:v>81380</c:v>
                </c:pt>
                <c:pt idx="16495">
                  <c:v>25579</c:v>
                </c:pt>
                <c:pt idx="16496">
                  <c:v>28463</c:v>
                </c:pt>
                <c:pt idx="16497">
                  <c:v>73992</c:v>
                </c:pt>
                <c:pt idx="16498">
                  <c:v>97348</c:v>
                </c:pt>
                <c:pt idx="16499">
                  <c:v>56819</c:v>
                </c:pt>
                <c:pt idx="16500">
                  <c:v>32974</c:v>
                </c:pt>
                <c:pt idx="16501">
                  <c:v>29149</c:v>
                </c:pt>
                <c:pt idx="16502">
                  <c:v>93642</c:v>
                </c:pt>
                <c:pt idx="16503">
                  <c:v>39867</c:v>
                </c:pt>
                <c:pt idx="16504">
                  <c:v>129086</c:v>
                </c:pt>
                <c:pt idx="16505">
                  <c:v>37804</c:v>
                </c:pt>
                <c:pt idx="16506">
                  <c:v>38169</c:v>
                </c:pt>
                <c:pt idx="16507">
                  <c:v>21064</c:v>
                </c:pt>
                <c:pt idx="16508">
                  <c:v>26968</c:v>
                </c:pt>
                <c:pt idx="16509">
                  <c:v>57825</c:v>
                </c:pt>
                <c:pt idx="16510">
                  <c:v>89753</c:v>
                </c:pt>
                <c:pt idx="16511">
                  <c:v>41429</c:v>
                </c:pt>
                <c:pt idx="16512">
                  <c:v>38180</c:v>
                </c:pt>
                <c:pt idx="16513">
                  <c:v>39142</c:v>
                </c:pt>
                <c:pt idx="16514">
                  <c:v>34745</c:v>
                </c:pt>
                <c:pt idx="16515">
                  <c:v>34121</c:v>
                </c:pt>
                <c:pt idx="16516">
                  <c:v>27538</c:v>
                </c:pt>
                <c:pt idx="16517">
                  <c:v>42636</c:v>
                </c:pt>
                <c:pt idx="16518">
                  <c:v>64357</c:v>
                </c:pt>
                <c:pt idx="16519">
                  <c:v>117081</c:v>
                </c:pt>
                <c:pt idx="16520">
                  <c:v>80025</c:v>
                </c:pt>
                <c:pt idx="16521">
                  <c:v>46702</c:v>
                </c:pt>
                <c:pt idx="16522">
                  <c:v>34527</c:v>
                </c:pt>
                <c:pt idx="16523">
                  <c:v>105274</c:v>
                </c:pt>
                <c:pt idx="16524">
                  <c:v>158129</c:v>
                </c:pt>
                <c:pt idx="16525">
                  <c:v>54032</c:v>
                </c:pt>
                <c:pt idx="16526">
                  <c:v>151368</c:v>
                </c:pt>
                <c:pt idx="16527">
                  <c:v>180110</c:v>
                </c:pt>
                <c:pt idx="16528">
                  <c:v>38828</c:v>
                </c:pt>
                <c:pt idx="16529">
                  <c:v>53746</c:v>
                </c:pt>
                <c:pt idx="16530">
                  <c:v>66956</c:v>
                </c:pt>
                <c:pt idx="16531">
                  <c:v>44622</c:v>
                </c:pt>
                <c:pt idx="16532">
                  <c:v>225755</c:v>
                </c:pt>
                <c:pt idx="16533">
                  <c:v>103982</c:v>
                </c:pt>
                <c:pt idx="16534">
                  <c:v>35459</c:v>
                </c:pt>
                <c:pt idx="16535">
                  <c:v>43462</c:v>
                </c:pt>
                <c:pt idx="16536">
                  <c:v>44277</c:v>
                </c:pt>
                <c:pt idx="16537">
                  <c:v>116498</c:v>
                </c:pt>
                <c:pt idx="16538">
                  <c:v>40164</c:v>
                </c:pt>
                <c:pt idx="16539">
                  <c:v>59979</c:v>
                </c:pt>
                <c:pt idx="16540">
                  <c:v>54164</c:v>
                </c:pt>
                <c:pt idx="16541">
                  <c:v>99211</c:v>
                </c:pt>
                <c:pt idx="16542">
                  <c:v>19712</c:v>
                </c:pt>
                <c:pt idx="16543">
                  <c:v>43219</c:v>
                </c:pt>
                <c:pt idx="16544">
                  <c:v>71338</c:v>
                </c:pt>
                <c:pt idx="16545">
                  <c:v>65877</c:v>
                </c:pt>
                <c:pt idx="16546">
                  <c:v>46006</c:v>
                </c:pt>
                <c:pt idx="16547">
                  <c:v>21394</c:v>
                </c:pt>
                <c:pt idx="16548">
                  <c:v>22387</c:v>
                </c:pt>
                <c:pt idx="16549">
                  <c:v>33728</c:v>
                </c:pt>
                <c:pt idx="16550">
                  <c:v>40928</c:v>
                </c:pt>
                <c:pt idx="16551">
                  <c:v>31094</c:v>
                </c:pt>
                <c:pt idx="16552">
                  <c:v>44483</c:v>
                </c:pt>
                <c:pt idx="16553">
                  <c:v>32005</c:v>
                </c:pt>
                <c:pt idx="16554">
                  <c:v>46559</c:v>
                </c:pt>
                <c:pt idx="16555">
                  <c:v>38682</c:v>
                </c:pt>
                <c:pt idx="16556">
                  <c:v>32410</c:v>
                </c:pt>
                <c:pt idx="16557">
                  <c:v>35701</c:v>
                </c:pt>
                <c:pt idx="16558">
                  <c:v>81081</c:v>
                </c:pt>
                <c:pt idx="16559">
                  <c:v>45007</c:v>
                </c:pt>
                <c:pt idx="16560">
                  <c:v>28789</c:v>
                </c:pt>
                <c:pt idx="16561">
                  <c:v>36335</c:v>
                </c:pt>
                <c:pt idx="16562">
                  <c:v>34068</c:v>
                </c:pt>
                <c:pt idx="16563">
                  <c:v>29752</c:v>
                </c:pt>
                <c:pt idx="16564">
                  <c:v>196159</c:v>
                </c:pt>
                <c:pt idx="16565">
                  <c:v>24456</c:v>
                </c:pt>
                <c:pt idx="16566">
                  <c:v>29156</c:v>
                </c:pt>
                <c:pt idx="16567">
                  <c:v>249497</c:v>
                </c:pt>
                <c:pt idx="16568">
                  <c:v>24901</c:v>
                </c:pt>
                <c:pt idx="16569">
                  <c:v>70512</c:v>
                </c:pt>
                <c:pt idx="16570">
                  <c:v>24034</c:v>
                </c:pt>
                <c:pt idx="16571">
                  <c:v>101934</c:v>
                </c:pt>
                <c:pt idx="16572">
                  <c:v>42716</c:v>
                </c:pt>
                <c:pt idx="16573">
                  <c:v>30260</c:v>
                </c:pt>
                <c:pt idx="16574">
                  <c:v>31535</c:v>
                </c:pt>
                <c:pt idx="16575">
                  <c:v>120197</c:v>
                </c:pt>
                <c:pt idx="16576">
                  <c:v>70109</c:v>
                </c:pt>
                <c:pt idx="16577">
                  <c:v>66114</c:v>
                </c:pt>
                <c:pt idx="16578">
                  <c:v>135561</c:v>
                </c:pt>
                <c:pt idx="16579">
                  <c:v>40426</c:v>
                </c:pt>
                <c:pt idx="16580">
                  <c:v>38370</c:v>
                </c:pt>
                <c:pt idx="16581">
                  <c:v>58939</c:v>
                </c:pt>
                <c:pt idx="16582">
                  <c:v>36884</c:v>
                </c:pt>
                <c:pt idx="16583">
                  <c:v>130711</c:v>
                </c:pt>
                <c:pt idx="16584">
                  <c:v>93962</c:v>
                </c:pt>
                <c:pt idx="16585">
                  <c:v>28446</c:v>
                </c:pt>
                <c:pt idx="16586">
                  <c:v>55679</c:v>
                </c:pt>
                <c:pt idx="16587">
                  <c:v>207695</c:v>
                </c:pt>
                <c:pt idx="16588">
                  <c:v>115053</c:v>
                </c:pt>
                <c:pt idx="16589">
                  <c:v>56980</c:v>
                </c:pt>
                <c:pt idx="16590">
                  <c:v>21912</c:v>
                </c:pt>
                <c:pt idx="16591">
                  <c:v>54390</c:v>
                </c:pt>
                <c:pt idx="16592">
                  <c:v>36178</c:v>
                </c:pt>
                <c:pt idx="16593">
                  <c:v>40587</c:v>
                </c:pt>
                <c:pt idx="16594">
                  <c:v>43690</c:v>
                </c:pt>
                <c:pt idx="16595">
                  <c:v>55978</c:v>
                </c:pt>
                <c:pt idx="16596">
                  <c:v>21641</c:v>
                </c:pt>
                <c:pt idx="16597">
                  <c:v>24820</c:v>
                </c:pt>
                <c:pt idx="16598">
                  <c:v>58710</c:v>
                </c:pt>
                <c:pt idx="16599">
                  <c:v>154947</c:v>
                </c:pt>
                <c:pt idx="16600">
                  <c:v>27929</c:v>
                </c:pt>
                <c:pt idx="16601">
                  <c:v>36021</c:v>
                </c:pt>
                <c:pt idx="16602">
                  <c:v>42132</c:v>
                </c:pt>
                <c:pt idx="16603">
                  <c:v>33891</c:v>
                </c:pt>
                <c:pt idx="16604">
                  <c:v>48219</c:v>
                </c:pt>
                <c:pt idx="16605">
                  <c:v>136101</c:v>
                </c:pt>
                <c:pt idx="16606">
                  <c:v>34684</c:v>
                </c:pt>
                <c:pt idx="16607">
                  <c:v>42747</c:v>
                </c:pt>
                <c:pt idx="16608">
                  <c:v>47715</c:v>
                </c:pt>
                <c:pt idx="16609">
                  <c:v>76465</c:v>
                </c:pt>
                <c:pt idx="16610">
                  <c:v>23577</c:v>
                </c:pt>
                <c:pt idx="16611">
                  <c:v>120035</c:v>
                </c:pt>
                <c:pt idx="16612">
                  <c:v>118482</c:v>
                </c:pt>
                <c:pt idx="16613">
                  <c:v>41926</c:v>
                </c:pt>
                <c:pt idx="16614">
                  <c:v>86521</c:v>
                </c:pt>
                <c:pt idx="16615">
                  <c:v>39466</c:v>
                </c:pt>
                <c:pt idx="16616">
                  <c:v>180045</c:v>
                </c:pt>
                <c:pt idx="16617">
                  <c:v>20870</c:v>
                </c:pt>
                <c:pt idx="16618">
                  <c:v>42947</c:v>
                </c:pt>
                <c:pt idx="16619">
                  <c:v>21822</c:v>
                </c:pt>
                <c:pt idx="16620">
                  <c:v>146746</c:v>
                </c:pt>
                <c:pt idx="16621">
                  <c:v>39800</c:v>
                </c:pt>
                <c:pt idx="16622">
                  <c:v>278891</c:v>
                </c:pt>
                <c:pt idx="16623">
                  <c:v>26878</c:v>
                </c:pt>
                <c:pt idx="16624">
                  <c:v>184431</c:v>
                </c:pt>
                <c:pt idx="16625">
                  <c:v>85334</c:v>
                </c:pt>
                <c:pt idx="16626">
                  <c:v>34832</c:v>
                </c:pt>
                <c:pt idx="16627">
                  <c:v>43495</c:v>
                </c:pt>
                <c:pt idx="16628">
                  <c:v>44591</c:v>
                </c:pt>
                <c:pt idx="16629">
                  <c:v>51677</c:v>
                </c:pt>
                <c:pt idx="16630">
                  <c:v>63902</c:v>
                </c:pt>
                <c:pt idx="16631">
                  <c:v>46499</c:v>
                </c:pt>
                <c:pt idx="16632">
                  <c:v>36318</c:v>
                </c:pt>
                <c:pt idx="16633">
                  <c:v>34831</c:v>
                </c:pt>
                <c:pt idx="16634">
                  <c:v>73907</c:v>
                </c:pt>
                <c:pt idx="16635">
                  <c:v>39387</c:v>
                </c:pt>
                <c:pt idx="16636">
                  <c:v>84675</c:v>
                </c:pt>
                <c:pt idx="16637">
                  <c:v>176893</c:v>
                </c:pt>
                <c:pt idx="16638">
                  <c:v>68247</c:v>
                </c:pt>
                <c:pt idx="16639">
                  <c:v>104398</c:v>
                </c:pt>
                <c:pt idx="16640">
                  <c:v>35428</c:v>
                </c:pt>
                <c:pt idx="16641">
                  <c:v>95868</c:v>
                </c:pt>
                <c:pt idx="16642">
                  <c:v>30147</c:v>
                </c:pt>
                <c:pt idx="16643">
                  <c:v>25815</c:v>
                </c:pt>
                <c:pt idx="16644">
                  <c:v>42688</c:v>
                </c:pt>
                <c:pt idx="16645">
                  <c:v>74109</c:v>
                </c:pt>
                <c:pt idx="16646">
                  <c:v>117977</c:v>
                </c:pt>
                <c:pt idx="16647">
                  <c:v>42522</c:v>
                </c:pt>
                <c:pt idx="16648">
                  <c:v>31236</c:v>
                </c:pt>
                <c:pt idx="16649">
                  <c:v>64104</c:v>
                </c:pt>
                <c:pt idx="16650">
                  <c:v>36252</c:v>
                </c:pt>
                <c:pt idx="16651">
                  <c:v>29508</c:v>
                </c:pt>
                <c:pt idx="16652">
                  <c:v>29554</c:v>
                </c:pt>
                <c:pt idx="16653">
                  <c:v>47668</c:v>
                </c:pt>
                <c:pt idx="16654">
                  <c:v>113186</c:v>
                </c:pt>
                <c:pt idx="16655">
                  <c:v>25994</c:v>
                </c:pt>
                <c:pt idx="16656">
                  <c:v>65205</c:v>
                </c:pt>
                <c:pt idx="16657">
                  <c:v>36869</c:v>
                </c:pt>
                <c:pt idx="16658">
                  <c:v>46709</c:v>
                </c:pt>
                <c:pt idx="16659">
                  <c:v>38338</c:v>
                </c:pt>
                <c:pt idx="16660">
                  <c:v>37145</c:v>
                </c:pt>
                <c:pt idx="16661">
                  <c:v>49858</c:v>
                </c:pt>
                <c:pt idx="16662">
                  <c:v>134981</c:v>
                </c:pt>
                <c:pt idx="16663">
                  <c:v>113250</c:v>
                </c:pt>
                <c:pt idx="16664">
                  <c:v>42941</c:v>
                </c:pt>
                <c:pt idx="16665">
                  <c:v>31885</c:v>
                </c:pt>
                <c:pt idx="16666">
                  <c:v>30391</c:v>
                </c:pt>
                <c:pt idx="16667">
                  <c:v>46975</c:v>
                </c:pt>
                <c:pt idx="16668">
                  <c:v>29796</c:v>
                </c:pt>
                <c:pt idx="16669">
                  <c:v>30376</c:v>
                </c:pt>
                <c:pt idx="16670">
                  <c:v>38410</c:v>
                </c:pt>
                <c:pt idx="16671">
                  <c:v>43942</c:v>
                </c:pt>
                <c:pt idx="16672">
                  <c:v>49230</c:v>
                </c:pt>
                <c:pt idx="16673">
                  <c:v>69752</c:v>
                </c:pt>
                <c:pt idx="16674">
                  <c:v>49059</c:v>
                </c:pt>
                <c:pt idx="16675">
                  <c:v>114392</c:v>
                </c:pt>
                <c:pt idx="16676">
                  <c:v>32890</c:v>
                </c:pt>
                <c:pt idx="16677">
                  <c:v>47234</c:v>
                </c:pt>
                <c:pt idx="16678">
                  <c:v>50245</c:v>
                </c:pt>
                <c:pt idx="16679">
                  <c:v>80685</c:v>
                </c:pt>
                <c:pt idx="16680">
                  <c:v>73015</c:v>
                </c:pt>
                <c:pt idx="16681">
                  <c:v>57445</c:v>
                </c:pt>
                <c:pt idx="16682">
                  <c:v>33168</c:v>
                </c:pt>
                <c:pt idx="16683">
                  <c:v>54532</c:v>
                </c:pt>
                <c:pt idx="16684">
                  <c:v>39729</c:v>
                </c:pt>
                <c:pt idx="16685">
                  <c:v>26613</c:v>
                </c:pt>
                <c:pt idx="16686">
                  <c:v>197564</c:v>
                </c:pt>
                <c:pt idx="16687">
                  <c:v>34149</c:v>
                </c:pt>
                <c:pt idx="16688">
                  <c:v>53590</c:v>
                </c:pt>
                <c:pt idx="16689">
                  <c:v>309128</c:v>
                </c:pt>
                <c:pt idx="16690">
                  <c:v>37163</c:v>
                </c:pt>
                <c:pt idx="16691">
                  <c:v>39219</c:v>
                </c:pt>
                <c:pt idx="16692">
                  <c:v>38525</c:v>
                </c:pt>
                <c:pt idx="16693">
                  <c:v>28300</c:v>
                </c:pt>
                <c:pt idx="16694">
                  <c:v>50488</c:v>
                </c:pt>
                <c:pt idx="16695">
                  <c:v>29766</c:v>
                </c:pt>
                <c:pt idx="16696">
                  <c:v>88570</c:v>
                </c:pt>
                <c:pt idx="16697">
                  <c:v>52437</c:v>
                </c:pt>
                <c:pt idx="16698">
                  <c:v>30746</c:v>
                </c:pt>
                <c:pt idx="16699">
                  <c:v>27343</c:v>
                </c:pt>
                <c:pt idx="16700">
                  <c:v>103233</c:v>
                </c:pt>
                <c:pt idx="16701">
                  <c:v>204113</c:v>
                </c:pt>
                <c:pt idx="16702">
                  <c:v>33809</c:v>
                </c:pt>
                <c:pt idx="16703">
                  <c:v>30773</c:v>
                </c:pt>
                <c:pt idx="16704">
                  <c:v>32194</c:v>
                </c:pt>
                <c:pt idx="16705">
                  <c:v>31956</c:v>
                </c:pt>
                <c:pt idx="16706">
                  <c:v>29469</c:v>
                </c:pt>
                <c:pt idx="16707">
                  <c:v>120203</c:v>
                </c:pt>
                <c:pt idx="16708">
                  <c:v>69749</c:v>
                </c:pt>
                <c:pt idx="16709">
                  <c:v>233684</c:v>
                </c:pt>
                <c:pt idx="16710">
                  <c:v>129004</c:v>
                </c:pt>
                <c:pt idx="16711">
                  <c:v>51081</c:v>
                </c:pt>
                <c:pt idx="16712">
                  <c:v>41610</c:v>
                </c:pt>
                <c:pt idx="16713">
                  <c:v>100090</c:v>
                </c:pt>
                <c:pt idx="16714">
                  <c:v>40844</c:v>
                </c:pt>
                <c:pt idx="16715">
                  <c:v>44502</c:v>
                </c:pt>
                <c:pt idx="16716">
                  <c:v>25655</c:v>
                </c:pt>
                <c:pt idx="16717">
                  <c:v>45816</c:v>
                </c:pt>
                <c:pt idx="16718">
                  <c:v>229931</c:v>
                </c:pt>
                <c:pt idx="16719">
                  <c:v>49909</c:v>
                </c:pt>
                <c:pt idx="16720">
                  <c:v>155232</c:v>
                </c:pt>
                <c:pt idx="16721">
                  <c:v>52853</c:v>
                </c:pt>
                <c:pt idx="16722">
                  <c:v>57490</c:v>
                </c:pt>
                <c:pt idx="16723">
                  <c:v>36954</c:v>
                </c:pt>
                <c:pt idx="16724">
                  <c:v>49930</c:v>
                </c:pt>
                <c:pt idx="16725">
                  <c:v>45169</c:v>
                </c:pt>
                <c:pt idx="16726">
                  <c:v>53308</c:v>
                </c:pt>
                <c:pt idx="16727">
                  <c:v>149851</c:v>
                </c:pt>
                <c:pt idx="16728">
                  <c:v>56135</c:v>
                </c:pt>
                <c:pt idx="16729">
                  <c:v>36984</c:v>
                </c:pt>
                <c:pt idx="16730">
                  <c:v>27492</c:v>
                </c:pt>
                <c:pt idx="16731">
                  <c:v>72151</c:v>
                </c:pt>
                <c:pt idx="16732">
                  <c:v>26817</c:v>
                </c:pt>
                <c:pt idx="16733">
                  <c:v>249338</c:v>
                </c:pt>
                <c:pt idx="16734">
                  <c:v>52646</c:v>
                </c:pt>
                <c:pt idx="16735">
                  <c:v>104397</c:v>
                </c:pt>
                <c:pt idx="16736">
                  <c:v>37125</c:v>
                </c:pt>
                <c:pt idx="16737">
                  <c:v>381336</c:v>
                </c:pt>
                <c:pt idx="16738">
                  <c:v>23330</c:v>
                </c:pt>
                <c:pt idx="16739">
                  <c:v>173727</c:v>
                </c:pt>
                <c:pt idx="16740">
                  <c:v>85061</c:v>
                </c:pt>
                <c:pt idx="16741">
                  <c:v>32444</c:v>
                </c:pt>
                <c:pt idx="16742">
                  <c:v>106427</c:v>
                </c:pt>
                <c:pt idx="16743">
                  <c:v>34131</c:v>
                </c:pt>
                <c:pt idx="16744">
                  <c:v>68334</c:v>
                </c:pt>
                <c:pt idx="16745">
                  <c:v>49072</c:v>
                </c:pt>
                <c:pt idx="16746">
                  <c:v>27966</c:v>
                </c:pt>
                <c:pt idx="16747">
                  <c:v>73579</c:v>
                </c:pt>
                <c:pt idx="16748">
                  <c:v>79948</c:v>
                </c:pt>
                <c:pt idx="16749">
                  <c:v>32783</c:v>
                </c:pt>
                <c:pt idx="16750">
                  <c:v>33582</c:v>
                </c:pt>
                <c:pt idx="16751">
                  <c:v>32740</c:v>
                </c:pt>
                <c:pt idx="16752">
                  <c:v>131139</c:v>
                </c:pt>
                <c:pt idx="16753">
                  <c:v>55068</c:v>
                </c:pt>
                <c:pt idx="16754">
                  <c:v>104209</c:v>
                </c:pt>
                <c:pt idx="16755">
                  <c:v>41656</c:v>
                </c:pt>
                <c:pt idx="16756">
                  <c:v>146799</c:v>
                </c:pt>
                <c:pt idx="16757">
                  <c:v>25421</c:v>
                </c:pt>
                <c:pt idx="16758">
                  <c:v>43273</c:v>
                </c:pt>
                <c:pt idx="16759">
                  <c:v>95885</c:v>
                </c:pt>
                <c:pt idx="16760">
                  <c:v>61972</c:v>
                </c:pt>
                <c:pt idx="16761">
                  <c:v>36317</c:v>
                </c:pt>
                <c:pt idx="16762">
                  <c:v>279230</c:v>
                </c:pt>
                <c:pt idx="16763">
                  <c:v>33084</c:v>
                </c:pt>
                <c:pt idx="16764">
                  <c:v>37595</c:v>
                </c:pt>
                <c:pt idx="16765">
                  <c:v>27209</c:v>
                </c:pt>
                <c:pt idx="16766">
                  <c:v>165045</c:v>
                </c:pt>
                <c:pt idx="16767">
                  <c:v>26094</c:v>
                </c:pt>
                <c:pt idx="16768">
                  <c:v>133384</c:v>
                </c:pt>
                <c:pt idx="16769">
                  <c:v>45704</c:v>
                </c:pt>
                <c:pt idx="16770">
                  <c:v>23015</c:v>
                </c:pt>
                <c:pt idx="16771">
                  <c:v>24453</c:v>
                </c:pt>
                <c:pt idx="16772">
                  <c:v>69613</c:v>
                </c:pt>
                <c:pt idx="16773">
                  <c:v>28405</c:v>
                </c:pt>
                <c:pt idx="16774">
                  <c:v>49356</c:v>
                </c:pt>
                <c:pt idx="16775">
                  <c:v>41925</c:v>
                </c:pt>
                <c:pt idx="16776">
                  <c:v>45714</c:v>
                </c:pt>
                <c:pt idx="16777">
                  <c:v>60482</c:v>
                </c:pt>
                <c:pt idx="16778">
                  <c:v>26290</c:v>
                </c:pt>
                <c:pt idx="16779">
                  <c:v>27019</c:v>
                </c:pt>
                <c:pt idx="16780">
                  <c:v>33930</c:v>
                </c:pt>
                <c:pt idx="16781">
                  <c:v>39861</c:v>
                </c:pt>
                <c:pt idx="16782">
                  <c:v>37865</c:v>
                </c:pt>
                <c:pt idx="16783">
                  <c:v>134897</c:v>
                </c:pt>
                <c:pt idx="16784">
                  <c:v>48201</c:v>
                </c:pt>
                <c:pt idx="16785">
                  <c:v>84207</c:v>
                </c:pt>
                <c:pt idx="16786">
                  <c:v>46876</c:v>
                </c:pt>
                <c:pt idx="16787">
                  <c:v>43872</c:v>
                </c:pt>
                <c:pt idx="16788">
                  <c:v>21532</c:v>
                </c:pt>
                <c:pt idx="16789">
                  <c:v>30909</c:v>
                </c:pt>
                <c:pt idx="16790">
                  <c:v>93051</c:v>
                </c:pt>
                <c:pt idx="16791">
                  <c:v>33569</c:v>
                </c:pt>
                <c:pt idx="16792">
                  <c:v>168223</c:v>
                </c:pt>
                <c:pt idx="16793">
                  <c:v>80450</c:v>
                </c:pt>
                <c:pt idx="16794">
                  <c:v>38404</c:v>
                </c:pt>
                <c:pt idx="16795">
                  <c:v>39739</c:v>
                </c:pt>
                <c:pt idx="16796">
                  <c:v>34080</c:v>
                </c:pt>
                <c:pt idx="16797">
                  <c:v>61193</c:v>
                </c:pt>
                <c:pt idx="16798">
                  <c:v>36444</c:v>
                </c:pt>
                <c:pt idx="16799">
                  <c:v>42799</c:v>
                </c:pt>
                <c:pt idx="16800">
                  <c:v>35750</c:v>
                </c:pt>
                <c:pt idx="16801">
                  <c:v>28127</c:v>
                </c:pt>
                <c:pt idx="16802">
                  <c:v>103504</c:v>
                </c:pt>
                <c:pt idx="16803">
                  <c:v>76587</c:v>
                </c:pt>
                <c:pt idx="16804">
                  <c:v>41013</c:v>
                </c:pt>
                <c:pt idx="16805">
                  <c:v>50395</c:v>
                </c:pt>
                <c:pt idx="16806">
                  <c:v>34111</c:v>
                </c:pt>
                <c:pt idx="16807">
                  <c:v>37268</c:v>
                </c:pt>
                <c:pt idx="16808">
                  <c:v>36984</c:v>
                </c:pt>
                <c:pt idx="16809">
                  <c:v>32302</c:v>
                </c:pt>
                <c:pt idx="16810">
                  <c:v>39212</c:v>
                </c:pt>
                <c:pt idx="16811">
                  <c:v>52899</c:v>
                </c:pt>
                <c:pt idx="16812">
                  <c:v>254693</c:v>
                </c:pt>
                <c:pt idx="16813">
                  <c:v>31358</c:v>
                </c:pt>
                <c:pt idx="16814">
                  <c:v>59910</c:v>
                </c:pt>
                <c:pt idx="16815">
                  <c:v>28233</c:v>
                </c:pt>
                <c:pt idx="16816">
                  <c:v>38062</c:v>
                </c:pt>
                <c:pt idx="16817">
                  <c:v>36193</c:v>
                </c:pt>
                <c:pt idx="16818">
                  <c:v>27293</c:v>
                </c:pt>
                <c:pt idx="16819">
                  <c:v>76330</c:v>
                </c:pt>
                <c:pt idx="16820">
                  <c:v>50854</c:v>
                </c:pt>
                <c:pt idx="16821">
                  <c:v>46463</c:v>
                </c:pt>
                <c:pt idx="16822">
                  <c:v>42596</c:v>
                </c:pt>
                <c:pt idx="16823">
                  <c:v>32213</c:v>
                </c:pt>
                <c:pt idx="16824">
                  <c:v>40821</c:v>
                </c:pt>
                <c:pt idx="16825">
                  <c:v>67759</c:v>
                </c:pt>
                <c:pt idx="16826">
                  <c:v>22192</c:v>
                </c:pt>
                <c:pt idx="16827">
                  <c:v>44995</c:v>
                </c:pt>
                <c:pt idx="16828">
                  <c:v>34692</c:v>
                </c:pt>
                <c:pt idx="16829">
                  <c:v>58316</c:v>
                </c:pt>
                <c:pt idx="16830">
                  <c:v>71309</c:v>
                </c:pt>
                <c:pt idx="16831">
                  <c:v>112217</c:v>
                </c:pt>
                <c:pt idx="16832">
                  <c:v>83603</c:v>
                </c:pt>
                <c:pt idx="16833">
                  <c:v>24624</c:v>
                </c:pt>
                <c:pt idx="16834">
                  <c:v>21908</c:v>
                </c:pt>
                <c:pt idx="16835">
                  <c:v>41211</c:v>
                </c:pt>
                <c:pt idx="16836">
                  <c:v>132003</c:v>
                </c:pt>
                <c:pt idx="16837">
                  <c:v>37556</c:v>
                </c:pt>
                <c:pt idx="16838">
                  <c:v>27970</c:v>
                </c:pt>
                <c:pt idx="16839">
                  <c:v>121393</c:v>
                </c:pt>
                <c:pt idx="16840">
                  <c:v>56837</c:v>
                </c:pt>
                <c:pt idx="16841">
                  <c:v>236409</c:v>
                </c:pt>
                <c:pt idx="16842">
                  <c:v>42240</c:v>
                </c:pt>
                <c:pt idx="16843">
                  <c:v>38855</c:v>
                </c:pt>
                <c:pt idx="16844">
                  <c:v>46880</c:v>
                </c:pt>
                <c:pt idx="16845">
                  <c:v>61470</c:v>
                </c:pt>
                <c:pt idx="16846">
                  <c:v>40649</c:v>
                </c:pt>
                <c:pt idx="16847">
                  <c:v>130611</c:v>
                </c:pt>
                <c:pt idx="16848">
                  <c:v>40985</c:v>
                </c:pt>
                <c:pt idx="16849">
                  <c:v>62595</c:v>
                </c:pt>
                <c:pt idx="16850">
                  <c:v>30074</c:v>
                </c:pt>
                <c:pt idx="16851">
                  <c:v>23451</c:v>
                </c:pt>
                <c:pt idx="16852">
                  <c:v>64673</c:v>
                </c:pt>
                <c:pt idx="16853">
                  <c:v>27020</c:v>
                </c:pt>
                <c:pt idx="16854">
                  <c:v>54294</c:v>
                </c:pt>
                <c:pt idx="16855">
                  <c:v>36914</c:v>
                </c:pt>
                <c:pt idx="16856">
                  <c:v>42375</c:v>
                </c:pt>
                <c:pt idx="16857">
                  <c:v>91609</c:v>
                </c:pt>
                <c:pt idx="16858">
                  <c:v>52870</c:v>
                </c:pt>
                <c:pt idx="16859">
                  <c:v>143559</c:v>
                </c:pt>
                <c:pt idx="16860">
                  <c:v>59784</c:v>
                </c:pt>
                <c:pt idx="16861">
                  <c:v>30892</c:v>
                </c:pt>
                <c:pt idx="16862">
                  <c:v>272164</c:v>
                </c:pt>
                <c:pt idx="16863">
                  <c:v>28935</c:v>
                </c:pt>
                <c:pt idx="16864">
                  <c:v>43962</c:v>
                </c:pt>
                <c:pt idx="16865">
                  <c:v>38976</c:v>
                </c:pt>
                <c:pt idx="16866">
                  <c:v>76302</c:v>
                </c:pt>
                <c:pt idx="16867">
                  <c:v>36939</c:v>
                </c:pt>
                <c:pt idx="16868">
                  <c:v>89141</c:v>
                </c:pt>
                <c:pt idx="16869">
                  <c:v>25413</c:v>
                </c:pt>
                <c:pt idx="16870">
                  <c:v>59647</c:v>
                </c:pt>
                <c:pt idx="16871">
                  <c:v>74144</c:v>
                </c:pt>
                <c:pt idx="16872">
                  <c:v>37729</c:v>
                </c:pt>
                <c:pt idx="16873">
                  <c:v>28836</c:v>
                </c:pt>
                <c:pt idx="16874">
                  <c:v>43777</c:v>
                </c:pt>
                <c:pt idx="16875">
                  <c:v>42729</c:v>
                </c:pt>
                <c:pt idx="16876">
                  <c:v>143279</c:v>
                </c:pt>
                <c:pt idx="16877">
                  <c:v>57824</c:v>
                </c:pt>
                <c:pt idx="16878">
                  <c:v>25337</c:v>
                </c:pt>
                <c:pt idx="16879">
                  <c:v>25006</c:v>
                </c:pt>
                <c:pt idx="16880">
                  <c:v>38130</c:v>
                </c:pt>
                <c:pt idx="16881">
                  <c:v>30476</c:v>
                </c:pt>
                <c:pt idx="16882">
                  <c:v>30340</c:v>
                </c:pt>
                <c:pt idx="16883">
                  <c:v>33283</c:v>
                </c:pt>
                <c:pt idx="16884">
                  <c:v>33471</c:v>
                </c:pt>
                <c:pt idx="16885">
                  <c:v>98708</c:v>
                </c:pt>
                <c:pt idx="16886">
                  <c:v>46789</c:v>
                </c:pt>
                <c:pt idx="16887">
                  <c:v>47331</c:v>
                </c:pt>
                <c:pt idx="16888">
                  <c:v>63515</c:v>
                </c:pt>
                <c:pt idx="16889">
                  <c:v>70911</c:v>
                </c:pt>
                <c:pt idx="16890">
                  <c:v>28180</c:v>
                </c:pt>
                <c:pt idx="16891">
                  <c:v>67407</c:v>
                </c:pt>
                <c:pt idx="16892">
                  <c:v>37537</c:v>
                </c:pt>
                <c:pt idx="16893">
                  <c:v>36358</c:v>
                </c:pt>
                <c:pt idx="16894">
                  <c:v>111278</c:v>
                </c:pt>
                <c:pt idx="16895">
                  <c:v>32880</c:v>
                </c:pt>
                <c:pt idx="16896">
                  <c:v>41611</c:v>
                </c:pt>
                <c:pt idx="16897">
                  <c:v>21705</c:v>
                </c:pt>
                <c:pt idx="16898">
                  <c:v>74986</c:v>
                </c:pt>
                <c:pt idx="16899">
                  <c:v>197053</c:v>
                </c:pt>
                <c:pt idx="16900">
                  <c:v>32275</c:v>
                </c:pt>
                <c:pt idx="16901">
                  <c:v>36475</c:v>
                </c:pt>
                <c:pt idx="16902">
                  <c:v>31936</c:v>
                </c:pt>
                <c:pt idx="16903">
                  <c:v>38707</c:v>
                </c:pt>
                <c:pt idx="16904">
                  <c:v>30085</c:v>
                </c:pt>
                <c:pt idx="16905">
                  <c:v>74355</c:v>
                </c:pt>
                <c:pt idx="16906">
                  <c:v>56004</c:v>
                </c:pt>
                <c:pt idx="16907">
                  <c:v>77062</c:v>
                </c:pt>
                <c:pt idx="16908">
                  <c:v>58073</c:v>
                </c:pt>
                <c:pt idx="16909">
                  <c:v>43425</c:v>
                </c:pt>
                <c:pt idx="16910">
                  <c:v>36180</c:v>
                </c:pt>
                <c:pt idx="16911">
                  <c:v>32433</c:v>
                </c:pt>
                <c:pt idx="16912">
                  <c:v>64475</c:v>
                </c:pt>
                <c:pt idx="16913">
                  <c:v>34119</c:v>
                </c:pt>
                <c:pt idx="16914">
                  <c:v>47465</c:v>
                </c:pt>
                <c:pt idx="16915">
                  <c:v>50390</c:v>
                </c:pt>
                <c:pt idx="16916">
                  <c:v>209791</c:v>
                </c:pt>
                <c:pt idx="16917">
                  <c:v>19924</c:v>
                </c:pt>
                <c:pt idx="16918">
                  <c:v>27313</c:v>
                </c:pt>
                <c:pt idx="16919">
                  <c:v>58141</c:v>
                </c:pt>
                <c:pt idx="16920">
                  <c:v>115794</c:v>
                </c:pt>
                <c:pt idx="16921">
                  <c:v>34253</c:v>
                </c:pt>
                <c:pt idx="16922">
                  <c:v>86255</c:v>
                </c:pt>
                <c:pt idx="16923">
                  <c:v>27450</c:v>
                </c:pt>
                <c:pt idx="16924">
                  <c:v>40459</c:v>
                </c:pt>
                <c:pt idx="16925">
                  <c:v>32347</c:v>
                </c:pt>
                <c:pt idx="16926">
                  <c:v>67187</c:v>
                </c:pt>
                <c:pt idx="16927">
                  <c:v>53622</c:v>
                </c:pt>
                <c:pt idx="16928">
                  <c:v>79537</c:v>
                </c:pt>
                <c:pt idx="16929">
                  <c:v>41025</c:v>
                </c:pt>
                <c:pt idx="16930">
                  <c:v>26233</c:v>
                </c:pt>
                <c:pt idx="16931">
                  <c:v>27818</c:v>
                </c:pt>
                <c:pt idx="16932">
                  <c:v>32624</c:v>
                </c:pt>
                <c:pt idx="16933">
                  <c:v>97592</c:v>
                </c:pt>
                <c:pt idx="16934">
                  <c:v>78213</c:v>
                </c:pt>
                <c:pt idx="16935">
                  <c:v>44115</c:v>
                </c:pt>
                <c:pt idx="16936">
                  <c:v>116335</c:v>
                </c:pt>
                <c:pt idx="16937">
                  <c:v>51918</c:v>
                </c:pt>
                <c:pt idx="16938">
                  <c:v>23796</c:v>
                </c:pt>
                <c:pt idx="16939">
                  <c:v>34832</c:v>
                </c:pt>
                <c:pt idx="16940">
                  <c:v>79209</c:v>
                </c:pt>
                <c:pt idx="16941">
                  <c:v>52540</c:v>
                </c:pt>
                <c:pt idx="16942">
                  <c:v>39141</c:v>
                </c:pt>
                <c:pt idx="16943">
                  <c:v>24427</c:v>
                </c:pt>
                <c:pt idx="16944">
                  <c:v>52878</c:v>
                </c:pt>
                <c:pt idx="16945">
                  <c:v>126997</c:v>
                </c:pt>
                <c:pt idx="16946">
                  <c:v>114980</c:v>
                </c:pt>
                <c:pt idx="16947">
                  <c:v>155012</c:v>
                </c:pt>
                <c:pt idx="16948">
                  <c:v>22960</c:v>
                </c:pt>
                <c:pt idx="16949">
                  <c:v>27589</c:v>
                </c:pt>
                <c:pt idx="16950">
                  <c:v>57780</c:v>
                </c:pt>
                <c:pt idx="16951">
                  <c:v>74315</c:v>
                </c:pt>
                <c:pt idx="16952">
                  <c:v>25511</c:v>
                </c:pt>
                <c:pt idx="16953">
                  <c:v>22863</c:v>
                </c:pt>
                <c:pt idx="16954">
                  <c:v>34337</c:v>
                </c:pt>
                <c:pt idx="16955">
                  <c:v>40566</c:v>
                </c:pt>
                <c:pt idx="16956">
                  <c:v>177095</c:v>
                </c:pt>
                <c:pt idx="16957">
                  <c:v>45060</c:v>
                </c:pt>
                <c:pt idx="16958">
                  <c:v>45016</c:v>
                </c:pt>
                <c:pt idx="16959">
                  <c:v>29830</c:v>
                </c:pt>
                <c:pt idx="16960">
                  <c:v>63128</c:v>
                </c:pt>
                <c:pt idx="16961">
                  <c:v>36785</c:v>
                </c:pt>
                <c:pt idx="16962">
                  <c:v>60202</c:v>
                </c:pt>
                <c:pt idx="16963">
                  <c:v>49916</c:v>
                </c:pt>
                <c:pt idx="16964">
                  <c:v>29918</c:v>
                </c:pt>
                <c:pt idx="16965">
                  <c:v>54377</c:v>
                </c:pt>
                <c:pt idx="16966">
                  <c:v>37434</c:v>
                </c:pt>
                <c:pt idx="16967">
                  <c:v>306402</c:v>
                </c:pt>
                <c:pt idx="16968">
                  <c:v>53734</c:v>
                </c:pt>
                <c:pt idx="16969">
                  <c:v>37713</c:v>
                </c:pt>
                <c:pt idx="16970">
                  <c:v>38613</c:v>
                </c:pt>
                <c:pt idx="16971">
                  <c:v>47837</c:v>
                </c:pt>
                <c:pt idx="16972">
                  <c:v>178853</c:v>
                </c:pt>
                <c:pt idx="16973">
                  <c:v>156378</c:v>
                </c:pt>
                <c:pt idx="16974">
                  <c:v>58241</c:v>
                </c:pt>
                <c:pt idx="16975">
                  <c:v>23901</c:v>
                </c:pt>
                <c:pt idx="16976">
                  <c:v>50725</c:v>
                </c:pt>
                <c:pt idx="16977">
                  <c:v>71058</c:v>
                </c:pt>
                <c:pt idx="16978">
                  <c:v>20846</c:v>
                </c:pt>
                <c:pt idx="16979">
                  <c:v>35403</c:v>
                </c:pt>
                <c:pt idx="16980">
                  <c:v>27414</c:v>
                </c:pt>
                <c:pt idx="16981">
                  <c:v>52771</c:v>
                </c:pt>
                <c:pt idx="16982">
                  <c:v>30668</c:v>
                </c:pt>
                <c:pt idx="16983">
                  <c:v>27402</c:v>
                </c:pt>
                <c:pt idx="16984">
                  <c:v>47144</c:v>
                </c:pt>
                <c:pt idx="16985">
                  <c:v>39675</c:v>
                </c:pt>
                <c:pt idx="16986">
                  <c:v>59652</c:v>
                </c:pt>
                <c:pt idx="16987">
                  <c:v>74950</c:v>
                </c:pt>
                <c:pt idx="16988">
                  <c:v>79390</c:v>
                </c:pt>
                <c:pt idx="16989">
                  <c:v>43658</c:v>
                </c:pt>
                <c:pt idx="16990">
                  <c:v>40202</c:v>
                </c:pt>
                <c:pt idx="16991">
                  <c:v>141335</c:v>
                </c:pt>
                <c:pt idx="16992">
                  <c:v>100377</c:v>
                </c:pt>
                <c:pt idx="16993">
                  <c:v>28155</c:v>
                </c:pt>
                <c:pt idx="16994">
                  <c:v>67567</c:v>
                </c:pt>
                <c:pt idx="16995">
                  <c:v>187072</c:v>
                </c:pt>
                <c:pt idx="16996">
                  <c:v>84279</c:v>
                </c:pt>
                <c:pt idx="16997">
                  <c:v>32530</c:v>
                </c:pt>
                <c:pt idx="16998">
                  <c:v>28783</c:v>
                </c:pt>
                <c:pt idx="16999">
                  <c:v>30351</c:v>
                </c:pt>
                <c:pt idx="17000">
                  <c:v>99269</c:v>
                </c:pt>
                <c:pt idx="17001">
                  <c:v>34982</c:v>
                </c:pt>
                <c:pt idx="17002">
                  <c:v>31557</c:v>
                </c:pt>
                <c:pt idx="17003">
                  <c:v>36632</c:v>
                </c:pt>
                <c:pt idx="17004">
                  <c:v>58077</c:v>
                </c:pt>
                <c:pt idx="17005">
                  <c:v>40740</c:v>
                </c:pt>
                <c:pt idx="17006">
                  <c:v>33880</c:v>
                </c:pt>
                <c:pt idx="17007">
                  <c:v>55883</c:v>
                </c:pt>
                <c:pt idx="17008">
                  <c:v>23018</c:v>
                </c:pt>
                <c:pt idx="17009">
                  <c:v>135590</c:v>
                </c:pt>
                <c:pt idx="17010">
                  <c:v>51897</c:v>
                </c:pt>
                <c:pt idx="17011">
                  <c:v>43507</c:v>
                </c:pt>
                <c:pt idx="17012">
                  <c:v>227962</c:v>
                </c:pt>
                <c:pt idx="17013">
                  <c:v>34899</c:v>
                </c:pt>
                <c:pt idx="17014">
                  <c:v>46901</c:v>
                </c:pt>
                <c:pt idx="17015">
                  <c:v>130304</c:v>
                </c:pt>
                <c:pt idx="17016">
                  <c:v>36216</c:v>
                </c:pt>
                <c:pt idx="17017">
                  <c:v>69245</c:v>
                </c:pt>
                <c:pt idx="17018">
                  <c:v>122748</c:v>
                </c:pt>
                <c:pt idx="17019">
                  <c:v>25158</c:v>
                </c:pt>
                <c:pt idx="17020">
                  <c:v>46994</c:v>
                </c:pt>
                <c:pt idx="17021">
                  <c:v>41027</c:v>
                </c:pt>
                <c:pt idx="17022">
                  <c:v>45661</c:v>
                </c:pt>
                <c:pt idx="17023">
                  <c:v>93421</c:v>
                </c:pt>
                <c:pt idx="17024">
                  <c:v>38400</c:v>
                </c:pt>
                <c:pt idx="17025">
                  <c:v>30743</c:v>
                </c:pt>
                <c:pt idx="17026">
                  <c:v>38030</c:v>
                </c:pt>
                <c:pt idx="17027">
                  <c:v>27143</c:v>
                </c:pt>
                <c:pt idx="17028">
                  <c:v>95726</c:v>
                </c:pt>
                <c:pt idx="17029">
                  <c:v>25623</c:v>
                </c:pt>
                <c:pt idx="17030">
                  <c:v>25637</c:v>
                </c:pt>
                <c:pt idx="17031">
                  <c:v>45978</c:v>
                </c:pt>
                <c:pt idx="17032">
                  <c:v>62674</c:v>
                </c:pt>
                <c:pt idx="17033">
                  <c:v>115558</c:v>
                </c:pt>
                <c:pt idx="17034">
                  <c:v>42522</c:v>
                </c:pt>
                <c:pt idx="17035">
                  <c:v>76261</c:v>
                </c:pt>
                <c:pt idx="17036">
                  <c:v>193553</c:v>
                </c:pt>
                <c:pt idx="17037">
                  <c:v>95228</c:v>
                </c:pt>
                <c:pt idx="17038">
                  <c:v>24461</c:v>
                </c:pt>
                <c:pt idx="17039">
                  <c:v>162150</c:v>
                </c:pt>
                <c:pt idx="17040">
                  <c:v>40182</c:v>
                </c:pt>
                <c:pt idx="17041">
                  <c:v>78879</c:v>
                </c:pt>
                <c:pt idx="17042">
                  <c:v>46662</c:v>
                </c:pt>
                <c:pt idx="17043">
                  <c:v>29031</c:v>
                </c:pt>
                <c:pt idx="17044">
                  <c:v>49215</c:v>
                </c:pt>
                <c:pt idx="17045">
                  <c:v>41065</c:v>
                </c:pt>
                <c:pt idx="17046">
                  <c:v>33021</c:v>
                </c:pt>
                <c:pt idx="17047">
                  <c:v>29859</c:v>
                </c:pt>
                <c:pt idx="17048">
                  <c:v>93969</c:v>
                </c:pt>
                <c:pt idx="17049">
                  <c:v>31269</c:v>
                </c:pt>
                <c:pt idx="17050">
                  <c:v>68294</c:v>
                </c:pt>
                <c:pt idx="17051">
                  <c:v>38786</c:v>
                </c:pt>
                <c:pt idx="17052">
                  <c:v>30397</c:v>
                </c:pt>
                <c:pt idx="17053">
                  <c:v>29254</c:v>
                </c:pt>
                <c:pt idx="17054">
                  <c:v>67523</c:v>
                </c:pt>
                <c:pt idx="17055">
                  <c:v>54486</c:v>
                </c:pt>
                <c:pt idx="17056">
                  <c:v>39839</c:v>
                </c:pt>
                <c:pt idx="17057">
                  <c:v>36999</c:v>
                </c:pt>
                <c:pt idx="17058">
                  <c:v>51678</c:v>
                </c:pt>
                <c:pt idx="17059">
                  <c:v>56362</c:v>
                </c:pt>
                <c:pt idx="17060">
                  <c:v>55545</c:v>
                </c:pt>
                <c:pt idx="17061">
                  <c:v>47236</c:v>
                </c:pt>
                <c:pt idx="17062">
                  <c:v>357986</c:v>
                </c:pt>
                <c:pt idx="17063">
                  <c:v>127102</c:v>
                </c:pt>
                <c:pt idx="17064">
                  <c:v>40887</c:v>
                </c:pt>
                <c:pt idx="17065">
                  <c:v>23396</c:v>
                </c:pt>
                <c:pt idx="17066">
                  <c:v>36289</c:v>
                </c:pt>
                <c:pt idx="17067">
                  <c:v>88630</c:v>
                </c:pt>
                <c:pt idx="17068">
                  <c:v>31376</c:v>
                </c:pt>
                <c:pt idx="17069">
                  <c:v>36907</c:v>
                </c:pt>
                <c:pt idx="17070">
                  <c:v>34870</c:v>
                </c:pt>
                <c:pt idx="17071">
                  <c:v>41393</c:v>
                </c:pt>
                <c:pt idx="17072">
                  <c:v>46623</c:v>
                </c:pt>
                <c:pt idx="17073">
                  <c:v>34410</c:v>
                </c:pt>
                <c:pt idx="17074">
                  <c:v>46217</c:v>
                </c:pt>
                <c:pt idx="17075">
                  <c:v>63708</c:v>
                </c:pt>
                <c:pt idx="17076">
                  <c:v>27384</c:v>
                </c:pt>
                <c:pt idx="17077">
                  <c:v>40964</c:v>
                </c:pt>
                <c:pt idx="17078">
                  <c:v>33327</c:v>
                </c:pt>
                <c:pt idx="17079">
                  <c:v>38522</c:v>
                </c:pt>
                <c:pt idx="17080">
                  <c:v>37917</c:v>
                </c:pt>
                <c:pt idx="17081">
                  <c:v>40132</c:v>
                </c:pt>
                <c:pt idx="17082">
                  <c:v>50488</c:v>
                </c:pt>
                <c:pt idx="17083">
                  <c:v>271586</c:v>
                </c:pt>
                <c:pt idx="17084">
                  <c:v>25287</c:v>
                </c:pt>
                <c:pt idx="17085">
                  <c:v>42463</c:v>
                </c:pt>
                <c:pt idx="17086">
                  <c:v>45371</c:v>
                </c:pt>
                <c:pt idx="17087">
                  <c:v>48143</c:v>
                </c:pt>
                <c:pt idx="17088">
                  <c:v>42607</c:v>
                </c:pt>
                <c:pt idx="17089">
                  <c:v>48285</c:v>
                </c:pt>
                <c:pt idx="17090">
                  <c:v>25050</c:v>
                </c:pt>
                <c:pt idx="17091">
                  <c:v>103610</c:v>
                </c:pt>
                <c:pt idx="17092">
                  <c:v>22951</c:v>
                </c:pt>
                <c:pt idx="17093">
                  <c:v>51037</c:v>
                </c:pt>
                <c:pt idx="17094">
                  <c:v>22188</c:v>
                </c:pt>
                <c:pt idx="17095">
                  <c:v>24016</c:v>
                </c:pt>
                <c:pt idx="17096">
                  <c:v>33523</c:v>
                </c:pt>
                <c:pt idx="17097">
                  <c:v>41309</c:v>
                </c:pt>
                <c:pt idx="17098">
                  <c:v>32999</c:v>
                </c:pt>
                <c:pt idx="17099">
                  <c:v>65651</c:v>
                </c:pt>
                <c:pt idx="17100">
                  <c:v>33753</c:v>
                </c:pt>
                <c:pt idx="17101">
                  <c:v>30972</c:v>
                </c:pt>
                <c:pt idx="17102">
                  <c:v>54939</c:v>
                </c:pt>
                <c:pt idx="17103">
                  <c:v>46575</c:v>
                </c:pt>
                <c:pt idx="17104">
                  <c:v>54630</c:v>
                </c:pt>
                <c:pt idx="17105">
                  <c:v>48078</c:v>
                </c:pt>
                <c:pt idx="17106">
                  <c:v>35402</c:v>
                </c:pt>
                <c:pt idx="17107">
                  <c:v>34204</c:v>
                </c:pt>
                <c:pt idx="17108">
                  <c:v>50064</c:v>
                </c:pt>
                <c:pt idx="17109">
                  <c:v>54843</c:v>
                </c:pt>
                <c:pt idx="17110">
                  <c:v>55472</c:v>
                </c:pt>
                <c:pt idx="17111">
                  <c:v>41229</c:v>
                </c:pt>
                <c:pt idx="17112">
                  <c:v>45003</c:v>
                </c:pt>
                <c:pt idx="17113">
                  <c:v>80707</c:v>
                </c:pt>
                <c:pt idx="17114">
                  <c:v>37636</c:v>
                </c:pt>
                <c:pt idx="17115">
                  <c:v>137701</c:v>
                </c:pt>
                <c:pt idx="17116">
                  <c:v>51053</c:v>
                </c:pt>
                <c:pt idx="17117">
                  <c:v>37029</c:v>
                </c:pt>
                <c:pt idx="17118">
                  <c:v>39556</c:v>
                </c:pt>
                <c:pt idx="17119">
                  <c:v>32340</c:v>
                </c:pt>
                <c:pt idx="17120">
                  <c:v>37701</c:v>
                </c:pt>
                <c:pt idx="17121">
                  <c:v>44782</c:v>
                </c:pt>
                <c:pt idx="17122">
                  <c:v>48924</c:v>
                </c:pt>
                <c:pt idx="17123">
                  <c:v>47921</c:v>
                </c:pt>
                <c:pt idx="17124">
                  <c:v>97490</c:v>
                </c:pt>
                <c:pt idx="17125">
                  <c:v>44887</c:v>
                </c:pt>
                <c:pt idx="17126">
                  <c:v>22604</c:v>
                </c:pt>
                <c:pt idx="17127">
                  <c:v>53903</c:v>
                </c:pt>
                <c:pt idx="17128">
                  <c:v>32388</c:v>
                </c:pt>
                <c:pt idx="17129">
                  <c:v>191146</c:v>
                </c:pt>
                <c:pt idx="17130">
                  <c:v>237252</c:v>
                </c:pt>
                <c:pt idx="17131">
                  <c:v>43157</c:v>
                </c:pt>
                <c:pt idx="17132">
                  <c:v>28553</c:v>
                </c:pt>
                <c:pt idx="17133">
                  <c:v>38523</c:v>
                </c:pt>
                <c:pt idx="17134">
                  <c:v>65425</c:v>
                </c:pt>
                <c:pt idx="17135">
                  <c:v>42109</c:v>
                </c:pt>
                <c:pt idx="17136">
                  <c:v>24782</c:v>
                </c:pt>
                <c:pt idx="17137">
                  <c:v>84668</c:v>
                </c:pt>
                <c:pt idx="17138">
                  <c:v>27785</c:v>
                </c:pt>
                <c:pt idx="17139">
                  <c:v>39394</c:v>
                </c:pt>
                <c:pt idx="17140">
                  <c:v>77476</c:v>
                </c:pt>
                <c:pt idx="17141">
                  <c:v>67371</c:v>
                </c:pt>
                <c:pt idx="17142">
                  <c:v>179187</c:v>
                </c:pt>
                <c:pt idx="17143">
                  <c:v>73937</c:v>
                </c:pt>
                <c:pt idx="17144">
                  <c:v>53312</c:v>
                </c:pt>
                <c:pt idx="17145">
                  <c:v>47617</c:v>
                </c:pt>
                <c:pt idx="17146">
                  <c:v>65923</c:v>
                </c:pt>
                <c:pt idx="17147">
                  <c:v>29481</c:v>
                </c:pt>
                <c:pt idx="17148">
                  <c:v>41385</c:v>
                </c:pt>
                <c:pt idx="17149">
                  <c:v>38021</c:v>
                </c:pt>
                <c:pt idx="17150">
                  <c:v>43158</c:v>
                </c:pt>
                <c:pt idx="17151">
                  <c:v>54258</c:v>
                </c:pt>
                <c:pt idx="17152">
                  <c:v>94254</c:v>
                </c:pt>
                <c:pt idx="17153">
                  <c:v>28204</c:v>
                </c:pt>
                <c:pt idx="17154">
                  <c:v>27638</c:v>
                </c:pt>
                <c:pt idx="17155">
                  <c:v>84060</c:v>
                </c:pt>
                <c:pt idx="17156">
                  <c:v>43153</c:v>
                </c:pt>
                <c:pt idx="17157">
                  <c:v>26387</c:v>
                </c:pt>
                <c:pt idx="17158">
                  <c:v>50988</c:v>
                </c:pt>
                <c:pt idx="17159">
                  <c:v>75310</c:v>
                </c:pt>
                <c:pt idx="17160">
                  <c:v>150931</c:v>
                </c:pt>
                <c:pt idx="17161">
                  <c:v>18960</c:v>
                </c:pt>
                <c:pt idx="17162">
                  <c:v>59533</c:v>
                </c:pt>
                <c:pt idx="17163">
                  <c:v>37597</c:v>
                </c:pt>
                <c:pt idx="17164">
                  <c:v>102204</c:v>
                </c:pt>
                <c:pt idx="17165">
                  <c:v>22844</c:v>
                </c:pt>
                <c:pt idx="17166">
                  <c:v>67958</c:v>
                </c:pt>
                <c:pt idx="17167">
                  <c:v>25912</c:v>
                </c:pt>
                <c:pt idx="17168">
                  <c:v>87978</c:v>
                </c:pt>
                <c:pt idx="17169">
                  <c:v>22493</c:v>
                </c:pt>
                <c:pt idx="17170">
                  <c:v>40401</c:v>
                </c:pt>
                <c:pt idx="17171">
                  <c:v>49829</c:v>
                </c:pt>
                <c:pt idx="17172">
                  <c:v>25952</c:v>
                </c:pt>
                <c:pt idx="17173">
                  <c:v>89563</c:v>
                </c:pt>
                <c:pt idx="17174">
                  <c:v>78783</c:v>
                </c:pt>
                <c:pt idx="17175">
                  <c:v>59290</c:v>
                </c:pt>
                <c:pt idx="17176">
                  <c:v>75956</c:v>
                </c:pt>
                <c:pt idx="17177">
                  <c:v>34313</c:v>
                </c:pt>
                <c:pt idx="17178">
                  <c:v>47549</c:v>
                </c:pt>
                <c:pt idx="17179">
                  <c:v>45494</c:v>
                </c:pt>
                <c:pt idx="17180">
                  <c:v>49107</c:v>
                </c:pt>
                <c:pt idx="17181">
                  <c:v>41921</c:v>
                </c:pt>
                <c:pt idx="17182">
                  <c:v>97977</c:v>
                </c:pt>
                <c:pt idx="17183">
                  <c:v>56197</c:v>
                </c:pt>
                <c:pt idx="17184">
                  <c:v>32915</c:v>
                </c:pt>
                <c:pt idx="17185">
                  <c:v>28702</c:v>
                </c:pt>
                <c:pt idx="17186">
                  <c:v>44512</c:v>
                </c:pt>
                <c:pt idx="17187">
                  <c:v>38036</c:v>
                </c:pt>
                <c:pt idx="17188">
                  <c:v>40217</c:v>
                </c:pt>
                <c:pt idx="17189">
                  <c:v>59205</c:v>
                </c:pt>
                <c:pt idx="17190">
                  <c:v>25029</c:v>
                </c:pt>
                <c:pt idx="17191">
                  <c:v>22931</c:v>
                </c:pt>
                <c:pt idx="17192">
                  <c:v>66476</c:v>
                </c:pt>
                <c:pt idx="17193">
                  <c:v>46033</c:v>
                </c:pt>
                <c:pt idx="17194">
                  <c:v>116617</c:v>
                </c:pt>
                <c:pt idx="17195">
                  <c:v>49874</c:v>
                </c:pt>
                <c:pt idx="17196">
                  <c:v>192699</c:v>
                </c:pt>
                <c:pt idx="17197">
                  <c:v>64535</c:v>
                </c:pt>
                <c:pt idx="17198">
                  <c:v>119874</c:v>
                </c:pt>
                <c:pt idx="17199">
                  <c:v>168362</c:v>
                </c:pt>
                <c:pt idx="17200">
                  <c:v>79927</c:v>
                </c:pt>
                <c:pt idx="17201">
                  <c:v>23733</c:v>
                </c:pt>
                <c:pt idx="17202">
                  <c:v>208718</c:v>
                </c:pt>
                <c:pt idx="17203">
                  <c:v>77525</c:v>
                </c:pt>
                <c:pt idx="17204">
                  <c:v>30414</c:v>
                </c:pt>
                <c:pt idx="17205">
                  <c:v>43745</c:v>
                </c:pt>
                <c:pt idx="17206">
                  <c:v>36626</c:v>
                </c:pt>
                <c:pt idx="17207">
                  <c:v>46684</c:v>
                </c:pt>
                <c:pt idx="17208">
                  <c:v>25137</c:v>
                </c:pt>
                <c:pt idx="17209">
                  <c:v>212526</c:v>
                </c:pt>
                <c:pt idx="17210">
                  <c:v>20400</c:v>
                </c:pt>
                <c:pt idx="17211">
                  <c:v>34301</c:v>
                </c:pt>
                <c:pt idx="17212">
                  <c:v>76470</c:v>
                </c:pt>
                <c:pt idx="17213">
                  <c:v>140171</c:v>
                </c:pt>
                <c:pt idx="17214">
                  <c:v>93409</c:v>
                </c:pt>
                <c:pt idx="17215">
                  <c:v>44827</c:v>
                </c:pt>
                <c:pt idx="17216">
                  <c:v>42957</c:v>
                </c:pt>
                <c:pt idx="17217">
                  <c:v>85940</c:v>
                </c:pt>
                <c:pt idx="17218">
                  <c:v>35422</c:v>
                </c:pt>
                <c:pt idx="17219">
                  <c:v>50586</c:v>
                </c:pt>
                <c:pt idx="17220">
                  <c:v>47040</c:v>
                </c:pt>
                <c:pt idx="17221">
                  <c:v>69545</c:v>
                </c:pt>
                <c:pt idx="17222">
                  <c:v>24742</c:v>
                </c:pt>
                <c:pt idx="17223">
                  <c:v>102039</c:v>
                </c:pt>
                <c:pt idx="17224">
                  <c:v>103352</c:v>
                </c:pt>
                <c:pt idx="17225">
                  <c:v>26597</c:v>
                </c:pt>
                <c:pt idx="17226">
                  <c:v>36890</c:v>
                </c:pt>
                <c:pt idx="17227">
                  <c:v>37338</c:v>
                </c:pt>
                <c:pt idx="17228">
                  <c:v>97573</c:v>
                </c:pt>
                <c:pt idx="17229">
                  <c:v>43518</c:v>
                </c:pt>
                <c:pt idx="17230">
                  <c:v>78761</c:v>
                </c:pt>
                <c:pt idx="17231">
                  <c:v>37212</c:v>
                </c:pt>
                <c:pt idx="17232">
                  <c:v>42215</c:v>
                </c:pt>
                <c:pt idx="17233">
                  <c:v>58235</c:v>
                </c:pt>
                <c:pt idx="17234">
                  <c:v>42248</c:v>
                </c:pt>
                <c:pt idx="17235">
                  <c:v>52377</c:v>
                </c:pt>
                <c:pt idx="17236">
                  <c:v>55172</c:v>
                </c:pt>
                <c:pt idx="17237">
                  <c:v>34372</c:v>
                </c:pt>
                <c:pt idx="17238">
                  <c:v>39811</c:v>
                </c:pt>
                <c:pt idx="17239">
                  <c:v>228581</c:v>
                </c:pt>
                <c:pt idx="17240">
                  <c:v>48849</c:v>
                </c:pt>
                <c:pt idx="17241">
                  <c:v>43498</c:v>
                </c:pt>
                <c:pt idx="17242">
                  <c:v>164050</c:v>
                </c:pt>
                <c:pt idx="17243">
                  <c:v>33214</c:v>
                </c:pt>
                <c:pt idx="17244">
                  <c:v>34619</c:v>
                </c:pt>
                <c:pt idx="17245">
                  <c:v>46617</c:v>
                </c:pt>
                <c:pt idx="17246">
                  <c:v>125514</c:v>
                </c:pt>
                <c:pt idx="17247">
                  <c:v>383105</c:v>
                </c:pt>
                <c:pt idx="17248">
                  <c:v>23629</c:v>
                </c:pt>
                <c:pt idx="17249">
                  <c:v>90104</c:v>
                </c:pt>
                <c:pt idx="17250">
                  <c:v>36596</c:v>
                </c:pt>
                <c:pt idx="17251">
                  <c:v>43907</c:v>
                </c:pt>
                <c:pt idx="17252">
                  <c:v>53442</c:v>
                </c:pt>
                <c:pt idx="17253">
                  <c:v>71531</c:v>
                </c:pt>
                <c:pt idx="17254">
                  <c:v>79628</c:v>
                </c:pt>
                <c:pt idx="17255">
                  <c:v>52758</c:v>
                </c:pt>
                <c:pt idx="17256">
                  <c:v>79007</c:v>
                </c:pt>
                <c:pt idx="17257">
                  <c:v>50512</c:v>
                </c:pt>
                <c:pt idx="17258">
                  <c:v>70264</c:v>
                </c:pt>
                <c:pt idx="17259">
                  <c:v>38736</c:v>
                </c:pt>
                <c:pt idx="17260">
                  <c:v>45034</c:v>
                </c:pt>
                <c:pt idx="17261">
                  <c:v>34309</c:v>
                </c:pt>
                <c:pt idx="17262">
                  <c:v>23831</c:v>
                </c:pt>
                <c:pt idx="17263">
                  <c:v>32508</c:v>
                </c:pt>
                <c:pt idx="17264">
                  <c:v>54472</c:v>
                </c:pt>
                <c:pt idx="17265">
                  <c:v>27396</c:v>
                </c:pt>
                <c:pt idx="17266">
                  <c:v>51363</c:v>
                </c:pt>
                <c:pt idx="17267">
                  <c:v>128658</c:v>
                </c:pt>
                <c:pt idx="17268">
                  <c:v>105009</c:v>
                </c:pt>
                <c:pt idx="17269">
                  <c:v>79822</c:v>
                </c:pt>
                <c:pt idx="17270">
                  <c:v>41006</c:v>
                </c:pt>
                <c:pt idx="17271">
                  <c:v>85644</c:v>
                </c:pt>
                <c:pt idx="17272">
                  <c:v>86506</c:v>
                </c:pt>
                <c:pt idx="17273">
                  <c:v>63728</c:v>
                </c:pt>
                <c:pt idx="17274">
                  <c:v>39556</c:v>
                </c:pt>
                <c:pt idx="17275">
                  <c:v>138667</c:v>
                </c:pt>
                <c:pt idx="17276">
                  <c:v>35775</c:v>
                </c:pt>
                <c:pt idx="17277">
                  <c:v>60119</c:v>
                </c:pt>
                <c:pt idx="17278">
                  <c:v>42445</c:v>
                </c:pt>
                <c:pt idx="17279">
                  <c:v>45620</c:v>
                </c:pt>
                <c:pt idx="17280">
                  <c:v>114469</c:v>
                </c:pt>
                <c:pt idx="17281">
                  <c:v>24051</c:v>
                </c:pt>
                <c:pt idx="17282">
                  <c:v>32406</c:v>
                </c:pt>
                <c:pt idx="17283">
                  <c:v>78528</c:v>
                </c:pt>
                <c:pt idx="17284">
                  <c:v>23331</c:v>
                </c:pt>
                <c:pt idx="17285">
                  <c:v>52077</c:v>
                </c:pt>
                <c:pt idx="17286">
                  <c:v>28074</c:v>
                </c:pt>
                <c:pt idx="17287">
                  <c:v>61065</c:v>
                </c:pt>
                <c:pt idx="17288">
                  <c:v>36741</c:v>
                </c:pt>
                <c:pt idx="17289">
                  <c:v>48624</c:v>
                </c:pt>
                <c:pt idx="17290">
                  <c:v>29418</c:v>
                </c:pt>
                <c:pt idx="17291">
                  <c:v>33992</c:v>
                </c:pt>
                <c:pt idx="17292">
                  <c:v>24600</c:v>
                </c:pt>
                <c:pt idx="17293">
                  <c:v>75206</c:v>
                </c:pt>
                <c:pt idx="17294">
                  <c:v>37766</c:v>
                </c:pt>
                <c:pt idx="17295">
                  <c:v>271019</c:v>
                </c:pt>
                <c:pt idx="17296">
                  <c:v>26275</c:v>
                </c:pt>
                <c:pt idx="17297">
                  <c:v>39030</c:v>
                </c:pt>
                <c:pt idx="17298">
                  <c:v>35652</c:v>
                </c:pt>
                <c:pt idx="17299">
                  <c:v>34051</c:v>
                </c:pt>
                <c:pt idx="17300">
                  <c:v>33730</c:v>
                </c:pt>
                <c:pt idx="17301">
                  <c:v>36334</c:v>
                </c:pt>
                <c:pt idx="17302">
                  <c:v>36012</c:v>
                </c:pt>
                <c:pt idx="17303">
                  <c:v>43872</c:v>
                </c:pt>
                <c:pt idx="17304">
                  <c:v>29460</c:v>
                </c:pt>
                <c:pt idx="17305">
                  <c:v>24193</c:v>
                </c:pt>
                <c:pt idx="17306">
                  <c:v>39067</c:v>
                </c:pt>
                <c:pt idx="17307">
                  <c:v>25705</c:v>
                </c:pt>
                <c:pt idx="17308">
                  <c:v>52739</c:v>
                </c:pt>
                <c:pt idx="17309">
                  <c:v>39004</c:v>
                </c:pt>
                <c:pt idx="17310">
                  <c:v>111322</c:v>
                </c:pt>
                <c:pt idx="17311">
                  <c:v>49066</c:v>
                </c:pt>
                <c:pt idx="17312">
                  <c:v>32823</c:v>
                </c:pt>
                <c:pt idx="17313">
                  <c:v>207243</c:v>
                </c:pt>
                <c:pt idx="17314">
                  <c:v>106268</c:v>
                </c:pt>
                <c:pt idx="17315">
                  <c:v>40312</c:v>
                </c:pt>
                <c:pt idx="17316">
                  <c:v>36307</c:v>
                </c:pt>
                <c:pt idx="17317">
                  <c:v>37302</c:v>
                </c:pt>
                <c:pt idx="17318">
                  <c:v>62056</c:v>
                </c:pt>
                <c:pt idx="17319">
                  <c:v>22581</c:v>
                </c:pt>
                <c:pt idx="17320">
                  <c:v>242797</c:v>
                </c:pt>
                <c:pt idx="17321">
                  <c:v>25449</c:v>
                </c:pt>
                <c:pt idx="17322">
                  <c:v>63981</c:v>
                </c:pt>
                <c:pt idx="17323">
                  <c:v>34888</c:v>
                </c:pt>
                <c:pt idx="17324">
                  <c:v>129682</c:v>
                </c:pt>
                <c:pt idx="17325">
                  <c:v>22197</c:v>
                </c:pt>
                <c:pt idx="17326">
                  <c:v>61662</c:v>
                </c:pt>
                <c:pt idx="17327">
                  <c:v>61796</c:v>
                </c:pt>
                <c:pt idx="17328">
                  <c:v>53742</c:v>
                </c:pt>
                <c:pt idx="17329">
                  <c:v>33354</c:v>
                </c:pt>
                <c:pt idx="17330">
                  <c:v>77582</c:v>
                </c:pt>
                <c:pt idx="17331">
                  <c:v>110392</c:v>
                </c:pt>
                <c:pt idx="17332">
                  <c:v>15000</c:v>
                </c:pt>
                <c:pt idx="17333">
                  <c:v>42351</c:v>
                </c:pt>
                <c:pt idx="17334">
                  <c:v>30589</c:v>
                </c:pt>
                <c:pt idx="17335">
                  <c:v>73722</c:v>
                </c:pt>
                <c:pt idx="17336">
                  <c:v>59869</c:v>
                </c:pt>
                <c:pt idx="17337">
                  <c:v>46341</c:v>
                </c:pt>
                <c:pt idx="17338">
                  <c:v>27684</c:v>
                </c:pt>
                <c:pt idx="17339">
                  <c:v>41682</c:v>
                </c:pt>
                <c:pt idx="17340">
                  <c:v>218192</c:v>
                </c:pt>
                <c:pt idx="17341">
                  <c:v>47188</c:v>
                </c:pt>
                <c:pt idx="17342">
                  <c:v>37912</c:v>
                </c:pt>
                <c:pt idx="17343">
                  <c:v>41837</c:v>
                </c:pt>
                <c:pt idx="17344">
                  <c:v>23989</c:v>
                </c:pt>
                <c:pt idx="17345">
                  <c:v>54706</c:v>
                </c:pt>
                <c:pt idx="17346">
                  <c:v>25053</c:v>
                </c:pt>
                <c:pt idx="17347">
                  <c:v>37408</c:v>
                </c:pt>
                <c:pt idx="17348">
                  <c:v>47116</c:v>
                </c:pt>
                <c:pt idx="17349">
                  <c:v>42382</c:v>
                </c:pt>
                <c:pt idx="17350">
                  <c:v>24532</c:v>
                </c:pt>
                <c:pt idx="17351">
                  <c:v>16811</c:v>
                </c:pt>
                <c:pt idx="17352">
                  <c:v>36991</c:v>
                </c:pt>
                <c:pt idx="17353">
                  <c:v>77009</c:v>
                </c:pt>
                <c:pt idx="17354">
                  <c:v>47105</c:v>
                </c:pt>
                <c:pt idx="17355">
                  <c:v>79917</c:v>
                </c:pt>
                <c:pt idx="17356">
                  <c:v>27717</c:v>
                </c:pt>
                <c:pt idx="17357">
                  <c:v>45434</c:v>
                </c:pt>
                <c:pt idx="17358">
                  <c:v>56524</c:v>
                </c:pt>
                <c:pt idx="17359">
                  <c:v>50826</c:v>
                </c:pt>
                <c:pt idx="17360">
                  <c:v>312994</c:v>
                </c:pt>
                <c:pt idx="17361">
                  <c:v>98263</c:v>
                </c:pt>
                <c:pt idx="17362">
                  <c:v>74800</c:v>
                </c:pt>
                <c:pt idx="17363">
                  <c:v>39849</c:v>
                </c:pt>
                <c:pt idx="17364">
                  <c:v>52613</c:v>
                </c:pt>
                <c:pt idx="17365">
                  <c:v>27097</c:v>
                </c:pt>
                <c:pt idx="17366">
                  <c:v>131235</c:v>
                </c:pt>
                <c:pt idx="17367">
                  <c:v>32327</c:v>
                </c:pt>
                <c:pt idx="17368">
                  <c:v>38924</c:v>
                </c:pt>
                <c:pt idx="17369">
                  <c:v>188578</c:v>
                </c:pt>
                <c:pt idx="17370">
                  <c:v>44272</c:v>
                </c:pt>
                <c:pt idx="17371">
                  <c:v>52084</c:v>
                </c:pt>
                <c:pt idx="17372">
                  <c:v>248577</c:v>
                </c:pt>
                <c:pt idx="17373">
                  <c:v>46676</c:v>
                </c:pt>
                <c:pt idx="17374">
                  <c:v>64203</c:v>
                </c:pt>
                <c:pt idx="17375">
                  <c:v>46100</c:v>
                </c:pt>
                <c:pt idx="17376">
                  <c:v>21139</c:v>
                </c:pt>
                <c:pt idx="17377">
                  <c:v>49508</c:v>
                </c:pt>
                <c:pt idx="17378">
                  <c:v>46155</c:v>
                </c:pt>
                <c:pt idx="17379">
                  <c:v>78797</c:v>
                </c:pt>
                <c:pt idx="17380">
                  <c:v>120583</c:v>
                </c:pt>
                <c:pt idx="17381">
                  <c:v>51757</c:v>
                </c:pt>
                <c:pt idx="17382">
                  <c:v>62503</c:v>
                </c:pt>
                <c:pt idx="17383">
                  <c:v>32462</c:v>
                </c:pt>
                <c:pt idx="17384">
                  <c:v>136269</c:v>
                </c:pt>
                <c:pt idx="17385">
                  <c:v>41289</c:v>
                </c:pt>
                <c:pt idx="17386">
                  <c:v>88362</c:v>
                </c:pt>
                <c:pt idx="17387">
                  <c:v>65960</c:v>
                </c:pt>
                <c:pt idx="17388">
                  <c:v>37943</c:v>
                </c:pt>
                <c:pt idx="17389">
                  <c:v>29375</c:v>
                </c:pt>
                <c:pt idx="17390">
                  <c:v>86768</c:v>
                </c:pt>
                <c:pt idx="17391">
                  <c:v>26283</c:v>
                </c:pt>
                <c:pt idx="17392">
                  <c:v>35506</c:v>
                </c:pt>
                <c:pt idx="17393">
                  <c:v>82659</c:v>
                </c:pt>
                <c:pt idx="17394">
                  <c:v>34527</c:v>
                </c:pt>
                <c:pt idx="17395">
                  <c:v>58835</c:v>
                </c:pt>
                <c:pt idx="17396">
                  <c:v>51170</c:v>
                </c:pt>
                <c:pt idx="17397">
                  <c:v>52032</c:v>
                </c:pt>
                <c:pt idx="17398">
                  <c:v>27324</c:v>
                </c:pt>
                <c:pt idx="17399">
                  <c:v>205954</c:v>
                </c:pt>
                <c:pt idx="17400">
                  <c:v>105238</c:v>
                </c:pt>
                <c:pt idx="17401">
                  <c:v>58775</c:v>
                </c:pt>
                <c:pt idx="17402">
                  <c:v>46204</c:v>
                </c:pt>
                <c:pt idx="17403">
                  <c:v>98429</c:v>
                </c:pt>
                <c:pt idx="17404">
                  <c:v>149723</c:v>
                </c:pt>
                <c:pt idx="17405">
                  <c:v>32024</c:v>
                </c:pt>
                <c:pt idx="17406">
                  <c:v>37587</c:v>
                </c:pt>
                <c:pt idx="17407">
                  <c:v>53132</c:v>
                </c:pt>
                <c:pt idx="17408">
                  <c:v>49572</c:v>
                </c:pt>
                <c:pt idx="17409">
                  <c:v>53916</c:v>
                </c:pt>
                <c:pt idx="17410">
                  <c:v>136965</c:v>
                </c:pt>
                <c:pt idx="17411">
                  <c:v>136315</c:v>
                </c:pt>
                <c:pt idx="17412">
                  <c:v>24472</c:v>
                </c:pt>
                <c:pt idx="17413">
                  <c:v>89260</c:v>
                </c:pt>
                <c:pt idx="17414">
                  <c:v>41626</c:v>
                </c:pt>
                <c:pt idx="17415">
                  <c:v>40820</c:v>
                </c:pt>
                <c:pt idx="17416">
                  <c:v>47828</c:v>
                </c:pt>
                <c:pt idx="17417">
                  <c:v>72442</c:v>
                </c:pt>
                <c:pt idx="17418">
                  <c:v>23235</c:v>
                </c:pt>
                <c:pt idx="17419">
                  <c:v>33224</c:v>
                </c:pt>
                <c:pt idx="17420">
                  <c:v>34420</c:v>
                </c:pt>
                <c:pt idx="17421">
                  <c:v>26468</c:v>
                </c:pt>
                <c:pt idx="17422">
                  <c:v>38063</c:v>
                </c:pt>
                <c:pt idx="17423">
                  <c:v>73451</c:v>
                </c:pt>
                <c:pt idx="17424">
                  <c:v>35327</c:v>
                </c:pt>
                <c:pt idx="17425">
                  <c:v>233450</c:v>
                </c:pt>
                <c:pt idx="17426">
                  <c:v>37953</c:v>
                </c:pt>
                <c:pt idx="17427">
                  <c:v>149118</c:v>
                </c:pt>
                <c:pt idx="17428">
                  <c:v>32338</c:v>
                </c:pt>
                <c:pt idx="17429">
                  <c:v>33637</c:v>
                </c:pt>
                <c:pt idx="17430">
                  <c:v>42572</c:v>
                </c:pt>
                <c:pt idx="17431">
                  <c:v>57277</c:v>
                </c:pt>
                <c:pt idx="17432">
                  <c:v>263027</c:v>
                </c:pt>
                <c:pt idx="17433">
                  <c:v>33010</c:v>
                </c:pt>
                <c:pt idx="17434">
                  <c:v>27920</c:v>
                </c:pt>
                <c:pt idx="17435">
                  <c:v>57557</c:v>
                </c:pt>
                <c:pt idx="17436">
                  <c:v>40173</c:v>
                </c:pt>
                <c:pt idx="17437">
                  <c:v>152530</c:v>
                </c:pt>
                <c:pt idx="17438">
                  <c:v>45419</c:v>
                </c:pt>
                <c:pt idx="17439">
                  <c:v>59580</c:v>
                </c:pt>
                <c:pt idx="17440">
                  <c:v>221308</c:v>
                </c:pt>
                <c:pt idx="17441">
                  <c:v>55057</c:v>
                </c:pt>
                <c:pt idx="17442">
                  <c:v>159645</c:v>
                </c:pt>
                <c:pt idx="17443">
                  <c:v>31817</c:v>
                </c:pt>
                <c:pt idx="17444">
                  <c:v>33362</c:v>
                </c:pt>
                <c:pt idx="17445">
                  <c:v>91481</c:v>
                </c:pt>
                <c:pt idx="17446">
                  <c:v>64547</c:v>
                </c:pt>
                <c:pt idx="17447">
                  <c:v>251004</c:v>
                </c:pt>
                <c:pt idx="17448">
                  <c:v>25265</c:v>
                </c:pt>
                <c:pt idx="17449">
                  <c:v>39743</c:v>
                </c:pt>
                <c:pt idx="17450">
                  <c:v>108136</c:v>
                </c:pt>
                <c:pt idx="17451">
                  <c:v>51011</c:v>
                </c:pt>
                <c:pt idx="17452">
                  <c:v>28526</c:v>
                </c:pt>
                <c:pt idx="17453">
                  <c:v>31492</c:v>
                </c:pt>
                <c:pt idx="17454">
                  <c:v>51134</c:v>
                </c:pt>
                <c:pt idx="17455">
                  <c:v>29617</c:v>
                </c:pt>
                <c:pt idx="17456">
                  <c:v>213673</c:v>
                </c:pt>
                <c:pt idx="17457">
                  <c:v>108224</c:v>
                </c:pt>
                <c:pt idx="17458">
                  <c:v>42224</c:v>
                </c:pt>
                <c:pt idx="17459">
                  <c:v>38555</c:v>
                </c:pt>
                <c:pt idx="17460">
                  <c:v>37548</c:v>
                </c:pt>
                <c:pt idx="17461">
                  <c:v>38549</c:v>
                </c:pt>
                <c:pt idx="17462">
                  <c:v>74555</c:v>
                </c:pt>
                <c:pt idx="17463">
                  <c:v>34708</c:v>
                </c:pt>
                <c:pt idx="17464">
                  <c:v>46602</c:v>
                </c:pt>
                <c:pt idx="17465">
                  <c:v>38526</c:v>
                </c:pt>
                <c:pt idx="17466">
                  <c:v>24062</c:v>
                </c:pt>
                <c:pt idx="17467">
                  <c:v>52601</c:v>
                </c:pt>
                <c:pt idx="17468">
                  <c:v>46477</c:v>
                </c:pt>
                <c:pt idx="17469">
                  <c:v>42032</c:v>
                </c:pt>
                <c:pt idx="17470">
                  <c:v>35235</c:v>
                </c:pt>
                <c:pt idx="17471">
                  <c:v>154943</c:v>
                </c:pt>
                <c:pt idx="17472">
                  <c:v>59250</c:v>
                </c:pt>
                <c:pt idx="17473">
                  <c:v>38313</c:v>
                </c:pt>
                <c:pt idx="17474">
                  <c:v>43083</c:v>
                </c:pt>
                <c:pt idx="17475">
                  <c:v>35346</c:v>
                </c:pt>
                <c:pt idx="17476">
                  <c:v>74095</c:v>
                </c:pt>
                <c:pt idx="17477">
                  <c:v>85966</c:v>
                </c:pt>
                <c:pt idx="17478">
                  <c:v>35424</c:v>
                </c:pt>
                <c:pt idx="17479">
                  <c:v>51615</c:v>
                </c:pt>
                <c:pt idx="17480">
                  <c:v>52865</c:v>
                </c:pt>
                <c:pt idx="17481">
                  <c:v>43404</c:v>
                </c:pt>
                <c:pt idx="17482">
                  <c:v>50672</c:v>
                </c:pt>
                <c:pt idx="17483">
                  <c:v>41274</c:v>
                </c:pt>
                <c:pt idx="17484">
                  <c:v>41864</c:v>
                </c:pt>
                <c:pt idx="17485">
                  <c:v>109122</c:v>
                </c:pt>
                <c:pt idx="17486">
                  <c:v>235664</c:v>
                </c:pt>
                <c:pt idx="17487">
                  <c:v>34963</c:v>
                </c:pt>
                <c:pt idx="17488">
                  <c:v>121750</c:v>
                </c:pt>
                <c:pt idx="17489">
                  <c:v>31164</c:v>
                </c:pt>
                <c:pt idx="17490">
                  <c:v>237500</c:v>
                </c:pt>
                <c:pt idx="17491">
                  <c:v>36529</c:v>
                </c:pt>
                <c:pt idx="17492">
                  <c:v>24539</c:v>
                </c:pt>
                <c:pt idx="17493">
                  <c:v>86218</c:v>
                </c:pt>
                <c:pt idx="17494">
                  <c:v>43162</c:v>
                </c:pt>
                <c:pt idx="17495">
                  <c:v>34922</c:v>
                </c:pt>
                <c:pt idx="17496">
                  <c:v>33083</c:v>
                </c:pt>
                <c:pt idx="17497">
                  <c:v>42248</c:v>
                </c:pt>
                <c:pt idx="17498">
                  <c:v>203203</c:v>
                </c:pt>
                <c:pt idx="17499">
                  <c:v>59545</c:v>
                </c:pt>
                <c:pt idx="17500">
                  <c:v>42966</c:v>
                </c:pt>
                <c:pt idx="17501">
                  <c:v>74548</c:v>
                </c:pt>
                <c:pt idx="17502">
                  <c:v>42835</c:v>
                </c:pt>
                <c:pt idx="17503">
                  <c:v>46444</c:v>
                </c:pt>
                <c:pt idx="17504">
                  <c:v>123293</c:v>
                </c:pt>
                <c:pt idx="17505">
                  <c:v>151033</c:v>
                </c:pt>
                <c:pt idx="17506">
                  <c:v>27409</c:v>
                </c:pt>
                <c:pt idx="17507">
                  <c:v>335276</c:v>
                </c:pt>
                <c:pt idx="17508">
                  <c:v>39229</c:v>
                </c:pt>
                <c:pt idx="17509">
                  <c:v>29157</c:v>
                </c:pt>
                <c:pt idx="17510">
                  <c:v>70206</c:v>
                </c:pt>
                <c:pt idx="17511">
                  <c:v>38455</c:v>
                </c:pt>
                <c:pt idx="17512">
                  <c:v>35877</c:v>
                </c:pt>
                <c:pt idx="17513">
                  <c:v>66357</c:v>
                </c:pt>
                <c:pt idx="17514">
                  <c:v>37679</c:v>
                </c:pt>
                <c:pt idx="17515">
                  <c:v>69278</c:v>
                </c:pt>
                <c:pt idx="17516">
                  <c:v>39599</c:v>
                </c:pt>
                <c:pt idx="17517">
                  <c:v>22216</c:v>
                </c:pt>
                <c:pt idx="17518">
                  <c:v>76608</c:v>
                </c:pt>
                <c:pt idx="17519">
                  <c:v>81250</c:v>
                </c:pt>
                <c:pt idx="17520">
                  <c:v>71230</c:v>
                </c:pt>
                <c:pt idx="17521">
                  <c:v>46099</c:v>
                </c:pt>
                <c:pt idx="17522">
                  <c:v>62674</c:v>
                </c:pt>
                <c:pt idx="17523">
                  <c:v>59368</c:v>
                </c:pt>
                <c:pt idx="17524">
                  <c:v>410129</c:v>
                </c:pt>
                <c:pt idx="17525">
                  <c:v>23767</c:v>
                </c:pt>
                <c:pt idx="17526">
                  <c:v>67170</c:v>
                </c:pt>
                <c:pt idx="17527">
                  <c:v>60292</c:v>
                </c:pt>
                <c:pt idx="17528">
                  <c:v>34892</c:v>
                </c:pt>
                <c:pt idx="17529">
                  <c:v>44389</c:v>
                </c:pt>
                <c:pt idx="17530">
                  <c:v>43798</c:v>
                </c:pt>
                <c:pt idx="17531">
                  <c:v>41067</c:v>
                </c:pt>
                <c:pt idx="17532">
                  <c:v>27618</c:v>
                </c:pt>
                <c:pt idx="17533">
                  <c:v>35836</c:v>
                </c:pt>
                <c:pt idx="17534">
                  <c:v>117284</c:v>
                </c:pt>
                <c:pt idx="17535">
                  <c:v>49573</c:v>
                </c:pt>
                <c:pt idx="17536">
                  <c:v>24269</c:v>
                </c:pt>
                <c:pt idx="17537">
                  <c:v>45091</c:v>
                </c:pt>
                <c:pt idx="17538">
                  <c:v>36675</c:v>
                </c:pt>
                <c:pt idx="17539">
                  <c:v>43065</c:v>
                </c:pt>
                <c:pt idx="17540">
                  <c:v>86013</c:v>
                </c:pt>
                <c:pt idx="17541">
                  <c:v>38478</c:v>
                </c:pt>
                <c:pt idx="17542">
                  <c:v>125191</c:v>
                </c:pt>
                <c:pt idx="17543">
                  <c:v>44661</c:v>
                </c:pt>
                <c:pt idx="17544">
                  <c:v>41070</c:v>
                </c:pt>
                <c:pt idx="17545">
                  <c:v>58097</c:v>
                </c:pt>
                <c:pt idx="17546">
                  <c:v>28580</c:v>
                </c:pt>
                <c:pt idx="17547">
                  <c:v>42930</c:v>
                </c:pt>
                <c:pt idx="17548">
                  <c:v>39345</c:v>
                </c:pt>
                <c:pt idx="17549">
                  <c:v>126137</c:v>
                </c:pt>
                <c:pt idx="17550">
                  <c:v>38401</c:v>
                </c:pt>
                <c:pt idx="17551">
                  <c:v>44546</c:v>
                </c:pt>
                <c:pt idx="17552">
                  <c:v>101326</c:v>
                </c:pt>
                <c:pt idx="17553">
                  <c:v>185938</c:v>
                </c:pt>
                <c:pt idx="17554">
                  <c:v>59450</c:v>
                </c:pt>
                <c:pt idx="17555">
                  <c:v>26438</c:v>
                </c:pt>
                <c:pt idx="17556">
                  <c:v>72451</c:v>
                </c:pt>
                <c:pt idx="17557">
                  <c:v>26583</c:v>
                </c:pt>
                <c:pt idx="17558">
                  <c:v>35511</c:v>
                </c:pt>
                <c:pt idx="17559">
                  <c:v>117395</c:v>
                </c:pt>
                <c:pt idx="17560">
                  <c:v>27315</c:v>
                </c:pt>
                <c:pt idx="17561">
                  <c:v>34953</c:v>
                </c:pt>
                <c:pt idx="17562">
                  <c:v>39070</c:v>
                </c:pt>
                <c:pt idx="17563">
                  <c:v>32359</c:v>
                </c:pt>
                <c:pt idx="17564">
                  <c:v>89255</c:v>
                </c:pt>
                <c:pt idx="17565">
                  <c:v>22267</c:v>
                </c:pt>
                <c:pt idx="17566">
                  <c:v>32023</c:v>
                </c:pt>
                <c:pt idx="17567">
                  <c:v>47527</c:v>
                </c:pt>
                <c:pt idx="17568">
                  <c:v>47792</c:v>
                </c:pt>
                <c:pt idx="17569">
                  <c:v>47638</c:v>
                </c:pt>
                <c:pt idx="17570">
                  <c:v>243128</c:v>
                </c:pt>
                <c:pt idx="17571">
                  <c:v>312601</c:v>
                </c:pt>
                <c:pt idx="17572">
                  <c:v>29785</c:v>
                </c:pt>
                <c:pt idx="17573">
                  <c:v>25337</c:v>
                </c:pt>
                <c:pt idx="17574">
                  <c:v>53432</c:v>
                </c:pt>
                <c:pt idx="17575">
                  <c:v>36604</c:v>
                </c:pt>
                <c:pt idx="17576">
                  <c:v>37071</c:v>
                </c:pt>
                <c:pt idx="17577">
                  <c:v>36590</c:v>
                </c:pt>
                <c:pt idx="17578">
                  <c:v>93642</c:v>
                </c:pt>
                <c:pt idx="17579">
                  <c:v>50281</c:v>
                </c:pt>
                <c:pt idx="17580">
                  <c:v>27237</c:v>
                </c:pt>
                <c:pt idx="17581">
                  <c:v>24369</c:v>
                </c:pt>
                <c:pt idx="17582">
                  <c:v>43293</c:v>
                </c:pt>
                <c:pt idx="17583">
                  <c:v>45726</c:v>
                </c:pt>
                <c:pt idx="17584">
                  <c:v>28118</c:v>
                </c:pt>
                <c:pt idx="17585">
                  <c:v>57145</c:v>
                </c:pt>
                <c:pt idx="17586">
                  <c:v>61994</c:v>
                </c:pt>
                <c:pt idx="17587">
                  <c:v>51055</c:v>
                </c:pt>
                <c:pt idx="17588">
                  <c:v>41014</c:v>
                </c:pt>
                <c:pt idx="17589">
                  <c:v>24242</c:v>
                </c:pt>
                <c:pt idx="17590">
                  <c:v>27130</c:v>
                </c:pt>
                <c:pt idx="17591">
                  <c:v>37515</c:v>
                </c:pt>
                <c:pt idx="17592">
                  <c:v>111967</c:v>
                </c:pt>
                <c:pt idx="17593">
                  <c:v>32083</c:v>
                </c:pt>
                <c:pt idx="17594">
                  <c:v>36505</c:v>
                </c:pt>
                <c:pt idx="17595">
                  <c:v>22272</c:v>
                </c:pt>
                <c:pt idx="17596">
                  <c:v>34539</c:v>
                </c:pt>
                <c:pt idx="17597">
                  <c:v>140458</c:v>
                </c:pt>
                <c:pt idx="17598">
                  <c:v>39363</c:v>
                </c:pt>
                <c:pt idx="17599">
                  <c:v>46907</c:v>
                </c:pt>
                <c:pt idx="17600">
                  <c:v>35679</c:v>
                </c:pt>
                <c:pt idx="17601">
                  <c:v>64337</c:v>
                </c:pt>
                <c:pt idx="17602">
                  <c:v>132197</c:v>
                </c:pt>
                <c:pt idx="17603">
                  <c:v>246778</c:v>
                </c:pt>
                <c:pt idx="17604">
                  <c:v>202012</c:v>
                </c:pt>
                <c:pt idx="17605">
                  <c:v>324341</c:v>
                </c:pt>
                <c:pt idx="17606">
                  <c:v>43098</c:v>
                </c:pt>
                <c:pt idx="17607">
                  <c:v>34134</c:v>
                </c:pt>
                <c:pt idx="17608">
                  <c:v>30675</c:v>
                </c:pt>
                <c:pt idx="17609">
                  <c:v>23751</c:v>
                </c:pt>
                <c:pt idx="17610">
                  <c:v>24103</c:v>
                </c:pt>
                <c:pt idx="17611">
                  <c:v>40572</c:v>
                </c:pt>
                <c:pt idx="17612">
                  <c:v>43954</c:v>
                </c:pt>
                <c:pt idx="17613">
                  <c:v>26298</c:v>
                </c:pt>
                <c:pt idx="17614">
                  <c:v>49755</c:v>
                </c:pt>
                <c:pt idx="17615">
                  <c:v>34871</c:v>
                </c:pt>
                <c:pt idx="17616">
                  <c:v>57191</c:v>
                </c:pt>
                <c:pt idx="17617">
                  <c:v>126725</c:v>
                </c:pt>
                <c:pt idx="17618">
                  <c:v>70728</c:v>
                </c:pt>
                <c:pt idx="17619">
                  <c:v>36100</c:v>
                </c:pt>
                <c:pt idx="17620">
                  <c:v>28449</c:v>
                </c:pt>
                <c:pt idx="17621">
                  <c:v>42225</c:v>
                </c:pt>
                <c:pt idx="17622">
                  <c:v>53202</c:v>
                </c:pt>
                <c:pt idx="17623">
                  <c:v>29748</c:v>
                </c:pt>
                <c:pt idx="17624">
                  <c:v>24588</c:v>
                </c:pt>
                <c:pt idx="17625">
                  <c:v>35430</c:v>
                </c:pt>
                <c:pt idx="17626">
                  <c:v>110015</c:v>
                </c:pt>
                <c:pt idx="17627">
                  <c:v>22708</c:v>
                </c:pt>
                <c:pt idx="17628">
                  <c:v>48855</c:v>
                </c:pt>
                <c:pt idx="17629">
                  <c:v>113792</c:v>
                </c:pt>
                <c:pt idx="17630">
                  <c:v>181553</c:v>
                </c:pt>
                <c:pt idx="17631">
                  <c:v>39490</c:v>
                </c:pt>
                <c:pt idx="17632">
                  <c:v>28836</c:v>
                </c:pt>
                <c:pt idx="17633">
                  <c:v>172369</c:v>
                </c:pt>
                <c:pt idx="17634">
                  <c:v>29168</c:v>
                </c:pt>
                <c:pt idx="17635">
                  <c:v>113699</c:v>
                </c:pt>
                <c:pt idx="17636">
                  <c:v>56538</c:v>
                </c:pt>
                <c:pt idx="17637">
                  <c:v>118048</c:v>
                </c:pt>
                <c:pt idx="17638">
                  <c:v>77929</c:v>
                </c:pt>
                <c:pt idx="17639">
                  <c:v>42748</c:v>
                </c:pt>
                <c:pt idx="17640">
                  <c:v>31080</c:v>
                </c:pt>
                <c:pt idx="17641">
                  <c:v>55175</c:v>
                </c:pt>
                <c:pt idx="17642">
                  <c:v>120595</c:v>
                </c:pt>
                <c:pt idx="17643">
                  <c:v>41856</c:v>
                </c:pt>
                <c:pt idx="17644">
                  <c:v>60738</c:v>
                </c:pt>
                <c:pt idx="17645">
                  <c:v>34648</c:v>
                </c:pt>
                <c:pt idx="17646">
                  <c:v>114174</c:v>
                </c:pt>
                <c:pt idx="17647">
                  <c:v>49371</c:v>
                </c:pt>
                <c:pt idx="17648">
                  <c:v>35669</c:v>
                </c:pt>
                <c:pt idx="17649">
                  <c:v>42961</c:v>
                </c:pt>
                <c:pt idx="17650">
                  <c:v>34728</c:v>
                </c:pt>
                <c:pt idx="17651">
                  <c:v>72136</c:v>
                </c:pt>
                <c:pt idx="17652">
                  <c:v>34782</c:v>
                </c:pt>
                <c:pt idx="17653">
                  <c:v>45425</c:v>
                </c:pt>
                <c:pt idx="17654">
                  <c:v>41353</c:v>
                </c:pt>
                <c:pt idx="17655">
                  <c:v>25092</c:v>
                </c:pt>
                <c:pt idx="17656">
                  <c:v>58567</c:v>
                </c:pt>
                <c:pt idx="17657">
                  <c:v>47522</c:v>
                </c:pt>
                <c:pt idx="17658">
                  <c:v>62254</c:v>
                </c:pt>
                <c:pt idx="17659">
                  <c:v>45105</c:v>
                </c:pt>
                <c:pt idx="17660">
                  <c:v>38179</c:v>
                </c:pt>
                <c:pt idx="17661">
                  <c:v>24723</c:v>
                </c:pt>
                <c:pt idx="17662">
                  <c:v>146625</c:v>
                </c:pt>
                <c:pt idx="17663">
                  <c:v>145846</c:v>
                </c:pt>
                <c:pt idx="17664">
                  <c:v>23534</c:v>
                </c:pt>
                <c:pt idx="17665">
                  <c:v>32005</c:v>
                </c:pt>
                <c:pt idx="17666">
                  <c:v>64619</c:v>
                </c:pt>
                <c:pt idx="17667">
                  <c:v>67168</c:v>
                </c:pt>
                <c:pt idx="17668">
                  <c:v>30330</c:v>
                </c:pt>
                <c:pt idx="17669">
                  <c:v>40520</c:v>
                </c:pt>
                <c:pt idx="17670">
                  <c:v>42588</c:v>
                </c:pt>
                <c:pt idx="17671">
                  <c:v>24565</c:v>
                </c:pt>
                <c:pt idx="17672">
                  <c:v>92687</c:v>
                </c:pt>
                <c:pt idx="17673">
                  <c:v>73701</c:v>
                </c:pt>
                <c:pt idx="17674">
                  <c:v>41400</c:v>
                </c:pt>
                <c:pt idx="17675">
                  <c:v>33739</c:v>
                </c:pt>
                <c:pt idx="17676">
                  <c:v>218334</c:v>
                </c:pt>
                <c:pt idx="17677">
                  <c:v>77790</c:v>
                </c:pt>
                <c:pt idx="17678">
                  <c:v>26931</c:v>
                </c:pt>
                <c:pt idx="17679">
                  <c:v>163035</c:v>
                </c:pt>
                <c:pt idx="17680">
                  <c:v>41730</c:v>
                </c:pt>
                <c:pt idx="17681">
                  <c:v>39719</c:v>
                </c:pt>
                <c:pt idx="17682">
                  <c:v>37770</c:v>
                </c:pt>
                <c:pt idx="17683">
                  <c:v>47972</c:v>
                </c:pt>
                <c:pt idx="17684">
                  <c:v>63869</c:v>
                </c:pt>
                <c:pt idx="17685">
                  <c:v>40213</c:v>
                </c:pt>
                <c:pt idx="17686">
                  <c:v>35303</c:v>
                </c:pt>
                <c:pt idx="17687">
                  <c:v>69208</c:v>
                </c:pt>
                <c:pt idx="17688">
                  <c:v>43701</c:v>
                </c:pt>
                <c:pt idx="17689">
                  <c:v>23275</c:v>
                </c:pt>
                <c:pt idx="17690">
                  <c:v>39872</c:v>
                </c:pt>
                <c:pt idx="17691">
                  <c:v>34218</c:v>
                </c:pt>
                <c:pt idx="17692">
                  <c:v>24269</c:v>
                </c:pt>
                <c:pt idx="17693">
                  <c:v>34092</c:v>
                </c:pt>
                <c:pt idx="17694">
                  <c:v>80406</c:v>
                </c:pt>
                <c:pt idx="17695">
                  <c:v>35672</c:v>
                </c:pt>
                <c:pt idx="17696">
                  <c:v>194591</c:v>
                </c:pt>
                <c:pt idx="17697">
                  <c:v>41628</c:v>
                </c:pt>
                <c:pt idx="17698">
                  <c:v>74857</c:v>
                </c:pt>
                <c:pt idx="17699">
                  <c:v>42350</c:v>
                </c:pt>
                <c:pt idx="17700">
                  <c:v>26034</c:v>
                </c:pt>
                <c:pt idx="17701">
                  <c:v>44208</c:v>
                </c:pt>
                <c:pt idx="17702">
                  <c:v>41505</c:v>
                </c:pt>
                <c:pt idx="17703">
                  <c:v>51683</c:v>
                </c:pt>
                <c:pt idx="17704">
                  <c:v>40091</c:v>
                </c:pt>
                <c:pt idx="17705">
                  <c:v>63772</c:v>
                </c:pt>
                <c:pt idx="17706">
                  <c:v>67856</c:v>
                </c:pt>
                <c:pt idx="17707">
                  <c:v>159670</c:v>
                </c:pt>
                <c:pt idx="17708">
                  <c:v>39937</c:v>
                </c:pt>
                <c:pt idx="17709">
                  <c:v>53392</c:v>
                </c:pt>
                <c:pt idx="17710">
                  <c:v>297330</c:v>
                </c:pt>
                <c:pt idx="17711">
                  <c:v>24484</c:v>
                </c:pt>
                <c:pt idx="17712">
                  <c:v>39791</c:v>
                </c:pt>
                <c:pt idx="17713">
                  <c:v>91029</c:v>
                </c:pt>
                <c:pt idx="17714">
                  <c:v>41469</c:v>
                </c:pt>
                <c:pt idx="17715">
                  <c:v>140377</c:v>
                </c:pt>
                <c:pt idx="17716">
                  <c:v>22161</c:v>
                </c:pt>
                <c:pt idx="17717">
                  <c:v>117943</c:v>
                </c:pt>
                <c:pt idx="17718">
                  <c:v>38414</c:v>
                </c:pt>
                <c:pt idx="17719">
                  <c:v>72280</c:v>
                </c:pt>
                <c:pt idx="17720">
                  <c:v>131738</c:v>
                </c:pt>
                <c:pt idx="17721">
                  <c:v>121285</c:v>
                </c:pt>
                <c:pt idx="17722">
                  <c:v>39064</c:v>
                </c:pt>
                <c:pt idx="17723">
                  <c:v>35562</c:v>
                </c:pt>
                <c:pt idx="17724">
                  <c:v>44594</c:v>
                </c:pt>
                <c:pt idx="17725">
                  <c:v>191599</c:v>
                </c:pt>
                <c:pt idx="17726">
                  <c:v>63277</c:v>
                </c:pt>
                <c:pt idx="17727">
                  <c:v>39183</c:v>
                </c:pt>
                <c:pt idx="17728">
                  <c:v>54239</c:v>
                </c:pt>
                <c:pt idx="17729">
                  <c:v>100459</c:v>
                </c:pt>
                <c:pt idx="17730">
                  <c:v>140254</c:v>
                </c:pt>
                <c:pt idx="17731">
                  <c:v>40178</c:v>
                </c:pt>
                <c:pt idx="17732">
                  <c:v>26895</c:v>
                </c:pt>
                <c:pt idx="17733">
                  <c:v>44962</c:v>
                </c:pt>
                <c:pt idx="17734">
                  <c:v>36108</c:v>
                </c:pt>
                <c:pt idx="17735">
                  <c:v>47317</c:v>
                </c:pt>
                <c:pt idx="17736">
                  <c:v>70022</c:v>
                </c:pt>
                <c:pt idx="17737">
                  <c:v>41368</c:v>
                </c:pt>
                <c:pt idx="17738">
                  <c:v>81357</c:v>
                </c:pt>
                <c:pt idx="17739">
                  <c:v>27933</c:v>
                </c:pt>
                <c:pt idx="17740">
                  <c:v>51994</c:v>
                </c:pt>
                <c:pt idx="17741">
                  <c:v>35556</c:v>
                </c:pt>
                <c:pt idx="17742">
                  <c:v>26056</c:v>
                </c:pt>
                <c:pt idx="17743">
                  <c:v>41528</c:v>
                </c:pt>
                <c:pt idx="17744">
                  <c:v>184269</c:v>
                </c:pt>
                <c:pt idx="17745">
                  <c:v>90984</c:v>
                </c:pt>
                <c:pt idx="17746">
                  <c:v>38436</c:v>
                </c:pt>
                <c:pt idx="17747">
                  <c:v>35296</c:v>
                </c:pt>
                <c:pt idx="17748">
                  <c:v>47236</c:v>
                </c:pt>
                <c:pt idx="17749">
                  <c:v>73704</c:v>
                </c:pt>
                <c:pt idx="17750">
                  <c:v>27194</c:v>
                </c:pt>
                <c:pt idx="17751">
                  <c:v>63094</c:v>
                </c:pt>
                <c:pt idx="17752">
                  <c:v>41417</c:v>
                </c:pt>
                <c:pt idx="17753">
                  <c:v>117247</c:v>
                </c:pt>
                <c:pt idx="17754">
                  <c:v>93526</c:v>
                </c:pt>
                <c:pt idx="17755">
                  <c:v>118080</c:v>
                </c:pt>
                <c:pt idx="17756">
                  <c:v>38693</c:v>
                </c:pt>
                <c:pt idx="17757">
                  <c:v>42174</c:v>
                </c:pt>
                <c:pt idx="17758">
                  <c:v>51298</c:v>
                </c:pt>
                <c:pt idx="17759">
                  <c:v>23225</c:v>
                </c:pt>
                <c:pt idx="17760">
                  <c:v>35254</c:v>
                </c:pt>
                <c:pt idx="17761">
                  <c:v>65111</c:v>
                </c:pt>
                <c:pt idx="17762">
                  <c:v>40475</c:v>
                </c:pt>
                <c:pt idx="17763">
                  <c:v>44789</c:v>
                </c:pt>
                <c:pt idx="17764">
                  <c:v>53786</c:v>
                </c:pt>
                <c:pt idx="17765">
                  <c:v>33731</c:v>
                </c:pt>
                <c:pt idx="17766">
                  <c:v>66227</c:v>
                </c:pt>
                <c:pt idx="17767">
                  <c:v>46961</c:v>
                </c:pt>
                <c:pt idx="17768">
                  <c:v>106396</c:v>
                </c:pt>
                <c:pt idx="17769">
                  <c:v>78772</c:v>
                </c:pt>
                <c:pt idx="17770">
                  <c:v>31939</c:v>
                </c:pt>
                <c:pt idx="17771">
                  <c:v>39957</c:v>
                </c:pt>
                <c:pt idx="17772">
                  <c:v>26185</c:v>
                </c:pt>
                <c:pt idx="17773">
                  <c:v>55606</c:v>
                </c:pt>
                <c:pt idx="17774">
                  <c:v>117006</c:v>
                </c:pt>
                <c:pt idx="17775">
                  <c:v>109892</c:v>
                </c:pt>
                <c:pt idx="17776">
                  <c:v>77459</c:v>
                </c:pt>
                <c:pt idx="17777">
                  <c:v>74962</c:v>
                </c:pt>
                <c:pt idx="17778">
                  <c:v>51806</c:v>
                </c:pt>
                <c:pt idx="17779">
                  <c:v>27091</c:v>
                </c:pt>
                <c:pt idx="17780">
                  <c:v>25849</c:v>
                </c:pt>
                <c:pt idx="17781">
                  <c:v>39981</c:v>
                </c:pt>
                <c:pt idx="17782">
                  <c:v>73412</c:v>
                </c:pt>
                <c:pt idx="17783">
                  <c:v>26784</c:v>
                </c:pt>
                <c:pt idx="17784">
                  <c:v>43328</c:v>
                </c:pt>
                <c:pt idx="17785">
                  <c:v>44701</c:v>
                </c:pt>
                <c:pt idx="17786">
                  <c:v>50491</c:v>
                </c:pt>
                <c:pt idx="17787">
                  <c:v>32681</c:v>
                </c:pt>
                <c:pt idx="17788">
                  <c:v>42270</c:v>
                </c:pt>
                <c:pt idx="17789">
                  <c:v>22935</c:v>
                </c:pt>
                <c:pt idx="17790">
                  <c:v>32204</c:v>
                </c:pt>
                <c:pt idx="17791">
                  <c:v>45032</c:v>
                </c:pt>
                <c:pt idx="17792">
                  <c:v>28659</c:v>
                </c:pt>
                <c:pt idx="17793">
                  <c:v>101664</c:v>
                </c:pt>
                <c:pt idx="17794">
                  <c:v>31424</c:v>
                </c:pt>
                <c:pt idx="17795">
                  <c:v>25275</c:v>
                </c:pt>
                <c:pt idx="17796">
                  <c:v>45262</c:v>
                </c:pt>
                <c:pt idx="17797">
                  <c:v>42150</c:v>
                </c:pt>
                <c:pt idx="17798">
                  <c:v>23331</c:v>
                </c:pt>
                <c:pt idx="17799">
                  <c:v>41389</c:v>
                </c:pt>
                <c:pt idx="17800">
                  <c:v>42393</c:v>
                </c:pt>
                <c:pt idx="17801">
                  <c:v>24046</c:v>
                </c:pt>
                <c:pt idx="17802">
                  <c:v>25405</c:v>
                </c:pt>
                <c:pt idx="17803">
                  <c:v>32978</c:v>
                </c:pt>
                <c:pt idx="17804">
                  <c:v>20582</c:v>
                </c:pt>
                <c:pt idx="17805">
                  <c:v>27988</c:v>
                </c:pt>
                <c:pt idx="17806">
                  <c:v>76154</c:v>
                </c:pt>
                <c:pt idx="17807">
                  <c:v>26568</c:v>
                </c:pt>
                <c:pt idx="17808">
                  <c:v>23211</c:v>
                </c:pt>
                <c:pt idx="17809">
                  <c:v>50442</c:v>
                </c:pt>
                <c:pt idx="17810">
                  <c:v>26768</c:v>
                </c:pt>
                <c:pt idx="17811">
                  <c:v>46752</c:v>
                </c:pt>
                <c:pt idx="17812">
                  <c:v>34136</c:v>
                </c:pt>
                <c:pt idx="17813">
                  <c:v>172352</c:v>
                </c:pt>
                <c:pt idx="17814">
                  <c:v>87618</c:v>
                </c:pt>
                <c:pt idx="17815">
                  <c:v>84578</c:v>
                </c:pt>
                <c:pt idx="17816">
                  <c:v>37432</c:v>
                </c:pt>
                <c:pt idx="17817">
                  <c:v>26986</c:v>
                </c:pt>
                <c:pt idx="17818">
                  <c:v>41330</c:v>
                </c:pt>
                <c:pt idx="17819">
                  <c:v>24246</c:v>
                </c:pt>
                <c:pt idx="17820">
                  <c:v>23860</c:v>
                </c:pt>
                <c:pt idx="17821">
                  <c:v>352464</c:v>
                </c:pt>
                <c:pt idx="17822">
                  <c:v>183206</c:v>
                </c:pt>
                <c:pt idx="17823">
                  <c:v>39443</c:v>
                </c:pt>
                <c:pt idx="17824">
                  <c:v>39267</c:v>
                </c:pt>
                <c:pt idx="17825">
                  <c:v>35892</c:v>
                </c:pt>
                <c:pt idx="17826">
                  <c:v>35078</c:v>
                </c:pt>
                <c:pt idx="17827">
                  <c:v>41039</c:v>
                </c:pt>
                <c:pt idx="17828">
                  <c:v>200625</c:v>
                </c:pt>
                <c:pt idx="17829">
                  <c:v>52575</c:v>
                </c:pt>
                <c:pt idx="17830">
                  <c:v>27623</c:v>
                </c:pt>
                <c:pt idx="17831">
                  <c:v>47168</c:v>
                </c:pt>
                <c:pt idx="17832">
                  <c:v>80983</c:v>
                </c:pt>
                <c:pt idx="17833">
                  <c:v>27275</c:v>
                </c:pt>
                <c:pt idx="17834">
                  <c:v>47733</c:v>
                </c:pt>
                <c:pt idx="17835">
                  <c:v>68331</c:v>
                </c:pt>
                <c:pt idx="17836">
                  <c:v>46684</c:v>
                </c:pt>
                <c:pt idx="17837">
                  <c:v>33248</c:v>
                </c:pt>
                <c:pt idx="17838">
                  <c:v>51798</c:v>
                </c:pt>
                <c:pt idx="17839">
                  <c:v>155526</c:v>
                </c:pt>
                <c:pt idx="17840">
                  <c:v>29140</c:v>
                </c:pt>
                <c:pt idx="17841">
                  <c:v>38284</c:v>
                </c:pt>
                <c:pt idx="17842">
                  <c:v>94657</c:v>
                </c:pt>
                <c:pt idx="17843">
                  <c:v>347646</c:v>
                </c:pt>
                <c:pt idx="17844">
                  <c:v>40588</c:v>
                </c:pt>
                <c:pt idx="17845">
                  <c:v>48822</c:v>
                </c:pt>
                <c:pt idx="17846">
                  <c:v>115886</c:v>
                </c:pt>
                <c:pt idx="17847">
                  <c:v>38444</c:v>
                </c:pt>
                <c:pt idx="17848">
                  <c:v>28065</c:v>
                </c:pt>
                <c:pt idx="17849">
                  <c:v>184912</c:v>
                </c:pt>
                <c:pt idx="17850">
                  <c:v>267408</c:v>
                </c:pt>
                <c:pt idx="17851">
                  <c:v>44524</c:v>
                </c:pt>
                <c:pt idx="17852">
                  <c:v>45136</c:v>
                </c:pt>
                <c:pt idx="17853">
                  <c:v>61201</c:v>
                </c:pt>
                <c:pt idx="17854">
                  <c:v>42292</c:v>
                </c:pt>
                <c:pt idx="17855">
                  <c:v>62418</c:v>
                </c:pt>
                <c:pt idx="17856">
                  <c:v>71585</c:v>
                </c:pt>
                <c:pt idx="17857">
                  <c:v>46688</c:v>
                </c:pt>
                <c:pt idx="17858">
                  <c:v>104268</c:v>
                </c:pt>
                <c:pt idx="17859">
                  <c:v>116723</c:v>
                </c:pt>
                <c:pt idx="17860">
                  <c:v>53243</c:v>
                </c:pt>
                <c:pt idx="17861">
                  <c:v>51489</c:v>
                </c:pt>
                <c:pt idx="17862">
                  <c:v>37383</c:v>
                </c:pt>
                <c:pt idx="17863">
                  <c:v>44235</c:v>
                </c:pt>
                <c:pt idx="17864">
                  <c:v>72394</c:v>
                </c:pt>
                <c:pt idx="17865">
                  <c:v>45866</c:v>
                </c:pt>
                <c:pt idx="17866">
                  <c:v>30333</c:v>
                </c:pt>
                <c:pt idx="17867">
                  <c:v>28360</c:v>
                </c:pt>
                <c:pt idx="17868">
                  <c:v>42488</c:v>
                </c:pt>
                <c:pt idx="17869">
                  <c:v>42044</c:v>
                </c:pt>
                <c:pt idx="17870">
                  <c:v>28677</c:v>
                </c:pt>
                <c:pt idx="17871">
                  <c:v>54086</c:v>
                </c:pt>
                <c:pt idx="17872">
                  <c:v>39211</c:v>
                </c:pt>
                <c:pt idx="17873">
                  <c:v>35506</c:v>
                </c:pt>
                <c:pt idx="17874">
                  <c:v>53586</c:v>
                </c:pt>
                <c:pt idx="17875">
                  <c:v>28923</c:v>
                </c:pt>
                <c:pt idx="17876">
                  <c:v>37589</c:v>
                </c:pt>
                <c:pt idx="17877">
                  <c:v>26290</c:v>
                </c:pt>
                <c:pt idx="17878">
                  <c:v>31467</c:v>
                </c:pt>
                <c:pt idx="17879">
                  <c:v>43725</c:v>
                </c:pt>
                <c:pt idx="17880">
                  <c:v>44262</c:v>
                </c:pt>
                <c:pt idx="17881">
                  <c:v>75949</c:v>
                </c:pt>
                <c:pt idx="17882">
                  <c:v>191054</c:v>
                </c:pt>
                <c:pt idx="17883">
                  <c:v>102676</c:v>
                </c:pt>
                <c:pt idx="17884">
                  <c:v>42439</c:v>
                </c:pt>
                <c:pt idx="17885">
                  <c:v>124760</c:v>
                </c:pt>
                <c:pt idx="17886">
                  <c:v>30291</c:v>
                </c:pt>
                <c:pt idx="17887">
                  <c:v>31286</c:v>
                </c:pt>
                <c:pt idx="17888">
                  <c:v>105796</c:v>
                </c:pt>
                <c:pt idx="17889">
                  <c:v>77558</c:v>
                </c:pt>
                <c:pt idx="17890">
                  <c:v>34589</c:v>
                </c:pt>
                <c:pt idx="17891">
                  <c:v>61384</c:v>
                </c:pt>
                <c:pt idx="17892">
                  <c:v>53917</c:v>
                </c:pt>
                <c:pt idx="17893">
                  <c:v>257540</c:v>
                </c:pt>
                <c:pt idx="17894">
                  <c:v>33124</c:v>
                </c:pt>
                <c:pt idx="17895">
                  <c:v>43328</c:v>
                </c:pt>
                <c:pt idx="17896">
                  <c:v>38127</c:v>
                </c:pt>
                <c:pt idx="17897">
                  <c:v>110921</c:v>
                </c:pt>
                <c:pt idx="17898">
                  <c:v>35244</c:v>
                </c:pt>
                <c:pt idx="17899">
                  <c:v>63979</c:v>
                </c:pt>
                <c:pt idx="17900">
                  <c:v>59289</c:v>
                </c:pt>
                <c:pt idx="17901">
                  <c:v>34930</c:v>
                </c:pt>
                <c:pt idx="17902">
                  <c:v>44702</c:v>
                </c:pt>
                <c:pt idx="17903">
                  <c:v>40320</c:v>
                </c:pt>
                <c:pt idx="17904">
                  <c:v>50565</c:v>
                </c:pt>
                <c:pt idx="17905">
                  <c:v>104453</c:v>
                </c:pt>
                <c:pt idx="17906">
                  <c:v>130040</c:v>
                </c:pt>
                <c:pt idx="17907">
                  <c:v>122864</c:v>
                </c:pt>
                <c:pt idx="17908">
                  <c:v>87871</c:v>
                </c:pt>
                <c:pt idx="17909">
                  <c:v>25299</c:v>
                </c:pt>
                <c:pt idx="17910">
                  <c:v>33536</c:v>
                </c:pt>
                <c:pt idx="17911">
                  <c:v>73564</c:v>
                </c:pt>
                <c:pt idx="17912">
                  <c:v>26623</c:v>
                </c:pt>
                <c:pt idx="17913">
                  <c:v>203638</c:v>
                </c:pt>
                <c:pt idx="17914">
                  <c:v>37880</c:v>
                </c:pt>
                <c:pt idx="17915">
                  <c:v>111533</c:v>
                </c:pt>
                <c:pt idx="17916">
                  <c:v>24533</c:v>
                </c:pt>
                <c:pt idx="17917">
                  <c:v>54869</c:v>
                </c:pt>
                <c:pt idx="17918">
                  <c:v>52973</c:v>
                </c:pt>
                <c:pt idx="17919">
                  <c:v>52459</c:v>
                </c:pt>
                <c:pt idx="17920">
                  <c:v>58624</c:v>
                </c:pt>
                <c:pt idx="17921">
                  <c:v>42633</c:v>
                </c:pt>
                <c:pt idx="17922">
                  <c:v>103657</c:v>
                </c:pt>
                <c:pt idx="17923">
                  <c:v>371160</c:v>
                </c:pt>
                <c:pt idx="17924">
                  <c:v>28396</c:v>
                </c:pt>
                <c:pt idx="17925">
                  <c:v>36993</c:v>
                </c:pt>
                <c:pt idx="17926">
                  <c:v>47516</c:v>
                </c:pt>
                <c:pt idx="17927">
                  <c:v>42130</c:v>
                </c:pt>
                <c:pt idx="17928">
                  <c:v>28305</c:v>
                </c:pt>
                <c:pt idx="17929">
                  <c:v>46411</c:v>
                </c:pt>
                <c:pt idx="17930">
                  <c:v>25523</c:v>
                </c:pt>
                <c:pt idx="17931">
                  <c:v>51842</c:v>
                </c:pt>
                <c:pt idx="17932">
                  <c:v>29204</c:v>
                </c:pt>
                <c:pt idx="17933">
                  <c:v>90411</c:v>
                </c:pt>
                <c:pt idx="17934">
                  <c:v>66694</c:v>
                </c:pt>
                <c:pt idx="17935">
                  <c:v>29869</c:v>
                </c:pt>
                <c:pt idx="17936">
                  <c:v>26938</c:v>
                </c:pt>
                <c:pt idx="17937">
                  <c:v>67882</c:v>
                </c:pt>
                <c:pt idx="17938">
                  <c:v>92262</c:v>
                </c:pt>
                <c:pt idx="17939">
                  <c:v>23788</c:v>
                </c:pt>
                <c:pt idx="17940">
                  <c:v>35699</c:v>
                </c:pt>
                <c:pt idx="17941">
                  <c:v>49734</c:v>
                </c:pt>
                <c:pt idx="17942">
                  <c:v>122739</c:v>
                </c:pt>
                <c:pt idx="17943">
                  <c:v>38273</c:v>
                </c:pt>
                <c:pt idx="17944">
                  <c:v>34082</c:v>
                </c:pt>
                <c:pt idx="17945">
                  <c:v>61295</c:v>
                </c:pt>
                <c:pt idx="17946">
                  <c:v>108188</c:v>
                </c:pt>
                <c:pt idx="17947">
                  <c:v>33514</c:v>
                </c:pt>
                <c:pt idx="17948">
                  <c:v>39699</c:v>
                </c:pt>
                <c:pt idx="17949">
                  <c:v>75000</c:v>
                </c:pt>
                <c:pt idx="17950">
                  <c:v>29427</c:v>
                </c:pt>
                <c:pt idx="17951">
                  <c:v>37955</c:v>
                </c:pt>
                <c:pt idx="17952">
                  <c:v>33077</c:v>
                </c:pt>
                <c:pt idx="17953">
                  <c:v>32176</c:v>
                </c:pt>
                <c:pt idx="17954">
                  <c:v>55235</c:v>
                </c:pt>
                <c:pt idx="17955">
                  <c:v>56465</c:v>
                </c:pt>
                <c:pt idx="17956">
                  <c:v>42754</c:v>
                </c:pt>
                <c:pt idx="17957">
                  <c:v>37033</c:v>
                </c:pt>
                <c:pt idx="17958">
                  <c:v>37729</c:v>
                </c:pt>
                <c:pt idx="17959">
                  <c:v>37742</c:v>
                </c:pt>
                <c:pt idx="17960">
                  <c:v>21297</c:v>
                </c:pt>
                <c:pt idx="17961">
                  <c:v>29690</c:v>
                </c:pt>
                <c:pt idx="17962">
                  <c:v>27216</c:v>
                </c:pt>
                <c:pt idx="17963">
                  <c:v>33989</c:v>
                </c:pt>
                <c:pt idx="17964">
                  <c:v>26075</c:v>
                </c:pt>
                <c:pt idx="17965">
                  <c:v>36524</c:v>
                </c:pt>
                <c:pt idx="17966">
                  <c:v>162436</c:v>
                </c:pt>
                <c:pt idx="17967">
                  <c:v>51440</c:v>
                </c:pt>
                <c:pt idx="17968">
                  <c:v>46351</c:v>
                </c:pt>
                <c:pt idx="17969">
                  <c:v>35570</c:v>
                </c:pt>
                <c:pt idx="17970">
                  <c:v>209542</c:v>
                </c:pt>
                <c:pt idx="17971">
                  <c:v>104373</c:v>
                </c:pt>
                <c:pt idx="17972">
                  <c:v>45099</c:v>
                </c:pt>
                <c:pt idx="17973">
                  <c:v>62866</c:v>
                </c:pt>
                <c:pt idx="17974">
                  <c:v>27274</c:v>
                </c:pt>
                <c:pt idx="17975">
                  <c:v>43478</c:v>
                </c:pt>
                <c:pt idx="17976">
                  <c:v>91893</c:v>
                </c:pt>
                <c:pt idx="17977">
                  <c:v>43266</c:v>
                </c:pt>
                <c:pt idx="17978">
                  <c:v>149005</c:v>
                </c:pt>
                <c:pt idx="17979">
                  <c:v>32587</c:v>
                </c:pt>
                <c:pt idx="17980">
                  <c:v>40065</c:v>
                </c:pt>
                <c:pt idx="17981">
                  <c:v>36080</c:v>
                </c:pt>
                <c:pt idx="17982">
                  <c:v>88948</c:v>
                </c:pt>
                <c:pt idx="17983">
                  <c:v>26184</c:v>
                </c:pt>
                <c:pt idx="17984">
                  <c:v>33111</c:v>
                </c:pt>
                <c:pt idx="17985">
                  <c:v>43776</c:v>
                </c:pt>
                <c:pt idx="17986">
                  <c:v>42084</c:v>
                </c:pt>
                <c:pt idx="17987">
                  <c:v>41449</c:v>
                </c:pt>
                <c:pt idx="17988">
                  <c:v>75187</c:v>
                </c:pt>
                <c:pt idx="17989">
                  <c:v>30005</c:v>
                </c:pt>
                <c:pt idx="17990">
                  <c:v>26659</c:v>
                </c:pt>
                <c:pt idx="17991">
                  <c:v>25680</c:v>
                </c:pt>
                <c:pt idx="17992">
                  <c:v>38845</c:v>
                </c:pt>
                <c:pt idx="17993">
                  <c:v>80816</c:v>
                </c:pt>
                <c:pt idx="17994">
                  <c:v>106247</c:v>
                </c:pt>
                <c:pt idx="17995">
                  <c:v>104411</c:v>
                </c:pt>
                <c:pt idx="17996">
                  <c:v>142739</c:v>
                </c:pt>
                <c:pt idx="17997">
                  <c:v>26058</c:v>
                </c:pt>
                <c:pt idx="17998">
                  <c:v>37721</c:v>
                </c:pt>
                <c:pt idx="17999">
                  <c:v>243475</c:v>
                </c:pt>
                <c:pt idx="18000">
                  <c:v>48610</c:v>
                </c:pt>
                <c:pt idx="18001">
                  <c:v>102105</c:v>
                </c:pt>
                <c:pt idx="18002">
                  <c:v>47119</c:v>
                </c:pt>
                <c:pt idx="18003">
                  <c:v>61558</c:v>
                </c:pt>
                <c:pt idx="18004">
                  <c:v>135751</c:v>
                </c:pt>
                <c:pt idx="18005">
                  <c:v>47788</c:v>
                </c:pt>
                <c:pt idx="18006">
                  <c:v>35177</c:v>
                </c:pt>
                <c:pt idx="18007">
                  <c:v>43236</c:v>
                </c:pt>
                <c:pt idx="18008">
                  <c:v>25122</c:v>
                </c:pt>
                <c:pt idx="18009">
                  <c:v>153473</c:v>
                </c:pt>
                <c:pt idx="18010">
                  <c:v>263332</c:v>
                </c:pt>
                <c:pt idx="18011">
                  <c:v>120495</c:v>
                </c:pt>
                <c:pt idx="18012">
                  <c:v>149546</c:v>
                </c:pt>
                <c:pt idx="18013">
                  <c:v>30589</c:v>
                </c:pt>
                <c:pt idx="18014">
                  <c:v>72871</c:v>
                </c:pt>
                <c:pt idx="18015">
                  <c:v>33074</c:v>
                </c:pt>
                <c:pt idx="18016">
                  <c:v>46690</c:v>
                </c:pt>
                <c:pt idx="18017">
                  <c:v>35191</c:v>
                </c:pt>
                <c:pt idx="18018">
                  <c:v>33456</c:v>
                </c:pt>
                <c:pt idx="18019">
                  <c:v>53565</c:v>
                </c:pt>
                <c:pt idx="18020">
                  <c:v>29595</c:v>
                </c:pt>
                <c:pt idx="18021">
                  <c:v>36736</c:v>
                </c:pt>
                <c:pt idx="18022">
                  <c:v>32964</c:v>
                </c:pt>
                <c:pt idx="18023">
                  <c:v>85150</c:v>
                </c:pt>
                <c:pt idx="18024">
                  <c:v>170815</c:v>
                </c:pt>
                <c:pt idx="18025">
                  <c:v>34294</c:v>
                </c:pt>
                <c:pt idx="18026">
                  <c:v>35699</c:v>
                </c:pt>
                <c:pt idx="18027">
                  <c:v>39034</c:v>
                </c:pt>
                <c:pt idx="18028">
                  <c:v>34794</c:v>
                </c:pt>
                <c:pt idx="18029">
                  <c:v>28919</c:v>
                </c:pt>
                <c:pt idx="18030">
                  <c:v>60611</c:v>
                </c:pt>
                <c:pt idx="18031">
                  <c:v>100707</c:v>
                </c:pt>
                <c:pt idx="18032">
                  <c:v>56554</c:v>
                </c:pt>
                <c:pt idx="18033">
                  <c:v>28813</c:v>
                </c:pt>
                <c:pt idx="18034">
                  <c:v>56061</c:v>
                </c:pt>
                <c:pt idx="18035">
                  <c:v>23645</c:v>
                </c:pt>
                <c:pt idx="18036">
                  <c:v>129002</c:v>
                </c:pt>
                <c:pt idx="18037">
                  <c:v>173758</c:v>
                </c:pt>
                <c:pt idx="18038">
                  <c:v>40270</c:v>
                </c:pt>
                <c:pt idx="18039">
                  <c:v>284698</c:v>
                </c:pt>
                <c:pt idx="18040">
                  <c:v>43426</c:v>
                </c:pt>
                <c:pt idx="18041">
                  <c:v>29869</c:v>
                </c:pt>
                <c:pt idx="18042">
                  <c:v>39445</c:v>
                </c:pt>
                <c:pt idx="18043">
                  <c:v>52433</c:v>
                </c:pt>
                <c:pt idx="18044">
                  <c:v>63981</c:v>
                </c:pt>
                <c:pt idx="18045">
                  <c:v>41888</c:v>
                </c:pt>
                <c:pt idx="18046">
                  <c:v>207569</c:v>
                </c:pt>
                <c:pt idx="18047">
                  <c:v>37106</c:v>
                </c:pt>
                <c:pt idx="18048">
                  <c:v>50710</c:v>
                </c:pt>
                <c:pt idx="18049">
                  <c:v>33820</c:v>
                </c:pt>
                <c:pt idx="18050">
                  <c:v>48293</c:v>
                </c:pt>
                <c:pt idx="18051">
                  <c:v>40835</c:v>
                </c:pt>
                <c:pt idx="18052">
                  <c:v>46681</c:v>
                </c:pt>
                <c:pt idx="18053">
                  <c:v>25112</c:v>
                </c:pt>
                <c:pt idx="18054">
                  <c:v>43270</c:v>
                </c:pt>
                <c:pt idx="18055">
                  <c:v>129950</c:v>
                </c:pt>
                <c:pt idx="18056">
                  <c:v>43409</c:v>
                </c:pt>
                <c:pt idx="18057">
                  <c:v>43665</c:v>
                </c:pt>
                <c:pt idx="18058">
                  <c:v>41791</c:v>
                </c:pt>
                <c:pt idx="18059">
                  <c:v>76706</c:v>
                </c:pt>
                <c:pt idx="18060">
                  <c:v>29547</c:v>
                </c:pt>
                <c:pt idx="18061">
                  <c:v>108397</c:v>
                </c:pt>
                <c:pt idx="18062">
                  <c:v>99051</c:v>
                </c:pt>
                <c:pt idx="18063">
                  <c:v>64120</c:v>
                </c:pt>
                <c:pt idx="18064">
                  <c:v>38232</c:v>
                </c:pt>
                <c:pt idx="18065">
                  <c:v>35394</c:v>
                </c:pt>
                <c:pt idx="18066">
                  <c:v>35521</c:v>
                </c:pt>
                <c:pt idx="18067">
                  <c:v>37856</c:v>
                </c:pt>
                <c:pt idx="18068">
                  <c:v>32185</c:v>
                </c:pt>
                <c:pt idx="18069">
                  <c:v>40140</c:v>
                </c:pt>
                <c:pt idx="18070">
                  <c:v>23622</c:v>
                </c:pt>
                <c:pt idx="18071">
                  <c:v>30103</c:v>
                </c:pt>
                <c:pt idx="18072">
                  <c:v>29949</c:v>
                </c:pt>
                <c:pt idx="18073">
                  <c:v>35312</c:v>
                </c:pt>
                <c:pt idx="18074">
                  <c:v>36713</c:v>
                </c:pt>
                <c:pt idx="18075">
                  <c:v>35989</c:v>
                </c:pt>
                <c:pt idx="18076">
                  <c:v>31594</c:v>
                </c:pt>
                <c:pt idx="18077">
                  <c:v>25768</c:v>
                </c:pt>
                <c:pt idx="18078">
                  <c:v>24438</c:v>
                </c:pt>
                <c:pt idx="18079">
                  <c:v>195325</c:v>
                </c:pt>
                <c:pt idx="18080">
                  <c:v>86982</c:v>
                </c:pt>
                <c:pt idx="18081">
                  <c:v>33678</c:v>
                </c:pt>
                <c:pt idx="18082">
                  <c:v>39728</c:v>
                </c:pt>
                <c:pt idx="18083">
                  <c:v>27980</c:v>
                </c:pt>
                <c:pt idx="18084">
                  <c:v>35205</c:v>
                </c:pt>
                <c:pt idx="18085">
                  <c:v>34176</c:v>
                </c:pt>
                <c:pt idx="18086">
                  <c:v>36310</c:v>
                </c:pt>
                <c:pt idx="18087">
                  <c:v>26707</c:v>
                </c:pt>
                <c:pt idx="18088">
                  <c:v>99696</c:v>
                </c:pt>
                <c:pt idx="18089">
                  <c:v>208313</c:v>
                </c:pt>
                <c:pt idx="18090">
                  <c:v>79292</c:v>
                </c:pt>
                <c:pt idx="18091">
                  <c:v>61731</c:v>
                </c:pt>
                <c:pt idx="18092">
                  <c:v>22481</c:v>
                </c:pt>
                <c:pt idx="18093">
                  <c:v>43895</c:v>
                </c:pt>
                <c:pt idx="18094">
                  <c:v>49202</c:v>
                </c:pt>
                <c:pt idx="18095">
                  <c:v>23050</c:v>
                </c:pt>
                <c:pt idx="18096">
                  <c:v>202887</c:v>
                </c:pt>
                <c:pt idx="18097">
                  <c:v>26175</c:v>
                </c:pt>
                <c:pt idx="18098">
                  <c:v>28111</c:v>
                </c:pt>
                <c:pt idx="18099">
                  <c:v>38567</c:v>
                </c:pt>
                <c:pt idx="18100">
                  <c:v>31116</c:v>
                </c:pt>
                <c:pt idx="18101">
                  <c:v>33442</c:v>
                </c:pt>
                <c:pt idx="18102">
                  <c:v>118209</c:v>
                </c:pt>
                <c:pt idx="18103">
                  <c:v>224254</c:v>
                </c:pt>
                <c:pt idx="18104">
                  <c:v>55659</c:v>
                </c:pt>
                <c:pt idx="18105">
                  <c:v>40700</c:v>
                </c:pt>
                <c:pt idx="18106">
                  <c:v>138420</c:v>
                </c:pt>
                <c:pt idx="18107">
                  <c:v>33869</c:v>
                </c:pt>
                <c:pt idx="18108">
                  <c:v>59706</c:v>
                </c:pt>
                <c:pt idx="18109">
                  <c:v>39715</c:v>
                </c:pt>
                <c:pt idx="18110">
                  <c:v>28129</c:v>
                </c:pt>
                <c:pt idx="18111">
                  <c:v>56894</c:v>
                </c:pt>
                <c:pt idx="18112">
                  <c:v>24426</c:v>
                </c:pt>
                <c:pt idx="18113">
                  <c:v>33375</c:v>
                </c:pt>
                <c:pt idx="18114">
                  <c:v>69500</c:v>
                </c:pt>
                <c:pt idx="18115">
                  <c:v>30986</c:v>
                </c:pt>
                <c:pt idx="18116">
                  <c:v>28913</c:v>
                </c:pt>
                <c:pt idx="18117">
                  <c:v>43221</c:v>
                </c:pt>
                <c:pt idx="18118">
                  <c:v>40826</c:v>
                </c:pt>
                <c:pt idx="18119">
                  <c:v>37104</c:v>
                </c:pt>
                <c:pt idx="18120">
                  <c:v>32730</c:v>
                </c:pt>
                <c:pt idx="18121">
                  <c:v>74544</c:v>
                </c:pt>
                <c:pt idx="18122">
                  <c:v>52452</c:v>
                </c:pt>
                <c:pt idx="18123">
                  <c:v>47523</c:v>
                </c:pt>
                <c:pt idx="18124">
                  <c:v>25267</c:v>
                </c:pt>
                <c:pt idx="18125">
                  <c:v>32388</c:v>
                </c:pt>
                <c:pt idx="18126">
                  <c:v>76005</c:v>
                </c:pt>
                <c:pt idx="18127">
                  <c:v>67215</c:v>
                </c:pt>
                <c:pt idx="18128">
                  <c:v>28890</c:v>
                </c:pt>
                <c:pt idx="18129">
                  <c:v>29567</c:v>
                </c:pt>
                <c:pt idx="18130">
                  <c:v>29441</c:v>
                </c:pt>
                <c:pt idx="18131">
                  <c:v>27560</c:v>
                </c:pt>
                <c:pt idx="18132">
                  <c:v>90661</c:v>
                </c:pt>
                <c:pt idx="18133">
                  <c:v>23821</c:v>
                </c:pt>
                <c:pt idx="18134">
                  <c:v>49962</c:v>
                </c:pt>
                <c:pt idx="18135">
                  <c:v>20524</c:v>
                </c:pt>
                <c:pt idx="18136">
                  <c:v>96558</c:v>
                </c:pt>
                <c:pt idx="18137">
                  <c:v>34732</c:v>
                </c:pt>
                <c:pt idx="18138">
                  <c:v>155285</c:v>
                </c:pt>
                <c:pt idx="18139">
                  <c:v>44176</c:v>
                </c:pt>
                <c:pt idx="18140">
                  <c:v>49371</c:v>
                </c:pt>
                <c:pt idx="18141">
                  <c:v>81472</c:v>
                </c:pt>
                <c:pt idx="18142">
                  <c:v>27282</c:v>
                </c:pt>
                <c:pt idx="18143">
                  <c:v>24422</c:v>
                </c:pt>
                <c:pt idx="18144">
                  <c:v>38639</c:v>
                </c:pt>
                <c:pt idx="18145">
                  <c:v>29451</c:v>
                </c:pt>
                <c:pt idx="18146">
                  <c:v>29143</c:v>
                </c:pt>
                <c:pt idx="18147">
                  <c:v>24570</c:v>
                </c:pt>
                <c:pt idx="18148">
                  <c:v>26503</c:v>
                </c:pt>
                <c:pt idx="18149">
                  <c:v>40222</c:v>
                </c:pt>
                <c:pt idx="18150">
                  <c:v>65019</c:v>
                </c:pt>
                <c:pt idx="18151">
                  <c:v>45791</c:v>
                </c:pt>
                <c:pt idx="18152">
                  <c:v>236258</c:v>
                </c:pt>
                <c:pt idx="18153">
                  <c:v>42130</c:v>
                </c:pt>
                <c:pt idx="18154">
                  <c:v>91262</c:v>
                </c:pt>
                <c:pt idx="18155">
                  <c:v>61936</c:v>
                </c:pt>
                <c:pt idx="18156">
                  <c:v>38006</c:v>
                </c:pt>
                <c:pt idx="18157">
                  <c:v>49382</c:v>
                </c:pt>
                <c:pt idx="18158">
                  <c:v>120779</c:v>
                </c:pt>
                <c:pt idx="18159">
                  <c:v>33408</c:v>
                </c:pt>
                <c:pt idx="18160">
                  <c:v>32588</c:v>
                </c:pt>
                <c:pt idx="18161">
                  <c:v>73409</c:v>
                </c:pt>
                <c:pt idx="18162">
                  <c:v>78092</c:v>
                </c:pt>
                <c:pt idx="18163">
                  <c:v>34585</c:v>
                </c:pt>
                <c:pt idx="18164">
                  <c:v>36416</c:v>
                </c:pt>
                <c:pt idx="18165">
                  <c:v>26119</c:v>
                </c:pt>
                <c:pt idx="18166">
                  <c:v>44905</c:v>
                </c:pt>
                <c:pt idx="18167">
                  <c:v>33695</c:v>
                </c:pt>
                <c:pt idx="18168">
                  <c:v>90427</c:v>
                </c:pt>
                <c:pt idx="18169">
                  <c:v>47412</c:v>
                </c:pt>
                <c:pt idx="18170">
                  <c:v>38268</c:v>
                </c:pt>
                <c:pt idx="18171">
                  <c:v>43377</c:v>
                </c:pt>
                <c:pt idx="18172">
                  <c:v>233171</c:v>
                </c:pt>
                <c:pt idx="18173">
                  <c:v>36674</c:v>
                </c:pt>
                <c:pt idx="18174">
                  <c:v>83196</c:v>
                </c:pt>
                <c:pt idx="18175">
                  <c:v>76411</c:v>
                </c:pt>
                <c:pt idx="18176">
                  <c:v>23759</c:v>
                </c:pt>
                <c:pt idx="18177">
                  <c:v>87033</c:v>
                </c:pt>
                <c:pt idx="18178">
                  <c:v>77286</c:v>
                </c:pt>
                <c:pt idx="18179">
                  <c:v>55877</c:v>
                </c:pt>
                <c:pt idx="18180">
                  <c:v>508755</c:v>
                </c:pt>
                <c:pt idx="18181">
                  <c:v>47046</c:v>
                </c:pt>
                <c:pt idx="18182">
                  <c:v>125636</c:v>
                </c:pt>
                <c:pt idx="18183">
                  <c:v>290394</c:v>
                </c:pt>
                <c:pt idx="18184">
                  <c:v>23664</c:v>
                </c:pt>
                <c:pt idx="18185">
                  <c:v>88629</c:v>
                </c:pt>
                <c:pt idx="18186">
                  <c:v>56411</c:v>
                </c:pt>
                <c:pt idx="18187">
                  <c:v>36548</c:v>
                </c:pt>
                <c:pt idx="18188">
                  <c:v>26985</c:v>
                </c:pt>
                <c:pt idx="18189">
                  <c:v>34596</c:v>
                </c:pt>
                <c:pt idx="18190">
                  <c:v>146202</c:v>
                </c:pt>
                <c:pt idx="18191">
                  <c:v>46944</c:v>
                </c:pt>
                <c:pt idx="18192">
                  <c:v>44096</c:v>
                </c:pt>
                <c:pt idx="18193">
                  <c:v>36794</c:v>
                </c:pt>
                <c:pt idx="18194">
                  <c:v>53216</c:v>
                </c:pt>
                <c:pt idx="18195">
                  <c:v>52342</c:v>
                </c:pt>
                <c:pt idx="18196">
                  <c:v>41827</c:v>
                </c:pt>
                <c:pt idx="18197">
                  <c:v>22473</c:v>
                </c:pt>
                <c:pt idx="18198">
                  <c:v>33297</c:v>
                </c:pt>
                <c:pt idx="18199">
                  <c:v>37504</c:v>
                </c:pt>
                <c:pt idx="18200">
                  <c:v>28761</c:v>
                </c:pt>
                <c:pt idx="18201">
                  <c:v>37462</c:v>
                </c:pt>
                <c:pt idx="18202">
                  <c:v>47388</c:v>
                </c:pt>
                <c:pt idx="18203">
                  <c:v>30771</c:v>
                </c:pt>
                <c:pt idx="18204">
                  <c:v>88108</c:v>
                </c:pt>
                <c:pt idx="18205">
                  <c:v>31092</c:v>
                </c:pt>
                <c:pt idx="18206">
                  <c:v>43492</c:v>
                </c:pt>
                <c:pt idx="18207">
                  <c:v>29154</c:v>
                </c:pt>
                <c:pt idx="18208">
                  <c:v>37412</c:v>
                </c:pt>
                <c:pt idx="18209">
                  <c:v>32745</c:v>
                </c:pt>
                <c:pt idx="18210">
                  <c:v>28367</c:v>
                </c:pt>
                <c:pt idx="18211">
                  <c:v>72767</c:v>
                </c:pt>
                <c:pt idx="18212">
                  <c:v>64457</c:v>
                </c:pt>
                <c:pt idx="18213">
                  <c:v>37929</c:v>
                </c:pt>
                <c:pt idx="18214">
                  <c:v>98749</c:v>
                </c:pt>
                <c:pt idx="18215">
                  <c:v>44566</c:v>
                </c:pt>
                <c:pt idx="18216">
                  <c:v>27360</c:v>
                </c:pt>
                <c:pt idx="18217">
                  <c:v>211547</c:v>
                </c:pt>
                <c:pt idx="18218">
                  <c:v>55400</c:v>
                </c:pt>
                <c:pt idx="18219">
                  <c:v>63728</c:v>
                </c:pt>
                <c:pt idx="18220">
                  <c:v>20829</c:v>
                </c:pt>
                <c:pt idx="18221">
                  <c:v>47244</c:v>
                </c:pt>
                <c:pt idx="18222">
                  <c:v>48932</c:v>
                </c:pt>
                <c:pt idx="18223">
                  <c:v>33439</c:v>
                </c:pt>
                <c:pt idx="18224">
                  <c:v>66871</c:v>
                </c:pt>
                <c:pt idx="18225">
                  <c:v>33917</c:v>
                </c:pt>
                <c:pt idx="18226">
                  <c:v>42194</c:v>
                </c:pt>
                <c:pt idx="18227">
                  <c:v>38730</c:v>
                </c:pt>
                <c:pt idx="18228">
                  <c:v>93263</c:v>
                </c:pt>
                <c:pt idx="18229">
                  <c:v>274171</c:v>
                </c:pt>
                <c:pt idx="18230">
                  <c:v>129526</c:v>
                </c:pt>
                <c:pt idx="18231">
                  <c:v>95817</c:v>
                </c:pt>
                <c:pt idx="18232">
                  <c:v>32015</c:v>
                </c:pt>
                <c:pt idx="18233">
                  <c:v>42406</c:v>
                </c:pt>
                <c:pt idx="18234">
                  <c:v>61101</c:v>
                </c:pt>
                <c:pt idx="18235">
                  <c:v>60931</c:v>
                </c:pt>
                <c:pt idx="18236">
                  <c:v>53336</c:v>
                </c:pt>
                <c:pt idx="18237">
                  <c:v>161000</c:v>
                </c:pt>
                <c:pt idx="18238">
                  <c:v>53732</c:v>
                </c:pt>
                <c:pt idx="18239">
                  <c:v>31574</c:v>
                </c:pt>
                <c:pt idx="18240">
                  <c:v>96401</c:v>
                </c:pt>
                <c:pt idx="18241">
                  <c:v>33943</c:v>
                </c:pt>
                <c:pt idx="18242">
                  <c:v>32615</c:v>
                </c:pt>
                <c:pt idx="18243">
                  <c:v>54736</c:v>
                </c:pt>
                <c:pt idx="18244">
                  <c:v>35542</c:v>
                </c:pt>
                <c:pt idx="18245">
                  <c:v>42429</c:v>
                </c:pt>
                <c:pt idx="18246">
                  <c:v>22377</c:v>
                </c:pt>
                <c:pt idx="18247">
                  <c:v>34505</c:v>
                </c:pt>
                <c:pt idx="18248">
                  <c:v>34061</c:v>
                </c:pt>
                <c:pt idx="18249">
                  <c:v>107689</c:v>
                </c:pt>
                <c:pt idx="18250">
                  <c:v>32883</c:v>
                </c:pt>
                <c:pt idx="18251">
                  <c:v>35116</c:v>
                </c:pt>
                <c:pt idx="18252">
                  <c:v>26896</c:v>
                </c:pt>
                <c:pt idx="18253">
                  <c:v>32395</c:v>
                </c:pt>
                <c:pt idx="18254">
                  <c:v>48530</c:v>
                </c:pt>
                <c:pt idx="18255">
                  <c:v>61288</c:v>
                </c:pt>
                <c:pt idx="18256">
                  <c:v>128379</c:v>
                </c:pt>
                <c:pt idx="18257">
                  <c:v>41747</c:v>
                </c:pt>
                <c:pt idx="18258">
                  <c:v>182600</c:v>
                </c:pt>
                <c:pt idx="18259">
                  <c:v>35330</c:v>
                </c:pt>
                <c:pt idx="18260">
                  <c:v>44289</c:v>
                </c:pt>
                <c:pt idx="18261">
                  <c:v>52951</c:v>
                </c:pt>
                <c:pt idx="18262">
                  <c:v>35294</c:v>
                </c:pt>
                <c:pt idx="18263">
                  <c:v>56405</c:v>
                </c:pt>
                <c:pt idx="18264">
                  <c:v>35339</c:v>
                </c:pt>
                <c:pt idx="18265">
                  <c:v>49118</c:v>
                </c:pt>
                <c:pt idx="18266">
                  <c:v>70503</c:v>
                </c:pt>
                <c:pt idx="18267">
                  <c:v>46783</c:v>
                </c:pt>
                <c:pt idx="18268">
                  <c:v>44183</c:v>
                </c:pt>
                <c:pt idx="18269">
                  <c:v>69499</c:v>
                </c:pt>
                <c:pt idx="18270">
                  <c:v>34779</c:v>
                </c:pt>
                <c:pt idx="18271">
                  <c:v>34707</c:v>
                </c:pt>
                <c:pt idx="18272">
                  <c:v>53269</c:v>
                </c:pt>
                <c:pt idx="18273">
                  <c:v>43386</c:v>
                </c:pt>
                <c:pt idx="18274">
                  <c:v>72211</c:v>
                </c:pt>
                <c:pt idx="18275">
                  <c:v>35207</c:v>
                </c:pt>
                <c:pt idx="18276">
                  <c:v>77611</c:v>
                </c:pt>
                <c:pt idx="18277">
                  <c:v>27389</c:v>
                </c:pt>
                <c:pt idx="18278">
                  <c:v>60034</c:v>
                </c:pt>
                <c:pt idx="18279">
                  <c:v>38665</c:v>
                </c:pt>
                <c:pt idx="18280">
                  <c:v>32508</c:v>
                </c:pt>
                <c:pt idx="18281">
                  <c:v>61889</c:v>
                </c:pt>
                <c:pt idx="18282">
                  <c:v>124041</c:v>
                </c:pt>
                <c:pt idx="18283">
                  <c:v>88846</c:v>
                </c:pt>
                <c:pt idx="18284">
                  <c:v>176012</c:v>
                </c:pt>
                <c:pt idx="18285">
                  <c:v>181409</c:v>
                </c:pt>
                <c:pt idx="18286">
                  <c:v>26584</c:v>
                </c:pt>
                <c:pt idx="18287">
                  <c:v>33885</c:v>
                </c:pt>
                <c:pt idx="18288">
                  <c:v>48720</c:v>
                </c:pt>
                <c:pt idx="18289">
                  <c:v>37619</c:v>
                </c:pt>
                <c:pt idx="18290">
                  <c:v>67568</c:v>
                </c:pt>
                <c:pt idx="18291">
                  <c:v>36253</c:v>
                </c:pt>
                <c:pt idx="18292">
                  <c:v>38301</c:v>
                </c:pt>
                <c:pt idx="18293">
                  <c:v>92850</c:v>
                </c:pt>
                <c:pt idx="18294">
                  <c:v>51328</c:v>
                </c:pt>
                <c:pt idx="18295">
                  <c:v>27846</c:v>
                </c:pt>
                <c:pt idx="18296">
                  <c:v>45503</c:v>
                </c:pt>
                <c:pt idx="18297">
                  <c:v>37285</c:v>
                </c:pt>
                <c:pt idx="18298">
                  <c:v>23280</c:v>
                </c:pt>
                <c:pt idx="18299">
                  <c:v>47089</c:v>
                </c:pt>
                <c:pt idx="18300">
                  <c:v>34757</c:v>
                </c:pt>
                <c:pt idx="18301">
                  <c:v>26422</c:v>
                </c:pt>
                <c:pt idx="18302">
                  <c:v>67855</c:v>
                </c:pt>
                <c:pt idx="18303">
                  <c:v>103492</c:v>
                </c:pt>
                <c:pt idx="18304">
                  <c:v>86573</c:v>
                </c:pt>
                <c:pt idx="18305">
                  <c:v>38383</c:v>
                </c:pt>
                <c:pt idx="18306">
                  <c:v>29491</c:v>
                </c:pt>
                <c:pt idx="18307">
                  <c:v>27217</c:v>
                </c:pt>
                <c:pt idx="18308">
                  <c:v>37102</c:v>
                </c:pt>
                <c:pt idx="18309">
                  <c:v>28863</c:v>
                </c:pt>
                <c:pt idx="18310">
                  <c:v>26261</c:v>
                </c:pt>
                <c:pt idx="18311">
                  <c:v>61819</c:v>
                </c:pt>
                <c:pt idx="18312">
                  <c:v>29194</c:v>
                </c:pt>
                <c:pt idx="18313">
                  <c:v>64117</c:v>
                </c:pt>
                <c:pt idx="18314">
                  <c:v>35327</c:v>
                </c:pt>
                <c:pt idx="18315">
                  <c:v>132307</c:v>
                </c:pt>
                <c:pt idx="18316">
                  <c:v>31573</c:v>
                </c:pt>
                <c:pt idx="18317">
                  <c:v>27541</c:v>
                </c:pt>
                <c:pt idx="18318">
                  <c:v>23124</c:v>
                </c:pt>
                <c:pt idx="18319">
                  <c:v>49168</c:v>
                </c:pt>
                <c:pt idx="18320">
                  <c:v>116574</c:v>
                </c:pt>
                <c:pt idx="18321">
                  <c:v>43280</c:v>
                </c:pt>
                <c:pt idx="18322">
                  <c:v>38749</c:v>
                </c:pt>
                <c:pt idx="18323">
                  <c:v>78451</c:v>
                </c:pt>
                <c:pt idx="18324">
                  <c:v>34263</c:v>
                </c:pt>
                <c:pt idx="18325">
                  <c:v>69722</c:v>
                </c:pt>
                <c:pt idx="18326">
                  <c:v>120876</c:v>
                </c:pt>
                <c:pt idx="18327">
                  <c:v>45361</c:v>
                </c:pt>
                <c:pt idx="18328">
                  <c:v>23902</c:v>
                </c:pt>
                <c:pt idx="18329">
                  <c:v>40526</c:v>
                </c:pt>
                <c:pt idx="18330">
                  <c:v>44603</c:v>
                </c:pt>
                <c:pt idx="18331">
                  <c:v>69706</c:v>
                </c:pt>
                <c:pt idx="18332">
                  <c:v>74557</c:v>
                </c:pt>
                <c:pt idx="18333">
                  <c:v>37916</c:v>
                </c:pt>
                <c:pt idx="18334">
                  <c:v>25223</c:v>
                </c:pt>
                <c:pt idx="18335">
                  <c:v>36972</c:v>
                </c:pt>
                <c:pt idx="18336">
                  <c:v>50789</c:v>
                </c:pt>
                <c:pt idx="18337">
                  <c:v>46732</c:v>
                </c:pt>
                <c:pt idx="18338">
                  <c:v>28976</c:v>
                </c:pt>
                <c:pt idx="18339">
                  <c:v>63903</c:v>
                </c:pt>
                <c:pt idx="18340">
                  <c:v>38415</c:v>
                </c:pt>
                <c:pt idx="18341">
                  <c:v>135586</c:v>
                </c:pt>
                <c:pt idx="18342">
                  <c:v>38141</c:v>
                </c:pt>
                <c:pt idx="18343">
                  <c:v>35560</c:v>
                </c:pt>
                <c:pt idx="18344">
                  <c:v>47043</c:v>
                </c:pt>
                <c:pt idx="18345">
                  <c:v>19309</c:v>
                </c:pt>
                <c:pt idx="18346">
                  <c:v>80328</c:v>
                </c:pt>
                <c:pt idx="18347">
                  <c:v>48485</c:v>
                </c:pt>
                <c:pt idx="18348">
                  <c:v>53181</c:v>
                </c:pt>
                <c:pt idx="18349">
                  <c:v>50387</c:v>
                </c:pt>
                <c:pt idx="18350">
                  <c:v>32238</c:v>
                </c:pt>
                <c:pt idx="18351">
                  <c:v>44313</c:v>
                </c:pt>
                <c:pt idx="18352">
                  <c:v>52321</c:v>
                </c:pt>
                <c:pt idx="18353">
                  <c:v>23573</c:v>
                </c:pt>
                <c:pt idx="18354">
                  <c:v>23647</c:v>
                </c:pt>
                <c:pt idx="18355">
                  <c:v>45329</c:v>
                </c:pt>
                <c:pt idx="18356">
                  <c:v>34491</c:v>
                </c:pt>
                <c:pt idx="18357">
                  <c:v>35167</c:v>
                </c:pt>
                <c:pt idx="18358">
                  <c:v>30310</c:v>
                </c:pt>
                <c:pt idx="18359">
                  <c:v>46177</c:v>
                </c:pt>
                <c:pt idx="18360">
                  <c:v>72148</c:v>
                </c:pt>
                <c:pt idx="18361">
                  <c:v>37904</c:v>
                </c:pt>
                <c:pt idx="18362">
                  <c:v>102398</c:v>
                </c:pt>
                <c:pt idx="18363">
                  <c:v>23042</c:v>
                </c:pt>
                <c:pt idx="18364">
                  <c:v>52836</c:v>
                </c:pt>
                <c:pt idx="18365">
                  <c:v>132218</c:v>
                </c:pt>
                <c:pt idx="18366">
                  <c:v>29649</c:v>
                </c:pt>
                <c:pt idx="18367">
                  <c:v>37288</c:v>
                </c:pt>
                <c:pt idx="18368">
                  <c:v>33352</c:v>
                </c:pt>
                <c:pt idx="18369">
                  <c:v>45228</c:v>
                </c:pt>
                <c:pt idx="18370">
                  <c:v>25399</c:v>
                </c:pt>
                <c:pt idx="18371">
                  <c:v>49091</c:v>
                </c:pt>
                <c:pt idx="18372">
                  <c:v>37351</c:v>
                </c:pt>
                <c:pt idx="18373">
                  <c:v>40707</c:v>
                </c:pt>
                <c:pt idx="18374">
                  <c:v>125228</c:v>
                </c:pt>
                <c:pt idx="18375">
                  <c:v>161978</c:v>
                </c:pt>
                <c:pt idx="18376">
                  <c:v>33514</c:v>
                </c:pt>
                <c:pt idx="18377">
                  <c:v>42898</c:v>
                </c:pt>
                <c:pt idx="18378">
                  <c:v>39731</c:v>
                </c:pt>
                <c:pt idx="18379">
                  <c:v>38495</c:v>
                </c:pt>
                <c:pt idx="18380">
                  <c:v>61748</c:v>
                </c:pt>
                <c:pt idx="18381">
                  <c:v>22545</c:v>
                </c:pt>
                <c:pt idx="18382">
                  <c:v>71170</c:v>
                </c:pt>
                <c:pt idx="18383">
                  <c:v>35970</c:v>
                </c:pt>
                <c:pt idx="18384">
                  <c:v>65175</c:v>
                </c:pt>
                <c:pt idx="18385">
                  <c:v>47213</c:v>
                </c:pt>
                <c:pt idx="18386">
                  <c:v>22664</c:v>
                </c:pt>
                <c:pt idx="18387">
                  <c:v>77377</c:v>
                </c:pt>
                <c:pt idx="18388">
                  <c:v>22770</c:v>
                </c:pt>
                <c:pt idx="18389">
                  <c:v>63791</c:v>
                </c:pt>
                <c:pt idx="18390">
                  <c:v>91749</c:v>
                </c:pt>
                <c:pt idx="18391">
                  <c:v>56103</c:v>
                </c:pt>
                <c:pt idx="18392">
                  <c:v>43837</c:v>
                </c:pt>
                <c:pt idx="18393">
                  <c:v>228616</c:v>
                </c:pt>
                <c:pt idx="18394">
                  <c:v>37221</c:v>
                </c:pt>
                <c:pt idx="18395">
                  <c:v>48867</c:v>
                </c:pt>
                <c:pt idx="18396">
                  <c:v>25601</c:v>
                </c:pt>
                <c:pt idx="18397">
                  <c:v>83721</c:v>
                </c:pt>
                <c:pt idx="18398">
                  <c:v>119255</c:v>
                </c:pt>
                <c:pt idx="18399">
                  <c:v>76944</c:v>
                </c:pt>
                <c:pt idx="18400">
                  <c:v>194769</c:v>
                </c:pt>
                <c:pt idx="18401">
                  <c:v>50199</c:v>
                </c:pt>
                <c:pt idx="18402">
                  <c:v>113372</c:v>
                </c:pt>
                <c:pt idx="18403">
                  <c:v>34762</c:v>
                </c:pt>
                <c:pt idx="18404">
                  <c:v>41002</c:v>
                </c:pt>
                <c:pt idx="18405">
                  <c:v>82807</c:v>
                </c:pt>
                <c:pt idx="18406">
                  <c:v>31154</c:v>
                </c:pt>
                <c:pt idx="18407">
                  <c:v>31216</c:v>
                </c:pt>
                <c:pt idx="18408">
                  <c:v>45360</c:v>
                </c:pt>
                <c:pt idx="18409">
                  <c:v>154717</c:v>
                </c:pt>
                <c:pt idx="18410">
                  <c:v>28566</c:v>
                </c:pt>
                <c:pt idx="18411">
                  <c:v>24313</c:v>
                </c:pt>
                <c:pt idx="18412">
                  <c:v>42454</c:v>
                </c:pt>
                <c:pt idx="18413">
                  <c:v>23436</c:v>
                </c:pt>
                <c:pt idx="18414">
                  <c:v>68912</c:v>
                </c:pt>
                <c:pt idx="18415">
                  <c:v>21624</c:v>
                </c:pt>
                <c:pt idx="18416">
                  <c:v>60360</c:v>
                </c:pt>
                <c:pt idx="18417">
                  <c:v>136867</c:v>
                </c:pt>
                <c:pt idx="18418">
                  <c:v>191317</c:v>
                </c:pt>
                <c:pt idx="18419">
                  <c:v>38828</c:v>
                </c:pt>
                <c:pt idx="18420">
                  <c:v>30996</c:v>
                </c:pt>
                <c:pt idx="18421">
                  <c:v>82983</c:v>
                </c:pt>
                <c:pt idx="18422">
                  <c:v>40852</c:v>
                </c:pt>
                <c:pt idx="18423">
                  <c:v>202419</c:v>
                </c:pt>
                <c:pt idx="18424">
                  <c:v>41781</c:v>
                </c:pt>
                <c:pt idx="18425">
                  <c:v>24473</c:v>
                </c:pt>
                <c:pt idx="18426">
                  <c:v>40157</c:v>
                </c:pt>
                <c:pt idx="18427">
                  <c:v>44413</c:v>
                </c:pt>
                <c:pt idx="18428">
                  <c:v>104493</c:v>
                </c:pt>
                <c:pt idx="18429">
                  <c:v>23761</c:v>
                </c:pt>
                <c:pt idx="18430">
                  <c:v>29983</c:v>
                </c:pt>
                <c:pt idx="18431">
                  <c:v>43149</c:v>
                </c:pt>
                <c:pt idx="18432">
                  <c:v>120138</c:v>
                </c:pt>
                <c:pt idx="18433">
                  <c:v>28445</c:v>
                </c:pt>
                <c:pt idx="18434">
                  <c:v>98524</c:v>
                </c:pt>
                <c:pt idx="18435">
                  <c:v>49949</c:v>
                </c:pt>
                <c:pt idx="18436">
                  <c:v>43031</c:v>
                </c:pt>
                <c:pt idx="18437">
                  <c:v>54575</c:v>
                </c:pt>
                <c:pt idx="18438">
                  <c:v>56078</c:v>
                </c:pt>
                <c:pt idx="18439">
                  <c:v>287953</c:v>
                </c:pt>
                <c:pt idx="18440">
                  <c:v>42452</c:v>
                </c:pt>
                <c:pt idx="18441">
                  <c:v>38757</c:v>
                </c:pt>
                <c:pt idx="18442">
                  <c:v>60246</c:v>
                </c:pt>
                <c:pt idx="18443">
                  <c:v>37159</c:v>
                </c:pt>
                <c:pt idx="18444">
                  <c:v>50490</c:v>
                </c:pt>
                <c:pt idx="18445">
                  <c:v>39047</c:v>
                </c:pt>
                <c:pt idx="18446">
                  <c:v>21262</c:v>
                </c:pt>
                <c:pt idx="18447">
                  <c:v>60234</c:v>
                </c:pt>
                <c:pt idx="18448">
                  <c:v>80454</c:v>
                </c:pt>
                <c:pt idx="18449">
                  <c:v>36083</c:v>
                </c:pt>
                <c:pt idx="18450">
                  <c:v>41106</c:v>
                </c:pt>
                <c:pt idx="18451">
                  <c:v>105236</c:v>
                </c:pt>
                <c:pt idx="18452">
                  <c:v>28385</c:v>
                </c:pt>
                <c:pt idx="18453">
                  <c:v>120250</c:v>
                </c:pt>
                <c:pt idx="18454">
                  <c:v>27535</c:v>
                </c:pt>
                <c:pt idx="18455">
                  <c:v>41700</c:v>
                </c:pt>
                <c:pt idx="18456">
                  <c:v>27228</c:v>
                </c:pt>
                <c:pt idx="18457">
                  <c:v>135380</c:v>
                </c:pt>
                <c:pt idx="18458">
                  <c:v>43889</c:v>
                </c:pt>
                <c:pt idx="18459">
                  <c:v>35159</c:v>
                </c:pt>
                <c:pt idx="18460">
                  <c:v>44827</c:v>
                </c:pt>
                <c:pt idx="18461">
                  <c:v>402498</c:v>
                </c:pt>
                <c:pt idx="18462">
                  <c:v>34245</c:v>
                </c:pt>
                <c:pt idx="18463">
                  <c:v>53964</c:v>
                </c:pt>
                <c:pt idx="18464">
                  <c:v>30251</c:v>
                </c:pt>
                <c:pt idx="18465">
                  <c:v>79093</c:v>
                </c:pt>
                <c:pt idx="18466">
                  <c:v>31505</c:v>
                </c:pt>
                <c:pt idx="18467">
                  <c:v>37291</c:v>
                </c:pt>
                <c:pt idx="18468">
                  <c:v>26792</c:v>
                </c:pt>
                <c:pt idx="18469">
                  <c:v>36908</c:v>
                </c:pt>
                <c:pt idx="18470">
                  <c:v>78374</c:v>
                </c:pt>
                <c:pt idx="18471">
                  <c:v>101433</c:v>
                </c:pt>
                <c:pt idx="18472">
                  <c:v>283764</c:v>
                </c:pt>
                <c:pt idx="18473">
                  <c:v>25364</c:v>
                </c:pt>
                <c:pt idx="18474">
                  <c:v>51469</c:v>
                </c:pt>
                <c:pt idx="18475">
                  <c:v>135943</c:v>
                </c:pt>
                <c:pt idx="18476">
                  <c:v>22938</c:v>
                </c:pt>
                <c:pt idx="18477">
                  <c:v>46833</c:v>
                </c:pt>
                <c:pt idx="18478">
                  <c:v>28443</c:v>
                </c:pt>
                <c:pt idx="18479">
                  <c:v>39545</c:v>
                </c:pt>
                <c:pt idx="18480">
                  <c:v>122550</c:v>
                </c:pt>
                <c:pt idx="18481">
                  <c:v>49811</c:v>
                </c:pt>
                <c:pt idx="18482">
                  <c:v>106509</c:v>
                </c:pt>
                <c:pt idx="18483">
                  <c:v>49353</c:v>
                </c:pt>
                <c:pt idx="18484">
                  <c:v>55620</c:v>
                </c:pt>
                <c:pt idx="18485">
                  <c:v>142740</c:v>
                </c:pt>
                <c:pt idx="18486">
                  <c:v>55593</c:v>
                </c:pt>
                <c:pt idx="18487">
                  <c:v>48065</c:v>
                </c:pt>
                <c:pt idx="18488">
                  <c:v>30942</c:v>
                </c:pt>
                <c:pt idx="18489">
                  <c:v>240774</c:v>
                </c:pt>
                <c:pt idx="18490">
                  <c:v>30994</c:v>
                </c:pt>
                <c:pt idx="18491">
                  <c:v>461380</c:v>
                </c:pt>
                <c:pt idx="18492">
                  <c:v>34097</c:v>
                </c:pt>
                <c:pt idx="18493">
                  <c:v>49079</c:v>
                </c:pt>
                <c:pt idx="18494">
                  <c:v>133521</c:v>
                </c:pt>
                <c:pt idx="18495">
                  <c:v>46871</c:v>
                </c:pt>
                <c:pt idx="18496">
                  <c:v>23234</c:v>
                </c:pt>
                <c:pt idx="18497">
                  <c:v>47268</c:v>
                </c:pt>
                <c:pt idx="18498">
                  <c:v>34641</c:v>
                </c:pt>
                <c:pt idx="18499">
                  <c:v>37587</c:v>
                </c:pt>
                <c:pt idx="18500">
                  <c:v>38624</c:v>
                </c:pt>
                <c:pt idx="18501">
                  <c:v>37062</c:v>
                </c:pt>
                <c:pt idx="18502">
                  <c:v>30271</c:v>
                </c:pt>
                <c:pt idx="18503">
                  <c:v>33398</c:v>
                </c:pt>
                <c:pt idx="18504">
                  <c:v>25112</c:v>
                </c:pt>
                <c:pt idx="18505">
                  <c:v>42570</c:v>
                </c:pt>
                <c:pt idx="18506">
                  <c:v>34581</c:v>
                </c:pt>
                <c:pt idx="18507">
                  <c:v>27400</c:v>
                </c:pt>
                <c:pt idx="18508">
                  <c:v>22901</c:v>
                </c:pt>
                <c:pt idx="18509">
                  <c:v>27682</c:v>
                </c:pt>
                <c:pt idx="18510">
                  <c:v>31735</c:v>
                </c:pt>
                <c:pt idx="18511">
                  <c:v>38358</c:v>
                </c:pt>
                <c:pt idx="18512">
                  <c:v>40144</c:v>
                </c:pt>
                <c:pt idx="18513">
                  <c:v>37614</c:v>
                </c:pt>
                <c:pt idx="18514">
                  <c:v>58653</c:v>
                </c:pt>
                <c:pt idx="18515">
                  <c:v>65398</c:v>
                </c:pt>
                <c:pt idx="18516">
                  <c:v>42883</c:v>
                </c:pt>
                <c:pt idx="18517">
                  <c:v>145356</c:v>
                </c:pt>
                <c:pt idx="18518">
                  <c:v>30731</c:v>
                </c:pt>
                <c:pt idx="18519">
                  <c:v>61264</c:v>
                </c:pt>
                <c:pt idx="18520">
                  <c:v>40377</c:v>
                </c:pt>
                <c:pt idx="18521">
                  <c:v>46447</c:v>
                </c:pt>
                <c:pt idx="18522">
                  <c:v>28399</c:v>
                </c:pt>
                <c:pt idx="18523">
                  <c:v>24924</c:v>
                </c:pt>
                <c:pt idx="18524">
                  <c:v>38178</c:v>
                </c:pt>
                <c:pt idx="18525">
                  <c:v>34505</c:v>
                </c:pt>
                <c:pt idx="18526">
                  <c:v>45410</c:v>
                </c:pt>
                <c:pt idx="18527">
                  <c:v>20697</c:v>
                </c:pt>
                <c:pt idx="18528">
                  <c:v>22658</c:v>
                </c:pt>
                <c:pt idx="18529">
                  <c:v>69141</c:v>
                </c:pt>
                <c:pt idx="18530">
                  <c:v>158853</c:v>
                </c:pt>
                <c:pt idx="18531">
                  <c:v>46080</c:v>
                </c:pt>
                <c:pt idx="18532">
                  <c:v>36254</c:v>
                </c:pt>
                <c:pt idx="18533">
                  <c:v>80079</c:v>
                </c:pt>
                <c:pt idx="18534">
                  <c:v>33247</c:v>
                </c:pt>
                <c:pt idx="18535">
                  <c:v>74089</c:v>
                </c:pt>
                <c:pt idx="18536">
                  <c:v>65462</c:v>
                </c:pt>
                <c:pt idx="18537">
                  <c:v>32067</c:v>
                </c:pt>
                <c:pt idx="18538">
                  <c:v>28628</c:v>
                </c:pt>
                <c:pt idx="18539">
                  <c:v>22679</c:v>
                </c:pt>
                <c:pt idx="18540">
                  <c:v>68942</c:v>
                </c:pt>
                <c:pt idx="18541">
                  <c:v>48311</c:v>
                </c:pt>
                <c:pt idx="18542">
                  <c:v>301007</c:v>
                </c:pt>
                <c:pt idx="18543">
                  <c:v>23112</c:v>
                </c:pt>
                <c:pt idx="18544">
                  <c:v>38702</c:v>
                </c:pt>
                <c:pt idx="18545">
                  <c:v>24385</c:v>
                </c:pt>
                <c:pt idx="18546">
                  <c:v>37490</c:v>
                </c:pt>
                <c:pt idx="18547">
                  <c:v>52308</c:v>
                </c:pt>
                <c:pt idx="18548">
                  <c:v>46004</c:v>
                </c:pt>
                <c:pt idx="18549">
                  <c:v>26854</c:v>
                </c:pt>
                <c:pt idx="18550">
                  <c:v>29808</c:v>
                </c:pt>
                <c:pt idx="18551">
                  <c:v>100526</c:v>
                </c:pt>
                <c:pt idx="18552">
                  <c:v>151649</c:v>
                </c:pt>
                <c:pt idx="18553">
                  <c:v>76747</c:v>
                </c:pt>
                <c:pt idx="18554">
                  <c:v>31341</c:v>
                </c:pt>
                <c:pt idx="18555">
                  <c:v>121237</c:v>
                </c:pt>
                <c:pt idx="18556">
                  <c:v>38903</c:v>
                </c:pt>
                <c:pt idx="18557">
                  <c:v>45940</c:v>
                </c:pt>
                <c:pt idx="18558">
                  <c:v>122372</c:v>
                </c:pt>
                <c:pt idx="18559">
                  <c:v>143431</c:v>
                </c:pt>
                <c:pt idx="18560">
                  <c:v>50395</c:v>
                </c:pt>
                <c:pt idx="18561">
                  <c:v>44564</c:v>
                </c:pt>
                <c:pt idx="18562">
                  <c:v>23863</c:v>
                </c:pt>
                <c:pt idx="18563">
                  <c:v>33774</c:v>
                </c:pt>
                <c:pt idx="18564">
                  <c:v>44344</c:v>
                </c:pt>
                <c:pt idx="18565">
                  <c:v>60688</c:v>
                </c:pt>
                <c:pt idx="18566">
                  <c:v>25618</c:v>
                </c:pt>
                <c:pt idx="18567">
                  <c:v>155630</c:v>
                </c:pt>
                <c:pt idx="18568">
                  <c:v>56380</c:v>
                </c:pt>
                <c:pt idx="18569">
                  <c:v>59767</c:v>
                </c:pt>
                <c:pt idx="18570">
                  <c:v>255000</c:v>
                </c:pt>
                <c:pt idx="18571">
                  <c:v>21316</c:v>
                </c:pt>
                <c:pt idx="18572">
                  <c:v>208551</c:v>
                </c:pt>
                <c:pt idx="18573">
                  <c:v>42766</c:v>
                </c:pt>
                <c:pt idx="18574">
                  <c:v>101667</c:v>
                </c:pt>
                <c:pt idx="18575">
                  <c:v>55630</c:v>
                </c:pt>
                <c:pt idx="18576">
                  <c:v>86237</c:v>
                </c:pt>
                <c:pt idx="18577">
                  <c:v>236249</c:v>
                </c:pt>
                <c:pt idx="18578">
                  <c:v>46757</c:v>
                </c:pt>
                <c:pt idx="18579">
                  <c:v>38978</c:v>
                </c:pt>
                <c:pt idx="18580">
                  <c:v>30808</c:v>
                </c:pt>
                <c:pt idx="18581">
                  <c:v>29089</c:v>
                </c:pt>
                <c:pt idx="18582">
                  <c:v>40055</c:v>
                </c:pt>
                <c:pt idx="18583">
                  <c:v>251848</c:v>
                </c:pt>
                <c:pt idx="18584">
                  <c:v>27656</c:v>
                </c:pt>
                <c:pt idx="18585">
                  <c:v>34252</c:v>
                </c:pt>
                <c:pt idx="18586">
                  <c:v>38309</c:v>
                </c:pt>
                <c:pt idx="18587">
                  <c:v>55139</c:v>
                </c:pt>
                <c:pt idx="18588">
                  <c:v>30994</c:v>
                </c:pt>
                <c:pt idx="18589">
                  <c:v>43145</c:v>
                </c:pt>
                <c:pt idx="18590">
                  <c:v>26727</c:v>
                </c:pt>
                <c:pt idx="18591">
                  <c:v>87059</c:v>
                </c:pt>
                <c:pt idx="18592">
                  <c:v>80203</c:v>
                </c:pt>
                <c:pt idx="18593">
                  <c:v>70394</c:v>
                </c:pt>
                <c:pt idx="18594">
                  <c:v>34990</c:v>
                </c:pt>
                <c:pt idx="18595">
                  <c:v>33810</c:v>
                </c:pt>
                <c:pt idx="18596">
                  <c:v>86588</c:v>
                </c:pt>
                <c:pt idx="18597">
                  <c:v>36007</c:v>
                </c:pt>
                <c:pt idx="18598">
                  <c:v>22910</c:v>
                </c:pt>
                <c:pt idx="18599">
                  <c:v>176514</c:v>
                </c:pt>
                <c:pt idx="18600">
                  <c:v>44940</c:v>
                </c:pt>
                <c:pt idx="18601">
                  <c:v>34078</c:v>
                </c:pt>
                <c:pt idx="18602">
                  <c:v>96756</c:v>
                </c:pt>
                <c:pt idx="18603">
                  <c:v>68615</c:v>
                </c:pt>
                <c:pt idx="18604">
                  <c:v>38137</c:v>
                </c:pt>
                <c:pt idx="18605">
                  <c:v>48840</c:v>
                </c:pt>
                <c:pt idx="18606">
                  <c:v>53967</c:v>
                </c:pt>
                <c:pt idx="18607">
                  <c:v>63599</c:v>
                </c:pt>
                <c:pt idx="18608">
                  <c:v>37942</c:v>
                </c:pt>
                <c:pt idx="18609">
                  <c:v>86147</c:v>
                </c:pt>
                <c:pt idx="18610">
                  <c:v>34244</c:v>
                </c:pt>
                <c:pt idx="18611">
                  <c:v>54908</c:v>
                </c:pt>
                <c:pt idx="18612">
                  <c:v>29311</c:v>
                </c:pt>
                <c:pt idx="18613">
                  <c:v>54019</c:v>
                </c:pt>
                <c:pt idx="18614">
                  <c:v>26351</c:v>
                </c:pt>
                <c:pt idx="18615">
                  <c:v>219430</c:v>
                </c:pt>
                <c:pt idx="18616">
                  <c:v>43833</c:v>
                </c:pt>
                <c:pt idx="18617">
                  <c:v>52396</c:v>
                </c:pt>
                <c:pt idx="18618">
                  <c:v>25318</c:v>
                </c:pt>
                <c:pt idx="18619">
                  <c:v>33456</c:v>
                </c:pt>
                <c:pt idx="18620">
                  <c:v>39663</c:v>
                </c:pt>
                <c:pt idx="18621">
                  <c:v>51862</c:v>
                </c:pt>
                <c:pt idx="18622">
                  <c:v>55369</c:v>
                </c:pt>
                <c:pt idx="18623">
                  <c:v>48564</c:v>
                </c:pt>
                <c:pt idx="18624">
                  <c:v>83877</c:v>
                </c:pt>
                <c:pt idx="18625">
                  <c:v>43207</c:v>
                </c:pt>
                <c:pt idx="18626">
                  <c:v>32531</c:v>
                </c:pt>
                <c:pt idx="18627">
                  <c:v>195634</c:v>
                </c:pt>
                <c:pt idx="18628">
                  <c:v>37458</c:v>
                </c:pt>
                <c:pt idx="18629">
                  <c:v>41099</c:v>
                </c:pt>
                <c:pt idx="18630">
                  <c:v>52318</c:v>
                </c:pt>
                <c:pt idx="18631">
                  <c:v>48239</c:v>
                </c:pt>
                <c:pt idx="18632">
                  <c:v>38128</c:v>
                </c:pt>
                <c:pt idx="18633">
                  <c:v>99393</c:v>
                </c:pt>
                <c:pt idx="18634">
                  <c:v>84552</c:v>
                </c:pt>
                <c:pt idx="18635">
                  <c:v>37985</c:v>
                </c:pt>
                <c:pt idx="18636">
                  <c:v>25763</c:v>
                </c:pt>
                <c:pt idx="18637">
                  <c:v>45016</c:v>
                </c:pt>
                <c:pt idx="18638">
                  <c:v>25522</c:v>
                </c:pt>
                <c:pt idx="18639">
                  <c:v>15000</c:v>
                </c:pt>
                <c:pt idx="18640">
                  <c:v>191805</c:v>
                </c:pt>
                <c:pt idx="18641">
                  <c:v>40313</c:v>
                </c:pt>
                <c:pt idx="18642">
                  <c:v>80978</c:v>
                </c:pt>
                <c:pt idx="18643">
                  <c:v>26277</c:v>
                </c:pt>
                <c:pt idx="18644">
                  <c:v>54528</c:v>
                </c:pt>
                <c:pt idx="18645">
                  <c:v>33715</c:v>
                </c:pt>
                <c:pt idx="18646">
                  <c:v>76280</c:v>
                </c:pt>
                <c:pt idx="18647">
                  <c:v>45061</c:v>
                </c:pt>
                <c:pt idx="18648">
                  <c:v>44870</c:v>
                </c:pt>
                <c:pt idx="18649">
                  <c:v>51773</c:v>
                </c:pt>
                <c:pt idx="18650">
                  <c:v>134446</c:v>
                </c:pt>
                <c:pt idx="18651">
                  <c:v>30105</c:v>
                </c:pt>
                <c:pt idx="18652">
                  <c:v>86987</c:v>
                </c:pt>
                <c:pt idx="18653">
                  <c:v>47652</c:v>
                </c:pt>
                <c:pt idx="18654">
                  <c:v>39027</c:v>
                </c:pt>
                <c:pt idx="18655">
                  <c:v>50878</c:v>
                </c:pt>
                <c:pt idx="18656">
                  <c:v>50336</c:v>
                </c:pt>
                <c:pt idx="18657">
                  <c:v>95673</c:v>
                </c:pt>
                <c:pt idx="18658">
                  <c:v>40052</c:v>
                </c:pt>
                <c:pt idx="18659">
                  <c:v>39014</c:v>
                </c:pt>
                <c:pt idx="18660">
                  <c:v>99494</c:v>
                </c:pt>
                <c:pt idx="18661">
                  <c:v>39253</c:v>
                </c:pt>
                <c:pt idx="18662">
                  <c:v>78816</c:v>
                </c:pt>
                <c:pt idx="18663">
                  <c:v>103041</c:v>
                </c:pt>
                <c:pt idx="18664">
                  <c:v>82980</c:v>
                </c:pt>
                <c:pt idx="18665">
                  <c:v>29936</c:v>
                </c:pt>
                <c:pt idx="18666">
                  <c:v>43238</c:v>
                </c:pt>
                <c:pt idx="18667">
                  <c:v>120886</c:v>
                </c:pt>
                <c:pt idx="18668">
                  <c:v>25020</c:v>
                </c:pt>
                <c:pt idx="18669">
                  <c:v>88376</c:v>
                </c:pt>
                <c:pt idx="18670">
                  <c:v>24394</c:v>
                </c:pt>
                <c:pt idx="18671">
                  <c:v>21561</c:v>
                </c:pt>
                <c:pt idx="18672">
                  <c:v>36143</c:v>
                </c:pt>
                <c:pt idx="18673">
                  <c:v>37034</c:v>
                </c:pt>
                <c:pt idx="18674">
                  <c:v>46570</c:v>
                </c:pt>
                <c:pt idx="18675">
                  <c:v>76356</c:v>
                </c:pt>
                <c:pt idx="18676">
                  <c:v>62498</c:v>
                </c:pt>
                <c:pt idx="18677">
                  <c:v>33507</c:v>
                </c:pt>
                <c:pt idx="18678">
                  <c:v>54336</c:v>
                </c:pt>
                <c:pt idx="18679">
                  <c:v>32941</c:v>
                </c:pt>
                <c:pt idx="18680">
                  <c:v>44479</c:v>
                </c:pt>
                <c:pt idx="18681">
                  <c:v>51594</c:v>
                </c:pt>
                <c:pt idx="18682">
                  <c:v>31360</c:v>
                </c:pt>
                <c:pt idx="18683">
                  <c:v>36184</c:v>
                </c:pt>
                <c:pt idx="18684">
                  <c:v>38495</c:v>
                </c:pt>
                <c:pt idx="18685">
                  <c:v>67705</c:v>
                </c:pt>
                <c:pt idx="18686">
                  <c:v>44807</c:v>
                </c:pt>
                <c:pt idx="18687">
                  <c:v>30824</c:v>
                </c:pt>
                <c:pt idx="18688">
                  <c:v>259080</c:v>
                </c:pt>
                <c:pt idx="18689">
                  <c:v>50809</c:v>
                </c:pt>
                <c:pt idx="18690">
                  <c:v>34779</c:v>
                </c:pt>
                <c:pt idx="18691">
                  <c:v>123512</c:v>
                </c:pt>
                <c:pt idx="18692">
                  <c:v>47099</c:v>
                </c:pt>
                <c:pt idx="18693">
                  <c:v>66172</c:v>
                </c:pt>
                <c:pt idx="18694">
                  <c:v>41447</c:v>
                </c:pt>
                <c:pt idx="18695">
                  <c:v>27508</c:v>
                </c:pt>
                <c:pt idx="18696">
                  <c:v>159411</c:v>
                </c:pt>
                <c:pt idx="18697">
                  <c:v>25513</c:v>
                </c:pt>
                <c:pt idx="18698">
                  <c:v>74170</c:v>
                </c:pt>
                <c:pt idx="18699">
                  <c:v>51133</c:v>
                </c:pt>
                <c:pt idx="18700">
                  <c:v>40172</c:v>
                </c:pt>
                <c:pt idx="18701">
                  <c:v>75778</c:v>
                </c:pt>
                <c:pt idx="18702">
                  <c:v>28671</c:v>
                </c:pt>
                <c:pt idx="18703">
                  <c:v>40537</c:v>
                </c:pt>
                <c:pt idx="18704">
                  <c:v>55741</c:v>
                </c:pt>
                <c:pt idx="18705">
                  <c:v>45607</c:v>
                </c:pt>
                <c:pt idx="18706">
                  <c:v>218224</c:v>
                </c:pt>
                <c:pt idx="18707">
                  <c:v>36744</c:v>
                </c:pt>
                <c:pt idx="18708">
                  <c:v>39353</c:v>
                </c:pt>
                <c:pt idx="18709">
                  <c:v>33900</c:v>
                </c:pt>
                <c:pt idx="18710">
                  <c:v>194648</c:v>
                </c:pt>
                <c:pt idx="18711">
                  <c:v>74786</c:v>
                </c:pt>
                <c:pt idx="18712">
                  <c:v>50367</c:v>
                </c:pt>
                <c:pt idx="18713">
                  <c:v>81275</c:v>
                </c:pt>
                <c:pt idx="18714">
                  <c:v>46767</c:v>
                </c:pt>
                <c:pt idx="18715">
                  <c:v>89063</c:v>
                </c:pt>
                <c:pt idx="18716">
                  <c:v>26050</c:v>
                </c:pt>
                <c:pt idx="18717">
                  <c:v>58122</c:v>
                </c:pt>
                <c:pt idx="18718">
                  <c:v>49832</c:v>
                </c:pt>
                <c:pt idx="18719">
                  <c:v>44509</c:v>
                </c:pt>
                <c:pt idx="18720">
                  <c:v>25566</c:v>
                </c:pt>
                <c:pt idx="18721">
                  <c:v>34900</c:v>
                </c:pt>
                <c:pt idx="18722">
                  <c:v>35149</c:v>
                </c:pt>
                <c:pt idx="18723">
                  <c:v>65326</c:v>
                </c:pt>
                <c:pt idx="18724">
                  <c:v>58539</c:v>
                </c:pt>
                <c:pt idx="18725">
                  <c:v>112538</c:v>
                </c:pt>
                <c:pt idx="18726">
                  <c:v>23438</c:v>
                </c:pt>
                <c:pt idx="18727">
                  <c:v>126279</c:v>
                </c:pt>
                <c:pt idx="18728">
                  <c:v>36522</c:v>
                </c:pt>
                <c:pt idx="18729">
                  <c:v>35399</c:v>
                </c:pt>
                <c:pt idx="18730">
                  <c:v>44462</c:v>
                </c:pt>
                <c:pt idx="18731">
                  <c:v>36799</c:v>
                </c:pt>
                <c:pt idx="18732">
                  <c:v>28434</c:v>
                </c:pt>
                <c:pt idx="18733">
                  <c:v>44384</c:v>
                </c:pt>
                <c:pt idx="18734">
                  <c:v>42362</c:v>
                </c:pt>
                <c:pt idx="18735">
                  <c:v>30670</c:v>
                </c:pt>
                <c:pt idx="18736">
                  <c:v>66027</c:v>
                </c:pt>
                <c:pt idx="18737">
                  <c:v>208777</c:v>
                </c:pt>
                <c:pt idx="18738">
                  <c:v>70433</c:v>
                </c:pt>
                <c:pt idx="18739">
                  <c:v>48581</c:v>
                </c:pt>
                <c:pt idx="18740">
                  <c:v>38556</c:v>
                </c:pt>
                <c:pt idx="18741">
                  <c:v>57465</c:v>
                </c:pt>
                <c:pt idx="18742">
                  <c:v>54311</c:v>
                </c:pt>
                <c:pt idx="18743">
                  <c:v>43932</c:v>
                </c:pt>
                <c:pt idx="18744">
                  <c:v>26197</c:v>
                </c:pt>
                <c:pt idx="18745">
                  <c:v>32980</c:v>
                </c:pt>
                <c:pt idx="18746">
                  <c:v>22801</c:v>
                </c:pt>
                <c:pt idx="18747">
                  <c:v>46879</c:v>
                </c:pt>
                <c:pt idx="18748">
                  <c:v>33703</c:v>
                </c:pt>
                <c:pt idx="18749">
                  <c:v>25005</c:v>
                </c:pt>
                <c:pt idx="18750">
                  <c:v>23475</c:v>
                </c:pt>
                <c:pt idx="18751">
                  <c:v>39003</c:v>
                </c:pt>
                <c:pt idx="18752">
                  <c:v>38129</c:v>
                </c:pt>
                <c:pt idx="18753">
                  <c:v>52083</c:v>
                </c:pt>
                <c:pt idx="18754">
                  <c:v>51463</c:v>
                </c:pt>
                <c:pt idx="18755">
                  <c:v>33872</c:v>
                </c:pt>
                <c:pt idx="18756">
                  <c:v>45056</c:v>
                </c:pt>
                <c:pt idx="18757">
                  <c:v>31349</c:v>
                </c:pt>
                <c:pt idx="18758">
                  <c:v>29772</c:v>
                </c:pt>
                <c:pt idx="18759">
                  <c:v>57616</c:v>
                </c:pt>
                <c:pt idx="18760">
                  <c:v>67989</c:v>
                </c:pt>
                <c:pt idx="18761">
                  <c:v>30113</c:v>
                </c:pt>
                <c:pt idx="18762">
                  <c:v>32499</c:v>
                </c:pt>
                <c:pt idx="18763">
                  <c:v>41801</c:v>
                </c:pt>
                <c:pt idx="18764">
                  <c:v>24321</c:v>
                </c:pt>
                <c:pt idx="18765">
                  <c:v>194851</c:v>
                </c:pt>
                <c:pt idx="18766">
                  <c:v>26948</c:v>
                </c:pt>
                <c:pt idx="18767">
                  <c:v>43206</c:v>
                </c:pt>
                <c:pt idx="18768">
                  <c:v>30589</c:v>
                </c:pt>
                <c:pt idx="18769">
                  <c:v>276908</c:v>
                </c:pt>
                <c:pt idx="18770">
                  <c:v>22517</c:v>
                </c:pt>
                <c:pt idx="18771">
                  <c:v>20816</c:v>
                </c:pt>
                <c:pt idx="18772">
                  <c:v>30705</c:v>
                </c:pt>
                <c:pt idx="18773">
                  <c:v>48252</c:v>
                </c:pt>
                <c:pt idx="18774">
                  <c:v>89450</c:v>
                </c:pt>
                <c:pt idx="18775">
                  <c:v>42263</c:v>
                </c:pt>
                <c:pt idx="18776">
                  <c:v>132949</c:v>
                </c:pt>
                <c:pt idx="18777">
                  <c:v>25369</c:v>
                </c:pt>
                <c:pt idx="18778">
                  <c:v>42365</c:v>
                </c:pt>
                <c:pt idx="18779">
                  <c:v>41025</c:v>
                </c:pt>
                <c:pt idx="18780">
                  <c:v>77473</c:v>
                </c:pt>
                <c:pt idx="18781">
                  <c:v>87143</c:v>
                </c:pt>
                <c:pt idx="18782">
                  <c:v>36842</c:v>
                </c:pt>
                <c:pt idx="18783">
                  <c:v>37023</c:v>
                </c:pt>
                <c:pt idx="18784">
                  <c:v>73833</c:v>
                </c:pt>
                <c:pt idx="18785">
                  <c:v>463522</c:v>
                </c:pt>
                <c:pt idx="18786">
                  <c:v>62064</c:v>
                </c:pt>
                <c:pt idx="18787">
                  <c:v>49421</c:v>
                </c:pt>
                <c:pt idx="18788">
                  <c:v>228095</c:v>
                </c:pt>
                <c:pt idx="18789">
                  <c:v>42709</c:v>
                </c:pt>
                <c:pt idx="18790">
                  <c:v>53025</c:v>
                </c:pt>
                <c:pt idx="18791">
                  <c:v>26948</c:v>
                </c:pt>
                <c:pt idx="18792">
                  <c:v>31754</c:v>
                </c:pt>
                <c:pt idx="18793">
                  <c:v>33070</c:v>
                </c:pt>
                <c:pt idx="18794">
                  <c:v>38969</c:v>
                </c:pt>
                <c:pt idx="18795">
                  <c:v>36316</c:v>
                </c:pt>
                <c:pt idx="18796">
                  <c:v>51433</c:v>
                </c:pt>
                <c:pt idx="18797">
                  <c:v>44425</c:v>
                </c:pt>
                <c:pt idx="18798">
                  <c:v>32573</c:v>
                </c:pt>
                <c:pt idx="18799">
                  <c:v>73225</c:v>
                </c:pt>
                <c:pt idx="18800">
                  <c:v>89064</c:v>
                </c:pt>
                <c:pt idx="18801">
                  <c:v>42077</c:v>
                </c:pt>
                <c:pt idx="18802">
                  <c:v>30844</c:v>
                </c:pt>
                <c:pt idx="18803">
                  <c:v>92415</c:v>
                </c:pt>
                <c:pt idx="18804">
                  <c:v>30497</c:v>
                </c:pt>
                <c:pt idx="18805">
                  <c:v>22104</c:v>
                </c:pt>
                <c:pt idx="18806">
                  <c:v>24499</c:v>
                </c:pt>
                <c:pt idx="18807">
                  <c:v>49071</c:v>
                </c:pt>
                <c:pt idx="18808">
                  <c:v>78110</c:v>
                </c:pt>
                <c:pt idx="18809">
                  <c:v>84631</c:v>
                </c:pt>
                <c:pt idx="18810">
                  <c:v>56801</c:v>
                </c:pt>
                <c:pt idx="18811">
                  <c:v>42244</c:v>
                </c:pt>
                <c:pt idx="18812">
                  <c:v>222276</c:v>
                </c:pt>
                <c:pt idx="18813">
                  <c:v>66753</c:v>
                </c:pt>
                <c:pt idx="18814">
                  <c:v>68167</c:v>
                </c:pt>
                <c:pt idx="18815">
                  <c:v>47705</c:v>
                </c:pt>
                <c:pt idx="18816">
                  <c:v>38527</c:v>
                </c:pt>
                <c:pt idx="18817">
                  <c:v>43120</c:v>
                </c:pt>
                <c:pt idx="18818">
                  <c:v>43793</c:v>
                </c:pt>
                <c:pt idx="18819">
                  <c:v>161547</c:v>
                </c:pt>
                <c:pt idx="18820">
                  <c:v>40605</c:v>
                </c:pt>
                <c:pt idx="18821">
                  <c:v>68353</c:v>
                </c:pt>
                <c:pt idx="18822">
                  <c:v>165772</c:v>
                </c:pt>
                <c:pt idx="18823">
                  <c:v>47991</c:v>
                </c:pt>
                <c:pt idx="18824">
                  <c:v>29999</c:v>
                </c:pt>
                <c:pt idx="18825">
                  <c:v>39457</c:v>
                </c:pt>
                <c:pt idx="18826">
                  <c:v>23619</c:v>
                </c:pt>
                <c:pt idx="18827">
                  <c:v>31958</c:v>
                </c:pt>
                <c:pt idx="18828">
                  <c:v>140230</c:v>
                </c:pt>
                <c:pt idx="18829">
                  <c:v>54266</c:v>
                </c:pt>
                <c:pt idx="18830">
                  <c:v>24195</c:v>
                </c:pt>
                <c:pt idx="18831">
                  <c:v>66227</c:v>
                </c:pt>
                <c:pt idx="18832">
                  <c:v>52143</c:v>
                </c:pt>
                <c:pt idx="18833">
                  <c:v>47097</c:v>
                </c:pt>
                <c:pt idx="18834">
                  <c:v>61523</c:v>
                </c:pt>
                <c:pt idx="18835">
                  <c:v>77736</c:v>
                </c:pt>
                <c:pt idx="18836">
                  <c:v>38050</c:v>
                </c:pt>
                <c:pt idx="18837">
                  <c:v>42210</c:v>
                </c:pt>
                <c:pt idx="18838">
                  <c:v>43091</c:v>
                </c:pt>
                <c:pt idx="18839">
                  <c:v>42452</c:v>
                </c:pt>
                <c:pt idx="18840">
                  <c:v>24308</c:v>
                </c:pt>
                <c:pt idx="18841">
                  <c:v>63212</c:v>
                </c:pt>
                <c:pt idx="18842">
                  <c:v>38194</c:v>
                </c:pt>
                <c:pt idx="18843">
                  <c:v>35810</c:v>
                </c:pt>
                <c:pt idx="18844">
                  <c:v>41523</c:v>
                </c:pt>
                <c:pt idx="18845">
                  <c:v>23451</c:v>
                </c:pt>
                <c:pt idx="18846">
                  <c:v>51047</c:v>
                </c:pt>
                <c:pt idx="18847">
                  <c:v>31988</c:v>
                </c:pt>
                <c:pt idx="18848">
                  <c:v>58599</c:v>
                </c:pt>
                <c:pt idx="18849">
                  <c:v>32882</c:v>
                </c:pt>
                <c:pt idx="18850">
                  <c:v>39301</c:v>
                </c:pt>
                <c:pt idx="18851">
                  <c:v>28458</c:v>
                </c:pt>
                <c:pt idx="18852">
                  <c:v>55088</c:v>
                </c:pt>
                <c:pt idx="18853">
                  <c:v>121571</c:v>
                </c:pt>
                <c:pt idx="18854">
                  <c:v>127517</c:v>
                </c:pt>
                <c:pt idx="18855">
                  <c:v>64093</c:v>
                </c:pt>
                <c:pt idx="18856">
                  <c:v>48677</c:v>
                </c:pt>
                <c:pt idx="18857">
                  <c:v>51693</c:v>
                </c:pt>
                <c:pt idx="18858">
                  <c:v>27369</c:v>
                </c:pt>
                <c:pt idx="18859">
                  <c:v>28818</c:v>
                </c:pt>
                <c:pt idx="18860">
                  <c:v>121937</c:v>
                </c:pt>
                <c:pt idx="18861">
                  <c:v>34891</c:v>
                </c:pt>
                <c:pt idx="18862">
                  <c:v>82128</c:v>
                </c:pt>
                <c:pt idx="18863">
                  <c:v>272289</c:v>
                </c:pt>
                <c:pt idx="18864">
                  <c:v>85110</c:v>
                </c:pt>
                <c:pt idx="18865">
                  <c:v>51273</c:v>
                </c:pt>
                <c:pt idx="18866">
                  <c:v>120918</c:v>
                </c:pt>
                <c:pt idx="18867">
                  <c:v>47680</c:v>
                </c:pt>
                <c:pt idx="18868">
                  <c:v>39733</c:v>
                </c:pt>
                <c:pt idx="18869">
                  <c:v>36858</c:v>
                </c:pt>
                <c:pt idx="18870">
                  <c:v>31883</c:v>
                </c:pt>
                <c:pt idx="18871">
                  <c:v>51205</c:v>
                </c:pt>
                <c:pt idx="18872">
                  <c:v>90695</c:v>
                </c:pt>
                <c:pt idx="18873">
                  <c:v>43795</c:v>
                </c:pt>
                <c:pt idx="18874">
                  <c:v>30551</c:v>
                </c:pt>
                <c:pt idx="18875">
                  <c:v>46711</c:v>
                </c:pt>
                <c:pt idx="18876">
                  <c:v>105813</c:v>
                </c:pt>
                <c:pt idx="18877">
                  <c:v>49971</c:v>
                </c:pt>
                <c:pt idx="18878">
                  <c:v>68700</c:v>
                </c:pt>
                <c:pt idx="18879">
                  <c:v>39121</c:v>
                </c:pt>
                <c:pt idx="18880">
                  <c:v>35625</c:v>
                </c:pt>
                <c:pt idx="18881">
                  <c:v>40806</c:v>
                </c:pt>
                <c:pt idx="18882">
                  <c:v>47921</c:v>
                </c:pt>
                <c:pt idx="18883">
                  <c:v>127112</c:v>
                </c:pt>
                <c:pt idx="18884">
                  <c:v>25419</c:v>
                </c:pt>
                <c:pt idx="18885">
                  <c:v>34968</c:v>
                </c:pt>
                <c:pt idx="18886">
                  <c:v>277511</c:v>
                </c:pt>
                <c:pt idx="18887">
                  <c:v>59315</c:v>
                </c:pt>
                <c:pt idx="18888">
                  <c:v>80266</c:v>
                </c:pt>
                <c:pt idx="18889">
                  <c:v>24435</c:v>
                </c:pt>
                <c:pt idx="18890">
                  <c:v>34359</c:v>
                </c:pt>
                <c:pt idx="18891">
                  <c:v>106254</c:v>
                </c:pt>
                <c:pt idx="18892">
                  <c:v>57877</c:v>
                </c:pt>
                <c:pt idx="18893">
                  <c:v>63708</c:v>
                </c:pt>
                <c:pt idx="18894">
                  <c:v>36461</c:v>
                </c:pt>
                <c:pt idx="18895">
                  <c:v>90486</c:v>
                </c:pt>
                <c:pt idx="18896">
                  <c:v>47900</c:v>
                </c:pt>
                <c:pt idx="18897">
                  <c:v>51170</c:v>
                </c:pt>
                <c:pt idx="18898">
                  <c:v>43630</c:v>
                </c:pt>
                <c:pt idx="18899">
                  <c:v>43376</c:v>
                </c:pt>
                <c:pt idx="18900">
                  <c:v>45978</c:v>
                </c:pt>
                <c:pt idx="18901">
                  <c:v>23427</c:v>
                </c:pt>
                <c:pt idx="18902">
                  <c:v>55009</c:v>
                </c:pt>
                <c:pt idx="18903">
                  <c:v>27719</c:v>
                </c:pt>
                <c:pt idx="18904">
                  <c:v>58037</c:v>
                </c:pt>
                <c:pt idx="18905">
                  <c:v>35079</c:v>
                </c:pt>
                <c:pt idx="18906">
                  <c:v>25034</c:v>
                </c:pt>
                <c:pt idx="18907">
                  <c:v>37998</c:v>
                </c:pt>
                <c:pt idx="18908">
                  <c:v>34255</c:v>
                </c:pt>
                <c:pt idx="18909">
                  <c:v>70715</c:v>
                </c:pt>
                <c:pt idx="18910">
                  <c:v>130774</c:v>
                </c:pt>
                <c:pt idx="18911">
                  <c:v>101682</c:v>
                </c:pt>
                <c:pt idx="18912">
                  <c:v>51598</c:v>
                </c:pt>
                <c:pt idx="18913">
                  <c:v>36637</c:v>
                </c:pt>
                <c:pt idx="18914">
                  <c:v>39203</c:v>
                </c:pt>
                <c:pt idx="18915">
                  <c:v>60761</c:v>
                </c:pt>
                <c:pt idx="18916">
                  <c:v>38373</c:v>
                </c:pt>
                <c:pt idx="18917">
                  <c:v>42536</c:v>
                </c:pt>
                <c:pt idx="18918">
                  <c:v>55560</c:v>
                </c:pt>
                <c:pt idx="18919">
                  <c:v>24199</c:v>
                </c:pt>
                <c:pt idx="18920">
                  <c:v>57444</c:v>
                </c:pt>
                <c:pt idx="18921">
                  <c:v>48836</c:v>
                </c:pt>
                <c:pt idx="18922">
                  <c:v>30015</c:v>
                </c:pt>
                <c:pt idx="18923">
                  <c:v>34035</c:v>
                </c:pt>
                <c:pt idx="18924">
                  <c:v>132804</c:v>
                </c:pt>
                <c:pt idx="18925">
                  <c:v>42626</c:v>
                </c:pt>
                <c:pt idx="18926">
                  <c:v>34499</c:v>
                </c:pt>
                <c:pt idx="18927">
                  <c:v>25866</c:v>
                </c:pt>
                <c:pt idx="18928">
                  <c:v>45255</c:v>
                </c:pt>
                <c:pt idx="18929">
                  <c:v>29874</c:v>
                </c:pt>
                <c:pt idx="18930">
                  <c:v>36716</c:v>
                </c:pt>
                <c:pt idx="18931">
                  <c:v>90625</c:v>
                </c:pt>
                <c:pt idx="18932">
                  <c:v>58640</c:v>
                </c:pt>
                <c:pt idx="18933">
                  <c:v>80748</c:v>
                </c:pt>
                <c:pt idx="18934">
                  <c:v>37288</c:v>
                </c:pt>
                <c:pt idx="18935">
                  <c:v>41284</c:v>
                </c:pt>
                <c:pt idx="18936">
                  <c:v>99430</c:v>
                </c:pt>
                <c:pt idx="18937">
                  <c:v>38851</c:v>
                </c:pt>
                <c:pt idx="18938">
                  <c:v>50242</c:v>
                </c:pt>
                <c:pt idx="18939">
                  <c:v>35117</c:v>
                </c:pt>
                <c:pt idx="18940">
                  <c:v>136645</c:v>
                </c:pt>
                <c:pt idx="18941">
                  <c:v>113968</c:v>
                </c:pt>
                <c:pt idx="18942">
                  <c:v>48048</c:v>
                </c:pt>
                <c:pt idx="18943">
                  <c:v>33558</c:v>
                </c:pt>
                <c:pt idx="18944">
                  <c:v>60752</c:v>
                </c:pt>
                <c:pt idx="18945">
                  <c:v>33009</c:v>
                </c:pt>
                <c:pt idx="18946">
                  <c:v>41302</c:v>
                </c:pt>
                <c:pt idx="18947">
                  <c:v>44476</c:v>
                </c:pt>
                <c:pt idx="18948">
                  <c:v>82557</c:v>
                </c:pt>
                <c:pt idx="18949">
                  <c:v>76463</c:v>
                </c:pt>
                <c:pt idx="18950">
                  <c:v>37723</c:v>
                </c:pt>
                <c:pt idx="18951">
                  <c:v>50885</c:v>
                </c:pt>
                <c:pt idx="18952">
                  <c:v>38453</c:v>
                </c:pt>
                <c:pt idx="18953">
                  <c:v>29328</c:v>
                </c:pt>
                <c:pt idx="18954">
                  <c:v>34610</c:v>
                </c:pt>
                <c:pt idx="18955">
                  <c:v>66500</c:v>
                </c:pt>
                <c:pt idx="18956">
                  <c:v>34901</c:v>
                </c:pt>
                <c:pt idx="18957">
                  <c:v>63145</c:v>
                </c:pt>
                <c:pt idx="18958">
                  <c:v>42645</c:v>
                </c:pt>
                <c:pt idx="18959">
                  <c:v>112797</c:v>
                </c:pt>
                <c:pt idx="18960">
                  <c:v>78012</c:v>
                </c:pt>
                <c:pt idx="18961">
                  <c:v>73208</c:v>
                </c:pt>
                <c:pt idx="18962">
                  <c:v>49096</c:v>
                </c:pt>
                <c:pt idx="18963">
                  <c:v>29057</c:v>
                </c:pt>
                <c:pt idx="18964">
                  <c:v>75120</c:v>
                </c:pt>
                <c:pt idx="18965">
                  <c:v>106564</c:v>
                </c:pt>
                <c:pt idx="18966">
                  <c:v>302223</c:v>
                </c:pt>
                <c:pt idx="18967">
                  <c:v>50797</c:v>
                </c:pt>
                <c:pt idx="18968">
                  <c:v>61757</c:v>
                </c:pt>
                <c:pt idx="18969">
                  <c:v>43075</c:v>
                </c:pt>
                <c:pt idx="18970">
                  <c:v>73076</c:v>
                </c:pt>
                <c:pt idx="18971">
                  <c:v>34743</c:v>
                </c:pt>
                <c:pt idx="18972">
                  <c:v>40445</c:v>
                </c:pt>
                <c:pt idx="18973">
                  <c:v>25984</c:v>
                </c:pt>
                <c:pt idx="18974">
                  <c:v>122329</c:v>
                </c:pt>
                <c:pt idx="18975">
                  <c:v>35958</c:v>
                </c:pt>
                <c:pt idx="18976">
                  <c:v>32172</c:v>
                </c:pt>
                <c:pt idx="18977">
                  <c:v>81938</c:v>
                </c:pt>
                <c:pt idx="18978">
                  <c:v>79382</c:v>
                </c:pt>
                <c:pt idx="18979">
                  <c:v>41651</c:v>
                </c:pt>
                <c:pt idx="18980">
                  <c:v>64372</c:v>
                </c:pt>
                <c:pt idx="18981">
                  <c:v>67199</c:v>
                </c:pt>
                <c:pt idx="18982">
                  <c:v>43601</c:v>
                </c:pt>
                <c:pt idx="18983">
                  <c:v>70543</c:v>
                </c:pt>
                <c:pt idx="18984">
                  <c:v>25431</c:v>
                </c:pt>
                <c:pt idx="18985">
                  <c:v>58676</c:v>
                </c:pt>
                <c:pt idx="18986">
                  <c:v>35441</c:v>
                </c:pt>
                <c:pt idx="18987">
                  <c:v>165973</c:v>
                </c:pt>
                <c:pt idx="18988">
                  <c:v>44674</c:v>
                </c:pt>
                <c:pt idx="18989">
                  <c:v>79487</c:v>
                </c:pt>
                <c:pt idx="18990">
                  <c:v>27882</c:v>
                </c:pt>
                <c:pt idx="18991">
                  <c:v>66518</c:v>
                </c:pt>
                <c:pt idx="18992">
                  <c:v>31146</c:v>
                </c:pt>
                <c:pt idx="18993">
                  <c:v>58614</c:v>
                </c:pt>
                <c:pt idx="18994">
                  <c:v>44365</c:v>
                </c:pt>
                <c:pt idx="18995">
                  <c:v>45695</c:v>
                </c:pt>
                <c:pt idx="18996">
                  <c:v>115508</c:v>
                </c:pt>
                <c:pt idx="18997">
                  <c:v>95533</c:v>
                </c:pt>
                <c:pt idx="18998">
                  <c:v>89595</c:v>
                </c:pt>
                <c:pt idx="18999">
                  <c:v>26268</c:v>
                </c:pt>
                <c:pt idx="19000">
                  <c:v>24469</c:v>
                </c:pt>
                <c:pt idx="19001">
                  <c:v>57631</c:v>
                </c:pt>
                <c:pt idx="19002">
                  <c:v>64907</c:v>
                </c:pt>
                <c:pt idx="19003">
                  <c:v>48655</c:v>
                </c:pt>
                <c:pt idx="19004">
                  <c:v>45190</c:v>
                </c:pt>
                <c:pt idx="19005">
                  <c:v>39698</c:v>
                </c:pt>
                <c:pt idx="19006">
                  <c:v>41186</c:v>
                </c:pt>
                <c:pt idx="19007">
                  <c:v>98031</c:v>
                </c:pt>
                <c:pt idx="19008">
                  <c:v>124140</c:v>
                </c:pt>
                <c:pt idx="19009">
                  <c:v>40907</c:v>
                </c:pt>
                <c:pt idx="19010">
                  <c:v>34042</c:v>
                </c:pt>
                <c:pt idx="19011">
                  <c:v>72844</c:v>
                </c:pt>
                <c:pt idx="19012">
                  <c:v>28964</c:v>
                </c:pt>
                <c:pt idx="19013">
                  <c:v>39089</c:v>
                </c:pt>
                <c:pt idx="19014">
                  <c:v>55073</c:v>
                </c:pt>
                <c:pt idx="19015">
                  <c:v>73276</c:v>
                </c:pt>
                <c:pt idx="19016">
                  <c:v>29936</c:v>
                </c:pt>
                <c:pt idx="19017">
                  <c:v>32847</c:v>
                </c:pt>
                <c:pt idx="19018">
                  <c:v>106342</c:v>
                </c:pt>
                <c:pt idx="19019">
                  <c:v>66045</c:v>
                </c:pt>
                <c:pt idx="19020">
                  <c:v>47118</c:v>
                </c:pt>
                <c:pt idx="19021">
                  <c:v>69442</c:v>
                </c:pt>
                <c:pt idx="19022">
                  <c:v>74354</c:v>
                </c:pt>
                <c:pt idx="19023">
                  <c:v>38763</c:v>
                </c:pt>
                <c:pt idx="19024">
                  <c:v>173997</c:v>
                </c:pt>
                <c:pt idx="19025">
                  <c:v>139945</c:v>
                </c:pt>
                <c:pt idx="19026">
                  <c:v>51480</c:v>
                </c:pt>
                <c:pt idx="19027">
                  <c:v>95776</c:v>
                </c:pt>
                <c:pt idx="19028">
                  <c:v>35839</c:v>
                </c:pt>
                <c:pt idx="19029">
                  <c:v>39623</c:v>
                </c:pt>
                <c:pt idx="19030">
                  <c:v>43090</c:v>
                </c:pt>
                <c:pt idx="19031">
                  <c:v>128322</c:v>
                </c:pt>
                <c:pt idx="19032">
                  <c:v>111280</c:v>
                </c:pt>
                <c:pt idx="19033">
                  <c:v>33287</c:v>
                </c:pt>
                <c:pt idx="19034">
                  <c:v>30277</c:v>
                </c:pt>
                <c:pt idx="19035">
                  <c:v>43269</c:v>
                </c:pt>
                <c:pt idx="19036">
                  <c:v>171494</c:v>
                </c:pt>
                <c:pt idx="19037">
                  <c:v>46327</c:v>
                </c:pt>
                <c:pt idx="19038">
                  <c:v>214394</c:v>
                </c:pt>
                <c:pt idx="19039">
                  <c:v>138718</c:v>
                </c:pt>
                <c:pt idx="19040">
                  <c:v>75462</c:v>
                </c:pt>
                <c:pt idx="19041">
                  <c:v>40866</c:v>
                </c:pt>
                <c:pt idx="19042">
                  <c:v>57059</c:v>
                </c:pt>
                <c:pt idx="19043">
                  <c:v>28919</c:v>
                </c:pt>
                <c:pt idx="19044">
                  <c:v>114336</c:v>
                </c:pt>
                <c:pt idx="19045">
                  <c:v>33912</c:v>
                </c:pt>
                <c:pt idx="19046">
                  <c:v>33834</c:v>
                </c:pt>
                <c:pt idx="19047">
                  <c:v>54305</c:v>
                </c:pt>
                <c:pt idx="19048">
                  <c:v>81015</c:v>
                </c:pt>
                <c:pt idx="19049">
                  <c:v>33460</c:v>
                </c:pt>
                <c:pt idx="19050">
                  <c:v>176317</c:v>
                </c:pt>
                <c:pt idx="19051">
                  <c:v>48099</c:v>
                </c:pt>
                <c:pt idx="19052">
                  <c:v>56431</c:v>
                </c:pt>
                <c:pt idx="19053">
                  <c:v>28881</c:v>
                </c:pt>
                <c:pt idx="19054">
                  <c:v>30299</c:v>
                </c:pt>
                <c:pt idx="19055">
                  <c:v>28610</c:v>
                </c:pt>
                <c:pt idx="19056">
                  <c:v>79597</c:v>
                </c:pt>
                <c:pt idx="19057">
                  <c:v>40834</c:v>
                </c:pt>
                <c:pt idx="19058">
                  <c:v>75334</c:v>
                </c:pt>
                <c:pt idx="19059">
                  <c:v>38188</c:v>
                </c:pt>
                <c:pt idx="19060">
                  <c:v>77690</c:v>
                </c:pt>
                <c:pt idx="19061">
                  <c:v>50064</c:v>
                </c:pt>
                <c:pt idx="19062">
                  <c:v>158708</c:v>
                </c:pt>
                <c:pt idx="19063">
                  <c:v>29235</c:v>
                </c:pt>
                <c:pt idx="19064">
                  <c:v>83594</c:v>
                </c:pt>
                <c:pt idx="19065">
                  <c:v>55636</c:v>
                </c:pt>
                <c:pt idx="19066">
                  <c:v>94833</c:v>
                </c:pt>
                <c:pt idx="19067">
                  <c:v>68416</c:v>
                </c:pt>
                <c:pt idx="19068">
                  <c:v>40549</c:v>
                </c:pt>
                <c:pt idx="19069">
                  <c:v>134051</c:v>
                </c:pt>
                <c:pt idx="19070">
                  <c:v>34416</c:v>
                </c:pt>
                <c:pt idx="19071">
                  <c:v>61337</c:v>
                </c:pt>
                <c:pt idx="19072">
                  <c:v>23266</c:v>
                </c:pt>
                <c:pt idx="19073">
                  <c:v>22951</c:v>
                </c:pt>
                <c:pt idx="19074">
                  <c:v>30387</c:v>
                </c:pt>
                <c:pt idx="19075">
                  <c:v>37898</c:v>
                </c:pt>
                <c:pt idx="19076">
                  <c:v>47742</c:v>
                </c:pt>
                <c:pt idx="19077">
                  <c:v>63963</c:v>
                </c:pt>
                <c:pt idx="19078">
                  <c:v>35672</c:v>
                </c:pt>
                <c:pt idx="19079">
                  <c:v>44968</c:v>
                </c:pt>
                <c:pt idx="19080">
                  <c:v>75837</c:v>
                </c:pt>
                <c:pt idx="19081">
                  <c:v>44934</c:v>
                </c:pt>
                <c:pt idx="19082">
                  <c:v>35744</c:v>
                </c:pt>
                <c:pt idx="19083">
                  <c:v>43054</c:v>
                </c:pt>
                <c:pt idx="19084">
                  <c:v>85459</c:v>
                </c:pt>
                <c:pt idx="19085">
                  <c:v>83599</c:v>
                </c:pt>
                <c:pt idx="19086">
                  <c:v>56571</c:v>
                </c:pt>
                <c:pt idx="19087">
                  <c:v>32950</c:v>
                </c:pt>
                <c:pt idx="19088">
                  <c:v>94688</c:v>
                </c:pt>
                <c:pt idx="19089">
                  <c:v>74661</c:v>
                </c:pt>
                <c:pt idx="19090">
                  <c:v>40597</c:v>
                </c:pt>
                <c:pt idx="19091">
                  <c:v>33537</c:v>
                </c:pt>
                <c:pt idx="19092">
                  <c:v>50173</c:v>
                </c:pt>
                <c:pt idx="19093">
                  <c:v>27474</c:v>
                </c:pt>
                <c:pt idx="19094">
                  <c:v>36570</c:v>
                </c:pt>
                <c:pt idx="19095">
                  <c:v>86878</c:v>
                </c:pt>
                <c:pt idx="19096">
                  <c:v>39497</c:v>
                </c:pt>
                <c:pt idx="19097">
                  <c:v>31369</c:v>
                </c:pt>
                <c:pt idx="19098">
                  <c:v>36782</c:v>
                </c:pt>
                <c:pt idx="19099">
                  <c:v>76364</c:v>
                </c:pt>
                <c:pt idx="19100">
                  <c:v>43548</c:v>
                </c:pt>
                <c:pt idx="19101">
                  <c:v>34155</c:v>
                </c:pt>
                <c:pt idx="19102">
                  <c:v>34087</c:v>
                </c:pt>
                <c:pt idx="19103">
                  <c:v>41315</c:v>
                </c:pt>
                <c:pt idx="19104">
                  <c:v>33960</c:v>
                </c:pt>
                <c:pt idx="19105">
                  <c:v>39657</c:v>
                </c:pt>
                <c:pt idx="19106">
                  <c:v>36783</c:v>
                </c:pt>
                <c:pt idx="19107">
                  <c:v>400530</c:v>
                </c:pt>
                <c:pt idx="19108">
                  <c:v>77545</c:v>
                </c:pt>
                <c:pt idx="19109">
                  <c:v>66333</c:v>
                </c:pt>
                <c:pt idx="19110">
                  <c:v>240451</c:v>
                </c:pt>
                <c:pt idx="19111">
                  <c:v>52249</c:v>
                </c:pt>
                <c:pt idx="19112">
                  <c:v>224106</c:v>
                </c:pt>
                <c:pt idx="19113">
                  <c:v>31838</c:v>
                </c:pt>
                <c:pt idx="19114">
                  <c:v>33668</c:v>
                </c:pt>
                <c:pt idx="19115">
                  <c:v>145214</c:v>
                </c:pt>
                <c:pt idx="19116">
                  <c:v>32436</c:v>
                </c:pt>
                <c:pt idx="19117">
                  <c:v>34989</c:v>
                </c:pt>
                <c:pt idx="19118">
                  <c:v>130295</c:v>
                </c:pt>
                <c:pt idx="19119">
                  <c:v>32111</c:v>
                </c:pt>
                <c:pt idx="19120">
                  <c:v>44571</c:v>
                </c:pt>
                <c:pt idx="19121">
                  <c:v>60177</c:v>
                </c:pt>
                <c:pt idx="19122">
                  <c:v>61982</c:v>
                </c:pt>
                <c:pt idx="19123">
                  <c:v>225181</c:v>
                </c:pt>
                <c:pt idx="19124">
                  <c:v>39635</c:v>
                </c:pt>
                <c:pt idx="19125">
                  <c:v>45425</c:v>
                </c:pt>
                <c:pt idx="19126">
                  <c:v>28210</c:v>
                </c:pt>
                <c:pt idx="19127">
                  <c:v>33844</c:v>
                </c:pt>
                <c:pt idx="19128">
                  <c:v>27119</c:v>
                </c:pt>
                <c:pt idx="19129">
                  <c:v>120520</c:v>
                </c:pt>
                <c:pt idx="19130">
                  <c:v>56890</c:v>
                </c:pt>
                <c:pt idx="19131">
                  <c:v>36331</c:v>
                </c:pt>
                <c:pt idx="19132">
                  <c:v>196939</c:v>
                </c:pt>
                <c:pt idx="19133">
                  <c:v>67845</c:v>
                </c:pt>
                <c:pt idx="19134">
                  <c:v>62656</c:v>
                </c:pt>
                <c:pt idx="19135">
                  <c:v>137559</c:v>
                </c:pt>
                <c:pt idx="19136">
                  <c:v>43149</c:v>
                </c:pt>
                <c:pt idx="19137">
                  <c:v>72765</c:v>
                </c:pt>
                <c:pt idx="19138">
                  <c:v>58070</c:v>
                </c:pt>
                <c:pt idx="19139">
                  <c:v>50000</c:v>
                </c:pt>
                <c:pt idx="19140">
                  <c:v>38156</c:v>
                </c:pt>
                <c:pt idx="19141">
                  <c:v>31385</c:v>
                </c:pt>
                <c:pt idx="19142">
                  <c:v>78399</c:v>
                </c:pt>
                <c:pt idx="19143">
                  <c:v>45911</c:v>
                </c:pt>
                <c:pt idx="19144">
                  <c:v>32864</c:v>
                </c:pt>
                <c:pt idx="19145">
                  <c:v>30590</c:v>
                </c:pt>
                <c:pt idx="19146">
                  <c:v>53102</c:v>
                </c:pt>
                <c:pt idx="19147">
                  <c:v>39311</c:v>
                </c:pt>
                <c:pt idx="19148">
                  <c:v>68513</c:v>
                </c:pt>
                <c:pt idx="19149">
                  <c:v>36521</c:v>
                </c:pt>
                <c:pt idx="19150">
                  <c:v>151723</c:v>
                </c:pt>
                <c:pt idx="19151">
                  <c:v>32489</c:v>
                </c:pt>
                <c:pt idx="19152">
                  <c:v>39378</c:v>
                </c:pt>
                <c:pt idx="19153">
                  <c:v>23696</c:v>
                </c:pt>
                <c:pt idx="19154">
                  <c:v>75476</c:v>
                </c:pt>
                <c:pt idx="19155">
                  <c:v>188513</c:v>
                </c:pt>
                <c:pt idx="19156">
                  <c:v>61434</c:v>
                </c:pt>
                <c:pt idx="19157">
                  <c:v>30172</c:v>
                </c:pt>
                <c:pt idx="19158">
                  <c:v>24528</c:v>
                </c:pt>
                <c:pt idx="19159">
                  <c:v>77848</c:v>
                </c:pt>
                <c:pt idx="19160">
                  <c:v>62850</c:v>
                </c:pt>
                <c:pt idx="19161">
                  <c:v>36297</c:v>
                </c:pt>
                <c:pt idx="19162">
                  <c:v>111275</c:v>
                </c:pt>
                <c:pt idx="19163">
                  <c:v>65749</c:v>
                </c:pt>
                <c:pt idx="19164">
                  <c:v>79685</c:v>
                </c:pt>
                <c:pt idx="19165">
                  <c:v>62341</c:v>
                </c:pt>
                <c:pt idx="19166">
                  <c:v>37007</c:v>
                </c:pt>
                <c:pt idx="19167">
                  <c:v>300484</c:v>
                </c:pt>
                <c:pt idx="19168">
                  <c:v>44644</c:v>
                </c:pt>
                <c:pt idx="19169">
                  <c:v>24618</c:v>
                </c:pt>
                <c:pt idx="19170">
                  <c:v>25115</c:v>
                </c:pt>
                <c:pt idx="19171">
                  <c:v>45414</c:v>
                </c:pt>
                <c:pt idx="19172">
                  <c:v>47297</c:v>
                </c:pt>
                <c:pt idx="19173">
                  <c:v>23030</c:v>
                </c:pt>
                <c:pt idx="19174">
                  <c:v>62071</c:v>
                </c:pt>
                <c:pt idx="19175">
                  <c:v>88927</c:v>
                </c:pt>
                <c:pt idx="19176">
                  <c:v>52593</c:v>
                </c:pt>
                <c:pt idx="19177">
                  <c:v>86059</c:v>
                </c:pt>
                <c:pt idx="19178">
                  <c:v>43957</c:v>
                </c:pt>
                <c:pt idx="19179">
                  <c:v>41952</c:v>
                </c:pt>
                <c:pt idx="19180">
                  <c:v>24202</c:v>
                </c:pt>
                <c:pt idx="19181">
                  <c:v>275189</c:v>
                </c:pt>
                <c:pt idx="19182">
                  <c:v>32578</c:v>
                </c:pt>
                <c:pt idx="19183">
                  <c:v>40472</c:v>
                </c:pt>
                <c:pt idx="19184">
                  <c:v>36003</c:v>
                </c:pt>
                <c:pt idx="19185">
                  <c:v>42968</c:v>
                </c:pt>
                <c:pt idx="19186">
                  <c:v>34314</c:v>
                </c:pt>
                <c:pt idx="19187">
                  <c:v>52187</c:v>
                </c:pt>
                <c:pt idx="19188">
                  <c:v>38977</c:v>
                </c:pt>
                <c:pt idx="19189">
                  <c:v>38360</c:v>
                </c:pt>
                <c:pt idx="19190">
                  <c:v>54830</c:v>
                </c:pt>
                <c:pt idx="19191">
                  <c:v>24644</c:v>
                </c:pt>
                <c:pt idx="19192">
                  <c:v>60351</c:v>
                </c:pt>
                <c:pt idx="19193">
                  <c:v>151926</c:v>
                </c:pt>
                <c:pt idx="19194">
                  <c:v>47759</c:v>
                </c:pt>
                <c:pt idx="19195">
                  <c:v>30354</c:v>
                </c:pt>
                <c:pt idx="19196">
                  <c:v>125068</c:v>
                </c:pt>
                <c:pt idx="19197">
                  <c:v>39675</c:v>
                </c:pt>
                <c:pt idx="19198">
                  <c:v>46125</c:v>
                </c:pt>
                <c:pt idx="19199">
                  <c:v>36052</c:v>
                </c:pt>
                <c:pt idx="19200">
                  <c:v>43589</c:v>
                </c:pt>
                <c:pt idx="19201">
                  <c:v>78111</c:v>
                </c:pt>
                <c:pt idx="19202">
                  <c:v>37215</c:v>
                </c:pt>
                <c:pt idx="19203">
                  <c:v>22230</c:v>
                </c:pt>
                <c:pt idx="19204">
                  <c:v>60526</c:v>
                </c:pt>
                <c:pt idx="19205">
                  <c:v>36518</c:v>
                </c:pt>
                <c:pt idx="19206">
                  <c:v>185537</c:v>
                </c:pt>
                <c:pt idx="19207">
                  <c:v>27935</c:v>
                </c:pt>
                <c:pt idx="19208">
                  <c:v>29948</c:v>
                </c:pt>
                <c:pt idx="19209">
                  <c:v>58106</c:v>
                </c:pt>
                <c:pt idx="19210">
                  <c:v>39902</c:v>
                </c:pt>
                <c:pt idx="19211">
                  <c:v>22294</c:v>
                </c:pt>
                <c:pt idx="19212">
                  <c:v>39835</c:v>
                </c:pt>
                <c:pt idx="19213">
                  <c:v>68913</c:v>
                </c:pt>
                <c:pt idx="19214">
                  <c:v>35800</c:v>
                </c:pt>
                <c:pt idx="19215">
                  <c:v>51749</c:v>
                </c:pt>
                <c:pt idx="19216">
                  <c:v>202111</c:v>
                </c:pt>
                <c:pt idx="19217">
                  <c:v>93855</c:v>
                </c:pt>
                <c:pt idx="19218">
                  <c:v>43682</c:v>
                </c:pt>
                <c:pt idx="19219">
                  <c:v>38858</c:v>
                </c:pt>
                <c:pt idx="19220">
                  <c:v>40911</c:v>
                </c:pt>
                <c:pt idx="19221">
                  <c:v>46984</c:v>
                </c:pt>
                <c:pt idx="19222">
                  <c:v>63547</c:v>
                </c:pt>
                <c:pt idx="19223">
                  <c:v>138315</c:v>
                </c:pt>
                <c:pt idx="19224">
                  <c:v>24208</c:v>
                </c:pt>
                <c:pt idx="19225">
                  <c:v>40201</c:v>
                </c:pt>
                <c:pt idx="19226">
                  <c:v>25675</c:v>
                </c:pt>
                <c:pt idx="19227">
                  <c:v>43500</c:v>
                </c:pt>
                <c:pt idx="19228">
                  <c:v>61536</c:v>
                </c:pt>
                <c:pt idx="19229">
                  <c:v>23108</c:v>
                </c:pt>
                <c:pt idx="19230">
                  <c:v>58832</c:v>
                </c:pt>
                <c:pt idx="19231">
                  <c:v>39911</c:v>
                </c:pt>
                <c:pt idx="19232">
                  <c:v>33946</c:v>
                </c:pt>
                <c:pt idx="19233">
                  <c:v>69099</c:v>
                </c:pt>
                <c:pt idx="19234">
                  <c:v>65646</c:v>
                </c:pt>
                <c:pt idx="19235">
                  <c:v>51313</c:v>
                </c:pt>
                <c:pt idx="19236">
                  <c:v>43019</c:v>
                </c:pt>
                <c:pt idx="19237">
                  <c:v>40230</c:v>
                </c:pt>
                <c:pt idx="19238">
                  <c:v>29301</c:v>
                </c:pt>
                <c:pt idx="19239">
                  <c:v>68194</c:v>
                </c:pt>
                <c:pt idx="19240">
                  <c:v>26232</c:v>
                </c:pt>
                <c:pt idx="19241">
                  <c:v>43087</c:v>
                </c:pt>
                <c:pt idx="19242">
                  <c:v>121216</c:v>
                </c:pt>
                <c:pt idx="19243">
                  <c:v>29344</c:v>
                </c:pt>
                <c:pt idx="19244">
                  <c:v>72672</c:v>
                </c:pt>
                <c:pt idx="19245">
                  <c:v>40406</c:v>
                </c:pt>
                <c:pt idx="19246">
                  <c:v>49988</c:v>
                </c:pt>
                <c:pt idx="19247">
                  <c:v>93346</c:v>
                </c:pt>
                <c:pt idx="19248">
                  <c:v>30467</c:v>
                </c:pt>
                <c:pt idx="19249">
                  <c:v>38524</c:v>
                </c:pt>
                <c:pt idx="19250">
                  <c:v>25438</c:v>
                </c:pt>
                <c:pt idx="19251">
                  <c:v>67331</c:v>
                </c:pt>
                <c:pt idx="19252">
                  <c:v>34038</c:v>
                </c:pt>
                <c:pt idx="19253">
                  <c:v>169049</c:v>
                </c:pt>
                <c:pt idx="19254">
                  <c:v>235834</c:v>
                </c:pt>
                <c:pt idx="19255">
                  <c:v>30547</c:v>
                </c:pt>
                <c:pt idx="19256">
                  <c:v>36747</c:v>
                </c:pt>
                <c:pt idx="19257">
                  <c:v>41296</c:v>
                </c:pt>
                <c:pt idx="19258">
                  <c:v>31189</c:v>
                </c:pt>
                <c:pt idx="19259">
                  <c:v>47963</c:v>
                </c:pt>
                <c:pt idx="19260">
                  <c:v>36045</c:v>
                </c:pt>
                <c:pt idx="19261">
                  <c:v>27860</c:v>
                </c:pt>
                <c:pt idx="19262">
                  <c:v>104561</c:v>
                </c:pt>
                <c:pt idx="19263">
                  <c:v>67144</c:v>
                </c:pt>
                <c:pt idx="19264">
                  <c:v>46414</c:v>
                </c:pt>
                <c:pt idx="19265">
                  <c:v>45420</c:v>
                </c:pt>
                <c:pt idx="19266">
                  <c:v>64349</c:v>
                </c:pt>
                <c:pt idx="19267">
                  <c:v>45993</c:v>
                </c:pt>
                <c:pt idx="19268">
                  <c:v>40892</c:v>
                </c:pt>
                <c:pt idx="19269">
                  <c:v>119222</c:v>
                </c:pt>
                <c:pt idx="19270">
                  <c:v>48494</c:v>
                </c:pt>
                <c:pt idx="19271">
                  <c:v>55237</c:v>
                </c:pt>
                <c:pt idx="19272">
                  <c:v>113136</c:v>
                </c:pt>
                <c:pt idx="19273">
                  <c:v>57115</c:v>
                </c:pt>
                <c:pt idx="19274">
                  <c:v>40068</c:v>
                </c:pt>
                <c:pt idx="19275">
                  <c:v>31463</c:v>
                </c:pt>
                <c:pt idx="19276">
                  <c:v>28016</c:v>
                </c:pt>
                <c:pt idx="19277">
                  <c:v>89729</c:v>
                </c:pt>
                <c:pt idx="19278">
                  <c:v>118056</c:v>
                </c:pt>
                <c:pt idx="19279">
                  <c:v>72883</c:v>
                </c:pt>
                <c:pt idx="19280">
                  <c:v>48957</c:v>
                </c:pt>
                <c:pt idx="19281">
                  <c:v>33722</c:v>
                </c:pt>
                <c:pt idx="19282">
                  <c:v>71379</c:v>
                </c:pt>
                <c:pt idx="19283">
                  <c:v>33439</c:v>
                </c:pt>
                <c:pt idx="19284">
                  <c:v>26007</c:v>
                </c:pt>
                <c:pt idx="19285">
                  <c:v>198180</c:v>
                </c:pt>
                <c:pt idx="19286">
                  <c:v>89305</c:v>
                </c:pt>
                <c:pt idx="19287">
                  <c:v>35479</c:v>
                </c:pt>
                <c:pt idx="19288">
                  <c:v>39392</c:v>
                </c:pt>
                <c:pt idx="19289">
                  <c:v>83069</c:v>
                </c:pt>
                <c:pt idx="19290">
                  <c:v>25140</c:v>
                </c:pt>
                <c:pt idx="19291">
                  <c:v>59984</c:v>
                </c:pt>
                <c:pt idx="19292">
                  <c:v>27296</c:v>
                </c:pt>
                <c:pt idx="19293">
                  <c:v>38068</c:v>
                </c:pt>
                <c:pt idx="19294">
                  <c:v>162232</c:v>
                </c:pt>
                <c:pt idx="19295">
                  <c:v>94521</c:v>
                </c:pt>
                <c:pt idx="19296">
                  <c:v>45411</c:v>
                </c:pt>
                <c:pt idx="19297">
                  <c:v>76964</c:v>
                </c:pt>
                <c:pt idx="19298">
                  <c:v>32292</c:v>
                </c:pt>
                <c:pt idx="19299">
                  <c:v>28155</c:v>
                </c:pt>
                <c:pt idx="19300">
                  <c:v>42229</c:v>
                </c:pt>
                <c:pt idx="19301">
                  <c:v>26907</c:v>
                </c:pt>
                <c:pt idx="19302">
                  <c:v>21068</c:v>
                </c:pt>
                <c:pt idx="19303">
                  <c:v>37929</c:v>
                </c:pt>
                <c:pt idx="19304">
                  <c:v>24826</c:v>
                </c:pt>
                <c:pt idx="19305">
                  <c:v>25956</c:v>
                </c:pt>
                <c:pt idx="19306">
                  <c:v>41636</c:v>
                </c:pt>
                <c:pt idx="19307">
                  <c:v>111380</c:v>
                </c:pt>
                <c:pt idx="19308">
                  <c:v>47393</c:v>
                </c:pt>
                <c:pt idx="19309">
                  <c:v>98928</c:v>
                </c:pt>
                <c:pt idx="19310">
                  <c:v>31624</c:v>
                </c:pt>
                <c:pt idx="19311">
                  <c:v>42489</c:v>
                </c:pt>
                <c:pt idx="19312">
                  <c:v>45365</c:v>
                </c:pt>
                <c:pt idx="19313">
                  <c:v>50718</c:v>
                </c:pt>
                <c:pt idx="19314">
                  <c:v>26486</c:v>
                </c:pt>
                <c:pt idx="19315">
                  <c:v>39396</c:v>
                </c:pt>
                <c:pt idx="19316">
                  <c:v>24985</c:v>
                </c:pt>
                <c:pt idx="19317">
                  <c:v>40161</c:v>
                </c:pt>
                <c:pt idx="19318">
                  <c:v>81152</c:v>
                </c:pt>
                <c:pt idx="19319">
                  <c:v>60773</c:v>
                </c:pt>
                <c:pt idx="19320">
                  <c:v>41794</c:v>
                </c:pt>
                <c:pt idx="19321">
                  <c:v>38247</c:v>
                </c:pt>
                <c:pt idx="19322">
                  <c:v>88353</c:v>
                </c:pt>
                <c:pt idx="19323">
                  <c:v>101419</c:v>
                </c:pt>
                <c:pt idx="19324">
                  <c:v>149518</c:v>
                </c:pt>
                <c:pt idx="19325">
                  <c:v>81308</c:v>
                </c:pt>
                <c:pt idx="19326">
                  <c:v>43914</c:v>
                </c:pt>
                <c:pt idx="19327">
                  <c:v>29030</c:v>
                </c:pt>
                <c:pt idx="19328">
                  <c:v>39784</c:v>
                </c:pt>
                <c:pt idx="19329">
                  <c:v>135113</c:v>
                </c:pt>
                <c:pt idx="19330">
                  <c:v>36580</c:v>
                </c:pt>
                <c:pt idx="19331">
                  <c:v>53102</c:v>
                </c:pt>
                <c:pt idx="19332">
                  <c:v>129561</c:v>
                </c:pt>
                <c:pt idx="19333">
                  <c:v>112991</c:v>
                </c:pt>
                <c:pt idx="19334">
                  <c:v>65169</c:v>
                </c:pt>
                <c:pt idx="19335">
                  <c:v>45715</c:v>
                </c:pt>
                <c:pt idx="19336">
                  <c:v>31328</c:v>
                </c:pt>
                <c:pt idx="19337">
                  <c:v>150365</c:v>
                </c:pt>
                <c:pt idx="19338">
                  <c:v>56685</c:v>
                </c:pt>
                <c:pt idx="19339">
                  <c:v>69298</c:v>
                </c:pt>
                <c:pt idx="19340">
                  <c:v>33249</c:v>
                </c:pt>
                <c:pt idx="19341">
                  <c:v>40870</c:v>
                </c:pt>
                <c:pt idx="19342">
                  <c:v>53287</c:v>
                </c:pt>
                <c:pt idx="19343">
                  <c:v>107788</c:v>
                </c:pt>
                <c:pt idx="19344">
                  <c:v>176275</c:v>
                </c:pt>
                <c:pt idx="19345">
                  <c:v>27370</c:v>
                </c:pt>
                <c:pt idx="19346">
                  <c:v>185499</c:v>
                </c:pt>
                <c:pt idx="19347">
                  <c:v>45096</c:v>
                </c:pt>
                <c:pt idx="19348">
                  <c:v>64171</c:v>
                </c:pt>
                <c:pt idx="19349">
                  <c:v>43829</c:v>
                </c:pt>
                <c:pt idx="19350">
                  <c:v>45112</c:v>
                </c:pt>
                <c:pt idx="19351">
                  <c:v>84304</c:v>
                </c:pt>
                <c:pt idx="19352">
                  <c:v>467510</c:v>
                </c:pt>
                <c:pt idx="19353">
                  <c:v>37009</c:v>
                </c:pt>
                <c:pt idx="19354">
                  <c:v>54623</c:v>
                </c:pt>
                <c:pt idx="19355">
                  <c:v>16447</c:v>
                </c:pt>
                <c:pt idx="19356">
                  <c:v>27922</c:v>
                </c:pt>
                <c:pt idx="19357">
                  <c:v>82202</c:v>
                </c:pt>
                <c:pt idx="19358">
                  <c:v>42836</c:v>
                </c:pt>
                <c:pt idx="19359">
                  <c:v>30992</c:v>
                </c:pt>
                <c:pt idx="19360">
                  <c:v>26847</c:v>
                </c:pt>
                <c:pt idx="19361">
                  <c:v>68308</c:v>
                </c:pt>
                <c:pt idx="19362">
                  <c:v>46328</c:v>
                </c:pt>
                <c:pt idx="19363">
                  <c:v>24892</c:v>
                </c:pt>
                <c:pt idx="19364">
                  <c:v>45952</c:v>
                </c:pt>
                <c:pt idx="19365">
                  <c:v>36128</c:v>
                </c:pt>
                <c:pt idx="19366">
                  <c:v>69871</c:v>
                </c:pt>
                <c:pt idx="19367">
                  <c:v>94926</c:v>
                </c:pt>
                <c:pt idx="19368">
                  <c:v>26881</c:v>
                </c:pt>
                <c:pt idx="19369">
                  <c:v>34265</c:v>
                </c:pt>
                <c:pt idx="19370">
                  <c:v>35271</c:v>
                </c:pt>
                <c:pt idx="19371">
                  <c:v>70340</c:v>
                </c:pt>
                <c:pt idx="19372">
                  <c:v>28265</c:v>
                </c:pt>
                <c:pt idx="19373">
                  <c:v>45073</c:v>
                </c:pt>
                <c:pt idx="19374">
                  <c:v>40300</c:v>
                </c:pt>
                <c:pt idx="19375">
                  <c:v>32554</c:v>
                </c:pt>
                <c:pt idx="19376">
                  <c:v>48747</c:v>
                </c:pt>
                <c:pt idx="19377">
                  <c:v>195383</c:v>
                </c:pt>
                <c:pt idx="19378">
                  <c:v>25353</c:v>
                </c:pt>
                <c:pt idx="19379">
                  <c:v>103949</c:v>
                </c:pt>
                <c:pt idx="19380">
                  <c:v>134383</c:v>
                </c:pt>
                <c:pt idx="19381">
                  <c:v>42831</c:v>
                </c:pt>
                <c:pt idx="19382">
                  <c:v>37059</c:v>
                </c:pt>
                <c:pt idx="19383">
                  <c:v>46336</c:v>
                </c:pt>
                <c:pt idx="19384">
                  <c:v>49692</c:v>
                </c:pt>
                <c:pt idx="19385">
                  <c:v>62178</c:v>
                </c:pt>
                <c:pt idx="19386">
                  <c:v>51383</c:v>
                </c:pt>
                <c:pt idx="19387">
                  <c:v>26008</c:v>
                </c:pt>
                <c:pt idx="19388">
                  <c:v>54448</c:v>
                </c:pt>
                <c:pt idx="19389">
                  <c:v>37146</c:v>
                </c:pt>
                <c:pt idx="19390">
                  <c:v>29569</c:v>
                </c:pt>
                <c:pt idx="19391">
                  <c:v>49138</c:v>
                </c:pt>
                <c:pt idx="19392">
                  <c:v>84730</c:v>
                </c:pt>
                <c:pt idx="19393">
                  <c:v>48140</c:v>
                </c:pt>
                <c:pt idx="19394">
                  <c:v>53046</c:v>
                </c:pt>
                <c:pt idx="19395">
                  <c:v>25651</c:v>
                </c:pt>
                <c:pt idx="19396">
                  <c:v>42269</c:v>
                </c:pt>
                <c:pt idx="19397">
                  <c:v>204101</c:v>
                </c:pt>
                <c:pt idx="19398">
                  <c:v>57641</c:v>
                </c:pt>
                <c:pt idx="19399">
                  <c:v>44179</c:v>
                </c:pt>
                <c:pt idx="19400">
                  <c:v>64332</c:v>
                </c:pt>
                <c:pt idx="19401">
                  <c:v>52272</c:v>
                </c:pt>
                <c:pt idx="19402">
                  <c:v>34414</c:v>
                </c:pt>
                <c:pt idx="19403">
                  <c:v>59432</c:v>
                </c:pt>
                <c:pt idx="19404">
                  <c:v>23535</c:v>
                </c:pt>
                <c:pt idx="19405">
                  <c:v>68798</c:v>
                </c:pt>
                <c:pt idx="19406">
                  <c:v>66359</c:v>
                </c:pt>
                <c:pt idx="19407">
                  <c:v>20862</c:v>
                </c:pt>
                <c:pt idx="19408">
                  <c:v>33466</c:v>
                </c:pt>
                <c:pt idx="19409">
                  <c:v>61040</c:v>
                </c:pt>
                <c:pt idx="19410">
                  <c:v>230225</c:v>
                </c:pt>
                <c:pt idx="19411">
                  <c:v>25015</c:v>
                </c:pt>
                <c:pt idx="19412">
                  <c:v>57242</c:v>
                </c:pt>
                <c:pt idx="19413">
                  <c:v>160347</c:v>
                </c:pt>
                <c:pt idx="19414">
                  <c:v>37792</c:v>
                </c:pt>
                <c:pt idx="19415">
                  <c:v>45198</c:v>
                </c:pt>
                <c:pt idx="19416">
                  <c:v>21892</c:v>
                </c:pt>
                <c:pt idx="19417">
                  <c:v>32092</c:v>
                </c:pt>
                <c:pt idx="19418">
                  <c:v>25013</c:v>
                </c:pt>
                <c:pt idx="19419">
                  <c:v>39813</c:v>
                </c:pt>
                <c:pt idx="19420">
                  <c:v>260158</c:v>
                </c:pt>
                <c:pt idx="19421">
                  <c:v>43686</c:v>
                </c:pt>
                <c:pt idx="19422">
                  <c:v>61933</c:v>
                </c:pt>
                <c:pt idx="19423">
                  <c:v>29838</c:v>
                </c:pt>
                <c:pt idx="19424">
                  <c:v>46926</c:v>
                </c:pt>
                <c:pt idx="19425">
                  <c:v>43466</c:v>
                </c:pt>
                <c:pt idx="19426">
                  <c:v>25406</c:v>
                </c:pt>
                <c:pt idx="19427">
                  <c:v>64384</c:v>
                </c:pt>
                <c:pt idx="19428">
                  <c:v>35453</c:v>
                </c:pt>
                <c:pt idx="19429">
                  <c:v>59986</c:v>
                </c:pt>
                <c:pt idx="19430">
                  <c:v>57501</c:v>
                </c:pt>
                <c:pt idx="19431">
                  <c:v>32019</c:v>
                </c:pt>
                <c:pt idx="19432">
                  <c:v>28719</c:v>
                </c:pt>
                <c:pt idx="19433">
                  <c:v>50672</c:v>
                </c:pt>
                <c:pt idx="19434">
                  <c:v>27807</c:v>
                </c:pt>
                <c:pt idx="19435">
                  <c:v>29501</c:v>
                </c:pt>
                <c:pt idx="19436">
                  <c:v>84341</c:v>
                </c:pt>
                <c:pt idx="19437">
                  <c:v>37523</c:v>
                </c:pt>
                <c:pt idx="19438">
                  <c:v>23558</c:v>
                </c:pt>
                <c:pt idx="19439">
                  <c:v>88620</c:v>
                </c:pt>
                <c:pt idx="19440">
                  <c:v>50625</c:v>
                </c:pt>
                <c:pt idx="19441">
                  <c:v>84215</c:v>
                </c:pt>
                <c:pt idx="19442">
                  <c:v>41883</c:v>
                </c:pt>
                <c:pt idx="19443">
                  <c:v>24744</c:v>
                </c:pt>
                <c:pt idx="19444">
                  <c:v>43779</c:v>
                </c:pt>
                <c:pt idx="19445">
                  <c:v>79885</c:v>
                </c:pt>
                <c:pt idx="19446">
                  <c:v>33014</c:v>
                </c:pt>
                <c:pt idx="19447">
                  <c:v>32191</c:v>
                </c:pt>
                <c:pt idx="19448">
                  <c:v>252164</c:v>
                </c:pt>
                <c:pt idx="19449">
                  <c:v>60319</c:v>
                </c:pt>
                <c:pt idx="19450">
                  <c:v>51246</c:v>
                </c:pt>
                <c:pt idx="19451">
                  <c:v>29941</c:v>
                </c:pt>
                <c:pt idx="19452">
                  <c:v>25312</c:v>
                </c:pt>
                <c:pt idx="19453">
                  <c:v>138480</c:v>
                </c:pt>
                <c:pt idx="19454">
                  <c:v>65073</c:v>
                </c:pt>
                <c:pt idx="19455">
                  <c:v>51004</c:v>
                </c:pt>
                <c:pt idx="19456">
                  <c:v>42834</c:v>
                </c:pt>
                <c:pt idx="19457">
                  <c:v>25961</c:v>
                </c:pt>
                <c:pt idx="19458">
                  <c:v>97546</c:v>
                </c:pt>
                <c:pt idx="19459">
                  <c:v>40781</c:v>
                </c:pt>
                <c:pt idx="19460">
                  <c:v>27970</c:v>
                </c:pt>
                <c:pt idx="19461">
                  <c:v>57126</c:v>
                </c:pt>
                <c:pt idx="19462">
                  <c:v>23385</c:v>
                </c:pt>
                <c:pt idx="19463">
                  <c:v>40366</c:v>
                </c:pt>
                <c:pt idx="19464">
                  <c:v>59470</c:v>
                </c:pt>
                <c:pt idx="19465">
                  <c:v>115728</c:v>
                </c:pt>
                <c:pt idx="19466">
                  <c:v>42253</c:v>
                </c:pt>
                <c:pt idx="19467">
                  <c:v>27596</c:v>
                </c:pt>
                <c:pt idx="19468">
                  <c:v>119684</c:v>
                </c:pt>
                <c:pt idx="19469">
                  <c:v>20953</c:v>
                </c:pt>
                <c:pt idx="19470">
                  <c:v>57928</c:v>
                </c:pt>
                <c:pt idx="19471">
                  <c:v>29852</c:v>
                </c:pt>
                <c:pt idx="19472">
                  <c:v>59962</c:v>
                </c:pt>
                <c:pt idx="19473">
                  <c:v>40488</c:v>
                </c:pt>
                <c:pt idx="19474">
                  <c:v>27032</c:v>
                </c:pt>
                <c:pt idx="19475">
                  <c:v>49123</c:v>
                </c:pt>
                <c:pt idx="19476">
                  <c:v>155360</c:v>
                </c:pt>
                <c:pt idx="19477">
                  <c:v>26942</c:v>
                </c:pt>
                <c:pt idx="19478">
                  <c:v>40689</c:v>
                </c:pt>
                <c:pt idx="19479">
                  <c:v>44501</c:v>
                </c:pt>
                <c:pt idx="19480">
                  <c:v>81172</c:v>
                </c:pt>
                <c:pt idx="19481">
                  <c:v>50142</c:v>
                </c:pt>
                <c:pt idx="19482">
                  <c:v>132180</c:v>
                </c:pt>
                <c:pt idx="19483">
                  <c:v>47398</c:v>
                </c:pt>
                <c:pt idx="19484">
                  <c:v>38940</c:v>
                </c:pt>
                <c:pt idx="19485">
                  <c:v>34358</c:v>
                </c:pt>
                <c:pt idx="19486">
                  <c:v>50878</c:v>
                </c:pt>
                <c:pt idx="19487">
                  <c:v>30646</c:v>
                </c:pt>
                <c:pt idx="19488">
                  <c:v>93547</c:v>
                </c:pt>
                <c:pt idx="19489">
                  <c:v>33412</c:v>
                </c:pt>
                <c:pt idx="19490">
                  <c:v>116150</c:v>
                </c:pt>
                <c:pt idx="19491">
                  <c:v>27840</c:v>
                </c:pt>
                <c:pt idx="19492">
                  <c:v>29411</c:v>
                </c:pt>
                <c:pt idx="19493">
                  <c:v>39420</c:v>
                </c:pt>
                <c:pt idx="19494">
                  <c:v>48584</c:v>
                </c:pt>
                <c:pt idx="19495">
                  <c:v>126101</c:v>
                </c:pt>
                <c:pt idx="19496">
                  <c:v>66865</c:v>
                </c:pt>
                <c:pt idx="19497">
                  <c:v>102396</c:v>
                </c:pt>
                <c:pt idx="19498">
                  <c:v>41787</c:v>
                </c:pt>
                <c:pt idx="19499">
                  <c:v>44968</c:v>
                </c:pt>
                <c:pt idx="19500">
                  <c:v>54717</c:v>
                </c:pt>
                <c:pt idx="19501">
                  <c:v>78007</c:v>
                </c:pt>
                <c:pt idx="19502">
                  <c:v>137359</c:v>
                </c:pt>
                <c:pt idx="19503">
                  <c:v>35577</c:v>
                </c:pt>
                <c:pt idx="19504">
                  <c:v>41706</c:v>
                </c:pt>
                <c:pt idx="19505">
                  <c:v>41656</c:v>
                </c:pt>
                <c:pt idx="19506">
                  <c:v>123110</c:v>
                </c:pt>
                <c:pt idx="19507">
                  <c:v>43896</c:v>
                </c:pt>
                <c:pt idx="19508">
                  <c:v>63851</c:v>
                </c:pt>
                <c:pt idx="19509">
                  <c:v>49849</c:v>
                </c:pt>
                <c:pt idx="19510">
                  <c:v>39149</c:v>
                </c:pt>
                <c:pt idx="19511">
                  <c:v>27452</c:v>
                </c:pt>
                <c:pt idx="19512">
                  <c:v>38520</c:v>
                </c:pt>
                <c:pt idx="19513">
                  <c:v>73649</c:v>
                </c:pt>
                <c:pt idx="19514">
                  <c:v>97319</c:v>
                </c:pt>
                <c:pt idx="19515">
                  <c:v>83563</c:v>
                </c:pt>
                <c:pt idx="19516">
                  <c:v>44896</c:v>
                </c:pt>
                <c:pt idx="19517">
                  <c:v>99306</c:v>
                </c:pt>
                <c:pt idx="19518">
                  <c:v>26323</c:v>
                </c:pt>
                <c:pt idx="19519">
                  <c:v>90246</c:v>
                </c:pt>
                <c:pt idx="19520">
                  <c:v>63003</c:v>
                </c:pt>
                <c:pt idx="19521">
                  <c:v>19516</c:v>
                </c:pt>
                <c:pt idx="19522">
                  <c:v>26858</c:v>
                </c:pt>
                <c:pt idx="19523">
                  <c:v>37804</c:v>
                </c:pt>
                <c:pt idx="19524">
                  <c:v>70153</c:v>
                </c:pt>
                <c:pt idx="19525">
                  <c:v>63830</c:v>
                </c:pt>
                <c:pt idx="19526">
                  <c:v>34149</c:v>
                </c:pt>
                <c:pt idx="19527">
                  <c:v>44532</c:v>
                </c:pt>
                <c:pt idx="19528">
                  <c:v>41361</c:v>
                </c:pt>
                <c:pt idx="19529">
                  <c:v>27055</c:v>
                </c:pt>
                <c:pt idx="19530">
                  <c:v>50002</c:v>
                </c:pt>
                <c:pt idx="19531">
                  <c:v>50331</c:v>
                </c:pt>
                <c:pt idx="19532">
                  <c:v>145532</c:v>
                </c:pt>
                <c:pt idx="19533">
                  <c:v>101273</c:v>
                </c:pt>
                <c:pt idx="19534">
                  <c:v>37071</c:v>
                </c:pt>
                <c:pt idx="19535">
                  <c:v>48439</c:v>
                </c:pt>
                <c:pt idx="19536">
                  <c:v>72037</c:v>
                </c:pt>
                <c:pt idx="19537">
                  <c:v>72585</c:v>
                </c:pt>
                <c:pt idx="19538">
                  <c:v>38319</c:v>
                </c:pt>
                <c:pt idx="19539">
                  <c:v>21384</c:v>
                </c:pt>
                <c:pt idx="19540">
                  <c:v>60258</c:v>
                </c:pt>
                <c:pt idx="19541">
                  <c:v>98390</c:v>
                </c:pt>
                <c:pt idx="19542">
                  <c:v>32115</c:v>
                </c:pt>
                <c:pt idx="19543">
                  <c:v>38637</c:v>
                </c:pt>
                <c:pt idx="19544">
                  <c:v>57608</c:v>
                </c:pt>
                <c:pt idx="19545">
                  <c:v>47977</c:v>
                </c:pt>
                <c:pt idx="19546">
                  <c:v>57450</c:v>
                </c:pt>
                <c:pt idx="19547">
                  <c:v>46421</c:v>
                </c:pt>
                <c:pt idx="19548">
                  <c:v>79893</c:v>
                </c:pt>
                <c:pt idx="19549">
                  <c:v>82972</c:v>
                </c:pt>
                <c:pt idx="19550">
                  <c:v>274495</c:v>
                </c:pt>
                <c:pt idx="19551">
                  <c:v>39885</c:v>
                </c:pt>
                <c:pt idx="19552">
                  <c:v>71806</c:v>
                </c:pt>
                <c:pt idx="19553">
                  <c:v>38989</c:v>
                </c:pt>
                <c:pt idx="19554">
                  <c:v>44614</c:v>
                </c:pt>
                <c:pt idx="19555">
                  <c:v>46629</c:v>
                </c:pt>
                <c:pt idx="19556">
                  <c:v>36573</c:v>
                </c:pt>
                <c:pt idx="19557">
                  <c:v>31283</c:v>
                </c:pt>
                <c:pt idx="19558">
                  <c:v>23033</c:v>
                </c:pt>
                <c:pt idx="19559">
                  <c:v>189173</c:v>
                </c:pt>
                <c:pt idx="19560">
                  <c:v>44389</c:v>
                </c:pt>
                <c:pt idx="19561">
                  <c:v>38457</c:v>
                </c:pt>
                <c:pt idx="19562">
                  <c:v>57263</c:v>
                </c:pt>
                <c:pt idx="19563">
                  <c:v>60528</c:v>
                </c:pt>
                <c:pt idx="19564">
                  <c:v>48557</c:v>
                </c:pt>
                <c:pt idx="19565">
                  <c:v>44396</c:v>
                </c:pt>
                <c:pt idx="19566">
                  <c:v>130890</c:v>
                </c:pt>
                <c:pt idx="19567">
                  <c:v>32527</c:v>
                </c:pt>
                <c:pt idx="19568">
                  <c:v>26665</c:v>
                </c:pt>
                <c:pt idx="19569">
                  <c:v>32443</c:v>
                </c:pt>
                <c:pt idx="19570">
                  <c:v>54106</c:v>
                </c:pt>
                <c:pt idx="19571">
                  <c:v>103431</c:v>
                </c:pt>
                <c:pt idx="19572">
                  <c:v>38911</c:v>
                </c:pt>
                <c:pt idx="19573">
                  <c:v>70482</c:v>
                </c:pt>
                <c:pt idx="19574">
                  <c:v>76700</c:v>
                </c:pt>
                <c:pt idx="19575">
                  <c:v>45081</c:v>
                </c:pt>
                <c:pt idx="19576">
                  <c:v>38933</c:v>
                </c:pt>
                <c:pt idx="19577">
                  <c:v>21620</c:v>
                </c:pt>
                <c:pt idx="19578">
                  <c:v>35497</c:v>
                </c:pt>
                <c:pt idx="19579">
                  <c:v>55446</c:v>
                </c:pt>
                <c:pt idx="19580">
                  <c:v>48821</c:v>
                </c:pt>
                <c:pt idx="19581">
                  <c:v>53808</c:v>
                </c:pt>
                <c:pt idx="19582">
                  <c:v>28296</c:v>
                </c:pt>
                <c:pt idx="19583">
                  <c:v>66203</c:v>
                </c:pt>
                <c:pt idx="19584">
                  <c:v>100359</c:v>
                </c:pt>
                <c:pt idx="19585">
                  <c:v>84460</c:v>
                </c:pt>
                <c:pt idx="19586">
                  <c:v>24943</c:v>
                </c:pt>
                <c:pt idx="19587">
                  <c:v>36806</c:v>
                </c:pt>
                <c:pt idx="19588">
                  <c:v>22147</c:v>
                </c:pt>
                <c:pt idx="19589">
                  <c:v>47127</c:v>
                </c:pt>
                <c:pt idx="19590">
                  <c:v>35459</c:v>
                </c:pt>
                <c:pt idx="19591">
                  <c:v>26521</c:v>
                </c:pt>
                <c:pt idx="19592">
                  <c:v>102588</c:v>
                </c:pt>
                <c:pt idx="19593">
                  <c:v>49768</c:v>
                </c:pt>
                <c:pt idx="19594">
                  <c:v>28827</c:v>
                </c:pt>
                <c:pt idx="19595">
                  <c:v>17076</c:v>
                </c:pt>
                <c:pt idx="19596">
                  <c:v>74787</c:v>
                </c:pt>
                <c:pt idx="19597">
                  <c:v>58166</c:v>
                </c:pt>
                <c:pt idx="19598">
                  <c:v>51440</c:v>
                </c:pt>
                <c:pt idx="19599">
                  <c:v>94534</c:v>
                </c:pt>
                <c:pt idx="19600">
                  <c:v>66237</c:v>
                </c:pt>
                <c:pt idx="19601">
                  <c:v>62413</c:v>
                </c:pt>
                <c:pt idx="19602">
                  <c:v>168692</c:v>
                </c:pt>
                <c:pt idx="19603">
                  <c:v>47398</c:v>
                </c:pt>
                <c:pt idx="19604">
                  <c:v>20532</c:v>
                </c:pt>
                <c:pt idx="19605">
                  <c:v>47706</c:v>
                </c:pt>
                <c:pt idx="19606">
                  <c:v>245125</c:v>
                </c:pt>
                <c:pt idx="19607">
                  <c:v>60625</c:v>
                </c:pt>
                <c:pt idx="19608">
                  <c:v>40269</c:v>
                </c:pt>
                <c:pt idx="19609">
                  <c:v>119070</c:v>
                </c:pt>
                <c:pt idx="19610">
                  <c:v>22934</c:v>
                </c:pt>
                <c:pt idx="19611">
                  <c:v>37055</c:v>
                </c:pt>
                <c:pt idx="19612">
                  <c:v>97750</c:v>
                </c:pt>
                <c:pt idx="19613">
                  <c:v>30150</c:v>
                </c:pt>
                <c:pt idx="19614">
                  <c:v>26302</c:v>
                </c:pt>
                <c:pt idx="19615">
                  <c:v>38166</c:v>
                </c:pt>
                <c:pt idx="19616">
                  <c:v>35508</c:v>
                </c:pt>
                <c:pt idx="19617">
                  <c:v>44482</c:v>
                </c:pt>
                <c:pt idx="19618">
                  <c:v>81708</c:v>
                </c:pt>
                <c:pt idx="19619">
                  <c:v>36257</c:v>
                </c:pt>
                <c:pt idx="19620">
                  <c:v>37227</c:v>
                </c:pt>
                <c:pt idx="19621">
                  <c:v>40544</c:v>
                </c:pt>
                <c:pt idx="19622">
                  <c:v>29284</c:v>
                </c:pt>
                <c:pt idx="19623">
                  <c:v>22968</c:v>
                </c:pt>
                <c:pt idx="19624">
                  <c:v>39837</c:v>
                </c:pt>
                <c:pt idx="19625">
                  <c:v>38209</c:v>
                </c:pt>
                <c:pt idx="19626">
                  <c:v>43959</c:v>
                </c:pt>
                <c:pt idx="19627">
                  <c:v>38659</c:v>
                </c:pt>
                <c:pt idx="19628">
                  <c:v>42274</c:v>
                </c:pt>
                <c:pt idx="19629">
                  <c:v>39255</c:v>
                </c:pt>
                <c:pt idx="19630">
                  <c:v>31206</c:v>
                </c:pt>
                <c:pt idx="19631">
                  <c:v>59178</c:v>
                </c:pt>
                <c:pt idx="19632">
                  <c:v>78577</c:v>
                </c:pt>
                <c:pt idx="19633">
                  <c:v>24025</c:v>
                </c:pt>
                <c:pt idx="19634">
                  <c:v>58313</c:v>
                </c:pt>
                <c:pt idx="19635">
                  <c:v>101190</c:v>
                </c:pt>
                <c:pt idx="19636">
                  <c:v>54763</c:v>
                </c:pt>
                <c:pt idx="19637">
                  <c:v>98292</c:v>
                </c:pt>
                <c:pt idx="19638">
                  <c:v>56378</c:v>
                </c:pt>
                <c:pt idx="19639">
                  <c:v>25821</c:v>
                </c:pt>
                <c:pt idx="19640">
                  <c:v>38179</c:v>
                </c:pt>
                <c:pt idx="19641">
                  <c:v>39185</c:v>
                </c:pt>
                <c:pt idx="19642">
                  <c:v>343989</c:v>
                </c:pt>
                <c:pt idx="19643">
                  <c:v>100506</c:v>
                </c:pt>
                <c:pt idx="19644">
                  <c:v>24561</c:v>
                </c:pt>
                <c:pt idx="19645">
                  <c:v>69628</c:v>
                </c:pt>
                <c:pt idx="19646">
                  <c:v>40453</c:v>
                </c:pt>
                <c:pt idx="19647">
                  <c:v>25611</c:v>
                </c:pt>
                <c:pt idx="19648">
                  <c:v>36800</c:v>
                </c:pt>
                <c:pt idx="19649">
                  <c:v>40584</c:v>
                </c:pt>
                <c:pt idx="19650">
                  <c:v>72770</c:v>
                </c:pt>
                <c:pt idx="19651">
                  <c:v>29562</c:v>
                </c:pt>
                <c:pt idx="19652">
                  <c:v>102997</c:v>
                </c:pt>
                <c:pt idx="19653">
                  <c:v>55668</c:v>
                </c:pt>
                <c:pt idx="19654">
                  <c:v>101913</c:v>
                </c:pt>
                <c:pt idx="19655">
                  <c:v>36945</c:v>
                </c:pt>
                <c:pt idx="19656">
                  <c:v>30495</c:v>
                </c:pt>
                <c:pt idx="19657">
                  <c:v>35213</c:v>
                </c:pt>
                <c:pt idx="19658">
                  <c:v>61154</c:v>
                </c:pt>
                <c:pt idx="19659">
                  <c:v>37955</c:v>
                </c:pt>
                <c:pt idx="19660">
                  <c:v>32690</c:v>
                </c:pt>
                <c:pt idx="19661">
                  <c:v>52017</c:v>
                </c:pt>
                <c:pt idx="19662">
                  <c:v>183606</c:v>
                </c:pt>
                <c:pt idx="19663">
                  <c:v>38942</c:v>
                </c:pt>
                <c:pt idx="19664">
                  <c:v>110827</c:v>
                </c:pt>
                <c:pt idx="19665">
                  <c:v>26641</c:v>
                </c:pt>
                <c:pt idx="19666">
                  <c:v>40363</c:v>
                </c:pt>
                <c:pt idx="19667">
                  <c:v>27170</c:v>
                </c:pt>
                <c:pt idx="19668">
                  <c:v>103020</c:v>
                </c:pt>
                <c:pt idx="19669">
                  <c:v>24841</c:v>
                </c:pt>
                <c:pt idx="19670">
                  <c:v>105441</c:v>
                </c:pt>
                <c:pt idx="19671">
                  <c:v>88645</c:v>
                </c:pt>
                <c:pt idx="19672">
                  <c:v>74357</c:v>
                </c:pt>
                <c:pt idx="19673">
                  <c:v>48884</c:v>
                </c:pt>
                <c:pt idx="19674">
                  <c:v>207667</c:v>
                </c:pt>
                <c:pt idx="19675">
                  <c:v>37112</c:v>
                </c:pt>
                <c:pt idx="19676">
                  <c:v>44609</c:v>
                </c:pt>
                <c:pt idx="19677">
                  <c:v>70351</c:v>
                </c:pt>
                <c:pt idx="19678">
                  <c:v>84849</c:v>
                </c:pt>
                <c:pt idx="19679">
                  <c:v>123461</c:v>
                </c:pt>
                <c:pt idx="19680">
                  <c:v>45780</c:v>
                </c:pt>
                <c:pt idx="19681">
                  <c:v>52250</c:v>
                </c:pt>
                <c:pt idx="19682">
                  <c:v>62304</c:v>
                </c:pt>
                <c:pt idx="19683">
                  <c:v>152472</c:v>
                </c:pt>
                <c:pt idx="19684">
                  <c:v>34285</c:v>
                </c:pt>
                <c:pt idx="19685">
                  <c:v>32703</c:v>
                </c:pt>
                <c:pt idx="19686">
                  <c:v>23518</c:v>
                </c:pt>
                <c:pt idx="19687">
                  <c:v>33616</c:v>
                </c:pt>
                <c:pt idx="19688">
                  <c:v>45491</c:v>
                </c:pt>
                <c:pt idx="19689">
                  <c:v>58089</c:v>
                </c:pt>
                <c:pt idx="19690">
                  <c:v>323930</c:v>
                </c:pt>
                <c:pt idx="19691">
                  <c:v>37528</c:v>
                </c:pt>
                <c:pt idx="19692">
                  <c:v>29998</c:v>
                </c:pt>
                <c:pt idx="19693">
                  <c:v>43767</c:v>
                </c:pt>
                <c:pt idx="19694">
                  <c:v>35518</c:v>
                </c:pt>
                <c:pt idx="19695">
                  <c:v>159045</c:v>
                </c:pt>
                <c:pt idx="19696">
                  <c:v>41088</c:v>
                </c:pt>
                <c:pt idx="19697">
                  <c:v>47215</c:v>
                </c:pt>
                <c:pt idx="19698">
                  <c:v>154125</c:v>
                </c:pt>
                <c:pt idx="19699">
                  <c:v>34948</c:v>
                </c:pt>
                <c:pt idx="19700">
                  <c:v>33340</c:v>
                </c:pt>
                <c:pt idx="19701">
                  <c:v>27494</c:v>
                </c:pt>
                <c:pt idx="19702">
                  <c:v>45152</c:v>
                </c:pt>
                <c:pt idx="19703">
                  <c:v>34974</c:v>
                </c:pt>
                <c:pt idx="19704">
                  <c:v>57622</c:v>
                </c:pt>
                <c:pt idx="19705">
                  <c:v>42200</c:v>
                </c:pt>
                <c:pt idx="19706">
                  <c:v>40243</c:v>
                </c:pt>
                <c:pt idx="19707">
                  <c:v>153592</c:v>
                </c:pt>
                <c:pt idx="19708">
                  <c:v>24135</c:v>
                </c:pt>
                <c:pt idx="19709">
                  <c:v>106131</c:v>
                </c:pt>
                <c:pt idx="19710">
                  <c:v>45647</c:v>
                </c:pt>
                <c:pt idx="19711">
                  <c:v>39193</c:v>
                </c:pt>
                <c:pt idx="19712">
                  <c:v>27506</c:v>
                </c:pt>
                <c:pt idx="19713">
                  <c:v>44882</c:v>
                </c:pt>
                <c:pt idx="19714">
                  <c:v>37662</c:v>
                </c:pt>
                <c:pt idx="19715">
                  <c:v>45842</c:v>
                </c:pt>
                <c:pt idx="19716">
                  <c:v>58201</c:v>
                </c:pt>
                <c:pt idx="19717">
                  <c:v>30576</c:v>
                </c:pt>
                <c:pt idx="19718">
                  <c:v>45050</c:v>
                </c:pt>
                <c:pt idx="19719">
                  <c:v>248286</c:v>
                </c:pt>
                <c:pt idx="19720">
                  <c:v>24462</c:v>
                </c:pt>
                <c:pt idx="19721">
                  <c:v>27787</c:v>
                </c:pt>
                <c:pt idx="19722">
                  <c:v>81914</c:v>
                </c:pt>
                <c:pt idx="19723">
                  <c:v>43196</c:v>
                </c:pt>
                <c:pt idx="19724">
                  <c:v>40419</c:v>
                </c:pt>
                <c:pt idx="19725">
                  <c:v>33350</c:v>
                </c:pt>
                <c:pt idx="19726">
                  <c:v>18113</c:v>
                </c:pt>
                <c:pt idx="19727">
                  <c:v>318709</c:v>
                </c:pt>
                <c:pt idx="19728">
                  <c:v>48718</c:v>
                </c:pt>
                <c:pt idx="19729">
                  <c:v>33414</c:v>
                </c:pt>
                <c:pt idx="19730">
                  <c:v>79220</c:v>
                </c:pt>
                <c:pt idx="19731">
                  <c:v>17483</c:v>
                </c:pt>
                <c:pt idx="19732">
                  <c:v>38235</c:v>
                </c:pt>
                <c:pt idx="19733">
                  <c:v>29832</c:v>
                </c:pt>
                <c:pt idx="19734">
                  <c:v>48066</c:v>
                </c:pt>
                <c:pt idx="19735">
                  <c:v>41412</c:v>
                </c:pt>
                <c:pt idx="19736">
                  <c:v>95201</c:v>
                </c:pt>
                <c:pt idx="19737">
                  <c:v>48941</c:v>
                </c:pt>
                <c:pt idx="19738">
                  <c:v>31619</c:v>
                </c:pt>
                <c:pt idx="19739">
                  <c:v>44354</c:v>
                </c:pt>
                <c:pt idx="19740">
                  <c:v>65555</c:v>
                </c:pt>
                <c:pt idx="19741">
                  <c:v>37490</c:v>
                </c:pt>
                <c:pt idx="19742">
                  <c:v>100590</c:v>
                </c:pt>
                <c:pt idx="19743">
                  <c:v>42453</c:v>
                </c:pt>
                <c:pt idx="19744">
                  <c:v>30181</c:v>
                </c:pt>
                <c:pt idx="19745">
                  <c:v>43182</c:v>
                </c:pt>
                <c:pt idx="19746">
                  <c:v>45309</c:v>
                </c:pt>
                <c:pt idx="19747">
                  <c:v>168343</c:v>
                </c:pt>
                <c:pt idx="19748">
                  <c:v>31006</c:v>
                </c:pt>
                <c:pt idx="19749">
                  <c:v>57000</c:v>
                </c:pt>
                <c:pt idx="19750">
                  <c:v>22308</c:v>
                </c:pt>
                <c:pt idx="19751">
                  <c:v>51584</c:v>
                </c:pt>
                <c:pt idx="19752">
                  <c:v>49250</c:v>
                </c:pt>
                <c:pt idx="19753">
                  <c:v>66267</c:v>
                </c:pt>
                <c:pt idx="19754">
                  <c:v>224704</c:v>
                </c:pt>
                <c:pt idx="19755">
                  <c:v>27053</c:v>
                </c:pt>
                <c:pt idx="19756">
                  <c:v>34184</c:v>
                </c:pt>
                <c:pt idx="19757">
                  <c:v>40547</c:v>
                </c:pt>
                <c:pt idx="19758">
                  <c:v>41001</c:v>
                </c:pt>
                <c:pt idx="19759">
                  <c:v>30821</c:v>
                </c:pt>
                <c:pt idx="19760">
                  <c:v>172771</c:v>
                </c:pt>
                <c:pt idx="19761">
                  <c:v>82361</c:v>
                </c:pt>
                <c:pt idx="19762">
                  <c:v>36239</c:v>
                </c:pt>
                <c:pt idx="19763">
                  <c:v>60996</c:v>
                </c:pt>
                <c:pt idx="19764">
                  <c:v>80395</c:v>
                </c:pt>
                <c:pt idx="19765">
                  <c:v>146359</c:v>
                </c:pt>
                <c:pt idx="19766">
                  <c:v>36952</c:v>
                </c:pt>
                <c:pt idx="19767">
                  <c:v>50048</c:v>
                </c:pt>
                <c:pt idx="19768">
                  <c:v>42902</c:v>
                </c:pt>
                <c:pt idx="19769">
                  <c:v>46617</c:v>
                </c:pt>
                <c:pt idx="19770">
                  <c:v>23706</c:v>
                </c:pt>
                <c:pt idx="19771">
                  <c:v>40122</c:v>
                </c:pt>
                <c:pt idx="19772">
                  <c:v>67896</c:v>
                </c:pt>
                <c:pt idx="19773">
                  <c:v>186138</c:v>
                </c:pt>
                <c:pt idx="19774">
                  <c:v>62980</c:v>
                </c:pt>
                <c:pt idx="19775">
                  <c:v>65669</c:v>
                </c:pt>
                <c:pt idx="19776">
                  <c:v>108958</c:v>
                </c:pt>
                <c:pt idx="19777">
                  <c:v>41674</c:v>
                </c:pt>
                <c:pt idx="19778">
                  <c:v>38650</c:v>
                </c:pt>
                <c:pt idx="19779">
                  <c:v>66695</c:v>
                </c:pt>
                <c:pt idx="19780">
                  <c:v>34735</c:v>
                </c:pt>
                <c:pt idx="19781">
                  <c:v>20551</c:v>
                </c:pt>
                <c:pt idx="19782">
                  <c:v>33298</c:v>
                </c:pt>
                <c:pt idx="19783">
                  <c:v>56261</c:v>
                </c:pt>
                <c:pt idx="19784">
                  <c:v>37845</c:v>
                </c:pt>
                <c:pt idx="19785">
                  <c:v>38917</c:v>
                </c:pt>
                <c:pt idx="19786">
                  <c:v>35150</c:v>
                </c:pt>
                <c:pt idx="19787">
                  <c:v>49468</c:v>
                </c:pt>
                <c:pt idx="19788">
                  <c:v>32443</c:v>
                </c:pt>
                <c:pt idx="19789">
                  <c:v>27901</c:v>
                </c:pt>
                <c:pt idx="19790">
                  <c:v>39737</c:v>
                </c:pt>
                <c:pt idx="19791">
                  <c:v>65458</c:v>
                </c:pt>
                <c:pt idx="19792">
                  <c:v>24983</c:v>
                </c:pt>
                <c:pt idx="19793">
                  <c:v>110802</c:v>
                </c:pt>
                <c:pt idx="19794">
                  <c:v>23148</c:v>
                </c:pt>
                <c:pt idx="19795">
                  <c:v>47420</c:v>
                </c:pt>
                <c:pt idx="19796">
                  <c:v>40099</c:v>
                </c:pt>
                <c:pt idx="19797">
                  <c:v>191225</c:v>
                </c:pt>
                <c:pt idx="19798">
                  <c:v>38659</c:v>
                </c:pt>
                <c:pt idx="19799">
                  <c:v>27658</c:v>
                </c:pt>
                <c:pt idx="19800">
                  <c:v>50618</c:v>
                </c:pt>
                <c:pt idx="19801">
                  <c:v>57615</c:v>
                </c:pt>
                <c:pt idx="19802">
                  <c:v>36699</c:v>
                </c:pt>
                <c:pt idx="19803">
                  <c:v>52087</c:v>
                </c:pt>
                <c:pt idx="19804">
                  <c:v>30752</c:v>
                </c:pt>
                <c:pt idx="19805">
                  <c:v>44156</c:v>
                </c:pt>
                <c:pt idx="19806">
                  <c:v>24864</c:v>
                </c:pt>
                <c:pt idx="19807">
                  <c:v>36150</c:v>
                </c:pt>
                <c:pt idx="19808">
                  <c:v>150572</c:v>
                </c:pt>
                <c:pt idx="19809">
                  <c:v>77695</c:v>
                </c:pt>
                <c:pt idx="19810">
                  <c:v>57103</c:v>
                </c:pt>
                <c:pt idx="19811">
                  <c:v>48374</c:v>
                </c:pt>
                <c:pt idx="19812">
                  <c:v>36961</c:v>
                </c:pt>
                <c:pt idx="19813">
                  <c:v>48325</c:v>
                </c:pt>
                <c:pt idx="19814">
                  <c:v>135058</c:v>
                </c:pt>
                <c:pt idx="19815">
                  <c:v>66130</c:v>
                </c:pt>
                <c:pt idx="19816">
                  <c:v>58316</c:v>
                </c:pt>
                <c:pt idx="19817">
                  <c:v>44313</c:v>
                </c:pt>
                <c:pt idx="19818">
                  <c:v>53455</c:v>
                </c:pt>
                <c:pt idx="19819">
                  <c:v>20038</c:v>
                </c:pt>
                <c:pt idx="19820">
                  <c:v>41717</c:v>
                </c:pt>
                <c:pt idx="19821">
                  <c:v>41694</c:v>
                </c:pt>
                <c:pt idx="19822">
                  <c:v>83259</c:v>
                </c:pt>
                <c:pt idx="19823">
                  <c:v>61753</c:v>
                </c:pt>
                <c:pt idx="19824">
                  <c:v>62031</c:v>
                </c:pt>
                <c:pt idx="19825">
                  <c:v>49561</c:v>
                </c:pt>
                <c:pt idx="19826">
                  <c:v>52128</c:v>
                </c:pt>
                <c:pt idx="19827">
                  <c:v>121546</c:v>
                </c:pt>
                <c:pt idx="19828">
                  <c:v>37265</c:v>
                </c:pt>
                <c:pt idx="19829">
                  <c:v>30040</c:v>
                </c:pt>
                <c:pt idx="19830">
                  <c:v>145024</c:v>
                </c:pt>
                <c:pt idx="19831">
                  <c:v>50688</c:v>
                </c:pt>
                <c:pt idx="19832">
                  <c:v>77262</c:v>
                </c:pt>
                <c:pt idx="19833">
                  <c:v>61089</c:v>
                </c:pt>
                <c:pt idx="19834">
                  <c:v>52304</c:v>
                </c:pt>
                <c:pt idx="19835">
                  <c:v>32506</c:v>
                </c:pt>
                <c:pt idx="19836">
                  <c:v>48648</c:v>
                </c:pt>
                <c:pt idx="19837">
                  <c:v>56542</c:v>
                </c:pt>
                <c:pt idx="19838">
                  <c:v>110622</c:v>
                </c:pt>
                <c:pt idx="19839">
                  <c:v>106344</c:v>
                </c:pt>
                <c:pt idx="19840">
                  <c:v>132526</c:v>
                </c:pt>
                <c:pt idx="19841">
                  <c:v>30112</c:v>
                </c:pt>
                <c:pt idx="19842">
                  <c:v>33330</c:v>
                </c:pt>
                <c:pt idx="19843">
                  <c:v>70224</c:v>
                </c:pt>
                <c:pt idx="19844">
                  <c:v>24657</c:v>
                </c:pt>
                <c:pt idx="19845">
                  <c:v>35433</c:v>
                </c:pt>
                <c:pt idx="19846">
                  <c:v>54295</c:v>
                </c:pt>
                <c:pt idx="19847">
                  <c:v>32432</c:v>
                </c:pt>
                <c:pt idx="19848">
                  <c:v>41792</c:v>
                </c:pt>
                <c:pt idx="19849">
                  <c:v>47864</c:v>
                </c:pt>
                <c:pt idx="19850">
                  <c:v>26927</c:v>
                </c:pt>
                <c:pt idx="19851">
                  <c:v>102599</c:v>
                </c:pt>
                <c:pt idx="19852">
                  <c:v>25970</c:v>
                </c:pt>
                <c:pt idx="19853">
                  <c:v>34341</c:v>
                </c:pt>
                <c:pt idx="19854">
                  <c:v>27065</c:v>
                </c:pt>
                <c:pt idx="19855">
                  <c:v>45458</c:v>
                </c:pt>
                <c:pt idx="19856">
                  <c:v>159485</c:v>
                </c:pt>
                <c:pt idx="19857">
                  <c:v>27772</c:v>
                </c:pt>
                <c:pt idx="19858">
                  <c:v>34966</c:v>
                </c:pt>
                <c:pt idx="19859">
                  <c:v>51898</c:v>
                </c:pt>
                <c:pt idx="19860">
                  <c:v>50641</c:v>
                </c:pt>
                <c:pt idx="19861">
                  <c:v>93011</c:v>
                </c:pt>
                <c:pt idx="19862">
                  <c:v>219758</c:v>
                </c:pt>
                <c:pt idx="19863">
                  <c:v>49378</c:v>
                </c:pt>
                <c:pt idx="19864">
                  <c:v>37935</c:v>
                </c:pt>
                <c:pt idx="19865">
                  <c:v>25340</c:v>
                </c:pt>
                <c:pt idx="19866">
                  <c:v>31735</c:v>
                </c:pt>
                <c:pt idx="19867">
                  <c:v>35294</c:v>
                </c:pt>
                <c:pt idx="19868">
                  <c:v>36326</c:v>
                </c:pt>
                <c:pt idx="19869">
                  <c:v>48093</c:v>
                </c:pt>
                <c:pt idx="19870">
                  <c:v>115773</c:v>
                </c:pt>
                <c:pt idx="19871">
                  <c:v>34211</c:v>
                </c:pt>
                <c:pt idx="19872">
                  <c:v>30444</c:v>
                </c:pt>
                <c:pt idx="19873">
                  <c:v>135344</c:v>
                </c:pt>
                <c:pt idx="19874">
                  <c:v>181188</c:v>
                </c:pt>
                <c:pt idx="19875">
                  <c:v>37241</c:v>
                </c:pt>
                <c:pt idx="19876">
                  <c:v>304578</c:v>
                </c:pt>
                <c:pt idx="19877">
                  <c:v>48644</c:v>
                </c:pt>
                <c:pt idx="19878">
                  <c:v>51935</c:v>
                </c:pt>
                <c:pt idx="19879">
                  <c:v>40668</c:v>
                </c:pt>
                <c:pt idx="19880">
                  <c:v>49190</c:v>
                </c:pt>
                <c:pt idx="19881">
                  <c:v>59828</c:v>
                </c:pt>
                <c:pt idx="19882">
                  <c:v>38933</c:v>
                </c:pt>
                <c:pt idx="19883">
                  <c:v>59613</c:v>
                </c:pt>
                <c:pt idx="19884">
                  <c:v>36621</c:v>
                </c:pt>
                <c:pt idx="19885">
                  <c:v>31695</c:v>
                </c:pt>
                <c:pt idx="19886">
                  <c:v>29031</c:v>
                </c:pt>
                <c:pt idx="19887">
                  <c:v>110934</c:v>
                </c:pt>
                <c:pt idx="19888">
                  <c:v>57445</c:v>
                </c:pt>
                <c:pt idx="19889">
                  <c:v>139690</c:v>
                </c:pt>
                <c:pt idx="19890">
                  <c:v>41073</c:v>
                </c:pt>
                <c:pt idx="19891">
                  <c:v>24337</c:v>
                </c:pt>
                <c:pt idx="19892">
                  <c:v>33535</c:v>
                </c:pt>
                <c:pt idx="19893">
                  <c:v>79067</c:v>
                </c:pt>
                <c:pt idx="19894">
                  <c:v>29922</c:v>
                </c:pt>
                <c:pt idx="19895">
                  <c:v>44325</c:v>
                </c:pt>
                <c:pt idx="19896">
                  <c:v>21402</c:v>
                </c:pt>
                <c:pt idx="19897">
                  <c:v>44908</c:v>
                </c:pt>
                <c:pt idx="19898">
                  <c:v>27603</c:v>
                </c:pt>
                <c:pt idx="19899">
                  <c:v>20122</c:v>
                </c:pt>
                <c:pt idx="19900">
                  <c:v>66766</c:v>
                </c:pt>
                <c:pt idx="19901">
                  <c:v>48375</c:v>
                </c:pt>
                <c:pt idx="19902">
                  <c:v>32430</c:v>
                </c:pt>
                <c:pt idx="19903">
                  <c:v>87530</c:v>
                </c:pt>
                <c:pt idx="19904">
                  <c:v>25829</c:v>
                </c:pt>
                <c:pt idx="19905">
                  <c:v>92117</c:v>
                </c:pt>
                <c:pt idx="19906">
                  <c:v>35013</c:v>
                </c:pt>
                <c:pt idx="19907">
                  <c:v>34288</c:v>
                </c:pt>
                <c:pt idx="19908">
                  <c:v>25318</c:v>
                </c:pt>
                <c:pt idx="19909">
                  <c:v>39451</c:v>
                </c:pt>
                <c:pt idx="19910">
                  <c:v>52869</c:v>
                </c:pt>
                <c:pt idx="19911">
                  <c:v>79002</c:v>
                </c:pt>
                <c:pt idx="19912">
                  <c:v>171826</c:v>
                </c:pt>
                <c:pt idx="19913">
                  <c:v>30602</c:v>
                </c:pt>
                <c:pt idx="19914">
                  <c:v>37142</c:v>
                </c:pt>
                <c:pt idx="19915">
                  <c:v>339745</c:v>
                </c:pt>
                <c:pt idx="19916">
                  <c:v>44896</c:v>
                </c:pt>
                <c:pt idx="19917">
                  <c:v>34135</c:v>
                </c:pt>
                <c:pt idx="19918">
                  <c:v>27934</c:v>
                </c:pt>
                <c:pt idx="19919">
                  <c:v>41016</c:v>
                </c:pt>
                <c:pt idx="19920">
                  <c:v>76503</c:v>
                </c:pt>
                <c:pt idx="19921">
                  <c:v>45255</c:v>
                </c:pt>
                <c:pt idx="19922">
                  <c:v>50788</c:v>
                </c:pt>
                <c:pt idx="19923">
                  <c:v>46442</c:v>
                </c:pt>
                <c:pt idx="19924">
                  <c:v>42941</c:v>
                </c:pt>
                <c:pt idx="19925">
                  <c:v>233232</c:v>
                </c:pt>
                <c:pt idx="19926">
                  <c:v>91454</c:v>
                </c:pt>
                <c:pt idx="19927">
                  <c:v>58150</c:v>
                </c:pt>
                <c:pt idx="19928">
                  <c:v>25351</c:v>
                </c:pt>
                <c:pt idx="19929">
                  <c:v>43705</c:v>
                </c:pt>
                <c:pt idx="19930">
                  <c:v>38489</c:v>
                </c:pt>
                <c:pt idx="19931">
                  <c:v>35264</c:v>
                </c:pt>
                <c:pt idx="19932">
                  <c:v>50571</c:v>
                </c:pt>
                <c:pt idx="19933">
                  <c:v>47540</c:v>
                </c:pt>
                <c:pt idx="19934">
                  <c:v>152174</c:v>
                </c:pt>
                <c:pt idx="19935">
                  <c:v>56673</c:v>
                </c:pt>
                <c:pt idx="19936">
                  <c:v>92861</c:v>
                </c:pt>
                <c:pt idx="19937">
                  <c:v>23825</c:v>
                </c:pt>
                <c:pt idx="19938">
                  <c:v>48875</c:v>
                </c:pt>
                <c:pt idx="19939">
                  <c:v>31129</c:v>
                </c:pt>
                <c:pt idx="19940">
                  <c:v>170252</c:v>
                </c:pt>
                <c:pt idx="19941">
                  <c:v>38355</c:v>
                </c:pt>
                <c:pt idx="19942">
                  <c:v>37331</c:v>
                </c:pt>
                <c:pt idx="19943">
                  <c:v>54122</c:v>
                </c:pt>
                <c:pt idx="19944">
                  <c:v>34753</c:v>
                </c:pt>
                <c:pt idx="19945">
                  <c:v>34455</c:v>
                </c:pt>
                <c:pt idx="19946">
                  <c:v>39293</c:v>
                </c:pt>
                <c:pt idx="19947">
                  <c:v>24114</c:v>
                </c:pt>
                <c:pt idx="19948">
                  <c:v>72987</c:v>
                </c:pt>
                <c:pt idx="19949">
                  <c:v>69045</c:v>
                </c:pt>
                <c:pt idx="19950">
                  <c:v>39070</c:v>
                </c:pt>
                <c:pt idx="19951">
                  <c:v>204660</c:v>
                </c:pt>
                <c:pt idx="19952">
                  <c:v>54002</c:v>
                </c:pt>
                <c:pt idx="19953">
                  <c:v>91858</c:v>
                </c:pt>
                <c:pt idx="19954">
                  <c:v>51321</c:v>
                </c:pt>
                <c:pt idx="19955">
                  <c:v>23769</c:v>
                </c:pt>
                <c:pt idx="19956">
                  <c:v>39484</c:v>
                </c:pt>
                <c:pt idx="19957">
                  <c:v>37939</c:v>
                </c:pt>
                <c:pt idx="19958">
                  <c:v>28214</c:v>
                </c:pt>
                <c:pt idx="19959">
                  <c:v>101988</c:v>
                </c:pt>
                <c:pt idx="19960">
                  <c:v>21405</c:v>
                </c:pt>
                <c:pt idx="19961">
                  <c:v>127087</c:v>
                </c:pt>
                <c:pt idx="19962">
                  <c:v>69220</c:v>
                </c:pt>
                <c:pt idx="19963">
                  <c:v>24909</c:v>
                </c:pt>
                <c:pt idx="19964">
                  <c:v>26518</c:v>
                </c:pt>
                <c:pt idx="19965">
                  <c:v>110552</c:v>
                </c:pt>
                <c:pt idx="19966">
                  <c:v>81821</c:v>
                </c:pt>
                <c:pt idx="19967">
                  <c:v>52799</c:v>
                </c:pt>
                <c:pt idx="19968">
                  <c:v>57242</c:v>
                </c:pt>
                <c:pt idx="19969">
                  <c:v>21518</c:v>
                </c:pt>
                <c:pt idx="19970">
                  <c:v>141786</c:v>
                </c:pt>
                <c:pt idx="19971">
                  <c:v>44905</c:v>
                </c:pt>
                <c:pt idx="19972">
                  <c:v>74930</c:v>
                </c:pt>
                <c:pt idx="19973">
                  <c:v>81780</c:v>
                </c:pt>
                <c:pt idx="19974">
                  <c:v>36065</c:v>
                </c:pt>
                <c:pt idx="19975">
                  <c:v>75529</c:v>
                </c:pt>
                <c:pt idx="19976">
                  <c:v>41294</c:v>
                </c:pt>
                <c:pt idx="19977">
                  <c:v>165247</c:v>
                </c:pt>
                <c:pt idx="19978">
                  <c:v>59666</c:v>
                </c:pt>
                <c:pt idx="19979">
                  <c:v>30235</c:v>
                </c:pt>
                <c:pt idx="19980">
                  <c:v>48128</c:v>
                </c:pt>
                <c:pt idx="19981">
                  <c:v>36813</c:v>
                </c:pt>
                <c:pt idx="19982">
                  <c:v>46305</c:v>
                </c:pt>
                <c:pt idx="19983">
                  <c:v>23736</c:v>
                </c:pt>
                <c:pt idx="19984">
                  <c:v>90265</c:v>
                </c:pt>
                <c:pt idx="19985">
                  <c:v>41894</c:v>
                </c:pt>
                <c:pt idx="19986">
                  <c:v>73421</c:v>
                </c:pt>
                <c:pt idx="19987">
                  <c:v>37788</c:v>
                </c:pt>
                <c:pt idx="19988">
                  <c:v>76006</c:v>
                </c:pt>
                <c:pt idx="19989">
                  <c:v>45419</c:v>
                </c:pt>
                <c:pt idx="19990">
                  <c:v>67523</c:v>
                </c:pt>
                <c:pt idx="19991">
                  <c:v>34634</c:v>
                </c:pt>
                <c:pt idx="19992">
                  <c:v>43655</c:v>
                </c:pt>
                <c:pt idx="19993">
                  <c:v>89579</c:v>
                </c:pt>
                <c:pt idx="19994">
                  <c:v>129301</c:v>
                </c:pt>
                <c:pt idx="19995">
                  <c:v>50122</c:v>
                </c:pt>
                <c:pt idx="19996">
                  <c:v>42018</c:v>
                </c:pt>
                <c:pt idx="19997">
                  <c:v>54016</c:v>
                </c:pt>
                <c:pt idx="19998">
                  <c:v>30952</c:v>
                </c:pt>
                <c:pt idx="19999">
                  <c:v>33386</c:v>
                </c:pt>
                <c:pt idx="20000">
                  <c:v>121548</c:v>
                </c:pt>
                <c:pt idx="20001">
                  <c:v>82322</c:v>
                </c:pt>
                <c:pt idx="20002">
                  <c:v>57527</c:v>
                </c:pt>
                <c:pt idx="20003">
                  <c:v>39324</c:v>
                </c:pt>
                <c:pt idx="20004">
                  <c:v>27650</c:v>
                </c:pt>
                <c:pt idx="20005">
                  <c:v>59822</c:v>
                </c:pt>
                <c:pt idx="20006">
                  <c:v>51707</c:v>
                </c:pt>
                <c:pt idx="20007">
                  <c:v>162494</c:v>
                </c:pt>
                <c:pt idx="20008">
                  <c:v>51619</c:v>
                </c:pt>
                <c:pt idx="20009">
                  <c:v>97780</c:v>
                </c:pt>
                <c:pt idx="20010">
                  <c:v>25844</c:v>
                </c:pt>
                <c:pt idx="20011">
                  <c:v>84083</c:v>
                </c:pt>
                <c:pt idx="20012">
                  <c:v>22835</c:v>
                </c:pt>
                <c:pt idx="20013">
                  <c:v>46085</c:v>
                </c:pt>
                <c:pt idx="20014">
                  <c:v>40558</c:v>
                </c:pt>
                <c:pt idx="20015">
                  <c:v>70318</c:v>
                </c:pt>
                <c:pt idx="20016">
                  <c:v>53383</c:v>
                </c:pt>
                <c:pt idx="20017">
                  <c:v>52898</c:v>
                </c:pt>
                <c:pt idx="20018">
                  <c:v>33315</c:v>
                </c:pt>
                <c:pt idx="20019">
                  <c:v>37811</c:v>
                </c:pt>
                <c:pt idx="20020">
                  <c:v>74170</c:v>
                </c:pt>
                <c:pt idx="20021">
                  <c:v>26808</c:v>
                </c:pt>
                <c:pt idx="20022">
                  <c:v>154912</c:v>
                </c:pt>
                <c:pt idx="20023">
                  <c:v>72273</c:v>
                </c:pt>
                <c:pt idx="20024">
                  <c:v>127191</c:v>
                </c:pt>
                <c:pt idx="20025">
                  <c:v>294796</c:v>
                </c:pt>
                <c:pt idx="20026">
                  <c:v>95382</c:v>
                </c:pt>
                <c:pt idx="20027">
                  <c:v>60811</c:v>
                </c:pt>
                <c:pt idx="20028">
                  <c:v>26336</c:v>
                </c:pt>
                <c:pt idx="20029">
                  <c:v>72626</c:v>
                </c:pt>
                <c:pt idx="20030">
                  <c:v>38664</c:v>
                </c:pt>
                <c:pt idx="20031">
                  <c:v>84898</c:v>
                </c:pt>
                <c:pt idx="20032">
                  <c:v>62981</c:v>
                </c:pt>
                <c:pt idx="20033">
                  <c:v>25857</c:v>
                </c:pt>
                <c:pt idx="20034">
                  <c:v>109211</c:v>
                </c:pt>
                <c:pt idx="20035">
                  <c:v>92021</c:v>
                </c:pt>
                <c:pt idx="20036">
                  <c:v>26466</c:v>
                </c:pt>
                <c:pt idx="20037">
                  <c:v>37690</c:v>
                </c:pt>
                <c:pt idx="20038">
                  <c:v>45105</c:v>
                </c:pt>
                <c:pt idx="20039">
                  <c:v>44390</c:v>
                </c:pt>
                <c:pt idx="20040">
                  <c:v>52876</c:v>
                </c:pt>
                <c:pt idx="20041">
                  <c:v>48272</c:v>
                </c:pt>
                <c:pt idx="20042">
                  <c:v>50320</c:v>
                </c:pt>
                <c:pt idx="20043">
                  <c:v>50947</c:v>
                </c:pt>
                <c:pt idx="20044">
                  <c:v>33524</c:v>
                </c:pt>
                <c:pt idx="20045">
                  <c:v>44719</c:v>
                </c:pt>
                <c:pt idx="20046">
                  <c:v>107034</c:v>
                </c:pt>
                <c:pt idx="20047">
                  <c:v>41579</c:v>
                </c:pt>
                <c:pt idx="20048">
                  <c:v>24172</c:v>
                </c:pt>
                <c:pt idx="20049">
                  <c:v>30913</c:v>
                </c:pt>
                <c:pt idx="20050">
                  <c:v>254168</c:v>
                </c:pt>
                <c:pt idx="20051">
                  <c:v>21557</c:v>
                </c:pt>
                <c:pt idx="20052">
                  <c:v>53336</c:v>
                </c:pt>
                <c:pt idx="20053">
                  <c:v>42187</c:v>
                </c:pt>
                <c:pt idx="20054">
                  <c:v>40602</c:v>
                </c:pt>
                <c:pt idx="20055">
                  <c:v>34668</c:v>
                </c:pt>
                <c:pt idx="20056">
                  <c:v>27232</c:v>
                </c:pt>
                <c:pt idx="20057">
                  <c:v>42102</c:v>
                </c:pt>
                <c:pt idx="20058">
                  <c:v>39896</c:v>
                </c:pt>
                <c:pt idx="20059">
                  <c:v>32779</c:v>
                </c:pt>
                <c:pt idx="20060">
                  <c:v>149583</c:v>
                </c:pt>
                <c:pt idx="20061">
                  <c:v>50087</c:v>
                </c:pt>
                <c:pt idx="20062">
                  <c:v>51654</c:v>
                </c:pt>
                <c:pt idx="20063">
                  <c:v>53520</c:v>
                </c:pt>
                <c:pt idx="20064">
                  <c:v>48949</c:v>
                </c:pt>
                <c:pt idx="20065">
                  <c:v>23696</c:v>
                </c:pt>
                <c:pt idx="20066">
                  <c:v>24905</c:v>
                </c:pt>
                <c:pt idx="20067">
                  <c:v>33451</c:v>
                </c:pt>
                <c:pt idx="20068">
                  <c:v>41223</c:v>
                </c:pt>
                <c:pt idx="20069">
                  <c:v>60493</c:v>
                </c:pt>
                <c:pt idx="20070">
                  <c:v>109159</c:v>
                </c:pt>
                <c:pt idx="20071">
                  <c:v>98959</c:v>
                </c:pt>
                <c:pt idx="20072">
                  <c:v>170976</c:v>
                </c:pt>
                <c:pt idx="20073">
                  <c:v>41037</c:v>
                </c:pt>
                <c:pt idx="20074">
                  <c:v>75018</c:v>
                </c:pt>
                <c:pt idx="20075">
                  <c:v>96613</c:v>
                </c:pt>
                <c:pt idx="20076">
                  <c:v>24065</c:v>
                </c:pt>
                <c:pt idx="20077">
                  <c:v>51674</c:v>
                </c:pt>
                <c:pt idx="20078">
                  <c:v>27764</c:v>
                </c:pt>
                <c:pt idx="20079">
                  <c:v>105962</c:v>
                </c:pt>
                <c:pt idx="20080">
                  <c:v>81906</c:v>
                </c:pt>
                <c:pt idx="20081">
                  <c:v>37336</c:v>
                </c:pt>
                <c:pt idx="20082">
                  <c:v>51198</c:v>
                </c:pt>
                <c:pt idx="20083">
                  <c:v>39250</c:v>
                </c:pt>
                <c:pt idx="20084">
                  <c:v>158154</c:v>
                </c:pt>
                <c:pt idx="20085">
                  <c:v>44864</c:v>
                </c:pt>
                <c:pt idx="20086">
                  <c:v>31050</c:v>
                </c:pt>
                <c:pt idx="20087">
                  <c:v>60632</c:v>
                </c:pt>
                <c:pt idx="20088">
                  <c:v>24310</c:v>
                </c:pt>
                <c:pt idx="20089">
                  <c:v>47473</c:v>
                </c:pt>
                <c:pt idx="20090">
                  <c:v>33888</c:v>
                </c:pt>
                <c:pt idx="20091">
                  <c:v>90692</c:v>
                </c:pt>
                <c:pt idx="20092">
                  <c:v>138138</c:v>
                </c:pt>
                <c:pt idx="20093">
                  <c:v>93189</c:v>
                </c:pt>
                <c:pt idx="20094">
                  <c:v>28531</c:v>
                </c:pt>
                <c:pt idx="20095">
                  <c:v>54625</c:v>
                </c:pt>
                <c:pt idx="20096">
                  <c:v>36282</c:v>
                </c:pt>
                <c:pt idx="20097">
                  <c:v>36034</c:v>
                </c:pt>
                <c:pt idx="20098">
                  <c:v>96455</c:v>
                </c:pt>
                <c:pt idx="20099">
                  <c:v>75858</c:v>
                </c:pt>
                <c:pt idx="20100">
                  <c:v>25321</c:v>
                </c:pt>
                <c:pt idx="20101">
                  <c:v>56370</c:v>
                </c:pt>
                <c:pt idx="20102">
                  <c:v>27434</c:v>
                </c:pt>
                <c:pt idx="20103">
                  <c:v>132049</c:v>
                </c:pt>
                <c:pt idx="20104">
                  <c:v>39182</c:v>
                </c:pt>
                <c:pt idx="20105">
                  <c:v>41426</c:v>
                </c:pt>
                <c:pt idx="20106">
                  <c:v>31175</c:v>
                </c:pt>
                <c:pt idx="20107">
                  <c:v>88674</c:v>
                </c:pt>
                <c:pt idx="20108">
                  <c:v>23081</c:v>
                </c:pt>
                <c:pt idx="20109">
                  <c:v>88211</c:v>
                </c:pt>
                <c:pt idx="20110">
                  <c:v>30029</c:v>
                </c:pt>
                <c:pt idx="20111">
                  <c:v>207796</c:v>
                </c:pt>
                <c:pt idx="20112">
                  <c:v>54430</c:v>
                </c:pt>
                <c:pt idx="20113">
                  <c:v>39305</c:v>
                </c:pt>
                <c:pt idx="20114">
                  <c:v>32904</c:v>
                </c:pt>
                <c:pt idx="20115">
                  <c:v>267396</c:v>
                </c:pt>
                <c:pt idx="20116">
                  <c:v>38847</c:v>
                </c:pt>
                <c:pt idx="20117">
                  <c:v>187028</c:v>
                </c:pt>
                <c:pt idx="20118">
                  <c:v>34823</c:v>
                </c:pt>
                <c:pt idx="20119">
                  <c:v>106015</c:v>
                </c:pt>
                <c:pt idx="20120">
                  <c:v>25120</c:v>
                </c:pt>
                <c:pt idx="20121">
                  <c:v>37500</c:v>
                </c:pt>
                <c:pt idx="20122">
                  <c:v>46433</c:v>
                </c:pt>
                <c:pt idx="20123">
                  <c:v>126016</c:v>
                </c:pt>
                <c:pt idx="20124">
                  <c:v>33074</c:v>
                </c:pt>
                <c:pt idx="20125">
                  <c:v>39727</c:v>
                </c:pt>
                <c:pt idx="20126">
                  <c:v>126630</c:v>
                </c:pt>
                <c:pt idx="20127">
                  <c:v>189832</c:v>
                </c:pt>
                <c:pt idx="20128">
                  <c:v>40859</c:v>
                </c:pt>
                <c:pt idx="20129">
                  <c:v>172993</c:v>
                </c:pt>
                <c:pt idx="20130">
                  <c:v>80802</c:v>
                </c:pt>
                <c:pt idx="20131">
                  <c:v>24316</c:v>
                </c:pt>
                <c:pt idx="20132">
                  <c:v>34051</c:v>
                </c:pt>
                <c:pt idx="20133">
                  <c:v>38734</c:v>
                </c:pt>
                <c:pt idx="20134">
                  <c:v>34929</c:v>
                </c:pt>
                <c:pt idx="20135">
                  <c:v>219659</c:v>
                </c:pt>
                <c:pt idx="20136">
                  <c:v>152469</c:v>
                </c:pt>
                <c:pt idx="20137">
                  <c:v>39260</c:v>
                </c:pt>
                <c:pt idx="20138">
                  <c:v>69782</c:v>
                </c:pt>
                <c:pt idx="20139">
                  <c:v>122195</c:v>
                </c:pt>
                <c:pt idx="20140">
                  <c:v>57648</c:v>
                </c:pt>
                <c:pt idx="20141">
                  <c:v>24986</c:v>
                </c:pt>
                <c:pt idx="20142">
                  <c:v>110539</c:v>
                </c:pt>
                <c:pt idx="20143">
                  <c:v>36726</c:v>
                </c:pt>
                <c:pt idx="20144">
                  <c:v>45710</c:v>
                </c:pt>
                <c:pt idx="20145">
                  <c:v>49181</c:v>
                </c:pt>
                <c:pt idx="20146">
                  <c:v>152057</c:v>
                </c:pt>
                <c:pt idx="20147">
                  <c:v>34606</c:v>
                </c:pt>
                <c:pt idx="20148">
                  <c:v>54012</c:v>
                </c:pt>
                <c:pt idx="20149">
                  <c:v>46482</c:v>
                </c:pt>
                <c:pt idx="20150">
                  <c:v>50754</c:v>
                </c:pt>
                <c:pt idx="20151">
                  <c:v>32917</c:v>
                </c:pt>
                <c:pt idx="20152">
                  <c:v>28987</c:v>
                </c:pt>
                <c:pt idx="20153">
                  <c:v>199029</c:v>
                </c:pt>
                <c:pt idx="20154">
                  <c:v>29273</c:v>
                </c:pt>
                <c:pt idx="20155">
                  <c:v>36355</c:v>
                </c:pt>
                <c:pt idx="20156">
                  <c:v>23905</c:v>
                </c:pt>
                <c:pt idx="20157">
                  <c:v>45442</c:v>
                </c:pt>
                <c:pt idx="20158">
                  <c:v>27943</c:v>
                </c:pt>
                <c:pt idx="20159">
                  <c:v>17695</c:v>
                </c:pt>
                <c:pt idx="20160">
                  <c:v>61025</c:v>
                </c:pt>
                <c:pt idx="20161">
                  <c:v>26588</c:v>
                </c:pt>
                <c:pt idx="20162">
                  <c:v>34352</c:v>
                </c:pt>
                <c:pt idx="20163">
                  <c:v>39677</c:v>
                </c:pt>
                <c:pt idx="20164">
                  <c:v>28498</c:v>
                </c:pt>
                <c:pt idx="20165">
                  <c:v>25868</c:v>
                </c:pt>
                <c:pt idx="20166">
                  <c:v>26996</c:v>
                </c:pt>
                <c:pt idx="20167">
                  <c:v>24802</c:v>
                </c:pt>
                <c:pt idx="20168">
                  <c:v>91082</c:v>
                </c:pt>
                <c:pt idx="20169">
                  <c:v>99463</c:v>
                </c:pt>
                <c:pt idx="20170">
                  <c:v>41170</c:v>
                </c:pt>
                <c:pt idx="20171">
                  <c:v>125505</c:v>
                </c:pt>
                <c:pt idx="20172">
                  <c:v>25597</c:v>
                </c:pt>
                <c:pt idx="20173">
                  <c:v>157308</c:v>
                </c:pt>
                <c:pt idx="20174">
                  <c:v>28573</c:v>
                </c:pt>
                <c:pt idx="20175">
                  <c:v>226520</c:v>
                </c:pt>
                <c:pt idx="20176">
                  <c:v>56432</c:v>
                </c:pt>
                <c:pt idx="20177">
                  <c:v>30276</c:v>
                </c:pt>
                <c:pt idx="20178">
                  <c:v>32586</c:v>
                </c:pt>
                <c:pt idx="20179">
                  <c:v>33985</c:v>
                </c:pt>
                <c:pt idx="20180">
                  <c:v>32926</c:v>
                </c:pt>
                <c:pt idx="20181">
                  <c:v>56336</c:v>
                </c:pt>
                <c:pt idx="20182">
                  <c:v>29101</c:v>
                </c:pt>
                <c:pt idx="20183">
                  <c:v>103795</c:v>
                </c:pt>
                <c:pt idx="20184">
                  <c:v>35357</c:v>
                </c:pt>
                <c:pt idx="20185">
                  <c:v>71496</c:v>
                </c:pt>
                <c:pt idx="20186">
                  <c:v>41462</c:v>
                </c:pt>
                <c:pt idx="20187">
                  <c:v>23434</c:v>
                </c:pt>
                <c:pt idx="20188">
                  <c:v>220555</c:v>
                </c:pt>
                <c:pt idx="20189">
                  <c:v>51510</c:v>
                </c:pt>
                <c:pt idx="20190">
                  <c:v>37872</c:v>
                </c:pt>
                <c:pt idx="20191">
                  <c:v>55183</c:v>
                </c:pt>
                <c:pt idx="20192">
                  <c:v>157308</c:v>
                </c:pt>
                <c:pt idx="20193">
                  <c:v>57992</c:v>
                </c:pt>
                <c:pt idx="20194">
                  <c:v>66883</c:v>
                </c:pt>
                <c:pt idx="20195">
                  <c:v>88881</c:v>
                </c:pt>
                <c:pt idx="20196">
                  <c:v>31689</c:v>
                </c:pt>
                <c:pt idx="20197">
                  <c:v>214921</c:v>
                </c:pt>
                <c:pt idx="20198">
                  <c:v>126896</c:v>
                </c:pt>
                <c:pt idx="20199">
                  <c:v>29538</c:v>
                </c:pt>
                <c:pt idx="20200">
                  <c:v>72682</c:v>
                </c:pt>
                <c:pt idx="20201">
                  <c:v>39466</c:v>
                </c:pt>
                <c:pt idx="20202">
                  <c:v>22151</c:v>
                </c:pt>
                <c:pt idx="20203">
                  <c:v>194326</c:v>
                </c:pt>
                <c:pt idx="20204">
                  <c:v>22878</c:v>
                </c:pt>
                <c:pt idx="20205">
                  <c:v>155210</c:v>
                </c:pt>
                <c:pt idx="20206">
                  <c:v>61645</c:v>
                </c:pt>
                <c:pt idx="20207">
                  <c:v>27648</c:v>
                </c:pt>
                <c:pt idx="20208">
                  <c:v>124049</c:v>
                </c:pt>
                <c:pt idx="20209">
                  <c:v>31091</c:v>
                </c:pt>
                <c:pt idx="20210">
                  <c:v>46590</c:v>
                </c:pt>
                <c:pt idx="20211">
                  <c:v>33189</c:v>
                </c:pt>
                <c:pt idx="20212">
                  <c:v>41152</c:v>
                </c:pt>
                <c:pt idx="20213">
                  <c:v>49661</c:v>
                </c:pt>
                <c:pt idx="20214">
                  <c:v>31137</c:v>
                </c:pt>
                <c:pt idx="20215">
                  <c:v>45427</c:v>
                </c:pt>
                <c:pt idx="20216">
                  <c:v>35763</c:v>
                </c:pt>
                <c:pt idx="20217">
                  <c:v>57830</c:v>
                </c:pt>
                <c:pt idx="20218">
                  <c:v>25240</c:v>
                </c:pt>
                <c:pt idx="20219">
                  <c:v>29103</c:v>
                </c:pt>
                <c:pt idx="20220">
                  <c:v>41979</c:v>
                </c:pt>
                <c:pt idx="20221">
                  <c:v>78542</c:v>
                </c:pt>
                <c:pt idx="20222">
                  <c:v>48378</c:v>
                </c:pt>
                <c:pt idx="20223">
                  <c:v>377325</c:v>
                </c:pt>
                <c:pt idx="20224">
                  <c:v>43692</c:v>
                </c:pt>
                <c:pt idx="20225">
                  <c:v>30057</c:v>
                </c:pt>
                <c:pt idx="20226">
                  <c:v>57263</c:v>
                </c:pt>
                <c:pt idx="20227">
                  <c:v>34073</c:v>
                </c:pt>
                <c:pt idx="20228">
                  <c:v>22409</c:v>
                </c:pt>
                <c:pt idx="20229">
                  <c:v>43119</c:v>
                </c:pt>
                <c:pt idx="20230">
                  <c:v>46594</c:v>
                </c:pt>
                <c:pt idx="20231">
                  <c:v>21134</c:v>
                </c:pt>
                <c:pt idx="20232">
                  <c:v>36423</c:v>
                </c:pt>
                <c:pt idx="20233">
                  <c:v>35520</c:v>
                </c:pt>
                <c:pt idx="20234">
                  <c:v>39338</c:v>
                </c:pt>
                <c:pt idx="20235">
                  <c:v>24335</c:v>
                </c:pt>
                <c:pt idx="20236">
                  <c:v>147581</c:v>
                </c:pt>
                <c:pt idx="20237">
                  <c:v>53425</c:v>
                </c:pt>
                <c:pt idx="20238">
                  <c:v>56653</c:v>
                </c:pt>
                <c:pt idx="20239">
                  <c:v>46137</c:v>
                </c:pt>
                <c:pt idx="20240">
                  <c:v>37296</c:v>
                </c:pt>
                <c:pt idx="20241">
                  <c:v>71624</c:v>
                </c:pt>
                <c:pt idx="20242">
                  <c:v>36683</c:v>
                </c:pt>
                <c:pt idx="20243">
                  <c:v>41730</c:v>
                </c:pt>
                <c:pt idx="20244">
                  <c:v>26764</c:v>
                </c:pt>
                <c:pt idx="20245">
                  <c:v>24697</c:v>
                </c:pt>
                <c:pt idx="20246">
                  <c:v>30752</c:v>
                </c:pt>
                <c:pt idx="20247">
                  <c:v>97676</c:v>
                </c:pt>
                <c:pt idx="20248">
                  <c:v>77322</c:v>
                </c:pt>
                <c:pt idx="20249">
                  <c:v>84922</c:v>
                </c:pt>
                <c:pt idx="20250">
                  <c:v>40188</c:v>
                </c:pt>
                <c:pt idx="20251">
                  <c:v>56008</c:v>
                </c:pt>
                <c:pt idx="20252">
                  <c:v>43182</c:v>
                </c:pt>
                <c:pt idx="20253">
                  <c:v>101757</c:v>
                </c:pt>
                <c:pt idx="20254">
                  <c:v>45640</c:v>
                </c:pt>
                <c:pt idx="20255">
                  <c:v>27329</c:v>
                </c:pt>
                <c:pt idx="20256">
                  <c:v>39074</c:v>
                </c:pt>
                <c:pt idx="20257">
                  <c:v>98328</c:v>
                </c:pt>
                <c:pt idx="20258">
                  <c:v>27613</c:v>
                </c:pt>
                <c:pt idx="20259">
                  <c:v>139877</c:v>
                </c:pt>
                <c:pt idx="20260">
                  <c:v>27767</c:v>
                </c:pt>
                <c:pt idx="20261">
                  <c:v>80083</c:v>
                </c:pt>
                <c:pt idx="20262">
                  <c:v>33121</c:v>
                </c:pt>
                <c:pt idx="20263">
                  <c:v>52568</c:v>
                </c:pt>
                <c:pt idx="20264">
                  <c:v>45804</c:v>
                </c:pt>
                <c:pt idx="20265">
                  <c:v>95736</c:v>
                </c:pt>
                <c:pt idx="20266">
                  <c:v>22515</c:v>
                </c:pt>
                <c:pt idx="20267">
                  <c:v>31062</c:v>
                </c:pt>
                <c:pt idx="20268">
                  <c:v>40630</c:v>
                </c:pt>
                <c:pt idx="20269">
                  <c:v>35758</c:v>
                </c:pt>
                <c:pt idx="20270">
                  <c:v>86810</c:v>
                </c:pt>
                <c:pt idx="20271">
                  <c:v>41748</c:v>
                </c:pt>
                <c:pt idx="20272">
                  <c:v>50250</c:v>
                </c:pt>
                <c:pt idx="20273">
                  <c:v>33675</c:v>
                </c:pt>
                <c:pt idx="20274">
                  <c:v>26281</c:v>
                </c:pt>
                <c:pt idx="20275">
                  <c:v>78118</c:v>
                </c:pt>
                <c:pt idx="20276">
                  <c:v>44317</c:v>
                </c:pt>
                <c:pt idx="20277">
                  <c:v>159030</c:v>
                </c:pt>
                <c:pt idx="20278">
                  <c:v>267283</c:v>
                </c:pt>
                <c:pt idx="20279">
                  <c:v>38780</c:v>
                </c:pt>
                <c:pt idx="20280">
                  <c:v>34583</c:v>
                </c:pt>
                <c:pt idx="20281">
                  <c:v>33718</c:v>
                </c:pt>
                <c:pt idx="20282">
                  <c:v>105484</c:v>
                </c:pt>
                <c:pt idx="20283">
                  <c:v>171753</c:v>
                </c:pt>
                <c:pt idx="20284">
                  <c:v>102564</c:v>
                </c:pt>
                <c:pt idx="20285">
                  <c:v>45743</c:v>
                </c:pt>
                <c:pt idx="20286">
                  <c:v>143167</c:v>
                </c:pt>
                <c:pt idx="20287">
                  <c:v>50360</c:v>
                </c:pt>
                <c:pt idx="20288">
                  <c:v>88189</c:v>
                </c:pt>
                <c:pt idx="20289">
                  <c:v>46190</c:v>
                </c:pt>
                <c:pt idx="20290">
                  <c:v>91433</c:v>
                </c:pt>
                <c:pt idx="20291">
                  <c:v>31815</c:v>
                </c:pt>
                <c:pt idx="20292">
                  <c:v>66990</c:v>
                </c:pt>
                <c:pt idx="20293">
                  <c:v>34518</c:v>
                </c:pt>
                <c:pt idx="20294">
                  <c:v>56300</c:v>
                </c:pt>
                <c:pt idx="20295">
                  <c:v>24173</c:v>
                </c:pt>
                <c:pt idx="20296">
                  <c:v>31837</c:v>
                </c:pt>
                <c:pt idx="20297">
                  <c:v>28524</c:v>
                </c:pt>
                <c:pt idx="20298">
                  <c:v>43484</c:v>
                </c:pt>
                <c:pt idx="20299">
                  <c:v>28769</c:v>
                </c:pt>
                <c:pt idx="20300">
                  <c:v>103506</c:v>
                </c:pt>
                <c:pt idx="20301">
                  <c:v>20349</c:v>
                </c:pt>
                <c:pt idx="20302">
                  <c:v>33397</c:v>
                </c:pt>
                <c:pt idx="20303">
                  <c:v>71982</c:v>
                </c:pt>
                <c:pt idx="20304">
                  <c:v>43777</c:v>
                </c:pt>
                <c:pt idx="20305">
                  <c:v>36437</c:v>
                </c:pt>
                <c:pt idx="20306">
                  <c:v>64045</c:v>
                </c:pt>
                <c:pt idx="20307">
                  <c:v>50104</c:v>
                </c:pt>
                <c:pt idx="20308">
                  <c:v>69476</c:v>
                </c:pt>
                <c:pt idx="20309">
                  <c:v>24299</c:v>
                </c:pt>
                <c:pt idx="20310">
                  <c:v>33225</c:v>
                </c:pt>
                <c:pt idx="20311">
                  <c:v>51223</c:v>
                </c:pt>
                <c:pt idx="20312">
                  <c:v>20935</c:v>
                </c:pt>
                <c:pt idx="20313">
                  <c:v>33542</c:v>
                </c:pt>
                <c:pt idx="20314">
                  <c:v>31247</c:v>
                </c:pt>
                <c:pt idx="20315">
                  <c:v>58154</c:v>
                </c:pt>
                <c:pt idx="20316">
                  <c:v>120161</c:v>
                </c:pt>
                <c:pt idx="20317">
                  <c:v>31229</c:v>
                </c:pt>
                <c:pt idx="20318">
                  <c:v>58678</c:v>
                </c:pt>
                <c:pt idx="20319">
                  <c:v>27286</c:v>
                </c:pt>
                <c:pt idx="20320">
                  <c:v>54768</c:v>
                </c:pt>
                <c:pt idx="20321">
                  <c:v>81452</c:v>
                </c:pt>
                <c:pt idx="20322">
                  <c:v>50319</c:v>
                </c:pt>
                <c:pt idx="20323">
                  <c:v>82500</c:v>
                </c:pt>
                <c:pt idx="20324">
                  <c:v>50701</c:v>
                </c:pt>
                <c:pt idx="20325">
                  <c:v>74756</c:v>
                </c:pt>
                <c:pt idx="20326">
                  <c:v>32361</c:v>
                </c:pt>
                <c:pt idx="20327">
                  <c:v>89071</c:v>
                </c:pt>
                <c:pt idx="20328">
                  <c:v>35392</c:v>
                </c:pt>
                <c:pt idx="20329">
                  <c:v>243222</c:v>
                </c:pt>
                <c:pt idx="20330">
                  <c:v>46363</c:v>
                </c:pt>
                <c:pt idx="20331">
                  <c:v>39556</c:v>
                </c:pt>
                <c:pt idx="20332">
                  <c:v>24697</c:v>
                </c:pt>
                <c:pt idx="20333">
                  <c:v>53916</c:v>
                </c:pt>
                <c:pt idx="20334">
                  <c:v>27026</c:v>
                </c:pt>
                <c:pt idx="20335">
                  <c:v>78630</c:v>
                </c:pt>
                <c:pt idx="20336">
                  <c:v>22223</c:v>
                </c:pt>
                <c:pt idx="20337">
                  <c:v>51324</c:v>
                </c:pt>
                <c:pt idx="20338">
                  <c:v>92843</c:v>
                </c:pt>
                <c:pt idx="20339">
                  <c:v>59121</c:v>
                </c:pt>
                <c:pt idx="20340">
                  <c:v>41385</c:v>
                </c:pt>
                <c:pt idx="20341">
                  <c:v>52122</c:v>
                </c:pt>
                <c:pt idx="20342">
                  <c:v>41242</c:v>
                </c:pt>
                <c:pt idx="20343">
                  <c:v>170419</c:v>
                </c:pt>
                <c:pt idx="20344">
                  <c:v>33044</c:v>
                </c:pt>
                <c:pt idx="20345">
                  <c:v>23318</c:v>
                </c:pt>
                <c:pt idx="20346">
                  <c:v>34762</c:v>
                </c:pt>
                <c:pt idx="20347">
                  <c:v>42782</c:v>
                </c:pt>
                <c:pt idx="20348">
                  <c:v>143182</c:v>
                </c:pt>
                <c:pt idx="20349">
                  <c:v>62827</c:v>
                </c:pt>
                <c:pt idx="20350">
                  <c:v>68256</c:v>
                </c:pt>
                <c:pt idx="20351">
                  <c:v>25715</c:v>
                </c:pt>
                <c:pt idx="20352">
                  <c:v>76798</c:v>
                </c:pt>
                <c:pt idx="20353">
                  <c:v>31063</c:v>
                </c:pt>
                <c:pt idx="20354">
                  <c:v>37881</c:v>
                </c:pt>
                <c:pt idx="20355">
                  <c:v>112773</c:v>
                </c:pt>
                <c:pt idx="20356">
                  <c:v>38895</c:v>
                </c:pt>
                <c:pt idx="20357">
                  <c:v>35144</c:v>
                </c:pt>
                <c:pt idx="20358">
                  <c:v>31073</c:v>
                </c:pt>
                <c:pt idx="20359">
                  <c:v>151574</c:v>
                </c:pt>
                <c:pt idx="20360">
                  <c:v>29413</c:v>
                </c:pt>
                <c:pt idx="20361">
                  <c:v>44211</c:v>
                </c:pt>
                <c:pt idx="20362">
                  <c:v>91585</c:v>
                </c:pt>
                <c:pt idx="20363">
                  <c:v>46286</c:v>
                </c:pt>
                <c:pt idx="20364">
                  <c:v>25677</c:v>
                </c:pt>
                <c:pt idx="20365">
                  <c:v>27773</c:v>
                </c:pt>
                <c:pt idx="20366">
                  <c:v>135143</c:v>
                </c:pt>
                <c:pt idx="20367">
                  <c:v>89524</c:v>
                </c:pt>
                <c:pt idx="20368">
                  <c:v>24355</c:v>
                </c:pt>
                <c:pt idx="20369">
                  <c:v>41125</c:v>
                </c:pt>
                <c:pt idx="20370">
                  <c:v>42151</c:v>
                </c:pt>
                <c:pt idx="20371">
                  <c:v>88835</c:v>
                </c:pt>
                <c:pt idx="20372">
                  <c:v>27830</c:v>
                </c:pt>
                <c:pt idx="20373">
                  <c:v>31417</c:v>
                </c:pt>
                <c:pt idx="20374">
                  <c:v>38809</c:v>
                </c:pt>
                <c:pt idx="20375">
                  <c:v>95867</c:v>
                </c:pt>
                <c:pt idx="20376">
                  <c:v>73912</c:v>
                </c:pt>
                <c:pt idx="20377">
                  <c:v>38142</c:v>
                </c:pt>
                <c:pt idx="20378">
                  <c:v>37035</c:v>
                </c:pt>
                <c:pt idx="20379">
                  <c:v>36137</c:v>
                </c:pt>
                <c:pt idx="20380">
                  <c:v>35841</c:v>
                </c:pt>
                <c:pt idx="20381">
                  <c:v>51693</c:v>
                </c:pt>
                <c:pt idx="20382">
                  <c:v>206939</c:v>
                </c:pt>
                <c:pt idx="20383">
                  <c:v>68552</c:v>
                </c:pt>
                <c:pt idx="20384">
                  <c:v>181696</c:v>
                </c:pt>
                <c:pt idx="20385">
                  <c:v>33062</c:v>
                </c:pt>
                <c:pt idx="20386">
                  <c:v>27987</c:v>
                </c:pt>
                <c:pt idx="20387">
                  <c:v>33236</c:v>
                </c:pt>
                <c:pt idx="20388">
                  <c:v>36026</c:v>
                </c:pt>
                <c:pt idx="20389">
                  <c:v>34269</c:v>
                </c:pt>
                <c:pt idx="20390">
                  <c:v>24784</c:v>
                </c:pt>
                <c:pt idx="20391">
                  <c:v>25092</c:v>
                </c:pt>
                <c:pt idx="20392">
                  <c:v>28592</c:v>
                </c:pt>
                <c:pt idx="20393">
                  <c:v>35981</c:v>
                </c:pt>
                <c:pt idx="20394">
                  <c:v>111232</c:v>
                </c:pt>
                <c:pt idx="20395">
                  <c:v>44238</c:v>
                </c:pt>
                <c:pt idx="20396">
                  <c:v>27012</c:v>
                </c:pt>
                <c:pt idx="20397">
                  <c:v>34295</c:v>
                </c:pt>
                <c:pt idx="20398">
                  <c:v>28678</c:v>
                </c:pt>
                <c:pt idx="20399">
                  <c:v>23115</c:v>
                </c:pt>
                <c:pt idx="20400">
                  <c:v>91193</c:v>
                </c:pt>
                <c:pt idx="20401">
                  <c:v>38664</c:v>
                </c:pt>
                <c:pt idx="20402">
                  <c:v>37266</c:v>
                </c:pt>
                <c:pt idx="20403">
                  <c:v>29147</c:v>
                </c:pt>
                <c:pt idx="20404">
                  <c:v>71153</c:v>
                </c:pt>
                <c:pt idx="20405">
                  <c:v>54862</c:v>
                </c:pt>
                <c:pt idx="20406">
                  <c:v>82938</c:v>
                </c:pt>
                <c:pt idx="20407">
                  <c:v>43004</c:v>
                </c:pt>
                <c:pt idx="20408">
                  <c:v>38726</c:v>
                </c:pt>
                <c:pt idx="20409">
                  <c:v>24907</c:v>
                </c:pt>
                <c:pt idx="20410">
                  <c:v>52348</c:v>
                </c:pt>
                <c:pt idx="20411">
                  <c:v>62226</c:v>
                </c:pt>
                <c:pt idx="20412">
                  <c:v>39795</c:v>
                </c:pt>
                <c:pt idx="20413">
                  <c:v>92052</c:v>
                </c:pt>
                <c:pt idx="20414">
                  <c:v>51832</c:v>
                </c:pt>
                <c:pt idx="20415">
                  <c:v>30326</c:v>
                </c:pt>
                <c:pt idx="20416">
                  <c:v>48874</c:v>
                </c:pt>
                <c:pt idx="20417">
                  <c:v>112959</c:v>
                </c:pt>
                <c:pt idx="20418">
                  <c:v>30222</c:v>
                </c:pt>
                <c:pt idx="20419">
                  <c:v>33476</c:v>
                </c:pt>
                <c:pt idx="20420">
                  <c:v>139581</c:v>
                </c:pt>
                <c:pt idx="20421">
                  <c:v>113915</c:v>
                </c:pt>
                <c:pt idx="20422">
                  <c:v>28969</c:v>
                </c:pt>
                <c:pt idx="20423">
                  <c:v>54686</c:v>
                </c:pt>
                <c:pt idx="20424">
                  <c:v>27455</c:v>
                </c:pt>
                <c:pt idx="20425">
                  <c:v>23610</c:v>
                </c:pt>
                <c:pt idx="20426">
                  <c:v>154544</c:v>
                </c:pt>
                <c:pt idx="20427">
                  <c:v>39669</c:v>
                </c:pt>
                <c:pt idx="20428">
                  <c:v>38173</c:v>
                </c:pt>
                <c:pt idx="20429">
                  <c:v>37978</c:v>
                </c:pt>
                <c:pt idx="20430">
                  <c:v>146971</c:v>
                </c:pt>
                <c:pt idx="20431">
                  <c:v>62795</c:v>
                </c:pt>
                <c:pt idx="20432">
                  <c:v>31565</c:v>
                </c:pt>
                <c:pt idx="20433">
                  <c:v>64383</c:v>
                </c:pt>
                <c:pt idx="20434">
                  <c:v>36099</c:v>
                </c:pt>
                <c:pt idx="20435">
                  <c:v>51197</c:v>
                </c:pt>
                <c:pt idx="20436">
                  <c:v>88968</c:v>
                </c:pt>
                <c:pt idx="20437">
                  <c:v>115969</c:v>
                </c:pt>
                <c:pt idx="20438">
                  <c:v>40646</c:v>
                </c:pt>
                <c:pt idx="20439">
                  <c:v>19469</c:v>
                </c:pt>
                <c:pt idx="20440">
                  <c:v>24454</c:v>
                </c:pt>
                <c:pt idx="20441">
                  <c:v>45269</c:v>
                </c:pt>
                <c:pt idx="20442">
                  <c:v>40723</c:v>
                </c:pt>
                <c:pt idx="20443">
                  <c:v>32824</c:v>
                </c:pt>
                <c:pt idx="20444">
                  <c:v>41525</c:v>
                </c:pt>
                <c:pt idx="20445">
                  <c:v>52029</c:v>
                </c:pt>
                <c:pt idx="20446">
                  <c:v>22758</c:v>
                </c:pt>
                <c:pt idx="20447">
                  <c:v>23239</c:v>
                </c:pt>
                <c:pt idx="20448">
                  <c:v>39341</c:v>
                </c:pt>
                <c:pt idx="20449">
                  <c:v>34041</c:v>
                </c:pt>
                <c:pt idx="20450">
                  <c:v>28635</c:v>
                </c:pt>
                <c:pt idx="20451">
                  <c:v>52855</c:v>
                </c:pt>
                <c:pt idx="20452">
                  <c:v>37355</c:v>
                </c:pt>
                <c:pt idx="20453">
                  <c:v>153136</c:v>
                </c:pt>
                <c:pt idx="20454">
                  <c:v>188408</c:v>
                </c:pt>
                <c:pt idx="20455">
                  <c:v>90957</c:v>
                </c:pt>
                <c:pt idx="20456">
                  <c:v>28931</c:v>
                </c:pt>
                <c:pt idx="20457">
                  <c:v>25612</c:v>
                </c:pt>
                <c:pt idx="20458">
                  <c:v>75625</c:v>
                </c:pt>
                <c:pt idx="20459">
                  <c:v>55420</c:v>
                </c:pt>
                <c:pt idx="20460">
                  <c:v>37111</c:v>
                </c:pt>
                <c:pt idx="20461">
                  <c:v>107186</c:v>
                </c:pt>
                <c:pt idx="20462">
                  <c:v>84430</c:v>
                </c:pt>
                <c:pt idx="20463">
                  <c:v>184719</c:v>
                </c:pt>
                <c:pt idx="20464">
                  <c:v>82304</c:v>
                </c:pt>
                <c:pt idx="20465">
                  <c:v>40943</c:v>
                </c:pt>
                <c:pt idx="20466">
                  <c:v>49417</c:v>
                </c:pt>
                <c:pt idx="20467">
                  <c:v>114385</c:v>
                </c:pt>
                <c:pt idx="20468">
                  <c:v>88001</c:v>
                </c:pt>
                <c:pt idx="20469">
                  <c:v>53203</c:v>
                </c:pt>
                <c:pt idx="20470">
                  <c:v>27667</c:v>
                </c:pt>
                <c:pt idx="20471">
                  <c:v>29635</c:v>
                </c:pt>
                <c:pt idx="20472">
                  <c:v>31030</c:v>
                </c:pt>
                <c:pt idx="20473">
                  <c:v>42003</c:v>
                </c:pt>
                <c:pt idx="20474">
                  <c:v>35796</c:v>
                </c:pt>
                <c:pt idx="20475">
                  <c:v>34625</c:v>
                </c:pt>
                <c:pt idx="20476">
                  <c:v>33256</c:v>
                </c:pt>
                <c:pt idx="20477">
                  <c:v>99846</c:v>
                </c:pt>
                <c:pt idx="20478">
                  <c:v>73193</c:v>
                </c:pt>
                <c:pt idx="20479">
                  <c:v>46051</c:v>
                </c:pt>
                <c:pt idx="20480">
                  <c:v>53414</c:v>
                </c:pt>
                <c:pt idx="20481">
                  <c:v>54970</c:v>
                </c:pt>
                <c:pt idx="20482">
                  <c:v>64243</c:v>
                </c:pt>
                <c:pt idx="20483">
                  <c:v>44366</c:v>
                </c:pt>
                <c:pt idx="20484">
                  <c:v>39307</c:v>
                </c:pt>
                <c:pt idx="20485">
                  <c:v>41787</c:v>
                </c:pt>
                <c:pt idx="20486">
                  <c:v>30146</c:v>
                </c:pt>
                <c:pt idx="20487">
                  <c:v>40163</c:v>
                </c:pt>
                <c:pt idx="20488">
                  <c:v>46798</c:v>
                </c:pt>
                <c:pt idx="20489">
                  <c:v>47290</c:v>
                </c:pt>
                <c:pt idx="20490">
                  <c:v>67499</c:v>
                </c:pt>
                <c:pt idx="20491">
                  <c:v>47998</c:v>
                </c:pt>
                <c:pt idx="20492">
                  <c:v>93276</c:v>
                </c:pt>
                <c:pt idx="20493">
                  <c:v>94813</c:v>
                </c:pt>
                <c:pt idx="20494">
                  <c:v>244375</c:v>
                </c:pt>
                <c:pt idx="20495">
                  <c:v>67687</c:v>
                </c:pt>
                <c:pt idx="20496">
                  <c:v>26100</c:v>
                </c:pt>
                <c:pt idx="20497">
                  <c:v>36429</c:v>
                </c:pt>
                <c:pt idx="20498">
                  <c:v>76641</c:v>
                </c:pt>
                <c:pt idx="20499">
                  <c:v>29166</c:v>
                </c:pt>
                <c:pt idx="20500">
                  <c:v>28046</c:v>
                </c:pt>
                <c:pt idx="20501">
                  <c:v>38942</c:v>
                </c:pt>
                <c:pt idx="20502">
                  <c:v>180490</c:v>
                </c:pt>
                <c:pt idx="20503">
                  <c:v>44092</c:v>
                </c:pt>
                <c:pt idx="20504">
                  <c:v>33168</c:v>
                </c:pt>
                <c:pt idx="20505">
                  <c:v>73603</c:v>
                </c:pt>
                <c:pt idx="20506">
                  <c:v>35003</c:v>
                </c:pt>
                <c:pt idx="20507">
                  <c:v>46960</c:v>
                </c:pt>
                <c:pt idx="20508">
                  <c:v>26274</c:v>
                </c:pt>
                <c:pt idx="20509">
                  <c:v>74352</c:v>
                </c:pt>
                <c:pt idx="20510">
                  <c:v>43680</c:v>
                </c:pt>
                <c:pt idx="20511">
                  <c:v>35091</c:v>
                </c:pt>
                <c:pt idx="20512">
                  <c:v>220999</c:v>
                </c:pt>
                <c:pt idx="20513">
                  <c:v>25576</c:v>
                </c:pt>
                <c:pt idx="20514">
                  <c:v>149467</c:v>
                </c:pt>
                <c:pt idx="20515">
                  <c:v>52451</c:v>
                </c:pt>
                <c:pt idx="20516">
                  <c:v>48160</c:v>
                </c:pt>
                <c:pt idx="20517">
                  <c:v>37458</c:v>
                </c:pt>
                <c:pt idx="20518">
                  <c:v>65992</c:v>
                </c:pt>
                <c:pt idx="20519">
                  <c:v>36691</c:v>
                </c:pt>
                <c:pt idx="20520">
                  <c:v>72571</c:v>
                </c:pt>
                <c:pt idx="20521">
                  <c:v>38097</c:v>
                </c:pt>
                <c:pt idx="20522">
                  <c:v>47749</c:v>
                </c:pt>
                <c:pt idx="20523">
                  <c:v>25470</c:v>
                </c:pt>
                <c:pt idx="20524">
                  <c:v>40158</c:v>
                </c:pt>
                <c:pt idx="20525">
                  <c:v>36657</c:v>
                </c:pt>
                <c:pt idx="20526">
                  <c:v>161571</c:v>
                </c:pt>
                <c:pt idx="20527">
                  <c:v>24615</c:v>
                </c:pt>
                <c:pt idx="20528">
                  <c:v>39441</c:v>
                </c:pt>
                <c:pt idx="20529">
                  <c:v>33466</c:v>
                </c:pt>
                <c:pt idx="20530">
                  <c:v>83056</c:v>
                </c:pt>
                <c:pt idx="20531">
                  <c:v>24950</c:v>
                </c:pt>
                <c:pt idx="20532">
                  <c:v>58148</c:v>
                </c:pt>
                <c:pt idx="20533">
                  <c:v>36501</c:v>
                </c:pt>
                <c:pt idx="20534">
                  <c:v>133129</c:v>
                </c:pt>
                <c:pt idx="20535">
                  <c:v>39346</c:v>
                </c:pt>
                <c:pt idx="20536">
                  <c:v>27387</c:v>
                </c:pt>
                <c:pt idx="20537">
                  <c:v>36561</c:v>
                </c:pt>
                <c:pt idx="20538">
                  <c:v>105446</c:v>
                </c:pt>
                <c:pt idx="20539">
                  <c:v>69757</c:v>
                </c:pt>
                <c:pt idx="20540">
                  <c:v>153344</c:v>
                </c:pt>
                <c:pt idx="20541">
                  <c:v>65262</c:v>
                </c:pt>
                <c:pt idx="20542">
                  <c:v>44914</c:v>
                </c:pt>
                <c:pt idx="20543">
                  <c:v>36888</c:v>
                </c:pt>
                <c:pt idx="20544">
                  <c:v>216469</c:v>
                </c:pt>
                <c:pt idx="20545">
                  <c:v>27547</c:v>
                </c:pt>
                <c:pt idx="20546">
                  <c:v>59112</c:v>
                </c:pt>
                <c:pt idx="20547">
                  <c:v>30305</c:v>
                </c:pt>
                <c:pt idx="20548">
                  <c:v>61019</c:v>
                </c:pt>
                <c:pt idx="20549">
                  <c:v>63713</c:v>
                </c:pt>
                <c:pt idx="20550">
                  <c:v>61708</c:v>
                </c:pt>
                <c:pt idx="20551">
                  <c:v>39435</c:v>
                </c:pt>
                <c:pt idx="20552">
                  <c:v>39473</c:v>
                </c:pt>
                <c:pt idx="20553">
                  <c:v>25525</c:v>
                </c:pt>
                <c:pt idx="20554">
                  <c:v>114325</c:v>
                </c:pt>
                <c:pt idx="20555">
                  <c:v>140386</c:v>
                </c:pt>
                <c:pt idx="20556">
                  <c:v>49353</c:v>
                </c:pt>
                <c:pt idx="20557">
                  <c:v>20990</c:v>
                </c:pt>
                <c:pt idx="20558">
                  <c:v>34574</c:v>
                </c:pt>
                <c:pt idx="20559">
                  <c:v>45212</c:v>
                </c:pt>
                <c:pt idx="20560">
                  <c:v>41490</c:v>
                </c:pt>
                <c:pt idx="20561">
                  <c:v>60345</c:v>
                </c:pt>
                <c:pt idx="20562">
                  <c:v>24966</c:v>
                </c:pt>
                <c:pt idx="20563">
                  <c:v>97164</c:v>
                </c:pt>
                <c:pt idx="20564">
                  <c:v>52687</c:v>
                </c:pt>
                <c:pt idx="20565">
                  <c:v>44961</c:v>
                </c:pt>
                <c:pt idx="20566">
                  <c:v>44344</c:v>
                </c:pt>
                <c:pt idx="20567">
                  <c:v>76368</c:v>
                </c:pt>
                <c:pt idx="20568">
                  <c:v>99182</c:v>
                </c:pt>
                <c:pt idx="20569">
                  <c:v>38105</c:v>
                </c:pt>
                <c:pt idx="20570">
                  <c:v>48048</c:v>
                </c:pt>
                <c:pt idx="20571">
                  <c:v>97669</c:v>
                </c:pt>
                <c:pt idx="20572">
                  <c:v>36970</c:v>
                </c:pt>
                <c:pt idx="20573">
                  <c:v>50925</c:v>
                </c:pt>
                <c:pt idx="20574">
                  <c:v>65341</c:v>
                </c:pt>
                <c:pt idx="20575">
                  <c:v>42847</c:v>
                </c:pt>
                <c:pt idx="20576">
                  <c:v>75633</c:v>
                </c:pt>
                <c:pt idx="20577">
                  <c:v>52491</c:v>
                </c:pt>
                <c:pt idx="20578">
                  <c:v>35824</c:v>
                </c:pt>
                <c:pt idx="20579">
                  <c:v>45653</c:v>
                </c:pt>
                <c:pt idx="20580">
                  <c:v>60142</c:v>
                </c:pt>
                <c:pt idx="20581">
                  <c:v>59578</c:v>
                </c:pt>
                <c:pt idx="20582">
                  <c:v>41585</c:v>
                </c:pt>
                <c:pt idx="20583">
                  <c:v>101140</c:v>
                </c:pt>
                <c:pt idx="20584">
                  <c:v>98450</c:v>
                </c:pt>
                <c:pt idx="20585">
                  <c:v>27962</c:v>
                </c:pt>
                <c:pt idx="20586">
                  <c:v>57829</c:v>
                </c:pt>
                <c:pt idx="20587">
                  <c:v>45680</c:v>
                </c:pt>
                <c:pt idx="20588">
                  <c:v>34280</c:v>
                </c:pt>
                <c:pt idx="20589">
                  <c:v>31923</c:v>
                </c:pt>
                <c:pt idx="20590">
                  <c:v>46194</c:v>
                </c:pt>
                <c:pt idx="20591">
                  <c:v>25987</c:v>
                </c:pt>
                <c:pt idx="20592">
                  <c:v>48905</c:v>
                </c:pt>
                <c:pt idx="20593">
                  <c:v>38123</c:v>
                </c:pt>
                <c:pt idx="20594">
                  <c:v>80797</c:v>
                </c:pt>
                <c:pt idx="20595">
                  <c:v>149758</c:v>
                </c:pt>
                <c:pt idx="20596">
                  <c:v>43622</c:v>
                </c:pt>
                <c:pt idx="20597">
                  <c:v>40787</c:v>
                </c:pt>
                <c:pt idx="20598">
                  <c:v>27416</c:v>
                </c:pt>
                <c:pt idx="20599">
                  <c:v>38228</c:v>
                </c:pt>
                <c:pt idx="20600">
                  <c:v>121504</c:v>
                </c:pt>
                <c:pt idx="20601">
                  <c:v>24614</c:v>
                </c:pt>
                <c:pt idx="20602">
                  <c:v>47627</c:v>
                </c:pt>
                <c:pt idx="20603">
                  <c:v>36546</c:v>
                </c:pt>
                <c:pt idx="20604">
                  <c:v>38733</c:v>
                </c:pt>
                <c:pt idx="20605">
                  <c:v>23098</c:v>
                </c:pt>
                <c:pt idx="20606">
                  <c:v>211203</c:v>
                </c:pt>
                <c:pt idx="20607">
                  <c:v>128243</c:v>
                </c:pt>
                <c:pt idx="20608">
                  <c:v>48765</c:v>
                </c:pt>
                <c:pt idx="20609">
                  <c:v>32571</c:v>
                </c:pt>
                <c:pt idx="20610">
                  <c:v>28884</c:v>
                </c:pt>
                <c:pt idx="20611">
                  <c:v>23704</c:v>
                </c:pt>
                <c:pt idx="20612">
                  <c:v>36586</c:v>
                </c:pt>
                <c:pt idx="20613">
                  <c:v>43410</c:v>
                </c:pt>
                <c:pt idx="20614">
                  <c:v>48004</c:v>
                </c:pt>
                <c:pt idx="20615">
                  <c:v>167428</c:v>
                </c:pt>
                <c:pt idx="20616">
                  <c:v>55388</c:v>
                </c:pt>
                <c:pt idx="20617">
                  <c:v>25921</c:v>
                </c:pt>
                <c:pt idx="20618">
                  <c:v>26319</c:v>
                </c:pt>
                <c:pt idx="20619">
                  <c:v>176298</c:v>
                </c:pt>
                <c:pt idx="20620">
                  <c:v>43546</c:v>
                </c:pt>
                <c:pt idx="20621">
                  <c:v>60266</c:v>
                </c:pt>
                <c:pt idx="20622">
                  <c:v>34338</c:v>
                </c:pt>
                <c:pt idx="20623">
                  <c:v>23772</c:v>
                </c:pt>
                <c:pt idx="20624">
                  <c:v>21525</c:v>
                </c:pt>
                <c:pt idx="20625">
                  <c:v>59004</c:v>
                </c:pt>
                <c:pt idx="20626">
                  <c:v>37582</c:v>
                </c:pt>
                <c:pt idx="20627">
                  <c:v>89351</c:v>
                </c:pt>
                <c:pt idx="20628">
                  <c:v>41218</c:v>
                </c:pt>
                <c:pt idx="20629">
                  <c:v>26476</c:v>
                </c:pt>
                <c:pt idx="20630">
                  <c:v>37436</c:v>
                </c:pt>
                <c:pt idx="20631">
                  <c:v>39828</c:v>
                </c:pt>
                <c:pt idx="20632">
                  <c:v>71482</c:v>
                </c:pt>
                <c:pt idx="20633">
                  <c:v>24350</c:v>
                </c:pt>
                <c:pt idx="20634">
                  <c:v>41689</c:v>
                </c:pt>
                <c:pt idx="20635">
                  <c:v>28520</c:v>
                </c:pt>
                <c:pt idx="20636">
                  <c:v>45326</c:v>
                </c:pt>
                <c:pt idx="20637">
                  <c:v>27712</c:v>
                </c:pt>
                <c:pt idx="20638">
                  <c:v>64817</c:v>
                </c:pt>
                <c:pt idx="20639">
                  <c:v>32427</c:v>
                </c:pt>
                <c:pt idx="20640">
                  <c:v>41826</c:v>
                </c:pt>
                <c:pt idx="20641">
                  <c:v>60717</c:v>
                </c:pt>
                <c:pt idx="20642">
                  <c:v>36050</c:v>
                </c:pt>
                <c:pt idx="20643">
                  <c:v>207221</c:v>
                </c:pt>
                <c:pt idx="20644">
                  <c:v>78871</c:v>
                </c:pt>
                <c:pt idx="20645">
                  <c:v>36726</c:v>
                </c:pt>
                <c:pt idx="20646">
                  <c:v>82288</c:v>
                </c:pt>
                <c:pt idx="20647">
                  <c:v>33599</c:v>
                </c:pt>
                <c:pt idx="20648">
                  <c:v>197726</c:v>
                </c:pt>
                <c:pt idx="20649">
                  <c:v>37663</c:v>
                </c:pt>
                <c:pt idx="20650">
                  <c:v>41923</c:v>
                </c:pt>
                <c:pt idx="20651">
                  <c:v>172210</c:v>
                </c:pt>
                <c:pt idx="20652">
                  <c:v>53088</c:v>
                </c:pt>
                <c:pt idx="20653">
                  <c:v>37832</c:v>
                </c:pt>
                <c:pt idx="20654">
                  <c:v>36078</c:v>
                </c:pt>
                <c:pt idx="20655">
                  <c:v>77870</c:v>
                </c:pt>
                <c:pt idx="20656">
                  <c:v>87847</c:v>
                </c:pt>
                <c:pt idx="20657">
                  <c:v>23463</c:v>
                </c:pt>
                <c:pt idx="20658">
                  <c:v>55333</c:v>
                </c:pt>
                <c:pt idx="20659">
                  <c:v>31985</c:v>
                </c:pt>
                <c:pt idx="20660">
                  <c:v>63983</c:v>
                </c:pt>
                <c:pt idx="20661">
                  <c:v>29894</c:v>
                </c:pt>
                <c:pt idx="20662">
                  <c:v>49298</c:v>
                </c:pt>
                <c:pt idx="20663">
                  <c:v>60221</c:v>
                </c:pt>
                <c:pt idx="20664">
                  <c:v>76417</c:v>
                </c:pt>
                <c:pt idx="20665">
                  <c:v>46163</c:v>
                </c:pt>
                <c:pt idx="20666">
                  <c:v>34056</c:v>
                </c:pt>
                <c:pt idx="20667">
                  <c:v>23988</c:v>
                </c:pt>
                <c:pt idx="20668">
                  <c:v>210804</c:v>
                </c:pt>
                <c:pt idx="20669">
                  <c:v>29010</c:v>
                </c:pt>
                <c:pt idx="20670">
                  <c:v>25267</c:v>
                </c:pt>
                <c:pt idx="20671">
                  <c:v>30812</c:v>
                </c:pt>
                <c:pt idx="20672">
                  <c:v>35628</c:v>
                </c:pt>
                <c:pt idx="20673">
                  <c:v>55868</c:v>
                </c:pt>
                <c:pt idx="20674">
                  <c:v>73765</c:v>
                </c:pt>
                <c:pt idx="20675">
                  <c:v>57050</c:v>
                </c:pt>
                <c:pt idx="20676">
                  <c:v>31123</c:v>
                </c:pt>
                <c:pt idx="20677">
                  <c:v>42523</c:v>
                </c:pt>
                <c:pt idx="20678">
                  <c:v>45289</c:v>
                </c:pt>
                <c:pt idx="20679">
                  <c:v>53010</c:v>
                </c:pt>
                <c:pt idx="20680">
                  <c:v>49621</c:v>
                </c:pt>
                <c:pt idx="20681">
                  <c:v>76178</c:v>
                </c:pt>
                <c:pt idx="20682">
                  <c:v>128611</c:v>
                </c:pt>
                <c:pt idx="20683">
                  <c:v>41701</c:v>
                </c:pt>
                <c:pt idx="20684">
                  <c:v>153955</c:v>
                </c:pt>
                <c:pt idx="20685">
                  <c:v>82417</c:v>
                </c:pt>
                <c:pt idx="20686">
                  <c:v>37516</c:v>
                </c:pt>
                <c:pt idx="20687">
                  <c:v>38509</c:v>
                </c:pt>
                <c:pt idx="20688">
                  <c:v>64018</c:v>
                </c:pt>
                <c:pt idx="20689">
                  <c:v>68250</c:v>
                </c:pt>
                <c:pt idx="20690">
                  <c:v>44897</c:v>
                </c:pt>
                <c:pt idx="20691">
                  <c:v>47102</c:v>
                </c:pt>
                <c:pt idx="20692">
                  <c:v>30263</c:v>
                </c:pt>
                <c:pt idx="20693">
                  <c:v>48457</c:v>
                </c:pt>
                <c:pt idx="20694">
                  <c:v>43816</c:v>
                </c:pt>
                <c:pt idx="20695">
                  <c:v>37446</c:v>
                </c:pt>
                <c:pt idx="20696">
                  <c:v>153182</c:v>
                </c:pt>
                <c:pt idx="20697">
                  <c:v>43443</c:v>
                </c:pt>
                <c:pt idx="20698">
                  <c:v>34865</c:v>
                </c:pt>
                <c:pt idx="20699">
                  <c:v>185393</c:v>
                </c:pt>
                <c:pt idx="20700">
                  <c:v>140764</c:v>
                </c:pt>
                <c:pt idx="20701">
                  <c:v>36337</c:v>
                </c:pt>
                <c:pt idx="20702">
                  <c:v>37700</c:v>
                </c:pt>
                <c:pt idx="20703">
                  <c:v>43429</c:v>
                </c:pt>
                <c:pt idx="20704">
                  <c:v>63861</c:v>
                </c:pt>
                <c:pt idx="20705">
                  <c:v>36595</c:v>
                </c:pt>
                <c:pt idx="20706">
                  <c:v>42163</c:v>
                </c:pt>
                <c:pt idx="20707">
                  <c:v>32058</c:v>
                </c:pt>
                <c:pt idx="20708">
                  <c:v>23073</c:v>
                </c:pt>
                <c:pt idx="20709">
                  <c:v>70934</c:v>
                </c:pt>
                <c:pt idx="20710">
                  <c:v>23293</c:v>
                </c:pt>
                <c:pt idx="20711">
                  <c:v>20939</c:v>
                </c:pt>
                <c:pt idx="20712">
                  <c:v>263637</c:v>
                </c:pt>
                <c:pt idx="20713">
                  <c:v>71721</c:v>
                </c:pt>
                <c:pt idx="20714">
                  <c:v>34268</c:v>
                </c:pt>
                <c:pt idx="20715">
                  <c:v>42696</c:v>
                </c:pt>
                <c:pt idx="20716">
                  <c:v>175912</c:v>
                </c:pt>
                <c:pt idx="20717">
                  <c:v>23499</c:v>
                </c:pt>
                <c:pt idx="20718">
                  <c:v>27889</c:v>
                </c:pt>
                <c:pt idx="20719">
                  <c:v>45152</c:v>
                </c:pt>
                <c:pt idx="20720">
                  <c:v>50943</c:v>
                </c:pt>
                <c:pt idx="20721">
                  <c:v>29953</c:v>
                </c:pt>
                <c:pt idx="20722">
                  <c:v>82279</c:v>
                </c:pt>
                <c:pt idx="20723">
                  <c:v>110858</c:v>
                </c:pt>
                <c:pt idx="20724">
                  <c:v>37595</c:v>
                </c:pt>
                <c:pt idx="20725">
                  <c:v>66790</c:v>
                </c:pt>
                <c:pt idx="20726">
                  <c:v>31216</c:v>
                </c:pt>
                <c:pt idx="20727">
                  <c:v>36659</c:v>
                </c:pt>
                <c:pt idx="20728">
                  <c:v>32945</c:v>
                </c:pt>
                <c:pt idx="20729">
                  <c:v>27457</c:v>
                </c:pt>
                <c:pt idx="20730">
                  <c:v>38565</c:v>
                </c:pt>
                <c:pt idx="20731">
                  <c:v>27631</c:v>
                </c:pt>
                <c:pt idx="20732">
                  <c:v>128520</c:v>
                </c:pt>
                <c:pt idx="20733">
                  <c:v>42591</c:v>
                </c:pt>
                <c:pt idx="20734">
                  <c:v>38497</c:v>
                </c:pt>
                <c:pt idx="20735">
                  <c:v>119462</c:v>
                </c:pt>
                <c:pt idx="20736">
                  <c:v>25609</c:v>
                </c:pt>
                <c:pt idx="20737">
                  <c:v>120959</c:v>
                </c:pt>
                <c:pt idx="20738">
                  <c:v>41253</c:v>
                </c:pt>
                <c:pt idx="20739">
                  <c:v>26910</c:v>
                </c:pt>
                <c:pt idx="20740">
                  <c:v>32349</c:v>
                </c:pt>
                <c:pt idx="20741">
                  <c:v>29325</c:v>
                </c:pt>
                <c:pt idx="20742">
                  <c:v>49304</c:v>
                </c:pt>
                <c:pt idx="20743">
                  <c:v>50090</c:v>
                </c:pt>
                <c:pt idx="20744">
                  <c:v>66879</c:v>
                </c:pt>
                <c:pt idx="20745">
                  <c:v>49708</c:v>
                </c:pt>
                <c:pt idx="20746">
                  <c:v>29774</c:v>
                </c:pt>
                <c:pt idx="20747">
                  <c:v>44974</c:v>
                </c:pt>
                <c:pt idx="20748">
                  <c:v>36860</c:v>
                </c:pt>
                <c:pt idx="20749">
                  <c:v>29814</c:v>
                </c:pt>
                <c:pt idx="20750">
                  <c:v>23146</c:v>
                </c:pt>
                <c:pt idx="20751">
                  <c:v>25986</c:v>
                </c:pt>
                <c:pt idx="20752">
                  <c:v>23716</c:v>
                </c:pt>
                <c:pt idx="20753">
                  <c:v>49104</c:v>
                </c:pt>
                <c:pt idx="20754">
                  <c:v>152390</c:v>
                </c:pt>
                <c:pt idx="20755">
                  <c:v>38190</c:v>
                </c:pt>
                <c:pt idx="20756">
                  <c:v>62224</c:v>
                </c:pt>
                <c:pt idx="20757">
                  <c:v>37152</c:v>
                </c:pt>
                <c:pt idx="20758">
                  <c:v>24972</c:v>
                </c:pt>
                <c:pt idx="20759">
                  <c:v>40185</c:v>
                </c:pt>
                <c:pt idx="20760">
                  <c:v>40990</c:v>
                </c:pt>
                <c:pt idx="20761">
                  <c:v>36811</c:v>
                </c:pt>
                <c:pt idx="20762">
                  <c:v>32047</c:v>
                </c:pt>
                <c:pt idx="20763">
                  <c:v>41312</c:v>
                </c:pt>
                <c:pt idx="20764">
                  <c:v>25849</c:v>
                </c:pt>
                <c:pt idx="20765">
                  <c:v>389000</c:v>
                </c:pt>
                <c:pt idx="20766">
                  <c:v>31415</c:v>
                </c:pt>
                <c:pt idx="20767">
                  <c:v>43260</c:v>
                </c:pt>
                <c:pt idx="20768">
                  <c:v>29380</c:v>
                </c:pt>
                <c:pt idx="20769">
                  <c:v>34367</c:v>
                </c:pt>
                <c:pt idx="20770">
                  <c:v>142775</c:v>
                </c:pt>
                <c:pt idx="20771">
                  <c:v>40720</c:v>
                </c:pt>
                <c:pt idx="20772">
                  <c:v>133411</c:v>
                </c:pt>
                <c:pt idx="20773">
                  <c:v>38745</c:v>
                </c:pt>
                <c:pt idx="20774">
                  <c:v>42228</c:v>
                </c:pt>
                <c:pt idx="20775">
                  <c:v>209040</c:v>
                </c:pt>
                <c:pt idx="20776">
                  <c:v>52275</c:v>
                </c:pt>
                <c:pt idx="20777">
                  <c:v>45342</c:v>
                </c:pt>
                <c:pt idx="20778">
                  <c:v>24870</c:v>
                </c:pt>
                <c:pt idx="20779">
                  <c:v>65801</c:v>
                </c:pt>
                <c:pt idx="20780">
                  <c:v>64682</c:v>
                </c:pt>
                <c:pt idx="20781">
                  <c:v>41362</c:v>
                </c:pt>
                <c:pt idx="20782">
                  <c:v>37393</c:v>
                </c:pt>
                <c:pt idx="20783">
                  <c:v>53504</c:v>
                </c:pt>
                <c:pt idx="20784">
                  <c:v>72252</c:v>
                </c:pt>
                <c:pt idx="20785">
                  <c:v>51047</c:v>
                </c:pt>
                <c:pt idx="20786">
                  <c:v>47202</c:v>
                </c:pt>
                <c:pt idx="20787">
                  <c:v>50734</c:v>
                </c:pt>
                <c:pt idx="20788">
                  <c:v>35005</c:v>
                </c:pt>
                <c:pt idx="20789">
                  <c:v>72241</c:v>
                </c:pt>
                <c:pt idx="20790">
                  <c:v>47264</c:v>
                </c:pt>
                <c:pt idx="20791">
                  <c:v>38076</c:v>
                </c:pt>
                <c:pt idx="20792">
                  <c:v>134846</c:v>
                </c:pt>
                <c:pt idx="20793">
                  <c:v>50505</c:v>
                </c:pt>
                <c:pt idx="20794">
                  <c:v>56248</c:v>
                </c:pt>
                <c:pt idx="20795">
                  <c:v>24279</c:v>
                </c:pt>
                <c:pt idx="20796">
                  <c:v>33914</c:v>
                </c:pt>
                <c:pt idx="20797">
                  <c:v>43644</c:v>
                </c:pt>
                <c:pt idx="20798">
                  <c:v>52609</c:v>
                </c:pt>
                <c:pt idx="20799">
                  <c:v>56282</c:v>
                </c:pt>
                <c:pt idx="20800">
                  <c:v>40730</c:v>
                </c:pt>
                <c:pt idx="20801">
                  <c:v>45143</c:v>
                </c:pt>
                <c:pt idx="20802">
                  <c:v>29203</c:v>
                </c:pt>
                <c:pt idx="20803">
                  <c:v>43953</c:v>
                </c:pt>
                <c:pt idx="20804">
                  <c:v>40757</c:v>
                </c:pt>
                <c:pt idx="20805">
                  <c:v>188658</c:v>
                </c:pt>
                <c:pt idx="20806">
                  <c:v>37808</c:v>
                </c:pt>
                <c:pt idx="20807">
                  <c:v>28246</c:v>
                </c:pt>
                <c:pt idx="20808">
                  <c:v>46445</c:v>
                </c:pt>
                <c:pt idx="20809">
                  <c:v>51181</c:v>
                </c:pt>
                <c:pt idx="20810">
                  <c:v>35528</c:v>
                </c:pt>
                <c:pt idx="20811">
                  <c:v>143416</c:v>
                </c:pt>
                <c:pt idx="20812">
                  <c:v>283563</c:v>
                </c:pt>
                <c:pt idx="20813">
                  <c:v>103009</c:v>
                </c:pt>
                <c:pt idx="20814">
                  <c:v>45130</c:v>
                </c:pt>
                <c:pt idx="20815">
                  <c:v>49648</c:v>
                </c:pt>
                <c:pt idx="20816">
                  <c:v>104741</c:v>
                </c:pt>
                <c:pt idx="20817">
                  <c:v>171873</c:v>
                </c:pt>
                <c:pt idx="20818">
                  <c:v>26458</c:v>
                </c:pt>
                <c:pt idx="20819">
                  <c:v>26296</c:v>
                </c:pt>
                <c:pt idx="20820">
                  <c:v>138333</c:v>
                </c:pt>
                <c:pt idx="20821">
                  <c:v>35342</c:v>
                </c:pt>
                <c:pt idx="20822">
                  <c:v>101701</c:v>
                </c:pt>
                <c:pt idx="20823">
                  <c:v>44032</c:v>
                </c:pt>
                <c:pt idx="20824">
                  <c:v>43246</c:v>
                </c:pt>
                <c:pt idx="20825">
                  <c:v>25531</c:v>
                </c:pt>
                <c:pt idx="20826">
                  <c:v>24188</c:v>
                </c:pt>
                <c:pt idx="20827">
                  <c:v>114751</c:v>
                </c:pt>
                <c:pt idx="20828">
                  <c:v>38739</c:v>
                </c:pt>
                <c:pt idx="20829">
                  <c:v>61082</c:v>
                </c:pt>
                <c:pt idx="20830">
                  <c:v>33109</c:v>
                </c:pt>
                <c:pt idx="20831">
                  <c:v>26211</c:v>
                </c:pt>
                <c:pt idx="20832">
                  <c:v>30886</c:v>
                </c:pt>
                <c:pt idx="20833">
                  <c:v>97579</c:v>
                </c:pt>
                <c:pt idx="20834">
                  <c:v>37900</c:v>
                </c:pt>
                <c:pt idx="20835">
                  <c:v>40834</c:v>
                </c:pt>
                <c:pt idx="20836">
                  <c:v>15000</c:v>
                </c:pt>
                <c:pt idx="20837">
                  <c:v>141256</c:v>
                </c:pt>
                <c:pt idx="20838">
                  <c:v>57947</c:v>
                </c:pt>
                <c:pt idx="20839">
                  <c:v>82709</c:v>
                </c:pt>
                <c:pt idx="20840">
                  <c:v>103732</c:v>
                </c:pt>
                <c:pt idx="20841">
                  <c:v>134427</c:v>
                </c:pt>
                <c:pt idx="20842">
                  <c:v>131633</c:v>
                </c:pt>
                <c:pt idx="20843">
                  <c:v>23500</c:v>
                </c:pt>
                <c:pt idx="20844">
                  <c:v>45862</c:v>
                </c:pt>
                <c:pt idx="20845">
                  <c:v>58043</c:v>
                </c:pt>
                <c:pt idx="20846">
                  <c:v>46407</c:v>
                </c:pt>
                <c:pt idx="20847">
                  <c:v>30772</c:v>
                </c:pt>
                <c:pt idx="20848">
                  <c:v>91209</c:v>
                </c:pt>
                <c:pt idx="20849">
                  <c:v>30436</c:v>
                </c:pt>
                <c:pt idx="20850">
                  <c:v>144939</c:v>
                </c:pt>
                <c:pt idx="20851">
                  <c:v>42675</c:v>
                </c:pt>
                <c:pt idx="20852">
                  <c:v>42215</c:v>
                </c:pt>
                <c:pt idx="20853">
                  <c:v>51001</c:v>
                </c:pt>
                <c:pt idx="20854">
                  <c:v>66484</c:v>
                </c:pt>
                <c:pt idx="20855">
                  <c:v>28866</c:v>
                </c:pt>
                <c:pt idx="20856">
                  <c:v>43234</c:v>
                </c:pt>
                <c:pt idx="20857">
                  <c:v>34636</c:v>
                </c:pt>
                <c:pt idx="20858">
                  <c:v>45944</c:v>
                </c:pt>
                <c:pt idx="20859">
                  <c:v>34591</c:v>
                </c:pt>
                <c:pt idx="20860">
                  <c:v>25271</c:v>
                </c:pt>
                <c:pt idx="20861">
                  <c:v>55111</c:v>
                </c:pt>
                <c:pt idx="20862">
                  <c:v>64397</c:v>
                </c:pt>
                <c:pt idx="20863">
                  <c:v>34239</c:v>
                </c:pt>
                <c:pt idx="20864">
                  <c:v>27564</c:v>
                </c:pt>
                <c:pt idx="20865">
                  <c:v>28170</c:v>
                </c:pt>
                <c:pt idx="20866">
                  <c:v>60689</c:v>
                </c:pt>
                <c:pt idx="20867">
                  <c:v>29629</c:v>
                </c:pt>
                <c:pt idx="20868">
                  <c:v>94268</c:v>
                </c:pt>
                <c:pt idx="20869">
                  <c:v>26410</c:v>
                </c:pt>
                <c:pt idx="20870">
                  <c:v>52244</c:v>
                </c:pt>
                <c:pt idx="20871">
                  <c:v>48573</c:v>
                </c:pt>
                <c:pt idx="20872">
                  <c:v>155200</c:v>
                </c:pt>
                <c:pt idx="20873">
                  <c:v>24802</c:v>
                </c:pt>
                <c:pt idx="20874">
                  <c:v>181080</c:v>
                </c:pt>
                <c:pt idx="20875">
                  <c:v>39564</c:v>
                </c:pt>
                <c:pt idx="20876">
                  <c:v>34104</c:v>
                </c:pt>
                <c:pt idx="20877">
                  <c:v>36792</c:v>
                </c:pt>
                <c:pt idx="20878">
                  <c:v>105458</c:v>
                </c:pt>
                <c:pt idx="20879">
                  <c:v>119858</c:v>
                </c:pt>
                <c:pt idx="20880">
                  <c:v>43914</c:v>
                </c:pt>
                <c:pt idx="20881">
                  <c:v>60884</c:v>
                </c:pt>
                <c:pt idx="20882">
                  <c:v>32431</c:v>
                </c:pt>
                <c:pt idx="20883">
                  <c:v>48734</c:v>
                </c:pt>
                <c:pt idx="20884">
                  <c:v>143832</c:v>
                </c:pt>
                <c:pt idx="20885">
                  <c:v>42082</c:v>
                </c:pt>
                <c:pt idx="20886">
                  <c:v>108873</c:v>
                </c:pt>
                <c:pt idx="20887">
                  <c:v>379561</c:v>
                </c:pt>
                <c:pt idx="20888">
                  <c:v>40364</c:v>
                </c:pt>
                <c:pt idx="20889">
                  <c:v>40550</c:v>
                </c:pt>
                <c:pt idx="20890">
                  <c:v>37114</c:v>
                </c:pt>
                <c:pt idx="20891">
                  <c:v>49976</c:v>
                </c:pt>
                <c:pt idx="20892">
                  <c:v>45728</c:v>
                </c:pt>
                <c:pt idx="20893">
                  <c:v>54138</c:v>
                </c:pt>
                <c:pt idx="20894">
                  <c:v>42084</c:v>
                </c:pt>
                <c:pt idx="20895">
                  <c:v>41341</c:v>
                </c:pt>
                <c:pt idx="20896">
                  <c:v>39126</c:v>
                </c:pt>
                <c:pt idx="20897">
                  <c:v>281352</c:v>
                </c:pt>
                <c:pt idx="20898">
                  <c:v>30889</c:v>
                </c:pt>
                <c:pt idx="20899">
                  <c:v>41633</c:v>
                </c:pt>
                <c:pt idx="20900">
                  <c:v>38393</c:v>
                </c:pt>
                <c:pt idx="20901">
                  <c:v>160558</c:v>
                </c:pt>
                <c:pt idx="20902">
                  <c:v>66017</c:v>
                </c:pt>
                <c:pt idx="20903">
                  <c:v>142669</c:v>
                </c:pt>
                <c:pt idx="20904">
                  <c:v>59638</c:v>
                </c:pt>
                <c:pt idx="20905">
                  <c:v>54601</c:v>
                </c:pt>
                <c:pt idx="20906">
                  <c:v>135718</c:v>
                </c:pt>
                <c:pt idx="20907">
                  <c:v>37786</c:v>
                </c:pt>
                <c:pt idx="20908">
                  <c:v>44201</c:v>
                </c:pt>
                <c:pt idx="20909">
                  <c:v>86584</c:v>
                </c:pt>
                <c:pt idx="20910">
                  <c:v>58852</c:v>
                </c:pt>
                <c:pt idx="20911">
                  <c:v>43874</c:v>
                </c:pt>
                <c:pt idx="20912">
                  <c:v>127438</c:v>
                </c:pt>
                <c:pt idx="20913">
                  <c:v>51351</c:v>
                </c:pt>
                <c:pt idx="20914">
                  <c:v>61296</c:v>
                </c:pt>
                <c:pt idx="20915">
                  <c:v>47057</c:v>
                </c:pt>
                <c:pt idx="20916">
                  <c:v>34350</c:v>
                </c:pt>
                <c:pt idx="20917">
                  <c:v>242478</c:v>
                </c:pt>
                <c:pt idx="20918">
                  <c:v>41439</c:v>
                </c:pt>
                <c:pt idx="20919">
                  <c:v>35766</c:v>
                </c:pt>
                <c:pt idx="20920">
                  <c:v>42092</c:v>
                </c:pt>
                <c:pt idx="20921">
                  <c:v>28068</c:v>
                </c:pt>
                <c:pt idx="20922">
                  <c:v>36397</c:v>
                </c:pt>
                <c:pt idx="20923">
                  <c:v>144825</c:v>
                </c:pt>
                <c:pt idx="20924">
                  <c:v>30524</c:v>
                </c:pt>
                <c:pt idx="20925">
                  <c:v>50554</c:v>
                </c:pt>
                <c:pt idx="20926">
                  <c:v>47542</c:v>
                </c:pt>
                <c:pt idx="20927">
                  <c:v>38522</c:v>
                </c:pt>
                <c:pt idx="20928">
                  <c:v>36954</c:v>
                </c:pt>
                <c:pt idx="20929">
                  <c:v>102146</c:v>
                </c:pt>
                <c:pt idx="20930">
                  <c:v>26694</c:v>
                </c:pt>
                <c:pt idx="20931">
                  <c:v>31841</c:v>
                </c:pt>
                <c:pt idx="20932">
                  <c:v>77134</c:v>
                </c:pt>
                <c:pt idx="20933">
                  <c:v>114723</c:v>
                </c:pt>
                <c:pt idx="20934">
                  <c:v>59765</c:v>
                </c:pt>
                <c:pt idx="20935">
                  <c:v>65703</c:v>
                </c:pt>
                <c:pt idx="20936">
                  <c:v>22985</c:v>
                </c:pt>
                <c:pt idx="20937">
                  <c:v>25976</c:v>
                </c:pt>
                <c:pt idx="20938">
                  <c:v>32325</c:v>
                </c:pt>
                <c:pt idx="20939">
                  <c:v>34700</c:v>
                </c:pt>
                <c:pt idx="20940">
                  <c:v>38084</c:v>
                </c:pt>
                <c:pt idx="20941">
                  <c:v>27809</c:v>
                </c:pt>
                <c:pt idx="20942">
                  <c:v>67859</c:v>
                </c:pt>
                <c:pt idx="20943">
                  <c:v>134978</c:v>
                </c:pt>
                <c:pt idx="20944">
                  <c:v>35048</c:v>
                </c:pt>
                <c:pt idx="20945">
                  <c:v>34690</c:v>
                </c:pt>
                <c:pt idx="20946">
                  <c:v>44927</c:v>
                </c:pt>
                <c:pt idx="20947">
                  <c:v>35147</c:v>
                </c:pt>
                <c:pt idx="20948">
                  <c:v>45358</c:v>
                </c:pt>
                <c:pt idx="20949">
                  <c:v>36381</c:v>
                </c:pt>
                <c:pt idx="20950">
                  <c:v>27957</c:v>
                </c:pt>
                <c:pt idx="20951">
                  <c:v>282918</c:v>
                </c:pt>
                <c:pt idx="20952">
                  <c:v>29401</c:v>
                </c:pt>
                <c:pt idx="20953">
                  <c:v>244805</c:v>
                </c:pt>
                <c:pt idx="20954">
                  <c:v>23690</c:v>
                </c:pt>
                <c:pt idx="20955">
                  <c:v>48789</c:v>
                </c:pt>
                <c:pt idx="20956">
                  <c:v>45251</c:v>
                </c:pt>
                <c:pt idx="20957">
                  <c:v>82406</c:v>
                </c:pt>
                <c:pt idx="20958">
                  <c:v>34520</c:v>
                </c:pt>
                <c:pt idx="20959">
                  <c:v>31352</c:v>
                </c:pt>
                <c:pt idx="20960">
                  <c:v>37157</c:v>
                </c:pt>
                <c:pt idx="20961">
                  <c:v>30949</c:v>
                </c:pt>
                <c:pt idx="20962">
                  <c:v>33469</c:v>
                </c:pt>
                <c:pt idx="20963">
                  <c:v>46332</c:v>
                </c:pt>
                <c:pt idx="20964">
                  <c:v>27967</c:v>
                </c:pt>
                <c:pt idx="20965">
                  <c:v>43591</c:v>
                </c:pt>
                <c:pt idx="20966">
                  <c:v>58938</c:v>
                </c:pt>
                <c:pt idx="20967">
                  <c:v>84473</c:v>
                </c:pt>
                <c:pt idx="20968">
                  <c:v>69450</c:v>
                </c:pt>
                <c:pt idx="20969">
                  <c:v>40802</c:v>
                </c:pt>
                <c:pt idx="20970">
                  <c:v>29759</c:v>
                </c:pt>
                <c:pt idx="20971">
                  <c:v>44911</c:v>
                </c:pt>
                <c:pt idx="20972">
                  <c:v>114150</c:v>
                </c:pt>
                <c:pt idx="20973">
                  <c:v>150183</c:v>
                </c:pt>
                <c:pt idx="20974">
                  <c:v>27952</c:v>
                </c:pt>
                <c:pt idx="20975">
                  <c:v>36558</c:v>
                </c:pt>
                <c:pt idx="20976">
                  <c:v>37196</c:v>
                </c:pt>
                <c:pt idx="20977">
                  <c:v>35589</c:v>
                </c:pt>
                <c:pt idx="20978">
                  <c:v>21580</c:v>
                </c:pt>
                <c:pt idx="20979">
                  <c:v>26915</c:v>
                </c:pt>
                <c:pt idx="20980">
                  <c:v>56938</c:v>
                </c:pt>
                <c:pt idx="20981">
                  <c:v>103129</c:v>
                </c:pt>
                <c:pt idx="20982">
                  <c:v>46190</c:v>
                </c:pt>
                <c:pt idx="20983">
                  <c:v>36619</c:v>
                </c:pt>
                <c:pt idx="20984">
                  <c:v>30059</c:v>
                </c:pt>
                <c:pt idx="20985">
                  <c:v>38036</c:v>
                </c:pt>
                <c:pt idx="20986">
                  <c:v>66661</c:v>
                </c:pt>
                <c:pt idx="20987">
                  <c:v>31381</c:v>
                </c:pt>
                <c:pt idx="20988">
                  <c:v>70802</c:v>
                </c:pt>
                <c:pt idx="20989">
                  <c:v>104358</c:v>
                </c:pt>
                <c:pt idx="20990">
                  <c:v>35441</c:v>
                </c:pt>
                <c:pt idx="20991">
                  <c:v>40336</c:v>
                </c:pt>
                <c:pt idx="20992">
                  <c:v>26749</c:v>
                </c:pt>
                <c:pt idx="20993">
                  <c:v>70027</c:v>
                </c:pt>
                <c:pt idx="20994">
                  <c:v>36859</c:v>
                </c:pt>
                <c:pt idx="20995">
                  <c:v>137382</c:v>
                </c:pt>
                <c:pt idx="20996">
                  <c:v>78035</c:v>
                </c:pt>
                <c:pt idx="20997">
                  <c:v>26521</c:v>
                </c:pt>
                <c:pt idx="20998">
                  <c:v>61849</c:v>
                </c:pt>
                <c:pt idx="20999">
                  <c:v>44049</c:v>
                </c:pt>
                <c:pt idx="21000">
                  <c:v>39372</c:v>
                </c:pt>
                <c:pt idx="21001">
                  <c:v>35085</c:v>
                </c:pt>
                <c:pt idx="21002">
                  <c:v>90655</c:v>
                </c:pt>
                <c:pt idx="21003">
                  <c:v>27435</c:v>
                </c:pt>
                <c:pt idx="21004">
                  <c:v>36838</c:v>
                </c:pt>
                <c:pt idx="21005">
                  <c:v>43530</c:v>
                </c:pt>
                <c:pt idx="21006">
                  <c:v>42650</c:v>
                </c:pt>
                <c:pt idx="21007">
                  <c:v>123861</c:v>
                </c:pt>
                <c:pt idx="21008">
                  <c:v>32961</c:v>
                </c:pt>
                <c:pt idx="21009">
                  <c:v>96930</c:v>
                </c:pt>
                <c:pt idx="21010">
                  <c:v>63136</c:v>
                </c:pt>
                <c:pt idx="21011">
                  <c:v>46279</c:v>
                </c:pt>
                <c:pt idx="21012">
                  <c:v>83374</c:v>
                </c:pt>
                <c:pt idx="21013">
                  <c:v>30711</c:v>
                </c:pt>
                <c:pt idx="21014">
                  <c:v>46560</c:v>
                </c:pt>
                <c:pt idx="21015">
                  <c:v>124123</c:v>
                </c:pt>
                <c:pt idx="21016">
                  <c:v>46558</c:v>
                </c:pt>
                <c:pt idx="21017">
                  <c:v>42261</c:v>
                </c:pt>
                <c:pt idx="21018">
                  <c:v>39567</c:v>
                </c:pt>
                <c:pt idx="21019">
                  <c:v>47385</c:v>
                </c:pt>
                <c:pt idx="21020">
                  <c:v>72935</c:v>
                </c:pt>
                <c:pt idx="21021">
                  <c:v>31445</c:v>
                </c:pt>
                <c:pt idx="21022">
                  <c:v>42875</c:v>
                </c:pt>
                <c:pt idx="21023">
                  <c:v>116159</c:v>
                </c:pt>
                <c:pt idx="21024">
                  <c:v>27952</c:v>
                </c:pt>
                <c:pt idx="21025">
                  <c:v>26269</c:v>
                </c:pt>
                <c:pt idx="21026">
                  <c:v>34797</c:v>
                </c:pt>
                <c:pt idx="21027">
                  <c:v>35055</c:v>
                </c:pt>
                <c:pt idx="21028">
                  <c:v>31250</c:v>
                </c:pt>
                <c:pt idx="21029">
                  <c:v>30800</c:v>
                </c:pt>
                <c:pt idx="21030">
                  <c:v>50796</c:v>
                </c:pt>
                <c:pt idx="21031">
                  <c:v>43878</c:v>
                </c:pt>
                <c:pt idx="21032">
                  <c:v>24468</c:v>
                </c:pt>
                <c:pt idx="21033">
                  <c:v>28278</c:v>
                </c:pt>
                <c:pt idx="21034">
                  <c:v>24932</c:v>
                </c:pt>
                <c:pt idx="21035">
                  <c:v>29847</c:v>
                </c:pt>
                <c:pt idx="21036">
                  <c:v>39317</c:v>
                </c:pt>
                <c:pt idx="21037">
                  <c:v>38448</c:v>
                </c:pt>
                <c:pt idx="21038">
                  <c:v>136634</c:v>
                </c:pt>
                <c:pt idx="21039">
                  <c:v>52433</c:v>
                </c:pt>
                <c:pt idx="21040">
                  <c:v>24120</c:v>
                </c:pt>
                <c:pt idx="21041">
                  <c:v>41591</c:v>
                </c:pt>
                <c:pt idx="21042">
                  <c:v>67730</c:v>
                </c:pt>
                <c:pt idx="21043">
                  <c:v>49956</c:v>
                </c:pt>
                <c:pt idx="21044">
                  <c:v>343502</c:v>
                </c:pt>
                <c:pt idx="21045">
                  <c:v>34148</c:v>
                </c:pt>
                <c:pt idx="21046">
                  <c:v>32297</c:v>
                </c:pt>
                <c:pt idx="21047">
                  <c:v>26200</c:v>
                </c:pt>
                <c:pt idx="21048">
                  <c:v>76767</c:v>
                </c:pt>
                <c:pt idx="21049">
                  <c:v>27755</c:v>
                </c:pt>
                <c:pt idx="21050">
                  <c:v>37531</c:v>
                </c:pt>
                <c:pt idx="21051">
                  <c:v>53605</c:v>
                </c:pt>
                <c:pt idx="21052">
                  <c:v>60670</c:v>
                </c:pt>
                <c:pt idx="21053">
                  <c:v>33886</c:v>
                </c:pt>
                <c:pt idx="21054">
                  <c:v>18318</c:v>
                </c:pt>
                <c:pt idx="21055">
                  <c:v>45857</c:v>
                </c:pt>
                <c:pt idx="21056">
                  <c:v>200413</c:v>
                </c:pt>
                <c:pt idx="21057">
                  <c:v>32654</c:v>
                </c:pt>
                <c:pt idx="21058">
                  <c:v>22185</c:v>
                </c:pt>
                <c:pt idx="21059">
                  <c:v>42831</c:v>
                </c:pt>
                <c:pt idx="21060">
                  <c:v>60444</c:v>
                </c:pt>
                <c:pt idx="21061">
                  <c:v>30022</c:v>
                </c:pt>
                <c:pt idx="21062">
                  <c:v>25678</c:v>
                </c:pt>
                <c:pt idx="21063">
                  <c:v>38650</c:v>
                </c:pt>
                <c:pt idx="21064">
                  <c:v>64825</c:v>
                </c:pt>
                <c:pt idx="21065">
                  <c:v>37636</c:v>
                </c:pt>
                <c:pt idx="21066">
                  <c:v>44635</c:v>
                </c:pt>
                <c:pt idx="21067">
                  <c:v>45763</c:v>
                </c:pt>
                <c:pt idx="21068">
                  <c:v>56116</c:v>
                </c:pt>
                <c:pt idx="21069">
                  <c:v>67941</c:v>
                </c:pt>
                <c:pt idx="21070">
                  <c:v>29959</c:v>
                </c:pt>
                <c:pt idx="21071">
                  <c:v>87625</c:v>
                </c:pt>
                <c:pt idx="21072">
                  <c:v>73330</c:v>
                </c:pt>
                <c:pt idx="21073">
                  <c:v>45646</c:v>
                </c:pt>
                <c:pt idx="21074">
                  <c:v>137182</c:v>
                </c:pt>
                <c:pt idx="21075">
                  <c:v>25442</c:v>
                </c:pt>
                <c:pt idx="21076">
                  <c:v>27200</c:v>
                </c:pt>
                <c:pt idx="21077">
                  <c:v>43455</c:v>
                </c:pt>
                <c:pt idx="21078">
                  <c:v>35576</c:v>
                </c:pt>
                <c:pt idx="21079">
                  <c:v>32837</c:v>
                </c:pt>
                <c:pt idx="21080">
                  <c:v>30693</c:v>
                </c:pt>
                <c:pt idx="21081">
                  <c:v>85661</c:v>
                </c:pt>
                <c:pt idx="21082">
                  <c:v>115189</c:v>
                </c:pt>
                <c:pt idx="21083">
                  <c:v>49976</c:v>
                </c:pt>
                <c:pt idx="21084">
                  <c:v>50645</c:v>
                </c:pt>
                <c:pt idx="21085">
                  <c:v>26233</c:v>
                </c:pt>
                <c:pt idx="21086">
                  <c:v>123826</c:v>
                </c:pt>
                <c:pt idx="21087">
                  <c:v>28425</c:v>
                </c:pt>
                <c:pt idx="21088">
                  <c:v>40252</c:v>
                </c:pt>
                <c:pt idx="21089">
                  <c:v>38238</c:v>
                </c:pt>
                <c:pt idx="21090">
                  <c:v>34184</c:v>
                </c:pt>
                <c:pt idx="21091">
                  <c:v>23041</c:v>
                </c:pt>
                <c:pt idx="21092">
                  <c:v>25607</c:v>
                </c:pt>
                <c:pt idx="21093">
                  <c:v>97535</c:v>
                </c:pt>
                <c:pt idx="21094">
                  <c:v>40123</c:v>
                </c:pt>
                <c:pt idx="21095">
                  <c:v>45422</c:v>
                </c:pt>
                <c:pt idx="21096">
                  <c:v>31919</c:v>
                </c:pt>
                <c:pt idx="21097">
                  <c:v>26177</c:v>
                </c:pt>
                <c:pt idx="21098">
                  <c:v>54982</c:v>
                </c:pt>
                <c:pt idx="21099">
                  <c:v>161177</c:v>
                </c:pt>
                <c:pt idx="21100">
                  <c:v>25091</c:v>
                </c:pt>
                <c:pt idx="21101">
                  <c:v>53396</c:v>
                </c:pt>
                <c:pt idx="21102">
                  <c:v>49047</c:v>
                </c:pt>
                <c:pt idx="21103">
                  <c:v>58250</c:v>
                </c:pt>
                <c:pt idx="21104">
                  <c:v>428269</c:v>
                </c:pt>
                <c:pt idx="21105">
                  <c:v>28415</c:v>
                </c:pt>
                <c:pt idx="21106">
                  <c:v>27094</c:v>
                </c:pt>
                <c:pt idx="21107">
                  <c:v>29027</c:v>
                </c:pt>
                <c:pt idx="21108">
                  <c:v>288780</c:v>
                </c:pt>
                <c:pt idx="21109">
                  <c:v>34750</c:v>
                </c:pt>
                <c:pt idx="21110">
                  <c:v>61819</c:v>
                </c:pt>
                <c:pt idx="21111">
                  <c:v>38982</c:v>
                </c:pt>
                <c:pt idx="21112">
                  <c:v>59682</c:v>
                </c:pt>
                <c:pt idx="21113">
                  <c:v>32009</c:v>
                </c:pt>
                <c:pt idx="21114">
                  <c:v>182688</c:v>
                </c:pt>
                <c:pt idx="21115">
                  <c:v>25685</c:v>
                </c:pt>
                <c:pt idx="21116">
                  <c:v>28290</c:v>
                </c:pt>
                <c:pt idx="21117">
                  <c:v>66067</c:v>
                </c:pt>
                <c:pt idx="21118">
                  <c:v>36734</c:v>
                </c:pt>
                <c:pt idx="21119">
                  <c:v>46138</c:v>
                </c:pt>
                <c:pt idx="21120">
                  <c:v>24400</c:v>
                </c:pt>
                <c:pt idx="21121">
                  <c:v>46190</c:v>
                </c:pt>
                <c:pt idx="21122">
                  <c:v>63566</c:v>
                </c:pt>
                <c:pt idx="21123">
                  <c:v>133645</c:v>
                </c:pt>
                <c:pt idx="21124">
                  <c:v>29359</c:v>
                </c:pt>
                <c:pt idx="21125">
                  <c:v>37114</c:v>
                </c:pt>
                <c:pt idx="21126">
                  <c:v>79517</c:v>
                </c:pt>
                <c:pt idx="21127">
                  <c:v>74806</c:v>
                </c:pt>
                <c:pt idx="21128">
                  <c:v>24649</c:v>
                </c:pt>
                <c:pt idx="21129">
                  <c:v>50658</c:v>
                </c:pt>
                <c:pt idx="21130">
                  <c:v>28483</c:v>
                </c:pt>
                <c:pt idx="21131">
                  <c:v>40874</c:v>
                </c:pt>
                <c:pt idx="21132">
                  <c:v>50265</c:v>
                </c:pt>
                <c:pt idx="21133">
                  <c:v>34555</c:v>
                </c:pt>
                <c:pt idx="21134">
                  <c:v>54213</c:v>
                </c:pt>
                <c:pt idx="21135">
                  <c:v>38418</c:v>
                </c:pt>
                <c:pt idx="21136">
                  <c:v>35263</c:v>
                </c:pt>
                <c:pt idx="21137">
                  <c:v>26423</c:v>
                </c:pt>
                <c:pt idx="21138">
                  <c:v>33264</c:v>
                </c:pt>
                <c:pt idx="21139">
                  <c:v>26573</c:v>
                </c:pt>
                <c:pt idx="21140">
                  <c:v>24058</c:v>
                </c:pt>
                <c:pt idx="21141">
                  <c:v>43668</c:v>
                </c:pt>
                <c:pt idx="21142">
                  <c:v>23599</c:v>
                </c:pt>
                <c:pt idx="21143">
                  <c:v>26799</c:v>
                </c:pt>
                <c:pt idx="21144">
                  <c:v>38691</c:v>
                </c:pt>
                <c:pt idx="21145">
                  <c:v>33838</c:v>
                </c:pt>
                <c:pt idx="21146">
                  <c:v>45647</c:v>
                </c:pt>
                <c:pt idx="21147">
                  <c:v>84601</c:v>
                </c:pt>
                <c:pt idx="21148">
                  <c:v>25843</c:v>
                </c:pt>
                <c:pt idx="21149">
                  <c:v>94888</c:v>
                </c:pt>
                <c:pt idx="21150">
                  <c:v>170583</c:v>
                </c:pt>
                <c:pt idx="21151">
                  <c:v>25308</c:v>
                </c:pt>
                <c:pt idx="21152">
                  <c:v>223194</c:v>
                </c:pt>
                <c:pt idx="21153">
                  <c:v>63095</c:v>
                </c:pt>
                <c:pt idx="21154">
                  <c:v>39061</c:v>
                </c:pt>
                <c:pt idx="21155">
                  <c:v>38037</c:v>
                </c:pt>
                <c:pt idx="21156">
                  <c:v>43051</c:v>
                </c:pt>
                <c:pt idx="21157">
                  <c:v>25393</c:v>
                </c:pt>
                <c:pt idx="21158">
                  <c:v>43729</c:v>
                </c:pt>
                <c:pt idx="21159">
                  <c:v>24706</c:v>
                </c:pt>
                <c:pt idx="21160">
                  <c:v>18828</c:v>
                </c:pt>
                <c:pt idx="21161">
                  <c:v>50265</c:v>
                </c:pt>
                <c:pt idx="21162">
                  <c:v>81585</c:v>
                </c:pt>
                <c:pt idx="21163">
                  <c:v>26841</c:v>
                </c:pt>
                <c:pt idx="21164">
                  <c:v>51112</c:v>
                </c:pt>
                <c:pt idx="21165">
                  <c:v>182160</c:v>
                </c:pt>
                <c:pt idx="21166">
                  <c:v>24170</c:v>
                </c:pt>
                <c:pt idx="21167">
                  <c:v>35632</c:v>
                </c:pt>
                <c:pt idx="21168">
                  <c:v>46147</c:v>
                </c:pt>
                <c:pt idx="21169">
                  <c:v>242007</c:v>
                </c:pt>
                <c:pt idx="21170">
                  <c:v>51276</c:v>
                </c:pt>
                <c:pt idx="21171">
                  <c:v>387512</c:v>
                </c:pt>
                <c:pt idx="21172">
                  <c:v>32154</c:v>
                </c:pt>
                <c:pt idx="21173">
                  <c:v>50289</c:v>
                </c:pt>
                <c:pt idx="21174">
                  <c:v>75724</c:v>
                </c:pt>
                <c:pt idx="21175">
                  <c:v>53275</c:v>
                </c:pt>
                <c:pt idx="21176">
                  <c:v>28993</c:v>
                </c:pt>
                <c:pt idx="21177">
                  <c:v>27238</c:v>
                </c:pt>
                <c:pt idx="21178">
                  <c:v>40859</c:v>
                </c:pt>
                <c:pt idx="21179">
                  <c:v>28556</c:v>
                </c:pt>
                <c:pt idx="21180">
                  <c:v>89075</c:v>
                </c:pt>
                <c:pt idx="21181">
                  <c:v>34945</c:v>
                </c:pt>
                <c:pt idx="21182">
                  <c:v>36546</c:v>
                </c:pt>
                <c:pt idx="21183">
                  <c:v>23126</c:v>
                </c:pt>
                <c:pt idx="21184">
                  <c:v>36200</c:v>
                </c:pt>
                <c:pt idx="21185">
                  <c:v>29698</c:v>
                </c:pt>
                <c:pt idx="21186">
                  <c:v>26748</c:v>
                </c:pt>
                <c:pt idx="21187">
                  <c:v>177951</c:v>
                </c:pt>
                <c:pt idx="21188">
                  <c:v>54654</c:v>
                </c:pt>
                <c:pt idx="21189">
                  <c:v>38939</c:v>
                </c:pt>
                <c:pt idx="21190">
                  <c:v>38849</c:v>
                </c:pt>
                <c:pt idx="21191">
                  <c:v>45748</c:v>
                </c:pt>
                <c:pt idx="21192">
                  <c:v>33840</c:v>
                </c:pt>
                <c:pt idx="21193">
                  <c:v>33200</c:v>
                </c:pt>
                <c:pt idx="21194">
                  <c:v>63572</c:v>
                </c:pt>
                <c:pt idx="21195">
                  <c:v>31581</c:v>
                </c:pt>
                <c:pt idx="21196">
                  <c:v>25006</c:v>
                </c:pt>
                <c:pt idx="21197">
                  <c:v>48612</c:v>
                </c:pt>
                <c:pt idx="21198">
                  <c:v>66791</c:v>
                </c:pt>
                <c:pt idx="21199">
                  <c:v>34329</c:v>
                </c:pt>
                <c:pt idx="21200">
                  <c:v>28707</c:v>
                </c:pt>
                <c:pt idx="21201">
                  <c:v>46168</c:v>
                </c:pt>
                <c:pt idx="21202">
                  <c:v>73906</c:v>
                </c:pt>
                <c:pt idx="21203">
                  <c:v>40568</c:v>
                </c:pt>
                <c:pt idx="21204">
                  <c:v>48271</c:v>
                </c:pt>
                <c:pt idx="21205">
                  <c:v>24835</c:v>
                </c:pt>
                <c:pt idx="21206">
                  <c:v>30828</c:v>
                </c:pt>
                <c:pt idx="21207">
                  <c:v>80918</c:v>
                </c:pt>
                <c:pt idx="21208">
                  <c:v>37958</c:v>
                </c:pt>
                <c:pt idx="21209">
                  <c:v>333704</c:v>
                </c:pt>
                <c:pt idx="21210">
                  <c:v>38356</c:v>
                </c:pt>
                <c:pt idx="21211">
                  <c:v>91692</c:v>
                </c:pt>
                <c:pt idx="21212">
                  <c:v>38601</c:v>
                </c:pt>
                <c:pt idx="21213">
                  <c:v>23753</c:v>
                </c:pt>
                <c:pt idx="21214">
                  <c:v>38842</c:v>
                </c:pt>
                <c:pt idx="21215">
                  <c:v>117092</c:v>
                </c:pt>
                <c:pt idx="21216">
                  <c:v>53470</c:v>
                </c:pt>
                <c:pt idx="21217">
                  <c:v>442852</c:v>
                </c:pt>
                <c:pt idx="21218">
                  <c:v>23484</c:v>
                </c:pt>
                <c:pt idx="21219">
                  <c:v>35637</c:v>
                </c:pt>
                <c:pt idx="21220">
                  <c:v>51848</c:v>
                </c:pt>
                <c:pt idx="21221">
                  <c:v>151842</c:v>
                </c:pt>
                <c:pt idx="21222">
                  <c:v>29532</c:v>
                </c:pt>
                <c:pt idx="21223">
                  <c:v>25391</c:v>
                </c:pt>
                <c:pt idx="21224">
                  <c:v>42982</c:v>
                </c:pt>
                <c:pt idx="21225">
                  <c:v>53810</c:v>
                </c:pt>
                <c:pt idx="21226">
                  <c:v>225125</c:v>
                </c:pt>
                <c:pt idx="21227">
                  <c:v>51648</c:v>
                </c:pt>
                <c:pt idx="21228">
                  <c:v>31358</c:v>
                </c:pt>
                <c:pt idx="21229">
                  <c:v>94994</c:v>
                </c:pt>
                <c:pt idx="21230">
                  <c:v>59749</c:v>
                </c:pt>
                <c:pt idx="21231">
                  <c:v>86608</c:v>
                </c:pt>
                <c:pt idx="21232">
                  <c:v>81509</c:v>
                </c:pt>
                <c:pt idx="21233">
                  <c:v>23464</c:v>
                </c:pt>
                <c:pt idx="21234">
                  <c:v>32542</c:v>
                </c:pt>
                <c:pt idx="21235">
                  <c:v>28801</c:v>
                </c:pt>
                <c:pt idx="21236">
                  <c:v>28055</c:v>
                </c:pt>
                <c:pt idx="21237">
                  <c:v>21329</c:v>
                </c:pt>
                <c:pt idx="21238">
                  <c:v>189959</c:v>
                </c:pt>
                <c:pt idx="21239">
                  <c:v>46685</c:v>
                </c:pt>
                <c:pt idx="21240">
                  <c:v>36803</c:v>
                </c:pt>
                <c:pt idx="21241">
                  <c:v>79953</c:v>
                </c:pt>
                <c:pt idx="21242">
                  <c:v>47244</c:v>
                </c:pt>
                <c:pt idx="21243">
                  <c:v>271751</c:v>
                </c:pt>
                <c:pt idx="21244">
                  <c:v>86259</c:v>
                </c:pt>
                <c:pt idx="21245">
                  <c:v>139028</c:v>
                </c:pt>
                <c:pt idx="21246">
                  <c:v>17617</c:v>
                </c:pt>
                <c:pt idx="21247">
                  <c:v>89089</c:v>
                </c:pt>
                <c:pt idx="21248">
                  <c:v>55211</c:v>
                </c:pt>
                <c:pt idx="21249">
                  <c:v>56343</c:v>
                </c:pt>
                <c:pt idx="21250">
                  <c:v>51997</c:v>
                </c:pt>
                <c:pt idx="21251">
                  <c:v>113661</c:v>
                </c:pt>
                <c:pt idx="21252">
                  <c:v>68267</c:v>
                </c:pt>
                <c:pt idx="21253">
                  <c:v>43085</c:v>
                </c:pt>
                <c:pt idx="21254">
                  <c:v>39244</c:v>
                </c:pt>
                <c:pt idx="21255">
                  <c:v>48714</c:v>
                </c:pt>
                <c:pt idx="21256">
                  <c:v>82266</c:v>
                </c:pt>
                <c:pt idx="21257">
                  <c:v>46442</c:v>
                </c:pt>
                <c:pt idx="21258">
                  <c:v>31031</c:v>
                </c:pt>
                <c:pt idx="21259">
                  <c:v>54529</c:v>
                </c:pt>
                <c:pt idx="21260">
                  <c:v>189142</c:v>
                </c:pt>
                <c:pt idx="21261">
                  <c:v>31842</c:v>
                </c:pt>
                <c:pt idx="21262">
                  <c:v>39404</c:v>
                </c:pt>
                <c:pt idx="21263">
                  <c:v>83894</c:v>
                </c:pt>
                <c:pt idx="21264">
                  <c:v>43232</c:v>
                </c:pt>
                <c:pt idx="21265">
                  <c:v>31318</c:v>
                </c:pt>
                <c:pt idx="21266">
                  <c:v>92669</c:v>
                </c:pt>
                <c:pt idx="21267">
                  <c:v>47975</c:v>
                </c:pt>
                <c:pt idx="21268">
                  <c:v>44910</c:v>
                </c:pt>
                <c:pt idx="21269">
                  <c:v>21109</c:v>
                </c:pt>
                <c:pt idx="21270">
                  <c:v>47984</c:v>
                </c:pt>
                <c:pt idx="21271">
                  <c:v>40706</c:v>
                </c:pt>
                <c:pt idx="21272">
                  <c:v>48830</c:v>
                </c:pt>
                <c:pt idx="21273">
                  <c:v>24316</c:v>
                </c:pt>
                <c:pt idx="21274">
                  <c:v>40868</c:v>
                </c:pt>
                <c:pt idx="21275">
                  <c:v>31214</c:v>
                </c:pt>
                <c:pt idx="21276">
                  <c:v>85270</c:v>
                </c:pt>
                <c:pt idx="21277">
                  <c:v>339389</c:v>
                </c:pt>
                <c:pt idx="21278">
                  <c:v>23140</c:v>
                </c:pt>
                <c:pt idx="21279">
                  <c:v>120659</c:v>
                </c:pt>
                <c:pt idx="21280">
                  <c:v>34546</c:v>
                </c:pt>
                <c:pt idx="21281">
                  <c:v>36534</c:v>
                </c:pt>
                <c:pt idx="21282">
                  <c:v>29274</c:v>
                </c:pt>
                <c:pt idx="21283">
                  <c:v>28159</c:v>
                </c:pt>
                <c:pt idx="21284">
                  <c:v>47566</c:v>
                </c:pt>
                <c:pt idx="21285">
                  <c:v>19140</c:v>
                </c:pt>
                <c:pt idx="21286">
                  <c:v>23502</c:v>
                </c:pt>
                <c:pt idx="21287">
                  <c:v>62977</c:v>
                </c:pt>
                <c:pt idx="21288">
                  <c:v>49327</c:v>
                </c:pt>
                <c:pt idx="21289">
                  <c:v>36590</c:v>
                </c:pt>
                <c:pt idx="21290">
                  <c:v>24395</c:v>
                </c:pt>
                <c:pt idx="21291">
                  <c:v>107557</c:v>
                </c:pt>
                <c:pt idx="21292">
                  <c:v>119604</c:v>
                </c:pt>
                <c:pt idx="21293">
                  <c:v>74228</c:v>
                </c:pt>
                <c:pt idx="21294">
                  <c:v>38410</c:v>
                </c:pt>
                <c:pt idx="21295">
                  <c:v>72892</c:v>
                </c:pt>
                <c:pt idx="21296">
                  <c:v>38885</c:v>
                </c:pt>
                <c:pt idx="21297">
                  <c:v>32785</c:v>
                </c:pt>
                <c:pt idx="21298">
                  <c:v>70896</c:v>
                </c:pt>
                <c:pt idx="21299">
                  <c:v>59396</c:v>
                </c:pt>
                <c:pt idx="21300">
                  <c:v>45500</c:v>
                </c:pt>
                <c:pt idx="21301">
                  <c:v>30764</c:v>
                </c:pt>
                <c:pt idx="21302">
                  <c:v>193809</c:v>
                </c:pt>
                <c:pt idx="21303">
                  <c:v>66929</c:v>
                </c:pt>
                <c:pt idx="21304">
                  <c:v>33845</c:v>
                </c:pt>
                <c:pt idx="21305">
                  <c:v>28037</c:v>
                </c:pt>
                <c:pt idx="21306">
                  <c:v>45616</c:v>
                </c:pt>
                <c:pt idx="21307">
                  <c:v>44335</c:v>
                </c:pt>
                <c:pt idx="21308">
                  <c:v>27238</c:v>
                </c:pt>
                <c:pt idx="21309">
                  <c:v>72351</c:v>
                </c:pt>
                <c:pt idx="21310">
                  <c:v>40953</c:v>
                </c:pt>
                <c:pt idx="21311">
                  <c:v>31316</c:v>
                </c:pt>
                <c:pt idx="21312">
                  <c:v>38650</c:v>
                </c:pt>
                <c:pt idx="21313">
                  <c:v>41723</c:v>
                </c:pt>
                <c:pt idx="21314">
                  <c:v>28872</c:v>
                </c:pt>
                <c:pt idx="21315">
                  <c:v>28689</c:v>
                </c:pt>
                <c:pt idx="21316">
                  <c:v>35086</c:v>
                </c:pt>
                <c:pt idx="21317">
                  <c:v>15000</c:v>
                </c:pt>
                <c:pt idx="21318">
                  <c:v>280382</c:v>
                </c:pt>
                <c:pt idx="21319">
                  <c:v>33372</c:v>
                </c:pt>
                <c:pt idx="21320">
                  <c:v>75710</c:v>
                </c:pt>
                <c:pt idx="21321">
                  <c:v>41784</c:v>
                </c:pt>
                <c:pt idx="21322">
                  <c:v>29367</c:v>
                </c:pt>
                <c:pt idx="21323">
                  <c:v>46172</c:v>
                </c:pt>
                <c:pt idx="21324">
                  <c:v>37339</c:v>
                </c:pt>
                <c:pt idx="21325">
                  <c:v>120084</c:v>
                </c:pt>
                <c:pt idx="21326">
                  <c:v>40330</c:v>
                </c:pt>
                <c:pt idx="21327">
                  <c:v>120610</c:v>
                </c:pt>
                <c:pt idx="21328">
                  <c:v>51991</c:v>
                </c:pt>
                <c:pt idx="21329">
                  <c:v>28389</c:v>
                </c:pt>
                <c:pt idx="21330">
                  <c:v>22167</c:v>
                </c:pt>
                <c:pt idx="21331">
                  <c:v>61026</c:v>
                </c:pt>
                <c:pt idx="21332">
                  <c:v>138013</c:v>
                </c:pt>
                <c:pt idx="21333">
                  <c:v>51619</c:v>
                </c:pt>
                <c:pt idx="21334">
                  <c:v>53842</c:v>
                </c:pt>
                <c:pt idx="21335">
                  <c:v>21841</c:v>
                </c:pt>
                <c:pt idx="21336">
                  <c:v>63097</c:v>
                </c:pt>
                <c:pt idx="21337">
                  <c:v>49321</c:v>
                </c:pt>
                <c:pt idx="21338">
                  <c:v>49080</c:v>
                </c:pt>
                <c:pt idx="21339">
                  <c:v>226041</c:v>
                </c:pt>
                <c:pt idx="21340">
                  <c:v>144850</c:v>
                </c:pt>
                <c:pt idx="21341">
                  <c:v>50053</c:v>
                </c:pt>
                <c:pt idx="21342">
                  <c:v>69908</c:v>
                </c:pt>
                <c:pt idx="21343">
                  <c:v>37615</c:v>
                </c:pt>
                <c:pt idx="21344">
                  <c:v>34999</c:v>
                </c:pt>
                <c:pt idx="21345">
                  <c:v>43495</c:v>
                </c:pt>
                <c:pt idx="21346">
                  <c:v>24793</c:v>
                </c:pt>
                <c:pt idx="21347">
                  <c:v>45630</c:v>
                </c:pt>
                <c:pt idx="21348">
                  <c:v>191825</c:v>
                </c:pt>
                <c:pt idx="21349">
                  <c:v>164387</c:v>
                </c:pt>
                <c:pt idx="21350">
                  <c:v>43417</c:v>
                </c:pt>
                <c:pt idx="21351">
                  <c:v>33776</c:v>
                </c:pt>
                <c:pt idx="21352">
                  <c:v>77123</c:v>
                </c:pt>
                <c:pt idx="21353">
                  <c:v>34867</c:v>
                </c:pt>
                <c:pt idx="21354">
                  <c:v>70736</c:v>
                </c:pt>
                <c:pt idx="21355">
                  <c:v>73953</c:v>
                </c:pt>
                <c:pt idx="21356">
                  <c:v>24995</c:v>
                </c:pt>
                <c:pt idx="21357">
                  <c:v>37961</c:v>
                </c:pt>
                <c:pt idx="21358">
                  <c:v>55167</c:v>
                </c:pt>
                <c:pt idx="21359">
                  <c:v>53562</c:v>
                </c:pt>
                <c:pt idx="21360">
                  <c:v>43816</c:v>
                </c:pt>
                <c:pt idx="21361">
                  <c:v>68050</c:v>
                </c:pt>
                <c:pt idx="21362">
                  <c:v>28627</c:v>
                </c:pt>
                <c:pt idx="21363">
                  <c:v>50125</c:v>
                </c:pt>
                <c:pt idx="21364">
                  <c:v>111867</c:v>
                </c:pt>
                <c:pt idx="21365">
                  <c:v>50680</c:v>
                </c:pt>
                <c:pt idx="21366">
                  <c:v>61362</c:v>
                </c:pt>
                <c:pt idx="21367">
                  <c:v>40952</c:v>
                </c:pt>
                <c:pt idx="21368">
                  <c:v>78898</c:v>
                </c:pt>
                <c:pt idx="21369">
                  <c:v>100584</c:v>
                </c:pt>
                <c:pt idx="21370">
                  <c:v>76409</c:v>
                </c:pt>
                <c:pt idx="21371">
                  <c:v>38762</c:v>
                </c:pt>
                <c:pt idx="21372">
                  <c:v>58415</c:v>
                </c:pt>
                <c:pt idx="21373">
                  <c:v>44205</c:v>
                </c:pt>
                <c:pt idx="21374">
                  <c:v>30898</c:v>
                </c:pt>
                <c:pt idx="21375">
                  <c:v>43430</c:v>
                </c:pt>
                <c:pt idx="21376">
                  <c:v>34692</c:v>
                </c:pt>
                <c:pt idx="21377">
                  <c:v>58449</c:v>
                </c:pt>
                <c:pt idx="21378">
                  <c:v>27081</c:v>
                </c:pt>
                <c:pt idx="21379">
                  <c:v>31572</c:v>
                </c:pt>
                <c:pt idx="21380">
                  <c:v>82986</c:v>
                </c:pt>
                <c:pt idx="21381">
                  <c:v>102350</c:v>
                </c:pt>
                <c:pt idx="21382">
                  <c:v>38781</c:v>
                </c:pt>
                <c:pt idx="21383">
                  <c:v>50676</c:v>
                </c:pt>
                <c:pt idx="21384">
                  <c:v>25728</c:v>
                </c:pt>
                <c:pt idx="21385">
                  <c:v>99773</c:v>
                </c:pt>
                <c:pt idx="21386">
                  <c:v>26772</c:v>
                </c:pt>
                <c:pt idx="21387">
                  <c:v>62119</c:v>
                </c:pt>
                <c:pt idx="21388">
                  <c:v>331515</c:v>
                </c:pt>
                <c:pt idx="21389">
                  <c:v>25194</c:v>
                </c:pt>
                <c:pt idx="21390">
                  <c:v>41264</c:v>
                </c:pt>
                <c:pt idx="21391">
                  <c:v>68820</c:v>
                </c:pt>
                <c:pt idx="21392">
                  <c:v>51457</c:v>
                </c:pt>
                <c:pt idx="21393">
                  <c:v>24534</c:v>
                </c:pt>
                <c:pt idx="21394">
                  <c:v>114517</c:v>
                </c:pt>
                <c:pt idx="21395">
                  <c:v>40495</c:v>
                </c:pt>
                <c:pt idx="21396">
                  <c:v>39793</c:v>
                </c:pt>
                <c:pt idx="21397">
                  <c:v>76412</c:v>
                </c:pt>
                <c:pt idx="21398">
                  <c:v>34381</c:v>
                </c:pt>
                <c:pt idx="21399">
                  <c:v>70257</c:v>
                </c:pt>
                <c:pt idx="21400">
                  <c:v>41171</c:v>
                </c:pt>
                <c:pt idx="21401">
                  <c:v>365453</c:v>
                </c:pt>
                <c:pt idx="21402">
                  <c:v>31445</c:v>
                </c:pt>
                <c:pt idx="21403">
                  <c:v>34691</c:v>
                </c:pt>
                <c:pt idx="21404">
                  <c:v>46350</c:v>
                </c:pt>
                <c:pt idx="21405">
                  <c:v>75200</c:v>
                </c:pt>
                <c:pt idx="21406">
                  <c:v>29518</c:v>
                </c:pt>
                <c:pt idx="21407">
                  <c:v>45649</c:v>
                </c:pt>
                <c:pt idx="21408">
                  <c:v>51485</c:v>
                </c:pt>
                <c:pt idx="21409">
                  <c:v>43392</c:v>
                </c:pt>
                <c:pt idx="21410">
                  <c:v>187950</c:v>
                </c:pt>
                <c:pt idx="21411">
                  <c:v>73687</c:v>
                </c:pt>
                <c:pt idx="21412">
                  <c:v>36580</c:v>
                </c:pt>
                <c:pt idx="21413">
                  <c:v>108617</c:v>
                </c:pt>
                <c:pt idx="21414">
                  <c:v>28298</c:v>
                </c:pt>
                <c:pt idx="21415">
                  <c:v>25961</c:v>
                </c:pt>
                <c:pt idx="21416">
                  <c:v>61123</c:v>
                </c:pt>
                <c:pt idx="21417">
                  <c:v>44804</c:v>
                </c:pt>
                <c:pt idx="21418">
                  <c:v>29538</c:v>
                </c:pt>
                <c:pt idx="21419">
                  <c:v>139921</c:v>
                </c:pt>
                <c:pt idx="21420">
                  <c:v>105045</c:v>
                </c:pt>
                <c:pt idx="21421">
                  <c:v>59952</c:v>
                </c:pt>
                <c:pt idx="21422">
                  <c:v>24212</c:v>
                </c:pt>
                <c:pt idx="21423">
                  <c:v>37324</c:v>
                </c:pt>
                <c:pt idx="21424">
                  <c:v>36919</c:v>
                </c:pt>
                <c:pt idx="21425">
                  <c:v>46873</c:v>
                </c:pt>
                <c:pt idx="21426">
                  <c:v>40845</c:v>
                </c:pt>
                <c:pt idx="21427">
                  <c:v>20544</c:v>
                </c:pt>
                <c:pt idx="21428">
                  <c:v>25983</c:v>
                </c:pt>
                <c:pt idx="21429">
                  <c:v>200316</c:v>
                </c:pt>
                <c:pt idx="21430">
                  <c:v>38130</c:v>
                </c:pt>
                <c:pt idx="21431">
                  <c:v>35402</c:v>
                </c:pt>
                <c:pt idx="21432">
                  <c:v>43582</c:v>
                </c:pt>
                <c:pt idx="21433">
                  <c:v>88554</c:v>
                </c:pt>
                <c:pt idx="21434">
                  <c:v>92149</c:v>
                </c:pt>
                <c:pt idx="21435">
                  <c:v>47939</c:v>
                </c:pt>
                <c:pt idx="21436">
                  <c:v>34503</c:v>
                </c:pt>
                <c:pt idx="21437">
                  <c:v>105949</c:v>
                </c:pt>
                <c:pt idx="21438">
                  <c:v>37585</c:v>
                </c:pt>
                <c:pt idx="21439">
                  <c:v>79131</c:v>
                </c:pt>
                <c:pt idx="21440">
                  <c:v>36215</c:v>
                </c:pt>
                <c:pt idx="21441">
                  <c:v>40219</c:v>
                </c:pt>
                <c:pt idx="21442">
                  <c:v>41175</c:v>
                </c:pt>
                <c:pt idx="21443">
                  <c:v>50010</c:v>
                </c:pt>
                <c:pt idx="21444">
                  <c:v>35210</c:v>
                </c:pt>
                <c:pt idx="21445">
                  <c:v>24715</c:v>
                </c:pt>
                <c:pt idx="21446">
                  <c:v>25676</c:v>
                </c:pt>
                <c:pt idx="21447">
                  <c:v>54114</c:v>
                </c:pt>
                <c:pt idx="21448">
                  <c:v>51495</c:v>
                </c:pt>
                <c:pt idx="21449">
                  <c:v>48847</c:v>
                </c:pt>
                <c:pt idx="21450">
                  <c:v>110671</c:v>
                </c:pt>
                <c:pt idx="21451">
                  <c:v>46079</c:v>
                </c:pt>
                <c:pt idx="21452">
                  <c:v>104903</c:v>
                </c:pt>
                <c:pt idx="21453">
                  <c:v>78319</c:v>
                </c:pt>
                <c:pt idx="21454">
                  <c:v>64119</c:v>
                </c:pt>
                <c:pt idx="21455">
                  <c:v>26326</c:v>
                </c:pt>
                <c:pt idx="21456">
                  <c:v>174029</c:v>
                </c:pt>
                <c:pt idx="21457">
                  <c:v>46925</c:v>
                </c:pt>
                <c:pt idx="21458">
                  <c:v>41260</c:v>
                </c:pt>
                <c:pt idx="21459">
                  <c:v>26801</c:v>
                </c:pt>
                <c:pt idx="21460">
                  <c:v>48883</c:v>
                </c:pt>
                <c:pt idx="21461">
                  <c:v>55868</c:v>
                </c:pt>
                <c:pt idx="21462">
                  <c:v>28832</c:v>
                </c:pt>
                <c:pt idx="21463">
                  <c:v>29456</c:v>
                </c:pt>
                <c:pt idx="21464">
                  <c:v>41223</c:v>
                </c:pt>
                <c:pt idx="21465">
                  <c:v>40664</c:v>
                </c:pt>
                <c:pt idx="21466">
                  <c:v>30002</c:v>
                </c:pt>
                <c:pt idx="21467">
                  <c:v>49332</c:v>
                </c:pt>
                <c:pt idx="21468">
                  <c:v>35238</c:v>
                </c:pt>
                <c:pt idx="21469">
                  <c:v>34260</c:v>
                </c:pt>
                <c:pt idx="21470">
                  <c:v>43571</c:v>
                </c:pt>
                <c:pt idx="21471">
                  <c:v>78623</c:v>
                </c:pt>
                <c:pt idx="21472">
                  <c:v>43235</c:v>
                </c:pt>
                <c:pt idx="21473">
                  <c:v>29753</c:v>
                </c:pt>
                <c:pt idx="21474">
                  <c:v>58646</c:v>
                </c:pt>
                <c:pt idx="21475">
                  <c:v>153386</c:v>
                </c:pt>
                <c:pt idx="21476">
                  <c:v>98106</c:v>
                </c:pt>
                <c:pt idx="21477">
                  <c:v>114228</c:v>
                </c:pt>
                <c:pt idx="21478">
                  <c:v>28075</c:v>
                </c:pt>
                <c:pt idx="21479">
                  <c:v>68882</c:v>
                </c:pt>
                <c:pt idx="21480">
                  <c:v>393472</c:v>
                </c:pt>
                <c:pt idx="21481">
                  <c:v>104284</c:v>
                </c:pt>
                <c:pt idx="21482">
                  <c:v>32408</c:v>
                </c:pt>
                <c:pt idx="21483">
                  <c:v>54148</c:v>
                </c:pt>
                <c:pt idx="21484">
                  <c:v>83054</c:v>
                </c:pt>
                <c:pt idx="21485">
                  <c:v>35886</c:v>
                </c:pt>
                <c:pt idx="21486">
                  <c:v>25529</c:v>
                </c:pt>
                <c:pt idx="21487">
                  <c:v>28883</c:v>
                </c:pt>
                <c:pt idx="21488">
                  <c:v>27781</c:v>
                </c:pt>
                <c:pt idx="21489">
                  <c:v>22883</c:v>
                </c:pt>
                <c:pt idx="21490">
                  <c:v>43379</c:v>
                </c:pt>
                <c:pt idx="21491">
                  <c:v>41890</c:v>
                </c:pt>
                <c:pt idx="21492">
                  <c:v>48160</c:v>
                </c:pt>
                <c:pt idx="21493">
                  <c:v>45282</c:v>
                </c:pt>
                <c:pt idx="21494">
                  <c:v>225249</c:v>
                </c:pt>
                <c:pt idx="21495">
                  <c:v>38577</c:v>
                </c:pt>
                <c:pt idx="21496">
                  <c:v>23758</c:v>
                </c:pt>
                <c:pt idx="21497">
                  <c:v>28268</c:v>
                </c:pt>
                <c:pt idx="21498">
                  <c:v>40567</c:v>
                </c:pt>
                <c:pt idx="21499">
                  <c:v>32514</c:v>
                </c:pt>
                <c:pt idx="21500">
                  <c:v>29335</c:v>
                </c:pt>
                <c:pt idx="21501">
                  <c:v>52955</c:v>
                </c:pt>
                <c:pt idx="21502">
                  <c:v>38662</c:v>
                </c:pt>
                <c:pt idx="21503">
                  <c:v>217218</c:v>
                </c:pt>
                <c:pt idx="21504">
                  <c:v>109865</c:v>
                </c:pt>
                <c:pt idx="21505">
                  <c:v>31543</c:v>
                </c:pt>
                <c:pt idx="21506">
                  <c:v>68195</c:v>
                </c:pt>
                <c:pt idx="21507">
                  <c:v>56116</c:v>
                </c:pt>
                <c:pt idx="21508">
                  <c:v>61981</c:v>
                </c:pt>
                <c:pt idx="21509">
                  <c:v>38800</c:v>
                </c:pt>
                <c:pt idx="21510">
                  <c:v>39925</c:v>
                </c:pt>
                <c:pt idx="21511">
                  <c:v>24262</c:v>
                </c:pt>
                <c:pt idx="21512">
                  <c:v>37917</c:v>
                </c:pt>
                <c:pt idx="21513">
                  <c:v>46552</c:v>
                </c:pt>
                <c:pt idx="21514">
                  <c:v>31583</c:v>
                </c:pt>
                <c:pt idx="21515">
                  <c:v>47342</c:v>
                </c:pt>
                <c:pt idx="21516">
                  <c:v>45234</c:v>
                </c:pt>
                <c:pt idx="21517">
                  <c:v>54632</c:v>
                </c:pt>
                <c:pt idx="21518">
                  <c:v>48468</c:v>
                </c:pt>
                <c:pt idx="21519">
                  <c:v>43059</c:v>
                </c:pt>
                <c:pt idx="21520">
                  <c:v>28736</c:v>
                </c:pt>
                <c:pt idx="21521">
                  <c:v>360068</c:v>
                </c:pt>
                <c:pt idx="21522">
                  <c:v>41185</c:v>
                </c:pt>
                <c:pt idx="21523">
                  <c:v>27189</c:v>
                </c:pt>
                <c:pt idx="21524">
                  <c:v>37409</c:v>
                </c:pt>
                <c:pt idx="21525">
                  <c:v>55975</c:v>
                </c:pt>
                <c:pt idx="21526">
                  <c:v>34049</c:v>
                </c:pt>
                <c:pt idx="21527">
                  <c:v>44156</c:v>
                </c:pt>
                <c:pt idx="21528">
                  <c:v>32386</c:v>
                </c:pt>
                <c:pt idx="21529">
                  <c:v>49174</c:v>
                </c:pt>
                <c:pt idx="21530">
                  <c:v>35756</c:v>
                </c:pt>
                <c:pt idx="21531">
                  <c:v>66941</c:v>
                </c:pt>
                <c:pt idx="21532">
                  <c:v>35688</c:v>
                </c:pt>
                <c:pt idx="21533">
                  <c:v>54004</c:v>
                </c:pt>
                <c:pt idx="21534">
                  <c:v>35573</c:v>
                </c:pt>
                <c:pt idx="21535">
                  <c:v>43921</c:v>
                </c:pt>
                <c:pt idx="21536">
                  <c:v>292096</c:v>
                </c:pt>
                <c:pt idx="21537">
                  <c:v>76945</c:v>
                </c:pt>
                <c:pt idx="21538">
                  <c:v>49839</c:v>
                </c:pt>
                <c:pt idx="21539">
                  <c:v>99649</c:v>
                </c:pt>
                <c:pt idx="21540">
                  <c:v>23616</c:v>
                </c:pt>
                <c:pt idx="21541">
                  <c:v>39450</c:v>
                </c:pt>
                <c:pt idx="21542">
                  <c:v>129400</c:v>
                </c:pt>
                <c:pt idx="21543">
                  <c:v>52256</c:v>
                </c:pt>
                <c:pt idx="21544">
                  <c:v>138975</c:v>
                </c:pt>
                <c:pt idx="21545">
                  <c:v>46463</c:v>
                </c:pt>
                <c:pt idx="21546">
                  <c:v>64966</c:v>
                </c:pt>
                <c:pt idx="21547">
                  <c:v>45973</c:v>
                </c:pt>
                <c:pt idx="21548">
                  <c:v>34333</c:v>
                </c:pt>
                <c:pt idx="21549">
                  <c:v>67254</c:v>
                </c:pt>
                <c:pt idx="21550">
                  <c:v>52933</c:v>
                </c:pt>
                <c:pt idx="21551">
                  <c:v>35747</c:v>
                </c:pt>
                <c:pt idx="21552">
                  <c:v>24512</c:v>
                </c:pt>
                <c:pt idx="21553">
                  <c:v>31061</c:v>
                </c:pt>
                <c:pt idx="21554">
                  <c:v>122686</c:v>
                </c:pt>
                <c:pt idx="21555">
                  <c:v>36740</c:v>
                </c:pt>
                <c:pt idx="21556">
                  <c:v>49355</c:v>
                </c:pt>
                <c:pt idx="21557">
                  <c:v>31126</c:v>
                </c:pt>
                <c:pt idx="21558">
                  <c:v>138263</c:v>
                </c:pt>
                <c:pt idx="21559">
                  <c:v>38758</c:v>
                </c:pt>
                <c:pt idx="21560">
                  <c:v>29012</c:v>
                </c:pt>
                <c:pt idx="21561">
                  <c:v>35961</c:v>
                </c:pt>
                <c:pt idx="21562">
                  <c:v>40217</c:v>
                </c:pt>
                <c:pt idx="21563">
                  <c:v>176630</c:v>
                </c:pt>
                <c:pt idx="21564">
                  <c:v>39476</c:v>
                </c:pt>
                <c:pt idx="21565">
                  <c:v>33404</c:v>
                </c:pt>
                <c:pt idx="21566">
                  <c:v>38194</c:v>
                </c:pt>
                <c:pt idx="21567">
                  <c:v>41654</c:v>
                </c:pt>
                <c:pt idx="21568">
                  <c:v>37318</c:v>
                </c:pt>
                <c:pt idx="21569">
                  <c:v>41720</c:v>
                </c:pt>
                <c:pt idx="21570">
                  <c:v>188049</c:v>
                </c:pt>
                <c:pt idx="21571">
                  <c:v>44145</c:v>
                </c:pt>
                <c:pt idx="21572">
                  <c:v>282749</c:v>
                </c:pt>
                <c:pt idx="21573">
                  <c:v>28849</c:v>
                </c:pt>
                <c:pt idx="21574">
                  <c:v>81177</c:v>
                </c:pt>
                <c:pt idx="21575">
                  <c:v>41094</c:v>
                </c:pt>
                <c:pt idx="21576">
                  <c:v>109443</c:v>
                </c:pt>
                <c:pt idx="21577">
                  <c:v>74979</c:v>
                </c:pt>
                <c:pt idx="21578">
                  <c:v>35931</c:v>
                </c:pt>
                <c:pt idx="21579">
                  <c:v>138457</c:v>
                </c:pt>
                <c:pt idx="21580">
                  <c:v>34273</c:v>
                </c:pt>
                <c:pt idx="21581">
                  <c:v>45056</c:v>
                </c:pt>
                <c:pt idx="21582">
                  <c:v>37871</c:v>
                </c:pt>
                <c:pt idx="21583">
                  <c:v>29901</c:v>
                </c:pt>
                <c:pt idx="21584">
                  <c:v>25445</c:v>
                </c:pt>
                <c:pt idx="21585">
                  <c:v>59106</c:v>
                </c:pt>
                <c:pt idx="21586">
                  <c:v>43877</c:v>
                </c:pt>
                <c:pt idx="21587">
                  <c:v>26070</c:v>
                </c:pt>
                <c:pt idx="21588">
                  <c:v>32665</c:v>
                </c:pt>
                <c:pt idx="21589">
                  <c:v>31709</c:v>
                </c:pt>
                <c:pt idx="21590">
                  <c:v>25262</c:v>
                </c:pt>
                <c:pt idx="21591">
                  <c:v>69258</c:v>
                </c:pt>
                <c:pt idx="21592">
                  <c:v>22926</c:v>
                </c:pt>
                <c:pt idx="21593">
                  <c:v>34787</c:v>
                </c:pt>
                <c:pt idx="21594">
                  <c:v>74089</c:v>
                </c:pt>
                <c:pt idx="21595">
                  <c:v>54271</c:v>
                </c:pt>
                <c:pt idx="21596">
                  <c:v>32344</c:v>
                </c:pt>
                <c:pt idx="21597">
                  <c:v>127002</c:v>
                </c:pt>
                <c:pt idx="21598">
                  <c:v>107292</c:v>
                </c:pt>
                <c:pt idx="21599">
                  <c:v>128493</c:v>
                </c:pt>
                <c:pt idx="21600">
                  <c:v>53191</c:v>
                </c:pt>
                <c:pt idx="21601">
                  <c:v>73158</c:v>
                </c:pt>
                <c:pt idx="21602">
                  <c:v>23683</c:v>
                </c:pt>
                <c:pt idx="21603">
                  <c:v>16588</c:v>
                </c:pt>
                <c:pt idx="21604">
                  <c:v>43131</c:v>
                </c:pt>
                <c:pt idx="21605">
                  <c:v>38133</c:v>
                </c:pt>
                <c:pt idx="21606">
                  <c:v>23285</c:v>
                </c:pt>
                <c:pt idx="21607">
                  <c:v>22077</c:v>
                </c:pt>
                <c:pt idx="21608">
                  <c:v>33353</c:v>
                </c:pt>
                <c:pt idx="21609">
                  <c:v>40727</c:v>
                </c:pt>
                <c:pt idx="21610">
                  <c:v>164288</c:v>
                </c:pt>
                <c:pt idx="21611">
                  <c:v>118575</c:v>
                </c:pt>
                <c:pt idx="21612">
                  <c:v>23762</c:v>
                </c:pt>
                <c:pt idx="21613">
                  <c:v>96969</c:v>
                </c:pt>
                <c:pt idx="21614">
                  <c:v>28412</c:v>
                </c:pt>
                <c:pt idx="21615">
                  <c:v>96598</c:v>
                </c:pt>
                <c:pt idx="21616">
                  <c:v>103962</c:v>
                </c:pt>
                <c:pt idx="21617">
                  <c:v>25160</c:v>
                </c:pt>
                <c:pt idx="21618">
                  <c:v>43113</c:v>
                </c:pt>
                <c:pt idx="21619">
                  <c:v>24381</c:v>
                </c:pt>
                <c:pt idx="21620">
                  <c:v>41126</c:v>
                </c:pt>
                <c:pt idx="21621">
                  <c:v>23449</c:v>
                </c:pt>
                <c:pt idx="21622">
                  <c:v>64855</c:v>
                </c:pt>
                <c:pt idx="21623">
                  <c:v>28397</c:v>
                </c:pt>
                <c:pt idx="21624">
                  <c:v>36064</c:v>
                </c:pt>
                <c:pt idx="21625">
                  <c:v>48697</c:v>
                </c:pt>
                <c:pt idx="21626">
                  <c:v>38478</c:v>
                </c:pt>
                <c:pt idx="21627">
                  <c:v>21229</c:v>
                </c:pt>
                <c:pt idx="21628">
                  <c:v>25466</c:v>
                </c:pt>
                <c:pt idx="21629">
                  <c:v>43200</c:v>
                </c:pt>
                <c:pt idx="21630">
                  <c:v>56183</c:v>
                </c:pt>
                <c:pt idx="21631">
                  <c:v>32926</c:v>
                </c:pt>
                <c:pt idx="21632">
                  <c:v>95734</c:v>
                </c:pt>
                <c:pt idx="21633">
                  <c:v>47134</c:v>
                </c:pt>
                <c:pt idx="21634">
                  <c:v>45122</c:v>
                </c:pt>
                <c:pt idx="21635">
                  <c:v>48788</c:v>
                </c:pt>
                <c:pt idx="21636">
                  <c:v>33724</c:v>
                </c:pt>
                <c:pt idx="21637">
                  <c:v>41244</c:v>
                </c:pt>
                <c:pt idx="21638">
                  <c:v>20323</c:v>
                </c:pt>
                <c:pt idx="21639">
                  <c:v>31273</c:v>
                </c:pt>
                <c:pt idx="21640">
                  <c:v>78303</c:v>
                </c:pt>
                <c:pt idx="21641">
                  <c:v>394148</c:v>
                </c:pt>
                <c:pt idx="21642">
                  <c:v>37738</c:v>
                </c:pt>
                <c:pt idx="21643">
                  <c:v>30953</c:v>
                </c:pt>
                <c:pt idx="21644">
                  <c:v>92904</c:v>
                </c:pt>
                <c:pt idx="21645">
                  <c:v>32670</c:v>
                </c:pt>
                <c:pt idx="21646">
                  <c:v>142540</c:v>
                </c:pt>
                <c:pt idx="21647">
                  <c:v>24169</c:v>
                </c:pt>
                <c:pt idx="21648">
                  <c:v>100052</c:v>
                </c:pt>
                <c:pt idx="21649">
                  <c:v>71187</c:v>
                </c:pt>
                <c:pt idx="21650">
                  <c:v>28874</c:v>
                </c:pt>
                <c:pt idx="21651">
                  <c:v>45501</c:v>
                </c:pt>
                <c:pt idx="21652">
                  <c:v>28436</c:v>
                </c:pt>
                <c:pt idx="21653">
                  <c:v>24454</c:v>
                </c:pt>
                <c:pt idx="21654">
                  <c:v>44541</c:v>
                </c:pt>
                <c:pt idx="21655">
                  <c:v>104834</c:v>
                </c:pt>
                <c:pt idx="21656">
                  <c:v>35126</c:v>
                </c:pt>
                <c:pt idx="21657">
                  <c:v>63781</c:v>
                </c:pt>
                <c:pt idx="21658">
                  <c:v>25090</c:v>
                </c:pt>
                <c:pt idx="21659">
                  <c:v>27185</c:v>
                </c:pt>
                <c:pt idx="21660">
                  <c:v>109827</c:v>
                </c:pt>
                <c:pt idx="21661">
                  <c:v>54039</c:v>
                </c:pt>
                <c:pt idx="21662">
                  <c:v>38305</c:v>
                </c:pt>
                <c:pt idx="21663">
                  <c:v>25434</c:v>
                </c:pt>
                <c:pt idx="21664">
                  <c:v>217590</c:v>
                </c:pt>
                <c:pt idx="21665">
                  <c:v>35932</c:v>
                </c:pt>
                <c:pt idx="21666">
                  <c:v>50387</c:v>
                </c:pt>
                <c:pt idx="21667">
                  <c:v>67880</c:v>
                </c:pt>
                <c:pt idx="21668">
                  <c:v>114088</c:v>
                </c:pt>
                <c:pt idx="21669">
                  <c:v>68805</c:v>
                </c:pt>
                <c:pt idx="21670">
                  <c:v>69074</c:v>
                </c:pt>
                <c:pt idx="21671">
                  <c:v>32454</c:v>
                </c:pt>
                <c:pt idx="21672">
                  <c:v>32652</c:v>
                </c:pt>
                <c:pt idx="21673">
                  <c:v>24299</c:v>
                </c:pt>
                <c:pt idx="21674">
                  <c:v>36081</c:v>
                </c:pt>
                <c:pt idx="21675">
                  <c:v>33707</c:v>
                </c:pt>
                <c:pt idx="21676">
                  <c:v>132327</c:v>
                </c:pt>
                <c:pt idx="21677">
                  <c:v>25553</c:v>
                </c:pt>
                <c:pt idx="21678">
                  <c:v>115511</c:v>
                </c:pt>
                <c:pt idx="21679">
                  <c:v>37155</c:v>
                </c:pt>
                <c:pt idx="21680">
                  <c:v>28093</c:v>
                </c:pt>
                <c:pt idx="21681">
                  <c:v>46468</c:v>
                </c:pt>
                <c:pt idx="21682">
                  <c:v>307565</c:v>
                </c:pt>
                <c:pt idx="21683">
                  <c:v>28027</c:v>
                </c:pt>
                <c:pt idx="21684">
                  <c:v>37247</c:v>
                </c:pt>
                <c:pt idx="21685">
                  <c:v>88400</c:v>
                </c:pt>
                <c:pt idx="21686">
                  <c:v>64920</c:v>
                </c:pt>
                <c:pt idx="21687">
                  <c:v>99611</c:v>
                </c:pt>
                <c:pt idx="21688">
                  <c:v>45186</c:v>
                </c:pt>
                <c:pt idx="21689">
                  <c:v>33807</c:v>
                </c:pt>
                <c:pt idx="21690">
                  <c:v>42856</c:v>
                </c:pt>
                <c:pt idx="21691">
                  <c:v>102969</c:v>
                </c:pt>
                <c:pt idx="21692">
                  <c:v>153320</c:v>
                </c:pt>
                <c:pt idx="21693">
                  <c:v>62558</c:v>
                </c:pt>
                <c:pt idx="21694">
                  <c:v>25944</c:v>
                </c:pt>
                <c:pt idx="21695">
                  <c:v>70694</c:v>
                </c:pt>
                <c:pt idx="21696">
                  <c:v>115016</c:v>
                </c:pt>
                <c:pt idx="21697">
                  <c:v>24093</c:v>
                </c:pt>
                <c:pt idx="21698">
                  <c:v>27757</c:v>
                </c:pt>
                <c:pt idx="21699">
                  <c:v>31471</c:v>
                </c:pt>
                <c:pt idx="21700">
                  <c:v>36344</c:v>
                </c:pt>
                <c:pt idx="21701">
                  <c:v>35354</c:v>
                </c:pt>
                <c:pt idx="21702">
                  <c:v>38973</c:v>
                </c:pt>
                <c:pt idx="21703">
                  <c:v>68729</c:v>
                </c:pt>
                <c:pt idx="21704">
                  <c:v>47407</c:v>
                </c:pt>
                <c:pt idx="21705">
                  <c:v>40266</c:v>
                </c:pt>
                <c:pt idx="21706">
                  <c:v>36209</c:v>
                </c:pt>
                <c:pt idx="21707">
                  <c:v>58482</c:v>
                </c:pt>
                <c:pt idx="21708">
                  <c:v>72516</c:v>
                </c:pt>
                <c:pt idx="21709">
                  <c:v>60001</c:v>
                </c:pt>
                <c:pt idx="21710">
                  <c:v>25250</c:v>
                </c:pt>
                <c:pt idx="21711">
                  <c:v>33096</c:v>
                </c:pt>
                <c:pt idx="21712">
                  <c:v>97821</c:v>
                </c:pt>
                <c:pt idx="21713">
                  <c:v>37886</c:v>
                </c:pt>
                <c:pt idx="21714">
                  <c:v>24775</c:v>
                </c:pt>
                <c:pt idx="21715">
                  <c:v>36333</c:v>
                </c:pt>
                <c:pt idx="21716">
                  <c:v>61447</c:v>
                </c:pt>
                <c:pt idx="21717">
                  <c:v>23873</c:v>
                </c:pt>
                <c:pt idx="21718">
                  <c:v>38168</c:v>
                </c:pt>
                <c:pt idx="21719">
                  <c:v>196901</c:v>
                </c:pt>
                <c:pt idx="21720">
                  <c:v>32998</c:v>
                </c:pt>
                <c:pt idx="21721">
                  <c:v>48052</c:v>
                </c:pt>
                <c:pt idx="21722">
                  <c:v>63781</c:v>
                </c:pt>
                <c:pt idx="21723">
                  <c:v>23646</c:v>
                </c:pt>
                <c:pt idx="21724">
                  <c:v>73104</c:v>
                </c:pt>
                <c:pt idx="21725">
                  <c:v>30586</c:v>
                </c:pt>
                <c:pt idx="21726">
                  <c:v>109698</c:v>
                </c:pt>
                <c:pt idx="21727">
                  <c:v>33958</c:v>
                </c:pt>
                <c:pt idx="21728">
                  <c:v>50061</c:v>
                </c:pt>
                <c:pt idx="21729">
                  <c:v>54233</c:v>
                </c:pt>
                <c:pt idx="21730">
                  <c:v>48068</c:v>
                </c:pt>
                <c:pt idx="21731">
                  <c:v>43012</c:v>
                </c:pt>
                <c:pt idx="21732">
                  <c:v>166647</c:v>
                </c:pt>
                <c:pt idx="21733">
                  <c:v>47717</c:v>
                </c:pt>
                <c:pt idx="21734">
                  <c:v>54129</c:v>
                </c:pt>
                <c:pt idx="21735">
                  <c:v>25312</c:v>
                </c:pt>
                <c:pt idx="21736">
                  <c:v>77976</c:v>
                </c:pt>
                <c:pt idx="21737">
                  <c:v>38106</c:v>
                </c:pt>
                <c:pt idx="21738">
                  <c:v>33313</c:v>
                </c:pt>
                <c:pt idx="21739">
                  <c:v>65600</c:v>
                </c:pt>
                <c:pt idx="21740">
                  <c:v>104060</c:v>
                </c:pt>
                <c:pt idx="21741">
                  <c:v>77882</c:v>
                </c:pt>
                <c:pt idx="21742">
                  <c:v>33526</c:v>
                </c:pt>
                <c:pt idx="21743">
                  <c:v>38002</c:v>
                </c:pt>
                <c:pt idx="21744">
                  <c:v>103337</c:v>
                </c:pt>
                <c:pt idx="21745">
                  <c:v>45375</c:v>
                </c:pt>
                <c:pt idx="21746">
                  <c:v>40114</c:v>
                </c:pt>
                <c:pt idx="21747">
                  <c:v>181326</c:v>
                </c:pt>
                <c:pt idx="21748">
                  <c:v>133676</c:v>
                </c:pt>
                <c:pt idx="21749">
                  <c:v>52063</c:v>
                </c:pt>
                <c:pt idx="21750">
                  <c:v>179751</c:v>
                </c:pt>
                <c:pt idx="21751">
                  <c:v>105027</c:v>
                </c:pt>
                <c:pt idx="21752">
                  <c:v>43434</c:v>
                </c:pt>
                <c:pt idx="21753">
                  <c:v>25051</c:v>
                </c:pt>
                <c:pt idx="21754">
                  <c:v>27494</c:v>
                </c:pt>
                <c:pt idx="21755">
                  <c:v>31674</c:v>
                </c:pt>
                <c:pt idx="21756">
                  <c:v>29155</c:v>
                </c:pt>
                <c:pt idx="21757">
                  <c:v>26180</c:v>
                </c:pt>
                <c:pt idx="21758">
                  <c:v>34407</c:v>
                </c:pt>
                <c:pt idx="21759">
                  <c:v>53120</c:v>
                </c:pt>
                <c:pt idx="21760">
                  <c:v>183324</c:v>
                </c:pt>
                <c:pt idx="21761">
                  <c:v>31052</c:v>
                </c:pt>
                <c:pt idx="21762">
                  <c:v>56299</c:v>
                </c:pt>
                <c:pt idx="21763">
                  <c:v>25709</c:v>
                </c:pt>
                <c:pt idx="21764">
                  <c:v>29231</c:v>
                </c:pt>
                <c:pt idx="21765">
                  <c:v>46440</c:v>
                </c:pt>
                <c:pt idx="21766">
                  <c:v>38039</c:v>
                </c:pt>
                <c:pt idx="21767">
                  <c:v>38839</c:v>
                </c:pt>
                <c:pt idx="21768">
                  <c:v>53895</c:v>
                </c:pt>
                <c:pt idx="21769">
                  <c:v>79929</c:v>
                </c:pt>
                <c:pt idx="21770">
                  <c:v>34120</c:v>
                </c:pt>
                <c:pt idx="21771">
                  <c:v>38790</c:v>
                </c:pt>
                <c:pt idx="21772">
                  <c:v>45715</c:v>
                </c:pt>
                <c:pt idx="21773">
                  <c:v>46694</c:v>
                </c:pt>
                <c:pt idx="21774">
                  <c:v>136669</c:v>
                </c:pt>
                <c:pt idx="21775">
                  <c:v>51285</c:v>
                </c:pt>
                <c:pt idx="21776">
                  <c:v>58576</c:v>
                </c:pt>
                <c:pt idx="21777">
                  <c:v>33547</c:v>
                </c:pt>
                <c:pt idx="21778">
                  <c:v>31858</c:v>
                </c:pt>
                <c:pt idx="21779">
                  <c:v>153541</c:v>
                </c:pt>
                <c:pt idx="21780">
                  <c:v>44494</c:v>
                </c:pt>
                <c:pt idx="21781">
                  <c:v>62293</c:v>
                </c:pt>
                <c:pt idx="21782">
                  <c:v>80945</c:v>
                </c:pt>
                <c:pt idx="21783">
                  <c:v>28402</c:v>
                </c:pt>
                <c:pt idx="21784">
                  <c:v>42866</c:v>
                </c:pt>
                <c:pt idx="21785">
                  <c:v>125602</c:v>
                </c:pt>
                <c:pt idx="21786">
                  <c:v>24378</c:v>
                </c:pt>
                <c:pt idx="21787">
                  <c:v>24283</c:v>
                </c:pt>
                <c:pt idx="21788">
                  <c:v>64701</c:v>
                </c:pt>
                <c:pt idx="21789">
                  <c:v>42422</c:v>
                </c:pt>
                <c:pt idx="21790">
                  <c:v>42021</c:v>
                </c:pt>
                <c:pt idx="21791">
                  <c:v>37521</c:v>
                </c:pt>
                <c:pt idx="21792">
                  <c:v>28287</c:v>
                </c:pt>
                <c:pt idx="21793">
                  <c:v>39435</c:v>
                </c:pt>
                <c:pt idx="21794">
                  <c:v>30605</c:v>
                </c:pt>
                <c:pt idx="21795">
                  <c:v>165292</c:v>
                </c:pt>
                <c:pt idx="21796">
                  <c:v>41979</c:v>
                </c:pt>
                <c:pt idx="21797">
                  <c:v>140356</c:v>
                </c:pt>
                <c:pt idx="21798">
                  <c:v>48144</c:v>
                </c:pt>
                <c:pt idx="21799">
                  <c:v>50585</c:v>
                </c:pt>
                <c:pt idx="21800">
                  <c:v>39670</c:v>
                </c:pt>
                <c:pt idx="21801">
                  <c:v>48455</c:v>
                </c:pt>
                <c:pt idx="21802">
                  <c:v>34680</c:v>
                </c:pt>
                <c:pt idx="21803">
                  <c:v>45448</c:v>
                </c:pt>
                <c:pt idx="21804">
                  <c:v>42187</c:v>
                </c:pt>
                <c:pt idx="21805">
                  <c:v>45368</c:v>
                </c:pt>
                <c:pt idx="21806">
                  <c:v>43123</c:v>
                </c:pt>
                <c:pt idx="21807">
                  <c:v>119285</c:v>
                </c:pt>
                <c:pt idx="21808">
                  <c:v>175134</c:v>
                </c:pt>
                <c:pt idx="21809">
                  <c:v>38317</c:v>
                </c:pt>
                <c:pt idx="21810">
                  <c:v>54152</c:v>
                </c:pt>
                <c:pt idx="21811">
                  <c:v>37488</c:v>
                </c:pt>
                <c:pt idx="21812">
                  <c:v>46575</c:v>
                </c:pt>
                <c:pt idx="21813">
                  <c:v>41995</c:v>
                </c:pt>
                <c:pt idx="21814">
                  <c:v>40784</c:v>
                </c:pt>
                <c:pt idx="21815">
                  <c:v>43346</c:v>
                </c:pt>
                <c:pt idx="21816">
                  <c:v>51971</c:v>
                </c:pt>
                <c:pt idx="21817">
                  <c:v>20131</c:v>
                </c:pt>
                <c:pt idx="21818">
                  <c:v>33263</c:v>
                </c:pt>
                <c:pt idx="21819">
                  <c:v>35111</c:v>
                </c:pt>
                <c:pt idx="21820">
                  <c:v>62027</c:v>
                </c:pt>
                <c:pt idx="21821">
                  <c:v>81962</c:v>
                </c:pt>
                <c:pt idx="21822">
                  <c:v>39452</c:v>
                </c:pt>
                <c:pt idx="21823">
                  <c:v>34165</c:v>
                </c:pt>
                <c:pt idx="21824">
                  <c:v>41257</c:v>
                </c:pt>
                <c:pt idx="21825">
                  <c:v>28259</c:v>
                </c:pt>
                <c:pt idx="21826">
                  <c:v>38257</c:v>
                </c:pt>
                <c:pt idx="21827">
                  <c:v>44913</c:v>
                </c:pt>
                <c:pt idx="21828">
                  <c:v>66843</c:v>
                </c:pt>
                <c:pt idx="21829">
                  <c:v>37962</c:v>
                </c:pt>
                <c:pt idx="21830">
                  <c:v>113878</c:v>
                </c:pt>
                <c:pt idx="21831">
                  <c:v>37746</c:v>
                </c:pt>
                <c:pt idx="21832">
                  <c:v>35840</c:v>
                </c:pt>
                <c:pt idx="21833">
                  <c:v>42051</c:v>
                </c:pt>
                <c:pt idx="21834">
                  <c:v>21964</c:v>
                </c:pt>
                <c:pt idx="21835">
                  <c:v>26553</c:v>
                </c:pt>
                <c:pt idx="21836">
                  <c:v>30915</c:v>
                </c:pt>
                <c:pt idx="21837">
                  <c:v>34085</c:v>
                </c:pt>
                <c:pt idx="21838">
                  <c:v>31320</c:v>
                </c:pt>
                <c:pt idx="21839">
                  <c:v>25813</c:v>
                </c:pt>
                <c:pt idx="21840">
                  <c:v>65027</c:v>
                </c:pt>
                <c:pt idx="21841">
                  <c:v>35148</c:v>
                </c:pt>
                <c:pt idx="21842">
                  <c:v>111470</c:v>
                </c:pt>
                <c:pt idx="21843">
                  <c:v>33974</c:v>
                </c:pt>
                <c:pt idx="21844">
                  <c:v>374015</c:v>
                </c:pt>
                <c:pt idx="21845">
                  <c:v>119404</c:v>
                </c:pt>
                <c:pt idx="21846">
                  <c:v>110006</c:v>
                </c:pt>
                <c:pt idx="21847">
                  <c:v>38124</c:v>
                </c:pt>
                <c:pt idx="21848">
                  <c:v>49387</c:v>
                </c:pt>
                <c:pt idx="21849">
                  <c:v>145966</c:v>
                </c:pt>
                <c:pt idx="21850">
                  <c:v>261205</c:v>
                </c:pt>
                <c:pt idx="21851">
                  <c:v>101828</c:v>
                </c:pt>
                <c:pt idx="21852">
                  <c:v>56751</c:v>
                </c:pt>
                <c:pt idx="21853">
                  <c:v>93495</c:v>
                </c:pt>
                <c:pt idx="21854">
                  <c:v>45335</c:v>
                </c:pt>
                <c:pt idx="21855">
                  <c:v>46226</c:v>
                </c:pt>
                <c:pt idx="21856">
                  <c:v>78793</c:v>
                </c:pt>
                <c:pt idx="21857">
                  <c:v>26975</c:v>
                </c:pt>
                <c:pt idx="21858">
                  <c:v>70259</c:v>
                </c:pt>
                <c:pt idx="21859">
                  <c:v>55720</c:v>
                </c:pt>
                <c:pt idx="21860">
                  <c:v>31708</c:v>
                </c:pt>
                <c:pt idx="21861">
                  <c:v>37078</c:v>
                </c:pt>
                <c:pt idx="21862">
                  <c:v>36924</c:v>
                </c:pt>
                <c:pt idx="21863">
                  <c:v>192588</c:v>
                </c:pt>
                <c:pt idx="21864">
                  <c:v>40268</c:v>
                </c:pt>
                <c:pt idx="21865">
                  <c:v>27710</c:v>
                </c:pt>
                <c:pt idx="21866">
                  <c:v>23652</c:v>
                </c:pt>
                <c:pt idx="21867">
                  <c:v>41647</c:v>
                </c:pt>
                <c:pt idx="21868">
                  <c:v>72970</c:v>
                </c:pt>
                <c:pt idx="21869">
                  <c:v>24857</c:v>
                </c:pt>
                <c:pt idx="21870">
                  <c:v>66125</c:v>
                </c:pt>
                <c:pt idx="21871">
                  <c:v>27787</c:v>
                </c:pt>
                <c:pt idx="21872">
                  <c:v>54526</c:v>
                </c:pt>
                <c:pt idx="21873">
                  <c:v>26638</c:v>
                </c:pt>
                <c:pt idx="21874">
                  <c:v>79086</c:v>
                </c:pt>
                <c:pt idx="21875">
                  <c:v>24857</c:v>
                </c:pt>
                <c:pt idx="21876">
                  <c:v>49025</c:v>
                </c:pt>
                <c:pt idx="21877">
                  <c:v>31106</c:v>
                </c:pt>
                <c:pt idx="21878">
                  <c:v>125593</c:v>
                </c:pt>
                <c:pt idx="21879">
                  <c:v>44380</c:v>
                </c:pt>
                <c:pt idx="21880">
                  <c:v>41342</c:v>
                </c:pt>
                <c:pt idx="21881">
                  <c:v>35440</c:v>
                </c:pt>
                <c:pt idx="21882">
                  <c:v>39663</c:v>
                </c:pt>
                <c:pt idx="21883">
                  <c:v>47255</c:v>
                </c:pt>
                <c:pt idx="21884">
                  <c:v>30596</c:v>
                </c:pt>
                <c:pt idx="21885">
                  <c:v>28204</c:v>
                </c:pt>
                <c:pt idx="21886">
                  <c:v>33692</c:v>
                </c:pt>
                <c:pt idx="21887">
                  <c:v>134322</c:v>
                </c:pt>
                <c:pt idx="21888">
                  <c:v>36988</c:v>
                </c:pt>
                <c:pt idx="21889">
                  <c:v>103950</c:v>
                </c:pt>
                <c:pt idx="21890">
                  <c:v>34687</c:v>
                </c:pt>
                <c:pt idx="21891">
                  <c:v>35460</c:v>
                </c:pt>
                <c:pt idx="21892">
                  <c:v>125003</c:v>
                </c:pt>
                <c:pt idx="21893">
                  <c:v>41344</c:v>
                </c:pt>
                <c:pt idx="21894">
                  <c:v>41350</c:v>
                </c:pt>
                <c:pt idx="21895">
                  <c:v>111838</c:v>
                </c:pt>
                <c:pt idx="21896">
                  <c:v>46366</c:v>
                </c:pt>
                <c:pt idx="21897">
                  <c:v>37956</c:v>
                </c:pt>
                <c:pt idx="21898">
                  <c:v>25353</c:v>
                </c:pt>
                <c:pt idx="21899">
                  <c:v>147273</c:v>
                </c:pt>
                <c:pt idx="21900">
                  <c:v>89740</c:v>
                </c:pt>
                <c:pt idx="21901">
                  <c:v>51184</c:v>
                </c:pt>
                <c:pt idx="21902">
                  <c:v>66677</c:v>
                </c:pt>
                <c:pt idx="21903">
                  <c:v>44270</c:v>
                </c:pt>
                <c:pt idx="21904">
                  <c:v>26134</c:v>
                </c:pt>
                <c:pt idx="21905">
                  <c:v>56453</c:v>
                </c:pt>
                <c:pt idx="21906">
                  <c:v>38479</c:v>
                </c:pt>
                <c:pt idx="21907">
                  <c:v>47569</c:v>
                </c:pt>
                <c:pt idx="21908">
                  <c:v>30368</c:v>
                </c:pt>
                <c:pt idx="21909">
                  <c:v>108437</c:v>
                </c:pt>
                <c:pt idx="21910">
                  <c:v>35735</c:v>
                </c:pt>
                <c:pt idx="21911">
                  <c:v>70948</c:v>
                </c:pt>
                <c:pt idx="21912">
                  <c:v>41191</c:v>
                </c:pt>
                <c:pt idx="21913">
                  <c:v>24909</c:v>
                </c:pt>
                <c:pt idx="21914">
                  <c:v>38628</c:v>
                </c:pt>
                <c:pt idx="21915">
                  <c:v>63355</c:v>
                </c:pt>
                <c:pt idx="21916">
                  <c:v>29856</c:v>
                </c:pt>
                <c:pt idx="21917">
                  <c:v>41858</c:v>
                </c:pt>
                <c:pt idx="21918">
                  <c:v>29392</c:v>
                </c:pt>
                <c:pt idx="21919">
                  <c:v>25218</c:v>
                </c:pt>
                <c:pt idx="21920">
                  <c:v>21354</c:v>
                </c:pt>
                <c:pt idx="21921">
                  <c:v>95737</c:v>
                </c:pt>
                <c:pt idx="21922">
                  <c:v>25172</c:v>
                </c:pt>
                <c:pt idx="21923">
                  <c:v>193639</c:v>
                </c:pt>
                <c:pt idx="21924">
                  <c:v>41044</c:v>
                </c:pt>
                <c:pt idx="21925">
                  <c:v>38965</c:v>
                </c:pt>
                <c:pt idx="21926">
                  <c:v>25513</c:v>
                </c:pt>
                <c:pt idx="21927">
                  <c:v>82555</c:v>
                </c:pt>
                <c:pt idx="21928">
                  <c:v>32032</c:v>
                </c:pt>
                <c:pt idx="21929">
                  <c:v>46467</c:v>
                </c:pt>
                <c:pt idx="21930">
                  <c:v>45761</c:v>
                </c:pt>
                <c:pt idx="21931">
                  <c:v>36073</c:v>
                </c:pt>
                <c:pt idx="21932">
                  <c:v>117104</c:v>
                </c:pt>
                <c:pt idx="21933">
                  <c:v>25997</c:v>
                </c:pt>
                <c:pt idx="21934">
                  <c:v>44443</c:v>
                </c:pt>
                <c:pt idx="21935">
                  <c:v>102396</c:v>
                </c:pt>
                <c:pt idx="21936">
                  <c:v>35355</c:v>
                </c:pt>
                <c:pt idx="21937">
                  <c:v>31839</c:v>
                </c:pt>
                <c:pt idx="21938">
                  <c:v>90679</c:v>
                </c:pt>
                <c:pt idx="21939">
                  <c:v>64963</c:v>
                </c:pt>
                <c:pt idx="21940">
                  <c:v>58580</c:v>
                </c:pt>
                <c:pt idx="21941">
                  <c:v>30054</c:v>
                </c:pt>
                <c:pt idx="21942">
                  <c:v>45027</c:v>
                </c:pt>
                <c:pt idx="21943">
                  <c:v>31007</c:v>
                </c:pt>
                <c:pt idx="21944">
                  <c:v>32677</c:v>
                </c:pt>
                <c:pt idx="21945">
                  <c:v>32722</c:v>
                </c:pt>
                <c:pt idx="21946">
                  <c:v>41796</c:v>
                </c:pt>
                <c:pt idx="21947">
                  <c:v>43750</c:v>
                </c:pt>
                <c:pt idx="21948">
                  <c:v>106619</c:v>
                </c:pt>
                <c:pt idx="21949">
                  <c:v>203999</c:v>
                </c:pt>
                <c:pt idx="21950">
                  <c:v>35681</c:v>
                </c:pt>
                <c:pt idx="21951">
                  <c:v>80646</c:v>
                </c:pt>
                <c:pt idx="21952">
                  <c:v>36916</c:v>
                </c:pt>
                <c:pt idx="21953">
                  <c:v>44745</c:v>
                </c:pt>
                <c:pt idx="21954">
                  <c:v>67522</c:v>
                </c:pt>
                <c:pt idx="21955">
                  <c:v>40411</c:v>
                </c:pt>
                <c:pt idx="21956">
                  <c:v>100878</c:v>
                </c:pt>
                <c:pt idx="21957">
                  <c:v>39996</c:v>
                </c:pt>
                <c:pt idx="21958">
                  <c:v>39477</c:v>
                </c:pt>
                <c:pt idx="21959">
                  <c:v>43176</c:v>
                </c:pt>
                <c:pt idx="21960">
                  <c:v>34672</c:v>
                </c:pt>
                <c:pt idx="21961">
                  <c:v>259611</c:v>
                </c:pt>
                <c:pt idx="21962">
                  <c:v>40199</c:v>
                </c:pt>
                <c:pt idx="21963">
                  <c:v>28765</c:v>
                </c:pt>
                <c:pt idx="21964">
                  <c:v>33209</c:v>
                </c:pt>
                <c:pt idx="21965">
                  <c:v>24776</c:v>
                </c:pt>
                <c:pt idx="21966">
                  <c:v>132118</c:v>
                </c:pt>
                <c:pt idx="21967">
                  <c:v>23307</c:v>
                </c:pt>
                <c:pt idx="21968">
                  <c:v>74130</c:v>
                </c:pt>
                <c:pt idx="21969">
                  <c:v>25950</c:v>
                </c:pt>
                <c:pt idx="21970">
                  <c:v>46213</c:v>
                </c:pt>
                <c:pt idx="21971">
                  <c:v>35854</c:v>
                </c:pt>
                <c:pt idx="21972">
                  <c:v>44231</c:v>
                </c:pt>
                <c:pt idx="21973">
                  <c:v>140222</c:v>
                </c:pt>
                <c:pt idx="21974">
                  <c:v>52772</c:v>
                </c:pt>
                <c:pt idx="21975">
                  <c:v>181428</c:v>
                </c:pt>
                <c:pt idx="21976">
                  <c:v>42391</c:v>
                </c:pt>
                <c:pt idx="21977">
                  <c:v>32434</c:v>
                </c:pt>
                <c:pt idx="21978">
                  <c:v>41596</c:v>
                </c:pt>
                <c:pt idx="21979">
                  <c:v>46849</c:v>
                </c:pt>
                <c:pt idx="21980">
                  <c:v>25315</c:v>
                </c:pt>
                <c:pt idx="21981">
                  <c:v>70610</c:v>
                </c:pt>
                <c:pt idx="21982">
                  <c:v>92762</c:v>
                </c:pt>
                <c:pt idx="21983">
                  <c:v>56959</c:v>
                </c:pt>
                <c:pt idx="21984">
                  <c:v>26912</c:v>
                </c:pt>
                <c:pt idx="21985">
                  <c:v>27259</c:v>
                </c:pt>
                <c:pt idx="21986">
                  <c:v>50415</c:v>
                </c:pt>
                <c:pt idx="21987">
                  <c:v>372968</c:v>
                </c:pt>
                <c:pt idx="21988">
                  <c:v>69914</c:v>
                </c:pt>
                <c:pt idx="21989">
                  <c:v>29362</c:v>
                </c:pt>
                <c:pt idx="21990">
                  <c:v>27665</c:v>
                </c:pt>
                <c:pt idx="21991">
                  <c:v>40941</c:v>
                </c:pt>
                <c:pt idx="21992">
                  <c:v>35283</c:v>
                </c:pt>
                <c:pt idx="21993">
                  <c:v>99788</c:v>
                </c:pt>
                <c:pt idx="21994">
                  <c:v>41328</c:v>
                </c:pt>
                <c:pt idx="21995">
                  <c:v>95225</c:v>
                </c:pt>
                <c:pt idx="21996">
                  <c:v>100868</c:v>
                </c:pt>
                <c:pt idx="21997">
                  <c:v>40200</c:v>
                </c:pt>
                <c:pt idx="21998">
                  <c:v>32410</c:v>
                </c:pt>
                <c:pt idx="21999">
                  <c:v>55471</c:v>
                </c:pt>
                <c:pt idx="22000">
                  <c:v>26474</c:v>
                </c:pt>
                <c:pt idx="22001">
                  <c:v>42531</c:v>
                </c:pt>
                <c:pt idx="22002">
                  <c:v>76887</c:v>
                </c:pt>
                <c:pt idx="22003">
                  <c:v>31454</c:v>
                </c:pt>
                <c:pt idx="22004">
                  <c:v>94360</c:v>
                </c:pt>
                <c:pt idx="22005">
                  <c:v>30010</c:v>
                </c:pt>
                <c:pt idx="22006">
                  <c:v>51809</c:v>
                </c:pt>
                <c:pt idx="22007">
                  <c:v>83949</c:v>
                </c:pt>
                <c:pt idx="22008">
                  <c:v>134420</c:v>
                </c:pt>
                <c:pt idx="22009">
                  <c:v>168384</c:v>
                </c:pt>
                <c:pt idx="22010">
                  <c:v>27870</c:v>
                </c:pt>
                <c:pt idx="22011">
                  <c:v>37630</c:v>
                </c:pt>
                <c:pt idx="22012">
                  <c:v>46446</c:v>
                </c:pt>
                <c:pt idx="22013">
                  <c:v>58442</c:v>
                </c:pt>
                <c:pt idx="22014">
                  <c:v>37609</c:v>
                </c:pt>
                <c:pt idx="22015">
                  <c:v>49044</c:v>
                </c:pt>
                <c:pt idx="22016">
                  <c:v>71936</c:v>
                </c:pt>
                <c:pt idx="22017">
                  <c:v>194171</c:v>
                </c:pt>
                <c:pt idx="22018">
                  <c:v>37386</c:v>
                </c:pt>
                <c:pt idx="22019">
                  <c:v>22684</c:v>
                </c:pt>
                <c:pt idx="22020">
                  <c:v>43982</c:v>
                </c:pt>
                <c:pt idx="22021">
                  <c:v>44478</c:v>
                </c:pt>
                <c:pt idx="22022">
                  <c:v>30666</c:v>
                </c:pt>
                <c:pt idx="22023">
                  <c:v>68497</c:v>
                </c:pt>
                <c:pt idx="22024">
                  <c:v>73430</c:v>
                </c:pt>
                <c:pt idx="22025">
                  <c:v>81688</c:v>
                </c:pt>
                <c:pt idx="22026">
                  <c:v>43282</c:v>
                </c:pt>
                <c:pt idx="22027">
                  <c:v>87140</c:v>
                </c:pt>
                <c:pt idx="22028">
                  <c:v>35276</c:v>
                </c:pt>
                <c:pt idx="22029">
                  <c:v>38911</c:v>
                </c:pt>
                <c:pt idx="22030">
                  <c:v>45433</c:v>
                </c:pt>
                <c:pt idx="22031">
                  <c:v>40371</c:v>
                </c:pt>
                <c:pt idx="22032">
                  <c:v>27501</c:v>
                </c:pt>
                <c:pt idx="22033">
                  <c:v>156061</c:v>
                </c:pt>
                <c:pt idx="22034">
                  <c:v>41144</c:v>
                </c:pt>
                <c:pt idx="22035">
                  <c:v>26480</c:v>
                </c:pt>
                <c:pt idx="22036">
                  <c:v>69881</c:v>
                </c:pt>
                <c:pt idx="22037">
                  <c:v>203972</c:v>
                </c:pt>
                <c:pt idx="22038">
                  <c:v>36476</c:v>
                </c:pt>
                <c:pt idx="22039">
                  <c:v>43899</c:v>
                </c:pt>
                <c:pt idx="22040">
                  <c:v>26329</c:v>
                </c:pt>
                <c:pt idx="22041">
                  <c:v>58858</c:v>
                </c:pt>
                <c:pt idx="22042">
                  <c:v>34356</c:v>
                </c:pt>
                <c:pt idx="22043">
                  <c:v>42451</c:v>
                </c:pt>
                <c:pt idx="22044">
                  <c:v>20799</c:v>
                </c:pt>
                <c:pt idx="22045">
                  <c:v>69661</c:v>
                </c:pt>
                <c:pt idx="22046">
                  <c:v>46744</c:v>
                </c:pt>
                <c:pt idx="22047">
                  <c:v>162748</c:v>
                </c:pt>
                <c:pt idx="22048">
                  <c:v>150316</c:v>
                </c:pt>
                <c:pt idx="22049">
                  <c:v>37077</c:v>
                </c:pt>
                <c:pt idx="22050">
                  <c:v>116213</c:v>
                </c:pt>
                <c:pt idx="22051">
                  <c:v>35470</c:v>
                </c:pt>
                <c:pt idx="22052">
                  <c:v>37127</c:v>
                </c:pt>
                <c:pt idx="22053">
                  <c:v>31573</c:v>
                </c:pt>
                <c:pt idx="22054">
                  <c:v>93818</c:v>
                </c:pt>
                <c:pt idx="22055">
                  <c:v>46832</c:v>
                </c:pt>
                <c:pt idx="22056">
                  <c:v>25051</c:v>
                </c:pt>
                <c:pt idx="22057">
                  <c:v>50285</c:v>
                </c:pt>
                <c:pt idx="22058">
                  <c:v>38965</c:v>
                </c:pt>
                <c:pt idx="22059">
                  <c:v>78735</c:v>
                </c:pt>
                <c:pt idx="22060">
                  <c:v>163062</c:v>
                </c:pt>
                <c:pt idx="22061">
                  <c:v>45846</c:v>
                </c:pt>
                <c:pt idx="22062">
                  <c:v>57757</c:v>
                </c:pt>
                <c:pt idx="22063">
                  <c:v>152316</c:v>
                </c:pt>
                <c:pt idx="22064">
                  <c:v>60704</c:v>
                </c:pt>
                <c:pt idx="22065">
                  <c:v>115793</c:v>
                </c:pt>
                <c:pt idx="22066">
                  <c:v>58747</c:v>
                </c:pt>
                <c:pt idx="22067">
                  <c:v>41222</c:v>
                </c:pt>
                <c:pt idx="22068">
                  <c:v>37501</c:v>
                </c:pt>
                <c:pt idx="22069">
                  <c:v>43741</c:v>
                </c:pt>
                <c:pt idx="22070">
                  <c:v>33242</c:v>
                </c:pt>
                <c:pt idx="22071">
                  <c:v>82584</c:v>
                </c:pt>
                <c:pt idx="22072">
                  <c:v>39341</c:v>
                </c:pt>
                <c:pt idx="22073">
                  <c:v>124107</c:v>
                </c:pt>
                <c:pt idx="22074">
                  <c:v>42703</c:v>
                </c:pt>
                <c:pt idx="22075">
                  <c:v>37654</c:v>
                </c:pt>
                <c:pt idx="22076">
                  <c:v>25100</c:v>
                </c:pt>
                <c:pt idx="22077">
                  <c:v>106154</c:v>
                </c:pt>
                <c:pt idx="22078">
                  <c:v>24061</c:v>
                </c:pt>
                <c:pt idx="22079">
                  <c:v>66253</c:v>
                </c:pt>
                <c:pt idx="22080">
                  <c:v>40154</c:v>
                </c:pt>
                <c:pt idx="22081">
                  <c:v>56344</c:v>
                </c:pt>
                <c:pt idx="22082">
                  <c:v>36723</c:v>
                </c:pt>
                <c:pt idx="22083">
                  <c:v>35477</c:v>
                </c:pt>
                <c:pt idx="22084">
                  <c:v>48595</c:v>
                </c:pt>
                <c:pt idx="22085">
                  <c:v>46811</c:v>
                </c:pt>
                <c:pt idx="22086">
                  <c:v>68289</c:v>
                </c:pt>
                <c:pt idx="22087">
                  <c:v>56418</c:v>
                </c:pt>
                <c:pt idx="22088">
                  <c:v>386039</c:v>
                </c:pt>
                <c:pt idx="22089">
                  <c:v>61154</c:v>
                </c:pt>
                <c:pt idx="22090">
                  <c:v>38217</c:v>
                </c:pt>
                <c:pt idx="22091">
                  <c:v>26133</c:v>
                </c:pt>
                <c:pt idx="22092">
                  <c:v>54504</c:v>
                </c:pt>
                <c:pt idx="22093">
                  <c:v>25665</c:v>
                </c:pt>
                <c:pt idx="22094">
                  <c:v>36018</c:v>
                </c:pt>
                <c:pt idx="22095">
                  <c:v>57130</c:v>
                </c:pt>
                <c:pt idx="22096">
                  <c:v>26784</c:v>
                </c:pt>
                <c:pt idx="22097">
                  <c:v>53071</c:v>
                </c:pt>
                <c:pt idx="22098">
                  <c:v>153380</c:v>
                </c:pt>
                <c:pt idx="22099">
                  <c:v>67147</c:v>
                </c:pt>
                <c:pt idx="22100">
                  <c:v>62374</c:v>
                </c:pt>
                <c:pt idx="22101">
                  <c:v>26609</c:v>
                </c:pt>
                <c:pt idx="22102">
                  <c:v>40845</c:v>
                </c:pt>
                <c:pt idx="22103">
                  <c:v>25367</c:v>
                </c:pt>
                <c:pt idx="22104">
                  <c:v>103113</c:v>
                </c:pt>
                <c:pt idx="22105">
                  <c:v>202788</c:v>
                </c:pt>
                <c:pt idx="22106">
                  <c:v>27859</c:v>
                </c:pt>
                <c:pt idx="22107">
                  <c:v>30112</c:v>
                </c:pt>
                <c:pt idx="22108">
                  <c:v>29596</c:v>
                </c:pt>
                <c:pt idx="22109">
                  <c:v>172135</c:v>
                </c:pt>
                <c:pt idx="22110">
                  <c:v>24627</c:v>
                </c:pt>
                <c:pt idx="22111">
                  <c:v>56742</c:v>
                </c:pt>
                <c:pt idx="22112">
                  <c:v>39723</c:v>
                </c:pt>
                <c:pt idx="22113">
                  <c:v>48934</c:v>
                </c:pt>
                <c:pt idx="22114">
                  <c:v>51967</c:v>
                </c:pt>
                <c:pt idx="22115">
                  <c:v>38696</c:v>
                </c:pt>
                <c:pt idx="22116">
                  <c:v>241040</c:v>
                </c:pt>
                <c:pt idx="22117">
                  <c:v>65968</c:v>
                </c:pt>
                <c:pt idx="22118">
                  <c:v>25557</c:v>
                </c:pt>
                <c:pt idx="22119">
                  <c:v>28262</c:v>
                </c:pt>
                <c:pt idx="22120">
                  <c:v>45062</c:v>
                </c:pt>
                <c:pt idx="22121">
                  <c:v>24845</c:v>
                </c:pt>
                <c:pt idx="22122">
                  <c:v>62191</c:v>
                </c:pt>
                <c:pt idx="22123">
                  <c:v>24583</c:v>
                </c:pt>
                <c:pt idx="22124">
                  <c:v>42423</c:v>
                </c:pt>
                <c:pt idx="22125">
                  <c:v>42661</c:v>
                </c:pt>
                <c:pt idx="22126">
                  <c:v>55460</c:v>
                </c:pt>
                <c:pt idx="22127">
                  <c:v>32035</c:v>
                </c:pt>
                <c:pt idx="22128">
                  <c:v>32314</c:v>
                </c:pt>
                <c:pt idx="22129">
                  <c:v>44476</c:v>
                </c:pt>
                <c:pt idx="22130">
                  <c:v>47059</c:v>
                </c:pt>
                <c:pt idx="22131">
                  <c:v>98953</c:v>
                </c:pt>
                <c:pt idx="22132">
                  <c:v>35831</c:v>
                </c:pt>
                <c:pt idx="22133">
                  <c:v>61197</c:v>
                </c:pt>
                <c:pt idx="22134">
                  <c:v>29598</c:v>
                </c:pt>
                <c:pt idx="22135">
                  <c:v>45131</c:v>
                </c:pt>
                <c:pt idx="22136">
                  <c:v>56541</c:v>
                </c:pt>
                <c:pt idx="22137">
                  <c:v>39999</c:v>
                </c:pt>
                <c:pt idx="22138">
                  <c:v>64557</c:v>
                </c:pt>
                <c:pt idx="22139">
                  <c:v>40156</c:v>
                </c:pt>
                <c:pt idx="22140">
                  <c:v>32087</c:v>
                </c:pt>
                <c:pt idx="22141">
                  <c:v>32284</c:v>
                </c:pt>
                <c:pt idx="22142">
                  <c:v>39944</c:v>
                </c:pt>
                <c:pt idx="22143">
                  <c:v>72153</c:v>
                </c:pt>
                <c:pt idx="22144">
                  <c:v>33809</c:v>
                </c:pt>
                <c:pt idx="22145">
                  <c:v>26398</c:v>
                </c:pt>
                <c:pt idx="22146">
                  <c:v>37547</c:v>
                </c:pt>
                <c:pt idx="22147">
                  <c:v>88035</c:v>
                </c:pt>
                <c:pt idx="22148">
                  <c:v>45373</c:v>
                </c:pt>
                <c:pt idx="22149">
                  <c:v>30715</c:v>
                </c:pt>
                <c:pt idx="22150">
                  <c:v>166248</c:v>
                </c:pt>
                <c:pt idx="22151">
                  <c:v>46080</c:v>
                </c:pt>
                <c:pt idx="22152">
                  <c:v>138208</c:v>
                </c:pt>
                <c:pt idx="22153">
                  <c:v>48501</c:v>
                </c:pt>
                <c:pt idx="22154">
                  <c:v>122839</c:v>
                </c:pt>
                <c:pt idx="22155">
                  <c:v>51869</c:v>
                </c:pt>
                <c:pt idx="22156">
                  <c:v>101564</c:v>
                </c:pt>
                <c:pt idx="22157">
                  <c:v>59289</c:v>
                </c:pt>
                <c:pt idx="22158">
                  <c:v>53399</c:v>
                </c:pt>
                <c:pt idx="22159">
                  <c:v>54843</c:v>
                </c:pt>
                <c:pt idx="22160">
                  <c:v>45258</c:v>
                </c:pt>
                <c:pt idx="22161">
                  <c:v>60291</c:v>
                </c:pt>
                <c:pt idx="22162">
                  <c:v>81815</c:v>
                </c:pt>
                <c:pt idx="22163">
                  <c:v>58454</c:v>
                </c:pt>
                <c:pt idx="22164">
                  <c:v>37864</c:v>
                </c:pt>
                <c:pt idx="22165">
                  <c:v>100031</c:v>
                </c:pt>
                <c:pt idx="22166">
                  <c:v>23358</c:v>
                </c:pt>
                <c:pt idx="22167">
                  <c:v>55376</c:v>
                </c:pt>
                <c:pt idx="22168">
                  <c:v>159989</c:v>
                </c:pt>
                <c:pt idx="22169">
                  <c:v>44987</c:v>
                </c:pt>
                <c:pt idx="22170">
                  <c:v>25555</c:v>
                </c:pt>
                <c:pt idx="22171">
                  <c:v>239415</c:v>
                </c:pt>
                <c:pt idx="22172">
                  <c:v>62589</c:v>
                </c:pt>
                <c:pt idx="22173">
                  <c:v>39816</c:v>
                </c:pt>
                <c:pt idx="22174">
                  <c:v>34501</c:v>
                </c:pt>
                <c:pt idx="22175">
                  <c:v>34398</c:v>
                </c:pt>
                <c:pt idx="22176">
                  <c:v>56761</c:v>
                </c:pt>
                <c:pt idx="22177">
                  <c:v>39271</c:v>
                </c:pt>
                <c:pt idx="22178">
                  <c:v>88472</c:v>
                </c:pt>
                <c:pt idx="22179">
                  <c:v>74748</c:v>
                </c:pt>
                <c:pt idx="22180">
                  <c:v>36495</c:v>
                </c:pt>
                <c:pt idx="22181">
                  <c:v>61552</c:v>
                </c:pt>
                <c:pt idx="22182">
                  <c:v>55412</c:v>
                </c:pt>
                <c:pt idx="22183">
                  <c:v>84931</c:v>
                </c:pt>
                <c:pt idx="22184">
                  <c:v>35546</c:v>
                </c:pt>
                <c:pt idx="22185">
                  <c:v>55175</c:v>
                </c:pt>
                <c:pt idx="22186">
                  <c:v>35702</c:v>
                </c:pt>
                <c:pt idx="22187">
                  <c:v>81161</c:v>
                </c:pt>
                <c:pt idx="22188">
                  <c:v>45534</c:v>
                </c:pt>
                <c:pt idx="22189">
                  <c:v>328867</c:v>
                </c:pt>
                <c:pt idx="22190">
                  <c:v>19128</c:v>
                </c:pt>
                <c:pt idx="22191">
                  <c:v>202906</c:v>
                </c:pt>
                <c:pt idx="22192">
                  <c:v>27581</c:v>
                </c:pt>
                <c:pt idx="22193">
                  <c:v>117634</c:v>
                </c:pt>
                <c:pt idx="22194">
                  <c:v>34658</c:v>
                </c:pt>
                <c:pt idx="22195">
                  <c:v>31619</c:v>
                </c:pt>
                <c:pt idx="22196">
                  <c:v>37189</c:v>
                </c:pt>
                <c:pt idx="22197">
                  <c:v>40107</c:v>
                </c:pt>
                <c:pt idx="22198">
                  <c:v>47240</c:v>
                </c:pt>
                <c:pt idx="22199">
                  <c:v>27044</c:v>
                </c:pt>
                <c:pt idx="22200">
                  <c:v>33399</c:v>
                </c:pt>
                <c:pt idx="22201">
                  <c:v>108705</c:v>
                </c:pt>
                <c:pt idx="22202">
                  <c:v>57850</c:v>
                </c:pt>
                <c:pt idx="22203">
                  <c:v>40859</c:v>
                </c:pt>
                <c:pt idx="22204">
                  <c:v>46739</c:v>
                </c:pt>
                <c:pt idx="22205">
                  <c:v>28639</c:v>
                </c:pt>
                <c:pt idx="22206">
                  <c:v>26090</c:v>
                </c:pt>
                <c:pt idx="22207">
                  <c:v>30247</c:v>
                </c:pt>
                <c:pt idx="22208">
                  <c:v>88242</c:v>
                </c:pt>
                <c:pt idx="22209">
                  <c:v>64415</c:v>
                </c:pt>
                <c:pt idx="22210">
                  <c:v>113097</c:v>
                </c:pt>
                <c:pt idx="22211">
                  <c:v>48409</c:v>
                </c:pt>
                <c:pt idx="22212">
                  <c:v>33334</c:v>
                </c:pt>
                <c:pt idx="22213">
                  <c:v>157895</c:v>
                </c:pt>
                <c:pt idx="22214">
                  <c:v>25465</c:v>
                </c:pt>
                <c:pt idx="22215">
                  <c:v>60070</c:v>
                </c:pt>
                <c:pt idx="22216">
                  <c:v>54536</c:v>
                </c:pt>
                <c:pt idx="22217">
                  <c:v>95789</c:v>
                </c:pt>
                <c:pt idx="22218">
                  <c:v>23982</c:v>
                </c:pt>
                <c:pt idx="22219">
                  <c:v>58057</c:v>
                </c:pt>
                <c:pt idx="22220">
                  <c:v>197361</c:v>
                </c:pt>
                <c:pt idx="22221">
                  <c:v>32226</c:v>
                </c:pt>
                <c:pt idx="22222">
                  <c:v>33835</c:v>
                </c:pt>
                <c:pt idx="22223">
                  <c:v>51528</c:v>
                </c:pt>
                <c:pt idx="22224">
                  <c:v>27437</c:v>
                </c:pt>
                <c:pt idx="22225">
                  <c:v>41052</c:v>
                </c:pt>
                <c:pt idx="22226">
                  <c:v>151325</c:v>
                </c:pt>
                <c:pt idx="22227">
                  <c:v>25254</c:v>
                </c:pt>
                <c:pt idx="22228">
                  <c:v>25001</c:v>
                </c:pt>
                <c:pt idx="22229">
                  <c:v>30899</c:v>
                </c:pt>
                <c:pt idx="22230">
                  <c:v>179520</c:v>
                </c:pt>
                <c:pt idx="22231">
                  <c:v>45548</c:v>
                </c:pt>
                <c:pt idx="22232">
                  <c:v>31884</c:v>
                </c:pt>
                <c:pt idx="22233">
                  <c:v>84707</c:v>
                </c:pt>
                <c:pt idx="22234">
                  <c:v>33104</c:v>
                </c:pt>
                <c:pt idx="22235">
                  <c:v>43405</c:v>
                </c:pt>
                <c:pt idx="22236">
                  <c:v>31484</c:v>
                </c:pt>
                <c:pt idx="22237">
                  <c:v>27172</c:v>
                </c:pt>
                <c:pt idx="22238">
                  <c:v>26157</c:v>
                </c:pt>
                <c:pt idx="22239">
                  <c:v>36539</c:v>
                </c:pt>
                <c:pt idx="22240">
                  <c:v>22952</c:v>
                </c:pt>
                <c:pt idx="22241">
                  <c:v>26085</c:v>
                </c:pt>
                <c:pt idx="22242">
                  <c:v>48390</c:v>
                </c:pt>
                <c:pt idx="22243">
                  <c:v>55512</c:v>
                </c:pt>
                <c:pt idx="22244">
                  <c:v>39143</c:v>
                </c:pt>
                <c:pt idx="22245">
                  <c:v>36220</c:v>
                </c:pt>
                <c:pt idx="22246">
                  <c:v>21254</c:v>
                </c:pt>
                <c:pt idx="22247">
                  <c:v>31942</c:v>
                </c:pt>
                <c:pt idx="22248">
                  <c:v>21354</c:v>
                </c:pt>
                <c:pt idx="22249">
                  <c:v>142151</c:v>
                </c:pt>
                <c:pt idx="22250">
                  <c:v>31755</c:v>
                </c:pt>
                <c:pt idx="22251">
                  <c:v>22573</c:v>
                </c:pt>
                <c:pt idx="22252">
                  <c:v>21770</c:v>
                </c:pt>
                <c:pt idx="22253">
                  <c:v>112973</c:v>
                </c:pt>
                <c:pt idx="22254">
                  <c:v>38572</c:v>
                </c:pt>
                <c:pt idx="22255">
                  <c:v>104627</c:v>
                </c:pt>
                <c:pt idx="22256">
                  <c:v>42290</c:v>
                </c:pt>
                <c:pt idx="22257">
                  <c:v>51336</c:v>
                </c:pt>
                <c:pt idx="22258">
                  <c:v>54810</c:v>
                </c:pt>
                <c:pt idx="22259">
                  <c:v>23698</c:v>
                </c:pt>
                <c:pt idx="22260">
                  <c:v>52842</c:v>
                </c:pt>
                <c:pt idx="22261">
                  <c:v>194242</c:v>
                </c:pt>
                <c:pt idx="22262">
                  <c:v>60280</c:v>
                </c:pt>
                <c:pt idx="22263">
                  <c:v>358116</c:v>
                </c:pt>
                <c:pt idx="22264">
                  <c:v>37737</c:v>
                </c:pt>
                <c:pt idx="22265">
                  <c:v>34075</c:v>
                </c:pt>
                <c:pt idx="22266">
                  <c:v>51813</c:v>
                </c:pt>
                <c:pt idx="22267">
                  <c:v>47500</c:v>
                </c:pt>
                <c:pt idx="22268">
                  <c:v>72153</c:v>
                </c:pt>
                <c:pt idx="22269">
                  <c:v>34682</c:v>
                </c:pt>
                <c:pt idx="22270">
                  <c:v>41365</c:v>
                </c:pt>
                <c:pt idx="22271">
                  <c:v>27280</c:v>
                </c:pt>
                <c:pt idx="22272">
                  <c:v>46992</c:v>
                </c:pt>
                <c:pt idx="22273">
                  <c:v>245980</c:v>
                </c:pt>
                <c:pt idx="22274">
                  <c:v>28050</c:v>
                </c:pt>
                <c:pt idx="22275">
                  <c:v>64794</c:v>
                </c:pt>
                <c:pt idx="22276">
                  <c:v>34393</c:v>
                </c:pt>
                <c:pt idx="22277">
                  <c:v>39819</c:v>
                </c:pt>
                <c:pt idx="22278">
                  <c:v>49204</c:v>
                </c:pt>
                <c:pt idx="22279">
                  <c:v>59431</c:v>
                </c:pt>
                <c:pt idx="22280">
                  <c:v>48411</c:v>
                </c:pt>
                <c:pt idx="22281">
                  <c:v>135724</c:v>
                </c:pt>
                <c:pt idx="22282">
                  <c:v>42321</c:v>
                </c:pt>
                <c:pt idx="22283">
                  <c:v>91401</c:v>
                </c:pt>
                <c:pt idx="22284">
                  <c:v>63864</c:v>
                </c:pt>
                <c:pt idx="22285">
                  <c:v>37095</c:v>
                </c:pt>
                <c:pt idx="22286">
                  <c:v>110909</c:v>
                </c:pt>
                <c:pt idx="22287">
                  <c:v>47142</c:v>
                </c:pt>
                <c:pt idx="22288">
                  <c:v>50217</c:v>
                </c:pt>
                <c:pt idx="22289">
                  <c:v>40319</c:v>
                </c:pt>
                <c:pt idx="22290">
                  <c:v>52498</c:v>
                </c:pt>
                <c:pt idx="22291">
                  <c:v>49664</c:v>
                </c:pt>
                <c:pt idx="22292">
                  <c:v>190483</c:v>
                </c:pt>
                <c:pt idx="22293">
                  <c:v>34726</c:v>
                </c:pt>
                <c:pt idx="22294">
                  <c:v>44863</c:v>
                </c:pt>
                <c:pt idx="22295">
                  <c:v>91556</c:v>
                </c:pt>
                <c:pt idx="22296">
                  <c:v>26867</c:v>
                </c:pt>
                <c:pt idx="22297">
                  <c:v>184393</c:v>
                </c:pt>
                <c:pt idx="22298">
                  <c:v>60059</c:v>
                </c:pt>
                <c:pt idx="22299">
                  <c:v>141535</c:v>
                </c:pt>
                <c:pt idx="22300">
                  <c:v>176295</c:v>
                </c:pt>
                <c:pt idx="22301">
                  <c:v>37898</c:v>
                </c:pt>
                <c:pt idx="22302">
                  <c:v>26601</c:v>
                </c:pt>
                <c:pt idx="22303">
                  <c:v>28728</c:v>
                </c:pt>
                <c:pt idx="22304">
                  <c:v>26081</c:v>
                </c:pt>
                <c:pt idx="22305">
                  <c:v>78849</c:v>
                </c:pt>
                <c:pt idx="22306">
                  <c:v>31944</c:v>
                </c:pt>
                <c:pt idx="22307">
                  <c:v>35510</c:v>
                </c:pt>
                <c:pt idx="22308">
                  <c:v>38556</c:v>
                </c:pt>
                <c:pt idx="22309">
                  <c:v>39622</c:v>
                </c:pt>
                <c:pt idx="22310">
                  <c:v>24861</c:v>
                </c:pt>
                <c:pt idx="22311">
                  <c:v>46050</c:v>
                </c:pt>
                <c:pt idx="22312">
                  <c:v>44070</c:v>
                </c:pt>
                <c:pt idx="22313">
                  <c:v>166865</c:v>
                </c:pt>
                <c:pt idx="22314">
                  <c:v>43287</c:v>
                </c:pt>
                <c:pt idx="22315">
                  <c:v>47608</c:v>
                </c:pt>
                <c:pt idx="22316">
                  <c:v>46203</c:v>
                </c:pt>
                <c:pt idx="22317">
                  <c:v>32212</c:v>
                </c:pt>
                <c:pt idx="22318">
                  <c:v>31210</c:v>
                </c:pt>
                <c:pt idx="22319">
                  <c:v>142810</c:v>
                </c:pt>
                <c:pt idx="22320">
                  <c:v>36200</c:v>
                </c:pt>
                <c:pt idx="22321">
                  <c:v>91373</c:v>
                </c:pt>
                <c:pt idx="22322">
                  <c:v>22732</c:v>
                </c:pt>
                <c:pt idx="22323">
                  <c:v>46054</c:v>
                </c:pt>
                <c:pt idx="22324">
                  <c:v>114905</c:v>
                </c:pt>
                <c:pt idx="22325">
                  <c:v>52627</c:v>
                </c:pt>
                <c:pt idx="22326">
                  <c:v>81041</c:v>
                </c:pt>
                <c:pt idx="22327">
                  <c:v>48583</c:v>
                </c:pt>
                <c:pt idx="22328">
                  <c:v>40735</c:v>
                </c:pt>
                <c:pt idx="22329">
                  <c:v>35531</c:v>
                </c:pt>
                <c:pt idx="22330">
                  <c:v>175610</c:v>
                </c:pt>
                <c:pt idx="22331">
                  <c:v>52863</c:v>
                </c:pt>
                <c:pt idx="22332">
                  <c:v>172471</c:v>
                </c:pt>
                <c:pt idx="22333">
                  <c:v>53478</c:v>
                </c:pt>
                <c:pt idx="22334">
                  <c:v>100689</c:v>
                </c:pt>
                <c:pt idx="22335">
                  <c:v>40999</c:v>
                </c:pt>
                <c:pt idx="22336">
                  <c:v>303915</c:v>
                </c:pt>
                <c:pt idx="22337">
                  <c:v>48068</c:v>
                </c:pt>
                <c:pt idx="22338">
                  <c:v>26050</c:v>
                </c:pt>
                <c:pt idx="22339">
                  <c:v>37731</c:v>
                </c:pt>
                <c:pt idx="22340">
                  <c:v>81065</c:v>
                </c:pt>
                <c:pt idx="22341">
                  <c:v>45957</c:v>
                </c:pt>
                <c:pt idx="22342">
                  <c:v>35827</c:v>
                </c:pt>
                <c:pt idx="22343">
                  <c:v>36813</c:v>
                </c:pt>
                <c:pt idx="22344">
                  <c:v>60634</c:v>
                </c:pt>
                <c:pt idx="22345">
                  <c:v>115965</c:v>
                </c:pt>
                <c:pt idx="22346">
                  <c:v>27619</c:v>
                </c:pt>
                <c:pt idx="22347">
                  <c:v>30925</c:v>
                </c:pt>
                <c:pt idx="22348">
                  <c:v>100567</c:v>
                </c:pt>
                <c:pt idx="22349">
                  <c:v>34939</c:v>
                </c:pt>
                <c:pt idx="22350">
                  <c:v>38159</c:v>
                </c:pt>
                <c:pt idx="22351">
                  <c:v>83014</c:v>
                </c:pt>
                <c:pt idx="22352">
                  <c:v>159746</c:v>
                </c:pt>
                <c:pt idx="22353">
                  <c:v>40224</c:v>
                </c:pt>
                <c:pt idx="22354">
                  <c:v>195450</c:v>
                </c:pt>
                <c:pt idx="22355">
                  <c:v>22770</c:v>
                </c:pt>
                <c:pt idx="22356">
                  <c:v>34764</c:v>
                </c:pt>
                <c:pt idx="22357">
                  <c:v>27902</c:v>
                </c:pt>
                <c:pt idx="22358">
                  <c:v>67785</c:v>
                </c:pt>
                <c:pt idx="22359">
                  <c:v>35687</c:v>
                </c:pt>
                <c:pt idx="22360">
                  <c:v>24104</c:v>
                </c:pt>
                <c:pt idx="22361">
                  <c:v>53641</c:v>
                </c:pt>
                <c:pt idx="22362">
                  <c:v>70513</c:v>
                </c:pt>
                <c:pt idx="22363">
                  <c:v>57295</c:v>
                </c:pt>
                <c:pt idx="22364">
                  <c:v>28933</c:v>
                </c:pt>
                <c:pt idx="22365">
                  <c:v>34883</c:v>
                </c:pt>
                <c:pt idx="22366">
                  <c:v>45731</c:v>
                </c:pt>
                <c:pt idx="22367">
                  <c:v>65690</c:v>
                </c:pt>
                <c:pt idx="22368">
                  <c:v>40205</c:v>
                </c:pt>
                <c:pt idx="22369">
                  <c:v>39245</c:v>
                </c:pt>
                <c:pt idx="22370">
                  <c:v>25432</c:v>
                </c:pt>
                <c:pt idx="22371">
                  <c:v>139508</c:v>
                </c:pt>
                <c:pt idx="22372">
                  <c:v>217110</c:v>
                </c:pt>
                <c:pt idx="22373">
                  <c:v>41725</c:v>
                </c:pt>
                <c:pt idx="22374">
                  <c:v>23172</c:v>
                </c:pt>
                <c:pt idx="22375">
                  <c:v>46954</c:v>
                </c:pt>
                <c:pt idx="22376">
                  <c:v>36967</c:v>
                </c:pt>
                <c:pt idx="22377">
                  <c:v>42928</c:v>
                </c:pt>
                <c:pt idx="22378">
                  <c:v>35916</c:v>
                </c:pt>
                <c:pt idx="22379">
                  <c:v>37782</c:v>
                </c:pt>
                <c:pt idx="22380">
                  <c:v>54771</c:v>
                </c:pt>
                <c:pt idx="22381">
                  <c:v>54924</c:v>
                </c:pt>
                <c:pt idx="22382">
                  <c:v>79117</c:v>
                </c:pt>
                <c:pt idx="22383">
                  <c:v>27301</c:v>
                </c:pt>
                <c:pt idx="22384">
                  <c:v>25862</c:v>
                </c:pt>
                <c:pt idx="22385">
                  <c:v>24085</c:v>
                </c:pt>
                <c:pt idx="22386">
                  <c:v>36246</c:v>
                </c:pt>
                <c:pt idx="22387">
                  <c:v>31134</c:v>
                </c:pt>
                <c:pt idx="22388">
                  <c:v>22625</c:v>
                </c:pt>
                <c:pt idx="22389">
                  <c:v>30673</c:v>
                </c:pt>
                <c:pt idx="22390">
                  <c:v>42410</c:v>
                </c:pt>
                <c:pt idx="22391">
                  <c:v>29266</c:v>
                </c:pt>
                <c:pt idx="22392">
                  <c:v>47732</c:v>
                </c:pt>
                <c:pt idx="22393">
                  <c:v>75337</c:v>
                </c:pt>
                <c:pt idx="22394">
                  <c:v>32455</c:v>
                </c:pt>
                <c:pt idx="22395">
                  <c:v>27224</c:v>
                </c:pt>
                <c:pt idx="22396">
                  <c:v>38248</c:v>
                </c:pt>
                <c:pt idx="22397">
                  <c:v>57063</c:v>
                </c:pt>
                <c:pt idx="22398">
                  <c:v>34257</c:v>
                </c:pt>
                <c:pt idx="22399">
                  <c:v>51970</c:v>
                </c:pt>
                <c:pt idx="22400">
                  <c:v>34566</c:v>
                </c:pt>
                <c:pt idx="22401">
                  <c:v>67668</c:v>
                </c:pt>
                <c:pt idx="22402">
                  <c:v>35728</c:v>
                </c:pt>
                <c:pt idx="22403">
                  <c:v>51430</c:v>
                </c:pt>
                <c:pt idx="22404">
                  <c:v>43683</c:v>
                </c:pt>
                <c:pt idx="22405">
                  <c:v>25453</c:v>
                </c:pt>
                <c:pt idx="22406">
                  <c:v>120893</c:v>
                </c:pt>
                <c:pt idx="22407">
                  <c:v>45388</c:v>
                </c:pt>
                <c:pt idx="22408">
                  <c:v>94429</c:v>
                </c:pt>
                <c:pt idx="22409">
                  <c:v>58334</c:v>
                </c:pt>
                <c:pt idx="22410">
                  <c:v>48840</c:v>
                </c:pt>
                <c:pt idx="22411">
                  <c:v>38192</c:v>
                </c:pt>
                <c:pt idx="22412">
                  <c:v>42358</c:v>
                </c:pt>
                <c:pt idx="22413">
                  <c:v>82650</c:v>
                </c:pt>
                <c:pt idx="22414">
                  <c:v>35790</c:v>
                </c:pt>
                <c:pt idx="22415">
                  <c:v>106949</c:v>
                </c:pt>
                <c:pt idx="22416">
                  <c:v>35791</c:v>
                </c:pt>
                <c:pt idx="22417">
                  <c:v>253594</c:v>
                </c:pt>
                <c:pt idx="22418">
                  <c:v>168155</c:v>
                </c:pt>
                <c:pt idx="22419">
                  <c:v>181139</c:v>
                </c:pt>
                <c:pt idx="22420">
                  <c:v>28069</c:v>
                </c:pt>
                <c:pt idx="22421">
                  <c:v>35476</c:v>
                </c:pt>
                <c:pt idx="22422">
                  <c:v>55406</c:v>
                </c:pt>
                <c:pt idx="22423">
                  <c:v>39453</c:v>
                </c:pt>
                <c:pt idx="22424">
                  <c:v>145477</c:v>
                </c:pt>
                <c:pt idx="22425">
                  <c:v>25744</c:v>
                </c:pt>
                <c:pt idx="22426">
                  <c:v>22173</c:v>
                </c:pt>
                <c:pt idx="22427">
                  <c:v>23466</c:v>
                </c:pt>
                <c:pt idx="22428">
                  <c:v>21340</c:v>
                </c:pt>
                <c:pt idx="22429">
                  <c:v>23133</c:v>
                </c:pt>
                <c:pt idx="22430">
                  <c:v>28095</c:v>
                </c:pt>
                <c:pt idx="22431">
                  <c:v>157949</c:v>
                </c:pt>
                <c:pt idx="22432">
                  <c:v>239417</c:v>
                </c:pt>
                <c:pt idx="22433">
                  <c:v>28142</c:v>
                </c:pt>
                <c:pt idx="22434">
                  <c:v>38221</c:v>
                </c:pt>
                <c:pt idx="22435">
                  <c:v>67549</c:v>
                </c:pt>
                <c:pt idx="22436">
                  <c:v>77091</c:v>
                </c:pt>
                <c:pt idx="22437">
                  <c:v>29279</c:v>
                </c:pt>
                <c:pt idx="22438">
                  <c:v>287854</c:v>
                </c:pt>
                <c:pt idx="22439">
                  <c:v>33198</c:v>
                </c:pt>
                <c:pt idx="22440">
                  <c:v>37875</c:v>
                </c:pt>
                <c:pt idx="22441">
                  <c:v>33459</c:v>
                </c:pt>
                <c:pt idx="22442">
                  <c:v>22443</c:v>
                </c:pt>
                <c:pt idx="22443">
                  <c:v>55119</c:v>
                </c:pt>
                <c:pt idx="22444">
                  <c:v>81628</c:v>
                </c:pt>
                <c:pt idx="22445">
                  <c:v>154412</c:v>
                </c:pt>
                <c:pt idx="22446">
                  <c:v>15000</c:v>
                </c:pt>
                <c:pt idx="22447">
                  <c:v>30489</c:v>
                </c:pt>
                <c:pt idx="22448">
                  <c:v>41036</c:v>
                </c:pt>
                <c:pt idx="22449">
                  <c:v>103729</c:v>
                </c:pt>
                <c:pt idx="22450">
                  <c:v>226490</c:v>
                </c:pt>
                <c:pt idx="22451">
                  <c:v>44652</c:v>
                </c:pt>
                <c:pt idx="22452">
                  <c:v>43375</c:v>
                </c:pt>
                <c:pt idx="22453">
                  <c:v>103094</c:v>
                </c:pt>
                <c:pt idx="22454">
                  <c:v>40696</c:v>
                </c:pt>
                <c:pt idx="22455">
                  <c:v>77556</c:v>
                </c:pt>
                <c:pt idx="22456">
                  <c:v>34045</c:v>
                </c:pt>
                <c:pt idx="22457">
                  <c:v>126058</c:v>
                </c:pt>
                <c:pt idx="22458">
                  <c:v>28347</c:v>
                </c:pt>
                <c:pt idx="22459">
                  <c:v>37949</c:v>
                </c:pt>
                <c:pt idx="22460">
                  <c:v>21780</c:v>
                </c:pt>
                <c:pt idx="22461">
                  <c:v>51038</c:v>
                </c:pt>
                <c:pt idx="22462">
                  <c:v>24506</c:v>
                </c:pt>
                <c:pt idx="22463">
                  <c:v>22842</c:v>
                </c:pt>
                <c:pt idx="22464">
                  <c:v>29265</c:v>
                </c:pt>
                <c:pt idx="22465">
                  <c:v>27390</c:v>
                </c:pt>
                <c:pt idx="22466">
                  <c:v>132426</c:v>
                </c:pt>
                <c:pt idx="22467">
                  <c:v>43584</c:v>
                </c:pt>
                <c:pt idx="22468">
                  <c:v>26189</c:v>
                </c:pt>
                <c:pt idx="22469">
                  <c:v>39781</c:v>
                </c:pt>
                <c:pt idx="22470">
                  <c:v>38515</c:v>
                </c:pt>
                <c:pt idx="22471">
                  <c:v>102892</c:v>
                </c:pt>
                <c:pt idx="22472">
                  <c:v>101883</c:v>
                </c:pt>
                <c:pt idx="22473">
                  <c:v>151307</c:v>
                </c:pt>
                <c:pt idx="22474">
                  <c:v>25622</c:v>
                </c:pt>
                <c:pt idx="22475">
                  <c:v>49214</c:v>
                </c:pt>
                <c:pt idx="22476">
                  <c:v>24791</c:v>
                </c:pt>
                <c:pt idx="22477">
                  <c:v>36353</c:v>
                </c:pt>
                <c:pt idx="22478">
                  <c:v>42523</c:v>
                </c:pt>
                <c:pt idx="22479">
                  <c:v>43290</c:v>
                </c:pt>
                <c:pt idx="22480">
                  <c:v>24176</c:v>
                </c:pt>
                <c:pt idx="22481">
                  <c:v>24175</c:v>
                </c:pt>
                <c:pt idx="22482">
                  <c:v>45684</c:v>
                </c:pt>
                <c:pt idx="22483">
                  <c:v>41701</c:v>
                </c:pt>
                <c:pt idx="22484">
                  <c:v>43811</c:v>
                </c:pt>
                <c:pt idx="22485">
                  <c:v>189559</c:v>
                </c:pt>
                <c:pt idx="22486">
                  <c:v>37253</c:v>
                </c:pt>
                <c:pt idx="22487">
                  <c:v>101168</c:v>
                </c:pt>
                <c:pt idx="22488">
                  <c:v>21657</c:v>
                </c:pt>
                <c:pt idx="22489">
                  <c:v>66581</c:v>
                </c:pt>
                <c:pt idx="22490">
                  <c:v>47697</c:v>
                </c:pt>
                <c:pt idx="22491">
                  <c:v>45881</c:v>
                </c:pt>
                <c:pt idx="22492">
                  <c:v>29478</c:v>
                </c:pt>
                <c:pt idx="22493">
                  <c:v>59932</c:v>
                </c:pt>
                <c:pt idx="22494">
                  <c:v>37305</c:v>
                </c:pt>
                <c:pt idx="22495">
                  <c:v>31469</c:v>
                </c:pt>
                <c:pt idx="22496">
                  <c:v>31911</c:v>
                </c:pt>
                <c:pt idx="22497">
                  <c:v>37025</c:v>
                </c:pt>
                <c:pt idx="22498">
                  <c:v>29196</c:v>
                </c:pt>
                <c:pt idx="22499">
                  <c:v>37275</c:v>
                </c:pt>
                <c:pt idx="22500">
                  <c:v>61856</c:v>
                </c:pt>
                <c:pt idx="22501">
                  <c:v>26614</c:v>
                </c:pt>
                <c:pt idx="22502">
                  <c:v>127167</c:v>
                </c:pt>
                <c:pt idx="22503">
                  <c:v>24254</c:v>
                </c:pt>
                <c:pt idx="22504">
                  <c:v>29185</c:v>
                </c:pt>
                <c:pt idx="22505">
                  <c:v>58075</c:v>
                </c:pt>
                <c:pt idx="22506">
                  <c:v>29623</c:v>
                </c:pt>
                <c:pt idx="22507">
                  <c:v>40716</c:v>
                </c:pt>
                <c:pt idx="22508">
                  <c:v>38762</c:v>
                </c:pt>
                <c:pt idx="22509">
                  <c:v>43012</c:v>
                </c:pt>
                <c:pt idx="22510">
                  <c:v>32774</c:v>
                </c:pt>
                <c:pt idx="22511">
                  <c:v>33446</c:v>
                </c:pt>
                <c:pt idx="22512">
                  <c:v>41526</c:v>
                </c:pt>
                <c:pt idx="22513">
                  <c:v>47248</c:v>
                </c:pt>
                <c:pt idx="22514">
                  <c:v>56312</c:v>
                </c:pt>
                <c:pt idx="22515">
                  <c:v>56762</c:v>
                </c:pt>
                <c:pt idx="22516">
                  <c:v>28377</c:v>
                </c:pt>
                <c:pt idx="22517">
                  <c:v>23581</c:v>
                </c:pt>
                <c:pt idx="22518">
                  <c:v>29921</c:v>
                </c:pt>
                <c:pt idx="22519">
                  <c:v>25402</c:v>
                </c:pt>
                <c:pt idx="22520">
                  <c:v>26171</c:v>
                </c:pt>
                <c:pt idx="22521">
                  <c:v>27545</c:v>
                </c:pt>
                <c:pt idx="22522">
                  <c:v>37887</c:v>
                </c:pt>
                <c:pt idx="22523">
                  <c:v>46458</c:v>
                </c:pt>
                <c:pt idx="22524">
                  <c:v>59167</c:v>
                </c:pt>
                <c:pt idx="22525">
                  <c:v>145433</c:v>
                </c:pt>
                <c:pt idx="22526">
                  <c:v>25311</c:v>
                </c:pt>
                <c:pt idx="22527">
                  <c:v>41206</c:v>
                </c:pt>
                <c:pt idx="22528">
                  <c:v>31880</c:v>
                </c:pt>
                <c:pt idx="22529">
                  <c:v>27233</c:v>
                </c:pt>
                <c:pt idx="22530">
                  <c:v>73284</c:v>
                </c:pt>
                <c:pt idx="22531">
                  <c:v>64986</c:v>
                </c:pt>
                <c:pt idx="22532">
                  <c:v>37719</c:v>
                </c:pt>
                <c:pt idx="22533">
                  <c:v>53359</c:v>
                </c:pt>
                <c:pt idx="22534">
                  <c:v>134630</c:v>
                </c:pt>
                <c:pt idx="22535">
                  <c:v>66183</c:v>
                </c:pt>
                <c:pt idx="22536">
                  <c:v>33923</c:v>
                </c:pt>
                <c:pt idx="22537">
                  <c:v>84944</c:v>
                </c:pt>
                <c:pt idx="22538">
                  <c:v>38408</c:v>
                </c:pt>
                <c:pt idx="22539">
                  <c:v>40915</c:v>
                </c:pt>
                <c:pt idx="22540">
                  <c:v>23387</c:v>
                </c:pt>
                <c:pt idx="22541">
                  <c:v>27687</c:v>
                </c:pt>
                <c:pt idx="22542">
                  <c:v>38115</c:v>
                </c:pt>
                <c:pt idx="22543">
                  <c:v>47115</c:v>
                </c:pt>
                <c:pt idx="22544">
                  <c:v>63932</c:v>
                </c:pt>
                <c:pt idx="22545">
                  <c:v>49103</c:v>
                </c:pt>
                <c:pt idx="22546">
                  <c:v>29297</c:v>
                </c:pt>
                <c:pt idx="22547">
                  <c:v>26803</c:v>
                </c:pt>
                <c:pt idx="22548">
                  <c:v>29531</c:v>
                </c:pt>
                <c:pt idx="22549">
                  <c:v>43071</c:v>
                </c:pt>
                <c:pt idx="22550">
                  <c:v>37399</c:v>
                </c:pt>
                <c:pt idx="22551">
                  <c:v>49144</c:v>
                </c:pt>
                <c:pt idx="22552">
                  <c:v>54530</c:v>
                </c:pt>
                <c:pt idx="22553">
                  <c:v>27989</c:v>
                </c:pt>
                <c:pt idx="22554">
                  <c:v>48452</c:v>
                </c:pt>
                <c:pt idx="22555">
                  <c:v>76670</c:v>
                </c:pt>
                <c:pt idx="22556">
                  <c:v>47439</c:v>
                </c:pt>
                <c:pt idx="22557">
                  <c:v>74152</c:v>
                </c:pt>
                <c:pt idx="22558">
                  <c:v>25029</c:v>
                </c:pt>
                <c:pt idx="22559">
                  <c:v>47276</c:v>
                </c:pt>
                <c:pt idx="22560">
                  <c:v>35762</c:v>
                </c:pt>
                <c:pt idx="22561">
                  <c:v>158182</c:v>
                </c:pt>
                <c:pt idx="22562">
                  <c:v>42698</c:v>
                </c:pt>
                <c:pt idx="22563">
                  <c:v>126202</c:v>
                </c:pt>
                <c:pt idx="22564">
                  <c:v>66388</c:v>
                </c:pt>
                <c:pt idx="22565">
                  <c:v>181364</c:v>
                </c:pt>
                <c:pt idx="22566">
                  <c:v>81022</c:v>
                </c:pt>
                <c:pt idx="22567">
                  <c:v>77783</c:v>
                </c:pt>
                <c:pt idx="22568">
                  <c:v>48759</c:v>
                </c:pt>
                <c:pt idx="22569">
                  <c:v>23740</c:v>
                </c:pt>
                <c:pt idx="22570">
                  <c:v>55306</c:v>
                </c:pt>
                <c:pt idx="22571">
                  <c:v>77234</c:v>
                </c:pt>
                <c:pt idx="22572">
                  <c:v>140793</c:v>
                </c:pt>
                <c:pt idx="22573">
                  <c:v>85468</c:v>
                </c:pt>
                <c:pt idx="22574">
                  <c:v>22972</c:v>
                </c:pt>
                <c:pt idx="22575">
                  <c:v>456120</c:v>
                </c:pt>
                <c:pt idx="22576">
                  <c:v>34059</c:v>
                </c:pt>
                <c:pt idx="22577">
                  <c:v>32556</c:v>
                </c:pt>
                <c:pt idx="22578">
                  <c:v>219103</c:v>
                </c:pt>
                <c:pt idx="22579">
                  <c:v>75113</c:v>
                </c:pt>
                <c:pt idx="22580">
                  <c:v>55006</c:v>
                </c:pt>
                <c:pt idx="22581">
                  <c:v>327963</c:v>
                </c:pt>
                <c:pt idx="22582">
                  <c:v>27965</c:v>
                </c:pt>
                <c:pt idx="22583">
                  <c:v>97627</c:v>
                </c:pt>
                <c:pt idx="22584">
                  <c:v>28520</c:v>
                </c:pt>
                <c:pt idx="22585">
                  <c:v>39901</c:v>
                </c:pt>
                <c:pt idx="22586">
                  <c:v>92088</c:v>
                </c:pt>
                <c:pt idx="22587">
                  <c:v>32593</c:v>
                </c:pt>
                <c:pt idx="22588">
                  <c:v>31909</c:v>
                </c:pt>
                <c:pt idx="22589">
                  <c:v>22027</c:v>
                </c:pt>
                <c:pt idx="22590">
                  <c:v>83994</c:v>
                </c:pt>
                <c:pt idx="22591">
                  <c:v>23244</c:v>
                </c:pt>
                <c:pt idx="22592">
                  <c:v>53072</c:v>
                </c:pt>
                <c:pt idx="22593">
                  <c:v>36478</c:v>
                </c:pt>
                <c:pt idx="22594">
                  <c:v>31995</c:v>
                </c:pt>
                <c:pt idx="22595">
                  <c:v>43332</c:v>
                </c:pt>
                <c:pt idx="22596">
                  <c:v>88845</c:v>
                </c:pt>
                <c:pt idx="22597">
                  <c:v>26989</c:v>
                </c:pt>
                <c:pt idx="22598">
                  <c:v>101159</c:v>
                </c:pt>
                <c:pt idx="22599">
                  <c:v>51484</c:v>
                </c:pt>
                <c:pt idx="22600">
                  <c:v>65416</c:v>
                </c:pt>
                <c:pt idx="22601">
                  <c:v>45763</c:v>
                </c:pt>
                <c:pt idx="22602">
                  <c:v>74155</c:v>
                </c:pt>
                <c:pt idx="22603">
                  <c:v>51063</c:v>
                </c:pt>
                <c:pt idx="22604">
                  <c:v>32443</c:v>
                </c:pt>
                <c:pt idx="22605">
                  <c:v>89488</c:v>
                </c:pt>
                <c:pt idx="22606">
                  <c:v>28212</c:v>
                </c:pt>
                <c:pt idx="22607">
                  <c:v>31333</c:v>
                </c:pt>
                <c:pt idx="22608">
                  <c:v>29130</c:v>
                </c:pt>
                <c:pt idx="22609">
                  <c:v>26680</c:v>
                </c:pt>
                <c:pt idx="22610">
                  <c:v>45734</c:v>
                </c:pt>
                <c:pt idx="22611">
                  <c:v>296530</c:v>
                </c:pt>
                <c:pt idx="22612">
                  <c:v>27262</c:v>
                </c:pt>
                <c:pt idx="22613">
                  <c:v>36603</c:v>
                </c:pt>
                <c:pt idx="22614">
                  <c:v>54175</c:v>
                </c:pt>
                <c:pt idx="22615">
                  <c:v>40443</c:v>
                </c:pt>
                <c:pt idx="22616">
                  <c:v>84765</c:v>
                </c:pt>
                <c:pt idx="22617">
                  <c:v>29468</c:v>
                </c:pt>
                <c:pt idx="22618">
                  <c:v>58403</c:v>
                </c:pt>
                <c:pt idx="22619">
                  <c:v>49262</c:v>
                </c:pt>
                <c:pt idx="22620">
                  <c:v>38009</c:v>
                </c:pt>
                <c:pt idx="22621">
                  <c:v>23516</c:v>
                </c:pt>
                <c:pt idx="22622">
                  <c:v>28246</c:v>
                </c:pt>
                <c:pt idx="22623">
                  <c:v>62339</c:v>
                </c:pt>
                <c:pt idx="22624">
                  <c:v>65373</c:v>
                </c:pt>
                <c:pt idx="22625">
                  <c:v>23019</c:v>
                </c:pt>
                <c:pt idx="22626">
                  <c:v>156310</c:v>
                </c:pt>
                <c:pt idx="22627">
                  <c:v>28392</c:v>
                </c:pt>
                <c:pt idx="22628">
                  <c:v>24519</c:v>
                </c:pt>
                <c:pt idx="22629">
                  <c:v>78369</c:v>
                </c:pt>
                <c:pt idx="22630">
                  <c:v>26751</c:v>
                </c:pt>
                <c:pt idx="22631">
                  <c:v>22570</c:v>
                </c:pt>
                <c:pt idx="22632">
                  <c:v>140788</c:v>
                </c:pt>
                <c:pt idx="22633">
                  <c:v>25994</c:v>
                </c:pt>
                <c:pt idx="22634">
                  <c:v>52099</c:v>
                </c:pt>
                <c:pt idx="22635">
                  <c:v>57949</c:v>
                </c:pt>
                <c:pt idx="22636">
                  <c:v>35095</c:v>
                </c:pt>
                <c:pt idx="22637">
                  <c:v>140415</c:v>
                </c:pt>
                <c:pt idx="22638">
                  <c:v>36957</c:v>
                </c:pt>
                <c:pt idx="22639">
                  <c:v>47795</c:v>
                </c:pt>
                <c:pt idx="22640">
                  <c:v>35703</c:v>
                </c:pt>
                <c:pt idx="22641">
                  <c:v>118136</c:v>
                </c:pt>
                <c:pt idx="22642">
                  <c:v>25425</c:v>
                </c:pt>
                <c:pt idx="22643">
                  <c:v>47480</c:v>
                </c:pt>
                <c:pt idx="22644">
                  <c:v>36682</c:v>
                </c:pt>
                <c:pt idx="22645">
                  <c:v>160786</c:v>
                </c:pt>
                <c:pt idx="22646">
                  <c:v>111372</c:v>
                </c:pt>
                <c:pt idx="22647">
                  <c:v>53437</c:v>
                </c:pt>
                <c:pt idx="22648">
                  <c:v>41712</c:v>
                </c:pt>
                <c:pt idx="22649">
                  <c:v>117211</c:v>
                </c:pt>
                <c:pt idx="22650">
                  <c:v>59353</c:v>
                </c:pt>
                <c:pt idx="22651">
                  <c:v>20222</c:v>
                </c:pt>
                <c:pt idx="22652">
                  <c:v>44296</c:v>
                </c:pt>
                <c:pt idx="22653">
                  <c:v>51783</c:v>
                </c:pt>
                <c:pt idx="22654">
                  <c:v>47232</c:v>
                </c:pt>
                <c:pt idx="22655">
                  <c:v>113366</c:v>
                </c:pt>
                <c:pt idx="22656">
                  <c:v>54331</c:v>
                </c:pt>
                <c:pt idx="22657">
                  <c:v>29630</c:v>
                </c:pt>
                <c:pt idx="22658">
                  <c:v>47306</c:v>
                </c:pt>
                <c:pt idx="22659">
                  <c:v>34044</c:v>
                </c:pt>
                <c:pt idx="22660">
                  <c:v>43897</c:v>
                </c:pt>
                <c:pt idx="22661">
                  <c:v>45194</c:v>
                </c:pt>
                <c:pt idx="22662">
                  <c:v>24982</c:v>
                </c:pt>
                <c:pt idx="22663">
                  <c:v>38746</c:v>
                </c:pt>
                <c:pt idx="22664">
                  <c:v>23367</c:v>
                </c:pt>
                <c:pt idx="22665">
                  <c:v>37073</c:v>
                </c:pt>
                <c:pt idx="22666">
                  <c:v>127649</c:v>
                </c:pt>
                <c:pt idx="22667">
                  <c:v>34533</c:v>
                </c:pt>
                <c:pt idx="22668">
                  <c:v>41574</c:v>
                </c:pt>
                <c:pt idx="22669">
                  <c:v>35321</c:v>
                </c:pt>
                <c:pt idx="22670">
                  <c:v>45898</c:v>
                </c:pt>
                <c:pt idx="22671">
                  <c:v>130599</c:v>
                </c:pt>
                <c:pt idx="22672">
                  <c:v>101553</c:v>
                </c:pt>
                <c:pt idx="22673">
                  <c:v>56342</c:v>
                </c:pt>
                <c:pt idx="22674">
                  <c:v>126890</c:v>
                </c:pt>
                <c:pt idx="22675">
                  <c:v>28128</c:v>
                </c:pt>
                <c:pt idx="22676">
                  <c:v>41290</c:v>
                </c:pt>
                <c:pt idx="22677">
                  <c:v>69928</c:v>
                </c:pt>
                <c:pt idx="22678">
                  <c:v>49016</c:v>
                </c:pt>
                <c:pt idx="22679">
                  <c:v>89979</c:v>
                </c:pt>
                <c:pt idx="22680">
                  <c:v>60833</c:v>
                </c:pt>
                <c:pt idx="22681">
                  <c:v>42915</c:v>
                </c:pt>
                <c:pt idx="22682">
                  <c:v>114685</c:v>
                </c:pt>
                <c:pt idx="22683">
                  <c:v>129746</c:v>
                </c:pt>
                <c:pt idx="22684">
                  <c:v>54172</c:v>
                </c:pt>
                <c:pt idx="22685">
                  <c:v>33073</c:v>
                </c:pt>
                <c:pt idx="22686">
                  <c:v>238461</c:v>
                </c:pt>
                <c:pt idx="22687">
                  <c:v>57010</c:v>
                </c:pt>
                <c:pt idx="22688">
                  <c:v>36177</c:v>
                </c:pt>
                <c:pt idx="22689">
                  <c:v>36590</c:v>
                </c:pt>
                <c:pt idx="22690">
                  <c:v>92881</c:v>
                </c:pt>
                <c:pt idx="22691">
                  <c:v>90669</c:v>
                </c:pt>
                <c:pt idx="22692">
                  <c:v>44798</c:v>
                </c:pt>
                <c:pt idx="22693">
                  <c:v>26484</c:v>
                </c:pt>
                <c:pt idx="22694">
                  <c:v>119246</c:v>
                </c:pt>
                <c:pt idx="22695">
                  <c:v>145454</c:v>
                </c:pt>
                <c:pt idx="22696">
                  <c:v>254931</c:v>
                </c:pt>
                <c:pt idx="22697">
                  <c:v>34284</c:v>
                </c:pt>
                <c:pt idx="22698">
                  <c:v>58865</c:v>
                </c:pt>
                <c:pt idx="22699">
                  <c:v>73030</c:v>
                </c:pt>
                <c:pt idx="22700">
                  <c:v>36900</c:v>
                </c:pt>
                <c:pt idx="22701">
                  <c:v>32640</c:v>
                </c:pt>
                <c:pt idx="22702">
                  <c:v>22593</c:v>
                </c:pt>
                <c:pt idx="22703">
                  <c:v>34522</c:v>
                </c:pt>
                <c:pt idx="22704">
                  <c:v>77910</c:v>
                </c:pt>
                <c:pt idx="22705">
                  <c:v>39196</c:v>
                </c:pt>
                <c:pt idx="22706">
                  <c:v>35460</c:v>
                </c:pt>
                <c:pt idx="22707">
                  <c:v>56405</c:v>
                </c:pt>
                <c:pt idx="22708">
                  <c:v>88427</c:v>
                </c:pt>
                <c:pt idx="22709">
                  <c:v>152746</c:v>
                </c:pt>
                <c:pt idx="22710">
                  <c:v>35144</c:v>
                </c:pt>
                <c:pt idx="22711">
                  <c:v>103347</c:v>
                </c:pt>
                <c:pt idx="22712">
                  <c:v>56109</c:v>
                </c:pt>
                <c:pt idx="22713">
                  <c:v>27083</c:v>
                </c:pt>
                <c:pt idx="22714">
                  <c:v>27285</c:v>
                </c:pt>
                <c:pt idx="22715">
                  <c:v>38718</c:v>
                </c:pt>
                <c:pt idx="22716">
                  <c:v>47842</c:v>
                </c:pt>
                <c:pt idx="22717">
                  <c:v>41101</c:v>
                </c:pt>
                <c:pt idx="22718">
                  <c:v>24111</c:v>
                </c:pt>
                <c:pt idx="22719">
                  <c:v>30818</c:v>
                </c:pt>
                <c:pt idx="22720">
                  <c:v>39129</c:v>
                </c:pt>
                <c:pt idx="22721">
                  <c:v>110808</c:v>
                </c:pt>
                <c:pt idx="22722">
                  <c:v>57623</c:v>
                </c:pt>
                <c:pt idx="22723">
                  <c:v>41102</c:v>
                </c:pt>
                <c:pt idx="22724">
                  <c:v>25369</c:v>
                </c:pt>
                <c:pt idx="22725">
                  <c:v>43302</c:v>
                </c:pt>
                <c:pt idx="22726">
                  <c:v>43082</c:v>
                </c:pt>
                <c:pt idx="22727">
                  <c:v>35190</c:v>
                </c:pt>
                <c:pt idx="22728">
                  <c:v>34769</c:v>
                </c:pt>
                <c:pt idx="22729">
                  <c:v>34444</c:v>
                </c:pt>
                <c:pt idx="22730">
                  <c:v>31977</c:v>
                </c:pt>
                <c:pt idx="22731">
                  <c:v>31579</c:v>
                </c:pt>
                <c:pt idx="22732">
                  <c:v>54542</c:v>
                </c:pt>
                <c:pt idx="22733">
                  <c:v>62487</c:v>
                </c:pt>
                <c:pt idx="22734">
                  <c:v>36916</c:v>
                </c:pt>
                <c:pt idx="22735">
                  <c:v>55605</c:v>
                </c:pt>
                <c:pt idx="22736">
                  <c:v>39850</c:v>
                </c:pt>
                <c:pt idx="22737">
                  <c:v>68851</c:v>
                </c:pt>
                <c:pt idx="22738">
                  <c:v>44549</c:v>
                </c:pt>
                <c:pt idx="22739">
                  <c:v>130954</c:v>
                </c:pt>
                <c:pt idx="22740">
                  <c:v>67674</c:v>
                </c:pt>
                <c:pt idx="22741">
                  <c:v>47393</c:v>
                </c:pt>
                <c:pt idx="22742">
                  <c:v>288727</c:v>
                </c:pt>
                <c:pt idx="22743">
                  <c:v>93968</c:v>
                </c:pt>
                <c:pt idx="22744">
                  <c:v>45611</c:v>
                </c:pt>
                <c:pt idx="22745">
                  <c:v>43881</c:v>
                </c:pt>
                <c:pt idx="22746">
                  <c:v>23032</c:v>
                </c:pt>
                <c:pt idx="22747">
                  <c:v>43706</c:v>
                </c:pt>
                <c:pt idx="22748">
                  <c:v>99231</c:v>
                </c:pt>
                <c:pt idx="22749">
                  <c:v>153088</c:v>
                </c:pt>
                <c:pt idx="22750">
                  <c:v>49840</c:v>
                </c:pt>
                <c:pt idx="22751">
                  <c:v>49445</c:v>
                </c:pt>
                <c:pt idx="22752">
                  <c:v>38465</c:v>
                </c:pt>
                <c:pt idx="22753">
                  <c:v>128990</c:v>
                </c:pt>
                <c:pt idx="22754">
                  <c:v>78760</c:v>
                </c:pt>
                <c:pt idx="22755">
                  <c:v>48292</c:v>
                </c:pt>
                <c:pt idx="22756">
                  <c:v>25869</c:v>
                </c:pt>
                <c:pt idx="22757">
                  <c:v>39324</c:v>
                </c:pt>
                <c:pt idx="22758">
                  <c:v>28855</c:v>
                </c:pt>
                <c:pt idx="22759">
                  <c:v>43142</c:v>
                </c:pt>
                <c:pt idx="22760">
                  <c:v>33200</c:v>
                </c:pt>
                <c:pt idx="22761">
                  <c:v>24397</c:v>
                </c:pt>
                <c:pt idx="22762">
                  <c:v>49748</c:v>
                </c:pt>
                <c:pt idx="22763">
                  <c:v>59104</c:v>
                </c:pt>
                <c:pt idx="22764">
                  <c:v>48091</c:v>
                </c:pt>
                <c:pt idx="22765">
                  <c:v>41840</c:v>
                </c:pt>
                <c:pt idx="22766">
                  <c:v>50318</c:v>
                </c:pt>
                <c:pt idx="22767">
                  <c:v>37054</c:v>
                </c:pt>
                <c:pt idx="22768">
                  <c:v>37888</c:v>
                </c:pt>
                <c:pt idx="22769">
                  <c:v>108818</c:v>
                </c:pt>
                <c:pt idx="22770">
                  <c:v>33974</c:v>
                </c:pt>
                <c:pt idx="22771">
                  <c:v>116900</c:v>
                </c:pt>
                <c:pt idx="22772">
                  <c:v>98579</c:v>
                </c:pt>
                <c:pt idx="22773">
                  <c:v>77960</c:v>
                </c:pt>
                <c:pt idx="22774">
                  <c:v>39909</c:v>
                </c:pt>
                <c:pt idx="22775">
                  <c:v>57650</c:v>
                </c:pt>
                <c:pt idx="22776">
                  <c:v>40064</c:v>
                </c:pt>
                <c:pt idx="22777">
                  <c:v>61819</c:v>
                </c:pt>
                <c:pt idx="22778">
                  <c:v>53637</c:v>
                </c:pt>
                <c:pt idx="22779">
                  <c:v>49729</c:v>
                </c:pt>
                <c:pt idx="22780">
                  <c:v>38930</c:v>
                </c:pt>
                <c:pt idx="22781">
                  <c:v>34527</c:v>
                </c:pt>
                <c:pt idx="22782">
                  <c:v>51844</c:v>
                </c:pt>
                <c:pt idx="22783">
                  <c:v>36312</c:v>
                </c:pt>
                <c:pt idx="22784">
                  <c:v>24043</c:v>
                </c:pt>
                <c:pt idx="22785">
                  <c:v>27951</c:v>
                </c:pt>
                <c:pt idx="22786">
                  <c:v>47345</c:v>
                </c:pt>
                <c:pt idx="22787">
                  <c:v>166990</c:v>
                </c:pt>
                <c:pt idx="22788">
                  <c:v>33030</c:v>
                </c:pt>
                <c:pt idx="22789">
                  <c:v>98024</c:v>
                </c:pt>
                <c:pt idx="22790">
                  <c:v>85492</c:v>
                </c:pt>
                <c:pt idx="22791">
                  <c:v>37703</c:v>
                </c:pt>
                <c:pt idx="22792">
                  <c:v>31773</c:v>
                </c:pt>
                <c:pt idx="22793">
                  <c:v>29205</c:v>
                </c:pt>
                <c:pt idx="22794">
                  <c:v>65998</c:v>
                </c:pt>
                <c:pt idx="22795">
                  <c:v>47436</c:v>
                </c:pt>
                <c:pt idx="22796">
                  <c:v>29287</c:v>
                </c:pt>
                <c:pt idx="22797">
                  <c:v>26115</c:v>
                </c:pt>
                <c:pt idx="22798">
                  <c:v>30510</c:v>
                </c:pt>
                <c:pt idx="22799">
                  <c:v>78005</c:v>
                </c:pt>
                <c:pt idx="22800">
                  <c:v>33740</c:v>
                </c:pt>
                <c:pt idx="22801">
                  <c:v>33729</c:v>
                </c:pt>
                <c:pt idx="22802">
                  <c:v>53034</c:v>
                </c:pt>
                <c:pt idx="22803">
                  <c:v>61025</c:v>
                </c:pt>
                <c:pt idx="22804">
                  <c:v>114736</c:v>
                </c:pt>
                <c:pt idx="22805">
                  <c:v>67654</c:v>
                </c:pt>
                <c:pt idx="22806">
                  <c:v>42681</c:v>
                </c:pt>
                <c:pt idx="22807">
                  <c:v>36821</c:v>
                </c:pt>
                <c:pt idx="22808">
                  <c:v>45513</c:v>
                </c:pt>
                <c:pt idx="22809">
                  <c:v>143637</c:v>
                </c:pt>
                <c:pt idx="22810">
                  <c:v>41887</c:v>
                </c:pt>
                <c:pt idx="22811">
                  <c:v>88215</c:v>
                </c:pt>
                <c:pt idx="22812">
                  <c:v>37111</c:v>
                </c:pt>
                <c:pt idx="22813">
                  <c:v>29497</c:v>
                </c:pt>
                <c:pt idx="22814">
                  <c:v>30222</c:v>
                </c:pt>
                <c:pt idx="22815">
                  <c:v>154810</c:v>
                </c:pt>
                <c:pt idx="22816">
                  <c:v>46017</c:v>
                </c:pt>
                <c:pt idx="22817">
                  <c:v>93350</c:v>
                </c:pt>
                <c:pt idx="22818">
                  <c:v>58164</c:v>
                </c:pt>
                <c:pt idx="22819">
                  <c:v>36178</c:v>
                </c:pt>
                <c:pt idx="22820">
                  <c:v>27753</c:v>
                </c:pt>
                <c:pt idx="22821">
                  <c:v>89693</c:v>
                </c:pt>
                <c:pt idx="22822">
                  <c:v>105261</c:v>
                </c:pt>
                <c:pt idx="22823">
                  <c:v>35715</c:v>
                </c:pt>
                <c:pt idx="22824">
                  <c:v>32284</c:v>
                </c:pt>
                <c:pt idx="22825">
                  <c:v>34200</c:v>
                </c:pt>
                <c:pt idx="22826">
                  <c:v>92136</c:v>
                </c:pt>
                <c:pt idx="22827">
                  <c:v>46767</c:v>
                </c:pt>
                <c:pt idx="22828">
                  <c:v>71715</c:v>
                </c:pt>
                <c:pt idx="22829">
                  <c:v>72549</c:v>
                </c:pt>
                <c:pt idx="22830">
                  <c:v>53883</c:v>
                </c:pt>
                <c:pt idx="22831">
                  <c:v>47897</c:v>
                </c:pt>
                <c:pt idx="22832">
                  <c:v>30494</c:v>
                </c:pt>
                <c:pt idx="22833">
                  <c:v>170279</c:v>
                </c:pt>
                <c:pt idx="22834">
                  <c:v>51737</c:v>
                </c:pt>
                <c:pt idx="22835">
                  <c:v>26769</c:v>
                </c:pt>
                <c:pt idx="22836">
                  <c:v>31815</c:v>
                </c:pt>
                <c:pt idx="22837">
                  <c:v>131177</c:v>
                </c:pt>
                <c:pt idx="22838">
                  <c:v>31510</c:v>
                </c:pt>
                <c:pt idx="22839">
                  <c:v>39688</c:v>
                </c:pt>
                <c:pt idx="22840">
                  <c:v>59705</c:v>
                </c:pt>
                <c:pt idx="22841">
                  <c:v>43112</c:v>
                </c:pt>
                <c:pt idx="22842">
                  <c:v>38096</c:v>
                </c:pt>
                <c:pt idx="22843">
                  <c:v>73309</c:v>
                </c:pt>
                <c:pt idx="22844">
                  <c:v>71032</c:v>
                </c:pt>
                <c:pt idx="22845">
                  <c:v>89972</c:v>
                </c:pt>
                <c:pt idx="22846">
                  <c:v>28694</c:v>
                </c:pt>
                <c:pt idx="22847">
                  <c:v>66236</c:v>
                </c:pt>
                <c:pt idx="22848">
                  <c:v>151928</c:v>
                </c:pt>
                <c:pt idx="22849">
                  <c:v>62162</c:v>
                </c:pt>
                <c:pt idx="22850">
                  <c:v>37106</c:v>
                </c:pt>
                <c:pt idx="22851">
                  <c:v>32110</c:v>
                </c:pt>
                <c:pt idx="22852">
                  <c:v>47674</c:v>
                </c:pt>
                <c:pt idx="22853">
                  <c:v>53121</c:v>
                </c:pt>
                <c:pt idx="22854">
                  <c:v>30898</c:v>
                </c:pt>
                <c:pt idx="22855">
                  <c:v>24132</c:v>
                </c:pt>
                <c:pt idx="22856">
                  <c:v>32577</c:v>
                </c:pt>
                <c:pt idx="22857">
                  <c:v>31113</c:v>
                </c:pt>
                <c:pt idx="22858">
                  <c:v>29035</c:v>
                </c:pt>
                <c:pt idx="22859">
                  <c:v>42110</c:v>
                </c:pt>
                <c:pt idx="22860">
                  <c:v>38753</c:v>
                </c:pt>
                <c:pt idx="22861">
                  <c:v>46626</c:v>
                </c:pt>
                <c:pt idx="22862">
                  <c:v>28738</c:v>
                </c:pt>
                <c:pt idx="22863">
                  <c:v>45335</c:v>
                </c:pt>
                <c:pt idx="22864">
                  <c:v>35771</c:v>
                </c:pt>
                <c:pt idx="22865">
                  <c:v>74507</c:v>
                </c:pt>
                <c:pt idx="22866">
                  <c:v>28056</c:v>
                </c:pt>
                <c:pt idx="22867">
                  <c:v>30542</c:v>
                </c:pt>
                <c:pt idx="22868">
                  <c:v>50874</c:v>
                </c:pt>
                <c:pt idx="22869">
                  <c:v>184947</c:v>
                </c:pt>
                <c:pt idx="22870">
                  <c:v>77048</c:v>
                </c:pt>
                <c:pt idx="22871">
                  <c:v>85673</c:v>
                </c:pt>
                <c:pt idx="22872">
                  <c:v>41083</c:v>
                </c:pt>
                <c:pt idx="22873">
                  <c:v>24981</c:v>
                </c:pt>
                <c:pt idx="22874">
                  <c:v>25629</c:v>
                </c:pt>
                <c:pt idx="22875">
                  <c:v>42156</c:v>
                </c:pt>
                <c:pt idx="22876">
                  <c:v>41888</c:v>
                </c:pt>
                <c:pt idx="22877">
                  <c:v>81813</c:v>
                </c:pt>
                <c:pt idx="22878">
                  <c:v>30901</c:v>
                </c:pt>
                <c:pt idx="22879">
                  <c:v>50717</c:v>
                </c:pt>
                <c:pt idx="22880">
                  <c:v>25021</c:v>
                </c:pt>
                <c:pt idx="22881">
                  <c:v>223616</c:v>
                </c:pt>
                <c:pt idx="22882">
                  <c:v>33103</c:v>
                </c:pt>
                <c:pt idx="22883">
                  <c:v>42751</c:v>
                </c:pt>
                <c:pt idx="22884">
                  <c:v>45229</c:v>
                </c:pt>
                <c:pt idx="22885">
                  <c:v>38909</c:v>
                </c:pt>
                <c:pt idx="22886">
                  <c:v>62613</c:v>
                </c:pt>
                <c:pt idx="22887">
                  <c:v>40475</c:v>
                </c:pt>
                <c:pt idx="22888">
                  <c:v>157512</c:v>
                </c:pt>
                <c:pt idx="22889">
                  <c:v>118078</c:v>
                </c:pt>
                <c:pt idx="22890">
                  <c:v>78086</c:v>
                </c:pt>
                <c:pt idx="22891">
                  <c:v>226669</c:v>
                </c:pt>
                <c:pt idx="22892">
                  <c:v>30195</c:v>
                </c:pt>
                <c:pt idx="22893">
                  <c:v>36956</c:v>
                </c:pt>
                <c:pt idx="22894">
                  <c:v>44484</c:v>
                </c:pt>
                <c:pt idx="22895">
                  <c:v>43379</c:v>
                </c:pt>
                <c:pt idx="22896">
                  <c:v>34890</c:v>
                </c:pt>
                <c:pt idx="22897">
                  <c:v>51306</c:v>
                </c:pt>
                <c:pt idx="22898">
                  <c:v>59707</c:v>
                </c:pt>
                <c:pt idx="22899">
                  <c:v>40214</c:v>
                </c:pt>
                <c:pt idx="22900">
                  <c:v>25280</c:v>
                </c:pt>
                <c:pt idx="22901">
                  <c:v>36549</c:v>
                </c:pt>
                <c:pt idx="22902">
                  <c:v>75411</c:v>
                </c:pt>
                <c:pt idx="22903">
                  <c:v>49797</c:v>
                </c:pt>
                <c:pt idx="22904">
                  <c:v>138519</c:v>
                </c:pt>
                <c:pt idx="22905">
                  <c:v>194431</c:v>
                </c:pt>
                <c:pt idx="22906">
                  <c:v>38573</c:v>
                </c:pt>
                <c:pt idx="22907">
                  <c:v>88096</c:v>
                </c:pt>
                <c:pt idx="22908">
                  <c:v>88491</c:v>
                </c:pt>
                <c:pt idx="22909">
                  <c:v>63151</c:v>
                </c:pt>
                <c:pt idx="22910">
                  <c:v>37059</c:v>
                </c:pt>
                <c:pt idx="22911">
                  <c:v>52929</c:v>
                </c:pt>
                <c:pt idx="22912">
                  <c:v>25600</c:v>
                </c:pt>
                <c:pt idx="22913">
                  <c:v>254378</c:v>
                </c:pt>
                <c:pt idx="22914">
                  <c:v>42703</c:v>
                </c:pt>
                <c:pt idx="22915">
                  <c:v>44303</c:v>
                </c:pt>
                <c:pt idx="22916">
                  <c:v>37268</c:v>
                </c:pt>
                <c:pt idx="22917">
                  <c:v>91178</c:v>
                </c:pt>
                <c:pt idx="22918">
                  <c:v>36995</c:v>
                </c:pt>
                <c:pt idx="22919">
                  <c:v>190354</c:v>
                </c:pt>
                <c:pt idx="22920">
                  <c:v>26647</c:v>
                </c:pt>
                <c:pt idx="22921">
                  <c:v>73567</c:v>
                </c:pt>
                <c:pt idx="22922">
                  <c:v>26869</c:v>
                </c:pt>
                <c:pt idx="22923">
                  <c:v>123269</c:v>
                </c:pt>
                <c:pt idx="22924">
                  <c:v>46080</c:v>
                </c:pt>
                <c:pt idx="22925">
                  <c:v>99715</c:v>
                </c:pt>
                <c:pt idx="22926">
                  <c:v>69410</c:v>
                </c:pt>
                <c:pt idx="22927">
                  <c:v>77984</c:v>
                </c:pt>
                <c:pt idx="22928">
                  <c:v>36138</c:v>
                </c:pt>
                <c:pt idx="22929">
                  <c:v>28397</c:v>
                </c:pt>
                <c:pt idx="22930">
                  <c:v>72291</c:v>
                </c:pt>
                <c:pt idx="22931">
                  <c:v>40874</c:v>
                </c:pt>
                <c:pt idx="22932">
                  <c:v>41133</c:v>
                </c:pt>
                <c:pt idx="22933">
                  <c:v>70780</c:v>
                </c:pt>
                <c:pt idx="22934">
                  <c:v>42495</c:v>
                </c:pt>
                <c:pt idx="22935">
                  <c:v>52517</c:v>
                </c:pt>
                <c:pt idx="22936">
                  <c:v>33978</c:v>
                </c:pt>
                <c:pt idx="22937">
                  <c:v>40639</c:v>
                </c:pt>
                <c:pt idx="22938">
                  <c:v>41398</c:v>
                </c:pt>
                <c:pt idx="22939">
                  <c:v>40012</c:v>
                </c:pt>
                <c:pt idx="22940">
                  <c:v>28023</c:v>
                </c:pt>
                <c:pt idx="22941">
                  <c:v>82892</c:v>
                </c:pt>
                <c:pt idx="22942">
                  <c:v>96934</c:v>
                </c:pt>
                <c:pt idx="22943">
                  <c:v>48710</c:v>
                </c:pt>
                <c:pt idx="22944">
                  <c:v>154182</c:v>
                </c:pt>
                <c:pt idx="22945">
                  <c:v>26968</c:v>
                </c:pt>
                <c:pt idx="22946">
                  <c:v>103207</c:v>
                </c:pt>
                <c:pt idx="22947">
                  <c:v>31821</c:v>
                </c:pt>
                <c:pt idx="22948">
                  <c:v>96387</c:v>
                </c:pt>
                <c:pt idx="22949">
                  <c:v>65453</c:v>
                </c:pt>
                <c:pt idx="22950">
                  <c:v>236273</c:v>
                </c:pt>
                <c:pt idx="22951">
                  <c:v>40239</c:v>
                </c:pt>
                <c:pt idx="22952">
                  <c:v>26751</c:v>
                </c:pt>
                <c:pt idx="22953">
                  <c:v>217194</c:v>
                </c:pt>
                <c:pt idx="22954">
                  <c:v>20713</c:v>
                </c:pt>
                <c:pt idx="22955">
                  <c:v>103041</c:v>
                </c:pt>
                <c:pt idx="22956">
                  <c:v>103524</c:v>
                </c:pt>
                <c:pt idx="22957">
                  <c:v>40429</c:v>
                </c:pt>
                <c:pt idx="22958">
                  <c:v>65913</c:v>
                </c:pt>
                <c:pt idx="22959">
                  <c:v>108556</c:v>
                </c:pt>
                <c:pt idx="22960">
                  <c:v>58846</c:v>
                </c:pt>
                <c:pt idx="22961">
                  <c:v>45459</c:v>
                </c:pt>
                <c:pt idx="22962">
                  <c:v>83469</c:v>
                </c:pt>
                <c:pt idx="22963">
                  <c:v>46865</c:v>
                </c:pt>
                <c:pt idx="22964">
                  <c:v>29158</c:v>
                </c:pt>
                <c:pt idx="22965">
                  <c:v>34661</c:v>
                </c:pt>
                <c:pt idx="22966">
                  <c:v>27899</c:v>
                </c:pt>
                <c:pt idx="22967">
                  <c:v>48808</c:v>
                </c:pt>
                <c:pt idx="22968">
                  <c:v>29213</c:v>
                </c:pt>
                <c:pt idx="22969">
                  <c:v>26866</c:v>
                </c:pt>
                <c:pt idx="22970">
                  <c:v>67719</c:v>
                </c:pt>
                <c:pt idx="22971">
                  <c:v>45986</c:v>
                </c:pt>
                <c:pt idx="22972">
                  <c:v>132701</c:v>
                </c:pt>
                <c:pt idx="22973">
                  <c:v>26113</c:v>
                </c:pt>
                <c:pt idx="22974">
                  <c:v>43740</c:v>
                </c:pt>
                <c:pt idx="22975">
                  <c:v>62256</c:v>
                </c:pt>
                <c:pt idx="22976">
                  <c:v>312791</c:v>
                </c:pt>
                <c:pt idx="22977">
                  <c:v>21537</c:v>
                </c:pt>
                <c:pt idx="22978">
                  <c:v>114961</c:v>
                </c:pt>
                <c:pt idx="22979">
                  <c:v>55744</c:v>
                </c:pt>
                <c:pt idx="22980">
                  <c:v>55306</c:v>
                </c:pt>
                <c:pt idx="22981">
                  <c:v>51300</c:v>
                </c:pt>
                <c:pt idx="22982">
                  <c:v>48636</c:v>
                </c:pt>
                <c:pt idx="22983">
                  <c:v>143974</c:v>
                </c:pt>
                <c:pt idx="22984">
                  <c:v>31472</c:v>
                </c:pt>
                <c:pt idx="22985">
                  <c:v>42856</c:v>
                </c:pt>
                <c:pt idx="22986">
                  <c:v>94367</c:v>
                </c:pt>
                <c:pt idx="22987">
                  <c:v>46986</c:v>
                </c:pt>
                <c:pt idx="22988">
                  <c:v>23965</c:v>
                </c:pt>
                <c:pt idx="22989">
                  <c:v>42152</c:v>
                </c:pt>
                <c:pt idx="22990">
                  <c:v>26669</c:v>
                </c:pt>
                <c:pt idx="22991">
                  <c:v>68083</c:v>
                </c:pt>
                <c:pt idx="22992">
                  <c:v>45087</c:v>
                </c:pt>
                <c:pt idx="22993">
                  <c:v>21782</c:v>
                </c:pt>
                <c:pt idx="22994">
                  <c:v>34205</c:v>
                </c:pt>
                <c:pt idx="22995">
                  <c:v>28920</c:v>
                </c:pt>
                <c:pt idx="22996">
                  <c:v>37108</c:v>
                </c:pt>
                <c:pt idx="22997">
                  <c:v>39745</c:v>
                </c:pt>
                <c:pt idx="22998">
                  <c:v>24892</c:v>
                </c:pt>
                <c:pt idx="22999">
                  <c:v>107666</c:v>
                </c:pt>
                <c:pt idx="23000">
                  <c:v>41493</c:v>
                </c:pt>
                <c:pt idx="23001">
                  <c:v>35661</c:v>
                </c:pt>
                <c:pt idx="23002">
                  <c:v>36542</c:v>
                </c:pt>
                <c:pt idx="23003">
                  <c:v>36971</c:v>
                </c:pt>
                <c:pt idx="23004">
                  <c:v>65747</c:v>
                </c:pt>
                <c:pt idx="23005">
                  <c:v>39587</c:v>
                </c:pt>
                <c:pt idx="23006">
                  <c:v>23849</c:v>
                </c:pt>
                <c:pt idx="23007">
                  <c:v>27725</c:v>
                </c:pt>
                <c:pt idx="23008">
                  <c:v>158755</c:v>
                </c:pt>
                <c:pt idx="23009">
                  <c:v>30009</c:v>
                </c:pt>
                <c:pt idx="23010">
                  <c:v>35606</c:v>
                </c:pt>
                <c:pt idx="23011">
                  <c:v>32141</c:v>
                </c:pt>
                <c:pt idx="23012">
                  <c:v>38309</c:v>
                </c:pt>
                <c:pt idx="23013">
                  <c:v>27841</c:v>
                </c:pt>
                <c:pt idx="23014">
                  <c:v>47459</c:v>
                </c:pt>
                <c:pt idx="23015">
                  <c:v>60256</c:v>
                </c:pt>
                <c:pt idx="23016">
                  <c:v>29364</c:v>
                </c:pt>
                <c:pt idx="23017">
                  <c:v>50622</c:v>
                </c:pt>
                <c:pt idx="23018">
                  <c:v>55072</c:v>
                </c:pt>
                <c:pt idx="23019">
                  <c:v>35705</c:v>
                </c:pt>
                <c:pt idx="23020">
                  <c:v>38694</c:v>
                </c:pt>
                <c:pt idx="23021">
                  <c:v>75926</c:v>
                </c:pt>
                <c:pt idx="23022">
                  <c:v>71254</c:v>
                </c:pt>
                <c:pt idx="23023">
                  <c:v>22374</c:v>
                </c:pt>
                <c:pt idx="23024">
                  <c:v>117258</c:v>
                </c:pt>
                <c:pt idx="23025">
                  <c:v>43626</c:v>
                </c:pt>
                <c:pt idx="23026">
                  <c:v>43905</c:v>
                </c:pt>
                <c:pt idx="23027">
                  <c:v>73078</c:v>
                </c:pt>
                <c:pt idx="23028">
                  <c:v>105786</c:v>
                </c:pt>
                <c:pt idx="23029">
                  <c:v>40473</c:v>
                </c:pt>
                <c:pt idx="23030">
                  <c:v>25406</c:v>
                </c:pt>
                <c:pt idx="23031">
                  <c:v>84412</c:v>
                </c:pt>
                <c:pt idx="23032">
                  <c:v>57959</c:v>
                </c:pt>
                <c:pt idx="23033">
                  <c:v>40774</c:v>
                </c:pt>
                <c:pt idx="23034">
                  <c:v>50137</c:v>
                </c:pt>
                <c:pt idx="23035">
                  <c:v>91127</c:v>
                </c:pt>
                <c:pt idx="23036">
                  <c:v>52042</c:v>
                </c:pt>
                <c:pt idx="23037">
                  <c:v>42797</c:v>
                </c:pt>
                <c:pt idx="23038">
                  <c:v>24005</c:v>
                </c:pt>
                <c:pt idx="23039">
                  <c:v>30686</c:v>
                </c:pt>
                <c:pt idx="23040">
                  <c:v>43779</c:v>
                </c:pt>
                <c:pt idx="23041">
                  <c:v>124106</c:v>
                </c:pt>
                <c:pt idx="23042">
                  <c:v>179434</c:v>
                </c:pt>
                <c:pt idx="23043">
                  <c:v>27784</c:v>
                </c:pt>
                <c:pt idx="23044">
                  <c:v>44365</c:v>
                </c:pt>
                <c:pt idx="23045">
                  <c:v>91129</c:v>
                </c:pt>
                <c:pt idx="23046">
                  <c:v>37153</c:v>
                </c:pt>
                <c:pt idx="23047">
                  <c:v>30410</c:v>
                </c:pt>
                <c:pt idx="23048">
                  <c:v>47139</c:v>
                </c:pt>
                <c:pt idx="23049">
                  <c:v>61725</c:v>
                </c:pt>
                <c:pt idx="23050">
                  <c:v>36442</c:v>
                </c:pt>
                <c:pt idx="23051">
                  <c:v>34097</c:v>
                </c:pt>
                <c:pt idx="23052">
                  <c:v>80009</c:v>
                </c:pt>
                <c:pt idx="23053">
                  <c:v>35274</c:v>
                </c:pt>
                <c:pt idx="23054">
                  <c:v>35805</c:v>
                </c:pt>
                <c:pt idx="23055">
                  <c:v>25972</c:v>
                </c:pt>
                <c:pt idx="23056">
                  <c:v>44310</c:v>
                </c:pt>
                <c:pt idx="23057">
                  <c:v>34232</c:v>
                </c:pt>
                <c:pt idx="23058">
                  <c:v>36121</c:v>
                </c:pt>
                <c:pt idx="23059">
                  <c:v>31021</c:v>
                </c:pt>
                <c:pt idx="23060">
                  <c:v>34324</c:v>
                </c:pt>
                <c:pt idx="23061">
                  <c:v>23097</c:v>
                </c:pt>
                <c:pt idx="23062">
                  <c:v>34825</c:v>
                </c:pt>
                <c:pt idx="23063">
                  <c:v>25720</c:v>
                </c:pt>
                <c:pt idx="23064">
                  <c:v>141010</c:v>
                </c:pt>
                <c:pt idx="23065">
                  <c:v>62814</c:v>
                </c:pt>
                <c:pt idx="23066">
                  <c:v>110780</c:v>
                </c:pt>
                <c:pt idx="23067">
                  <c:v>82692</c:v>
                </c:pt>
                <c:pt idx="23068">
                  <c:v>28406</c:v>
                </c:pt>
                <c:pt idx="23069">
                  <c:v>93652</c:v>
                </c:pt>
                <c:pt idx="23070">
                  <c:v>78733</c:v>
                </c:pt>
                <c:pt idx="23071">
                  <c:v>48910</c:v>
                </c:pt>
                <c:pt idx="23072">
                  <c:v>42781</c:v>
                </c:pt>
                <c:pt idx="23073">
                  <c:v>40766</c:v>
                </c:pt>
                <c:pt idx="23074">
                  <c:v>28353</c:v>
                </c:pt>
                <c:pt idx="23075">
                  <c:v>90484</c:v>
                </c:pt>
                <c:pt idx="23076">
                  <c:v>30599</c:v>
                </c:pt>
                <c:pt idx="23077">
                  <c:v>25210</c:v>
                </c:pt>
                <c:pt idx="23078">
                  <c:v>79373</c:v>
                </c:pt>
                <c:pt idx="23079">
                  <c:v>70028</c:v>
                </c:pt>
                <c:pt idx="23080">
                  <c:v>20279</c:v>
                </c:pt>
                <c:pt idx="23081">
                  <c:v>211685</c:v>
                </c:pt>
                <c:pt idx="23082">
                  <c:v>50186</c:v>
                </c:pt>
                <c:pt idx="23083">
                  <c:v>119015</c:v>
                </c:pt>
                <c:pt idx="23084">
                  <c:v>21743</c:v>
                </c:pt>
                <c:pt idx="23085">
                  <c:v>42105</c:v>
                </c:pt>
                <c:pt idx="23086">
                  <c:v>43597</c:v>
                </c:pt>
                <c:pt idx="23087">
                  <c:v>54561</c:v>
                </c:pt>
                <c:pt idx="23088">
                  <c:v>146396</c:v>
                </c:pt>
                <c:pt idx="23089">
                  <c:v>41120</c:v>
                </c:pt>
                <c:pt idx="23090">
                  <c:v>27213</c:v>
                </c:pt>
                <c:pt idx="23091">
                  <c:v>172806</c:v>
                </c:pt>
                <c:pt idx="23092">
                  <c:v>75806</c:v>
                </c:pt>
                <c:pt idx="23093">
                  <c:v>36418</c:v>
                </c:pt>
                <c:pt idx="23094">
                  <c:v>146573</c:v>
                </c:pt>
                <c:pt idx="23095">
                  <c:v>139651</c:v>
                </c:pt>
                <c:pt idx="23096">
                  <c:v>23543</c:v>
                </c:pt>
                <c:pt idx="23097">
                  <c:v>23059</c:v>
                </c:pt>
                <c:pt idx="23098">
                  <c:v>44314</c:v>
                </c:pt>
                <c:pt idx="23099">
                  <c:v>23713</c:v>
                </c:pt>
                <c:pt idx="23100">
                  <c:v>42040</c:v>
                </c:pt>
                <c:pt idx="23101">
                  <c:v>31190</c:v>
                </c:pt>
                <c:pt idx="23102">
                  <c:v>17315</c:v>
                </c:pt>
                <c:pt idx="23103">
                  <c:v>122306</c:v>
                </c:pt>
                <c:pt idx="23104">
                  <c:v>72689</c:v>
                </c:pt>
                <c:pt idx="23105">
                  <c:v>47676</c:v>
                </c:pt>
                <c:pt idx="23106">
                  <c:v>36633</c:v>
                </c:pt>
                <c:pt idx="23107">
                  <c:v>32221</c:v>
                </c:pt>
                <c:pt idx="23108">
                  <c:v>115190</c:v>
                </c:pt>
                <c:pt idx="23109">
                  <c:v>32157</c:v>
                </c:pt>
                <c:pt idx="23110">
                  <c:v>24645</c:v>
                </c:pt>
                <c:pt idx="23111">
                  <c:v>305306</c:v>
                </c:pt>
                <c:pt idx="23112">
                  <c:v>62861</c:v>
                </c:pt>
                <c:pt idx="23113">
                  <c:v>33298</c:v>
                </c:pt>
                <c:pt idx="23114">
                  <c:v>104245</c:v>
                </c:pt>
                <c:pt idx="23115">
                  <c:v>95460</c:v>
                </c:pt>
                <c:pt idx="23116">
                  <c:v>33974</c:v>
                </c:pt>
                <c:pt idx="23117">
                  <c:v>35486</c:v>
                </c:pt>
                <c:pt idx="23118">
                  <c:v>120195</c:v>
                </c:pt>
                <c:pt idx="23119">
                  <c:v>97928</c:v>
                </c:pt>
                <c:pt idx="23120">
                  <c:v>83302</c:v>
                </c:pt>
                <c:pt idx="23121">
                  <c:v>84144</c:v>
                </c:pt>
                <c:pt idx="23122">
                  <c:v>51698</c:v>
                </c:pt>
                <c:pt idx="23123">
                  <c:v>75710</c:v>
                </c:pt>
                <c:pt idx="23124">
                  <c:v>70816</c:v>
                </c:pt>
                <c:pt idx="23125">
                  <c:v>190906</c:v>
                </c:pt>
                <c:pt idx="23126">
                  <c:v>68877</c:v>
                </c:pt>
                <c:pt idx="23127">
                  <c:v>67657</c:v>
                </c:pt>
                <c:pt idx="23128">
                  <c:v>39519</c:v>
                </c:pt>
                <c:pt idx="23129">
                  <c:v>31988</c:v>
                </c:pt>
                <c:pt idx="23130">
                  <c:v>73473</c:v>
                </c:pt>
                <c:pt idx="23131">
                  <c:v>40404</c:v>
                </c:pt>
                <c:pt idx="23132">
                  <c:v>151222</c:v>
                </c:pt>
                <c:pt idx="23133">
                  <c:v>55914</c:v>
                </c:pt>
                <c:pt idx="23134">
                  <c:v>25447</c:v>
                </c:pt>
                <c:pt idx="23135">
                  <c:v>40655</c:v>
                </c:pt>
                <c:pt idx="23136">
                  <c:v>208131</c:v>
                </c:pt>
                <c:pt idx="23137">
                  <c:v>281767</c:v>
                </c:pt>
                <c:pt idx="23138">
                  <c:v>57577</c:v>
                </c:pt>
                <c:pt idx="23139">
                  <c:v>34040</c:v>
                </c:pt>
                <c:pt idx="23140">
                  <c:v>35270</c:v>
                </c:pt>
                <c:pt idx="23141">
                  <c:v>22697</c:v>
                </c:pt>
                <c:pt idx="23142">
                  <c:v>131882</c:v>
                </c:pt>
                <c:pt idx="23143">
                  <c:v>45358</c:v>
                </c:pt>
                <c:pt idx="23144">
                  <c:v>45149</c:v>
                </c:pt>
                <c:pt idx="23145">
                  <c:v>46551</c:v>
                </c:pt>
                <c:pt idx="23146">
                  <c:v>175785</c:v>
                </c:pt>
                <c:pt idx="23147">
                  <c:v>21169</c:v>
                </c:pt>
                <c:pt idx="23148">
                  <c:v>42424</c:v>
                </c:pt>
                <c:pt idx="23149">
                  <c:v>31755</c:v>
                </c:pt>
                <c:pt idx="23150">
                  <c:v>40142</c:v>
                </c:pt>
                <c:pt idx="23151">
                  <c:v>41531</c:v>
                </c:pt>
                <c:pt idx="23152">
                  <c:v>45463</c:v>
                </c:pt>
                <c:pt idx="23153">
                  <c:v>41191</c:v>
                </c:pt>
                <c:pt idx="23154">
                  <c:v>33068</c:v>
                </c:pt>
                <c:pt idx="23155">
                  <c:v>50551</c:v>
                </c:pt>
                <c:pt idx="23156">
                  <c:v>60647</c:v>
                </c:pt>
                <c:pt idx="23157">
                  <c:v>170258</c:v>
                </c:pt>
                <c:pt idx="23158">
                  <c:v>35937</c:v>
                </c:pt>
                <c:pt idx="23159">
                  <c:v>178046</c:v>
                </c:pt>
                <c:pt idx="23160">
                  <c:v>171030</c:v>
                </c:pt>
                <c:pt idx="23161">
                  <c:v>100662</c:v>
                </c:pt>
                <c:pt idx="23162">
                  <c:v>304126</c:v>
                </c:pt>
                <c:pt idx="23163">
                  <c:v>32771</c:v>
                </c:pt>
                <c:pt idx="23164">
                  <c:v>25245</c:v>
                </c:pt>
                <c:pt idx="23165">
                  <c:v>240718</c:v>
                </c:pt>
                <c:pt idx="23166">
                  <c:v>58611</c:v>
                </c:pt>
                <c:pt idx="23167">
                  <c:v>51783</c:v>
                </c:pt>
                <c:pt idx="23168">
                  <c:v>34799</c:v>
                </c:pt>
                <c:pt idx="23169">
                  <c:v>50483</c:v>
                </c:pt>
                <c:pt idx="23170">
                  <c:v>23977</c:v>
                </c:pt>
                <c:pt idx="23171">
                  <c:v>86764</c:v>
                </c:pt>
                <c:pt idx="23172">
                  <c:v>56451</c:v>
                </c:pt>
                <c:pt idx="23173">
                  <c:v>44961</c:v>
                </c:pt>
                <c:pt idx="23174">
                  <c:v>23587</c:v>
                </c:pt>
                <c:pt idx="23175">
                  <c:v>31054</c:v>
                </c:pt>
                <c:pt idx="23176">
                  <c:v>33694</c:v>
                </c:pt>
                <c:pt idx="23177">
                  <c:v>67176</c:v>
                </c:pt>
                <c:pt idx="23178">
                  <c:v>51420</c:v>
                </c:pt>
                <c:pt idx="23179">
                  <c:v>45500</c:v>
                </c:pt>
                <c:pt idx="23180">
                  <c:v>36266</c:v>
                </c:pt>
                <c:pt idx="23181">
                  <c:v>43392</c:v>
                </c:pt>
                <c:pt idx="23182">
                  <c:v>43237</c:v>
                </c:pt>
                <c:pt idx="23183">
                  <c:v>37788</c:v>
                </c:pt>
                <c:pt idx="23184">
                  <c:v>122966</c:v>
                </c:pt>
                <c:pt idx="23185">
                  <c:v>29289</c:v>
                </c:pt>
                <c:pt idx="23186">
                  <c:v>58615</c:v>
                </c:pt>
                <c:pt idx="23187">
                  <c:v>30554</c:v>
                </c:pt>
                <c:pt idx="23188">
                  <c:v>68364</c:v>
                </c:pt>
                <c:pt idx="23189">
                  <c:v>24065</c:v>
                </c:pt>
                <c:pt idx="23190">
                  <c:v>26695</c:v>
                </c:pt>
                <c:pt idx="23191">
                  <c:v>36408</c:v>
                </c:pt>
                <c:pt idx="23192">
                  <c:v>45599</c:v>
                </c:pt>
                <c:pt idx="23193">
                  <c:v>64815</c:v>
                </c:pt>
                <c:pt idx="23194">
                  <c:v>37480</c:v>
                </c:pt>
                <c:pt idx="23195">
                  <c:v>125493</c:v>
                </c:pt>
                <c:pt idx="23196">
                  <c:v>34947</c:v>
                </c:pt>
                <c:pt idx="23197">
                  <c:v>103299</c:v>
                </c:pt>
                <c:pt idx="23198">
                  <c:v>120422</c:v>
                </c:pt>
                <c:pt idx="23199">
                  <c:v>22509</c:v>
                </c:pt>
                <c:pt idx="23200">
                  <c:v>93596</c:v>
                </c:pt>
                <c:pt idx="23201">
                  <c:v>59483</c:v>
                </c:pt>
                <c:pt idx="23202">
                  <c:v>53148</c:v>
                </c:pt>
                <c:pt idx="23203">
                  <c:v>19218</c:v>
                </c:pt>
                <c:pt idx="23204">
                  <c:v>33736</c:v>
                </c:pt>
                <c:pt idx="23205">
                  <c:v>63979</c:v>
                </c:pt>
                <c:pt idx="23206">
                  <c:v>34874</c:v>
                </c:pt>
                <c:pt idx="23207">
                  <c:v>30977</c:v>
                </c:pt>
                <c:pt idx="23208">
                  <c:v>119707</c:v>
                </c:pt>
                <c:pt idx="23209">
                  <c:v>87446</c:v>
                </c:pt>
                <c:pt idx="23210">
                  <c:v>40804</c:v>
                </c:pt>
                <c:pt idx="23211">
                  <c:v>152437</c:v>
                </c:pt>
                <c:pt idx="23212">
                  <c:v>42881</c:v>
                </c:pt>
                <c:pt idx="23213">
                  <c:v>115371</c:v>
                </c:pt>
                <c:pt idx="23214">
                  <c:v>24055</c:v>
                </c:pt>
                <c:pt idx="23215">
                  <c:v>42134</c:v>
                </c:pt>
                <c:pt idx="23216">
                  <c:v>111206</c:v>
                </c:pt>
                <c:pt idx="23217">
                  <c:v>53198</c:v>
                </c:pt>
                <c:pt idx="23218">
                  <c:v>139598</c:v>
                </c:pt>
                <c:pt idx="23219">
                  <c:v>36474</c:v>
                </c:pt>
                <c:pt idx="23220">
                  <c:v>31134</c:v>
                </c:pt>
                <c:pt idx="23221">
                  <c:v>84094</c:v>
                </c:pt>
                <c:pt idx="23222">
                  <c:v>65721</c:v>
                </c:pt>
                <c:pt idx="23223">
                  <c:v>35455</c:v>
                </c:pt>
                <c:pt idx="23224">
                  <c:v>30539</c:v>
                </c:pt>
                <c:pt idx="23225">
                  <c:v>26060</c:v>
                </c:pt>
                <c:pt idx="23226">
                  <c:v>33269</c:v>
                </c:pt>
                <c:pt idx="23227">
                  <c:v>59695</c:v>
                </c:pt>
                <c:pt idx="23228">
                  <c:v>60693</c:v>
                </c:pt>
                <c:pt idx="23229">
                  <c:v>56924</c:v>
                </c:pt>
                <c:pt idx="23230">
                  <c:v>111810</c:v>
                </c:pt>
                <c:pt idx="23231">
                  <c:v>41076</c:v>
                </c:pt>
                <c:pt idx="23232">
                  <c:v>18887</c:v>
                </c:pt>
                <c:pt idx="23233">
                  <c:v>44038</c:v>
                </c:pt>
                <c:pt idx="23234">
                  <c:v>30644</c:v>
                </c:pt>
                <c:pt idx="23235">
                  <c:v>34689</c:v>
                </c:pt>
                <c:pt idx="23236">
                  <c:v>183627</c:v>
                </c:pt>
                <c:pt idx="23237">
                  <c:v>27132</c:v>
                </c:pt>
                <c:pt idx="23238">
                  <c:v>121897</c:v>
                </c:pt>
                <c:pt idx="23239">
                  <c:v>33436</c:v>
                </c:pt>
                <c:pt idx="23240">
                  <c:v>214370</c:v>
                </c:pt>
                <c:pt idx="23241">
                  <c:v>58169</c:v>
                </c:pt>
                <c:pt idx="23242">
                  <c:v>41323</c:v>
                </c:pt>
                <c:pt idx="23243">
                  <c:v>217042</c:v>
                </c:pt>
                <c:pt idx="23244">
                  <c:v>20904</c:v>
                </c:pt>
                <c:pt idx="23245">
                  <c:v>35694</c:v>
                </c:pt>
                <c:pt idx="23246">
                  <c:v>36847</c:v>
                </c:pt>
                <c:pt idx="23247">
                  <c:v>57327</c:v>
                </c:pt>
                <c:pt idx="23248">
                  <c:v>28756</c:v>
                </c:pt>
                <c:pt idx="23249">
                  <c:v>33903</c:v>
                </c:pt>
                <c:pt idx="23250">
                  <c:v>36482</c:v>
                </c:pt>
                <c:pt idx="23251">
                  <c:v>41881</c:v>
                </c:pt>
                <c:pt idx="23252">
                  <c:v>35518</c:v>
                </c:pt>
                <c:pt idx="23253">
                  <c:v>65284</c:v>
                </c:pt>
                <c:pt idx="23254">
                  <c:v>52433</c:v>
                </c:pt>
                <c:pt idx="23255">
                  <c:v>56458</c:v>
                </c:pt>
                <c:pt idx="23256">
                  <c:v>71408</c:v>
                </c:pt>
                <c:pt idx="23257">
                  <c:v>27129</c:v>
                </c:pt>
                <c:pt idx="23258">
                  <c:v>43469</c:v>
                </c:pt>
                <c:pt idx="23259">
                  <c:v>40700</c:v>
                </c:pt>
                <c:pt idx="23260">
                  <c:v>50282</c:v>
                </c:pt>
                <c:pt idx="23261">
                  <c:v>56715</c:v>
                </c:pt>
                <c:pt idx="23262">
                  <c:v>101261</c:v>
                </c:pt>
                <c:pt idx="23263">
                  <c:v>44573</c:v>
                </c:pt>
                <c:pt idx="23264">
                  <c:v>61329</c:v>
                </c:pt>
                <c:pt idx="23265">
                  <c:v>23147</c:v>
                </c:pt>
                <c:pt idx="23266">
                  <c:v>39445</c:v>
                </c:pt>
                <c:pt idx="23267">
                  <c:v>105804</c:v>
                </c:pt>
                <c:pt idx="23268">
                  <c:v>39104</c:v>
                </c:pt>
                <c:pt idx="23269">
                  <c:v>41019</c:v>
                </c:pt>
                <c:pt idx="23270">
                  <c:v>33007</c:v>
                </c:pt>
                <c:pt idx="23271">
                  <c:v>24881</c:v>
                </c:pt>
                <c:pt idx="23272">
                  <c:v>72175</c:v>
                </c:pt>
                <c:pt idx="23273">
                  <c:v>46708</c:v>
                </c:pt>
                <c:pt idx="23274">
                  <c:v>44980</c:v>
                </c:pt>
                <c:pt idx="23275">
                  <c:v>162056</c:v>
                </c:pt>
                <c:pt idx="23276">
                  <c:v>38391</c:v>
                </c:pt>
                <c:pt idx="23277">
                  <c:v>32492</c:v>
                </c:pt>
                <c:pt idx="23278">
                  <c:v>41005</c:v>
                </c:pt>
                <c:pt idx="23279">
                  <c:v>38944</c:v>
                </c:pt>
                <c:pt idx="23280">
                  <c:v>51125</c:v>
                </c:pt>
                <c:pt idx="23281">
                  <c:v>28347</c:v>
                </c:pt>
                <c:pt idx="23282">
                  <c:v>37311</c:v>
                </c:pt>
                <c:pt idx="23283">
                  <c:v>77165</c:v>
                </c:pt>
                <c:pt idx="23284">
                  <c:v>34444</c:v>
                </c:pt>
                <c:pt idx="23285">
                  <c:v>62511</c:v>
                </c:pt>
                <c:pt idx="23286">
                  <c:v>25972</c:v>
                </c:pt>
                <c:pt idx="23287">
                  <c:v>203749</c:v>
                </c:pt>
                <c:pt idx="23288">
                  <c:v>30499</c:v>
                </c:pt>
                <c:pt idx="23289">
                  <c:v>39843</c:v>
                </c:pt>
                <c:pt idx="23290">
                  <c:v>37080</c:v>
                </c:pt>
                <c:pt idx="23291">
                  <c:v>151860</c:v>
                </c:pt>
                <c:pt idx="23292">
                  <c:v>47885</c:v>
                </c:pt>
                <c:pt idx="23293">
                  <c:v>39254</c:v>
                </c:pt>
                <c:pt idx="23294">
                  <c:v>40564</c:v>
                </c:pt>
                <c:pt idx="23295">
                  <c:v>165627</c:v>
                </c:pt>
                <c:pt idx="23296">
                  <c:v>25475</c:v>
                </c:pt>
                <c:pt idx="23297">
                  <c:v>25391</c:v>
                </c:pt>
                <c:pt idx="23298">
                  <c:v>238933</c:v>
                </c:pt>
                <c:pt idx="23299">
                  <c:v>36104</c:v>
                </c:pt>
                <c:pt idx="23300">
                  <c:v>115513</c:v>
                </c:pt>
                <c:pt idx="23301">
                  <c:v>28711</c:v>
                </c:pt>
                <c:pt idx="23302">
                  <c:v>55521</c:v>
                </c:pt>
                <c:pt idx="23303">
                  <c:v>31957</c:v>
                </c:pt>
                <c:pt idx="23304">
                  <c:v>37382</c:v>
                </c:pt>
                <c:pt idx="23305">
                  <c:v>35116</c:v>
                </c:pt>
                <c:pt idx="23306">
                  <c:v>46195</c:v>
                </c:pt>
                <c:pt idx="23307">
                  <c:v>28308</c:v>
                </c:pt>
                <c:pt idx="23308">
                  <c:v>67059</c:v>
                </c:pt>
                <c:pt idx="23309">
                  <c:v>212614</c:v>
                </c:pt>
                <c:pt idx="23310">
                  <c:v>76522</c:v>
                </c:pt>
                <c:pt idx="23311">
                  <c:v>34095</c:v>
                </c:pt>
                <c:pt idx="23312">
                  <c:v>37500</c:v>
                </c:pt>
                <c:pt idx="23313">
                  <c:v>22363</c:v>
                </c:pt>
                <c:pt idx="23314">
                  <c:v>56692</c:v>
                </c:pt>
                <c:pt idx="23315">
                  <c:v>27957</c:v>
                </c:pt>
                <c:pt idx="23316">
                  <c:v>24773</c:v>
                </c:pt>
                <c:pt idx="23317">
                  <c:v>40521</c:v>
                </c:pt>
                <c:pt idx="23318">
                  <c:v>72140</c:v>
                </c:pt>
                <c:pt idx="23319">
                  <c:v>137756</c:v>
                </c:pt>
                <c:pt idx="23320">
                  <c:v>79227</c:v>
                </c:pt>
                <c:pt idx="23321">
                  <c:v>97037</c:v>
                </c:pt>
                <c:pt idx="23322">
                  <c:v>53853</c:v>
                </c:pt>
                <c:pt idx="23323">
                  <c:v>29252</c:v>
                </c:pt>
                <c:pt idx="23324">
                  <c:v>59580</c:v>
                </c:pt>
                <c:pt idx="23325">
                  <c:v>161664</c:v>
                </c:pt>
                <c:pt idx="23326">
                  <c:v>101760</c:v>
                </c:pt>
                <c:pt idx="23327">
                  <c:v>31954</c:v>
                </c:pt>
                <c:pt idx="23328">
                  <c:v>19946</c:v>
                </c:pt>
                <c:pt idx="23329">
                  <c:v>85113</c:v>
                </c:pt>
                <c:pt idx="23330">
                  <c:v>40265</c:v>
                </c:pt>
                <c:pt idx="23331">
                  <c:v>41527</c:v>
                </c:pt>
                <c:pt idx="23332">
                  <c:v>87253</c:v>
                </c:pt>
                <c:pt idx="23333">
                  <c:v>47615</c:v>
                </c:pt>
                <c:pt idx="23334">
                  <c:v>59182</c:v>
                </c:pt>
                <c:pt idx="23335">
                  <c:v>39713</c:v>
                </c:pt>
                <c:pt idx="23336">
                  <c:v>52437</c:v>
                </c:pt>
                <c:pt idx="23337">
                  <c:v>26025</c:v>
                </c:pt>
                <c:pt idx="23338">
                  <c:v>35091</c:v>
                </c:pt>
                <c:pt idx="23339">
                  <c:v>27219</c:v>
                </c:pt>
                <c:pt idx="23340">
                  <c:v>48181</c:v>
                </c:pt>
                <c:pt idx="23341">
                  <c:v>30350</c:v>
                </c:pt>
                <c:pt idx="23342">
                  <c:v>45896</c:v>
                </c:pt>
                <c:pt idx="23343">
                  <c:v>30233</c:v>
                </c:pt>
                <c:pt idx="23344">
                  <c:v>47265</c:v>
                </c:pt>
                <c:pt idx="23345">
                  <c:v>50570</c:v>
                </c:pt>
                <c:pt idx="23346">
                  <c:v>116170</c:v>
                </c:pt>
                <c:pt idx="23347">
                  <c:v>56169</c:v>
                </c:pt>
                <c:pt idx="23348">
                  <c:v>46493</c:v>
                </c:pt>
                <c:pt idx="23349">
                  <c:v>66823</c:v>
                </c:pt>
                <c:pt idx="23350">
                  <c:v>46535</c:v>
                </c:pt>
                <c:pt idx="23351">
                  <c:v>56902</c:v>
                </c:pt>
                <c:pt idx="23352">
                  <c:v>45215</c:v>
                </c:pt>
                <c:pt idx="23353">
                  <c:v>131747</c:v>
                </c:pt>
                <c:pt idx="23354">
                  <c:v>24865</c:v>
                </c:pt>
                <c:pt idx="23355">
                  <c:v>55317</c:v>
                </c:pt>
                <c:pt idx="23356">
                  <c:v>40735</c:v>
                </c:pt>
                <c:pt idx="23357">
                  <c:v>49953</c:v>
                </c:pt>
                <c:pt idx="23358">
                  <c:v>22161</c:v>
                </c:pt>
                <c:pt idx="23359">
                  <c:v>36729</c:v>
                </c:pt>
                <c:pt idx="23360">
                  <c:v>288125</c:v>
                </c:pt>
                <c:pt idx="23361">
                  <c:v>79100</c:v>
                </c:pt>
                <c:pt idx="23362">
                  <c:v>24413</c:v>
                </c:pt>
                <c:pt idx="23363">
                  <c:v>100833</c:v>
                </c:pt>
                <c:pt idx="23364">
                  <c:v>35080</c:v>
                </c:pt>
                <c:pt idx="23365">
                  <c:v>39776</c:v>
                </c:pt>
                <c:pt idx="23366">
                  <c:v>169132</c:v>
                </c:pt>
                <c:pt idx="23367">
                  <c:v>43147</c:v>
                </c:pt>
                <c:pt idx="23368">
                  <c:v>47576</c:v>
                </c:pt>
                <c:pt idx="23369">
                  <c:v>25627</c:v>
                </c:pt>
                <c:pt idx="23370">
                  <c:v>35957</c:v>
                </c:pt>
                <c:pt idx="23371">
                  <c:v>21383</c:v>
                </c:pt>
                <c:pt idx="23372">
                  <c:v>30248</c:v>
                </c:pt>
                <c:pt idx="23373">
                  <c:v>40345</c:v>
                </c:pt>
                <c:pt idx="23374">
                  <c:v>33782</c:v>
                </c:pt>
                <c:pt idx="23375">
                  <c:v>40315</c:v>
                </c:pt>
                <c:pt idx="23376">
                  <c:v>40114</c:v>
                </c:pt>
                <c:pt idx="23377">
                  <c:v>33257</c:v>
                </c:pt>
                <c:pt idx="23378">
                  <c:v>39412</c:v>
                </c:pt>
                <c:pt idx="23379">
                  <c:v>39982</c:v>
                </c:pt>
                <c:pt idx="23380">
                  <c:v>60990</c:v>
                </c:pt>
                <c:pt idx="23381">
                  <c:v>71239</c:v>
                </c:pt>
                <c:pt idx="23382">
                  <c:v>43158</c:v>
                </c:pt>
                <c:pt idx="23383">
                  <c:v>87891</c:v>
                </c:pt>
                <c:pt idx="23384">
                  <c:v>42823</c:v>
                </c:pt>
                <c:pt idx="23385">
                  <c:v>53699</c:v>
                </c:pt>
                <c:pt idx="23386">
                  <c:v>28866</c:v>
                </c:pt>
                <c:pt idx="23387">
                  <c:v>29206</c:v>
                </c:pt>
                <c:pt idx="23388">
                  <c:v>31815</c:v>
                </c:pt>
                <c:pt idx="23389">
                  <c:v>42100</c:v>
                </c:pt>
                <c:pt idx="23390">
                  <c:v>84276</c:v>
                </c:pt>
                <c:pt idx="23391">
                  <c:v>26140</c:v>
                </c:pt>
                <c:pt idx="23392">
                  <c:v>44291</c:v>
                </c:pt>
                <c:pt idx="23393">
                  <c:v>65809</c:v>
                </c:pt>
                <c:pt idx="23394">
                  <c:v>53076</c:v>
                </c:pt>
                <c:pt idx="23395">
                  <c:v>63267</c:v>
                </c:pt>
                <c:pt idx="23396">
                  <c:v>46885</c:v>
                </c:pt>
                <c:pt idx="23397">
                  <c:v>30762</c:v>
                </c:pt>
                <c:pt idx="23398">
                  <c:v>146084</c:v>
                </c:pt>
                <c:pt idx="23399">
                  <c:v>32445</c:v>
                </c:pt>
                <c:pt idx="23400">
                  <c:v>34558</c:v>
                </c:pt>
                <c:pt idx="23401">
                  <c:v>24454</c:v>
                </c:pt>
                <c:pt idx="23402">
                  <c:v>42691</c:v>
                </c:pt>
                <c:pt idx="23403">
                  <c:v>25674</c:v>
                </c:pt>
                <c:pt idx="23404">
                  <c:v>30066</c:v>
                </c:pt>
                <c:pt idx="23405">
                  <c:v>46025</c:v>
                </c:pt>
                <c:pt idx="23406">
                  <c:v>64224</c:v>
                </c:pt>
                <c:pt idx="23407">
                  <c:v>31801</c:v>
                </c:pt>
                <c:pt idx="23408">
                  <c:v>35596</c:v>
                </c:pt>
                <c:pt idx="23409">
                  <c:v>100898</c:v>
                </c:pt>
                <c:pt idx="23410">
                  <c:v>57288</c:v>
                </c:pt>
                <c:pt idx="23411">
                  <c:v>40450</c:v>
                </c:pt>
                <c:pt idx="23412">
                  <c:v>98206</c:v>
                </c:pt>
                <c:pt idx="23413">
                  <c:v>71989</c:v>
                </c:pt>
                <c:pt idx="23414">
                  <c:v>101698</c:v>
                </c:pt>
                <c:pt idx="23415">
                  <c:v>26935</c:v>
                </c:pt>
                <c:pt idx="23416">
                  <c:v>44772</c:v>
                </c:pt>
                <c:pt idx="23417">
                  <c:v>41193</c:v>
                </c:pt>
                <c:pt idx="23418">
                  <c:v>23407</c:v>
                </c:pt>
                <c:pt idx="23419">
                  <c:v>86395</c:v>
                </c:pt>
                <c:pt idx="23420">
                  <c:v>81847</c:v>
                </c:pt>
                <c:pt idx="23421">
                  <c:v>59274</c:v>
                </c:pt>
                <c:pt idx="23422">
                  <c:v>61803</c:v>
                </c:pt>
                <c:pt idx="23423">
                  <c:v>36336</c:v>
                </c:pt>
                <c:pt idx="23424">
                  <c:v>170448</c:v>
                </c:pt>
                <c:pt idx="23425">
                  <c:v>24457</c:v>
                </c:pt>
                <c:pt idx="23426">
                  <c:v>40905</c:v>
                </c:pt>
                <c:pt idx="23427">
                  <c:v>40272</c:v>
                </c:pt>
                <c:pt idx="23428">
                  <c:v>60730</c:v>
                </c:pt>
                <c:pt idx="23429">
                  <c:v>33969</c:v>
                </c:pt>
                <c:pt idx="23430">
                  <c:v>24158</c:v>
                </c:pt>
                <c:pt idx="23431">
                  <c:v>38056</c:v>
                </c:pt>
                <c:pt idx="23432">
                  <c:v>24845</c:v>
                </c:pt>
                <c:pt idx="23433">
                  <c:v>98226</c:v>
                </c:pt>
                <c:pt idx="23434">
                  <c:v>33179</c:v>
                </c:pt>
                <c:pt idx="23435">
                  <c:v>50224</c:v>
                </c:pt>
                <c:pt idx="23436">
                  <c:v>81891</c:v>
                </c:pt>
                <c:pt idx="23437">
                  <c:v>74903</c:v>
                </c:pt>
                <c:pt idx="23438">
                  <c:v>44044</c:v>
                </c:pt>
                <c:pt idx="23439">
                  <c:v>85617</c:v>
                </c:pt>
                <c:pt idx="23440">
                  <c:v>48407</c:v>
                </c:pt>
                <c:pt idx="23441">
                  <c:v>43417</c:v>
                </c:pt>
                <c:pt idx="23442">
                  <c:v>37872</c:v>
                </c:pt>
                <c:pt idx="23443">
                  <c:v>31812</c:v>
                </c:pt>
                <c:pt idx="23444">
                  <c:v>28051</c:v>
                </c:pt>
                <c:pt idx="23445">
                  <c:v>68956</c:v>
                </c:pt>
                <c:pt idx="23446">
                  <c:v>35438</c:v>
                </c:pt>
                <c:pt idx="23447">
                  <c:v>182974</c:v>
                </c:pt>
                <c:pt idx="23448">
                  <c:v>160039</c:v>
                </c:pt>
                <c:pt idx="23449">
                  <c:v>24984</c:v>
                </c:pt>
                <c:pt idx="23450">
                  <c:v>60855</c:v>
                </c:pt>
                <c:pt idx="23451">
                  <c:v>80966</c:v>
                </c:pt>
                <c:pt idx="23452">
                  <c:v>53669</c:v>
                </c:pt>
                <c:pt idx="23453">
                  <c:v>55737</c:v>
                </c:pt>
                <c:pt idx="23454">
                  <c:v>38878</c:v>
                </c:pt>
                <c:pt idx="23455">
                  <c:v>34846</c:v>
                </c:pt>
                <c:pt idx="23456">
                  <c:v>27341</c:v>
                </c:pt>
                <c:pt idx="23457">
                  <c:v>117951</c:v>
                </c:pt>
                <c:pt idx="23458">
                  <c:v>49962</c:v>
                </c:pt>
                <c:pt idx="23459">
                  <c:v>37253</c:v>
                </c:pt>
                <c:pt idx="23460">
                  <c:v>26489</c:v>
                </c:pt>
                <c:pt idx="23461">
                  <c:v>44554</c:v>
                </c:pt>
                <c:pt idx="23462">
                  <c:v>78073</c:v>
                </c:pt>
                <c:pt idx="23463">
                  <c:v>45600</c:v>
                </c:pt>
                <c:pt idx="23464">
                  <c:v>24936</c:v>
                </c:pt>
                <c:pt idx="23465">
                  <c:v>89782</c:v>
                </c:pt>
                <c:pt idx="23466">
                  <c:v>90286</c:v>
                </c:pt>
                <c:pt idx="23467">
                  <c:v>78187</c:v>
                </c:pt>
                <c:pt idx="23468">
                  <c:v>59865</c:v>
                </c:pt>
                <c:pt idx="23469">
                  <c:v>74730</c:v>
                </c:pt>
                <c:pt idx="23470">
                  <c:v>24689</c:v>
                </c:pt>
                <c:pt idx="23471">
                  <c:v>33918</c:v>
                </c:pt>
                <c:pt idx="23472">
                  <c:v>211252</c:v>
                </c:pt>
                <c:pt idx="23473">
                  <c:v>109825</c:v>
                </c:pt>
                <c:pt idx="23474">
                  <c:v>32499</c:v>
                </c:pt>
                <c:pt idx="23475">
                  <c:v>49437</c:v>
                </c:pt>
                <c:pt idx="23476">
                  <c:v>59550</c:v>
                </c:pt>
                <c:pt idx="23477">
                  <c:v>70981</c:v>
                </c:pt>
                <c:pt idx="23478">
                  <c:v>36543</c:v>
                </c:pt>
                <c:pt idx="23479">
                  <c:v>74081</c:v>
                </c:pt>
                <c:pt idx="23480">
                  <c:v>55486</c:v>
                </c:pt>
                <c:pt idx="23481">
                  <c:v>30977</c:v>
                </c:pt>
                <c:pt idx="23482">
                  <c:v>35116</c:v>
                </c:pt>
                <c:pt idx="23483">
                  <c:v>109066</c:v>
                </c:pt>
                <c:pt idx="23484">
                  <c:v>212216</c:v>
                </c:pt>
                <c:pt idx="23485">
                  <c:v>48892</c:v>
                </c:pt>
                <c:pt idx="23486">
                  <c:v>97464</c:v>
                </c:pt>
                <c:pt idx="23487">
                  <c:v>36371</c:v>
                </c:pt>
                <c:pt idx="23488">
                  <c:v>76615</c:v>
                </c:pt>
                <c:pt idx="23489">
                  <c:v>49412</c:v>
                </c:pt>
                <c:pt idx="23490">
                  <c:v>55602</c:v>
                </c:pt>
                <c:pt idx="23491">
                  <c:v>94132</c:v>
                </c:pt>
                <c:pt idx="23492">
                  <c:v>57374</c:v>
                </c:pt>
                <c:pt idx="23493">
                  <c:v>25948</c:v>
                </c:pt>
                <c:pt idx="23494">
                  <c:v>38333</c:v>
                </c:pt>
                <c:pt idx="23495">
                  <c:v>42827</c:v>
                </c:pt>
                <c:pt idx="23496">
                  <c:v>51003</c:v>
                </c:pt>
                <c:pt idx="23497">
                  <c:v>108607</c:v>
                </c:pt>
                <c:pt idx="23498">
                  <c:v>86823</c:v>
                </c:pt>
                <c:pt idx="23499">
                  <c:v>36335</c:v>
                </c:pt>
                <c:pt idx="23500">
                  <c:v>60761</c:v>
                </c:pt>
                <c:pt idx="23501">
                  <c:v>34784</c:v>
                </c:pt>
                <c:pt idx="23502">
                  <c:v>31366</c:v>
                </c:pt>
                <c:pt idx="23503">
                  <c:v>97881</c:v>
                </c:pt>
                <c:pt idx="23504">
                  <c:v>58882</c:v>
                </c:pt>
                <c:pt idx="23505">
                  <c:v>65934</c:v>
                </c:pt>
                <c:pt idx="23506">
                  <c:v>36941</c:v>
                </c:pt>
                <c:pt idx="23507">
                  <c:v>39630</c:v>
                </c:pt>
                <c:pt idx="23508">
                  <c:v>30303</c:v>
                </c:pt>
                <c:pt idx="23509">
                  <c:v>59441</c:v>
                </c:pt>
                <c:pt idx="23510">
                  <c:v>76645</c:v>
                </c:pt>
                <c:pt idx="23511">
                  <c:v>100386</c:v>
                </c:pt>
                <c:pt idx="23512">
                  <c:v>29793</c:v>
                </c:pt>
                <c:pt idx="23513">
                  <c:v>38669</c:v>
                </c:pt>
                <c:pt idx="23514">
                  <c:v>32252</c:v>
                </c:pt>
                <c:pt idx="23515">
                  <c:v>71193</c:v>
                </c:pt>
                <c:pt idx="23516">
                  <c:v>22981</c:v>
                </c:pt>
                <c:pt idx="23517">
                  <c:v>93696</c:v>
                </c:pt>
                <c:pt idx="23518">
                  <c:v>24421</c:v>
                </c:pt>
                <c:pt idx="23519">
                  <c:v>43132</c:v>
                </c:pt>
                <c:pt idx="23520">
                  <c:v>65451</c:v>
                </c:pt>
                <c:pt idx="23521">
                  <c:v>54782</c:v>
                </c:pt>
                <c:pt idx="23522">
                  <c:v>45010</c:v>
                </c:pt>
                <c:pt idx="23523">
                  <c:v>30881</c:v>
                </c:pt>
                <c:pt idx="23524">
                  <c:v>56203</c:v>
                </c:pt>
                <c:pt idx="23525">
                  <c:v>92381</c:v>
                </c:pt>
                <c:pt idx="23526">
                  <c:v>108985</c:v>
                </c:pt>
                <c:pt idx="23527">
                  <c:v>40578</c:v>
                </c:pt>
                <c:pt idx="23528">
                  <c:v>29070</c:v>
                </c:pt>
                <c:pt idx="23529">
                  <c:v>59349</c:v>
                </c:pt>
                <c:pt idx="23530">
                  <c:v>53546</c:v>
                </c:pt>
                <c:pt idx="23531">
                  <c:v>53454</c:v>
                </c:pt>
                <c:pt idx="23532">
                  <c:v>39240</c:v>
                </c:pt>
                <c:pt idx="23533">
                  <c:v>53023</c:v>
                </c:pt>
                <c:pt idx="23534">
                  <c:v>133512</c:v>
                </c:pt>
                <c:pt idx="23535">
                  <c:v>47132</c:v>
                </c:pt>
                <c:pt idx="23536">
                  <c:v>36069</c:v>
                </c:pt>
                <c:pt idx="23537">
                  <c:v>33573</c:v>
                </c:pt>
                <c:pt idx="23538">
                  <c:v>60338</c:v>
                </c:pt>
                <c:pt idx="23539">
                  <c:v>54503</c:v>
                </c:pt>
                <c:pt idx="23540">
                  <c:v>34710</c:v>
                </c:pt>
                <c:pt idx="23541">
                  <c:v>32486</c:v>
                </c:pt>
                <c:pt idx="23542">
                  <c:v>71315</c:v>
                </c:pt>
                <c:pt idx="23543">
                  <c:v>191040</c:v>
                </c:pt>
                <c:pt idx="23544">
                  <c:v>29622</c:v>
                </c:pt>
                <c:pt idx="23545">
                  <c:v>69735</c:v>
                </c:pt>
                <c:pt idx="23546">
                  <c:v>42120</c:v>
                </c:pt>
                <c:pt idx="23547">
                  <c:v>35123</c:v>
                </c:pt>
                <c:pt idx="23548">
                  <c:v>52243</c:v>
                </c:pt>
                <c:pt idx="23549">
                  <c:v>31491</c:v>
                </c:pt>
                <c:pt idx="23550">
                  <c:v>32267</c:v>
                </c:pt>
                <c:pt idx="23551">
                  <c:v>59629</c:v>
                </c:pt>
                <c:pt idx="23552">
                  <c:v>59790</c:v>
                </c:pt>
                <c:pt idx="23553">
                  <c:v>23375</c:v>
                </c:pt>
                <c:pt idx="23554">
                  <c:v>89489</c:v>
                </c:pt>
                <c:pt idx="23555">
                  <c:v>23050</c:v>
                </c:pt>
                <c:pt idx="23556">
                  <c:v>46225</c:v>
                </c:pt>
                <c:pt idx="23557">
                  <c:v>33392</c:v>
                </c:pt>
                <c:pt idx="23558">
                  <c:v>39608</c:v>
                </c:pt>
                <c:pt idx="23559">
                  <c:v>21351</c:v>
                </c:pt>
                <c:pt idx="23560">
                  <c:v>28595</c:v>
                </c:pt>
                <c:pt idx="23561">
                  <c:v>41013</c:v>
                </c:pt>
                <c:pt idx="23562">
                  <c:v>29974</c:v>
                </c:pt>
                <c:pt idx="23563">
                  <c:v>199693</c:v>
                </c:pt>
                <c:pt idx="23564">
                  <c:v>28648</c:v>
                </c:pt>
                <c:pt idx="23565">
                  <c:v>35155</c:v>
                </c:pt>
                <c:pt idx="23566">
                  <c:v>36516</c:v>
                </c:pt>
                <c:pt idx="23567">
                  <c:v>30999</c:v>
                </c:pt>
                <c:pt idx="23568">
                  <c:v>67634</c:v>
                </c:pt>
                <c:pt idx="23569">
                  <c:v>146151</c:v>
                </c:pt>
                <c:pt idx="23570">
                  <c:v>78006</c:v>
                </c:pt>
                <c:pt idx="23571">
                  <c:v>80146</c:v>
                </c:pt>
                <c:pt idx="23572">
                  <c:v>35171</c:v>
                </c:pt>
                <c:pt idx="23573">
                  <c:v>32398</c:v>
                </c:pt>
                <c:pt idx="23574">
                  <c:v>113346</c:v>
                </c:pt>
                <c:pt idx="23575">
                  <c:v>23370</c:v>
                </c:pt>
                <c:pt idx="23576">
                  <c:v>42043</c:v>
                </c:pt>
                <c:pt idx="23577">
                  <c:v>90947</c:v>
                </c:pt>
                <c:pt idx="23578">
                  <c:v>162096</c:v>
                </c:pt>
                <c:pt idx="23579">
                  <c:v>19861</c:v>
                </c:pt>
                <c:pt idx="23580">
                  <c:v>77369</c:v>
                </c:pt>
                <c:pt idx="23581">
                  <c:v>36891</c:v>
                </c:pt>
                <c:pt idx="23582">
                  <c:v>89251</c:v>
                </c:pt>
                <c:pt idx="23583">
                  <c:v>82011</c:v>
                </c:pt>
                <c:pt idx="23584">
                  <c:v>19973</c:v>
                </c:pt>
                <c:pt idx="23585">
                  <c:v>49638</c:v>
                </c:pt>
                <c:pt idx="23586">
                  <c:v>114822</c:v>
                </c:pt>
                <c:pt idx="23587">
                  <c:v>34130</c:v>
                </c:pt>
                <c:pt idx="23588">
                  <c:v>25734</c:v>
                </c:pt>
                <c:pt idx="23589">
                  <c:v>47405</c:v>
                </c:pt>
                <c:pt idx="23590">
                  <c:v>46729</c:v>
                </c:pt>
                <c:pt idx="23591">
                  <c:v>40283</c:v>
                </c:pt>
                <c:pt idx="23592">
                  <c:v>162634</c:v>
                </c:pt>
                <c:pt idx="23593">
                  <c:v>43531</c:v>
                </c:pt>
                <c:pt idx="23594">
                  <c:v>63160</c:v>
                </c:pt>
                <c:pt idx="23595">
                  <c:v>42271</c:v>
                </c:pt>
                <c:pt idx="23596">
                  <c:v>32272</c:v>
                </c:pt>
                <c:pt idx="23597">
                  <c:v>45467</c:v>
                </c:pt>
                <c:pt idx="23598">
                  <c:v>32539</c:v>
                </c:pt>
                <c:pt idx="23599">
                  <c:v>248848</c:v>
                </c:pt>
                <c:pt idx="23600">
                  <c:v>26861</c:v>
                </c:pt>
                <c:pt idx="23601">
                  <c:v>27691</c:v>
                </c:pt>
                <c:pt idx="23602">
                  <c:v>104457</c:v>
                </c:pt>
                <c:pt idx="23603">
                  <c:v>42912</c:v>
                </c:pt>
                <c:pt idx="23604">
                  <c:v>28575</c:v>
                </c:pt>
                <c:pt idx="23605">
                  <c:v>50662</c:v>
                </c:pt>
                <c:pt idx="23606">
                  <c:v>41625</c:v>
                </c:pt>
                <c:pt idx="23607">
                  <c:v>59148</c:v>
                </c:pt>
                <c:pt idx="23608">
                  <c:v>46312</c:v>
                </c:pt>
                <c:pt idx="23609">
                  <c:v>27608</c:v>
                </c:pt>
                <c:pt idx="23610">
                  <c:v>121002</c:v>
                </c:pt>
                <c:pt idx="23611">
                  <c:v>39434</c:v>
                </c:pt>
                <c:pt idx="23612">
                  <c:v>152894</c:v>
                </c:pt>
                <c:pt idx="23613">
                  <c:v>28850</c:v>
                </c:pt>
                <c:pt idx="23614">
                  <c:v>40247</c:v>
                </c:pt>
                <c:pt idx="23615">
                  <c:v>27612</c:v>
                </c:pt>
                <c:pt idx="23616">
                  <c:v>225822</c:v>
                </c:pt>
                <c:pt idx="23617">
                  <c:v>36541</c:v>
                </c:pt>
                <c:pt idx="23618">
                  <c:v>25924</c:v>
                </c:pt>
                <c:pt idx="23619">
                  <c:v>43040</c:v>
                </c:pt>
                <c:pt idx="23620">
                  <c:v>79903</c:v>
                </c:pt>
                <c:pt idx="23621">
                  <c:v>53462</c:v>
                </c:pt>
                <c:pt idx="23622">
                  <c:v>77410</c:v>
                </c:pt>
                <c:pt idx="23623">
                  <c:v>47117</c:v>
                </c:pt>
                <c:pt idx="23624">
                  <c:v>30984</c:v>
                </c:pt>
                <c:pt idx="23625">
                  <c:v>63073</c:v>
                </c:pt>
                <c:pt idx="23626">
                  <c:v>34040</c:v>
                </c:pt>
                <c:pt idx="23627">
                  <c:v>38287</c:v>
                </c:pt>
                <c:pt idx="23628">
                  <c:v>47994</c:v>
                </c:pt>
                <c:pt idx="23629">
                  <c:v>55628</c:v>
                </c:pt>
                <c:pt idx="23630">
                  <c:v>27475</c:v>
                </c:pt>
                <c:pt idx="23631">
                  <c:v>25453</c:v>
                </c:pt>
                <c:pt idx="23632">
                  <c:v>36868</c:v>
                </c:pt>
                <c:pt idx="23633">
                  <c:v>29698</c:v>
                </c:pt>
                <c:pt idx="23634">
                  <c:v>76182</c:v>
                </c:pt>
                <c:pt idx="23635">
                  <c:v>82428</c:v>
                </c:pt>
                <c:pt idx="23636">
                  <c:v>32875</c:v>
                </c:pt>
                <c:pt idx="23637">
                  <c:v>176456</c:v>
                </c:pt>
                <c:pt idx="23638">
                  <c:v>38018</c:v>
                </c:pt>
                <c:pt idx="23639">
                  <c:v>168954</c:v>
                </c:pt>
                <c:pt idx="23640">
                  <c:v>31012</c:v>
                </c:pt>
                <c:pt idx="23641">
                  <c:v>50182</c:v>
                </c:pt>
                <c:pt idx="23642">
                  <c:v>24261</c:v>
                </c:pt>
                <c:pt idx="23643">
                  <c:v>93673</c:v>
                </c:pt>
                <c:pt idx="23644">
                  <c:v>155405</c:v>
                </c:pt>
                <c:pt idx="23645">
                  <c:v>30561</c:v>
                </c:pt>
                <c:pt idx="23646">
                  <c:v>396153</c:v>
                </c:pt>
                <c:pt idx="23647">
                  <c:v>50196</c:v>
                </c:pt>
                <c:pt idx="23648">
                  <c:v>31417</c:v>
                </c:pt>
                <c:pt idx="23649">
                  <c:v>59650</c:v>
                </c:pt>
                <c:pt idx="23650">
                  <c:v>37366</c:v>
                </c:pt>
                <c:pt idx="23651">
                  <c:v>39398</c:v>
                </c:pt>
                <c:pt idx="23652">
                  <c:v>24813</c:v>
                </c:pt>
                <c:pt idx="23653">
                  <c:v>61333</c:v>
                </c:pt>
                <c:pt idx="23654">
                  <c:v>55501</c:v>
                </c:pt>
                <c:pt idx="23655">
                  <c:v>56726</c:v>
                </c:pt>
                <c:pt idx="23656">
                  <c:v>26983</c:v>
                </c:pt>
                <c:pt idx="23657">
                  <c:v>38081</c:v>
                </c:pt>
                <c:pt idx="23658">
                  <c:v>41984</c:v>
                </c:pt>
                <c:pt idx="23659">
                  <c:v>41081</c:v>
                </c:pt>
                <c:pt idx="23660">
                  <c:v>92488</c:v>
                </c:pt>
                <c:pt idx="23661">
                  <c:v>163432</c:v>
                </c:pt>
                <c:pt idx="23662">
                  <c:v>30893</c:v>
                </c:pt>
                <c:pt idx="23663">
                  <c:v>40393</c:v>
                </c:pt>
                <c:pt idx="23664">
                  <c:v>31651</c:v>
                </c:pt>
                <c:pt idx="23665">
                  <c:v>25696</c:v>
                </c:pt>
                <c:pt idx="23666">
                  <c:v>31796</c:v>
                </c:pt>
                <c:pt idx="23667">
                  <c:v>33666</c:v>
                </c:pt>
                <c:pt idx="23668">
                  <c:v>258018</c:v>
                </c:pt>
                <c:pt idx="23669">
                  <c:v>49803</c:v>
                </c:pt>
                <c:pt idx="23670">
                  <c:v>36953</c:v>
                </c:pt>
                <c:pt idx="23671">
                  <c:v>28741</c:v>
                </c:pt>
                <c:pt idx="23672">
                  <c:v>41470</c:v>
                </c:pt>
                <c:pt idx="23673">
                  <c:v>46582</c:v>
                </c:pt>
                <c:pt idx="23674">
                  <c:v>23540</c:v>
                </c:pt>
                <c:pt idx="23675">
                  <c:v>84566</c:v>
                </c:pt>
                <c:pt idx="23676">
                  <c:v>44869</c:v>
                </c:pt>
                <c:pt idx="23677">
                  <c:v>44528</c:v>
                </c:pt>
                <c:pt idx="23678">
                  <c:v>47040</c:v>
                </c:pt>
                <c:pt idx="23679">
                  <c:v>26789</c:v>
                </c:pt>
                <c:pt idx="23680">
                  <c:v>76382</c:v>
                </c:pt>
                <c:pt idx="23681">
                  <c:v>53449</c:v>
                </c:pt>
                <c:pt idx="23682">
                  <c:v>40251</c:v>
                </c:pt>
                <c:pt idx="23683">
                  <c:v>128740</c:v>
                </c:pt>
                <c:pt idx="23684">
                  <c:v>61543</c:v>
                </c:pt>
                <c:pt idx="23685">
                  <c:v>37190</c:v>
                </c:pt>
                <c:pt idx="23686">
                  <c:v>59867</c:v>
                </c:pt>
                <c:pt idx="23687">
                  <c:v>27683</c:v>
                </c:pt>
                <c:pt idx="23688">
                  <c:v>41302</c:v>
                </c:pt>
                <c:pt idx="23689">
                  <c:v>35903</c:v>
                </c:pt>
                <c:pt idx="23690">
                  <c:v>38114</c:v>
                </c:pt>
                <c:pt idx="23691">
                  <c:v>26711</c:v>
                </c:pt>
                <c:pt idx="23692">
                  <c:v>29106</c:v>
                </c:pt>
                <c:pt idx="23693">
                  <c:v>25498</c:v>
                </c:pt>
                <c:pt idx="23694">
                  <c:v>230464</c:v>
                </c:pt>
                <c:pt idx="23695">
                  <c:v>26847</c:v>
                </c:pt>
                <c:pt idx="23696">
                  <c:v>32636</c:v>
                </c:pt>
                <c:pt idx="23697">
                  <c:v>27795</c:v>
                </c:pt>
                <c:pt idx="23698">
                  <c:v>29890</c:v>
                </c:pt>
                <c:pt idx="23699">
                  <c:v>30205</c:v>
                </c:pt>
                <c:pt idx="23700">
                  <c:v>41273</c:v>
                </c:pt>
                <c:pt idx="23701">
                  <c:v>44769</c:v>
                </c:pt>
                <c:pt idx="23702">
                  <c:v>31609</c:v>
                </c:pt>
                <c:pt idx="23703">
                  <c:v>21972</c:v>
                </c:pt>
                <c:pt idx="23704">
                  <c:v>45297</c:v>
                </c:pt>
                <c:pt idx="23705">
                  <c:v>44814</c:v>
                </c:pt>
                <c:pt idx="23706">
                  <c:v>64283</c:v>
                </c:pt>
                <c:pt idx="23707">
                  <c:v>42919</c:v>
                </c:pt>
                <c:pt idx="23708">
                  <c:v>39469</c:v>
                </c:pt>
                <c:pt idx="23709">
                  <c:v>23846</c:v>
                </c:pt>
                <c:pt idx="23710">
                  <c:v>37957</c:v>
                </c:pt>
                <c:pt idx="23711">
                  <c:v>27214</c:v>
                </c:pt>
                <c:pt idx="23712">
                  <c:v>193981</c:v>
                </c:pt>
                <c:pt idx="23713">
                  <c:v>55785</c:v>
                </c:pt>
                <c:pt idx="23714">
                  <c:v>21456</c:v>
                </c:pt>
                <c:pt idx="23715">
                  <c:v>66741</c:v>
                </c:pt>
                <c:pt idx="23716">
                  <c:v>64619</c:v>
                </c:pt>
                <c:pt idx="23717">
                  <c:v>35418</c:v>
                </c:pt>
                <c:pt idx="23718">
                  <c:v>63435</c:v>
                </c:pt>
                <c:pt idx="23719">
                  <c:v>33823</c:v>
                </c:pt>
                <c:pt idx="23720">
                  <c:v>29228</c:v>
                </c:pt>
                <c:pt idx="23721">
                  <c:v>59563</c:v>
                </c:pt>
                <c:pt idx="23722">
                  <c:v>52974</c:v>
                </c:pt>
                <c:pt idx="23723">
                  <c:v>141707</c:v>
                </c:pt>
                <c:pt idx="23724">
                  <c:v>29289</c:v>
                </c:pt>
                <c:pt idx="23725">
                  <c:v>100790</c:v>
                </c:pt>
                <c:pt idx="23726">
                  <c:v>26103</c:v>
                </c:pt>
                <c:pt idx="23727">
                  <c:v>54628</c:v>
                </c:pt>
                <c:pt idx="23728">
                  <c:v>63712</c:v>
                </c:pt>
                <c:pt idx="23729">
                  <c:v>39195</c:v>
                </c:pt>
                <c:pt idx="23730">
                  <c:v>38032</c:v>
                </c:pt>
                <c:pt idx="23731">
                  <c:v>65856</c:v>
                </c:pt>
                <c:pt idx="23732">
                  <c:v>111822</c:v>
                </c:pt>
                <c:pt idx="23733">
                  <c:v>55008</c:v>
                </c:pt>
                <c:pt idx="23734">
                  <c:v>26668</c:v>
                </c:pt>
                <c:pt idx="23735">
                  <c:v>27611</c:v>
                </c:pt>
                <c:pt idx="23736">
                  <c:v>45281</c:v>
                </c:pt>
                <c:pt idx="23737">
                  <c:v>21884</c:v>
                </c:pt>
                <c:pt idx="23738">
                  <c:v>45455</c:v>
                </c:pt>
                <c:pt idx="23739">
                  <c:v>28716</c:v>
                </c:pt>
                <c:pt idx="23740">
                  <c:v>26569</c:v>
                </c:pt>
                <c:pt idx="23741">
                  <c:v>226703</c:v>
                </c:pt>
                <c:pt idx="23742">
                  <c:v>22849</c:v>
                </c:pt>
                <c:pt idx="23743">
                  <c:v>43534</c:v>
                </c:pt>
                <c:pt idx="23744">
                  <c:v>65014</c:v>
                </c:pt>
                <c:pt idx="23745">
                  <c:v>36718</c:v>
                </c:pt>
                <c:pt idx="23746">
                  <c:v>39355</c:v>
                </c:pt>
                <c:pt idx="23747">
                  <c:v>72040</c:v>
                </c:pt>
                <c:pt idx="23748">
                  <c:v>42852</c:v>
                </c:pt>
                <c:pt idx="23749">
                  <c:v>131014</c:v>
                </c:pt>
                <c:pt idx="23750">
                  <c:v>49217</c:v>
                </c:pt>
                <c:pt idx="23751">
                  <c:v>46278</c:v>
                </c:pt>
                <c:pt idx="23752">
                  <c:v>51163</c:v>
                </c:pt>
                <c:pt idx="23753">
                  <c:v>27167</c:v>
                </c:pt>
                <c:pt idx="23754">
                  <c:v>21837</c:v>
                </c:pt>
                <c:pt idx="23755">
                  <c:v>78744</c:v>
                </c:pt>
                <c:pt idx="23756">
                  <c:v>78967</c:v>
                </c:pt>
                <c:pt idx="23757">
                  <c:v>50582</c:v>
                </c:pt>
                <c:pt idx="23758">
                  <c:v>24841</c:v>
                </c:pt>
                <c:pt idx="23759">
                  <c:v>39476</c:v>
                </c:pt>
                <c:pt idx="23760">
                  <c:v>38655</c:v>
                </c:pt>
                <c:pt idx="23761">
                  <c:v>32105</c:v>
                </c:pt>
                <c:pt idx="23762">
                  <c:v>63276</c:v>
                </c:pt>
                <c:pt idx="23763">
                  <c:v>26745</c:v>
                </c:pt>
                <c:pt idx="23764">
                  <c:v>40415</c:v>
                </c:pt>
                <c:pt idx="23765">
                  <c:v>99573</c:v>
                </c:pt>
                <c:pt idx="23766">
                  <c:v>31914</c:v>
                </c:pt>
                <c:pt idx="23767">
                  <c:v>23086</c:v>
                </c:pt>
                <c:pt idx="23768">
                  <c:v>45461</c:v>
                </c:pt>
                <c:pt idx="23769">
                  <c:v>74067</c:v>
                </c:pt>
                <c:pt idx="23770">
                  <c:v>94619</c:v>
                </c:pt>
                <c:pt idx="23771">
                  <c:v>50968</c:v>
                </c:pt>
                <c:pt idx="23772">
                  <c:v>28665</c:v>
                </c:pt>
                <c:pt idx="23773">
                  <c:v>141162</c:v>
                </c:pt>
                <c:pt idx="23774">
                  <c:v>39794</c:v>
                </c:pt>
                <c:pt idx="23775">
                  <c:v>33663</c:v>
                </c:pt>
                <c:pt idx="23776">
                  <c:v>64444</c:v>
                </c:pt>
                <c:pt idx="23777">
                  <c:v>29470</c:v>
                </c:pt>
                <c:pt idx="23778">
                  <c:v>42125</c:v>
                </c:pt>
                <c:pt idx="23779">
                  <c:v>118756</c:v>
                </c:pt>
                <c:pt idx="23780">
                  <c:v>48270</c:v>
                </c:pt>
                <c:pt idx="23781">
                  <c:v>40885</c:v>
                </c:pt>
                <c:pt idx="23782">
                  <c:v>24405</c:v>
                </c:pt>
                <c:pt idx="23783">
                  <c:v>62904</c:v>
                </c:pt>
                <c:pt idx="23784">
                  <c:v>27044</c:v>
                </c:pt>
                <c:pt idx="23785">
                  <c:v>36517</c:v>
                </c:pt>
                <c:pt idx="23786">
                  <c:v>50092</c:v>
                </c:pt>
                <c:pt idx="23787">
                  <c:v>36683</c:v>
                </c:pt>
                <c:pt idx="23788">
                  <c:v>78247</c:v>
                </c:pt>
                <c:pt idx="23789">
                  <c:v>26440</c:v>
                </c:pt>
                <c:pt idx="23790">
                  <c:v>55653</c:v>
                </c:pt>
                <c:pt idx="23791">
                  <c:v>30159</c:v>
                </c:pt>
                <c:pt idx="23792">
                  <c:v>41582</c:v>
                </c:pt>
                <c:pt idx="23793">
                  <c:v>39156</c:v>
                </c:pt>
                <c:pt idx="23794">
                  <c:v>39146</c:v>
                </c:pt>
                <c:pt idx="23795">
                  <c:v>65977</c:v>
                </c:pt>
                <c:pt idx="23796">
                  <c:v>34229</c:v>
                </c:pt>
                <c:pt idx="23797">
                  <c:v>141579</c:v>
                </c:pt>
                <c:pt idx="23798">
                  <c:v>41056</c:v>
                </c:pt>
                <c:pt idx="23799">
                  <c:v>178203</c:v>
                </c:pt>
                <c:pt idx="23800">
                  <c:v>95698</c:v>
                </c:pt>
                <c:pt idx="23801">
                  <c:v>69833</c:v>
                </c:pt>
                <c:pt idx="23802">
                  <c:v>86830</c:v>
                </c:pt>
                <c:pt idx="23803">
                  <c:v>195350</c:v>
                </c:pt>
                <c:pt idx="23804">
                  <c:v>157990</c:v>
                </c:pt>
                <c:pt idx="23805">
                  <c:v>38631</c:v>
                </c:pt>
                <c:pt idx="23806">
                  <c:v>44488</c:v>
                </c:pt>
                <c:pt idx="23807">
                  <c:v>44487</c:v>
                </c:pt>
                <c:pt idx="23808">
                  <c:v>25625</c:v>
                </c:pt>
                <c:pt idx="23809">
                  <c:v>39165</c:v>
                </c:pt>
                <c:pt idx="23810">
                  <c:v>30906</c:v>
                </c:pt>
                <c:pt idx="23811">
                  <c:v>58895</c:v>
                </c:pt>
                <c:pt idx="23812">
                  <c:v>53919</c:v>
                </c:pt>
                <c:pt idx="23813">
                  <c:v>25643</c:v>
                </c:pt>
                <c:pt idx="23814">
                  <c:v>57247</c:v>
                </c:pt>
                <c:pt idx="23815">
                  <c:v>25505</c:v>
                </c:pt>
                <c:pt idx="23816">
                  <c:v>114663</c:v>
                </c:pt>
                <c:pt idx="23817">
                  <c:v>40045</c:v>
                </c:pt>
                <c:pt idx="23818">
                  <c:v>74831</c:v>
                </c:pt>
                <c:pt idx="23819">
                  <c:v>36624</c:v>
                </c:pt>
                <c:pt idx="23820">
                  <c:v>96024</c:v>
                </c:pt>
                <c:pt idx="23821">
                  <c:v>43650</c:v>
                </c:pt>
                <c:pt idx="23822">
                  <c:v>41065</c:v>
                </c:pt>
                <c:pt idx="23823">
                  <c:v>57141</c:v>
                </c:pt>
                <c:pt idx="23824">
                  <c:v>34480</c:v>
                </c:pt>
                <c:pt idx="23825">
                  <c:v>62650</c:v>
                </c:pt>
                <c:pt idx="23826">
                  <c:v>19342</c:v>
                </c:pt>
                <c:pt idx="23827">
                  <c:v>39492</c:v>
                </c:pt>
                <c:pt idx="23828">
                  <c:v>111671</c:v>
                </c:pt>
                <c:pt idx="23829">
                  <c:v>38512</c:v>
                </c:pt>
                <c:pt idx="23830">
                  <c:v>83250</c:v>
                </c:pt>
                <c:pt idx="23831">
                  <c:v>32541</c:v>
                </c:pt>
                <c:pt idx="23832">
                  <c:v>93988</c:v>
                </c:pt>
                <c:pt idx="23833">
                  <c:v>35635</c:v>
                </c:pt>
                <c:pt idx="23834">
                  <c:v>74547</c:v>
                </c:pt>
                <c:pt idx="23835">
                  <c:v>70450</c:v>
                </c:pt>
                <c:pt idx="23836">
                  <c:v>50408</c:v>
                </c:pt>
                <c:pt idx="23837">
                  <c:v>30623</c:v>
                </c:pt>
                <c:pt idx="23838">
                  <c:v>40636</c:v>
                </c:pt>
                <c:pt idx="23839">
                  <c:v>38667</c:v>
                </c:pt>
                <c:pt idx="23840">
                  <c:v>83307</c:v>
                </c:pt>
                <c:pt idx="23841">
                  <c:v>33848</c:v>
                </c:pt>
                <c:pt idx="23842">
                  <c:v>28737</c:v>
                </c:pt>
                <c:pt idx="23843">
                  <c:v>59963</c:v>
                </c:pt>
                <c:pt idx="23844">
                  <c:v>86122</c:v>
                </c:pt>
                <c:pt idx="23845">
                  <c:v>63836</c:v>
                </c:pt>
                <c:pt idx="23846">
                  <c:v>37588</c:v>
                </c:pt>
                <c:pt idx="23847">
                  <c:v>37370</c:v>
                </c:pt>
                <c:pt idx="23848">
                  <c:v>46767</c:v>
                </c:pt>
                <c:pt idx="23849">
                  <c:v>29389</c:v>
                </c:pt>
                <c:pt idx="23850">
                  <c:v>43626</c:v>
                </c:pt>
                <c:pt idx="23851">
                  <c:v>26221</c:v>
                </c:pt>
                <c:pt idx="23852">
                  <c:v>92654</c:v>
                </c:pt>
                <c:pt idx="23853">
                  <c:v>152102</c:v>
                </c:pt>
                <c:pt idx="23854">
                  <c:v>41351</c:v>
                </c:pt>
                <c:pt idx="23855">
                  <c:v>48428</c:v>
                </c:pt>
                <c:pt idx="23856">
                  <c:v>45667</c:v>
                </c:pt>
                <c:pt idx="23857">
                  <c:v>25820</c:v>
                </c:pt>
                <c:pt idx="23858">
                  <c:v>179059</c:v>
                </c:pt>
                <c:pt idx="23859">
                  <c:v>27878</c:v>
                </c:pt>
                <c:pt idx="23860">
                  <c:v>36702</c:v>
                </c:pt>
                <c:pt idx="23861">
                  <c:v>48944</c:v>
                </c:pt>
                <c:pt idx="23862">
                  <c:v>52183</c:v>
                </c:pt>
                <c:pt idx="23863">
                  <c:v>50720</c:v>
                </c:pt>
                <c:pt idx="23864">
                  <c:v>95127</c:v>
                </c:pt>
                <c:pt idx="23865">
                  <c:v>59479</c:v>
                </c:pt>
                <c:pt idx="23866">
                  <c:v>28641</c:v>
                </c:pt>
                <c:pt idx="23867">
                  <c:v>50838</c:v>
                </c:pt>
                <c:pt idx="23868">
                  <c:v>32332</c:v>
                </c:pt>
                <c:pt idx="23869">
                  <c:v>32320</c:v>
                </c:pt>
                <c:pt idx="23870">
                  <c:v>34840</c:v>
                </c:pt>
                <c:pt idx="23871">
                  <c:v>55735</c:v>
                </c:pt>
                <c:pt idx="23872">
                  <c:v>36685</c:v>
                </c:pt>
                <c:pt idx="23873">
                  <c:v>46563</c:v>
                </c:pt>
                <c:pt idx="23874">
                  <c:v>56498</c:v>
                </c:pt>
                <c:pt idx="23875">
                  <c:v>58158</c:v>
                </c:pt>
                <c:pt idx="23876">
                  <c:v>47563</c:v>
                </c:pt>
                <c:pt idx="23877">
                  <c:v>28361</c:v>
                </c:pt>
                <c:pt idx="23878">
                  <c:v>59220</c:v>
                </c:pt>
                <c:pt idx="23879">
                  <c:v>48651</c:v>
                </c:pt>
                <c:pt idx="23880">
                  <c:v>42995</c:v>
                </c:pt>
                <c:pt idx="23881">
                  <c:v>37312</c:v>
                </c:pt>
                <c:pt idx="23882">
                  <c:v>60765</c:v>
                </c:pt>
                <c:pt idx="23883">
                  <c:v>26163</c:v>
                </c:pt>
                <c:pt idx="23884">
                  <c:v>48957</c:v>
                </c:pt>
                <c:pt idx="23885">
                  <c:v>35657</c:v>
                </c:pt>
                <c:pt idx="23886">
                  <c:v>30187</c:v>
                </c:pt>
                <c:pt idx="23887">
                  <c:v>64892</c:v>
                </c:pt>
                <c:pt idx="23888">
                  <c:v>61301</c:v>
                </c:pt>
                <c:pt idx="23889">
                  <c:v>165738</c:v>
                </c:pt>
                <c:pt idx="23890">
                  <c:v>39855</c:v>
                </c:pt>
                <c:pt idx="23891">
                  <c:v>37672</c:v>
                </c:pt>
                <c:pt idx="23892">
                  <c:v>67611</c:v>
                </c:pt>
                <c:pt idx="23893">
                  <c:v>26301</c:v>
                </c:pt>
                <c:pt idx="23894">
                  <c:v>78780</c:v>
                </c:pt>
                <c:pt idx="23895">
                  <c:v>78095</c:v>
                </c:pt>
                <c:pt idx="23896">
                  <c:v>61461</c:v>
                </c:pt>
                <c:pt idx="23897">
                  <c:v>49839</c:v>
                </c:pt>
                <c:pt idx="23898">
                  <c:v>44675</c:v>
                </c:pt>
                <c:pt idx="23899">
                  <c:v>22624</c:v>
                </c:pt>
                <c:pt idx="23900">
                  <c:v>28260</c:v>
                </c:pt>
                <c:pt idx="23901">
                  <c:v>146291</c:v>
                </c:pt>
                <c:pt idx="23902">
                  <c:v>46836</c:v>
                </c:pt>
                <c:pt idx="23903">
                  <c:v>43605</c:v>
                </c:pt>
                <c:pt idx="23904">
                  <c:v>70463</c:v>
                </c:pt>
                <c:pt idx="23905">
                  <c:v>41347</c:v>
                </c:pt>
                <c:pt idx="23906">
                  <c:v>24914</c:v>
                </c:pt>
                <c:pt idx="23907">
                  <c:v>122085</c:v>
                </c:pt>
                <c:pt idx="23908">
                  <c:v>77711</c:v>
                </c:pt>
                <c:pt idx="23909">
                  <c:v>44592</c:v>
                </c:pt>
                <c:pt idx="23910">
                  <c:v>67811</c:v>
                </c:pt>
                <c:pt idx="23911">
                  <c:v>33171</c:v>
                </c:pt>
                <c:pt idx="23912">
                  <c:v>36154</c:v>
                </c:pt>
                <c:pt idx="23913">
                  <c:v>38464</c:v>
                </c:pt>
                <c:pt idx="23914">
                  <c:v>52378</c:v>
                </c:pt>
                <c:pt idx="23915">
                  <c:v>28830</c:v>
                </c:pt>
                <c:pt idx="23916">
                  <c:v>31512</c:v>
                </c:pt>
                <c:pt idx="23917">
                  <c:v>25485</c:v>
                </c:pt>
                <c:pt idx="23918">
                  <c:v>29473</c:v>
                </c:pt>
                <c:pt idx="23919">
                  <c:v>51726</c:v>
                </c:pt>
                <c:pt idx="23920">
                  <c:v>101976</c:v>
                </c:pt>
                <c:pt idx="23921">
                  <c:v>45427</c:v>
                </c:pt>
                <c:pt idx="23922">
                  <c:v>82618</c:v>
                </c:pt>
                <c:pt idx="23923">
                  <c:v>117539</c:v>
                </c:pt>
                <c:pt idx="23924">
                  <c:v>38855</c:v>
                </c:pt>
                <c:pt idx="23925">
                  <c:v>75654</c:v>
                </c:pt>
                <c:pt idx="23926">
                  <c:v>27679</c:v>
                </c:pt>
                <c:pt idx="23927">
                  <c:v>42341</c:v>
                </c:pt>
                <c:pt idx="23928">
                  <c:v>212949</c:v>
                </c:pt>
                <c:pt idx="23929">
                  <c:v>27866</c:v>
                </c:pt>
                <c:pt idx="23930">
                  <c:v>41685</c:v>
                </c:pt>
                <c:pt idx="23931">
                  <c:v>40212</c:v>
                </c:pt>
                <c:pt idx="23932">
                  <c:v>162982</c:v>
                </c:pt>
                <c:pt idx="23933">
                  <c:v>22366</c:v>
                </c:pt>
                <c:pt idx="23934">
                  <c:v>49086</c:v>
                </c:pt>
                <c:pt idx="23935">
                  <c:v>106058</c:v>
                </c:pt>
                <c:pt idx="23936">
                  <c:v>180486</c:v>
                </c:pt>
                <c:pt idx="23937">
                  <c:v>27907</c:v>
                </c:pt>
                <c:pt idx="23938">
                  <c:v>58039</c:v>
                </c:pt>
                <c:pt idx="23939">
                  <c:v>58393</c:v>
                </c:pt>
                <c:pt idx="23940">
                  <c:v>34316</c:v>
                </c:pt>
                <c:pt idx="23941">
                  <c:v>33678</c:v>
                </c:pt>
                <c:pt idx="23942">
                  <c:v>54783</c:v>
                </c:pt>
                <c:pt idx="23943">
                  <c:v>102876</c:v>
                </c:pt>
                <c:pt idx="23944">
                  <c:v>18646</c:v>
                </c:pt>
                <c:pt idx="23945">
                  <c:v>37808</c:v>
                </c:pt>
                <c:pt idx="23946">
                  <c:v>76243</c:v>
                </c:pt>
                <c:pt idx="23947">
                  <c:v>37272</c:v>
                </c:pt>
                <c:pt idx="23948">
                  <c:v>24364</c:v>
                </c:pt>
                <c:pt idx="23949">
                  <c:v>24157</c:v>
                </c:pt>
                <c:pt idx="23950">
                  <c:v>25667</c:v>
                </c:pt>
                <c:pt idx="23951">
                  <c:v>103293</c:v>
                </c:pt>
                <c:pt idx="23952">
                  <c:v>53566</c:v>
                </c:pt>
                <c:pt idx="23953">
                  <c:v>37961</c:v>
                </c:pt>
                <c:pt idx="23954">
                  <c:v>27275</c:v>
                </c:pt>
                <c:pt idx="23955">
                  <c:v>68237</c:v>
                </c:pt>
                <c:pt idx="23956">
                  <c:v>89633</c:v>
                </c:pt>
                <c:pt idx="23957">
                  <c:v>53460</c:v>
                </c:pt>
                <c:pt idx="23958">
                  <c:v>33635</c:v>
                </c:pt>
                <c:pt idx="23959">
                  <c:v>38607</c:v>
                </c:pt>
                <c:pt idx="23960">
                  <c:v>30127</c:v>
                </c:pt>
                <c:pt idx="23961">
                  <c:v>49076</c:v>
                </c:pt>
                <c:pt idx="23962">
                  <c:v>54797</c:v>
                </c:pt>
                <c:pt idx="23963">
                  <c:v>26823</c:v>
                </c:pt>
                <c:pt idx="23964">
                  <c:v>59865</c:v>
                </c:pt>
                <c:pt idx="23965">
                  <c:v>48783</c:v>
                </c:pt>
                <c:pt idx="23966">
                  <c:v>43495</c:v>
                </c:pt>
                <c:pt idx="23967">
                  <c:v>35654</c:v>
                </c:pt>
                <c:pt idx="23968">
                  <c:v>54602</c:v>
                </c:pt>
                <c:pt idx="23969">
                  <c:v>33589</c:v>
                </c:pt>
                <c:pt idx="23970">
                  <c:v>27777</c:v>
                </c:pt>
                <c:pt idx="23971">
                  <c:v>30606</c:v>
                </c:pt>
                <c:pt idx="23972">
                  <c:v>27722</c:v>
                </c:pt>
                <c:pt idx="23973">
                  <c:v>70319</c:v>
                </c:pt>
                <c:pt idx="23974">
                  <c:v>43094</c:v>
                </c:pt>
                <c:pt idx="23975">
                  <c:v>147203</c:v>
                </c:pt>
                <c:pt idx="23976">
                  <c:v>44533</c:v>
                </c:pt>
                <c:pt idx="23977">
                  <c:v>164930</c:v>
                </c:pt>
                <c:pt idx="23978">
                  <c:v>45977</c:v>
                </c:pt>
                <c:pt idx="23979">
                  <c:v>58335</c:v>
                </c:pt>
                <c:pt idx="23980">
                  <c:v>55071</c:v>
                </c:pt>
                <c:pt idx="23981">
                  <c:v>103349</c:v>
                </c:pt>
                <c:pt idx="23982">
                  <c:v>42896</c:v>
                </c:pt>
                <c:pt idx="23983">
                  <c:v>155021</c:v>
                </c:pt>
                <c:pt idx="23984">
                  <c:v>65396</c:v>
                </c:pt>
                <c:pt idx="23985">
                  <c:v>34063</c:v>
                </c:pt>
                <c:pt idx="23986">
                  <c:v>24218</c:v>
                </c:pt>
                <c:pt idx="23987">
                  <c:v>62273</c:v>
                </c:pt>
                <c:pt idx="23988">
                  <c:v>47908</c:v>
                </c:pt>
                <c:pt idx="23989">
                  <c:v>50244</c:v>
                </c:pt>
                <c:pt idx="23990">
                  <c:v>29915</c:v>
                </c:pt>
                <c:pt idx="23991">
                  <c:v>59109</c:v>
                </c:pt>
                <c:pt idx="23992">
                  <c:v>60053</c:v>
                </c:pt>
                <c:pt idx="23993">
                  <c:v>89426</c:v>
                </c:pt>
                <c:pt idx="23994">
                  <c:v>27918</c:v>
                </c:pt>
                <c:pt idx="23995">
                  <c:v>48368</c:v>
                </c:pt>
                <c:pt idx="23996">
                  <c:v>175092</c:v>
                </c:pt>
                <c:pt idx="23997">
                  <c:v>27759</c:v>
                </c:pt>
                <c:pt idx="23998">
                  <c:v>117281</c:v>
                </c:pt>
                <c:pt idx="23999">
                  <c:v>66331</c:v>
                </c:pt>
                <c:pt idx="24000">
                  <c:v>42437</c:v>
                </c:pt>
                <c:pt idx="24001">
                  <c:v>47647</c:v>
                </c:pt>
                <c:pt idx="24002">
                  <c:v>28114</c:v>
                </c:pt>
                <c:pt idx="24003">
                  <c:v>176929</c:v>
                </c:pt>
                <c:pt idx="24004">
                  <c:v>21579</c:v>
                </c:pt>
                <c:pt idx="24005">
                  <c:v>52113</c:v>
                </c:pt>
                <c:pt idx="24006">
                  <c:v>26033</c:v>
                </c:pt>
                <c:pt idx="24007">
                  <c:v>40434</c:v>
                </c:pt>
                <c:pt idx="24008">
                  <c:v>347248</c:v>
                </c:pt>
                <c:pt idx="24009">
                  <c:v>166606</c:v>
                </c:pt>
                <c:pt idx="24010">
                  <c:v>41205</c:v>
                </c:pt>
                <c:pt idx="24011">
                  <c:v>43953</c:v>
                </c:pt>
                <c:pt idx="24012">
                  <c:v>23408</c:v>
                </c:pt>
                <c:pt idx="24013">
                  <c:v>27889</c:v>
                </c:pt>
                <c:pt idx="24014">
                  <c:v>46135</c:v>
                </c:pt>
                <c:pt idx="24015">
                  <c:v>36660</c:v>
                </c:pt>
                <c:pt idx="24016">
                  <c:v>39360</c:v>
                </c:pt>
                <c:pt idx="24017">
                  <c:v>38913</c:v>
                </c:pt>
                <c:pt idx="24018">
                  <c:v>36396</c:v>
                </c:pt>
                <c:pt idx="24019">
                  <c:v>124179</c:v>
                </c:pt>
                <c:pt idx="24020">
                  <c:v>89398</c:v>
                </c:pt>
                <c:pt idx="24021">
                  <c:v>75017</c:v>
                </c:pt>
                <c:pt idx="24022">
                  <c:v>42064</c:v>
                </c:pt>
                <c:pt idx="24023">
                  <c:v>25533</c:v>
                </c:pt>
                <c:pt idx="24024">
                  <c:v>32775</c:v>
                </c:pt>
                <c:pt idx="24025">
                  <c:v>35107</c:v>
                </c:pt>
                <c:pt idx="24026">
                  <c:v>57215</c:v>
                </c:pt>
                <c:pt idx="24027">
                  <c:v>29674</c:v>
                </c:pt>
                <c:pt idx="24028">
                  <c:v>42046</c:v>
                </c:pt>
                <c:pt idx="24029">
                  <c:v>141518</c:v>
                </c:pt>
                <c:pt idx="24030">
                  <c:v>34954</c:v>
                </c:pt>
                <c:pt idx="24031">
                  <c:v>34648</c:v>
                </c:pt>
                <c:pt idx="24032">
                  <c:v>47497</c:v>
                </c:pt>
                <c:pt idx="24033">
                  <c:v>53808</c:v>
                </c:pt>
                <c:pt idx="24034">
                  <c:v>33529</c:v>
                </c:pt>
                <c:pt idx="24035">
                  <c:v>27127</c:v>
                </c:pt>
                <c:pt idx="24036">
                  <c:v>33045</c:v>
                </c:pt>
                <c:pt idx="24037">
                  <c:v>23909</c:v>
                </c:pt>
                <c:pt idx="24038">
                  <c:v>104849</c:v>
                </c:pt>
                <c:pt idx="24039">
                  <c:v>26153</c:v>
                </c:pt>
                <c:pt idx="24040">
                  <c:v>40901</c:v>
                </c:pt>
                <c:pt idx="24041">
                  <c:v>190364</c:v>
                </c:pt>
                <c:pt idx="24042">
                  <c:v>31536</c:v>
                </c:pt>
                <c:pt idx="24043">
                  <c:v>25637</c:v>
                </c:pt>
                <c:pt idx="24044">
                  <c:v>29682</c:v>
                </c:pt>
                <c:pt idx="24045">
                  <c:v>37984</c:v>
                </c:pt>
                <c:pt idx="24046">
                  <c:v>23551</c:v>
                </c:pt>
                <c:pt idx="24047">
                  <c:v>32319</c:v>
                </c:pt>
                <c:pt idx="24048">
                  <c:v>33110</c:v>
                </c:pt>
                <c:pt idx="24049">
                  <c:v>52926</c:v>
                </c:pt>
                <c:pt idx="24050">
                  <c:v>41600</c:v>
                </c:pt>
                <c:pt idx="24051">
                  <c:v>55735</c:v>
                </c:pt>
                <c:pt idx="24052">
                  <c:v>96274</c:v>
                </c:pt>
                <c:pt idx="24053">
                  <c:v>123320</c:v>
                </c:pt>
                <c:pt idx="24054">
                  <c:v>48472</c:v>
                </c:pt>
                <c:pt idx="24055">
                  <c:v>41358</c:v>
                </c:pt>
                <c:pt idx="24056">
                  <c:v>27237</c:v>
                </c:pt>
                <c:pt idx="24057">
                  <c:v>72027</c:v>
                </c:pt>
                <c:pt idx="24058">
                  <c:v>55297</c:v>
                </c:pt>
                <c:pt idx="24059">
                  <c:v>35315</c:v>
                </c:pt>
                <c:pt idx="24060">
                  <c:v>20386</c:v>
                </c:pt>
                <c:pt idx="24061">
                  <c:v>33314</c:v>
                </c:pt>
                <c:pt idx="24062">
                  <c:v>38907</c:v>
                </c:pt>
                <c:pt idx="24063">
                  <c:v>40526</c:v>
                </c:pt>
                <c:pt idx="24064">
                  <c:v>27274</c:v>
                </c:pt>
                <c:pt idx="24065">
                  <c:v>28463</c:v>
                </c:pt>
                <c:pt idx="24066">
                  <c:v>49090</c:v>
                </c:pt>
                <c:pt idx="24067">
                  <c:v>33620</c:v>
                </c:pt>
                <c:pt idx="24068">
                  <c:v>27673</c:v>
                </c:pt>
                <c:pt idx="24069">
                  <c:v>36211</c:v>
                </c:pt>
                <c:pt idx="24070">
                  <c:v>55965</c:v>
                </c:pt>
                <c:pt idx="24071">
                  <c:v>70890</c:v>
                </c:pt>
                <c:pt idx="24072">
                  <c:v>23526</c:v>
                </c:pt>
                <c:pt idx="24073">
                  <c:v>25241</c:v>
                </c:pt>
                <c:pt idx="24074">
                  <c:v>35165</c:v>
                </c:pt>
                <c:pt idx="24075">
                  <c:v>161367</c:v>
                </c:pt>
                <c:pt idx="24076">
                  <c:v>37954</c:v>
                </c:pt>
                <c:pt idx="24077">
                  <c:v>43322</c:v>
                </c:pt>
                <c:pt idx="24078">
                  <c:v>41404</c:v>
                </c:pt>
                <c:pt idx="24079">
                  <c:v>37926</c:v>
                </c:pt>
                <c:pt idx="24080">
                  <c:v>53707</c:v>
                </c:pt>
                <c:pt idx="24081">
                  <c:v>97140</c:v>
                </c:pt>
                <c:pt idx="24082">
                  <c:v>27124</c:v>
                </c:pt>
                <c:pt idx="24083">
                  <c:v>51947</c:v>
                </c:pt>
                <c:pt idx="24084">
                  <c:v>49463</c:v>
                </c:pt>
                <c:pt idx="24085">
                  <c:v>48460</c:v>
                </c:pt>
                <c:pt idx="24086">
                  <c:v>103967</c:v>
                </c:pt>
                <c:pt idx="24087">
                  <c:v>130478</c:v>
                </c:pt>
                <c:pt idx="24088">
                  <c:v>96369</c:v>
                </c:pt>
                <c:pt idx="24089">
                  <c:v>251531</c:v>
                </c:pt>
                <c:pt idx="24090">
                  <c:v>391373</c:v>
                </c:pt>
                <c:pt idx="24091">
                  <c:v>35100</c:v>
                </c:pt>
                <c:pt idx="24092">
                  <c:v>80528</c:v>
                </c:pt>
                <c:pt idx="24093">
                  <c:v>39480</c:v>
                </c:pt>
                <c:pt idx="24094">
                  <c:v>114392</c:v>
                </c:pt>
                <c:pt idx="24095">
                  <c:v>24750</c:v>
                </c:pt>
                <c:pt idx="24096">
                  <c:v>108481</c:v>
                </c:pt>
                <c:pt idx="24097">
                  <c:v>33837</c:v>
                </c:pt>
                <c:pt idx="24098">
                  <c:v>48309</c:v>
                </c:pt>
                <c:pt idx="24099">
                  <c:v>49368</c:v>
                </c:pt>
                <c:pt idx="24100">
                  <c:v>297507</c:v>
                </c:pt>
                <c:pt idx="24101">
                  <c:v>69967</c:v>
                </c:pt>
                <c:pt idx="24102">
                  <c:v>49014</c:v>
                </c:pt>
                <c:pt idx="24103">
                  <c:v>55759</c:v>
                </c:pt>
                <c:pt idx="24104">
                  <c:v>178664</c:v>
                </c:pt>
                <c:pt idx="24105">
                  <c:v>215706</c:v>
                </c:pt>
                <c:pt idx="24106">
                  <c:v>59443</c:v>
                </c:pt>
                <c:pt idx="24107">
                  <c:v>83933</c:v>
                </c:pt>
                <c:pt idx="24108">
                  <c:v>33005</c:v>
                </c:pt>
                <c:pt idx="24109">
                  <c:v>30733</c:v>
                </c:pt>
                <c:pt idx="24110">
                  <c:v>22595</c:v>
                </c:pt>
                <c:pt idx="24111">
                  <c:v>37392</c:v>
                </c:pt>
                <c:pt idx="24112">
                  <c:v>87548</c:v>
                </c:pt>
                <c:pt idx="24113">
                  <c:v>55531</c:v>
                </c:pt>
                <c:pt idx="24114">
                  <c:v>183530</c:v>
                </c:pt>
                <c:pt idx="24115">
                  <c:v>32122</c:v>
                </c:pt>
                <c:pt idx="24116">
                  <c:v>33509</c:v>
                </c:pt>
                <c:pt idx="24117">
                  <c:v>32173</c:v>
                </c:pt>
                <c:pt idx="24118">
                  <c:v>23965</c:v>
                </c:pt>
                <c:pt idx="24119">
                  <c:v>69300</c:v>
                </c:pt>
                <c:pt idx="24120">
                  <c:v>55822</c:v>
                </c:pt>
                <c:pt idx="24121">
                  <c:v>123359</c:v>
                </c:pt>
                <c:pt idx="24122">
                  <c:v>42986</c:v>
                </c:pt>
                <c:pt idx="24123">
                  <c:v>32529</c:v>
                </c:pt>
                <c:pt idx="24124">
                  <c:v>54673</c:v>
                </c:pt>
                <c:pt idx="24125">
                  <c:v>36893</c:v>
                </c:pt>
                <c:pt idx="24126">
                  <c:v>44823</c:v>
                </c:pt>
                <c:pt idx="24127">
                  <c:v>29036</c:v>
                </c:pt>
                <c:pt idx="24128">
                  <c:v>23152</c:v>
                </c:pt>
                <c:pt idx="24129">
                  <c:v>21748</c:v>
                </c:pt>
                <c:pt idx="24130">
                  <c:v>29463</c:v>
                </c:pt>
                <c:pt idx="24131">
                  <c:v>30055</c:v>
                </c:pt>
                <c:pt idx="24132">
                  <c:v>20059</c:v>
                </c:pt>
                <c:pt idx="24133">
                  <c:v>57045</c:v>
                </c:pt>
                <c:pt idx="24134">
                  <c:v>45772</c:v>
                </c:pt>
                <c:pt idx="24135">
                  <c:v>33788</c:v>
                </c:pt>
                <c:pt idx="24136">
                  <c:v>57670</c:v>
                </c:pt>
                <c:pt idx="24137">
                  <c:v>49098</c:v>
                </c:pt>
                <c:pt idx="24138">
                  <c:v>45562</c:v>
                </c:pt>
                <c:pt idx="24139">
                  <c:v>28433</c:v>
                </c:pt>
                <c:pt idx="24140">
                  <c:v>66752</c:v>
                </c:pt>
                <c:pt idx="24141">
                  <c:v>48308</c:v>
                </c:pt>
                <c:pt idx="24142">
                  <c:v>60118</c:v>
                </c:pt>
                <c:pt idx="24143">
                  <c:v>38925</c:v>
                </c:pt>
                <c:pt idx="24144">
                  <c:v>34491</c:v>
                </c:pt>
                <c:pt idx="24145">
                  <c:v>140174</c:v>
                </c:pt>
                <c:pt idx="24146">
                  <c:v>25453</c:v>
                </c:pt>
                <c:pt idx="24147">
                  <c:v>47774</c:v>
                </c:pt>
                <c:pt idx="24148">
                  <c:v>39542</c:v>
                </c:pt>
                <c:pt idx="24149">
                  <c:v>48465</c:v>
                </c:pt>
                <c:pt idx="24150">
                  <c:v>37987</c:v>
                </c:pt>
                <c:pt idx="24151">
                  <c:v>67049</c:v>
                </c:pt>
                <c:pt idx="24152">
                  <c:v>68301</c:v>
                </c:pt>
                <c:pt idx="24153">
                  <c:v>59326</c:v>
                </c:pt>
                <c:pt idx="24154">
                  <c:v>44104</c:v>
                </c:pt>
                <c:pt idx="24155">
                  <c:v>39639</c:v>
                </c:pt>
                <c:pt idx="24156">
                  <c:v>46272</c:v>
                </c:pt>
                <c:pt idx="24157">
                  <c:v>25815</c:v>
                </c:pt>
                <c:pt idx="24158">
                  <c:v>110094</c:v>
                </c:pt>
                <c:pt idx="24159">
                  <c:v>47860</c:v>
                </c:pt>
                <c:pt idx="24160">
                  <c:v>46959</c:v>
                </c:pt>
                <c:pt idx="24161">
                  <c:v>43537</c:v>
                </c:pt>
                <c:pt idx="24162">
                  <c:v>36726</c:v>
                </c:pt>
                <c:pt idx="24163">
                  <c:v>30723</c:v>
                </c:pt>
                <c:pt idx="24164">
                  <c:v>25571</c:v>
                </c:pt>
                <c:pt idx="24165">
                  <c:v>37540</c:v>
                </c:pt>
                <c:pt idx="24166">
                  <c:v>30860</c:v>
                </c:pt>
                <c:pt idx="24167">
                  <c:v>44589</c:v>
                </c:pt>
                <c:pt idx="24168">
                  <c:v>32578</c:v>
                </c:pt>
                <c:pt idx="24169">
                  <c:v>27187</c:v>
                </c:pt>
                <c:pt idx="24170">
                  <c:v>76413</c:v>
                </c:pt>
                <c:pt idx="24171">
                  <c:v>108488</c:v>
                </c:pt>
                <c:pt idx="24172">
                  <c:v>25326</c:v>
                </c:pt>
                <c:pt idx="24173">
                  <c:v>37467</c:v>
                </c:pt>
                <c:pt idx="24174">
                  <c:v>31277</c:v>
                </c:pt>
                <c:pt idx="24175">
                  <c:v>111481</c:v>
                </c:pt>
                <c:pt idx="24176">
                  <c:v>33019</c:v>
                </c:pt>
                <c:pt idx="24177">
                  <c:v>45478</c:v>
                </c:pt>
                <c:pt idx="24178">
                  <c:v>48842</c:v>
                </c:pt>
                <c:pt idx="24179">
                  <c:v>20917</c:v>
                </c:pt>
                <c:pt idx="24180">
                  <c:v>64999</c:v>
                </c:pt>
                <c:pt idx="24181">
                  <c:v>25202</c:v>
                </c:pt>
                <c:pt idx="24182">
                  <c:v>149875</c:v>
                </c:pt>
                <c:pt idx="24183">
                  <c:v>65727</c:v>
                </c:pt>
                <c:pt idx="24184">
                  <c:v>57025</c:v>
                </c:pt>
                <c:pt idx="24185">
                  <c:v>45339</c:v>
                </c:pt>
                <c:pt idx="24186">
                  <c:v>32164</c:v>
                </c:pt>
                <c:pt idx="24187">
                  <c:v>52566</c:v>
                </c:pt>
                <c:pt idx="24188">
                  <c:v>81376</c:v>
                </c:pt>
                <c:pt idx="24189">
                  <c:v>122205</c:v>
                </c:pt>
                <c:pt idx="24190">
                  <c:v>51505</c:v>
                </c:pt>
                <c:pt idx="24191">
                  <c:v>41768</c:v>
                </c:pt>
                <c:pt idx="24192">
                  <c:v>54417</c:v>
                </c:pt>
                <c:pt idx="24193">
                  <c:v>140111</c:v>
                </c:pt>
                <c:pt idx="24194">
                  <c:v>32068</c:v>
                </c:pt>
                <c:pt idx="24195">
                  <c:v>319675</c:v>
                </c:pt>
                <c:pt idx="24196">
                  <c:v>33065</c:v>
                </c:pt>
                <c:pt idx="24197">
                  <c:v>34603</c:v>
                </c:pt>
                <c:pt idx="24198">
                  <c:v>36319</c:v>
                </c:pt>
                <c:pt idx="24199">
                  <c:v>26318</c:v>
                </c:pt>
                <c:pt idx="24200">
                  <c:v>15000</c:v>
                </c:pt>
                <c:pt idx="24201">
                  <c:v>51510</c:v>
                </c:pt>
                <c:pt idx="24202">
                  <c:v>100329</c:v>
                </c:pt>
                <c:pt idx="24203">
                  <c:v>29244</c:v>
                </c:pt>
                <c:pt idx="24204">
                  <c:v>68043</c:v>
                </c:pt>
                <c:pt idx="24205">
                  <c:v>24411</c:v>
                </c:pt>
                <c:pt idx="24206">
                  <c:v>38930</c:v>
                </c:pt>
                <c:pt idx="24207">
                  <c:v>76206</c:v>
                </c:pt>
                <c:pt idx="24208">
                  <c:v>30071</c:v>
                </c:pt>
                <c:pt idx="24209">
                  <c:v>78038</c:v>
                </c:pt>
                <c:pt idx="24210">
                  <c:v>33364</c:v>
                </c:pt>
                <c:pt idx="24211">
                  <c:v>91605</c:v>
                </c:pt>
                <c:pt idx="24212">
                  <c:v>48844</c:v>
                </c:pt>
                <c:pt idx="24213">
                  <c:v>44515</c:v>
                </c:pt>
                <c:pt idx="24214">
                  <c:v>47419</c:v>
                </c:pt>
                <c:pt idx="24215">
                  <c:v>25971</c:v>
                </c:pt>
                <c:pt idx="24216">
                  <c:v>46502</c:v>
                </c:pt>
                <c:pt idx="24217">
                  <c:v>52221</c:v>
                </c:pt>
                <c:pt idx="24218">
                  <c:v>76462</c:v>
                </c:pt>
                <c:pt idx="24219">
                  <c:v>232362</c:v>
                </c:pt>
                <c:pt idx="24220">
                  <c:v>23780</c:v>
                </c:pt>
                <c:pt idx="24221">
                  <c:v>22095</c:v>
                </c:pt>
                <c:pt idx="24222">
                  <c:v>24689</c:v>
                </c:pt>
                <c:pt idx="24223">
                  <c:v>24391</c:v>
                </c:pt>
                <c:pt idx="24224">
                  <c:v>44957</c:v>
                </c:pt>
                <c:pt idx="24225">
                  <c:v>32651</c:v>
                </c:pt>
                <c:pt idx="24226">
                  <c:v>37551</c:v>
                </c:pt>
                <c:pt idx="24227">
                  <c:v>170990</c:v>
                </c:pt>
                <c:pt idx="24228">
                  <c:v>28377</c:v>
                </c:pt>
                <c:pt idx="24229">
                  <c:v>30987</c:v>
                </c:pt>
                <c:pt idx="24230">
                  <c:v>73765</c:v>
                </c:pt>
                <c:pt idx="24231">
                  <c:v>102554</c:v>
                </c:pt>
                <c:pt idx="24232">
                  <c:v>37791</c:v>
                </c:pt>
                <c:pt idx="24233">
                  <c:v>147490</c:v>
                </c:pt>
                <c:pt idx="24234">
                  <c:v>78713</c:v>
                </c:pt>
                <c:pt idx="24235">
                  <c:v>24442</c:v>
                </c:pt>
                <c:pt idx="24236">
                  <c:v>34816</c:v>
                </c:pt>
                <c:pt idx="24237">
                  <c:v>53930</c:v>
                </c:pt>
                <c:pt idx="24238">
                  <c:v>97530</c:v>
                </c:pt>
                <c:pt idx="24239">
                  <c:v>58501</c:v>
                </c:pt>
                <c:pt idx="24240">
                  <c:v>25862</c:v>
                </c:pt>
                <c:pt idx="24241">
                  <c:v>70676</c:v>
                </c:pt>
                <c:pt idx="24242">
                  <c:v>29849</c:v>
                </c:pt>
                <c:pt idx="24243">
                  <c:v>25151</c:v>
                </c:pt>
                <c:pt idx="24244">
                  <c:v>31798</c:v>
                </c:pt>
                <c:pt idx="24245">
                  <c:v>21582</c:v>
                </c:pt>
                <c:pt idx="24246">
                  <c:v>41105</c:v>
                </c:pt>
                <c:pt idx="24247">
                  <c:v>38690</c:v>
                </c:pt>
                <c:pt idx="24248">
                  <c:v>81840</c:v>
                </c:pt>
                <c:pt idx="24249">
                  <c:v>35641</c:v>
                </c:pt>
                <c:pt idx="24250">
                  <c:v>55556</c:v>
                </c:pt>
                <c:pt idx="24251">
                  <c:v>43392</c:v>
                </c:pt>
                <c:pt idx="24252">
                  <c:v>87298</c:v>
                </c:pt>
                <c:pt idx="24253">
                  <c:v>83156</c:v>
                </c:pt>
                <c:pt idx="24254">
                  <c:v>39628</c:v>
                </c:pt>
                <c:pt idx="24255">
                  <c:v>40011</c:v>
                </c:pt>
                <c:pt idx="24256">
                  <c:v>29271</c:v>
                </c:pt>
                <c:pt idx="24257">
                  <c:v>22634</c:v>
                </c:pt>
                <c:pt idx="24258">
                  <c:v>26803</c:v>
                </c:pt>
                <c:pt idx="24259">
                  <c:v>37084</c:v>
                </c:pt>
                <c:pt idx="24260">
                  <c:v>52877</c:v>
                </c:pt>
                <c:pt idx="24261">
                  <c:v>77975</c:v>
                </c:pt>
                <c:pt idx="24262">
                  <c:v>101648</c:v>
                </c:pt>
                <c:pt idx="24263">
                  <c:v>44878</c:v>
                </c:pt>
                <c:pt idx="24264">
                  <c:v>73378</c:v>
                </c:pt>
                <c:pt idx="24265">
                  <c:v>78010</c:v>
                </c:pt>
                <c:pt idx="24266">
                  <c:v>29694</c:v>
                </c:pt>
                <c:pt idx="24267">
                  <c:v>58300</c:v>
                </c:pt>
                <c:pt idx="24268">
                  <c:v>28450</c:v>
                </c:pt>
                <c:pt idx="24269">
                  <c:v>24630</c:v>
                </c:pt>
                <c:pt idx="24270">
                  <c:v>49644</c:v>
                </c:pt>
                <c:pt idx="24271">
                  <c:v>44942</c:v>
                </c:pt>
                <c:pt idx="24272">
                  <c:v>33419</c:v>
                </c:pt>
                <c:pt idx="24273">
                  <c:v>34679</c:v>
                </c:pt>
                <c:pt idx="24274">
                  <c:v>57238</c:v>
                </c:pt>
                <c:pt idx="24275">
                  <c:v>36605</c:v>
                </c:pt>
                <c:pt idx="24276">
                  <c:v>46060</c:v>
                </c:pt>
                <c:pt idx="24277">
                  <c:v>70814</c:v>
                </c:pt>
                <c:pt idx="24278">
                  <c:v>71446</c:v>
                </c:pt>
                <c:pt idx="24279">
                  <c:v>123618</c:v>
                </c:pt>
                <c:pt idx="24280">
                  <c:v>80037</c:v>
                </c:pt>
                <c:pt idx="24281">
                  <c:v>55137</c:v>
                </c:pt>
                <c:pt idx="24282">
                  <c:v>78452</c:v>
                </c:pt>
                <c:pt idx="24283">
                  <c:v>25796</c:v>
                </c:pt>
                <c:pt idx="24284">
                  <c:v>31538</c:v>
                </c:pt>
                <c:pt idx="24285">
                  <c:v>44703</c:v>
                </c:pt>
                <c:pt idx="24286">
                  <c:v>43739</c:v>
                </c:pt>
                <c:pt idx="24287">
                  <c:v>31880</c:v>
                </c:pt>
                <c:pt idx="24288">
                  <c:v>48400</c:v>
                </c:pt>
                <c:pt idx="24289">
                  <c:v>47241</c:v>
                </c:pt>
                <c:pt idx="24290">
                  <c:v>91057</c:v>
                </c:pt>
                <c:pt idx="24291">
                  <c:v>75302</c:v>
                </c:pt>
                <c:pt idx="24292">
                  <c:v>40966</c:v>
                </c:pt>
                <c:pt idx="24293">
                  <c:v>53732</c:v>
                </c:pt>
                <c:pt idx="24294">
                  <c:v>98961</c:v>
                </c:pt>
                <c:pt idx="24295">
                  <c:v>239868</c:v>
                </c:pt>
                <c:pt idx="24296">
                  <c:v>29749</c:v>
                </c:pt>
                <c:pt idx="24297">
                  <c:v>40548</c:v>
                </c:pt>
                <c:pt idx="24298">
                  <c:v>25099</c:v>
                </c:pt>
                <c:pt idx="24299">
                  <c:v>23991</c:v>
                </c:pt>
                <c:pt idx="24300">
                  <c:v>124858</c:v>
                </c:pt>
                <c:pt idx="24301">
                  <c:v>48215</c:v>
                </c:pt>
                <c:pt idx="24302">
                  <c:v>226832</c:v>
                </c:pt>
                <c:pt idx="24303">
                  <c:v>138282</c:v>
                </c:pt>
                <c:pt idx="24304">
                  <c:v>39924</c:v>
                </c:pt>
                <c:pt idx="24305">
                  <c:v>67423</c:v>
                </c:pt>
                <c:pt idx="24306">
                  <c:v>69012</c:v>
                </c:pt>
                <c:pt idx="24307">
                  <c:v>137137</c:v>
                </c:pt>
                <c:pt idx="24308">
                  <c:v>45856</c:v>
                </c:pt>
                <c:pt idx="24309">
                  <c:v>118987</c:v>
                </c:pt>
                <c:pt idx="24310">
                  <c:v>66900</c:v>
                </c:pt>
                <c:pt idx="24311">
                  <c:v>69780</c:v>
                </c:pt>
                <c:pt idx="24312">
                  <c:v>74670</c:v>
                </c:pt>
                <c:pt idx="24313">
                  <c:v>27106</c:v>
                </c:pt>
                <c:pt idx="24314">
                  <c:v>51435</c:v>
                </c:pt>
                <c:pt idx="24315">
                  <c:v>27993</c:v>
                </c:pt>
                <c:pt idx="24316">
                  <c:v>66233</c:v>
                </c:pt>
                <c:pt idx="24317">
                  <c:v>195805</c:v>
                </c:pt>
                <c:pt idx="24318">
                  <c:v>63333</c:v>
                </c:pt>
                <c:pt idx="24319">
                  <c:v>23850</c:v>
                </c:pt>
                <c:pt idx="24320">
                  <c:v>29494</c:v>
                </c:pt>
                <c:pt idx="24321">
                  <c:v>26675</c:v>
                </c:pt>
                <c:pt idx="24322">
                  <c:v>93532</c:v>
                </c:pt>
                <c:pt idx="24323">
                  <c:v>49501</c:v>
                </c:pt>
                <c:pt idx="24324">
                  <c:v>64112</c:v>
                </c:pt>
                <c:pt idx="24325">
                  <c:v>30229</c:v>
                </c:pt>
                <c:pt idx="24326">
                  <c:v>24426</c:v>
                </c:pt>
                <c:pt idx="24327">
                  <c:v>28975</c:v>
                </c:pt>
                <c:pt idx="24328">
                  <c:v>43869</c:v>
                </c:pt>
                <c:pt idx="24329">
                  <c:v>24364</c:v>
                </c:pt>
                <c:pt idx="24330">
                  <c:v>39041</c:v>
                </c:pt>
                <c:pt idx="24331">
                  <c:v>179455</c:v>
                </c:pt>
                <c:pt idx="24332">
                  <c:v>61455</c:v>
                </c:pt>
                <c:pt idx="24333">
                  <c:v>34100</c:v>
                </c:pt>
                <c:pt idx="24334">
                  <c:v>33385</c:v>
                </c:pt>
                <c:pt idx="24335">
                  <c:v>22239</c:v>
                </c:pt>
                <c:pt idx="24336">
                  <c:v>25610</c:v>
                </c:pt>
                <c:pt idx="24337">
                  <c:v>33342</c:v>
                </c:pt>
                <c:pt idx="24338">
                  <c:v>25261</c:v>
                </c:pt>
                <c:pt idx="24339">
                  <c:v>45777</c:v>
                </c:pt>
                <c:pt idx="24340">
                  <c:v>36359</c:v>
                </c:pt>
                <c:pt idx="24341">
                  <c:v>40976</c:v>
                </c:pt>
                <c:pt idx="24342">
                  <c:v>30684</c:v>
                </c:pt>
                <c:pt idx="24343">
                  <c:v>28729</c:v>
                </c:pt>
                <c:pt idx="24344">
                  <c:v>39892</c:v>
                </c:pt>
                <c:pt idx="24345">
                  <c:v>184812</c:v>
                </c:pt>
                <c:pt idx="24346">
                  <c:v>32167</c:v>
                </c:pt>
                <c:pt idx="24347">
                  <c:v>55438</c:v>
                </c:pt>
                <c:pt idx="24348">
                  <c:v>129971</c:v>
                </c:pt>
                <c:pt idx="24349">
                  <c:v>86332</c:v>
                </c:pt>
                <c:pt idx="24350">
                  <c:v>40033</c:v>
                </c:pt>
                <c:pt idx="24351">
                  <c:v>32437</c:v>
                </c:pt>
                <c:pt idx="24352">
                  <c:v>37949</c:v>
                </c:pt>
                <c:pt idx="24353">
                  <c:v>267353</c:v>
                </c:pt>
                <c:pt idx="24354">
                  <c:v>41097</c:v>
                </c:pt>
                <c:pt idx="24355">
                  <c:v>43445</c:v>
                </c:pt>
                <c:pt idx="24356">
                  <c:v>24533</c:v>
                </c:pt>
                <c:pt idx="24357">
                  <c:v>39462</c:v>
                </c:pt>
                <c:pt idx="24358">
                  <c:v>35732</c:v>
                </c:pt>
                <c:pt idx="24359">
                  <c:v>84967</c:v>
                </c:pt>
                <c:pt idx="24360">
                  <c:v>91231</c:v>
                </c:pt>
                <c:pt idx="24361">
                  <c:v>30328</c:v>
                </c:pt>
                <c:pt idx="24362">
                  <c:v>36247</c:v>
                </c:pt>
                <c:pt idx="24363">
                  <c:v>40927</c:v>
                </c:pt>
                <c:pt idx="24364">
                  <c:v>51384</c:v>
                </c:pt>
                <c:pt idx="24365">
                  <c:v>84271</c:v>
                </c:pt>
                <c:pt idx="24366">
                  <c:v>87858</c:v>
                </c:pt>
                <c:pt idx="24367">
                  <c:v>95065</c:v>
                </c:pt>
                <c:pt idx="24368">
                  <c:v>21483</c:v>
                </c:pt>
                <c:pt idx="24369">
                  <c:v>53533</c:v>
                </c:pt>
                <c:pt idx="24370">
                  <c:v>45479</c:v>
                </c:pt>
                <c:pt idx="24371">
                  <c:v>44842</c:v>
                </c:pt>
                <c:pt idx="24372">
                  <c:v>70653</c:v>
                </c:pt>
                <c:pt idx="24373">
                  <c:v>33950</c:v>
                </c:pt>
                <c:pt idx="24374">
                  <c:v>30833</c:v>
                </c:pt>
                <c:pt idx="24375">
                  <c:v>57706</c:v>
                </c:pt>
                <c:pt idx="24376">
                  <c:v>41764</c:v>
                </c:pt>
                <c:pt idx="24377">
                  <c:v>64681</c:v>
                </c:pt>
                <c:pt idx="24378">
                  <c:v>24164</c:v>
                </c:pt>
                <c:pt idx="24379">
                  <c:v>34824</c:v>
                </c:pt>
                <c:pt idx="24380">
                  <c:v>37089</c:v>
                </c:pt>
                <c:pt idx="24381">
                  <c:v>52659</c:v>
                </c:pt>
                <c:pt idx="24382">
                  <c:v>39039</c:v>
                </c:pt>
                <c:pt idx="24383">
                  <c:v>101009</c:v>
                </c:pt>
                <c:pt idx="24384">
                  <c:v>38601</c:v>
                </c:pt>
                <c:pt idx="24385">
                  <c:v>84009</c:v>
                </c:pt>
                <c:pt idx="24386">
                  <c:v>202130</c:v>
                </c:pt>
                <c:pt idx="24387">
                  <c:v>59166</c:v>
                </c:pt>
                <c:pt idx="24388">
                  <c:v>57730</c:v>
                </c:pt>
                <c:pt idx="24389">
                  <c:v>114624</c:v>
                </c:pt>
                <c:pt idx="24390">
                  <c:v>22617</c:v>
                </c:pt>
                <c:pt idx="24391">
                  <c:v>126376</c:v>
                </c:pt>
                <c:pt idx="24392">
                  <c:v>99866</c:v>
                </c:pt>
                <c:pt idx="24393">
                  <c:v>35391</c:v>
                </c:pt>
                <c:pt idx="24394">
                  <c:v>32899</c:v>
                </c:pt>
                <c:pt idx="24395">
                  <c:v>34160</c:v>
                </c:pt>
                <c:pt idx="24396">
                  <c:v>55299</c:v>
                </c:pt>
                <c:pt idx="24397">
                  <c:v>92674</c:v>
                </c:pt>
                <c:pt idx="24398">
                  <c:v>51862</c:v>
                </c:pt>
                <c:pt idx="24399">
                  <c:v>60686</c:v>
                </c:pt>
                <c:pt idx="24400">
                  <c:v>45459</c:v>
                </c:pt>
                <c:pt idx="24401">
                  <c:v>85366</c:v>
                </c:pt>
                <c:pt idx="24402">
                  <c:v>65349</c:v>
                </c:pt>
                <c:pt idx="24403">
                  <c:v>47801</c:v>
                </c:pt>
                <c:pt idx="24404">
                  <c:v>49808</c:v>
                </c:pt>
                <c:pt idx="24405">
                  <c:v>41570</c:v>
                </c:pt>
                <c:pt idx="24406">
                  <c:v>60902</c:v>
                </c:pt>
                <c:pt idx="24407">
                  <c:v>83685</c:v>
                </c:pt>
                <c:pt idx="24408">
                  <c:v>25064</c:v>
                </c:pt>
                <c:pt idx="24409">
                  <c:v>40342</c:v>
                </c:pt>
                <c:pt idx="24410">
                  <c:v>117004</c:v>
                </c:pt>
                <c:pt idx="24411">
                  <c:v>79693</c:v>
                </c:pt>
                <c:pt idx="24412">
                  <c:v>34202</c:v>
                </c:pt>
                <c:pt idx="24413">
                  <c:v>28328</c:v>
                </c:pt>
                <c:pt idx="24414">
                  <c:v>31204</c:v>
                </c:pt>
                <c:pt idx="24415">
                  <c:v>48455</c:v>
                </c:pt>
                <c:pt idx="24416">
                  <c:v>39342</c:v>
                </c:pt>
                <c:pt idx="24417">
                  <c:v>34193</c:v>
                </c:pt>
                <c:pt idx="24418">
                  <c:v>35132</c:v>
                </c:pt>
                <c:pt idx="24419">
                  <c:v>78266</c:v>
                </c:pt>
                <c:pt idx="24420">
                  <c:v>38906</c:v>
                </c:pt>
                <c:pt idx="24421">
                  <c:v>33935</c:v>
                </c:pt>
                <c:pt idx="24422">
                  <c:v>37585</c:v>
                </c:pt>
                <c:pt idx="24423">
                  <c:v>121233</c:v>
                </c:pt>
                <c:pt idx="24424">
                  <c:v>81870</c:v>
                </c:pt>
                <c:pt idx="24425">
                  <c:v>23108</c:v>
                </c:pt>
                <c:pt idx="24426">
                  <c:v>107069</c:v>
                </c:pt>
                <c:pt idx="24427">
                  <c:v>16156</c:v>
                </c:pt>
                <c:pt idx="24428">
                  <c:v>42772</c:v>
                </c:pt>
                <c:pt idx="24429">
                  <c:v>122853</c:v>
                </c:pt>
                <c:pt idx="24430">
                  <c:v>57129</c:v>
                </c:pt>
                <c:pt idx="24431">
                  <c:v>200034</c:v>
                </c:pt>
                <c:pt idx="24432">
                  <c:v>27385</c:v>
                </c:pt>
                <c:pt idx="24433">
                  <c:v>61438</c:v>
                </c:pt>
                <c:pt idx="24434">
                  <c:v>103904</c:v>
                </c:pt>
                <c:pt idx="24435">
                  <c:v>63054</c:v>
                </c:pt>
                <c:pt idx="24436">
                  <c:v>134777</c:v>
                </c:pt>
                <c:pt idx="24437">
                  <c:v>54518</c:v>
                </c:pt>
                <c:pt idx="24438">
                  <c:v>30626</c:v>
                </c:pt>
                <c:pt idx="24439">
                  <c:v>88843</c:v>
                </c:pt>
                <c:pt idx="24440">
                  <c:v>195906</c:v>
                </c:pt>
                <c:pt idx="24441">
                  <c:v>61154</c:v>
                </c:pt>
                <c:pt idx="24442">
                  <c:v>28748</c:v>
                </c:pt>
                <c:pt idx="24443">
                  <c:v>72757</c:v>
                </c:pt>
                <c:pt idx="24444">
                  <c:v>66806</c:v>
                </c:pt>
                <c:pt idx="24445">
                  <c:v>26518</c:v>
                </c:pt>
                <c:pt idx="24446">
                  <c:v>38672</c:v>
                </c:pt>
                <c:pt idx="24447">
                  <c:v>119404</c:v>
                </c:pt>
                <c:pt idx="24448">
                  <c:v>55364</c:v>
                </c:pt>
                <c:pt idx="24449">
                  <c:v>50040</c:v>
                </c:pt>
                <c:pt idx="24450">
                  <c:v>42796</c:v>
                </c:pt>
                <c:pt idx="24451">
                  <c:v>56174</c:v>
                </c:pt>
                <c:pt idx="24452">
                  <c:v>37134</c:v>
                </c:pt>
                <c:pt idx="24453">
                  <c:v>47745</c:v>
                </c:pt>
                <c:pt idx="24454">
                  <c:v>33141</c:v>
                </c:pt>
                <c:pt idx="24455">
                  <c:v>55869</c:v>
                </c:pt>
                <c:pt idx="24456">
                  <c:v>50530</c:v>
                </c:pt>
                <c:pt idx="24457">
                  <c:v>45371</c:v>
                </c:pt>
                <c:pt idx="24458">
                  <c:v>32439</c:v>
                </c:pt>
                <c:pt idx="24459">
                  <c:v>39112</c:v>
                </c:pt>
                <c:pt idx="24460">
                  <c:v>121428</c:v>
                </c:pt>
                <c:pt idx="24461">
                  <c:v>73756</c:v>
                </c:pt>
                <c:pt idx="24462">
                  <c:v>43452</c:v>
                </c:pt>
                <c:pt idx="24463">
                  <c:v>28717</c:v>
                </c:pt>
                <c:pt idx="24464">
                  <c:v>28312</c:v>
                </c:pt>
                <c:pt idx="24465">
                  <c:v>77227</c:v>
                </c:pt>
                <c:pt idx="24466">
                  <c:v>247128</c:v>
                </c:pt>
                <c:pt idx="24467">
                  <c:v>42115</c:v>
                </c:pt>
                <c:pt idx="24468">
                  <c:v>33502</c:v>
                </c:pt>
                <c:pt idx="24469">
                  <c:v>28089</c:v>
                </c:pt>
                <c:pt idx="24470">
                  <c:v>52483</c:v>
                </c:pt>
                <c:pt idx="24471">
                  <c:v>26239</c:v>
                </c:pt>
                <c:pt idx="24472">
                  <c:v>29546</c:v>
                </c:pt>
                <c:pt idx="24473">
                  <c:v>25373</c:v>
                </c:pt>
                <c:pt idx="24474">
                  <c:v>46108</c:v>
                </c:pt>
                <c:pt idx="24475">
                  <c:v>109038</c:v>
                </c:pt>
                <c:pt idx="24476">
                  <c:v>29379</c:v>
                </c:pt>
                <c:pt idx="24477">
                  <c:v>39951</c:v>
                </c:pt>
                <c:pt idx="24478">
                  <c:v>22516</c:v>
                </c:pt>
                <c:pt idx="24479">
                  <c:v>65129</c:v>
                </c:pt>
                <c:pt idx="24480">
                  <c:v>128392</c:v>
                </c:pt>
                <c:pt idx="24481">
                  <c:v>59048</c:v>
                </c:pt>
                <c:pt idx="24482">
                  <c:v>102946</c:v>
                </c:pt>
                <c:pt idx="24483">
                  <c:v>44806</c:v>
                </c:pt>
                <c:pt idx="24484">
                  <c:v>31003</c:v>
                </c:pt>
                <c:pt idx="24485">
                  <c:v>93503</c:v>
                </c:pt>
                <c:pt idx="24486">
                  <c:v>36764</c:v>
                </c:pt>
                <c:pt idx="24487">
                  <c:v>25008</c:v>
                </c:pt>
                <c:pt idx="24488">
                  <c:v>76358</c:v>
                </c:pt>
                <c:pt idx="24489">
                  <c:v>72196</c:v>
                </c:pt>
                <c:pt idx="24490">
                  <c:v>57564</c:v>
                </c:pt>
                <c:pt idx="24491">
                  <c:v>53584</c:v>
                </c:pt>
                <c:pt idx="24492">
                  <c:v>129055</c:v>
                </c:pt>
                <c:pt idx="24493">
                  <c:v>49413</c:v>
                </c:pt>
                <c:pt idx="24494">
                  <c:v>49832</c:v>
                </c:pt>
                <c:pt idx="24495">
                  <c:v>51322</c:v>
                </c:pt>
                <c:pt idx="24496">
                  <c:v>163399</c:v>
                </c:pt>
                <c:pt idx="24497">
                  <c:v>38939</c:v>
                </c:pt>
                <c:pt idx="24498">
                  <c:v>283550</c:v>
                </c:pt>
                <c:pt idx="24499">
                  <c:v>47314</c:v>
                </c:pt>
                <c:pt idx="24500">
                  <c:v>107153</c:v>
                </c:pt>
                <c:pt idx="24501">
                  <c:v>127784</c:v>
                </c:pt>
                <c:pt idx="24502">
                  <c:v>104549</c:v>
                </c:pt>
                <c:pt idx="24503">
                  <c:v>76073</c:v>
                </c:pt>
                <c:pt idx="24504">
                  <c:v>34757</c:v>
                </c:pt>
                <c:pt idx="24505">
                  <c:v>61754</c:v>
                </c:pt>
                <c:pt idx="24506">
                  <c:v>27267</c:v>
                </c:pt>
                <c:pt idx="24507">
                  <c:v>43394</c:v>
                </c:pt>
                <c:pt idx="24508">
                  <c:v>44571</c:v>
                </c:pt>
                <c:pt idx="24509">
                  <c:v>161349</c:v>
                </c:pt>
                <c:pt idx="24510">
                  <c:v>124353</c:v>
                </c:pt>
                <c:pt idx="24511">
                  <c:v>54548</c:v>
                </c:pt>
                <c:pt idx="24512">
                  <c:v>34195</c:v>
                </c:pt>
                <c:pt idx="24513">
                  <c:v>242736</c:v>
                </c:pt>
                <c:pt idx="24514">
                  <c:v>129398</c:v>
                </c:pt>
                <c:pt idx="24515">
                  <c:v>22427</c:v>
                </c:pt>
                <c:pt idx="24516">
                  <c:v>63012</c:v>
                </c:pt>
                <c:pt idx="24517">
                  <c:v>307178</c:v>
                </c:pt>
                <c:pt idx="24518">
                  <c:v>50339</c:v>
                </c:pt>
                <c:pt idx="24519">
                  <c:v>30593</c:v>
                </c:pt>
                <c:pt idx="24520">
                  <c:v>26910</c:v>
                </c:pt>
                <c:pt idx="24521">
                  <c:v>58410</c:v>
                </c:pt>
                <c:pt idx="24522">
                  <c:v>34233</c:v>
                </c:pt>
                <c:pt idx="24523">
                  <c:v>71159</c:v>
                </c:pt>
                <c:pt idx="24524">
                  <c:v>48409</c:v>
                </c:pt>
                <c:pt idx="24525">
                  <c:v>74534</c:v>
                </c:pt>
                <c:pt idx="24526">
                  <c:v>25701</c:v>
                </c:pt>
                <c:pt idx="24527">
                  <c:v>54520</c:v>
                </c:pt>
                <c:pt idx="24528">
                  <c:v>105412</c:v>
                </c:pt>
                <c:pt idx="24529">
                  <c:v>37278</c:v>
                </c:pt>
                <c:pt idx="24530">
                  <c:v>38309</c:v>
                </c:pt>
                <c:pt idx="24531">
                  <c:v>46656</c:v>
                </c:pt>
                <c:pt idx="24532">
                  <c:v>64027</c:v>
                </c:pt>
                <c:pt idx="24533">
                  <c:v>24841</c:v>
                </c:pt>
                <c:pt idx="24534">
                  <c:v>132483</c:v>
                </c:pt>
                <c:pt idx="24535">
                  <c:v>60024</c:v>
                </c:pt>
                <c:pt idx="24536">
                  <c:v>115827</c:v>
                </c:pt>
                <c:pt idx="24537">
                  <c:v>38581</c:v>
                </c:pt>
                <c:pt idx="24538">
                  <c:v>49962</c:v>
                </c:pt>
                <c:pt idx="24539">
                  <c:v>35195</c:v>
                </c:pt>
                <c:pt idx="24540">
                  <c:v>19556</c:v>
                </c:pt>
                <c:pt idx="24541">
                  <c:v>96943</c:v>
                </c:pt>
                <c:pt idx="24542">
                  <c:v>88391</c:v>
                </c:pt>
                <c:pt idx="24543">
                  <c:v>77066</c:v>
                </c:pt>
                <c:pt idx="24544">
                  <c:v>39392</c:v>
                </c:pt>
                <c:pt idx="24545">
                  <c:v>87647</c:v>
                </c:pt>
                <c:pt idx="24546">
                  <c:v>85737</c:v>
                </c:pt>
                <c:pt idx="24547">
                  <c:v>36079</c:v>
                </c:pt>
                <c:pt idx="24548">
                  <c:v>48114</c:v>
                </c:pt>
                <c:pt idx="24549">
                  <c:v>39616</c:v>
                </c:pt>
                <c:pt idx="24550">
                  <c:v>31315</c:v>
                </c:pt>
                <c:pt idx="24551">
                  <c:v>99796</c:v>
                </c:pt>
                <c:pt idx="24552">
                  <c:v>109773</c:v>
                </c:pt>
                <c:pt idx="24553">
                  <c:v>56636</c:v>
                </c:pt>
                <c:pt idx="24554">
                  <c:v>25774</c:v>
                </c:pt>
                <c:pt idx="24555">
                  <c:v>107649</c:v>
                </c:pt>
                <c:pt idx="24556">
                  <c:v>52711</c:v>
                </c:pt>
                <c:pt idx="24557">
                  <c:v>169961</c:v>
                </c:pt>
                <c:pt idx="24558">
                  <c:v>53144</c:v>
                </c:pt>
                <c:pt idx="24559">
                  <c:v>43323</c:v>
                </c:pt>
                <c:pt idx="24560">
                  <c:v>22191</c:v>
                </c:pt>
                <c:pt idx="24561">
                  <c:v>41263</c:v>
                </c:pt>
                <c:pt idx="24562">
                  <c:v>76608</c:v>
                </c:pt>
                <c:pt idx="24563">
                  <c:v>108838</c:v>
                </c:pt>
                <c:pt idx="24564">
                  <c:v>36074</c:v>
                </c:pt>
                <c:pt idx="24565">
                  <c:v>71671</c:v>
                </c:pt>
                <c:pt idx="24566">
                  <c:v>43425</c:v>
                </c:pt>
                <c:pt idx="24567">
                  <c:v>41221</c:v>
                </c:pt>
                <c:pt idx="24568">
                  <c:v>198734</c:v>
                </c:pt>
                <c:pt idx="24569">
                  <c:v>41630</c:v>
                </c:pt>
                <c:pt idx="24570">
                  <c:v>81783</c:v>
                </c:pt>
                <c:pt idx="24571">
                  <c:v>204557</c:v>
                </c:pt>
                <c:pt idx="24572">
                  <c:v>24384</c:v>
                </c:pt>
                <c:pt idx="24573">
                  <c:v>141764</c:v>
                </c:pt>
                <c:pt idx="24574">
                  <c:v>43723</c:v>
                </c:pt>
                <c:pt idx="24575">
                  <c:v>43905</c:v>
                </c:pt>
                <c:pt idx="24576">
                  <c:v>36075</c:v>
                </c:pt>
                <c:pt idx="24577">
                  <c:v>39278</c:v>
                </c:pt>
                <c:pt idx="24578">
                  <c:v>27855</c:v>
                </c:pt>
                <c:pt idx="24579">
                  <c:v>58574</c:v>
                </c:pt>
                <c:pt idx="24580">
                  <c:v>49633</c:v>
                </c:pt>
                <c:pt idx="24581">
                  <c:v>26806</c:v>
                </c:pt>
                <c:pt idx="24582">
                  <c:v>27073</c:v>
                </c:pt>
                <c:pt idx="24583">
                  <c:v>292466</c:v>
                </c:pt>
                <c:pt idx="24584">
                  <c:v>49191</c:v>
                </c:pt>
                <c:pt idx="24585">
                  <c:v>34851</c:v>
                </c:pt>
                <c:pt idx="24586">
                  <c:v>45020</c:v>
                </c:pt>
                <c:pt idx="24587">
                  <c:v>53557</c:v>
                </c:pt>
                <c:pt idx="24588">
                  <c:v>28321</c:v>
                </c:pt>
                <c:pt idx="24589">
                  <c:v>20731</c:v>
                </c:pt>
                <c:pt idx="24590">
                  <c:v>45443</c:v>
                </c:pt>
                <c:pt idx="24591">
                  <c:v>38126</c:v>
                </c:pt>
                <c:pt idx="24592">
                  <c:v>26798</c:v>
                </c:pt>
                <c:pt idx="24593">
                  <c:v>24025</c:v>
                </c:pt>
                <c:pt idx="24594">
                  <c:v>50348</c:v>
                </c:pt>
                <c:pt idx="24595">
                  <c:v>164700</c:v>
                </c:pt>
                <c:pt idx="24596">
                  <c:v>43487</c:v>
                </c:pt>
                <c:pt idx="24597">
                  <c:v>47923</c:v>
                </c:pt>
                <c:pt idx="24598">
                  <c:v>97346</c:v>
                </c:pt>
                <c:pt idx="24599">
                  <c:v>23839</c:v>
                </c:pt>
                <c:pt idx="24600">
                  <c:v>92962</c:v>
                </c:pt>
                <c:pt idx="24601">
                  <c:v>22175</c:v>
                </c:pt>
                <c:pt idx="24602">
                  <c:v>103215</c:v>
                </c:pt>
                <c:pt idx="24603">
                  <c:v>20457</c:v>
                </c:pt>
                <c:pt idx="24604">
                  <c:v>99661</c:v>
                </c:pt>
                <c:pt idx="24605">
                  <c:v>40364</c:v>
                </c:pt>
                <c:pt idx="24606">
                  <c:v>44117</c:v>
                </c:pt>
                <c:pt idx="24607">
                  <c:v>46366</c:v>
                </c:pt>
                <c:pt idx="24608">
                  <c:v>33424</c:v>
                </c:pt>
                <c:pt idx="24609">
                  <c:v>44505</c:v>
                </c:pt>
                <c:pt idx="24610">
                  <c:v>55277</c:v>
                </c:pt>
                <c:pt idx="24611">
                  <c:v>33415</c:v>
                </c:pt>
                <c:pt idx="24612">
                  <c:v>40581</c:v>
                </c:pt>
                <c:pt idx="24613">
                  <c:v>361846</c:v>
                </c:pt>
                <c:pt idx="24614">
                  <c:v>32984</c:v>
                </c:pt>
                <c:pt idx="24615">
                  <c:v>42156</c:v>
                </c:pt>
                <c:pt idx="24616">
                  <c:v>179381</c:v>
                </c:pt>
                <c:pt idx="24617">
                  <c:v>35255</c:v>
                </c:pt>
                <c:pt idx="24618">
                  <c:v>30018</c:v>
                </c:pt>
                <c:pt idx="24619">
                  <c:v>24601</c:v>
                </c:pt>
                <c:pt idx="24620">
                  <c:v>333197</c:v>
                </c:pt>
                <c:pt idx="24621">
                  <c:v>38068</c:v>
                </c:pt>
                <c:pt idx="24622">
                  <c:v>43371</c:v>
                </c:pt>
                <c:pt idx="24623">
                  <c:v>39635</c:v>
                </c:pt>
                <c:pt idx="24624">
                  <c:v>129939</c:v>
                </c:pt>
                <c:pt idx="24625">
                  <c:v>31353</c:v>
                </c:pt>
                <c:pt idx="24626">
                  <c:v>38838</c:v>
                </c:pt>
                <c:pt idx="24627">
                  <c:v>32443</c:v>
                </c:pt>
                <c:pt idx="24628">
                  <c:v>101687</c:v>
                </c:pt>
                <c:pt idx="24629">
                  <c:v>39964</c:v>
                </c:pt>
                <c:pt idx="24630">
                  <c:v>46248</c:v>
                </c:pt>
                <c:pt idx="24631">
                  <c:v>27653</c:v>
                </c:pt>
                <c:pt idx="24632">
                  <c:v>48578</c:v>
                </c:pt>
                <c:pt idx="24633">
                  <c:v>55417</c:v>
                </c:pt>
                <c:pt idx="24634">
                  <c:v>30744</c:v>
                </c:pt>
                <c:pt idx="24635">
                  <c:v>20191</c:v>
                </c:pt>
                <c:pt idx="24636">
                  <c:v>47679</c:v>
                </c:pt>
                <c:pt idx="24637">
                  <c:v>45397</c:v>
                </c:pt>
                <c:pt idx="24638">
                  <c:v>201920</c:v>
                </c:pt>
                <c:pt idx="24639">
                  <c:v>42921</c:v>
                </c:pt>
                <c:pt idx="24640">
                  <c:v>99560</c:v>
                </c:pt>
                <c:pt idx="24641">
                  <c:v>35526</c:v>
                </c:pt>
                <c:pt idx="24642">
                  <c:v>75855</c:v>
                </c:pt>
                <c:pt idx="24643">
                  <c:v>55034</c:v>
                </c:pt>
                <c:pt idx="24644">
                  <c:v>126102</c:v>
                </c:pt>
                <c:pt idx="24645">
                  <c:v>30113</c:v>
                </c:pt>
                <c:pt idx="24646">
                  <c:v>37364</c:v>
                </c:pt>
                <c:pt idx="24647">
                  <c:v>57354</c:v>
                </c:pt>
                <c:pt idx="24648">
                  <c:v>100529</c:v>
                </c:pt>
                <c:pt idx="24649">
                  <c:v>32428</c:v>
                </c:pt>
                <c:pt idx="24650">
                  <c:v>84275</c:v>
                </c:pt>
                <c:pt idx="24651">
                  <c:v>46149</c:v>
                </c:pt>
                <c:pt idx="24652">
                  <c:v>41040</c:v>
                </c:pt>
                <c:pt idx="24653">
                  <c:v>42315</c:v>
                </c:pt>
                <c:pt idx="24654">
                  <c:v>65134</c:v>
                </c:pt>
                <c:pt idx="24655">
                  <c:v>108032</c:v>
                </c:pt>
                <c:pt idx="24656">
                  <c:v>110255</c:v>
                </c:pt>
                <c:pt idx="24657">
                  <c:v>35240</c:v>
                </c:pt>
                <c:pt idx="24658">
                  <c:v>39065</c:v>
                </c:pt>
                <c:pt idx="24659">
                  <c:v>39870</c:v>
                </c:pt>
                <c:pt idx="24660">
                  <c:v>37315</c:v>
                </c:pt>
                <c:pt idx="24661">
                  <c:v>29999</c:v>
                </c:pt>
                <c:pt idx="24662">
                  <c:v>38106</c:v>
                </c:pt>
                <c:pt idx="24663">
                  <c:v>50906</c:v>
                </c:pt>
                <c:pt idx="24664">
                  <c:v>28218</c:v>
                </c:pt>
                <c:pt idx="24665">
                  <c:v>24395</c:v>
                </c:pt>
                <c:pt idx="24666">
                  <c:v>30382</c:v>
                </c:pt>
                <c:pt idx="24667">
                  <c:v>24218</c:v>
                </c:pt>
                <c:pt idx="24668">
                  <c:v>48352</c:v>
                </c:pt>
                <c:pt idx="24669">
                  <c:v>217429</c:v>
                </c:pt>
                <c:pt idx="24670">
                  <c:v>41656</c:v>
                </c:pt>
                <c:pt idx="24671">
                  <c:v>68299</c:v>
                </c:pt>
                <c:pt idx="24672">
                  <c:v>71125</c:v>
                </c:pt>
                <c:pt idx="24673">
                  <c:v>34220</c:v>
                </c:pt>
                <c:pt idx="24674">
                  <c:v>141354</c:v>
                </c:pt>
                <c:pt idx="24675">
                  <c:v>167782</c:v>
                </c:pt>
                <c:pt idx="24676">
                  <c:v>72960</c:v>
                </c:pt>
                <c:pt idx="24677">
                  <c:v>36719</c:v>
                </c:pt>
                <c:pt idx="24678">
                  <c:v>24660</c:v>
                </c:pt>
                <c:pt idx="24679">
                  <c:v>67506</c:v>
                </c:pt>
                <c:pt idx="24680">
                  <c:v>44945</c:v>
                </c:pt>
                <c:pt idx="24681">
                  <c:v>29977</c:v>
                </c:pt>
                <c:pt idx="24682">
                  <c:v>62242</c:v>
                </c:pt>
                <c:pt idx="24683">
                  <c:v>42420</c:v>
                </c:pt>
                <c:pt idx="24684">
                  <c:v>105130</c:v>
                </c:pt>
                <c:pt idx="24685">
                  <c:v>82513</c:v>
                </c:pt>
                <c:pt idx="24686">
                  <c:v>30510</c:v>
                </c:pt>
                <c:pt idx="24687">
                  <c:v>160768</c:v>
                </c:pt>
                <c:pt idx="24688">
                  <c:v>69964</c:v>
                </c:pt>
                <c:pt idx="24689">
                  <c:v>30125</c:v>
                </c:pt>
                <c:pt idx="24690">
                  <c:v>33545</c:v>
                </c:pt>
                <c:pt idx="24691">
                  <c:v>137201</c:v>
                </c:pt>
                <c:pt idx="24692">
                  <c:v>26349</c:v>
                </c:pt>
                <c:pt idx="24693">
                  <c:v>145936</c:v>
                </c:pt>
                <c:pt idx="24694">
                  <c:v>21800</c:v>
                </c:pt>
                <c:pt idx="24695">
                  <c:v>27562</c:v>
                </c:pt>
                <c:pt idx="24696">
                  <c:v>75412</c:v>
                </c:pt>
                <c:pt idx="24697">
                  <c:v>93952</c:v>
                </c:pt>
                <c:pt idx="24698">
                  <c:v>59044</c:v>
                </c:pt>
                <c:pt idx="24699">
                  <c:v>116273</c:v>
                </c:pt>
                <c:pt idx="24700">
                  <c:v>71754</c:v>
                </c:pt>
                <c:pt idx="24701">
                  <c:v>43502</c:v>
                </c:pt>
                <c:pt idx="24702">
                  <c:v>46025</c:v>
                </c:pt>
                <c:pt idx="24703">
                  <c:v>30783</c:v>
                </c:pt>
                <c:pt idx="24704">
                  <c:v>65071</c:v>
                </c:pt>
                <c:pt idx="24705">
                  <c:v>49300</c:v>
                </c:pt>
                <c:pt idx="24706">
                  <c:v>60593</c:v>
                </c:pt>
                <c:pt idx="24707">
                  <c:v>44550</c:v>
                </c:pt>
                <c:pt idx="24708">
                  <c:v>133490</c:v>
                </c:pt>
                <c:pt idx="24709">
                  <c:v>37765</c:v>
                </c:pt>
                <c:pt idx="24710">
                  <c:v>21623</c:v>
                </c:pt>
                <c:pt idx="24711">
                  <c:v>36413</c:v>
                </c:pt>
                <c:pt idx="24712">
                  <c:v>49258</c:v>
                </c:pt>
                <c:pt idx="24713">
                  <c:v>28136</c:v>
                </c:pt>
                <c:pt idx="24714">
                  <c:v>38434</c:v>
                </c:pt>
                <c:pt idx="24715">
                  <c:v>38166</c:v>
                </c:pt>
                <c:pt idx="24716">
                  <c:v>28975</c:v>
                </c:pt>
                <c:pt idx="24717">
                  <c:v>85601</c:v>
                </c:pt>
                <c:pt idx="24718">
                  <c:v>45514</c:v>
                </c:pt>
                <c:pt idx="24719">
                  <c:v>70776</c:v>
                </c:pt>
                <c:pt idx="24720">
                  <c:v>70539</c:v>
                </c:pt>
                <c:pt idx="24721">
                  <c:v>36379</c:v>
                </c:pt>
                <c:pt idx="24722">
                  <c:v>48646</c:v>
                </c:pt>
                <c:pt idx="24723">
                  <c:v>196392</c:v>
                </c:pt>
                <c:pt idx="24724">
                  <c:v>43653</c:v>
                </c:pt>
                <c:pt idx="24725">
                  <c:v>78708</c:v>
                </c:pt>
                <c:pt idx="24726">
                  <c:v>46563</c:v>
                </c:pt>
                <c:pt idx="24727">
                  <c:v>75061</c:v>
                </c:pt>
                <c:pt idx="24728">
                  <c:v>43402</c:v>
                </c:pt>
                <c:pt idx="24729">
                  <c:v>245564</c:v>
                </c:pt>
                <c:pt idx="24730">
                  <c:v>87767</c:v>
                </c:pt>
                <c:pt idx="24731">
                  <c:v>24313</c:v>
                </c:pt>
                <c:pt idx="24732">
                  <c:v>118698</c:v>
                </c:pt>
                <c:pt idx="24733">
                  <c:v>25141</c:v>
                </c:pt>
                <c:pt idx="24734">
                  <c:v>20503</c:v>
                </c:pt>
                <c:pt idx="24735">
                  <c:v>180603</c:v>
                </c:pt>
                <c:pt idx="24736">
                  <c:v>28728</c:v>
                </c:pt>
                <c:pt idx="24737">
                  <c:v>43523</c:v>
                </c:pt>
                <c:pt idx="24738">
                  <c:v>27052</c:v>
                </c:pt>
                <c:pt idx="24739">
                  <c:v>27084</c:v>
                </c:pt>
                <c:pt idx="24740">
                  <c:v>26721</c:v>
                </c:pt>
                <c:pt idx="24741">
                  <c:v>45921</c:v>
                </c:pt>
                <c:pt idx="24742">
                  <c:v>25167</c:v>
                </c:pt>
                <c:pt idx="24743">
                  <c:v>47644</c:v>
                </c:pt>
                <c:pt idx="24744">
                  <c:v>26700</c:v>
                </c:pt>
                <c:pt idx="24745">
                  <c:v>79569</c:v>
                </c:pt>
                <c:pt idx="24746">
                  <c:v>133606</c:v>
                </c:pt>
                <c:pt idx="24747">
                  <c:v>69331</c:v>
                </c:pt>
                <c:pt idx="24748">
                  <c:v>27029</c:v>
                </c:pt>
                <c:pt idx="24749">
                  <c:v>78133</c:v>
                </c:pt>
                <c:pt idx="24750">
                  <c:v>107063</c:v>
                </c:pt>
                <c:pt idx="24751">
                  <c:v>44382</c:v>
                </c:pt>
                <c:pt idx="24752">
                  <c:v>23492</c:v>
                </c:pt>
                <c:pt idx="24753">
                  <c:v>27381</c:v>
                </c:pt>
                <c:pt idx="24754">
                  <c:v>81058</c:v>
                </c:pt>
                <c:pt idx="24755">
                  <c:v>42626</c:v>
                </c:pt>
                <c:pt idx="24756">
                  <c:v>24618</c:v>
                </c:pt>
                <c:pt idx="24757">
                  <c:v>27725</c:v>
                </c:pt>
                <c:pt idx="24758">
                  <c:v>34172</c:v>
                </c:pt>
                <c:pt idx="24759">
                  <c:v>68822</c:v>
                </c:pt>
                <c:pt idx="24760">
                  <c:v>32399</c:v>
                </c:pt>
                <c:pt idx="24761">
                  <c:v>61214</c:v>
                </c:pt>
                <c:pt idx="24762">
                  <c:v>62751</c:v>
                </c:pt>
                <c:pt idx="24763">
                  <c:v>24707</c:v>
                </c:pt>
                <c:pt idx="24764">
                  <c:v>41573</c:v>
                </c:pt>
                <c:pt idx="24765">
                  <c:v>34305</c:v>
                </c:pt>
                <c:pt idx="24766">
                  <c:v>159446</c:v>
                </c:pt>
                <c:pt idx="24767">
                  <c:v>28431</c:v>
                </c:pt>
                <c:pt idx="24768">
                  <c:v>37746</c:v>
                </c:pt>
                <c:pt idx="24769">
                  <c:v>76282</c:v>
                </c:pt>
                <c:pt idx="24770">
                  <c:v>69478</c:v>
                </c:pt>
                <c:pt idx="24771">
                  <c:v>92039</c:v>
                </c:pt>
                <c:pt idx="24772">
                  <c:v>37462</c:v>
                </c:pt>
                <c:pt idx="24773">
                  <c:v>36438</c:v>
                </c:pt>
                <c:pt idx="24774">
                  <c:v>56127</c:v>
                </c:pt>
                <c:pt idx="24775">
                  <c:v>114441</c:v>
                </c:pt>
                <c:pt idx="24776">
                  <c:v>47260</c:v>
                </c:pt>
                <c:pt idx="24777">
                  <c:v>28470</c:v>
                </c:pt>
                <c:pt idx="24778">
                  <c:v>23887</c:v>
                </c:pt>
                <c:pt idx="24779">
                  <c:v>50405</c:v>
                </c:pt>
                <c:pt idx="24780">
                  <c:v>190123</c:v>
                </c:pt>
                <c:pt idx="24781">
                  <c:v>81123</c:v>
                </c:pt>
                <c:pt idx="24782">
                  <c:v>171895</c:v>
                </c:pt>
                <c:pt idx="24783">
                  <c:v>133294</c:v>
                </c:pt>
                <c:pt idx="24784">
                  <c:v>32876</c:v>
                </c:pt>
                <c:pt idx="24785">
                  <c:v>43112</c:v>
                </c:pt>
                <c:pt idx="24786">
                  <c:v>34823</c:v>
                </c:pt>
                <c:pt idx="24787">
                  <c:v>31143</c:v>
                </c:pt>
                <c:pt idx="24788">
                  <c:v>32440</c:v>
                </c:pt>
                <c:pt idx="24789">
                  <c:v>35078</c:v>
                </c:pt>
                <c:pt idx="24790">
                  <c:v>45638</c:v>
                </c:pt>
                <c:pt idx="24791">
                  <c:v>91881</c:v>
                </c:pt>
                <c:pt idx="24792">
                  <c:v>27665</c:v>
                </c:pt>
                <c:pt idx="24793">
                  <c:v>38591</c:v>
                </c:pt>
                <c:pt idx="24794">
                  <c:v>41091</c:v>
                </c:pt>
                <c:pt idx="24795">
                  <c:v>39817</c:v>
                </c:pt>
                <c:pt idx="24796">
                  <c:v>73791</c:v>
                </c:pt>
                <c:pt idx="24797">
                  <c:v>41498</c:v>
                </c:pt>
                <c:pt idx="24798">
                  <c:v>871797</c:v>
                </c:pt>
                <c:pt idx="24799">
                  <c:v>38279</c:v>
                </c:pt>
                <c:pt idx="24800">
                  <c:v>33488</c:v>
                </c:pt>
                <c:pt idx="24801">
                  <c:v>46676</c:v>
                </c:pt>
                <c:pt idx="24802">
                  <c:v>103788</c:v>
                </c:pt>
                <c:pt idx="24803">
                  <c:v>46182</c:v>
                </c:pt>
                <c:pt idx="24804">
                  <c:v>42580</c:v>
                </c:pt>
                <c:pt idx="24805">
                  <c:v>24946</c:v>
                </c:pt>
                <c:pt idx="24806">
                  <c:v>24837</c:v>
                </c:pt>
                <c:pt idx="24807">
                  <c:v>33068</c:v>
                </c:pt>
                <c:pt idx="24808">
                  <c:v>106786</c:v>
                </c:pt>
                <c:pt idx="24809">
                  <c:v>38019</c:v>
                </c:pt>
                <c:pt idx="24810">
                  <c:v>51558</c:v>
                </c:pt>
                <c:pt idx="24811">
                  <c:v>51066</c:v>
                </c:pt>
                <c:pt idx="24812">
                  <c:v>124268</c:v>
                </c:pt>
                <c:pt idx="24813">
                  <c:v>60457</c:v>
                </c:pt>
                <c:pt idx="24814">
                  <c:v>33628</c:v>
                </c:pt>
                <c:pt idx="24815">
                  <c:v>104919</c:v>
                </c:pt>
                <c:pt idx="24816">
                  <c:v>27214</c:v>
                </c:pt>
                <c:pt idx="24817">
                  <c:v>129880</c:v>
                </c:pt>
                <c:pt idx="24818">
                  <c:v>37913</c:v>
                </c:pt>
                <c:pt idx="24819">
                  <c:v>162620</c:v>
                </c:pt>
                <c:pt idx="24820">
                  <c:v>45182</c:v>
                </c:pt>
                <c:pt idx="24821">
                  <c:v>177180</c:v>
                </c:pt>
                <c:pt idx="24822">
                  <c:v>45456</c:v>
                </c:pt>
                <c:pt idx="24823">
                  <c:v>182996</c:v>
                </c:pt>
                <c:pt idx="24824">
                  <c:v>46750</c:v>
                </c:pt>
                <c:pt idx="24825">
                  <c:v>21871</c:v>
                </c:pt>
                <c:pt idx="24826">
                  <c:v>26261</c:v>
                </c:pt>
                <c:pt idx="24827">
                  <c:v>139217</c:v>
                </c:pt>
                <c:pt idx="24828">
                  <c:v>59889</c:v>
                </c:pt>
                <c:pt idx="24829">
                  <c:v>31287</c:v>
                </c:pt>
                <c:pt idx="24830">
                  <c:v>98688</c:v>
                </c:pt>
                <c:pt idx="24831">
                  <c:v>41843</c:v>
                </c:pt>
                <c:pt idx="24832">
                  <c:v>26295</c:v>
                </c:pt>
                <c:pt idx="24833">
                  <c:v>44075</c:v>
                </c:pt>
                <c:pt idx="24834">
                  <c:v>33051</c:v>
                </c:pt>
                <c:pt idx="24835">
                  <c:v>46664</c:v>
                </c:pt>
                <c:pt idx="24836">
                  <c:v>90114</c:v>
                </c:pt>
                <c:pt idx="24837">
                  <c:v>24668</c:v>
                </c:pt>
                <c:pt idx="24838">
                  <c:v>72506</c:v>
                </c:pt>
                <c:pt idx="24839">
                  <c:v>104124</c:v>
                </c:pt>
                <c:pt idx="24840">
                  <c:v>22885</c:v>
                </c:pt>
                <c:pt idx="24841">
                  <c:v>95506</c:v>
                </c:pt>
                <c:pt idx="24842">
                  <c:v>46328</c:v>
                </c:pt>
                <c:pt idx="24843">
                  <c:v>113762</c:v>
                </c:pt>
                <c:pt idx="24844">
                  <c:v>33722</c:v>
                </c:pt>
                <c:pt idx="24845">
                  <c:v>45949</c:v>
                </c:pt>
                <c:pt idx="24846">
                  <c:v>28457</c:v>
                </c:pt>
                <c:pt idx="24847">
                  <c:v>46764</c:v>
                </c:pt>
                <c:pt idx="24848">
                  <c:v>148971</c:v>
                </c:pt>
                <c:pt idx="24849">
                  <c:v>61857</c:v>
                </c:pt>
                <c:pt idx="24850">
                  <c:v>39908</c:v>
                </c:pt>
                <c:pt idx="24851">
                  <c:v>15000</c:v>
                </c:pt>
                <c:pt idx="24852">
                  <c:v>24877</c:v>
                </c:pt>
                <c:pt idx="24853">
                  <c:v>64037</c:v>
                </c:pt>
                <c:pt idx="24854">
                  <c:v>24846</c:v>
                </c:pt>
                <c:pt idx="24855">
                  <c:v>59374</c:v>
                </c:pt>
                <c:pt idx="24856">
                  <c:v>25986</c:v>
                </c:pt>
                <c:pt idx="24857">
                  <c:v>50879</c:v>
                </c:pt>
                <c:pt idx="24858">
                  <c:v>26946</c:v>
                </c:pt>
                <c:pt idx="24859">
                  <c:v>38982</c:v>
                </c:pt>
                <c:pt idx="24860">
                  <c:v>36494</c:v>
                </c:pt>
                <c:pt idx="24861">
                  <c:v>42372</c:v>
                </c:pt>
                <c:pt idx="24862">
                  <c:v>19632</c:v>
                </c:pt>
                <c:pt idx="24863">
                  <c:v>56141</c:v>
                </c:pt>
                <c:pt idx="24864">
                  <c:v>38229</c:v>
                </c:pt>
                <c:pt idx="24865">
                  <c:v>45910</c:v>
                </c:pt>
                <c:pt idx="24866">
                  <c:v>49119</c:v>
                </c:pt>
                <c:pt idx="24867">
                  <c:v>44772</c:v>
                </c:pt>
                <c:pt idx="24868">
                  <c:v>61266</c:v>
                </c:pt>
                <c:pt idx="24869">
                  <c:v>50449</c:v>
                </c:pt>
                <c:pt idx="24870">
                  <c:v>22004</c:v>
                </c:pt>
                <c:pt idx="24871">
                  <c:v>56576</c:v>
                </c:pt>
                <c:pt idx="24872">
                  <c:v>48961</c:v>
                </c:pt>
                <c:pt idx="24873">
                  <c:v>32091</c:v>
                </c:pt>
                <c:pt idx="24874">
                  <c:v>73175</c:v>
                </c:pt>
                <c:pt idx="24875">
                  <c:v>47369</c:v>
                </c:pt>
                <c:pt idx="24876">
                  <c:v>34817</c:v>
                </c:pt>
                <c:pt idx="24877">
                  <c:v>112837</c:v>
                </c:pt>
                <c:pt idx="24878">
                  <c:v>44170</c:v>
                </c:pt>
                <c:pt idx="24879">
                  <c:v>94059</c:v>
                </c:pt>
                <c:pt idx="24880">
                  <c:v>167069</c:v>
                </c:pt>
                <c:pt idx="24881">
                  <c:v>25071</c:v>
                </c:pt>
                <c:pt idx="24882">
                  <c:v>47921</c:v>
                </c:pt>
                <c:pt idx="24883">
                  <c:v>26660</c:v>
                </c:pt>
                <c:pt idx="24884">
                  <c:v>47023</c:v>
                </c:pt>
                <c:pt idx="24885">
                  <c:v>25830</c:v>
                </c:pt>
                <c:pt idx="24886">
                  <c:v>61473</c:v>
                </c:pt>
                <c:pt idx="24887">
                  <c:v>88210</c:v>
                </c:pt>
                <c:pt idx="24888">
                  <c:v>165239</c:v>
                </c:pt>
                <c:pt idx="24889">
                  <c:v>32318</c:v>
                </c:pt>
                <c:pt idx="24890">
                  <c:v>31124</c:v>
                </c:pt>
                <c:pt idx="24891">
                  <c:v>16935</c:v>
                </c:pt>
                <c:pt idx="24892">
                  <c:v>67884</c:v>
                </c:pt>
                <c:pt idx="24893">
                  <c:v>26343</c:v>
                </c:pt>
                <c:pt idx="24894">
                  <c:v>24034</c:v>
                </c:pt>
                <c:pt idx="24895">
                  <c:v>51885</c:v>
                </c:pt>
                <c:pt idx="24896">
                  <c:v>49022</c:v>
                </c:pt>
                <c:pt idx="24897">
                  <c:v>26081</c:v>
                </c:pt>
                <c:pt idx="24898">
                  <c:v>84379</c:v>
                </c:pt>
                <c:pt idx="24899">
                  <c:v>44634</c:v>
                </c:pt>
                <c:pt idx="24900">
                  <c:v>46757</c:v>
                </c:pt>
                <c:pt idx="24901">
                  <c:v>30005</c:v>
                </c:pt>
                <c:pt idx="24902">
                  <c:v>80831</c:v>
                </c:pt>
                <c:pt idx="24903">
                  <c:v>60191</c:v>
                </c:pt>
                <c:pt idx="24904">
                  <c:v>24194</c:v>
                </c:pt>
                <c:pt idx="24905">
                  <c:v>48734</c:v>
                </c:pt>
                <c:pt idx="24906">
                  <c:v>20494</c:v>
                </c:pt>
                <c:pt idx="24907">
                  <c:v>130519</c:v>
                </c:pt>
                <c:pt idx="24908">
                  <c:v>33790</c:v>
                </c:pt>
                <c:pt idx="24909">
                  <c:v>30295</c:v>
                </c:pt>
                <c:pt idx="24910">
                  <c:v>46888</c:v>
                </c:pt>
                <c:pt idx="24911">
                  <c:v>33317</c:v>
                </c:pt>
                <c:pt idx="24912">
                  <c:v>47285</c:v>
                </c:pt>
                <c:pt idx="24913">
                  <c:v>63651</c:v>
                </c:pt>
                <c:pt idx="24914">
                  <c:v>57638</c:v>
                </c:pt>
                <c:pt idx="24915">
                  <c:v>33618</c:v>
                </c:pt>
                <c:pt idx="24916">
                  <c:v>63916</c:v>
                </c:pt>
                <c:pt idx="24917">
                  <c:v>106533</c:v>
                </c:pt>
                <c:pt idx="24918">
                  <c:v>36185</c:v>
                </c:pt>
                <c:pt idx="24919">
                  <c:v>89011</c:v>
                </c:pt>
                <c:pt idx="24920">
                  <c:v>90531</c:v>
                </c:pt>
                <c:pt idx="24921">
                  <c:v>87093</c:v>
                </c:pt>
                <c:pt idx="24922">
                  <c:v>161410</c:v>
                </c:pt>
                <c:pt idx="24923">
                  <c:v>28346</c:v>
                </c:pt>
                <c:pt idx="24924">
                  <c:v>92082</c:v>
                </c:pt>
                <c:pt idx="24925">
                  <c:v>23344</c:v>
                </c:pt>
                <c:pt idx="24926">
                  <c:v>50918</c:v>
                </c:pt>
                <c:pt idx="24927">
                  <c:v>37365</c:v>
                </c:pt>
                <c:pt idx="24928">
                  <c:v>175020</c:v>
                </c:pt>
                <c:pt idx="24929">
                  <c:v>34141</c:v>
                </c:pt>
                <c:pt idx="24930">
                  <c:v>49083</c:v>
                </c:pt>
                <c:pt idx="24931">
                  <c:v>28447</c:v>
                </c:pt>
                <c:pt idx="24932">
                  <c:v>39949</c:v>
                </c:pt>
                <c:pt idx="24933">
                  <c:v>154338</c:v>
                </c:pt>
                <c:pt idx="24934">
                  <c:v>71631</c:v>
                </c:pt>
                <c:pt idx="24935">
                  <c:v>41864</c:v>
                </c:pt>
                <c:pt idx="24936">
                  <c:v>38449</c:v>
                </c:pt>
                <c:pt idx="24937">
                  <c:v>122889</c:v>
                </c:pt>
                <c:pt idx="24938">
                  <c:v>54777</c:v>
                </c:pt>
                <c:pt idx="24939">
                  <c:v>34410</c:v>
                </c:pt>
                <c:pt idx="24940">
                  <c:v>59243</c:v>
                </c:pt>
                <c:pt idx="24941">
                  <c:v>23069</c:v>
                </c:pt>
                <c:pt idx="24942">
                  <c:v>280944</c:v>
                </c:pt>
                <c:pt idx="24943">
                  <c:v>26685</c:v>
                </c:pt>
                <c:pt idx="24944">
                  <c:v>53050</c:v>
                </c:pt>
                <c:pt idx="24945">
                  <c:v>52689</c:v>
                </c:pt>
                <c:pt idx="24946">
                  <c:v>42844</c:v>
                </c:pt>
                <c:pt idx="24947">
                  <c:v>51920</c:v>
                </c:pt>
                <c:pt idx="24948">
                  <c:v>69508</c:v>
                </c:pt>
                <c:pt idx="24949">
                  <c:v>20549</c:v>
                </c:pt>
                <c:pt idx="24950">
                  <c:v>45524</c:v>
                </c:pt>
                <c:pt idx="24951">
                  <c:v>76086</c:v>
                </c:pt>
                <c:pt idx="24952">
                  <c:v>132148</c:v>
                </c:pt>
                <c:pt idx="24953">
                  <c:v>92941</c:v>
                </c:pt>
                <c:pt idx="24954">
                  <c:v>82210</c:v>
                </c:pt>
                <c:pt idx="24955">
                  <c:v>42664</c:v>
                </c:pt>
                <c:pt idx="24956">
                  <c:v>62289</c:v>
                </c:pt>
                <c:pt idx="24957">
                  <c:v>62205</c:v>
                </c:pt>
                <c:pt idx="24958">
                  <c:v>246846</c:v>
                </c:pt>
                <c:pt idx="24959">
                  <c:v>30530</c:v>
                </c:pt>
                <c:pt idx="24960">
                  <c:v>23029</c:v>
                </c:pt>
                <c:pt idx="24961">
                  <c:v>32784</c:v>
                </c:pt>
                <c:pt idx="24962">
                  <c:v>135181</c:v>
                </c:pt>
                <c:pt idx="24963">
                  <c:v>53913</c:v>
                </c:pt>
                <c:pt idx="24964">
                  <c:v>37979</c:v>
                </c:pt>
                <c:pt idx="24965">
                  <c:v>28542</c:v>
                </c:pt>
                <c:pt idx="24966">
                  <c:v>58141</c:v>
                </c:pt>
                <c:pt idx="24967">
                  <c:v>33435</c:v>
                </c:pt>
                <c:pt idx="24968">
                  <c:v>31108</c:v>
                </c:pt>
                <c:pt idx="24969">
                  <c:v>101182</c:v>
                </c:pt>
                <c:pt idx="24970">
                  <c:v>34014</c:v>
                </c:pt>
                <c:pt idx="24971">
                  <c:v>38107</c:v>
                </c:pt>
                <c:pt idx="24972">
                  <c:v>39008</c:v>
                </c:pt>
                <c:pt idx="24973">
                  <c:v>31472</c:v>
                </c:pt>
                <c:pt idx="24974">
                  <c:v>91978</c:v>
                </c:pt>
                <c:pt idx="24975">
                  <c:v>45186</c:v>
                </c:pt>
                <c:pt idx="24976">
                  <c:v>22085</c:v>
                </c:pt>
                <c:pt idx="24977">
                  <c:v>211189</c:v>
                </c:pt>
                <c:pt idx="24978">
                  <c:v>22841</c:v>
                </c:pt>
                <c:pt idx="24979">
                  <c:v>34997</c:v>
                </c:pt>
                <c:pt idx="24980">
                  <c:v>40470</c:v>
                </c:pt>
                <c:pt idx="24981">
                  <c:v>89500</c:v>
                </c:pt>
                <c:pt idx="24982">
                  <c:v>25461</c:v>
                </c:pt>
                <c:pt idx="24983">
                  <c:v>41069</c:v>
                </c:pt>
                <c:pt idx="24984">
                  <c:v>36394</c:v>
                </c:pt>
                <c:pt idx="24985">
                  <c:v>76068</c:v>
                </c:pt>
                <c:pt idx="24986">
                  <c:v>70249</c:v>
                </c:pt>
                <c:pt idx="24987">
                  <c:v>112924</c:v>
                </c:pt>
                <c:pt idx="24988">
                  <c:v>31419</c:v>
                </c:pt>
                <c:pt idx="24989">
                  <c:v>23417</c:v>
                </c:pt>
                <c:pt idx="24990">
                  <c:v>36015</c:v>
                </c:pt>
                <c:pt idx="24991">
                  <c:v>43240</c:v>
                </c:pt>
                <c:pt idx="24992">
                  <c:v>20183</c:v>
                </c:pt>
                <c:pt idx="24993">
                  <c:v>142920</c:v>
                </c:pt>
                <c:pt idx="24994">
                  <c:v>75538</c:v>
                </c:pt>
                <c:pt idx="24995">
                  <c:v>59199</c:v>
                </c:pt>
                <c:pt idx="24996">
                  <c:v>32444</c:v>
                </c:pt>
                <c:pt idx="24997">
                  <c:v>127497</c:v>
                </c:pt>
                <c:pt idx="24998">
                  <c:v>56964</c:v>
                </c:pt>
                <c:pt idx="24999">
                  <c:v>31997</c:v>
                </c:pt>
                <c:pt idx="25000">
                  <c:v>40829</c:v>
                </c:pt>
                <c:pt idx="25001">
                  <c:v>85932</c:v>
                </c:pt>
                <c:pt idx="25002">
                  <c:v>38511</c:v>
                </c:pt>
                <c:pt idx="25003">
                  <c:v>45493</c:v>
                </c:pt>
                <c:pt idx="25004">
                  <c:v>83350</c:v>
                </c:pt>
                <c:pt idx="25005">
                  <c:v>23877</c:v>
                </c:pt>
                <c:pt idx="25006">
                  <c:v>97131</c:v>
                </c:pt>
                <c:pt idx="25007">
                  <c:v>50878</c:v>
                </c:pt>
                <c:pt idx="25008">
                  <c:v>42905</c:v>
                </c:pt>
                <c:pt idx="25009">
                  <c:v>24028</c:v>
                </c:pt>
                <c:pt idx="25010">
                  <c:v>31398</c:v>
                </c:pt>
                <c:pt idx="25011">
                  <c:v>26504</c:v>
                </c:pt>
                <c:pt idx="25012">
                  <c:v>83425</c:v>
                </c:pt>
                <c:pt idx="25013">
                  <c:v>53424</c:v>
                </c:pt>
                <c:pt idx="25014">
                  <c:v>26458</c:v>
                </c:pt>
                <c:pt idx="25015">
                  <c:v>94304</c:v>
                </c:pt>
                <c:pt idx="25016">
                  <c:v>26885</c:v>
                </c:pt>
                <c:pt idx="25017">
                  <c:v>43907</c:v>
                </c:pt>
                <c:pt idx="25018">
                  <c:v>68691</c:v>
                </c:pt>
                <c:pt idx="25019">
                  <c:v>20981</c:v>
                </c:pt>
                <c:pt idx="25020">
                  <c:v>24301</c:v>
                </c:pt>
                <c:pt idx="25021">
                  <c:v>33366</c:v>
                </c:pt>
                <c:pt idx="25022">
                  <c:v>26860</c:v>
                </c:pt>
                <c:pt idx="25023">
                  <c:v>27422</c:v>
                </c:pt>
                <c:pt idx="25024">
                  <c:v>39087</c:v>
                </c:pt>
                <c:pt idx="25025">
                  <c:v>31512</c:v>
                </c:pt>
                <c:pt idx="25026">
                  <c:v>148590</c:v>
                </c:pt>
                <c:pt idx="25027">
                  <c:v>145502</c:v>
                </c:pt>
                <c:pt idx="25028">
                  <c:v>37244</c:v>
                </c:pt>
                <c:pt idx="25029">
                  <c:v>43715</c:v>
                </c:pt>
                <c:pt idx="25030">
                  <c:v>30522</c:v>
                </c:pt>
                <c:pt idx="25031">
                  <c:v>24607</c:v>
                </c:pt>
                <c:pt idx="25032">
                  <c:v>38045</c:v>
                </c:pt>
                <c:pt idx="25033">
                  <c:v>18817</c:v>
                </c:pt>
                <c:pt idx="25034">
                  <c:v>45526</c:v>
                </c:pt>
                <c:pt idx="25035">
                  <c:v>35158</c:v>
                </c:pt>
                <c:pt idx="25036">
                  <c:v>54017</c:v>
                </c:pt>
                <c:pt idx="25037">
                  <c:v>57556</c:v>
                </c:pt>
                <c:pt idx="25038">
                  <c:v>38534</c:v>
                </c:pt>
                <c:pt idx="25039">
                  <c:v>41118</c:v>
                </c:pt>
                <c:pt idx="25040">
                  <c:v>55294</c:v>
                </c:pt>
                <c:pt idx="25041">
                  <c:v>61894</c:v>
                </c:pt>
                <c:pt idx="25042">
                  <c:v>39253</c:v>
                </c:pt>
                <c:pt idx="25043">
                  <c:v>44171</c:v>
                </c:pt>
                <c:pt idx="25044">
                  <c:v>82239</c:v>
                </c:pt>
                <c:pt idx="25045">
                  <c:v>112473</c:v>
                </c:pt>
                <c:pt idx="25046">
                  <c:v>26873</c:v>
                </c:pt>
                <c:pt idx="25047">
                  <c:v>30189</c:v>
                </c:pt>
                <c:pt idx="25048">
                  <c:v>105792</c:v>
                </c:pt>
                <c:pt idx="25049">
                  <c:v>50751</c:v>
                </c:pt>
                <c:pt idx="25050">
                  <c:v>36302</c:v>
                </c:pt>
                <c:pt idx="25051">
                  <c:v>176800</c:v>
                </c:pt>
                <c:pt idx="25052">
                  <c:v>27368</c:v>
                </c:pt>
                <c:pt idx="25053">
                  <c:v>46619</c:v>
                </c:pt>
                <c:pt idx="25054">
                  <c:v>91105</c:v>
                </c:pt>
                <c:pt idx="25055">
                  <c:v>47854</c:v>
                </c:pt>
                <c:pt idx="25056">
                  <c:v>51919</c:v>
                </c:pt>
                <c:pt idx="25057">
                  <c:v>45259</c:v>
                </c:pt>
                <c:pt idx="25058">
                  <c:v>20640</c:v>
                </c:pt>
                <c:pt idx="25059">
                  <c:v>62685</c:v>
                </c:pt>
                <c:pt idx="25060">
                  <c:v>24698</c:v>
                </c:pt>
                <c:pt idx="25061">
                  <c:v>21292</c:v>
                </c:pt>
                <c:pt idx="25062">
                  <c:v>38591</c:v>
                </c:pt>
                <c:pt idx="25063">
                  <c:v>38961</c:v>
                </c:pt>
                <c:pt idx="25064">
                  <c:v>31176</c:v>
                </c:pt>
                <c:pt idx="25065">
                  <c:v>180914</c:v>
                </c:pt>
                <c:pt idx="25066">
                  <c:v>76197</c:v>
                </c:pt>
                <c:pt idx="25067">
                  <c:v>15000</c:v>
                </c:pt>
                <c:pt idx="25068">
                  <c:v>55206</c:v>
                </c:pt>
                <c:pt idx="25069">
                  <c:v>30842</c:v>
                </c:pt>
                <c:pt idx="25070">
                  <c:v>49793</c:v>
                </c:pt>
                <c:pt idx="25071">
                  <c:v>51099</c:v>
                </c:pt>
                <c:pt idx="25072">
                  <c:v>28929</c:v>
                </c:pt>
                <c:pt idx="25073">
                  <c:v>77903</c:v>
                </c:pt>
                <c:pt idx="25074">
                  <c:v>69618</c:v>
                </c:pt>
                <c:pt idx="25075">
                  <c:v>148124</c:v>
                </c:pt>
                <c:pt idx="25076">
                  <c:v>39627</c:v>
                </c:pt>
                <c:pt idx="25077">
                  <c:v>28733</c:v>
                </c:pt>
                <c:pt idx="25078">
                  <c:v>29868</c:v>
                </c:pt>
                <c:pt idx="25079">
                  <c:v>31251</c:v>
                </c:pt>
                <c:pt idx="25080">
                  <c:v>40011</c:v>
                </c:pt>
                <c:pt idx="25081">
                  <c:v>42376</c:v>
                </c:pt>
                <c:pt idx="25082">
                  <c:v>41996</c:v>
                </c:pt>
                <c:pt idx="25083">
                  <c:v>223996</c:v>
                </c:pt>
                <c:pt idx="25084">
                  <c:v>33513</c:v>
                </c:pt>
                <c:pt idx="25085">
                  <c:v>56711</c:v>
                </c:pt>
                <c:pt idx="25086">
                  <c:v>40926</c:v>
                </c:pt>
                <c:pt idx="25087">
                  <c:v>38647</c:v>
                </c:pt>
                <c:pt idx="25088">
                  <c:v>121768</c:v>
                </c:pt>
                <c:pt idx="25089">
                  <c:v>103381</c:v>
                </c:pt>
                <c:pt idx="25090">
                  <c:v>50058</c:v>
                </c:pt>
                <c:pt idx="25091">
                  <c:v>22736</c:v>
                </c:pt>
                <c:pt idx="25092">
                  <c:v>45408</c:v>
                </c:pt>
                <c:pt idx="25093">
                  <c:v>128640</c:v>
                </c:pt>
                <c:pt idx="25094">
                  <c:v>23019</c:v>
                </c:pt>
                <c:pt idx="25095">
                  <c:v>31891</c:v>
                </c:pt>
                <c:pt idx="25096">
                  <c:v>140088</c:v>
                </c:pt>
                <c:pt idx="25097">
                  <c:v>81756</c:v>
                </c:pt>
                <c:pt idx="25098">
                  <c:v>60681</c:v>
                </c:pt>
                <c:pt idx="25099">
                  <c:v>41604</c:v>
                </c:pt>
                <c:pt idx="25100">
                  <c:v>52740</c:v>
                </c:pt>
                <c:pt idx="25101">
                  <c:v>41784</c:v>
                </c:pt>
                <c:pt idx="25102">
                  <c:v>110255</c:v>
                </c:pt>
                <c:pt idx="25103">
                  <c:v>30102</c:v>
                </c:pt>
                <c:pt idx="25104">
                  <c:v>61536</c:v>
                </c:pt>
                <c:pt idx="25105">
                  <c:v>29579</c:v>
                </c:pt>
                <c:pt idx="25106">
                  <c:v>55046</c:v>
                </c:pt>
                <c:pt idx="25107">
                  <c:v>192439</c:v>
                </c:pt>
                <c:pt idx="25108">
                  <c:v>28471</c:v>
                </c:pt>
                <c:pt idx="25109">
                  <c:v>80193</c:v>
                </c:pt>
                <c:pt idx="25110">
                  <c:v>31994</c:v>
                </c:pt>
                <c:pt idx="25111">
                  <c:v>38808</c:v>
                </c:pt>
                <c:pt idx="25112">
                  <c:v>68952</c:v>
                </c:pt>
                <c:pt idx="25113">
                  <c:v>33401</c:v>
                </c:pt>
                <c:pt idx="25114">
                  <c:v>378073</c:v>
                </c:pt>
                <c:pt idx="25115">
                  <c:v>27545</c:v>
                </c:pt>
                <c:pt idx="25116">
                  <c:v>27194</c:v>
                </c:pt>
                <c:pt idx="25117">
                  <c:v>77873</c:v>
                </c:pt>
                <c:pt idx="25118">
                  <c:v>38558</c:v>
                </c:pt>
                <c:pt idx="25119">
                  <c:v>40243</c:v>
                </c:pt>
                <c:pt idx="25120">
                  <c:v>41467</c:v>
                </c:pt>
                <c:pt idx="25121">
                  <c:v>135603</c:v>
                </c:pt>
                <c:pt idx="25122">
                  <c:v>46339</c:v>
                </c:pt>
                <c:pt idx="25123">
                  <c:v>29893</c:v>
                </c:pt>
                <c:pt idx="25124">
                  <c:v>46632</c:v>
                </c:pt>
                <c:pt idx="25125">
                  <c:v>35975</c:v>
                </c:pt>
                <c:pt idx="25126">
                  <c:v>41418</c:v>
                </c:pt>
                <c:pt idx="25127">
                  <c:v>29372</c:v>
                </c:pt>
                <c:pt idx="25128">
                  <c:v>51564</c:v>
                </c:pt>
                <c:pt idx="25129">
                  <c:v>48429</c:v>
                </c:pt>
                <c:pt idx="25130">
                  <c:v>106446</c:v>
                </c:pt>
                <c:pt idx="25131">
                  <c:v>134628</c:v>
                </c:pt>
                <c:pt idx="25132">
                  <c:v>51372</c:v>
                </c:pt>
                <c:pt idx="25133">
                  <c:v>121568</c:v>
                </c:pt>
                <c:pt idx="25134">
                  <c:v>29630</c:v>
                </c:pt>
                <c:pt idx="25135">
                  <c:v>52510</c:v>
                </c:pt>
                <c:pt idx="25136">
                  <c:v>28962</c:v>
                </c:pt>
                <c:pt idx="25137">
                  <c:v>251394</c:v>
                </c:pt>
                <c:pt idx="25138">
                  <c:v>31234</c:v>
                </c:pt>
                <c:pt idx="25139">
                  <c:v>38403</c:v>
                </c:pt>
                <c:pt idx="25140">
                  <c:v>48994</c:v>
                </c:pt>
                <c:pt idx="25141">
                  <c:v>101492</c:v>
                </c:pt>
                <c:pt idx="25142">
                  <c:v>170385</c:v>
                </c:pt>
                <c:pt idx="25143">
                  <c:v>77554</c:v>
                </c:pt>
                <c:pt idx="25144">
                  <c:v>114578</c:v>
                </c:pt>
                <c:pt idx="25145">
                  <c:v>42955</c:v>
                </c:pt>
                <c:pt idx="25146">
                  <c:v>48953</c:v>
                </c:pt>
                <c:pt idx="25147">
                  <c:v>35886</c:v>
                </c:pt>
                <c:pt idx="25148">
                  <c:v>23495</c:v>
                </c:pt>
                <c:pt idx="25149">
                  <c:v>31528</c:v>
                </c:pt>
                <c:pt idx="25150">
                  <c:v>54996</c:v>
                </c:pt>
                <c:pt idx="25151">
                  <c:v>45831</c:v>
                </c:pt>
                <c:pt idx="25152">
                  <c:v>29501</c:v>
                </c:pt>
                <c:pt idx="25153">
                  <c:v>36152</c:v>
                </c:pt>
                <c:pt idx="25154">
                  <c:v>53605</c:v>
                </c:pt>
                <c:pt idx="25155">
                  <c:v>34151</c:v>
                </c:pt>
                <c:pt idx="25156">
                  <c:v>71711</c:v>
                </c:pt>
                <c:pt idx="25157">
                  <c:v>202487</c:v>
                </c:pt>
                <c:pt idx="25158">
                  <c:v>64616</c:v>
                </c:pt>
                <c:pt idx="25159">
                  <c:v>38738</c:v>
                </c:pt>
                <c:pt idx="25160">
                  <c:v>31952</c:v>
                </c:pt>
                <c:pt idx="25161">
                  <c:v>41945</c:v>
                </c:pt>
                <c:pt idx="25162">
                  <c:v>146203</c:v>
                </c:pt>
                <c:pt idx="25163">
                  <c:v>56257</c:v>
                </c:pt>
                <c:pt idx="25164">
                  <c:v>31493</c:v>
                </c:pt>
                <c:pt idx="25165">
                  <c:v>38466</c:v>
                </c:pt>
                <c:pt idx="25166">
                  <c:v>34243</c:v>
                </c:pt>
                <c:pt idx="25167">
                  <c:v>59679</c:v>
                </c:pt>
                <c:pt idx="25168">
                  <c:v>39555</c:v>
                </c:pt>
                <c:pt idx="25169">
                  <c:v>26192</c:v>
                </c:pt>
                <c:pt idx="25170">
                  <c:v>174765</c:v>
                </c:pt>
                <c:pt idx="25171">
                  <c:v>40305</c:v>
                </c:pt>
                <c:pt idx="25172">
                  <c:v>43400</c:v>
                </c:pt>
                <c:pt idx="25173">
                  <c:v>37573</c:v>
                </c:pt>
                <c:pt idx="25174">
                  <c:v>28763</c:v>
                </c:pt>
                <c:pt idx="25175">
                  <c:v>26099</c:v>
                </c:pt>
                <c:pt idx="25176">
                  <c:v>35157</c:v>
                </c:pt>
                <c:pt idx="25177">
                  <c:v>41619</c:v>
                </c:pt>
                <c:pt idx="25178">
                  <c:v>88670</c:v>
                </c:pt>
                <c:pt idx="25179">
                  <c:v>213270</c:v>
                </c:pt>
                <c:pt idx="25180">
                  <c:v>367785</c:v>
                </c:pt>
                <c:pt idx="25181">
                  <c:v>62877</c:v>
                </c:pt>
                <c:pt idx="25182">
                  <c:v>40939</c:v>
                </c:pt>
                <c:pt idx="25183">
                  <c:v>164441</c:v>
                </c:pt>
                <c:pt idx="25184">
                  <c:v>32110</c:v>
                </c:pt>
                <c:pt idx="25185">
                  <c:v>43807</c:v>
                </c:pt>
                <c:pt idx="25186">
                  <c:v>118216</c:v>
                </c:pt>
                <c:pt idx="25187">
                  <c:v>48134</c:v>
                </c:pt>
                <c:pt idx="25188">
                  <c:v>30080</c:v>
                </c:pt>
                <c:pt idx="25189">
                  <c:v>204916</c:v>
                </c:pt>
                <c:pt idx="25190">
                  <c:v>31651</c:v>
                </c:pt>
                <c:pt idx="25191">
                  <c:v>75772</c:v>
                </c:pt>
                <c:pt idx="25192">
                  <c:v>65567</c:v>
                </c:pt>
                <c:pt idx="25193">
                  <c:v>28798</c:v>
                </c:pt>
                <c:pt idx="25194">
                  <c:v>27993</c:v>
                </c:pt>
                <c:pt idx="25195">
                  <c:v>35747</c:v>
                </c:pt>
                <c:pt idx="25196">
                  <c:v>47241</c:v>
                </c:pt>
                <c:pt idx="25197">
                  <c:v>47888</c:v>
                </c:pt>
                <c:pt idx="25198">
                  <c:v>225098</c:v>
                </c:pt>
                <c:pt idx="25199">
                  <c:v>42671</c:v>
                </c:pt>
                <c:pt idx="25200">
                  <c:v>153623</c:v>
                </c:pt>
                <c:pt idx="25201">
                  <c:v>38232</c:v>
                </c:pt>
                <c:pt idx="25202">
                  <c:v>39767</c:v>
                </c:pt>
                <c:pt idx="25203">
                  <c:v>39979</c:v>
                </c:pt>
                <c:pt idx="25204">
                  <c:v>59873</c:v>
                </c:pt>
                <c:pt idx="25205">
                  <c:v>28527</c:v>
                </c:pt>
                <c:pt idx="25206">
                  <c:v>59476</c:v>
                </c:pt>
                <c:pt idx="25207">
                  <c:v>41278</c:v>
                </c:pt>
                <c:pt idx="25208">
                  <c:v>46066</c:v>
                </c:pt>
                <c:pt idx="25209">
                  <c:v>43570</c:v>
                </c:pt>
                <c:pt idx="25210">
                  <c:v>179932</c:v>
                </c:pt>
                <c:pt idx="25211">
                  <c:v>21687</c:v>
                </c:pt>
                <c:pt idx="25212">
                  <c:v>23745</c:v>
                </c:pt>
                <c:pt idx="25213">
                  <c:v>71453</c:v>
                </c:pt>
                <c:pt idx="25214">
                  <c:v>90235</c:v>
                </c:pt>
                <c:pt idx="25215">
                  <c:v>36865</c:v>
                </c:pt>
                <c:pt idx="25216">
                  <c:v>20945</c:v>
                </c:pt>
                <c:pt idx="25217">
                  <c:v>59024</c:v>
                </c:pt>
                <c:pt idx="25218">
                  <c:v>58459</c:v>
                </c:pt>
                <c:pt idx="25219">
                  <c:v>28727</c:v>
                </c:pt>
                <c:pt idx="25220">
                  <c:v>27723</c:v>
                </c:pt>
                <c:pt idx="25221">
                  <c:v>50335</c:v>
                </c:pt>
                <c:pt idx="25222">
                  <c:v>36536</c:v>
                </c:pt>
                <c:pt idx="25223">
                  <c:v>65691</c:v>
                </c:pt>
                <c:pt idx="25224">
                  <c:v>32207</c:v>
                </c:pt>
                <c:pt idx="25225">
                  <c:v>25447</c:v>
                </c:pt>
                <c:pt idx="25226">
                  <c:v>42442</c:v>
                </c:pt>
                <c:pt idx="25227">
                  <c:v>38386</c:v>
                </c:pt>
                <c:pt idx="25228">
                  <c:v>37789</c:v>
                </c:pt>
                <c:pt idx="25229">
                  <c:v>47910</c:v>
                </c:pt>
                <c:pt idx="25230">
                  <c:v>26132</c:v>
                </c:pt>
                <c:pt idx="25231">
                  <c:v>23323</c:v>
                </c:pt>
                <c:pt idx="25232">
                  <c:v>32688</c:v>
                </c:pt>
                <c:pt idx="25233">
                  <c:v>49596</c:v>
                </c:pt>
                <c:pt idx="25234">
                  <c:v>51894</c:v>
                </c:pt>
                <c:pt idx="25235">
                  <c:v>39963</c:v>
                </c:pt>
                <c:pt idx="25236">
                  <c:v>23092</c:v>
                </c:pt>
                <c:pt idx="25237">
                  <c:v>51336</c:v>
                </c:pt>
                <c:pt idx="25238">
                  <c:v>39506</c:v>
                </c:pt>
                <c:pt idx="25239">
                  <c:v>50493</c:v>
                </c:pt>
                <c:pt idx="25240">
                  <c:v>25520</c:v>
                </c:pt>
                <c:pt idx="25241">
                  <c:v>62415</c:v>
                </c:pt>
                <c:pt idx="25242">
                  <c:v>24776</c:v>
                </c:pt>
                <c:pt idx="25243">
                  <c:v>58536</c:v>
                </c:pt>
                <c:pt idx="25244">
                  <c:v>201726</c:v>
                </c:pt>
                <c:pt idx="25245">
                  <c:v>65893</c:v>
                </c:pt>
                <c:pt idx="25246">
                  <c:v>60553</c:v>
                </c:pt>
                <c:pt idx="25247">
                  <c:v>302021</c:v>
                </c:pt>
                <c:pt idx="25248">
                  <c:v>37883</c:v>
                </c:pt>
                <c:pt idx="25249">
                  <c:v>64797</c:v>
                </c:pt>
                <c:pt idx="25250">
                  <c:v>43597</c:v>
                </c:pt>
                <c:pt idx="25251">
                  <c:v>170998</c:v>
                </c:pt>
                <c:pt idx="25252">
                  <c:v>26202</c:v>
                </c:pt>
                <c:pt idx="25253">
                  <c:v>43539</c:v>
                </c:pt>
                <c:pt idx="25254">
                  <c:v>41806</c:v>
                </c:pt>
                <c:pt idx="25255">
                  <c:v>65226</c:v>
                </c:pt>
                <c:pt idx="25256">
                  <c:v>392076</c:v>
                </c:pt>
                <c:pt idx="25257">
                  <c:v>244504</c:v>
                </c:pt>
                <c:pt idx="25258">
                  <c:v>41722</c:v>
                </c:pt>
                <c:pt idx="25259">
                  <c:v>136329</c:v>
                </c:pt>
                <c:pt idx="25260">
                  <c:v>29884</c:v>
                </c:pt>
                <c:pt idx="25261">
                  <c:v>82723</c:v>
                </c:pt>
                <c:pt idx="25262">
                  <c:v>40079</c:v>
                </c:pt>
                <c:pt idx="25263">
                  <c:v>47802</c:v>
                </c:pt>
                <c:pt idx="25264">
                  <c:v>35803</c:v>
                </c:pt>
                <c:pt idx="25265">
                  <c:v>23826</c:v>
                </c:pt>
                <c:pt idx="25266">
                  <c:v>47204</c:v>
                </c:pt>
                <c:pt idx="25267">
                  <c:v>46360</c:v>
                </c:pt>
                <c:pt idx="25268">
                  <c:v>48898</c:v>
                </c:pt>
                <c:pt idx="25269">
                  <c:v>19538</c:v>
                </c:pt>
                <c:pt idx="25270">
                  <c:v>65368</c:v>
                </c:pt>
                <c:pt idx="25271">
                  <c:v>27782</c:v>
                </c:pt>
                <c:pt idx="25272">
                  <c:v>180873</c:v>
                </c:pt>
                <c:pt idx="25273">
                  <c:v>37950</c:v>
                </c:pt>
                <c:pt idx="25274">
                  <c:v>23222</c:v>
                </c:pt>
                <c:pt idx="25275">
                  <c:v>36853</c:v>
                </c:pt>
                <c:pt idx="25276">
                  <c:v>48108</c:v>
                </c:pt>
                <c:pt idx="25277">
                  <c:v>24968</c:v>
                </c:pt>
                <c:pt idx="25278">
                  <c:v>32329</c:v>
                </c:pt>
                <c:pt idx="25279">
                  <c:v>64581</c:v>
                </c:pt>
                <c:pt idx="25280">
                  <c:v>74642</c:v>
                </c:pt>
                <c:pt idx="25281">
                  <c:v>43796</c:v>
                </c:pt>
                <c:pt idx="25282">
                  <c:v>23348</c:v>
                </c:pt>
                <c:pt idx="25283">
                  <c:v>45955</c:v>
                </c:pt>
                <c:pt idx="25284">
                  <c:v>60494</c:v>
                </c:pt>
                <c:pt idx="25285">
                  <c:v>18095</c:v>
                </c:pt>
                <c:pt idx="25286">
                  <c:v>37879</c:v>
                </c:pt>
                <c:pt idx="25287">
                  <c:v>45594</c:v>
                </c:pt>
                <c:pt idx="25288">
                  <c:v>39952</c:v>
                </c:pt>
                <c:pt idx="25289">
                  <c:v>39507</c:v>
                </c:pt>
                <c:pt idx="25290">
                  <c:v>28380</c:v>
                </c:pt>
                <c:pt idx="25291">
                  <c:v>42039</c:v>
                </c:pt>
                <c:pt idx="25292">
                  <c:v>30827</c:v>
                </c:pt>
                <c:pt idx="25293">
                  <c:v>102031</c:v>
                </c:pt>
                <c:pt idx="25294">
                  <c:v>27911</c:v>
                </c:pt>
                <c:pt idx="25295">
                  <c:v>33751</c:v>
                </c:pt>
                <c:pt idx="25296">
                  <c:v>23782</c:v>
                </c:pt>
                <c:pt idx="25297">
                  <c:v>61629</c:v>
                </c:pt>
                <c:pt idx="25298">
                  <c:v>44278</c:v>
                </c:pt>
                <c:pt idx="25299">
                  <c:v>41985</c:v>
                </c:pt>
                <c:pt idx="25300">
                  <c:v>48087</c:v>
                </c:pt>
                <c:pt idx="25301">
                  <c:v>21887</c:v>
                </c:pt>
                <c:pt idx="25302">
                  <c:v>21607</c:v>
                </c:pt>
                <c:pt idx="25303">
                  <c:v>68977</c:v>
                </c:pt>
                <c:pt idx="25304">
                  <c:v>26538</c:v>
                </c:pt>
                <c:pt idx="25305">
                  <c:v>89868</c:v>
                </c:pt>
                <c:pt idx="25306">
                  <c:v>39729</c:v>
                </c:pt>
                <c:pt idx="25307">
                  <c:v>24054</c:v>
                </c:pt>
                <c:pt idx="25308">
                  <c:v>38600</c:v>
                </c:pt>
                <c:pt idx="25309">
                  <c:v>40532</c:v>
                </c:pt>
                <c:pt idx="25310">
                  <c:v>77841</c:v>
                </c:pt>
                <c:pt idx="25311">
                  <c:v>40187</c:v>
                </c:pt>
                <c:pt idx="25312">
                  <c:v>100427</c:v>
                </c:pt>
                <c:pt idx="25313">
                  <c:v>75588</c:v>
                </c:pt>
                <c:pt idx="25314">
                  <c:v>32091</c:v>
                </c:pt>
                <c:pt idx="25315">
                  <c:v>23911</c:v>
                </c:pt>
                <c:pt idx="25316">
                  <c:v>39106</c:v>
                </c:pt>
                <c:pt idx="25317">
                  <c:v>207039</c:v>
                </c:pt>
                <c:pt idx="25318">
                  <c:v>34738</c:v>
                </c:pt>
                <c:pt idx="25319">
                  <c:v>37356</c:v>
                </c:pt>
                <c:pt idx="25320">
                  <c:v>25592</c:v>
                </c:pt>
                <c:pt idx="25321">
                  <c:v>47460</c:v>
                </c:pt>
                <c:pt idx="25322">
                  <c:v>25245</c:v>
                </c:pt>
                <c:pt idx="25323">
                  <c:v>166883</c:v>
                </c:pt>
                <c:pt idx="25324">
                  <c:v>75688</c:v>
                </c:pt>
                <c:pt idx="25325">
                  <c:v>248259</c:v>
                </c:pt>
                <c:pt idx="25326">
                  <c:v>21528</c:v>
                </c:pt>
                <c:pt idx="25327">
                  <c:v>152088</c:v>
                </c:pt>
                <c:pt idx="25328">
                  <c:v>48926</c:v>
                </c:pt>
                <c:pt idx="25329">
                  <c:v>56844</c:v>
                </c:pt>
                <c:pt idx="25330">
                  <c:v>72780</c:v>
                </c:pt>
                <c:pt idx="25331">
                  <c:v>47814</c:v>
                </c:pt>
                <c:pt idx="25332">
                  <c:v>76871</c:v>
                </c:pt>
                <c:pt idx="25333">
                  <c:v>45833</c:v>
                </c:pt>
                <c:pt idx="25334">
                  <c:v>53996</c:v>
                </c:pt>
                <c:pt idx="25335">
                  <c:v>35546</c:v>
                </c:pt>
                <c:pt idx="25336">
                  <c:v>56597</c:v>
                </c:pt>
                <c:pt idx="25337">
                  <c:v>31105</c:v>
                </c:pt>
                <c:pt idx="25338">
                  <c:v>34409</c:v>
                </c:pt>
                <c:pt idx="25339">
                  <c:v>27503</c:v>
                </c:pt>
                <c:pt idx="25340">
                  <c:v>78127</c:v>
                </c:pt>
                <c:pt idx="25341">
                  <c:v>81451</c:v>
                </c:pt>
                <c:pt idx="25342">
                  <c:v>37014</c:v>
                </c:pt>
                <c:pt idx="25343">
                  <c:v>24460</c:v>
                </c:pt>
                <c:pt idx="25344">
                  <c:v>39757</c:v>
                </c:pt>
                <c:pt idx="25345">
                  <c:v>115685</c:v>
                </c:pt>
                <c:pt idx="25346">
                  <c:v>26540</c:v>
                </c:pt>
                <c:pt idx="25347">
                  <c:v>41523</c:v>
                </c:pt>
                <c:pt idx="25348">
                  <c:v>40329</c:v>
                </c:pt>
                <c:pt idx="25349">
                  <c:v>54847</c:v>
                </c:pt>
                <c:pt idx="25350">
                  <c:v>43831</c:v>
                </c:pt>
                <c:pt idx="25351">
                  <c:v>26776</c:v>
                </c:pt>
                <c:pt idx="25352">
                  <c:v>42628</c:v>
                </c:pt>
                <c:pt idx="25353">
                  <c:v>23335</c:v>
                </c:pt>
                <c:pt idx="25354">
                  <c:v>43426</c:v>
                </c:pt>
                <c:pt idx="25355">
                  <c:v>50457</c:v>
                </c:pt>
                <c:pt idx="25356">
                  <c:v>32946</c:v>
                </c:pt>
                <c:pt idx="25357">
                  <c:v>108014</c:v>
                </c:pt>
                <c:pt idx="25358">
                  <c:v>25394</c:v>
                </c:pt>
                <c:pt idx="25359">
                  <c:v>32928</c:v>
                </c:pt>
                <c:pt idx="25360">
                  <c:v>28269</c:v>
                </c:pt>
                <c:pt idx="25361">
                  <c:v>45977</c:v>
                </c:pt>
                <c:pt idx="25362">
                  <c:v>27640</c:v>
                </c:pt>
                <c:pt idx="25363">
                  <c:v>40817</c:v>
                </c:pt>
                <c:pt idx="25364">
                  <c:v>38549</c:v>
                </c:pt>
                <c:pt idx="25365">
                  <c:v>59739</c:v>
                </c:pt>
                <c:pt idx="25366">
                  <c:v>32865</c:v>
                </c:pt>
                <c:pt idx="25367">
                  <c:v>95230</c:v>
                </c:pt>
                <c:pt idx="25368">
                  <c:v>27624</c:v>
                </c:pt>
                <c:pt idx="25369">
                  <c:v>61417</c:v>
                </c:pt>
                <c:pt idx="25370">
                  <c:v>59170</c:v>
                </c:pt>
                <c:pt idx="25371">
                  <c:v>31087</c:v>
                </c:pt>
                <c:pt idx="25372">
                  <c:v>31558</c:v>
                </c:pt>
                <c:pt idx="25373">
                  <c:v>98248</c:v>
                </c:pt>
                <c:pt idx="25374">
                  <c:v>53222</c:v>
                </c:pt>
                <c:pt idx="25375">
                  <c:v>24824</c:v>
                </c:pt>
                <c:pt idx="25376">
                  <c:v>54504</c:v>
                </c:pt>
                <c:pt idx="25377">
                  <c:v>139136</c:v>
                </c:pt>
                <c:pt idx="25378">
                  <c:v>34188</c:v>
                </c:pt>
                <c:pt idx="25379">
                  <c:v>40059</c:v>
                </c:pt>
                <c:pt idx="25380">
                  <c:v>28393</c:v>
                </c:pt>
                <c:pt idx="25381">
                  <c:v>31233</c:v>
                </c:pt>
                <c:pt idx="25382">
                  <c:v>193493</c:v>
                </c:pt>
                <c:pt idx="25383">
                  <c:v>40837</c:v>
                </c:pt>
                <c:pt idx="25384">
                  <c:v>87762</c:v>
                </c:pt>
                <c:pt idx="25385">
                  <c:v>40987</c:v>
                </c:pt>
                <c:pt idx="25386">
                  <c:v>52257</c:v>
                </c:pt>
                <c:pt idx="25387">
                  <c:v>104537</c:v>
                </c:pt>
                <c:pt idx="25388">
                  <c:v>29505</c:v>
                </c:pt>
                <c:pt idx="25389">
                  <c:v>48281</c:v>
                </c:pt>
                <c:pt idx="25390">
                  <c:v>22063</c:v>
                </c:pt>
                <c:pt idx="25391">
                  <c:v>79055</c:v>
                </c:pt>
                <c:pt idx="25392">
                  <c:v>88459</c:v>
                </c:pt>
                <c:pt idx="25393">
                  <c:v>164932</c:v>
                </c:pt>
                <c:pt idx="25394">
                  <c:v>67017</c:v>
                </c:pt>
                <c:pt idx="25395">
                  <c:v>70666</c:v>
                </c:pt>
                <c:pt idx="25396">
                  <c:v>131926</c:v>
                </c:pt>
                <c:pt idx="25397">
                  <c:v>23358</c:v>
                </c:pt>
                <c:pt idx="25398">
                  <c:v>29621</c:v>
                </c:pt>
                <c:pt idx="25399">
                  <c:v>132628</c:v>
                </c:pt>
                <c:pt idx="25400">
                  <c:v>39832</c:v>
                </c:pt>
                <c:pt idx="25401">
                  <c:v>34853</c:v>
                </c:pt>
                <c:pt idx="25402">
                  <c:v>211636</c:v>
                </c:pt>
                <c:pt idx="25403">
                  <c:v>50378</c:v>
                </c:pt>
                <c:pt idx="25404">
                  <c:v>45701</c:v>
                </c:pt>
                <c:pt idx="25405">
                  <c:v>178219</c:v>
                </c:pt>
                <c:pt idx="25406">
                  <c:v>45622</c:v>
                </c:pt>
                <c:pt idx="25407">
                  <c:v>54236</c:v>
                </c:pt>
                <c:pt idx="25408">
                  <c:v>70955</c:v>
                </c:pt>
                <c:pt idx="25409">
                  <c:v>64343</c:v>
                </c:pt>
                <c:pt idx="25410">
                  <c:v>58912</c:v>
                </c:pt>
                <c:pt idx="25411">
                  <c:v>153398</c:v>
                </c:pt>
                <c:pt idx="25412">
                  <c:v>92393</c:v>
                </c:pt>
                <c:pt idx="25413">
                  <c:v>39555</c:v>
                </c:pt>
                <c:pt idx="25414">
                  <c:v>111358</c:v>
                </c:pt>
                <c:pt idx="25415">
                  <c:v>27820</c:v>
                </c:pt>
                <c:pt idx="25416">
                  <c:v>27500</c:v>
                </c:pt>
                <c:pt idx="25417">
                  <c:v>22943</c:v>
                </c:pt>
                <c:pt idx="25418">
                  <c:v>20903</c:v>
                </c:pt>
                <c:pt idx="25419">
                  <c:v>58440</c:v>
                </c:pt>
                <c:pt idx="25420">
                  <c:v>197080</c:v>
                </c:pt>
                <c:pt idx="25421">
                  <c:v>61324</c:v>
                </c:pt>
                <c:pt idx="25422">
                  <c:v>38706</c:v>
                </c:pt>
                <c:pt idx="25423">
                  <c:v>116523</c:v>
                </c:pt>
                <c:pt idx="25424">
                  <c:v>33744</c:v>
                </c:pt>
                <c:pt idx="25425">
                  <c:v>61626</c:v>
                </c:pt>
                <c:pt idx="25426">
                  <c:v>55898</c:v>
                </c:pt>
                <c:pt idx="25427">
                  <c:v>21812</c:v>
                </c:pt>
                <c:pt idx="25428">
                  <c:v>41778</c:v>
                </c:pt>
                <c:pt idx="25429">
                  <c:v>49518</c:v>
                </c:pt>
                <c:pt idx="25430">
                  <c:v>120836</c:v>
                </c:pt>
                <c:pt idx="25431">
                  <c:v>44713</c:v>
                </c:pt>
                <c:pt idx="25432">
                  <c:v>32760</c:v>
                </c:pt>
                <c:pt idx="25433">
                  <c:v>36657</c:v>
                </c:pt>
                <c:pt idx="25434">
                  <c:v>31549</c:v>
                </c:pt>
                <c:pt idx="25435">
                  <c:v>92450</c:v>
                </c:pt>
                <c:pt idx="25436">
                  <c:v>34647</c:v>
                </c:pt>
                <c:pt idx="25437">
                  <c:v>37946</c:v>
                </c:pt>
                <c:pt idx="25438">
                  <c:v>26124</c:v>
                </c:pt>
                <c:pt idx="25439">
                  <c:v>34150</c:v>
                </c:pt>
                <c:pt idx="25440">
                  <c:v>24165</c:v>
                </c:pt>
                <c:pt idx="25441">
                  <c:v>71284</c:v>
                </c:pt>
                <c:pt idx="25442">
                  <c:v>20693</c:v>
                </c:pt>
                <c:pt idx="25443">
                  <c:v>38456</c:v>
                </c:pt>
                <c:pt idx="25444">
                  <c:v>26758</c:v>
                </c:pt>
                <c:pt idx="25445">
                  <c:v>43562</c:v>
                </c:pt>
                <c:pt idx="25446">
                  <c:v>28812</c:v>
                </c:pt>
                <c:pt idx="25447">
                  <c:v>36730</c:v>
                </c:pt>
                <c:pt idx="25448">
                  <c:v>21826</c:v>
                </c:pt>
                <c:pt idx="25449">
                  <c:v>25833</c:v>
                </c:pt>
                <c:pt idx="25450">
                  <c:v>49024</c:v>
                </c:pt>
                <c:pt idx="25451">
                  <c:v>157574</c:v>
                </c:pt>
                <c:pt idx="25452">
                  <c:v>86687</c:v>
                </c:pt>
                <c:pt idx="25453">
                  <c:v>85789</c:v>
                </c:pt>
                <c:pt idx="25454">
                  <c:v>368127</c:v>
                </c:pt>
                <c:pt idx="25455">
                  <c:v>39949</c:v>
                </c:pt>
                <c:pt idx="25456">
                  <c:v>46694</c:v>
                </c:pt>
                <c:pt idx="25457">
                  <c:v>238410</c:v>
                </c:pt>
                <c:pt idx="25458">
                  <c:v>105911</c:v>
                </c:pt>
                <c:pt idx="25459">
                  <c:v>91942</c:v>
                </c:pt>
                <c:pt idx="25460">
                  <c:v>34765</c:v>
                </c:pt>
                <c:pt idx="25461">
                  <c:v>25082</c:v>
                </c:pt>
                <c:pt idx="25462">
                  <c:v>32172</c:v>
                </c:pt>
                <c:pt idx="25463">
                  <c:v>15081</c:v>
                </c:pt>
                <c:pt idx="25464">
                  <c:v>28081</c:v>
                </c:pt>
                <c:pt idx="25465">
                  <c:v>25430</c:v>
                </c:pt>
                <c:pt idx="25466">
                  <c:v>85504</c:v>
                </c:pt>
                <c:pt idx="25467">
                  <c:v>24245</c:v>
                </c:pt>
                <c:pt idx="25468">
                  <c:v>124514</c:v>
                </c:pt>
                <c:pt idx="25469">
                  <c:v>39969</c:v>
                </c:pt>
                <c:pt idx="25470">
                  <c:v>36332</c:v>
                </c:pt>
                <c:pt idx="25471">
                  <c:v>41284</c:v>
                </c:pt>
                <c:pt idx="25472">
                  <c:v>171659</c:v>
                </c:pt>
                <c:pt idx="25473">
                  <c:v>132864</c:v>
                </c:pt>
                <c:pt idx="25474">
                  <c:v>33837</c:v>
                </c:pt>
                <c:pt idx="25475">
                  <c:v>51041</c:v>
                </c:pt>
                <c:pt idx="25476">
                  <c:v>52203</c:v>
                </c:pt>
                <c:pt idx="25477">
                  <c:v>37156</c:v>
                </c:pt>
                <c:pt idx="25478">
                  <c:v>27793</c:v>
                </c:pt>
                <c:pt idx="25479">
                  <c:v>114300</c:v>
                </c:pt>
                <c:pt idx="25480">
                  <c:v>119159</c:v>
                </c:pt>
                <c:pt idx="25481">
                  <c:v>41229</c:v>
                </c:pt>
                <c:pt idx="25482">
                  <c:v>23955</c:v>
                </c:pt>
                <c:pt idx="25483">
                  <c:v>31591</c:v>
                </c:pt>
                <c:pt idx="25484">
                  <c:v>31296</c:v>
                </c:pt>
                <c:pt idx="25485">
                  <c:v>25808</c:v>
                </c:pt>
                <c:pt idx="25486">
                  <c:v>28724</c:v>
                </c:pt>
                <c:pt idx="25487">
                  <c:v>78710</c:v>
                </c:pt>
                <c:pt idx="25488">
                  <c:v>34727</c:v>
                </c:pt>
                <c:pt idx="25489">
                  <c:v>63950</c:v>
                </c:pt>
                <c:pt idx="25490">
                  <c:v>39065</c:v>
                </c:pt>
                <c:pt idx="25491">
                  <c:v>27361</c:v>
                </c:pt>
                <c:pt idx="25492">
                  <c:v>65246</c:v>
                </c:pt>
                <c:pt idx="25493">
                  <c:v>138997</c:v>
                </c:pt>
                <c:pt idx="25494">
                  <c:v>32904</c:v>
                </c:pt>
                <c:pt idx="25495">
                  <c:v>47770</c:v>
                </c:pt>
                <c:pt idx="25496">
                  <c:v>25239</c:v>
                </c:pt>
                <c:pt idx="25497">
                  <c:v>41618</c:v>
                </c:pt>
                <c:pt idx="25498">
                  <c:v>37025</c:v>
                </c:pt>
                <c:pt idx="25499">
                  <c:v>64608</c:v>
                </c:pt>
                <c:pt idx="25500">
                  <c:v>31691</c:v>
                </c:pt>
                <c:pt idx="25501">
                  <c:v>27873</c:v>
                </c:pt>
                <c:pt idx="25502">
                  <c:v>61072</c:v>
                </c:pt>
                <c:pt idx="25503">
                  <c:v>134670</c:v>
                </c:pt>
                <c:pt idx="25504">
                  <c:v>47189</c:v>
                </c:pt>
                <c:pt idx="25505">
                  <c:v>49559</c:v>
                </c:pt>
                <c:pt idx="25506">
                  <c:v>43983</c:v>
                </c:pt>
                <c:pt idx="25507">
                  <c:v>126610</c:v>
                </c:pt>
                <c:pt idx="25508">
                  <c:v>199863</c:v>
                </c:pt>
                <c:pt idx="25509">
                  <c:v>95060</c:v>
                </c:pt>
                <c:pt idx="25510">
                  <c:v>57692</c:v>
                </c:pt>
                <c:pt idx="25511">
                  <c:v>27302</c:v>
                </c:pt>
                <c:pt idx="25512">
                  <c:v>24828</c:v>
                </c:pt>
                <c:pt idx="25513">
                  <c:v>26181</c:v>
                </c:pt>
                <c:pt idx="25514">
                  <c:v>27627</c:v>
                </c:pt>
                <c:pt idx="25515">
                  <c:v>75564</c:v>
                </c:pt>
                <c:pt idx="25516">
                  <c:v>35128</c:v>
                </c:pt>
                <c:pt idx="25517">
                  <c:v>63887</c:v>
                </c:pt>
                <c:pt idx="25518">
                  <c:v>56515</c:v>
                </c:pt>
                <c:pt idx="25519">
                  <c:v>30676</c:v>
                </c:pt>
                <c:pt idx="25520">
                  <c:v>34217</c:v>
                </c:pt>
                <c:pt idx="25521">
                  <c:v>58191</c:v>
                </c:pt>
                <c:pt idx="25522">
                  <c:v>28415</c:v>
                </c:pt>
                <c:pt idx="25523">
                  <c:v>28004</c:v>
                </c:pt>
                <c:pt idx="25524">
                  <c:v>31169</c:v>
                </c:pt>
                <c:pt idx="25525">
                  <c:v>51252</c:v>
                </c:pt>
                <c:pt idx="25526">
                  <c:v>30037</c:v>
                </c:pt>
                <c:pt idx="25527">
                  <c:v>49235</c:v>
                </c:pt>
                <c:pt idx="25528">
                  <c:v>163915</c:v>
                </c:pt>
                <c:pt idx="25529">
                  <c:v>42492</c:v>
                </c:pt>
                <c:pt idx="25530">
                  <c:v>33960</c:v>
                </c:pt>
                <c:pt idx="25531">
                  <c:v>37412</c:v>
                </c:pt>
                <c:pt idx="25532">
                  <c:v>25004</c:v>
                </c:pt>
                <c:pt idx="25533">
                  <c:v>162539</c:v>
                </c:pt>
                <c:pt idx="25534">
                  <c:v>42572</c:v>
                </c:pt>
                <c:pt idx="25535">
                  <c:v>31950</c:v>
                </c:pt>
                <c:pt idx="25536">
                  <c:v>43487</c:v>
                </c:pt>
                <c:pt idx="25537">
                  <c:v>60256</c:v>
                </c:pt>
                <c:pt idx="25538">
                  <c:v>29382</c:v>
                </c:pt>
                <c:pt idx="25539">
                  <c:v>152649</c:v>
                </c:pt>
                <c:pt idx="25540">
                  <c:v>25647</c:v>
                </c:pt>
                <c:pt idx="25541">
                  <c:v>40658</c:v>
                </c:pt>
                <c:pt idx="25542">
                  <c:v>30469</c:v>
                </c:pt>
                <c:pt idx="25543">
                  <c:v>34931</c:v>
                </c:pt>
                <c:pt idx="25544">
                  <c:v>37549</c:v>
                </c:pt>
                <c:pt idx="25545">
                  <c:v>66796</c:v>
                </c:pt>
                <c:pt idx="25546">
                  <c:v>59975</c:v>
                </c:pt>
                <c:pt idx="25547">
                  <c:v>41717</c:v>
                </c:pt>
                <c:pt idx="25548">
                  <c:v>92490</c:v>
                </c:pt>
                <c:pt idx="25549">
                  <c:v>30933</c:v>
                </c:pt>
                <c:pt idx="25550">
                  <c:v>31920</c:v>
                </c:pt>
                <c:pt idx="25551">
                  <c:v>111303</c:v>
                </c:pt>
                <c:pt idx="25552">
                  <c:v>108863</c:v>
                </c:pt>
                <c:pt idx="25553">
                  <c:v>30313</c:v>
                </c:pt>
                <c:pt idx="25554">
                  <c:v>32205</c:v>
                </c:pt>
                <c:pt idx="25555">
                  <c:v>46552</c:v>
                </c:pt>
                <c:pt idx="25556">
                  <c:v>29372</c:v>
                </c:pt>
                <c:pt idx="25557">
                  <c:v>65173</c:v>
                </c:pt>
                <c:pt idx="25558">
                  <c:v>25524</c:v>
                </c:pt>
                <c:pt idx="25559">
                  <c:v>31129</c:v>
                </c:pt>
                <c:pt idx="25560">
                  <c:v>192870</c:v>
                </c:pt>
                <c:pt idx="25561">
                  <c:v>51303</c:v>
                </c:pt>
                <c:pt idx="25562">
                  <c:v>26860</c:v>
                </c:pt>
                <c:pt idx="25563">
                  <c:v>53167</c:v>
                </c:pt>
                <c:pt idx="25564">
                  <c:v>66493</c:v>
                </c:pt>
                <c:pt idx="25565">
                  <c:v>51633</c:v>
                </c:pt>
                <c:pt idx="25566">
                  <c:v>40558</c:v>
                </c:pt>
                <c:pt idx="25567">
                  <c:v>38297</c:v>
                </c:pt>
                <c:pt idx="25568">
                  <c:v>161822</c:v>
                </c:pt>
                <c:pt idx="25569">
                  <c:v>62943</c:v>
                </c:pt>
                <c:pt idx="25570">
                  <c:v>22590</c:v>
                </c:pt>
                <c:pt idx="25571">
                  <c:v>61614</c:v>
                </c:pt>
                <c:pt idx="25572">
                  <c:v>28559</c:v>
                </c:pt>
                <c:pt idx="25573">
                  <c:v>74775</c:v>
                </c:pt>
                <c:pt idx="25574">
                  <c:v>145283</c:v>
                </c:pt>
                <c:pt idx="25575">
                  <c:v>78302</c:v>
                </c:pt>
                <c:pt idx="25576">
                  <c:v>176854</c:v>
                </c:pt>
                <c:pt idx="25577">
                  <c:v>52525</c:v>
                </c:pt>
                <c:pt idx="25578">
                  <c:v>36165</c:v>
                </c:pt>
                <c:pt idx="25579">
                  <c:v>84932</c:v>
                </c:pt>
                <c:pt idx="25580">
                  <c:v>41504</c:v>
                </c:pt>
                <c:pt idx="25581">
                  <c:v>29841</c:v>
                </c:pt>
                <c:pt idx="25582">
                  <c:v>52391</c:v>
                </c:pt>
                <c:pt idx="25583">
                  <c:v>42241</c:v>
                </c:pt>
                <c:pt idx="25584">
                  <c:v>45813</c:v>
                </c:pt>
                <c:pt idx="25585">
                  <c:v>45351</c:v>
                </c:pt>
                <c:pt idx="25586">
                  <c:v>25895</c:v>
                </c:pt>
                <c:pt idx="25587">
                  <c:v>32249</c:v>
                </c:pt>
                <c:pt idx="25588">
                  <c:v>59204</c:v>
                </c:pt>
                <c:pt idx="25589">
                  <c:v>103434</c:v>
                </c:pt>
                <c:pt idx="25590">
                  <c:v>45564</c:v>
                </c:pt>
                <c:pt idx="25591">
                  <c:v>76369</c:v>
                </c:pt>
                <c:pt idx="25592">
                  <c:v>44292</c:v>
                </c:pt>
                <c:pt idx="25593">
                  <c:v>225354</c:v>
                </c:pt>
                <c:pt idx="25594">
                  <c:v>43770</c:v>
                </c:pt>
                <c:pt idx="25595">
                  <c:v>167711</c:v>
                </c:pt>
                <c:pt idx="25596">
                  <c:v>41415</c:v>
                </c:pt>
                <c:pt idx="25597">
                  <c:v>33942</c:v>
                </c:pt>
                <c:pt idx="25598">
                  <c:v>74178</c:v>
                </c:pt>
                <c:pt idx="25599">
                  <c:v>57003</c:v>
                </c:pt>
                <c:pt idx="25600">
                  <c:v>23947</c:v>
                </c:pt>
                <c:pt idx="25601">
                  <c:v>119431</c:v>
                </c:pt>
                <c:pt idx="25602">
                  <c:v>90237</c:v>
                </c:pt>
                <c:pt idx="25603">
                  <c:v>45924</c:v>
                </c:pt>
                <c:pt idx="25604">
                  <c:v>82725</c:v>
                </c:pt>
                <c:pt idx="25605">
                  <c:v>87084</c:v>
                </c:pt>
                <c:pt idx="25606">
                  <c:v>66558</c:v>
                </c:pt>
                <c:pt idx="25607">
                  <c:v>34186</c:v>
                </c:pt>
                <c:pt idx="25608">
                  <c:v>42382</c:v>
                </c:pt>
                <c:pt idx="25609">
                  <c:v>39525</c:v>
                </c:pt>
                <c:pt idx="25610">
                  <c:v>64202</c:v>
                </c:pt>
                <c:pt idx="25611">
                  <c:v>41592</c:v>
                </c:pt>
                <c:pt idx="25612">
                  <c:v>113210</c:v>
                </c:pt>
                <c:pt idx="25613">
                  <c:v>34043</c:v>
                </c:pt>
                <c:pt idx="25614">
                  <c:v>83681</c:v>
                </c:pt>
                <c:pt idx="25615">
                  <c:v>66957</c:v>
                </c:pt>
                <c:pt idx="25616">
                  <c:v>33836</c:v>
                </c:pt>
                <c:pt idx="25617">
                  <c:v>23994</c:v>
                </c:pt>
                <c:pt idx="25618">
                  <c:v>49711</c:v>
                </c:pt>
                <c:pt idx="25619">
                  <c:v>49075</c:v>
                </c:pt>
                <c:pt idx="25620">
                  <c:v>44223</c:v>
                </c:pt>
                <c:pt idx="25621">
                  <c:v>33099</c:v>
                </c:pt>
                <c:pt idx="25622">
                  <c:v>89758</c:v>
                </c:pt>
                <c:pt idx="25623">
                  <c:v>178877</c:v>
                </c:pt>
                <c:pt idx="25624">
                  <c:v>43330</c:v>
                </c:pt>
                <c:pt idx="25625">
                  <c:v>31802</c:v>
                </c:pt>
                <c:pt idx="25626">
                  <c:v>26106</c:v>
                </c:pt>
                <c:pt idx="25627">
                  <c:v>35925</c:v>
                </c:pt>
                <c:pt idx="25628">
                  <c:v>35818</c:v>
                </c:pt>
                <c:pt idx="25629">
                  <c:v>48945</c:v>
                </c:pt>
                <c:pt idx="25630">
                  <c:v>72539</c:v>
                </c:pt>
                <c:pt idx="25631">
                  <c:v>26578</c:v>
                </c:pt>
                <c:pt idx="25632">
                  <c:v>25780</c:v>
                </c:pt>
                <c:pt idx="25633">
                  <c:v>96378</c:v>
                </c:pt>
                <c:pt idx="25634">
                  <c:v>26227</c:v>
                </c:pt>
                <c:pt idx="25635">
                  <c:v>33935</c:v>
                </c:pt>
                <c:pt idx="25636">
                  <c:v>45246</c:v>
                </c:pt>
                <c:pt idx="25637">
                  <c:v>133251</c:v>
                </c:pt>
                <c:pt idx="25638">
                  <c:v>53048</c:v>
                </c:pt>
                <c:pt idx="25639">
                  <c:v>35598</c:v>
                </c:pt>
                <c:pt idx="25640">
                  <c:v>30342</c:v>
                </c:pt>
                <c:pt idx="25641">
                  <c:v>38462</c:v>
                </c:pt>
                <c:pt idx="25642">
                  <c:v>43257</c:v>
                </c:pt>
                <c:pt idx="25643">
                  <c:v>41942</c:v>
                </c:pt>
                <c:pt idx="25644">
                  <c:v>24724</c:v>
                </c:pt>
                <c:pt idx="25645">
                  <c:v>52388</c:v>
                </c:pt>
                <c:pt idx="25646">
                  <c:v>37967</c:v>
                </c:pt>
                <c:pt idx="25647">
                  <c:v>151650</c:v>
                </c:pt>
                <c:pt idx="25648">
                  <c:v>72166</c:v>
                </c:pt>
                <c:pt idx="25649">
                  <c:v>42589</c:v>
                </c:pt>
                <c:pt idx="25650">
                  <c:v>80970</c:v>
                </c:pt>
                <c:pt idx="25651">
                  <c:v>25549</c:v>
                </c:pt>
                <c:pt idx="25652">
                  <c:v>55041</c:v>
                </c:pt>
                <c:pt idx="25653">
                  <c:v>40942</c:v>
                </c:pt>
                <c:pt idx="25654">
                  <c:v>24022</c:v>
                </c:pt>
                <c:pt idx="25655">
                  <c:v>38751</c:v>
                </c:pt>
                <c:pt idx="25656">
                  <c:v>43394</c:v>
                </c:pt>
                <c:pt idx="25657">
                  <c:v>29153</c:v>
                </c:pt>
                <c:pt idx="25658">
                  <c:v>35496</c:v>
                </c:pt>
                <c:pt idx="25659">
                  <c:v>55426</c:v>
                </c:pt>
                <c:pt idx="25660">
                  <c:v>141812</c:v>
                </c:pt>
                <c:pt idx="25661">
                  <c:v>65852</c:v>
                </c:pt>
                <c:pt idx="25662">
                  <c:v>37802</c:v>
                </c:pt>
                <c:pt idx="25663">
                  <c:v>53455</c:v>
                </c:pt>
                <c:pt idx="25664">
                  <c:v>21821</c:v>
                </c:pt>
                <c:pt idx="25665">
                  <c:v>71554</c:v>
                </c:pt>
                <c:pt idx="25666">
                  <c:v>30031</c:v>
                </c:pt>
                <c:pt idx="25667">
                  <c:v>25187</c:v>
                </c:pt>
                <c:pt idx="25668">
                  <c:v>39475</c:v>
                </c:pt>
                <c:pt idx="25669">
                  <c:v>37054</c:v>
                </c:pt>
                <c:pt idx="25670">
                  <c:v>39559</c:v>
                </c:pt>
                <c:pt idx="25671">
                  <c:v>103358</c:v>
                </c:pt>
                <c:pt idx="25672">
                  <c:v>33300</c:v>
                </c:pt>
                <c:pt idx="25673">
                  <c:v>36506</c:v>
                </c:pt>
                <c:pt idx="25674">
                  <c:v>31444</c:v>
                </c:pt>
                <c:pt idx="25675">
                  <c:v>94526</c:v>
                </c:pt>
                <c:pt idx="25676">
                  <c:v>36720</c:v>
                </c:pt>
                <c:pt idx="25677">
                  <c:v>38476</c:v>
                </c:pt>
                <c:pt idx="25678">
                  <c:v>38670</c:v>
                </c:pt>
                <c:pt idx="25679">
                  <c:v>45086</c:v>
                </c:pt>
                <c:pt idx="25680">
                  <c:v>33087</c:v>
                </c:pt>
                <c:pt idx="25681">
                  <c:v>61080</c:v>
                </c:pt>
                <c:pt idx="25682">
                  <c:v>41390</c:v>
                </c:pt>
                <c:pt idx="25683">
                  <c:v>46391</c:v>
                </c:pt>
                <c:pt idx="25684">
                  <c:v>164939</c:v>
                </c:pt>
                <c:pt idx="25685">
                  <c:v>72312</c:v>
                </c:pt>
                <c:pt idx="25686">
                  <c:v>87586</c:v>
                </c:pt>
                <c:pt idx="25687">
                  <c:v>87542</c:v>
                </c:pt>
                <c:pt idx="25688">
                  <c:v>37006</c:v>
                </c:pt>
                <c:pt idx="25689">
                  <c:v>49177</c:v>
                </c:pt>
                <c:pt idx="25690">
                  <c:v>46307</c:v>
                </c:pt>
                <c:pt idx="25691">
                  <c:v>56828</c:v>
                </c:pt>
                <c:pt idx="25692">
                  <c:v>27642</c:v>
                </c:pt>
                <c:pt idx="25693">
                  <c:v>27887</c:v>
                </c:pt>
                <c:pt idx="25694">
                  <c:v>36580</c:v>
                </c:pt>
                <c:pt idx="25695">
                  <c:v>76787</c:v>
                </c:pt>
                <c:pt idx="25696">
                  <c:v>38938</c:v>
                </c:pt>
                <c:pt idx="25697">
                  <c:v>48437</c:v>
                </c:pt>
                <c:pt idx="25698">
                  <c:v>50360</c:v>
                </c:pt>
                <c:pt idx="25699">
                  <c:v>57170</c:v>
                </c:pt>
                <c:pt idx="25700">
                  <c:v>28387</c:v>
                </c:pt>
                <c:pt idx="25701">
                  <c:v>81570</c:v>
                </c:pt>
                <c:pt idx="25702">
                  <c:v>191330</c:v>
                </c:pt>
                <c:pt idx="25703">
                  <c:v>22827</c:v>
                </c:pt>
                <c:pt idx="25704">
                  <c:v>26677</c:v>
                </c:pt>
                <c:pt idx="25705">
                  <c:v>131077</c:v>
                </c:pt>
                <c:pt idx="25706">
                  <c:v>47286</c:v>
                </c:pt>
                <c:pt idx="25707">
                  <c:v>27173</c:v>
                </c:pt>
                <c:pt idx="25708">
                  <c:v>67282</c:v>
                </c:pt>
                <c:pt idx="25709">
                  <c:v>62815</c:v>
                </c:pt>
                <c:pt idx="25710">
                  <c:v>35540</c:v>
                </c:pt>
                <c:pt idx="25711">
                  <c:v>35454</c:v>
                </c:pt>
                <c:pt idx="25712">
                  <c:v>26122</c:v>
                </c:pt>
                <c:pt idx="25713">
                  <c:v>34866</c:v>
                </c:pt>
                <c:pt idx="25714">
                  <c:v>26733</c:v>
                </c:pt>
                <c:pt idx="25715">
                  <c:v>21846</c:v>
                </c:pt>
                <c:pt idx="25716">
                  <c:v>172985</c:v>
                </c:pt>
                <c:pt idx="25717">
                  <c:v>27276</c:v>
                </c:pt>
                <c:pt idx="25718">
                  <c:v>42213</c:v>
                </c:pt>
                <c:pt idx="25719">
                  <c:v>51347</c:v>
                </c:pt>
                <c:pt idx="25720">
                  <c:v>91653</c:v>
                </c:pt>
                <c:pt idx="25721">
                  <c:v>47264</c:v>
                </c:pt>
                <c:pt idx="25722">
                  <c:v>29212</c:v>
                </c:pt>
                <c:pt idx="25723">
                  <c:v>79626</c:v>
                </c:pt>
                <c:pt idx="25724">
                  <c:v>46288</c:v>
                </c:pt>
                <c:pt idx="25725">
                  <c:v>23320</c:v>
                </c:pt>
                <c:pt idx="25726">
                  <c:v>48352</c:v>
                </c:pt>
                <c:pt idx="25727">
                  <c:v>116687</c:v>
                </c:pt>
                <c:pt idx="25728">
                  <c:v>30015</c:v>
                </c:pt>
                <c:pt idx="25729">
                  <c:v>89103</c:v>
                </c:pt>
                <c:pt idx="25730">
                  <c:v>41945</c:v>
                </c:pt>
                <c:pt idx="25731">
                  <c:v>28808</c:v>
                </c:pt>
                <c:pt idx="25732">
                  <c:v>77044</c:v>
                </c:pt>
                <c:pt idx="25733">
                  <c:v>35677</c:v>
                </c:pt>
                <c:pt idx="25734">
                  <c:v>28490</c:v>
                </c:pt>
                <c:pt idx="25735">
                  <c:v>21756</c:v>
                </c:pt>
                <c:pt idx="25736">
                  <c:v>42879</c:v>
                </c:pt>
                <c:pt idx="25737">
                  <c:v>32312</c:v>
                </c:pt>
                <c:pt idx="25738">
                  <c:v>107939</c:v>
                </c:pt>
                <c:pt idx="25739">
                  <c:v>28221</c:v>
                </c:pt>
                <c:pt idx="25740">
                  <c:v>34157</c:v>
                </c:pt>
                <c:pt idx="25741">
                  <c:v>39952</c:v>
                </c:pt>
                <c:pt idx="25742">
                  <c:v>28297</c:v>
                </c:pt>
                <c:pt idx="25743">
                  <c:v>317728</c:v>
                </c:pt>
                <c:pt idx="25744">
                  <c:v>40982</c:v>
                </c:pt>
                <c:pt idx="25745">
                  <c:v>53463</c:v>
                </c:pt>
                <c:pt idx="25746">
                  <c:v>72908</c:v>
                </c:pt>
                <c:pt idx="25747">
                  <c:v>27024</c:v>
                </c:pt>
                <c:pt idx="25748">
                  <c:v>73031</c:v>
                </c:pt>
                <c:pt idx="25749">
                  <c:v>33437</c:v>
                </c:pt>
                <c:pt idx="25750">
                  <c:v>100530</c:v>
                </c:pt>
                <c:pt idx="25751">
                  <c:v>39686</c:v>
                </c:pt>
                <c:pt idx="25752">
                  <c:v>318091</c:v>
                </c:pt>
                <c:pt idx="25753">
                  <c:v>36696</c:v>
                </c:pt>
                <c:pt idx="25754">
                  <c:v>36911</c:v>
                </c:pt>
                <c:pt idx="25755">
                  <c:v>94725</c:v>
                </c:pt>
                <c:pt idx="25756">
                  <c:v>29243</c:v>
                </c:pt>
                <c:pt idx="25757">
                  <c:v>60620</c:v>
                </c:pt>
                <c:pt idx="25758">
                  <c:v>29459</c:v>
                </c:pt>
                <c:pt idx="25759">
                  <c:v>51674</c:v>
                </c:pt>
                <c:pt idx="25760">
                  <c:v>245595</c:v>
                </c:pt>
                <c:pt idx="25761">
                  <c:v>44715</c:v>
                </c:pt>
                <c:pt idx="25762">
                  <c:v>41608</c:v>
                </c:pt>
                <c:pt idx="25763">
                  <c:v>55842</c:v>
                </c:pt>
                <c:pt idx="25764">
                  <c:v>47997</c:v>
                </c:pt>
                <c:pt idx="25765">
                  <c:v>170671</c:v>
                </c:pt>
                <c:pt idx="25766">
                  <c:v>141956</c:v>
                </c:pt>
                <c:pt idx="25767">
                  <c:v>38326</c:v>
                </c:pt>
                <c:pt idx="25768">
                  <c:v>44410</c:v>
                </c:pt>
                <c:pt idx="25769">
                  <c:v>54514</c:v>
                </c:pt>
                <c:pt idx="25770">
                  <c:v>44039</c:v>
                </c:pt>
                <c:pt idx="25771">
                  <c:v>96194</c:v>
                </c:pt>
                <c:pt idx="25772">
                  <c:v>24219</c:v>
                </c:pt>
                <c:pt idx="25773">
                  <c:v>25015</c:v>
                </c:pt>
                <c:pt idx="25774">
                  <c:v>93634</c:v>
                </c:pt>
                <c:pt idx="25775">
                  <c:v>86416</c:v>
                </c:pt>
                <c:pt idx="25776">
                  <c:v>45093</c:v>
                </c:pt>
                <c:pt idx="25777">
                  <c:v>42249</c:v>
                </c:pt>
                <c:pt idx="25778">
                  <c:v>21464</c:v>
                </c:pt>
                <c:pt idx="25779">
                  <c:v>35869</c:v>
                </c:pt>
                <c:pt idx="25780">
                  <c:v>42838</c:v>
                </c:pt>
                <c:pt idx="25781">
                  <c:v>306681</c:v>
                </c:pt>
                <c:pt idx="25782">
                  <c:v>31284</c:v>
                </c:pt>
                <c:pt idx="25783">
                  <c:v>112449</c:v>
                </c:pt>
                <c:pt idx="25784">
                  <c:v>34885</c:v>
                </c:pt>
                <c:pt idx="25785">
                  <c:v>33250</c:v>
                </c:pt>
                <c:pt idx="25786">
                  <c:v>103853</c:v>
                </c:pt>
                <c:pt idx="25787">
                  <c:v>27159</c:v>
                </c:pt>
                <c:pt idx="25788">
                  <c:v>32660</c:v>
                </c:pt>
                <c:pt idx="25789">
                  <c:v>153494</c:v>
                </c:pt>
                <c:pt idx="25790">
                  <c:v>64545</c:v>
                </c:pt>
                <c:pt idx="25791">
                  <c:v>39251</c:v>
                </c:pt>
                <c:pt idx="25792">
                  <c:v>49169</c:v>
                </c:pt>
                <c:pt idx="25793">
                  <c:v>149107</c:v>
                </c:pt>
                <c:pt idx="25794">
                  <c:v>58153</c:v>
                </c:pt>
                <c:pt idx="25795">
                  <c:v>43330</c:v>
                </c:pt>
                <c:pt idx="25796">
                  <c:v>76634</c:v>
                </c:pt>
                <c:pt idx="25797">
                  <c:v>35917</c:v>
                </c:pt>
                <c:pt idx="25798">
                  <c:v>59387</c:v>
                </c:pt>
                <c:pt idx="25799">
                  <c:v>33601</c:v>
                </c:pt>
                <c:pt idx="25800">
                  <c:v>80208</c:v>
                </c:pt>
                <c:pt idx="25801">
                  <c:v>32004</c:v>
                </c:pt>
                <c:pt idx="25802">
                  <c:v>169996</c:v>
                </c:pt>
                <c:pt idx="25803">
                  <c:v>65296</c:v>
                </c:pt>
                <c:pt idx="25804">
                  <c:v>97681</c:v>
                </c:pt>
                <c:pt idx="25805">
                  <c:v>91510</c:v>
                </c:pt>
                <c:pt idx="25806">
                  <c:v>58471</c:v>
                </c:pt>
                <c:pt idx="25807">
                  <c:v>70682</c:v>
                </c:pt>
                <c:pt idx="25808">
                  <c:v>90702</c:v>
                </c:pt>
                <c:pt idx="25809">
                  <c:v>36351</c:v>
                </c:pt>
                <c:pt idx="25810">
                  <c:v>94171</c:v>
                </c:pt>
                <c:pt idx="25811">
                  <c:v>96609</c:v>
                </c:pt>
                <c:pt idx="25812">
                  <c:v>224709</c:v>
                </c:pt>
                <c:pt idx="25813">
                  <c:v>136120</c:v>
                </c:pt>
                <c:pt idx="25814">
                  <c:v>96990</c:v>
                </c:pt>
                <c:pt idx="25815">
                  <c:v>53805</c:v>
                </c:pt>
                <c:pt idx="25816">
                  <c:v>31557</c:v>
                </c:pt>
                <c:pt idx="25817">
                  <c:v>54431</c:v>
                </c:pt>
                <c:pt idx="25818">
                  <c:v>28219</c:v>
                </c:pt>
                <c:pt idx="25819">
                  <c:v>35534</c:v>
                </c:pt>
                <c:pt idx="25820">
                  <c:v>57491</c:v>
                </c:pt>
                <c:pt idx="25821">
                  <c:v>47340</c:v>
                </c:pt>
                <c:pt idx="25822">
                  <c:v>50429</c:v>
                </c:pt>
                <c:pt idx="25823">
                  <c:v>79645</c:v>
                </c:pt>
                <c:pt idx="25824">
                  <c:v>44794</c:v>
                </c:pt>
                <c:pt idx="25825">
                  <c:v>25113</c:v>
                </c:pt>
                <c:pt idx="25826">
                  <c:v>27027</c:v>
                </c:pt>
                <c:pt idx="25827">
                  <c:v>32197</c:v>
                </c:pt>
                <c:pt idx="25828">
                  <c:v>34773</c:v>
                </c:pt>
                <c:pt idx="25829">
                  <c:v>75892</c:v>
                </c:pt>
                <c:pt idx="25830">
                  <c:v>31031</c:v>
                </c:pt>
                <c:pt idx="25831">
                  <c:v>27534</c:v>
                </c:pt>
                <c:pt idx="25832">
                  <c:v>27844</c:v>
                </c:pt>
                <c:pt idx="25833">
                  <c:v>51120</c:v>
                </c:pt>
                <c:pt idx="25834">
                  <c:v>98095</c:v>
                </c:pt>
                <c:pt idx="25835">
                  <c:v>147425</c:v>
                </c:pt>
                <c:pt idx="25836">
                  <c:v>33174</c:v>
                </c:pt>
                <c:pt idx="25837">
                  <c:v>23657</c:v>
                </c:pt>
                <c:pt idx="25838">
                  <c:v>45398</c:v>
                </c:pt>
                <c:pt idx="25839">
                  <c:v>41739</c:v>
                </c:pt>
                <c:pt idx="25840">
                  <c:v>35422</c:v>
                </c:pt>
                <c:pt idx="25841">
                  <c:v>28241</c:v>
                </c:pt>
                <c:pt idx="25842">
                  <c:v>23698</c:v>
                </c:pt>
                <c:pt idx="25843">
                  <c:v>24655</c:v>
                </c:pt>
                <c:pt idx="25844">
                  <c:v>19757</c:v>
                </c:pt>
                <c:pt idx="25845">
                  <c:v>81225</c:v>
                </c:pt>
                <c:pt idx="25846">
                  <c:v>79603</c:v>
                </c:pt>
                <c:pt idx="25847">
                  <c:v>218399</c:v>
                </c:pt>
                <c:pt idx="25848">
                  <c:v>77155</c:v>
                </c:pt>
                <c:pt idx="25849">
                  <c:v>31368</c:v>
                </c:pt>
                <c:pt idx="25850">
                  <c:v>97469</c:v>
                </c:pt>
                <c:pt idx="25851">
                  <c:v>38613</c:v>
                </c:pt>
                <c:pt idx="25852">
                  <c:v>25910</c:v>
                </c:pt>
                <c:pt idx="25853">
                  <c:v>88365</c:v>
                </c:pt>
                <c:pt idx="25854">
                  <c:v>23512</c:v>
                </c:pt>
                <c:pt idx="25855">
                  <c:v>20740</c:v>
                </c:pt>
                <c:pt idx="25856">
                  <c:v>90459</c:v>
                </c:pt>
                <c:pt idx="25857">
                  <c:v>138256</c:v>
                </c:pt>
                <c:pt idx="25858">
                  <c:v>100863</c:v>
                </c:pt>
                <c:pt idx="25859">
                  <c:v>36521</c:v>
                </c:pt>
                <c:pt idx="25860">
                  <c:v>126193</c:v>
                </c:pt>
                <c:pt idx="25861">
                  <c:v>48488</c:v>
                </c:pt>
                <c:pt idx="25862">
                  <c:v>36949</c:v>
                </c:pt>
                <c:pt idx="25863">
                  <c:v>31123</c:v>
                </c:pt>
                <c:pt idx="25864">
                  <c:v>29484</c:v>
                </c:pt>
                <c:pt idx="25865">
                  <c:v>41228</c:v>
                </c:pt>
                <c:pt idx="25866">
                  <c:v>63336</c:v>
                </c:pt>
                <c:pt idx="25867">
                  <c:v>99201</c:v>
                </c:pt>
                <c:pt idx="25868">
                  <c:v>26529</c:v>
                </c:pt>
                <c:pt idx="25869">
                  <c:v>24651</c:v>
                </c:pt>
                <c:pt idx="25870">
                  <c:v>49497</c:v>
                </c:pt>
                <c:pt idx="25871">
                  <c:v>51338</c:v>
                </c:pt>
                <c:pt idx="25872">
                  <c:v>45182</c:v>
                </c:pt>
                <c:pt idx="25873">
                  <c:v>31272</c:v>
                </c:pt>
                <c:pt idx="25874">
                  <c:v>35830</c:v>
                </c:pt>
                <c:pt idx="25875">
                  <c:v>156267</c:v>
                </c:pt>
                <c:pt idx="25876">
                  <c:v>73365</c:v>
                </c:pt>
                <c:pt idx="25877">
                  <c:v>33497</c:v>
                </c:pt>
                <c:pt idx="25878">
                  <c:v>69598</c:v>
                </c:pt>
                <c:pt idx="25879">
                  <c:v>61613</c:v>
                </c:pt>
                <c:pt idx="25880">
                  <c:v>23627</c:v>
                </c:pt>
                <c:pt idx="25881">
                  <c:v>55618</c:v>
                </c:pt>
                <c:pt idx="25882">
                  <c:v>72440</c:v>
                </c:pt>
                <c:pt idx="25883">
                  <c:v>247124</c:v>
                </c:pt>
                <c:pt idx="25884">
                  <c:v>35748</c:v>
                </c:pt>
                <c:pt idx="25885">
                  <c:v>109194</c:v>
                </c:pt>
                <c:pt idx="25886">
                  <c:v>61879</c:v>
                </c:pt>
                <c:pt idx="25887">
                  <c:v>29814</c:v>
                </c:pt>
                <c:pt idx="25888">
                  <c:v>29309</c:v>
                </c:pt>
                <c:pt idx="25889">
                  <c:v>41257</c:v>
                </c:pt>
                <c:pt idx="25890">
                  <c:v>37554</c:v>
                </c:pt>
                <c:pt idx="25891">
                  <c:v>66883</c:v>
                </c:pt>
                <c:pt idx="25892">
                  <c:v>226880</c:v>
                </c:pt>
                <c:pt idx="25893">
                  <c:v>32734</c:v>
                </c:pt>
                <c:pt idx="25894">
                  <c:v>38167</c:v>
                </c:pt>
                <c:pt idx="25895">
                  <c:v>22226</c:v>
                </c:pt>
                <c:pt idx="25896">
                  <c:v>32325</c:v>
                </c:pt>
                <c:pt idx="25897">
                  <c:v>36569</c:v>
                </c:pt>
                <c:pt idx="25898">
                  <c:v>25932</c:v>
                </c:pt>
                <c:pt idx="25899">
                  <c:v>46796</c:v>
                </c:pt>
                <c:pt idx="25900">
                  <c:v>82877</c:v>
                </c:pt>
                <c:pt idx="25901">
                  <c:v>30375</c:v>
                </c:pt>
                <c:pt idx="25902">
                  <c:v>84656</c:v>
                </c:pt>
                <c:pt idx="25903">
                  <c:v>116019</c:v>
                </c:pt>
                <c:pt idx="25904">
                  <c:v>35271</c:v>
                </c:pt>
                <c:pt idx="25905">
                  <c:v>56014</c:v>
                </c:pt>
                <c:pt idx="25906">
                  <c:v>150672</c:v>
                </c:pt>
                <c:pt idx="25907">
                  <c:v>32106</c:v>
                </c:pt>
                <c:pt idx="25908">
                  <c:v>73455</c:v>
                </c:pt>
                <c:pt idx="25909">
                  <c:v>45224</c:v>
                </c:pt>
                <c:pt idx="25910">
                  <c:v>28225</c:v>
                </c:pt>
                <c:pt idx="25911">
                  <c:v>26642</c:v>
                </c:pt>
                <c:pt idx="25912">
                  <c:v>29062</c:v>
                </c:pt>
                <c:pt idx="25913">
                  <c:v>29568</c:v>
                </c:pt>
                <c:pt idx="25914">
                  <c:v>62215</c:v>
                </c:pt>
                <c:pt idx="25915">
                  <c:v>139640</c:v>
                </c:pt>
                <c:pt idx="25916">
                  <c:v>102911</c:v>
                </c:pt>
                <c:pt idx="25917">
                  <c:v>56687</c:v>
                </c:pt>
                <c:pt idx="25918">
                  <c:v>41874</c:v>
                </c:pt>
                <c:pt idx="25919">
                  <c:v>50924</c:v>
                </c:pt>
                <c:pt idx="25920">
                  <c:v>34256</c:v>
                </c:pt>
                <c:pt idx="25921">
                  <c:v>36681</c:v>
                </c:pt>
                <c:pt idx="25922">
                  <c:v>59767</c:v>
                </c:pt>
                <c:pt idx="25923">
                  <c:v>27407</c:v>
                </c:pt>
                <c:pt idx="25924">
                  <c:v>100948</c:v>
                </c:pt>
                <c:pt idx="25925">
                  <c:v>22683</c:v>
                </c:pt>
                <c:pt idx="25926">
                  <c:v>36121</c:v>
                </c:pt>
                <c:pt idx="25927">
                  <c:v>213115</c:v>
                </c:pt>
                <c:pt idx="25928">
                  <c:v>64392</c:v>
                </c:pt>
                <c:pt idx="25929">
                  <c:v>79052</c:v>
                </c:pt>
                <c:pt idx="25930">
                  <c:v>47618</c:v>
                </c:pt>
                <c:pt idx="25931">
                  <c:v>32456</c:v>
                </c:pt>
                <c:pt idx="25932">
                  <c:v>149745</c:v>
                </c:pt>
                <c:pt idx="25933">
                  <c:v>39074</c:v>
                </c:pt>
                <c:pt idx="25934">
                  <c:v>68340</c:v>
                </c:pt>
                <c:pt idx="25935">
                  <c:v>138554</c:v>
                </c:pt>
                <c:pt idx="25936">
                  <c:v>70643</c:v>
                </c:pt>
                <c:pt idx="25937">
                  <c:v>45539</c:v>
                </c:pt>
                <c:pt idx="25938">
                  <c:v>22284</c:v>
                </c:pt>
                <c:pt idx="25939">
                  <c:v>46726</c:v>
                </c:pt>
                <c:pt idx="25940">
                  <c:v>127677</c:v>
                </c:pt>
                <c:pt idx="25941">
                  <c:v>54376</c:v>
                </c:pt>
                <c:pt idx="25942">
                  <c:v>196900</c:v>
                </c:pt>
                <c:pt idx="25943">
                  <c:v>26929</c:v>
                </c:pt>
                <c:pt idx="25944">
                  <c:v>29986</c:v>
                </c:pt>
                <c:pt idx="25945">
                  <c:v>36906</c:v>
                </c:pt>
                <c:pt idx="25946">
                  <c:v>24567</c:v>
                </c:pt>
                <c:pt idx="25947">
                  <c:v>34553</c:v>
                </c:pt>
                <c:pt idx="25948">
                  <c:v>45956</c:v>
                </c:pt>
                <c:pt idx="25949">
                  <c:v>69073</c:v>
                </c:pt>
                <c:pt idx="25950">
                  <c:v>49667</c:v>
                </c:pt>
                <c:pt idx="25951">
                  <c:v>31486</c:v>
                </c:pt>
                <c:pt idx="25952">
                  <c:v>39991</c:v>
                </c:pt>
                <c:pt idx="25953">
                  <c:v>33032</c:v>
                </c:pt>
                <c:pt idx="25954">
                  <c:v>33316</c:v>
                </c:pt>
                <c:pt idx="25955">
                  <c:v>37813</c:v>
                </c:pt>
                <c:pt idx="25956">
                  <c:v>146708</c:v>
                </c:pt>
                <c:pt idx="25957">
                  <c:v>26980</c:v>
                </c:pt>
                <c:pt idx="25958">
                  <c:v>99093</c:v>
                </c:pt>
                <c:pt idx="25959">
                  <c:v>80893</c:v>
                </c:pt>
                <c:pt idx="25960">
                  <c:v>77656</c:v>
                </c:pt>
                <c:pt idx="25961">
                  <c:v>43564</c:v>
                </c:pt>
                <c:pt idx="25962">
                  <c:v>46973</c:v>
                </c:pt>
                <c:pt idx="25963">
                  <c:v>86976</c:v>
                </c:pt>
                <c:pt idx="25964">
                  <c:v>25042</c:v>
                </c:pt>
                <c:pt idx="25965">
                  <c:v>36537</c:v>
                </c:pt>
                <c:pt idx="25966">
                  <c:v>27307</c:v>
                </c:pt>
                <c:pt idx="25967">
                  <c:v>31270</c:v>
                </c:pt>
                <c:pt idx="25968">
                  <c:v>50105</c:v>
                </c:pt>
                <c:pt idx="25969">
                  <c:v>54476</c:v>
                </c:pt>
                <c:pt idx="25970">
                  <c:v>37727</c:v>
                </c:pt>
                <c:pt idx="25971">
                  <c:v>82368</c:v>
                </c:pt>
                <c:pt idx="25972">
                  <c:v>45810</c:v>
                </c:pt>
                <c:pt idx="25973">
                  <c:v>43279</c:v>
                </c:pt>
                <c:pt idx="25974">
                  <c:v>87621</c:v>
                </c:pt>
                <c:pt idx="25975">
                  <c:v>30561</c:v>
                </c:pt>
                <c:pt idx="25976">
                  <c:v>30909</c:v>
                </c:pt>
                <c:pt idx="25977">
                  <c:v>20898</c:v>
                </c:pt>
                <c:pt idx="25978">
                  <c:v>47425</c:v>
                </c:pt>
                <c:pt idx="25979">
                  <c:v>26583</c:v>
                </c:pt>
                <c:pt idx="25980">
                  <c:v>31356</c:v>
                </c:pt>
                <c:pt idx="25981">
                  <c:v>38654</c:v>
                </c:pt>
                <c:pt idx="25982">
                  <c:v>25190</c:v>
                </c:pt>
                <c:pt idx="25983">
                  <c:v>42595</c:v>
                </c:pt>
                <c:pt idx="25984">
                  <c:v>69163</c:v>
                </c:pt>
                <c:pt idx="25985">
                  <c:v>30660</c:v>
                </c:pt>
                <c:pt idx="25986">
                  <c:v>35703</c:v>
                </c:pt>
                <c:pt idx="25987">
                  <c:v>39963</c:v>
                </c:pt>
                <c:pt idx="25988">
                  <c:v>42697</c:v>
                </c:pt>
                <c:pt idx="25989">
                  <c:v>48032</c:v>
                </c:pt>
                <c:pt idx="25990">
                  <c:v>135397</c:v>
                </c:pt>
                <c:pt idx="25991">
                  <c:v>72772</c:v>
                </c:pt>
                <c:pt idx="25992">
                  <c:v>58021</c:v>
                </c:pt>
                <c:pt idx="25993">
                  <c:v>81544</c:v>
                </c:pt>
                <c:pt idx="25994">
                  <c:v>53728</c:v>
                </c:pt>
                <c:pt idx="25995">
                  <c:v>41212</c:v>
                </c:pt>
                <c:pt idx="25996">
                  <c:v>44895</c:v>
                </c:pt>
                <c:pt idx="25997">
                  <c:v>34482</c:v>
                </c:pt>
                <c:pt idx="25998">
                  <c:v>21420</c:v>
                </c:pt>
                <c:pt idx="25999">
                  <c:v>128532</c:v>
                </c:pt>
                <c:pt idx="26000">
                  <c:v>89082</c:v>
                </c:pt>
                <c:pt idx="26001">
                  <c:v>44353</c:v>
                </c:pt>
                <c:pt idx="26002">
                  <c:v>39114</c:v>
                </c:pt>
                <c:pt idx="26003">
                  <c:v>77645</c:v>
                </c:pt>
                <c:pt idx="26004">
                  <c:v>107861</c:v>
                </c:pt>
                <c:pt idx="26005">
                  <c:v>24574</c:v>
                </c:pt>
                <c:pt idx="26006">
                  <c:v>47318</c:v>
                </c:pt>
                <c:pt idx="26007">
                  <c:v>48076</c:v>
                </c:pt>
                <c:pt idx="26008">
                  <c:v>170995</c:v>
                </c:pt>
                <c:pt idx="26009">
                  <c:v>49508</c:v>
                </c:pt>
                <c:pt idx="26010">
                  <c:v>58778</c:v>
                </c:pt>
                <c:pt idx="26011">
                  <c:v>124920</c:v>
                </c:pt>
                <c:pt idx="26012">
                  <c:v>66296</c:v>
                </c:pt>
                <c:pt idx="26013">
                  <c:v>44472</c:v>
                </c:pt>
                <c:pt idx="26014">
                  <c:v>23705</c:v>
                </c:pt>
                <c:pt idx="26015">
                  <c:v>49302</c:v>
                </c:pt>
                <c:pt idx="26016">
                  <c:v>40300</c:v>
                </c:pt>
                <c:pt idx="26017">
                  <c:v>32442</c:v>
                </c:pt>
                <c:pt idx="26018">
                  <c:v>24507</c:v>
                </c:pt>
                <c:pt idx="26019">
                  <c:v>30976</c:v>
                </c:pt>
                <c:pt idx="26020">
                  <c:v>37671</c:v>
                </c:pt>
                <c:pt idx="26021">
                  <c:v>39816</c:v>
                </c:pt>
                <c:pt idx="26022">
                  <c:v>188551</c:v>
                </c:pt>
                <c:pt idx="26023">
                  <c:v>38680</c:v>
                </c:pt>
                <c:pt idx="26024">
                  <c:v>26743</c:v>
                </c:pt>
                <c:pt idx="26025">
                  <c:v>91375</c:v>
                </c:pt>
                <c:pt idx="26026">
                  <c:v>31459</c:v>
                </c:pt>
                <c:pt idx="26027">
                  <c:v>33190</c:v>
                </c:pt>
                <c:pt idx="26028">
                  <c:v>95789</c:v>
                </c:pt>
                <c:pt idx="26029">
                  <c:v>51648</c:v>
                </c:pt>
                <c:pt idx="26030">
                  <c:v>42015</c:v>
                </c:pt>
                <c:pt idx="26031">
                  <c:v>45152</c:v>
                </c:pt>
                <c:pt idx="26032">
                  <c:v>31787</c:v>
                </c:pt>
                <c:pt idx="26033">
                  <c:v>43120</c:v>
                </c:pt>
                <c:pt idx="26034">
                  <c:v>58472</c:v>
                </c:pt>
                <c:pt idx="26035">
                  <c:v>34860</c:v>
                </c:pt>
                <c:pt idx="26036">
                  <c:v>237320</c:v>
                </c:pt>
                <c:pt idx="26037">
                  <c:v>32239</c:v>
                </c:pt>
                <c:pt idx="26038">
                  <c:v>44457</c:v>
                </c:pt>
                <c:pt idx="26039">
                  <c:v>51194</c:v>
                </c:pt>
                <c:pt idx="26040">
                  <c:v>38877</c:v>
                </c:pt>
                <c:pt idx="26041">
                  <c:v>36950</c:v>
                </c:pt>
                <c:pt idx="26042">
                  <c:v>26698</c:v>
                </c:pt>
                <c:pt idx="26043">
                  <c:v>31202</c:v>
                </c:pt>
                <c:pt idx="26044">
                  <c:v>80483</c:v>
                </c:pt>
                <c:pt idx="26045">
                  <c:v>32737</c:v>
                </c:pt>
                <c:pt idx="26046">
                  <c:v>58756</c:v>
                </c:pt>
                <c:pt idx="26047">
                  <c:v>43943</c:v>
                </c:pt>
                <c:pt idx="26048">
                  <c:v>38805</c:v>
                </c:pt>
                <c:pt idx="26049">
                  <c:v>141820</c:v>
                </c:pt>
                <c:pt idx="26050">
                  <c:v>37951</c:v>
                </c:pt>
                <c:pt idx="26051">
                  <c:v>23495</c:v>
                </c:pt>
                <c:pt idx="26052">
                  <c:v>73851</c:v>
                </c:pt>
                <c:pt idx="26053">
                  <c:v>28453</c:v>
                </c:pt>
                <c:pt idx="26054">
                  <c:v>25019</c:v>
                </c:pt>
                <c:pt idx="26055">
                  <c:v>147321</c:v>
                </c:pt>
                <c:pt idx="26056">
                  <c:v>92733</c:v>
                </c:pt>
                <c:pt idx="26057">
                  <c:v>22001</c:v>
                </c:pt>
                <c:pt idx="26058">
                  <c:v>27997</c:v>
                </c:pt>
                <c:pt idx="26059">
                  <c:v>20439</c:v>
                </c:pt>
                <c:pt idx="26060">
                  <c:v>24149</c:v>
                </c:pt>
                <c:pt idx="26061">
                  <c:v>46919</c:v>
                </c:pt>
                <c:pt idx="26062">
                  <c:v>28854</c:v>
                </c:pt>
                <c:pt idx="26063">
                  <c:v>64743</c:v>
                </c:pt>
                <c:pt idx="26064">
                  <c:v>32455</c:v>
                </c:pt>
                <c:pt idx="26065">
                  <c:v>51388</c:v>
                </c:pt>
                <c:pt idx="26066">
                  <c:v>102232</c:v>
                </c:pt>
                <c:pt idx="26067">
                  <c:v>25998</c:v>
                </c:pt>
                <c:pt idx="26068">
                  <c:v>26317</c:v>
                </c:pt>
                <c:pt idx="26069">
                  <c:v>34379</c:v>
                </c:pt>
                <c:pt idx="26070">
                  <c:v>35454</c:v>
                </c:pt>
                <c:pt idx="26071">
                  <c:v>33155</c:v>
                </c:pt>
                <c:pt idx="26072">
                  <c:v>85122</c:v>
                </c:pt>
                <c:pt idx="26073">
                  <c:v>114942</c:v>
                </c:pt>
                <c:pt idx="26074">
                  <c:v>27579</c:v>
                </c:pt>
                <c:pt idx="26075">
                  <c:v>24981</c:v>
                </c:pt>
                <c:pt idx="26076">
                  <c:v>225098</c:v>
                </c:pt>
                <c:pt idx="26077">
                  <c:v>23587</c:v>
                </c:pt>
                <c:pt idx="26078">
                  <c:v>108322</c:v>
                </c:pt>
                <c:pt idx="26079">
                  <c:v>24706</c:v>
                </c:pt>
                <c:pt idx="26080">
                  <c:v>33038</c:v>
                </c:pt>
                <c:pt idx="26081">
                  <c:v>29545</c:v>
                </c:pt>
                <c:pt idx="26082">
                  <c:v>284263</c:v>
                </c:pt>
                <c:pt idx="26083">
                  <c:v>43684</c:v>
                </c:pt>
                <c:pt idx="26084">
                  <c:v>33446</c:v>
                </c:pt>
                <c:pt idx="26085">
                  <c:v>82453</c:v>
                </c:pt>
                <c:pt idx="26086">
                  <c:v>45459</c:v>
                </c:pt>
                <c:pt idx="26087">
                  <c:v>46185</c:v>
                </c:pt>
                <c:pt idx="26088">
                  <c:v>34247</c:v>
                </c:pt>
                <c:pt idx="26089">
                  <c:v>40906</c:v>
                </c:pt>
                <c:pt idx="26090">
                  <c:v>190108</c:v>
                </c:pt>
                <c:pt idx="26091">
                  <c:v>31128</c:v>
                </c:pt>
                <c:pt idx="26092">
                  <c:v>51548</c:v>
                </c:pt>
                <c:pt idx="26093">
                  <c:v>31904</c:v>
                </c:pt>
                <c:pt idx="26094">
                  <c:v>52665</c:v>
                </c:pt>
                <c:pt idx="26095">
                  <c:v>44036</c:v>
                </c:pt>
                <c:pt idx="26096">
                  <c:v>40967</c:v>
                </c:pt>
                <c:pt idx="26097">
                  <c:v>290911</c:v>
                </c:pt>
                <c:pt idx="26098">
                  <c:v>56994</c:v>
                </c:pt>
                <c:pt idx="26099">
                  <c:v>42344</c:v>
                </c:pt>
                <c:pt idx="26100">
                  <c:v>43596</c:v>
                </c:pt>
                <c:pt idx="26101">
                  <c:v>50789</c:v>
                </c:pt>
                <c:pt idx="26102">
                  <c:v>102504</c:v>
                </c:pt>
                <c:pt idx="26103">
                  <c:v>38016</c:v>
                </c:pt>
                <c:pt idx="26104">
                  <c:v>32582</c:v>
                </c:pt>
                <c:pt idx="26105">
                  <c:v>101412</c:v>
                </c:pt>
                <c:pt idx="26106">
                  <c:v>43911</c:v>
                </c:pt>
                <c:pt idx="26107">
                  <c:v>37925</c:v>
                </c:pt>
                <c:pt idx="26108">
                  <c:v>34261</c:v>
                </c:pt>
                <c:pt idx="26109">
                  <c:v>23686</c:v>
                </c:pt>
                <c:pt idx="26110">
                  <c:v>192494</c:v>
                </c:pt>
                <c:pt idx="26111">
                  <c:v>70670</c:v>
                </c:pt>
                <c:pt idx="26112">
                  <c:v>37286</c:v>
                </c:pt>
                <c:pt idx="26113">
                  <c:v>30717</c:v>
                </c:pt>
                <c:pt idx="26114">
                  <c:v>35865</c:v>
                </c:pt>
                <c:pt idx="26115">
                  <c:v>94195</c:v>
                </c:pt>
                <c:pt idx="26116">
                  <c:v>83445</c:v>
                </c:pt>
                <c:pt idx="26117">
                  <c:v>25802</c:v>
                </c:pt>
                <c:pt idx="26118">
                  <c:v>30267</c:v>
                </c:pt>
                <c:pt idx="26119">
                  <c:v>167592</c:v>
                </c:pt>
                <c:pt idx="26120">
                  <c:v>67790</c:v>
                </c:pt>
                <c:pt idx="26121">
                  <c:v>105980</c:v>
                </c:pt>
                <c:pt idx="26122">
                  <c:v>47169</c:v>
                </c:pt>
                <c:pt idx="26123">
                  <c:v>164853</c:v>
                </c:pt>
                <c:pt idx="26124">
                  <c:v>28010</c:v>
                </c:pt>
                <c:pt idx="26125">
                  <c:v>40624</c:v>
                </c:pt>
                <c:pt idx="26126">
                  <c:v>47630</c:v>
                </c:pt>
                <c:pt idx="26127">
                  <c:v>46482</c:v>
                </c:pt>
                <c:pt idx="26128">
                  <c:v>49440</c:v>
                </c:pt>
                <c:pt idx="26129">
                  <c:v>32148</c:v>
                </c:pt>
                <c:pt idx="26130">
                  <c:v>272066</c:v>
                </c:pt>
                <c:pt idx="26131">
                  <c:v>32128</c:v>
                </c:pt>
                <c:pt idx="26132">
                  <c:v>40620</c:v>
                </c:pt>
                <c:pt idx="26133">
                  <c:v>102770</c:v>
                </c:pt>
                <c:pt idx="26134">
                  <c:v>41450</c:v>
                </c:pt>
                <c:pt idx="26135">
                  <c:v>51727</c:v>
                </c:pt>
                <c:pt idx="26136">
                  <c:v>39048</c:v>
                </c:pt>
                <c:pt idx="26137">
                  <c:v>51841</c:v>
                </c:pt>
                <c:pt idx="26138">
                  <c:v>197167</c:v>
                </c:pt>
                <c:pt idx="26139">
                  <c:v>40375</c:v>
                </c:pt>
                <c:pt idx="26140">
                  <c:v>51267</c:v>
                </c:pt>
                <c:pt idx="26141">
                  <c:v>36795</c:v>
                </c:pt>
                <c:pt idx="26142">
                  <c:v>219348</c:v>
                </c:pt>
                <c:pt idx="26143">
                  <c:v>128009</c:v>
                </c:pt>
                <c:pt idx="26144">
                  <c:v>23853</c:v>
                </c:pt>
                <c:pt idx="26145">
                  <c:v>44556</c:v>
                </c:pt>
                <c:pt idx="26146">
                  <c:v>30705</c:v>
                </c:pt>
                <c:pt idx="26147">
                  <c:v>40201</c:v>
                </c:pt>
                <c:pt idx="26148">
                  <c:v>163036</c:v>
                </c:pt>
                <c:pt idx="26149">
                  <c:v>20865</c:v>
                </c:pt>
                <c:pt idx="26150">
                  <c:v>39903</c:v>
                </c:pt>
                <c:pt idx="26151">
                  <c:v>67173</c:v>
                </c:pt>
                <c:pt idx="26152">
                  <c:v>113045</c:v>
                </c:pt>
                <c:pt idx="26153">
                  <c:v>78063</c:v>
                </c:pt>
                <c:pt idx="26154">
                  <c:v>94694</c:v>
                </c:pt>
                <c:pt idx="26155">
                  <c:v>26198</c:v>
                </c:pt>
                <c:pt idx="26156">
                  <c:v>36063</c:v>
                </c:pt>
                <c:pt idx="26157">
                  <c:v>64487</c:v>
                </c:pt>
                <c:pt idx="26158">
                  <c:v>57197</c:v>
                </c:pt>
                <c:pt idx="26159">
                  <c:v>32895</c:v>
                </c:pt>
                <c:pt idx="26160">
                  <c:v>40780</c:v>
                </c:pt>
                <c:pt idx="26161">
                  <c:v>91201</c:v>
                </c:pt>
                <c:pt idx="26162">
                  <c:v>99963</c:v>
                </c:pt>
                <c:pt idx="26163">
                  <c:v>39080</c:v>
                </c:pt>
                <c:pt idx="26164">
                  <c:v>36536</c:v>
                </c:pt>
                <c:pt idx="26165">
                  <c:v>46088</c:v>
                </c:pt>
                <c:pt idx="26166">
                  <c:v>48367</c:v>
                </c:pt>
                <c:pt idx="26167">
                  <c:v>59349</c:v>
                </c:pt>
                <c:pt idx="26168">
                  <c:v>58517</c:v>
                </c:pt>
                <c:pt idx="26169">
                  <c:v>238556</c:v>
                </c:pt>
                <c:pt idx="26170">
                  <c:v>165805</c:v>
                </c:pt>
                <c:pt idx="26171">
                  <c:v>55675</c:v>
                </c:pt>
                <c:pt idx="26172">
                  <c:v>25289</c:v>
                </c:pt>
                <c:pt idx="26173">
                  <c:v>96254</c:v>
                </c:pt>
                <c:pt idx="26174">
                  <c:v>56421</c:v>
                </c:pt>
                <c:pt idx="26175">
                  <c:v>26634</c:v>
                </c:pt>
                <c:pt idx="26176">
                  <c:v>58020</c:v>
                </c:pt>
                <c:pt idx="26177">
                  <c:v>56048</c:v>
                </c:pt>
                <c:pt idx="26178">
                  <c:v>47693</c:v>
                </c:pt>
                <c:pt idx="26179">
                  <c:v>30931</c:v>
                </c:pt>
                <c:pt idx="26180">
                  <c:v>37636</c:v>
                </c:pt>
                <c:pt idx="26181">
                  <c:v>29082</c:v>
                </c:pt>
                <c:pt idx="26182">
                  <c:v>31712</c:v>
                </c:pt>
                <c:pt idx="26183">
                  <c:v>61936</c:v>
                </c:pt>
                <c:pt idx="26184">
                  <c:v>43220</c:v>
                </c:pt>
                <c:pt idx="26185">
                  <c:v>65446</c:v>
                </c:pt>
                <c:pt idx="26186">
                  <c:v>35712</c:v>
                </c:pt>
                <c:pt idx="26187">
                  <c:v>52397</c:v>
                </c:pt>
                <c:pt idx="26188">
                  <c:v>24863</c:v>
                </c:pt>
                <c:pt idx="26189">
                  <c:v>84012</c:v>
                </c:pt>
                <c:pt idx="26190">
                  <c:v>207805</c:v>
                </c:pt>
                <c:pt idx="26191">
                  <c:v>129896</c:v>
                </c:pt>
                <c:pt idx="26192">
                  <c:v>83782</c:v>
                </c:pt>
                <c:pt idx="26193">
                  <c:v>31560</c:v>
                </c:pt>
                <c:pt idx="26194">
                  <c:v>53544</c:v>
                </c:pt>
                <c:pt idx="26195">
                  <c:v>114199</c:v>
                </c:pt>
                <c:pt idx="26196">
                  <c:v>37912</c:v>
                </c:pt>
                <c:pt idx="26197">
                  <c:v>31358</c:v>
                </c:pt>
                <c:pt idx="26198">
                  <c:v>41553</c:v>
                </c:pt>
                <c:pt idx="26199">
                  <c:v>64693</c:v>
                </c:pt>
                <c:pt idx="26200">
                  <c:v>68989</c:v>
                </c:pt>
                <c:pt idx="26201">
                  <c:v>34760</c:v>
                </c:pt>
                <c:pt idx="26202">
                  <c:v>74901</c:v>
                </c:pt>
                <c:pt idx="26203">
                  <c:v>370233</c:v>
                </c:pt>
                <c:pt idx="26204">
                  <c:v>66503</c:v>
                </c:pt>
                <c:pt idx="26205">
                  <c:v>25848</c:v>
                </c:pt>
                <c:pt idx="26206">
                  <c:v>31876</c:v>
                </c:pt>
                <c:pt idx="26207">
                  <c:v>63420</c:v>
                </c:pt>
                <c:pt idx="26208">
                  <c:v>66006</c:v>
                </c:pt>
                <c:pt idx="26209">
                  <c:v>38907</c:v>
                </c:pt>
                <c:pt idx="26210">
                  <c:v>29206</c:v>
                </c:pt>
                <c:pt idx="26211">
                  <c:v>67618</c:v>
                </c:pt>
                <c:pt idx="26212">
                  <c:v>93254</c:v>
                </c:pt>
                <c:pt idx="26213">
                  <c:v>194215</c:v>
                </c:pt>
                <c:pt idx="26214">
                  <c:v>43485</c:v>
                </c:pt>
                <c:pt idx="26215">
                  <c:v>42034</c:v>
                </c:pt>
                <c:pt idx="26216">
                  <c:v>114948</c:v>
                </c:pt>
                <c:pt idx="26217">
                  <c:v>345893</c:v>
                </c:pt>
                <c:pt idx="26218">
                  <c:v>36981</c:v>
                </c:pt>
                <c:pt idx="26219">
                  <c:v>40658</c:v>
                </c:pt>
                <c:pt idx="26220">
                  <c:v>79628</c:v>
                </c:pt>
                <c:pt idx="26221">
                  <c:v>31600</c:v>
                </c:pt>
                <c:pt idx="26222">
                  <c:v>23758</c:v>
                </c:pt>
                <c:pt idx="26223">
                  <c:v>44811</c:v>
                </c:pt>
                <c:pt idx="26224">
                  <c:v>44800</c:v>
                </c:pt>
                <c:pt idx="26225">
                  <c:v>25273</c:v>
                </c:pt>
                <c:pt idx="26226">
                  <c:v>26264</c:v>
                </c:pt>
                <c:pt idx="26227">
                  <c:v>31870</c:v>
                </c:pt>
                <c:pt idx="26228">
                  <c:v>29531</c:v>
                </c:pt>
                <c:pt idx="26229">
                  <c:v>47688</c:v>
                </c:pt>
                <c:pt idx="26230">
                  <c:v>46278</c:v>
                </c:pt>
                <c:pt idx="26231">
                  <c:v>28492</c:v>
                </c:pt>
                <c:pt idx="26232">
                  <c:v>81561</c:v>
                </c:pt>
                <c:pt idx="26233">
                  <c:v>194311</c:v>
                </c:pt>
                <c:pt idx="26234">
                  <c:v>211189</c:v>
                </c:pt>
                <c:pt idx="26235">
                  <c:v>45264</c:v>
                </c:pt>
                <c:pt idx="26236">
                  <c:v>40656</c:v>
                </c:pt>
                <c:pt idx="26237">
                  <c:v>29717</c:v>
                </c:pt>
                <c:pt idx="26238">
                  <c:v>155483</c:v>
                </c:pt>
                <c:pt idx="26239">
                  <c:v>234686</c:v>
                </c:pt>
                <c:pt idx="26240">
                  <c:v>26683</c:v>
                </c:pt>
                <c:pt idx="26241">
                  <c:v>51902</c:v>
                </c:pt>
                <c:pt idx="26242">
                  <c:v>39798</c:v>
                </c:pt>
                <c:pt idx="26243">
                  <c:v>43188</c:v>
                </c:pt>
                <c:pt idx="26244">
                  <c:v>110075</c:v>
                </c:pt>
                <c:pt idx="26245">
                  <c:v>51786</c:v>
                </c:pt>
                <c:pt idx="26246">
                  <c:v>49459</c:v>
                </c:pt>
                <c:pt idx="26247">
                  <c:v>52675</c:v>
                </c:pt>
                <c:pt idx="26248">
                  <c:v>191253</c:v>
                </c:pt>
                <c:pt idx="26249">
                  <c:v>240488</c:v>
                </c:pt>
                <c:pt idx="26250">
                  <c:v>51351</c:v>
                </c:pt>
                <c:pt idx="26251">
                  <c:v>68785</c:v>
                </c:pt>
                <c:pt idx="26252">
                  <c:v>22923</c:v>
                </c:pt>
                <c:pt idx="26253">
                  <c:v>56516</c:v>
                </c:pt>
                <c:pt idx="26254">
                  <c:v>24635</c:v>
                </c:pt>
                <c:pt idx="26255">
                  <c:v>50819</c:v>
                </c:pt>
                <c:pt idx="26256">
                  <c:v>184648</c:v>
                </c:pt>
                <c:pt idx="26257">
                  <c:v>25287</c:v>
                </c:pt>
                <c:pt idx="26258">
                  <c:v>42988</c:v>
                </c:pt>
                <c:pt idx="26259">
                  <c:v>68608</c:v>
                </c:pt>
                <c:pt idx="26260">
                  <c:v>36898</c:v>
                </c:pt>
                <c:pt idx="26261">
                  <c:v>39649</c:v>
                </c:pt>
                <c:pt idx="26262">
                  <c:v>42768</c:v>
                </c:pt>
                <c:pt idx="26263">
                  <c:v>31609</c:v>
                </c:pt>
                <c:pt idx="26264">
                  <c:v>72456</c:v>
                </c:pt>
                <c:pt idx="26265">
                  <c:v>87966</c:v>
                </c:pt>
                <c:pt idx="26266">
                  <c:v>44937</c:v>
                </c:pt>
                <c:pt idx="26267">
                  <c:v>48545</c:v>
                </c:pt>
                <c:pt idx="26268">
                  <c:v>23798</c:v>
                </c:pt>
                <c:pt idx="26269">
                  <c:v>54644</c:v>
                </c:pt>
                <c:pt idx="26270">
                  <c:v>134876</c:v>
                </c:pt>
                <c:pt idx="26271">
                  <c:v>24998</c:v>
                </c:pt>
                <c:pt idx="26272">
                  <c:v>43679</c:v>
                </c:pt>
                <c:pt idx="26273">
                  <c:v>44123</c:v>
                </c:pt>
                <c:pt idx="26274">
                  <c:v>111730</c:v>
                </c:pt>
                <c:pt idx="26275">
                  <c:v>42060</c:v>
                </c:pt>
                <c:pt idx="26276">
                  <c:v>21972</c:v>
                </c:pt>
                <c:pt idx="26277">
                  <c:v>46848</c:v>
                </c:pt>
                <c:pt idx="26278">
                  <c:v>34421</c:v>
                </c:pt>
                <c:pt idx="26279">
                  <c:v>38957</c:v>
                </c:pt>
                <c:pt idx="26280">
                  <c:v>42273</c:v>
                </c:pt>
                <c:pt idx="26281">
                  <c:v>51595</c:v>
                </c:pt>
                <c:pt idx="26282">
                  <c:v>44480</c:v>
                </c:pt>
                <c:pt idx="26283">
                  <c:v>92649</c:v>
                </c:pt>
                <c:pt idx="26284">
                  <c:v>192865</c:v>
                </c:pt>
                <c:pt idx="26285">
                  <c:v>115497</c:v>
                </c:pt>
                <c:pt idx="26286">
                  <c:v>57228</c:v>
                </c:pt>
                <c:pt idx="26287">
                  <c:v>45705</c:v>
                </c:pt>
                <c:pt idx="26288">
                  <c:v>94603</c:v>
                </c:pt>
                <c:pt idx="26289">
                  <c:v>110116</c:v>
                </c:pt>
                <c:pt idx="26290">
                  <c:v>46085</c:v>
                </c:pt>
                <c:pt idx="26291">
                  <c:v>25580</c:v>
                </c:pt>
                <c:pt idx="26292">
                  <c:v>49583</c:v>
                </c:pt>
                <c:pt idx="26293">
                  <c:v>36724</c:v>
                </c:pt>
                <c:pt idx="26294">
                  <c:v>35174</c:v>
                </c:pt>
                <c:pt idx="26295">
                  <c:v>44476</c:v>
                </c:pt>
                <c:pt idx="26296">
                  <c:v>157766</c:v>
                </c:pt>
                <c:pt idx="26297">
                  <c:v>88923</c:v>
                </c:pt>
                <c:pt idx="26298">
                  <c:v>167149</c:v>
                </c:pt>
                <c:pt idx="26299">
                  <c:v>35585</c:v>
                </c:pt>
                <c:pt idx="26300">
                  <c:v>126475</c:v>
                </c:pt>
                <c:pt idx="26301">
                  <c:v>45269</c:v>
                </c:pt>
                <c:pt idx="26302">
                  <c:v>94795</c:v>
                </c:pt>
                <c:pt idx="26303">
                  <c:v>22049</c:v>
                </c:pt>
                <c:pt idx="26304">
                  <c:v>67224</c:v>
                </c:pt>
                <c:pt idx="26305">
                  <c:v>46680</c:v>
                </c:pt>
                <c:pt idx="26306">
                  <c:v>223463</c:v>
                </c:pt>
                <c:pt idx="26307">
                  <c:v>27556</c:v>
                </c:pt>
                <c:pt idx="26308">
                  <c:v>35219</c:v>
                </c:pt>
                <c:pt idx="26309">
                  <c:v>34372</c:v>
                </c:pt>
                <c:pt idx="26310">
                  <c:v>25847</c:v>
                </c:pt>
                <c:pt idx="26311">
                  <c:v>34491</c:v>
                </c:pt>
                <c:pt idx="26312">
                  <c:v>30233</c:v>
                </c:pt>
                <c:pt idx="26313">
                  <c:v>68973</c:v>
                </c:pt>
                <c:pt idx="26314">
                  <c:v>26259</c:v>
                </c:pt>
                <c:pt idx="26315">
                  <c:v>84112</c:v>
                </c:pt>
                <c:pt idx="26316">
                  <c:v>73157</c:v>
                </c:pt>
                <c:pt idx="26317">
                  <c:v>39736</c:v>
                </c:pt>
                <c:pt idx="26318">
                  <c:v>41515</c:v>
                </c:pt>
                <c:pt idx="26319">
                  <c:v>30602</c:v>
                </c:pt>
                <c:pt idx="26320">
                  <c:v>64615</c:v>
                </c:pt>
                <c:pt idx="26321">
                  <c:v>53138</c:v>
                </c:pt>
                <c:pt idx="26322">
                  <c:v>42373</c:v>
                </c:pt>
                <c:pt idx="26323">
                  <c:v>29151</c:v>
                </c:pt>
                <c:pt idx="26324">
                  <c:v>24464</c:v>
                </c:pt>
                <c:pt idx="26325">
                  <c:v>51906</c:v>
                </c:pt>
                <c:pt idx="26326">
                  <c:v>28672</c:v>
                </c:pt>
                <c:pt idx="26327">
                  <c:v>28905</c:v>
                </c:pt>
                <c:pt idx="26328">
                  <c:v>67461</c:v>
                </c:pt>
                <c:pt idx="26329">
                  <c:v>109875</c:v>
                </c:pt>
                <c:pt idx="26330">
                  <c:v>23986</c:v>
                </c:pt>
                <c:pt idx="26331">
                  <c:v>36387</c:v>
                </c:pt>
                <c:pt idx="26332">
                  <c:v>42878</c:v>
                </c:pt>
                <c:pt idx="26333">
                  <c:v>35214</c:v>
                </c:pt>
                <c:pt idx="26334">
                  <c:v>48138</c:v>
                </c:pt>
                <c:pt idx="26335">
                  <c:v>49604</c:v>
                </c:pt>
                <c:pt idx="26336">
                  <c:v>136259</c:v>
                </c:pt>
                <c:pt idx="26337">
                  <c:v>90083</c:v>
                </c:pt>
                <c:pt idx="26338">
                  <c:v>68242</c:v>
                </c:pt>
                <c:pt idx="26339">
                  <c:v>30936</c:v>
                </c:pt>
                <c:pt idx="26340">
                  <c:v>89695</c:v>
                </c:pt>
                <c:pt idx="26341">
                  <c:v>51726</c:v>
                </c:pt>
                <c:pt idx="26342">
                  <c:v>31784</c:v>
                </c:pt>
                <c:pt idx="26343">
                  <c:v>51957</c:v>
                </c:pt>
                <c:pt idx="26344">
                  <c:v>24095</c:v>
                </c:pt>
                <c:pt idx="26345">
                  <c:v>39235</c:v>
                </c:pt>
                <c:pt idx="26346">
                  <c:v>108073</c:v>
                </c:pt>
                <c:pt idx="26347">
                  <c:v>26453</c:v>
                </c:pt>
                <c:pt idx="26348">
                  <c:v>93768</c:v>
                </c:pt>
                <c:pt idx="26349">
                  <c:v>66381</c:v>
                </c:pt>
                <c:pt idx="26350">
                  <c:v>40543</c:v>
                </c:pt>
                <c:pt idx="26351">
                  <c:v>49382</c:v>
                </c:pt>
                <c:pt idx="26352">
                  <c:v>25176</c:v>
                </c:pt>
                <c:pt idx="26353">
                  <c:v>43992</c:v>
                </c:pt>
                <c:pt idx="26354">
                  <c:v>214406</c:v>
                </c:pt>
                <c:pt idx="26355">
                  <c:v>66370</c:v>
                </c:pt>
                <c:pt idx="26356">
                  <c:v>52874</c:v>
                </c:pt>
                <c:pt idx="26357">
                  <c:v>28664</c:v>
                </c:pt>
                <c:pt idx="26358">
                  <c:v>148347</c:v>
                </c:pt>
                <c:pt idx="26359">
                  <c:v>44539</c:v>
                </c:pt>
                <c:pt idx="26360">
                  <c:v>175358</c:v>
                </c:pt>
                <c:pt idx="26361">
                  <c:v>29809</c:v>
                </c:pt>
                <c:pt idx="26362">
                  <c:v>40955</c:v>
                </c:pt>
                <c:pt idx="26363">
                  <c:v>40959</c:v>
                </c:pt>
                <c:pt idx="26364">
                  <c:v>57595</c:v>
                </c:pt>
                <c:pt idx="26365">
                  <c:v>37724</c:v>
                </c:pt>
                <c:pt idx="26366">
                  <c:v>232420</c:v>
                </c:pt>
                <c:pt idx="26367">
                  <c:v>33591</c:v>
                </c:pt>
                <c:pt idx="26368">
                  <c:v>26868</c:v>
                </c:pt>
                <c:pt idx="26369">
                  <c:v>29092</c:v>
                </c:pt>
                <c:pt idx="26370">
                  <c:v>91455</c:v>
                </c:pt>
                <c:pt idx="26371">
                  <c:v>34849</c:v>
                </c:pt>
                <c:pt idx="26372">
                  <c:v>151691</c:v>
                </c:pt>
                <c:pt idx="26373">
                  <c:v>44947</c:v>
                </c:pt>
                <c:pt idx="26374">
                  <c:v>49327</c:v>
                </c:pt>
                <c:pt idx="26375">
                  <c:v>46131</c:v>
                </c:pt>
                <c:pt idx="26376">
                  <c:v>53835</c:v>
                </c:pt>
                <c:pt idx="26377">
                  <c:v>50529</c:v>
                </c:pt>
                <c:pt idx="26378">
                  <c:v>64616</c:v>
                </c:pt>
                <c:pt idx="26379">
                  <c:v>42189</c:v>
                </c:pt>
                <c:pt idx="26380">
                  <c:v>39099</c:v>
                </c:pt>
                <c:pt idx="26381">
                  <c:v>40781</c:v>
                </c:pt>
                <c:pt idx="26382">
                  <c:v>47697</c:v>
                </c:pt>
                <c:pt idx="26383">
                  <c:v>28100</c:v>
                </c:pt>
                <c:pt idx="26384">
                  <c:v>27040</c:v>
                </c:pt>
                <c:pt idx="26385">
                  <c:v>24275</c:v>
                </c:pt>
                <c:pt idx="26386">
                  <c:v>22157</c:v>
                </c:pt>
                <c:pt idx="26387">
                  <c:v>33338</c:v>
                </c:pt>
                <c:pt idx="26388">
                  <c:v>116005</c:v>
                </c:pt>
                <c:pt idx="26389">
                  <c:v>112184</c:v>
                </c:pt>
                <c:pt idx="26390">
                  <c:v>34801</c:v>
                </c:pt>
                <c:pt idx="26391">
                  <c:v>26809</c:v>
                </c:pt>
                <c:pt idx="26392">
                  <c:v>34378</c:v>
                </c:pt>
                <c:pt idx="26393">
                  <c:v>58276</c:v>
                </c:pt>
                <c:pt idx="26394">
                  <c:v>50257</c:v>
                </c:pt>
                <c:pt idx="26395">
                  <c:v>60057</c:v>
                </c:pt>
                <c:pt idx="26396">
                  <c:v>37850</c:v>
                </c:pt>
                <c:pt idx="26397">
                  <c:v>32738</c:v>
                </c:pt>
                <c:pt idx="26398">
                  <c:v>48255</c:v>
                </c:pt>
                <c:pt idx="26399">
                  <c:v>66622</c:v>
                </c:pt>
                <c:pt idx="26400">
                  <c:v>54502</c:v>
                </c:pt>
                <c:pt idx="26401">
                  <c:v>45334</c:v>
                </c:pt>
                <c:pt idx="26402">
                  <c:v>91157</c:v>
                </c:pt>
                <c:pt idx="26403">
                  <c:v>33636</c:v>
                </c:pt>
                <c:pt idx="26404">
                  <c:v>104048</c:v>
                </c:pt>
                <c:pt idx="26405">
                  <c:v>97558</c:v>
                </c:pt>
                <c:pt idx="26406">
                  <c:v>67847</c:v>
                </c:pt>
                <c:pt idx="26407">
                  <c:v>48159</c:v>
                </c:pt>
                <c:pt idx="26408">
                  <c:v>55789</c:v>
                </c:pt>
                <c:pt idx="26409">
                  <c:v>61991</c:v>
                </c:pt>
                <c:pt idx="26410">
                  <c:v>199183</c:v>
                </c:pt>
                <c:pt idx="26411">
                  <c:v>75212</c:v>
                </c:pt>
                <c:pt idx="26412">
                  <c:v>30363</c:v>
                </c:pt>
                <c:pt idx="26413">
                  <c:v>93279</c:v>
                </c:pt>
                <c:pt idx="26414">
                  <c:v>37419</c:v>
                </c:pt>
                <c:pt idx="26415">
                  <c:v>36338</c:v>
                </c:pt>
                <c:pt idx="26416">
                  <c:v>34532</c:v>
                </c:pt>
                <c:pt idx="26417">
                  <c:v>35283</c:v>
                </c:pt>
                <c:pt idx="26418">
                  <c:v>48800</c:v>
                </c:pt>
                <c:pt idx="26419">
                  <c:v>86760</c:v>
                </c:pt>
                <c:pt idx="26420">
                  <c:v>130900</c:v>
                </c:pt>
                <c:pt idx="26421">
                  <c:v>35614</c:v>
                </c:pt>
                <c:pt idx="26422">
                  <c:v>38100</c:v>
                </c:pt>
                <c:pt idx="26423">
                  <c:v>50039</c:v>
                </c:pt>
                <c:pt idx="26424">
                  <c:v>47596</c:v>
                </c:pt>
                <c:pt idx="26425">
                  <c:v>25365</c:v>
                </c:pt>
                <c:pt idx="26426">
                  <c:v>24011</c:v>
                </c:pt>
                <c:pt idx="26427">
                  <c:v>46218</c:v>
                </c:pt>
                <c:pt idx="26428">
                  <c:v>26470</c:v>
                </c:pt>
                <c:pt idx="26429">
                  <c:v>47900</c:v>
                </c:pt>
                <c:pt idx="26430">
                  <c:v>28366</c:v>
                </c:pt>
                <c:pt idx="26431">
                  <c:v>41644</c:v>
                </c:pt>
                <c:pt idx="26432">
                  <c:v>25155</c:v>
                </c:pt>
                <c:pt idx="26433">
                  <c:v>91028</c:v>
                </c:pt>
                <c:pt idx="26434">
                  <c:v>195799</c:v>
                </c:pt>
                <c:pt idx="26435">
                  <c:v>38916</c:v>
                </c:pt>
                <c:pt idx="26436">
                  <c:v>40596</c:v>
                </c:pt>
                <c:pt idx="26437">
                  <c:v>88283</c:v>
                </c:pt>
                <c:pt idx="26438">
                  <c:v>38857</c:v>
                </c:pt>
                <c:pt idx="26439">
                  <c:v>44016</c:v>
                </c:pt>
                <c:pt idx="26440">
                  <c:v>23066</c:v>
                </c:pt>
                <c:pt idx="26441">
                  <c:v>57718</c:v>
                </c:pt>
                <c:pt idx="26442">
                  <c:v>62214</c:v>
                </c:pt>
                <c:pt idx="26443">
                  <c:v>43114</c:v>
                </c:pt>
                <c:pt idx="26444">
                  <c:v>32397</c:v>
                </c:pt>
                <c:pt idx="26445">
                  <c:v>21133</c:v>
                </c:pt>
                <c:pt idx="26446">
                  <c:v>77539</c:v>
                </c:pt>
                <c:pt idx="26447">
                  <c:v>37933</c:v>
                </c:pt>
                <c:pt idx="26448">
                  <c:v>69250</c:v>
                </c:pt>
                <c:pt idx="26449">
                  <c:v>32731</c:v>
                </c:pt>
                <c:pt idx="26450">
                  <c:v>48909</c:v>
                </c:pt>
                <c:pt idx="26451">
                  <c:v>38270</c:v>
                </c:pt>
                <c:pt idx="26452">
                  <c:v>30138</c:v>
                </c:pt>
                <c:pt idx="26453">
                  <c:v>84389</c:v>
                </c:pt>
                <c:pt idx="26454">
                  <c:v>54885</c:v>
                </c:pt>
                <c:pt idx="26455">
                  <c:v>32558</c:v>
                </c:pt>
                <c:pt idx="26456">
                  <c:v>133320</c:v>
                </c:pt>
                <c:pt idx="26457">
                  <c:v>74569</c:v>
                </c:pt>
                <c:pt idx="26458">
                  <c:v>25228</c:v>
                </c:pt>
                <c:pt idx="26459">
                  <c:v>50375</c:v>
                </c:pt>
                <c:pt idx="26460">
                  <c:v>44157</c:v>
                </c:pt>
                <c:pt idx="26461">
                  <c:v>30671</c:v>
                </c:pt>
                <c:pt idx="26462">
                  <c:v>25109</c:v>
                </c:pt>
                <c:pt idx="26463">
                  <c:v>50674</c:v>
                </c:pt>
                <c:pt idx="26464">
                  <c:v>83330</c:v>
                </c:pt>
                <c:pt idx="26465">
                  <c:v>42021</c:v>
                </c:pt>
                <c:pt idx="26466">
                  <c:v>23784</c:v>
                </c:pt>
                <c:pt idx="26467">
                  <c:v>29073</c:v>
                </c:pt>
                <c:pt idx="26468">
                  <c:v>31758</c:v>
                </c:pt>
                <c:pt idx="26469">
                  <c:v>50193</c:v>
                </c:pt>
                <c:pt idx="26470">
                  <c:v>21146</c:v>
                </c:pt>
                <c:pt idx="26471">
                  <c:v>62603</c:v>
                </c:pt>
                <c:pt idx="26472">
                  <c:v>48044</c:v>
                </c:pt>
                <c:pt idx="26473">
                  <c:v>62915</c:v>
                </c:pt>
                <c:pt idx="26474">
                  <c:v>48173</c:v>
                </c:pt>
                <c:pt idx="26475">
                  <c:v>65273</c:v>
                </c:pt>
                <c:pt idx="26476">
                  <c:v>85882</c:v>
                </c:pt>
                <c:pt idx="26477">
                  <c:v>119742</c:v>
                </c:pt>
                <c:pt idx="26478">
                  <c:v>49342</c:v>
                </c:pt>
                <c:pt idx="26479">
                  <c:v>32663</c:v>
                </c:pt>
                <c:pt idx="26480">
                  <c:v>33510</c:v>
                </c:pt>
                <c:pt idx="26481">
                  <c:v>38450</c:v>
                </c:pt>
                <c:pt idx="26482">
                  <c:v>45042</c:v>
                </c:pt>
                <c:pt idx="26483">
                  <c:v>39782</c:v>
                </c:pt>
                <c:pt idx="26484">
                  <c:v>39509</c:v>
                </c:pt>
                <c:pt idx="26485">
                  <c:v>51402</c:v>
                </c:pt>
                <c:pt idx="26486">
                  <c:v>56826</c:v>
                </c:pt>
                <c:pt idx="26487">
                  <c:v>26938</c:v>
                </c:pt>
                <c:pt idx="26488">
                  <c:v>30115</c:v>
                </c:pt>
                <c:pt idx="26489">
                  <c:v>24891</c:v>
                </c:pt>
                <c:pt idx="26490">
                  <c:v>47336</c:v>
                </c:pt>
                <c:pt idx="26491">
                  <c:v>59815</c:v>
                </c:pt>
                <c:pt idx="26492">
                  <c:v>34842</c:v>
                </c:pt>
                <c:pt idx="26493">
                  <c:v>59544</c:v>
                </c:pt>
                <c:pt idx="26494">
                  <c:v>63774</c:v>
                </c:pt>
                <c:pt idx="26495">
                  <c:v>40447</c:v>
                </c:pt>
                <c:pt idx="26496">
                  <c:v>33049</c:v>
                </c:pt>
                <c:pt idx="26497">
                  <c:v>41520</c:v>
                </c:pt>
                <c:pt idx="26498">
                  <c:v>23282</c:v>
                </c:pt>
                <c:pt idx="26499">
                  <c:v>49311</c:v>
                </c:pt>
                <c:pt idx="26500">
                  <c:v>78241</c:v>
                </c:pt>
                <c:pt idx="26501">
                  <c:v>35018</c:v>
                </c:pt>
                <c:pt idx="26502">
                  <c:v>61098</c:v>
                </c:pt>
                <c:pt idx="26503">
                  <c:v>25136</c:v>
                </c:pt>
                <c:pt idx="26504">
                  <c:v>95748</c:v>
                </c:pt>
                <c:pt idx="26505">
                  <c:v>75976</c:v>
                </c:pt>
                <c:pt idx="26506">
                  <c:v>34794</c:v>
                </c:pt>
                <c:pt idx="26507">
                  <c:v>55536</c:v>
                </c:pt>
                <c:pt idx="26508">
                  <c:v>35008</c:v>
                </c:pt>
                <c:pt idx="26509">
                  <c:v>132694</c:v>
                </c:pt>
                <c:pt idx="26510">
                  <c:v>30964</c:v>
                </c:pt>
                <c:pt idx="26511">
                  <c:v>50088</c:v>
                </c:pt>
                <c:pt idx="26512">
                  <c:v>43939</c:v>
                </c:pt>
                <c:pt idx="26513">
                  <c:v>181943</c:v>
                </c:pt>
                <c:pt idx="26514">
                  <c:v>24625</c:v>
                </c:pt>
                <c:pt idx="26515">
                  <c:v>26750</c:v>
                </c:pt>
                <c:pt idx="26516">
                  <c:v>159106</c:v>
                </c:pt>
                <c:pt idx="26517">
                  <c:v>26307</c:v>
                </c:pt>
                <c:pt idx="26518">
                  <c:v>40288</c:v>
                </c:pt>
                <c:pt idx="26519">
                  <c:v>52235</c:v>
                </c:pt>
                <c:pt idx="26520">
                  <c:v>113530</c:v>
                </c:pt>
                <c:pt idx="26521">
                  <c:v>37799</c:v>
                </c:pt>
                <c:pt idx="26522">
                  <c:v>36126</c:v>
                </c:pt>
                <c:pt idx="26523">
                  <c:v>91043</c:v>
                </c:pt>
                <c:pt idx="26524">
                  <c:v>43239</c:v>
                </c:pt>
                <c:pt idx="26525">
                  <c:v>35945</c:v>
                </c:pt>
                <c:pt idx="26526">
                  <c:v>44220</c:v>
                </c:pt>
                <c:pt idx="26527">
                  <c:v>46639</c:v>
                </c:pt>
                <c:pt idx="26528">
                  <c:v>38544</c:v>
                </c:pt>
                <c:pt idx="26529">
                  <c:v>46075</c:v>
                </c:pt>
                <c:pt idx="26530">
                  <c:v>41825</c:v>
                </c:pt>
                <c:pt idx="26531">
                  <c:v>35041</c:v>
                </c:pt>
                <c:pt idx="26532">
                  <c:v>98005</c:v>
                </c:pt>
                <c:pt idx="26533">
                  <c:v>75888</c:v>
                </c:pt>
                <c:pt idx="26534">
                  <c:v>40705</c:v>
                </c:pt>
                <c:pt idx="26535">
                  <c:v>45205</c:v>
                </c:pt>
                <c:pt idx="26536">
                  <c:v>63308</c:v>
                </c:pt>
                <c:pt idx="26537">
                  <c:v>45459</c:v>
                </c:pt>
                <c:pt idx="26538">
                  <c:v>129013</c:v>
                </c:pt>
                <c:pt idx="26539">
                  <c:v>51250</c:v>
                </c:pt>
                <c:pt idx="26540">
                  <c:v>408453</c:v>
                </c:pt>
                <c:pt idx="26541">
                  <c:v>110179</c:v>
                </c:pt>
                <c:pt idx="26542">
                  <c:v>36810</c:v>
                </c:pt>
                <c:pt idx="26543">
                  <c:v>52707</c:v>
                </c:pt>
                <c:pt idx="26544">
                  <c:v>33975</c:v>
                </c:pt>
                <c:pt idx="26545">
                  <c:v>25715</c:v>
                </c:pt>
                <c:pt idx="26546">
                  <c:v>57818</c:v>
                </c:pt>
                <c:pt idx="26547">
                  <c:v>35196</c:v>
                </c:pt>
                <c:pt idx="26548">
                  <c:v>37668</c:v>
                </c:pt>
                <c:pt idx="26549">
                  <c:v>55342</c:v>
                </c:pt>
                <c:pt idx="26550">
                  <c:v>105606</c:v>
                </c:pt>
                <c:pt idx="26551">
                  <c:v>110595</c:v>
                </c:pt>
                <c:pt idx="26552">
                  <c:v>79424</c:v>
                </c:pt>
                <c:pt idx="26553">
                  <c:v>33842</c:v>
                </c:pt>
                <c:pt idx="26554">
                  <c:v>56145</c:v>
                </c:pt>
                <c:pt idx="26555">
                  <c:v>183581</c:v>
                </c:pt>
                <c:pt idx="26556">
                  <c:v>72948</c:v>
                </c:pt>
                <c:pt idx="26557">
                  <c:v>35625</c:v>
                </c:pt>
                <c:pt idx="26558">
                  <c:v>43928</c:v>
                </c:pt>
                <c:pt idx="26559">
                  <c:v>28533</c:v>
                </c:pt>
                <c:pt idx="26560">
                  <c:v>44080</c:v>
                </c:pt>
                <c:pt idx="26561">
                  <c:v>28180</c:v>
                </c:pt>
                <c:pt idx="26562">
                  <c:v>32723</c:v>
                </c:pt>
                <c:pt idx="26563">
                  <c:v>42147</c:v>
                </c:pt>
                <c:pt idx="26564">
                  <c:v>31909</c:v>
                </c:pt>
                <c:pt idx="26565">
                  <c:v>52138</c:v>
                </c:pt>
                <c:pt idx="26566">
                  <c:v>35050</c:v>
                </c:pt>
                <c:pt idx="26567">
                  <c:v>52400</c:v>
                </c:pt>
                <c:pt idx="26568">
                  <c:v>21643</c:v>
                </c:pt>
                <c:pt idx="26569">
                  <c:v>34949</c:v>
                </c:pt>
                <c:pt idx="26570">
                  <c:v>95880</c:v>
                </c:pt>
                <c:pt idx="26571">
                  <c:v>46210</c:v>
                </c:pt>
                <c:pt idx="26572">
                  <c:v>58274</c:v>
                </c:pt>
                <c:pt idx="26573">
                  <c:v>389154</c:v>
                </c:pt>
                <c:pt idx="26574">
                  <c:v>41566</c:v>
                </c:pt>
                <c:pt idx="26575">
                  <c:v>43057</c:v>
                </c:pt>
                <c:pt idx="26576">
                  <c:v>34494</c:v>
                </c:pt>
                <c:pt idx="26577">
                  <c:v>30426</c:v>
                </c:pt>
                <c:pt idx="26578">
                  <c:v>127503</c:v>
                </c:pt>
                <c:pt idx="26579">
                  <c:v>38323</c:v>
                </c:pt>
                <c:pt idx="26580">
                  <c:v>66911</c:v>
                </c:pt>
                <c:pt idx="26581">
                  <c:v>42840</c:v>
                </c:pt>
                <c:pt idx="26582">
                  <c:v>41163</c:v>
                </c:pt>
                <c:pt idx="26583">
                  <c:v>30209</c:v>
                </c:pt>
                <c:pt idx="26584">
                  <c:v>209723</c:v>
                </c:pt>
                <c:pt idx="26585">
                  <c:v>46841</c:v>
                </c:pt>
                <c:pt idx="26586">
                  <c:v>44023</c:v>
                </c:pt>
                <c:pt idx="26587">
                  <c:v>150849</c:v>
                </c:pt>
                <c:pt idx="26588">
                  <c:v>51906</c:v>
                </c:pt>
                <c:pt idx="26589">
                  <c:v>40905</c:v>
                </c:pt>
                <c:pt idx="26590">
                  <c:v>38401</c:v>
                </c:pt>
                <c:pt idx="26591">
                  <c:v>22549</c:v>
                </c:pt>
                <c:pt idx="26592">
                  <c:v>48902</c:v>
                </c:pt>
                <c:pt idx="26593">
                  <c:v>27572</c:v>
                </c:pt>
                <c:pt idx="26594">
                  <c:v>39975</c:v>
                </c:pt>
                <c:pt idx="26595">
                  <c:v>57489</c:v>
                </c:pt>
                <c:pt idx="26596">
                  <c:v>25277</c:v>
                </c:pt>
                <c:pt idx="26597">
                  <c:v>175302</c:v>
                </c:pt>
                <c:pt idx="26598">
                  <c:v>28008</c:v>
                </c:pt>
                <c:pt idx="26599">
                  <c:v>44585</c:v>
                </c:pt>
                <c:pt idx="26600">
                  <c:v>39894</c:v>
                </c:pt>
                <c:pt idx="26601">
                  <c:v>132183</c:v>
                </c:pt>
                <c:pt idx="26602">
                  <c:v>40579</c:v>
                </c:pt>
                <c:pt idx="26603">
                  <c:v>80150</c:v>
                </c:pt>
                <c:pt idx="26604">
                  <c:v>34057</c:v>
                </c:pt>
                <c:pt idx="26605">
                  <c:v>29788</c:v>
                </c:pt>
                <c:pt idx="26606">
                  <c:v>28932</c:v>
                </c:pt>
                <c:pt idx="26607">
                  <c:v>39295</c:v>
                </c:pt>
                <c:pt idx="26608">
                  <c:v>22663</c:v>
                </c:pt>
                <c:pt idx="26609">
                  <c:v>49515</c:v>
                </c:pt>
                <c:pt idx="26610">
                  <c:v>36826</c:v>
                </c:pt>
                <c:pt idx="26611">
                  <c:v>30379</c:v>
                </c:pt>
                <c:pt idx="26612">
                  <c:v>60125</c:v>
                </c:pt>
                <c:pt idx="26613">
                  <c:v>45549</c:v>
                </c:pt>
                <c:pt idx="26614">
                  <c:v>344140</c:v>
                </c:pt>
                <c:pt idx="26615">
                  <c:v>48552</c:v>
                </c:pt>
                <c:pt idx="26616">
                  <c:v>161860</c:v>
                </c:pt>
                <c:pt idx="26617">
                  <c:v>69546</c:v>
                </c:pt>
                <c:pt idx="26618">
                  <c:v>103570</c:v>
                </c:pt>
                <c:pt idx="26619">
                  <c:v>37030</c:v>
                </c:pt>
                <c:pt idx="26620">
                  <c:v>67648</c:v>
                </c:pt>
                <c:pt idx="26621">
                  <c:v>23751</c:v>
                </c:pt>
                <c:pt idx="26622">
                  <c:v>33302</c:v>
                </c:pt>
                <c:pt idx="26623">
                  <c:v>23776</c:v>
                </c:pt>
                <c:pt idx="26624">
                  <c:v>62335</c:v>
                </c:pt>
                <c:pt idx="26625">
                  <c:v>64556</c:v>
                </c:pt>
                <c:pt idx="26626">
                  <c:v>31815</c:v>
                </c:pt>
                <c:pt idx="26627">
                  <c:v>33996</c:v>
                </c:pt>
                <c:pt idx="26628">
                  <c:v>84339</c:v>
                </c:pt>
                <c:pt idx="26629">
                  <c:v>40319</c:v>
                </c:pt>
                <c:pt idx="26630">
                  <c:v>131744</c:v>
                </c:pt>
                <c:pt idx="26631">
                  <c:v>188080</c:v>
                </c:pt>
                <c:pt idx="26632">
                  <c:v>32895</c:v>
                </c:pt>
                <c:pt idx="26633">
                  <c:v>30579</c:v>
                </c:pt>
                <c:pt idx="26634">
                  <c:v>85505</c:v>
                </c:pt>
                <c:pt idx="26635">
                  <c:v>68108</c:v>
                </c:pt>
                <c:pt idx="26636">
                  <c:v>59894</c:v>
                </c:pt>
                <c:pt idx="26637">
                  <c:v>28954</c:v>
                </c:pt>
                <c:pt idx="26638">
                  <c:v>64257</c:v>
                </c:pt>
                <c:pt idx="26639">
                  <c:v>31659</c:v>
                </c:pt>
                <c:pt idx="26640">
                  <c:v>43858</c:v>
                </c:pt>
                <c:pt idx="26641">
                  <c:v>33443</c:v>
                </c:pt>
                <c:pt idx="26642">
                  <c:v>78181</c:v>
                </c:pt>
                <c:pt idx="26643">
                  <c:v>41369</c:v>
                </c:pt>
                <c:pt idx="26644">
                  <c:v>96237</c:v>
                </c:pt>
                <c:pt idx="26645">
                  <c:v>33566</c:v>
                </c:pt>
                <c:pt idx="26646">
                  <c:v>44067</c:v>
                </c:pt>
                <c:pt idx="26647">
                  <c:v>30697</c:v>
                </c:pt>
                <c:pt idx="26648">
                  <c:v>67056</c:v>
                </c:pt>
                <c:pt idx="26649">
                  <c:v>32298</c:v>
                </c:pt>
                <c:pt idx="26650">
                  <c:v>23980</c:v>
                </c:pt>
                <c:pt idx="26651">
                  <c:v>51320</c:v>
                </c:pt>
                <c:pt idx="26652">
                  <c:v>245497</c:v>
                </c:pt>
                <c:pt idx="26653">
                  <c:v>188253</c:v>
                </c:pt>
                <c:pt idx="26654">
                  <c:v>40695</c:v>
                </c:pt>
                <c:pt idx="26655">
                  <c:v>37276</c:v>
                </c:pt>
                <c:pt idx="26656">
                  <c:v>50958</c:v>
                </c:pt>
                <c:pt idx="26657">
                  <c:v>33056</c:v>
                </c:pt>
                <c:pt idx="26658">
                  <c:v>37051</c:v>
                </c:pt>
                <c:pt idx="26659">
                  <c:v>85258</c:v>
                </c:pt>
                <c:pt idx="26660">
                  <c:v>37949</c:v>
                </c:pt>
                <c:pt idx="26661">
                  <c:v>40165</c:v>
                </c:pt>
                <c:pt idx="26662">
                  <c:v>31194</c:v>
                </c:pt>
                <c:pt idx="26663">
                  <c:v>37046</c:v>
                </c:pt>
                <c:pt idx="26664">
                  <c:v>38474</c:v>
                </c:pt>
                <c:pt idx="26665">
                  <c:v>49259</c:v>
                </c:pt>
                <c:pt idx="26666">
                  <c:v>50567</c:v>
                </c:pt>
                <c:pt idx="26667">
                  <c:v>26073</c:v>
                </c:pt>
                <c:pt idx="26668">
                  <c:v>49061</c:v>
                </c:pt>
                <c:pt idx="26669">
                  <c:v>73734</c:v>
                </c:pt>
                <c:pt idx="26670">
                  <c:v>110784</c:v>
                </c:pt>
                <c:pt idx="26671">
                  <c:v>58023</c:v>
                </c:pt>
                <c:pt idx="26672">
                  <c:v>44172</c:v>
                </c:pt>
                <c:pt idx="26673">
                  <c:v>54605</c:v>
                </c:pt>
                <c:pt idx="26674">
                  <c:v>41766</c:v>
                </c:pt>
                <c:pt idx="26675">
                  <c:v>44136</c:v>
                </c:pt>
                <c:pt idx="26676">
                  <c:v>71831</c:v>
                </c:pt>
                <c:pt idx="26677">
                  <c:v>41098</c:v>
                </c:pt>
                <c:pt idx="26678">
                  <c:v>40471</c:v>
                </c:pt>
                <c:pt idx="26679">
                  <c:v>78373</c:v>
                </c:pt>
                <c:pt idx="26680">
                  <c:v>130650</c:v>
                </c:pt>
                <c:pt idx="26681">
                  <c:v>223621</c:v>
                </c:pt>
                <c:pt idx="26682">
                  <c:v>30864</c:v>
                </c:pt>
                <c:pt idx="26683">
                  <c:v>37928</c:v>
                </c:pt>
                <c:pt idx="26684">
                  <c:v>84057</c:v>
                </c:pt>
                <c:pt idx="26685">
                  <c:v>29615</c:v>
                </c:pt>
                <c:pt idx="26686">
                  <c:v>55108</c:v>
                </c:pt>
                <c:pt idx="26687">
                  <c:v>52691</c:v>
                </c:pt>
                <c:pt idx="26688">
                  <c:v>27291</c:v>
                </c:pt>
                <c:pt idx="26689">
                  <c:v>50285</c:v>
                </c:pt>
                <c:pt idx="26690">
                  <c:v>153099</c:v>
                </c:pt>
                <c:pt idx="26691">
                  <c:v>42469</c:v>
                </c:pt>
                <c:pt idx="26692">
                  <c:v>38316</c:v>
                </c:pt>
                <c:pt idx="26693">
                  <c:v>33670</c:v>
                </c:pt>
                <c:pt idx="26694">
                  <c:v>31385</c:v>
                </c:pt>
                <c:pt idx="26695">
                  <c:v>32064</c:v>
                </c:pt>
                <c:pt idx="26696">
                  <c:v>45430</c:v>
                </c:pt>
                <c:pt idx="26697">
                  <c:v>40729</c:v>
                </c:pt>
                <c:pt idx="26698">
                  <c:v>72075</c:v>
                </c:pt>
                <c:pt idx="26699">
                  <c:v>57828</c:v>
                </c:pt>
                <c:pt idx="26700">
                  <c:v>24853</c:v>
                </c:pt>
                <c:pt idx="26701">
                  <c:v>34849</c:v>
                </c:pt>
                <c:pt idx="26702">
                  <c:v>29891</c:v>
                </c:pt>
                <c:pt idx="26703">
                  <c:v>23897</c:v>
                </c:pt>
                <c:pt idx="26704">
                  <c:v>23466</c:v>
                </c:pt>
                <c:pt idx="26705">
                  <c:v>69821</c:v>
                </c:pt>
                <c:pt idx="26706">
                  <c:v>67265</c:v>
                </c:pt>
                <c:pt idx="26707">
                  <c:v>98526</c:v>
                </c:pt>
                <c:pt idx="26708">
                  <c:v>71322</c:v>
                </c:pt>
                <c:pt idx="26709">
                  <c:v>176774</c:v>
                </c:pt>
                <c:pt idx="26710">
                  <c:v>60418</c:v>
                </c:pt>
                <c:pt idx="26711">
                  <c:v>79841</c:v>
                </c:pt>
                <c:pt idx="26712">
                  <c:v>26260</c:v>
                </c:pt>
                <c:pt idx="26713">
                  <c:v>34769</c:v>
                </c:pt>
                <c:pt idx="26714">
                  <c:v>27901</c:v>
                </c:pt>
                <c:pt idx="26715">
                  <c:v>126704</c:v>
                </c:pt>
                <c:pt idx="26716">
                  <c:v>42144</c:v>
                </c:pt>
                <c:pt idx="26717">
                  <c:v>43342</c:v>
                </c:pt>
                <c:pt idx="26718">
                  <c:v>183738</c:v>
                </c:pt>
                <c:pt idx="26719">
                  <c:v>155837</c:v>
                </c:pt>
                <c:pt idx="26720">
                  <c:v>42565</c:v>
                </c:pt>
                <c:pt idx="26721">
                  <c:v>102503</c:v>
                </c:pt>
                <c:pt idx="26722">
                  <c:v>41914</c:v>
                </c:pt>
                <c:pt idx="26723">
                  <c:v>41012</c:v>
                </c:pt>
                <c:pt idx="26724">
                  <c:v>73002</c:v>
                </c:pt>
                <c:pt idx="26725">
                  <c:v>98516</c:v>
                </c:pt>
                <c:pt idx="26726">
                  <c:v>44332</c:v>
                </c:pt>
                <c:pt idx="26727">
                  <c:v>22574</c:v>
                </c:pt>
                <c:pt idx="26728">
                  <c:v>50988</c:v>
                </c:pt>
                <c:pt idx="26729">
                  <c:v>34126</c:v>
                </c:pt>
                <c:pt idx="26730">
                  <c:v>62262</c:v>
                </c:pt>
                <c:pt idx="26731">
                  <c:v>56537</c:v>
                </c:pt>
                <c:pt idx="26732">
                  <c:v>106236</c:v>
                </c:pt>
                <c:pt idx="26733">
                  <c:v>68752</c:v>
                </c:pt>
                <c:pt idx="26734">
                  <c:v>25832</c:v>
                </c:pt>
                <c:pt idx="26735">
                  <c:v>57884</c:v>
                </c:pt>
                <c:pt idx="26736">
                  <c:v>23362</c:v>
                </c:pt>
                <c:pt idx="26737">
                  <c:v>44443</c:v>
                </c:pt>
                <c:pt idx="26738">
                  <c:v>71635</c:v>
                </c:pt>
                <c:pt idx="26739">
                  <c:v>25575</c:v>
                </c:pt>
                <c:pt idx="26740">
                  <c:v>66279</c:v>
                </c:pt>
                <c:pt idx="26741">
                  <c:v>69080</c:v>
                </c:pt>
                <c:pt idx="26742">
                  <c:v>58412</c:v>
                </c:pt>
                <c:pt idx="26743">
                  <c:v>29557</c:v>
                </c:pt>
                <c:pt idx="26744">
                  <c:v>38958</c:v>
                </c:pt>
                <c:pt idx="26745">
                  <c:v>29534</c:v>
                </c:pt>
                <c:pt idx="26746">
                  <c:v>22111</c:v>
                </c:pt>
                <c:pt idx="26747">
                  <c:v>44021</c:v>
                </c:pt>
                <c:pt idx="26748">
                  <c:v>34009</c:v>
                </c:pt>
                <c:pt idx="26749">
                  <c:v>179039</c:v>
                </c:pt>
                <c:pt idx="26750">
                  <c:v>24232</c:v>
                </c:pt>
                <c:pt idx="26751">
                  <c:v>25874</c:v>
                </c:pt>
                <c:pt idx="26752">
                  <c:v>27660</c:v>
                </c:pt>
                <c:pt idx="26753">
                  <c:v>48764</c:v>
                </c:pt>
                <c:pt idx="26754">
                  <c:v>39931</c:v>
                </c:pt>
                <c:pt idx="26755">
                  <c:v>28082</c:v>
                </c:pt>
                <c:pt idx="26756">
                  <c:v>53319</c:v>
                </c:pt>
                <c:pt idx="26757">
                  <c:v>82227</c:v>
                </c:pt>
                <c:pt idx="26758">
                  <c:v>39446</c:v>
                </c:pt>
                <c:pt idx="26759">
                  <c:v>61833</c:v>
                </c:pt>
                <c:pt idx="26760">
                  <c:v>33507</c:v>
                </c:pt>
                <c:pt idx="26761">
                  <c:v>122808</c:v>
                </c:pt>
                <c:pt idx="26762">
                  <c:v>38523</c:v>
                </c:pt>
                <c:pt idx="26763">
                  <c:v>86393</c:v>
                </c:pt>
                <c:pt idx="26764">
                  <c:v>45720</c:v>
                </c:pt>
                <c:pt idx="26765">
                  <c:v>77049</c:v>
                </c:pt>
                <c:pt idx="26766">
                  <c:v>37401</c:v>
                </c:pt>
                <c:pt idx="26767">
                  <c:v>48175</c:v>
                </c:pt>
                <c:pt idx="26768">
                  <c:v>42913</c:v>
                </c:pt>
                <c:pt idx="26769">
                  <c:v>31536</c:v>
                </c:pt>
                <c:pt idx="26770">
                  <c:v>46827</c:v>
                </c:pt>
                <c:pt idx="26771">
                  <c:v>60955</c:v>
                </c:pt>
                <c:pt idx="26772">
                  <c:v>278145</c:v>
                </c:pt>
                <c:pt idx="26773">
                  <c:v>182198</c:v>
                </c:pt>
                <c:pt idx="26774">
                  <c:v>161098</c:v>
                </c:pt>
                <c:pt idx="26775">
                  <c:v>66758</c:v>
                </c:pt>
                <c:pt idx="26776">
                  <c:v>68312</c:v>
                </c:pt>
                <c:pt idx="26777">
                  <c:v>30350</c:v>
                </c:pt>
                <c:pt idx="26778">
                  <c:v>24113</c:v>
                </c:pt>
                <c:pt idx="26779">
                  <c:v>22920</c:v>
                </c:pt>
                <c:pt idx="26780">
                  <c:v>55759</c:v>
                </c:pt>
                <c:pt idx="26781">
                  <c:v>71319</c:v>
                </c:pt>
                <c:pt idx="26782">
                  <c:v>64258</c:v>
                </c:pt>
                <c:pt idx="26783">
                  <c:v>203718</c:v>
                </c:pt>
                <c:pt idx="26784">
                  <c:v>34027</c:v>
                </c:pt>
                <c:pt idx="26785">
                  <c:v>78707</c:v>
                </c:pt>
                <c:pt idx="26786">
                  <c:v>26636</c:v>
                </c:pt>
                <c:pt idx="26787">
                  <c:v>70220</c:v>
                </c:pt>
                <c:pt idx="26788">
                  <c:v>59712</c:v>
                </c:pt>
                <c:pt idx="26789">
                  <c:v>34843</c:v>
                </c:pt>
                <c:pt idx="26790">
                  <c:v>36984</c:v>
                </c:pt>
                <c:pt idx="26791">
                  <c:v>45211</c:v>
                </c:pt>
                <c:pt idx="26792">
                  <c:v>125715</c:v>
                </c:pt>
                <c:pt idx="26793">
                  <c:v>41325</c:v>
                </c:pt>
                <c:pt idx="26794">
                  <c:v>20838</c:v>
                </c:pt>
                <c:pt idx="26795">
                  <c:v>31279</c:v>
                </c:pt>
                <c:pt idx="26796">
                  <c:v>41601</c:v>
                </c:pt>
                <c:pt idx="26797">
                  <c:v>21409</c:v>
                </c:pt>
                <c:pt idx="26798">
                  <c:v>24356</c:v>
                </c:pt>
                <c:pt idx="26799">
                  <c:v>174995</c:v>
                </c:pt>
                <c:pt idx="26800">
                  <c:v>36280</c:v>
                </c:pt>
                <c:pt idx="26801">
                  <c:v>33925</c:v>
                </c:pt>
                <c:pt idx="26802">
                  <c:v>42207</c:v>
                </c:pt>
                <c:pt idx="26803">
                  <c:v>56864</c:v>
                </c:pt>
                <c:pt idx="26804">
                  <c:v>209165</c:v>
                </c:pt>
                <c:pt idx="26805">
                  <c:v>45223</c:v>
                </c:pt>
                <c:pt idx="26806">
                  <c:v>42616</c:v>
                </c:pt>
                <c:pt idx="26807">
                  <c:v>88133</c:v>
                </c:pt>
                <c:pt idx="26808">
                  <c:v>88609</c:v>
                </c:pt>
                <c:pt idx="26809">
                  <c:v>63292</c:v>
                </c:pt>
                <c:pt idx="26810">
                  <c:v>103656</c:v>
                </c:pt>
                <c:pt idx="26811">
                  <c:v>30336</c:v>
                </c:pt>
                <c:pt idx="26812">
                  <c:v>34494</c:v>
                </c:pt>
                <c:pt idx="26813">
                  <c:v>197982</c:v>
                </c:pt>
                <c:pt idx="26814">
                  <c:v>37983</c:v>
                </c:pt>
                <c:pt idx="26815">
                  <c:v>54314</c:v>
                </c:pt>
                <c:pt idx="26816">
                  <c:v>43999</c:v>
                </c:pt>
                <c:pt idx="26817">
                  <c:v>72135</c:v>
                </c:pt>
                <c:pt idx="26818">
                  <c:v>77326</c:v>
                </c:pt>
                <c:pt idx="26819">
                  <c:v>67761</c:v>
                </c:pt>
                <c:pt idx="26820">
                  <c:v>34325</c:v>
                </c:pt>
                <c:pt idx="26821">
                  <c:v>26660</c:v>
                </c:pt>
                <c:pt idx="26822">
                  <c:v>40654</c:v>
                </c:pt>
                <c:pt idx="26823">
                  <c:v>117981</c:v>
                </c:pt>
                <c:pt idx="26824">
                  <c:v>22553</c:v>
                </c:pt>
                <c:pt idx="26825">
                  <c:v>220245</c:v>
                </c:pt>
                <c:pt idx="26826">
                  <c:v>73140</c:v>
                </c:pt>
                <c:pt idx="26827">
                  <c:v>25670</c:v>
                </c:pt>
                <c:pt idx="26828">
                  <c:v>25321</c:v>
                </c:pt>
                <c:pt idx="26829">
                  <c:v>67642</c:v>
                </c:pt>
                <c:pt idx="26830">
                  <c:v>44595</c:v>
                </c:pt>
                <c:pt idx="26831">
                  <c:v>25878</c:v>
                </c:pt>
                <c:pt idx="26832">
                  <c:v>44945</c:v>
                </c:pt>
                <c:pt idx="26833">
                  <c:v>95083</c:v>
                </c:pt>
                <c:pt idx="26834">
                  <c:v>35248</c:v>
                </c:pt>
                <c:pt idx="26835">
                  <c:v>109006</c:v>
                </c:pt>
                <c:pt idx="26836">
                  <c:v>73365</c:v>
                </c:pt>
                <c:pt idx="26837">
                  <c:v>159484</c:v>
                </c:pt>
                <c:pt idx="26838">
                  <c:v>86865</c:v>
                </c:pt>
                <c:pt idx="26839">
                  <c:v>31952</c:v>
                </c:pt>
                <c:pt idx="26840">
                  <c:v>38764</c:v>
                </c:pt>
                <c:pt idx="26841">
                  <c:v>27475</c:v>
                </c:pt>
                <c:pt idx="26842">
                  <c:v>77593</c:v>
                </c:pt>
                <c:pt idx="26843">
                  <c:v>84002</c:v>
                </c:pt>
                <c:pt idx="26844">
                  <c:v>45199</c:v>
                </c:pt>
                <c:pt idx="26845">
                  <c:v>40553</c:v>
                </c:pt>
                <c:pt idx="26846">
                  <c:v>36595</c:v>
                </c:pt>
                <c:pt idx="26847">
                  <c:v>42363</c:v>
                </c:pt>
                <c:pt idx="26848">
                  <c:v>148815</c:v>
                </c:pt>
                <c:pt idx="26849">
                  <c:v>70291</c:v>
                </c:pt>
                <c:pt idx="26850">
                  <c:v>38199</c:v>
                </c:pt>
                <c:pt idx="26851">
                  <c:v>64820</c:v>
                </c:pt>
                <c:pt idx="26852">
                  <c:v>28318</c:v>
                </c:pt>
                <c:pt idx="26853">
                  <c:v>51070</c:v>
                </c:pt>
                <c:pt idx="26854">
                  <c:v>36141</c:v>
                </c:pt>
                <c:pt idx="26855">
                  <c:v>92568</c:v>
                </c:pt>
                <c:pt idx="26856">
                  <c:v>71657</c:v>
                </c:pt>
                <c:pt idx="26857">
                  <c:v>61880</c:v>
                </c:pt>
                <c:pt idx="26858">
                  <c:v>24182</c:v>
                </c:pt>
                <c:pt idx="26859">
                  <c:v>42577</c:v>
                </c:pt>
                <c:pt idx="26860">
                  <c:v>52916</c:v>
                </c:pt>
                <c:pt idx="26861">
                  <c:v>84696</c:v>
                </c:pt>
                <c:pt idx="26862">
                  <c:v>254740</c:v>
                </c:pt>
                <c:pt idx="26863">
                  <c:v>34507</c:v>
                </c:pt>
                <c:pt idx="26864">
                  <c:v>45850</c:v>
                </c:pt>
                <c:pt idx="26865">
                  <c:v>23932</c:v>
                </c:pt>
                <c:pt idx="26866">
                  <c:v>57230</c:v>
                </c:pt>
                <c:pt idx="26867">
                  <c:v>108269</c:v>
                </c:pt>
                <c:pt idx="26868">
                  <c:v>44561</c:v>
                </c:pt>
                <c:pt idx="26869">
                  <c:v>94842</c:v>
                </c:pt>
                <c:pt idx="26870">
                  <c:v>44530</c:v>
                </c:pt>
                <c:pt idx="26871">
                  <c:v>79588</c:v>
                </c:pt>
                <c:pt idx="26872">
                  <c:v>19763</c:v>
                </c:pt>
                <c:pt idx="26873">
                  <c:v>94842</c:v>
                </c:pt>
                <c:pt idx="26874">
                  <c:v>36751</c:v>
                </c:pt>
                <c:pt idx="26875">
                  <c:v>63261</c:v>
                </c:pt>
                <c:pt idx="26876">
                  <c:v>409796</c:v>
                </c:pt>
                <c:pt idx="26877">
                  <c:v>87251</c:v>
                </c:pt>
                <c:pt idx="26878">
                  <c:v>78383</c:v>
                </c:pt>
                <c:pt idx="26879">
                  <c:v>64281</c:v>
                </c:pt>
                <c:pt idx="26880">
                  <c:v>31591</c:v>
                </c:pt>
                <c:pt idx="26881">
                  <c:v>28869</c:v>
                </c:pt>
                <c:pt idx="26882">
                  <c:v>40515</c:v>
                </c:pt>
                <c:pt idx="26883">
                  <c:v>54277</c:v>
                </c:pt>
                <c:pt idx="26884">
                  <c:v>123590</c:v>
                </c:pt>
                <c:pt idx="26885">
                  <c:v>102936</c:v>
                </c:pt>
                <c:pt idx="26886">
                  <c:v>37612</c:v>
                </c:pt>
                <c:pt idx="26887">
                  <c:v>50575</c:v>
                </c:pt>
                <c:pt idx="26888">
                  <c:v>83995</c:v>
                </c:pt>
                <c:pt idx="26889">
                  <c:v>36902</c:v>
                </c:pt>
                <c:pt idx="26890">
                  <c:v>52219</c:v>
                </c:pt>
                <c:pt idx="26891">
                  <c:v>44345</c:v>
                </c:pt>
                <c:pt idx="26892">
                  <c:v>54570</c:v>
                </c:pt>
                <c:pt idx="26893">
                  <c:v>27565</c:v>
                </c:pt>
                <c:pt idx="26894">
                  <c:v>34082</c:v>
                </c:pt>
                <c:pt idx="26895">
                  <c:v>27041</c:v>
                </c:pt>
                <c:pt idx="26896">
                  <c:v>193307</c:v>
                </c:pt>
                <c:pt idx="26897">
                  <c:v>71808</c:v>
                </c:pt>
                <c:pt idx="26898">
                  <c:v>35955</c:v>
                </c:pt>
                <c:pt idx="26899">
                  <c:v>60533</c:v>
                </c:pt>
                <c:pt idx="26900">
                  <c:v>33688</c:v>
                </c:pt>
                <c:pt idx="26901">
                  <c:v>63445</c:v>
                </c:pt>
                <c:pt idx="26902">
                  <c:v>42266</c:v>
                </c:pt>
                <c:pt idx="26903">
                  <c:v>47213</c:v>
                </c:pt>
                <c:pt idx="26904">
                  <c:v>96975</c:v>
                </c:pt>
                <c:pt idx="26905">
                  <c:v>52956</c:v>
                </c:pt>
                <c:pt idx="26906">
                  <c:v>169879</c:v>
                </c:pt>
                <c:pt idx="26907">
                  <c:v>27075</c:v>
                </c:pt>
                <c:pt idx="26908">
                  <c:v>36524</c:v>
                </c:pt>
                <c:pt idx="26909">
                  <c:v>32343</c:v>
                </c:pt>
                <c:pt idx="26910">
                  <c:v>41863</c:v>
                </c:pt>
                <c:pt idx="26911">
                  <c:v>52634</c:v>
                </c:pt>
                <c:pt idx="26912">
                  <c:v>45576</c:v>
                </c:pt>
                <c:pt idx="26913">
                  <c:v>41568</c:v>
                </c:pt>
                <c:pt idx="26914">
                  <c:v>40744</c:v>
                </c:pt>
                <c:pt idx="26915">
                  <c:v>148557</c:v>
                </c:pt>
                <c:pt idx="26916">
                  <c:v>48717</c:v>
                </c:pt>
                <c:pt idx="26917">
                  <c:v>42522</c:v>
                </c:pt>
                <c:pt idx="26918">
                  <c:v>25091</c:v>
                </c:pt>
                <c:pt idx="26919">
                  <c:v>20683</c:v>
                </c:pt>
                <c:pt idx="26920">
                  <c:v>36423</c:v>
                </c:pt>
                <c:pt idx="26921">
                  <c:v>168408</c:v>
                </c:pt>
                <c:pt idx="26922">
                  <c:v>36413</c:v>
                </c:pt>
                <c:pt idx="26923">
                  <c:v>93402</c:v>
                </c:pt>
                <c:pt idx="26924">
                  <c:v>39425</c:v>
                </c:pt>
                <c:pt idx="26925">
                  <c:v>80591</c:v>
                </c:pt>
                <c:pt idx="26926">
                  <c:v>62346</c:v>
                </c:pt>
                <c:pt idx="26927">
                  <c:v>78822</c:v>
                </c:pt>
                <c:pt idx="26928">
                  <c:v>40597</c:v>
                </c:pt>
                <c:pt idx="26929">
                  <c:v>85633</c:v>
                </c:pt>
                <c:pt idx="26930">
                  <c:v>54116</c:v>
                </c:pt>
                <c:pt idx="26931">
                  <c:v>30756</c:v>
                </c:pt>
                <c:pt idx="26932">
                  <c:v>33370</c:v>
                </c:pt>
                <c:pt idx="26933">
                  <c:v>34861</c:v>
                </c:pt>
                <c:pt idx="26934">
                  <c:v>52528</c:v>
                </c:pt>
                <c:pt idx="26935">
                  <c:v>46697</c:v>
                </c:pt>
                <c:pt idx="26936">
                  <c:v>68713</c:v>
                </c:pt>
                <c:pt idx="26937">
                  <c:v>29300</c:v>
                </c:pt>
                <c:pt idx="26938">
                  <c:v>38690</c:v>
                </c:pt>
                <c:pt idx="26939">
                  <c:v>38037</c:v>
                </c:pt>
                <c:pt idx="26940">
                  <c:v>57239</c:v>
                </c:pt>
                <c:pt idx="26941">
                  <c:v>39246</c:v>
                </c:pt>
                <c:pt idx="26942">
                  <c:v>62253</c:v>
                </c:pt>
                <c:pt idx="26943">
                  <c:v>55709</c:v>
                </c:pt>
                <c:pt idx="26944">
                  <c:v>41566</c:v>
                </c:pt>
                <c:pt idx="26945">
                  <c:v>112448</c:v>
                </c:pt>
                <c:pt idx="26946">
                  <c:v>34720</c:v>
                </c:pt>
                <c:pt idx="26947">
                  <c:v>35210</c:v>
                </c:pt>
                <c:pt idx="26948">
                  <c:v>54711</c:v>
                </c:pt>
                <c:pt idx="26949">
                  <c:v>32352</c:v>
                </c:pt>
                <c:pt idx="26950">
                  <c:v>47351</c:v>
                </c:pt>
                <c:pt idx="26951">
                  <c:v>36448</c:v>
                </c:pt>
                <c:pt idx="26952">
                  <c:v>39641</c:v>
                </c:pt>
                <c:pt idx="26953">
                  <c:v>34877</c:v>
                </c:pt>
                <c:pt idx="26954">
                  <c:v>29954</c:v>
                </c:pt>
                <c:pt idx="26955">
                  <c:v>66227</c:v>
                </c:pt>
                <c:pt idx="26956">
                  <c:v>33158</c:v>
                </c:pt>
                <c:pt idx="26957">
                  <c:v>56450</c:v>
                </c:pt>
                <c:pt idx="26958">
                  <c:v>193593</c:v>
                </c:pt>
                <c:pt idx="26959">
                  <c:v>31603</c:v>
                </c:pt>
                <c:pt idx="26960">
                  <c:v>26481</c:v>
                </c:pt>
                <c:pt idx="26961">
                  <c:v>35978</c:v>
                </c:pt>
                <c:pt idx="26962">
                  <c:v>34657</c:v>
                </c:pt>
                <c:pt idx="26963">
                  <c:v>66006</c:v>
                </c:pt>
                <c:pt idx="26964">
                  <c:v>25165</c:v>
                </c:pt>
                <c:pt idx="26965">
                  <c:v>104889</c:v>
                </c:pt>
                <c:pt idx="26966">
                  <c:v>27321</c:v>
                </c:pt>
                <c:pt idx="26967">
                  <c:v>53114</c:v>
                </c:pt>
                <c:pt idx="26968">
                  <c:v>31834</c:v>
                </c:pt>
                <c:pt idx="26969">
                  <c:v>185288</c:v>
                </c:pt>
                <c:pt idx="26970">
                  <c:v>31241</c:v>
                </c:pt>
                <c:pt idx="26971">
                  <c:v>95239</c:v>
                </c:pt>
                <c:pt idx="26972">
                  <c:v>29912</c:v>
                </c:pt>
                <c:pt idx="26973">
                  <c:v>60748</c:v>
                </c:pt>
                <c:pt idx="26974">
                  <c:v>33922</c:v>
                </c:pt>
                <c:pt idx="26975">
                  <c:v>58928</c:v>
                </c:pt>
                <c:pt idx="26976">
                  <c:v>34725</c:v>
                </c:pt>
                <c:pt idx="26977">
                  <c:v>67422</c:v>
                </c:pt>
                <c:pt idx="26978">
                  <c:v>37611</c:v>
                </c:pt>
                <c:pt idx="26979">
                  <c:v>119631</c:v>
                </c:pt>
                <c:pt idx="26980">
                  <c:v>40508</c:v>
                </c:pt>
                <c:pt idx="26981">
                  <c:v>75719</c:v>
                </c:pt>
                <c:pt idx="26982">
                  <c:v>49743</c:v>
                </c:pt>
                <c:pt idx="26983">
                  <c:v>37624</c:v>
                </c:pt>
                <c:pt idx="26984">
                  <c:v>24555</c:v>
                </c:pt>
                <c:pt idx="26985">
                  <c:v>28259</c:v>
                </c:pt>
                <c:pt idx="26986">
                  <c:v>76305</c:v>
                </c:pt>
                <c:pt idx="26987">
                  <c:v>41957</c:v>
                </c:pt>
                <c:pt idx="26988">
                  <c:v>90647</c:v>
                </c:pt>
                <c:pt idx="26989">
                  <c:v>32595</c:v>
                </c:pt>
                <c:pt idx="26990">
                  <c:v>226972</c:v>
                </c:pt>
                <c:pt idx="26991">
                  <c:v>25736</c:v>
                </c:pt>
                <c:pt idx="26992">
                  <c:v>37340</c:v>
                </c:pt>
                <c:pt idx="26993">
                  <c:v>38696</c:v>
                </c:pt>
                <c:pt idx="26994">
                  <c:v>194795</c:v>
                </c:pt>
                <c:pt idx="26995">
                  <c:v>48021</c:v>
                </c:pt>
                <c:pt idx="26996">
                  <c:v>36170</c:v>
                </c:pt>
                <c:pt idx="26997">
                  <c:v>37576</c:v>
                </c:pt>
                <c:pt idx="26998">
                  <c:v>127297</c:v>
                </c:pt>
                <c:pt idx="26999">
                  <c:v>170607</c:v>
                </c:pt>
                <c:pt idx="27000">
                  <c:v>95673</c:v>
                </c:pt>
                <c:pt idx="27001">
                  <c:v>37905</c:v>
                </c:pt>
                <c:pt idx="27002">
                  <c:v>104292</c:v>
                </c:pt>
                <c:pt idx="27003">
                  <c:v>23565</c:v>
                </c:pt>
                <c:pt idx="27004">
                  <c:v>21183</c:v>
                </c:pt>
                <c:pt idx="27005">
                  <c:v>44821</c:v>
                </c:pt>
                <c:pt idx="27006">
                  <c:v>65820</c:v>
                </c:pt>
                <c:pt idx="27007">
                  <c:v>24272</c:v>
                </c:pt>
                <c:pt idx="27008">
                  <c:v>37024</c:v>
                </c:pt>
                <c:pt idx="27009">
                  <c:v>23542</c:v>
                </c:pt>
                <c:pt idx="27010">
                  <c:v>41878</c:v>
                </c:pt>
                <c:pt idx="27011">
                  <c:v>29312</c:v>
                </c:pt>
                <c:pt idx="27012">
                  <c:v>43903</c:v>
                </c:pt>
                <c:pt idx="27013">
                  <c:v>117322</c:v>
                </c:pt>
                <c:pt idx="27014">
                  <c:v>97122</c:v>
                </c:pt>
                <c:pt idx="27015">
                  <c:v>46577</c:v>
                </c:pt>
                <c:pt idx="27016">
                  <c:v>61732</c:v>
                </c:pt>
                <c:pt idx="27017">
                  <c:v>39560</c:v>
                </c:pt>
                <c:pt idx="27018">
                  <c:v>28718</c:v>
                </c:pt>
                <c:pt idx="27019">
                  <c:v>123840</c:v>
                </c:pt>
                <c:pt idx="27020">
                  <c:v>71517</c:v>
                </c:pt>
                <c:pt idx="27021">
                  <c:v>43955</c:v>
                </c:pt>
                <c:pt idx="27022">
                  <c:v>30519</c:v>
                </c:pt>
                <c:pt idx="27023">
                  <c:v>60838</c:v>
                </c:pt>
                <c:pt idx="27024">
                  <c:v>57744</c:v>
                </c:pt>
                <c:pt idx="27025">
                  <c:v>87368</c:v>
                </c:pt>
                <c:pt idx="27026">
                  <c:v>27598</c:v>
                </c:pt>
                <c:pt idx="27027">
                  <c:v>119975</c:v>
                </c:pt>
                <c:pt idx="27028">
                  <c:v>43072</c:v>
                </c:pt>
                <c:pt idx="27029">
                  <c:v>64506</c:v>
                </c:pt>
                <c:pt idx="27030">
                  <c:v>33485</c:v>
                </c:pt>
                <c:pt idx="27031">
                  <c:v>22150</c:v>
                </c:pt>
                <c:pt idx="27032">
                  <c:v>48402</c:v>
                </c:pt>
                <c:pt idx="27033">
                  <c:v>22694</c:v>
                </c:pt>
                <c:pt idx="27034">
                  <c:v>31157</c:v>
                </c:pt>
                <c:pt idx="27035">
                  <c:v>27347</c:v>
                </c:pt>
                <c:pt idx="27036">
                  <c:v>73485</c:v>
                </c:pt>
                <c:pt idx="27037">
                  <c:v>349787</c:v>
                </c:pt>
                <c:pt idx="27038">
                  <c:v>35733</c:v>
                </c:pt>
                <c:pt idx="27039">
                  <c:v>35206</c:v>
                </c:pt>
                <c:pt idx="27040">
                  <c:v>58855</c:v>
                </c:pt>
                <c:pt idx="27041">
                  <c:v>15000</c:v>
                </c:pt>
                <c:pt idx="27042">
                  <c:v>43755</c:v>
                </c:pt>
                <c:pt idx="27043">
                  <c:v>25371</c:v>
                </c:pt>
                <c:pt idx="27044">
                  <c:v>40768</c:v>
                </c:pt>
                <c:pt idx="27045">
                  <c:v>74565</c:v>
                </c:pt>
                <c:pt idx="27046">
                  <c:v>66853</c:v>
                </c:pt>
                <c:pt idx="27047">
                  <c:v>40023</c:v>
                </c:pt>
                <c:pt idx="27048">
                  <c:v>34913</c:v>
                </c:pt>
                <c:pt idx="27049">
                  <c:v>40434</c:v>
                </c:pt>
                <c:pt idx="27050">
                  <c:v>35100</c:v>
                </c:pt>
                <c:pt idx="27051">
                  <c:v>33584</c:v>
                </c:pt>
                <c:pt idx="27052">
                  <c:v>21635</c:v>
                </c:pt>
                <c:pt idx="27053">
                  <c:v>119464</c:v>
                </c:pt>
                <c:pt idx="27054">
                  <c:v>74798</c:v>
                </c:pt>
                <c:pt idx="27055">
                  <c:v>30678</c:v>
                </c:pt>
                <c:pt idx="27056">
                  <c:v>122362</c:v>
                </c:pt>
                <c:pt idx="27057">
                  <c:v>28204</c:v>
                </c:pt>
                <c:pt idx="27058">
                  <c:v>28025</c:v>
                </c:pt>
                <c:pt idx="27059">
                  <c:v>154816</c:v>
                </c:pt>
                <c:pt idx="27060">
                  <c:v>49622</c:v>
                </c:pt>
                <c:pt idx="27061">
                  <c:v>43382</c:v>
                </c:pt>
                <c:pt idx="27062">
                  <c:v>39538</c:v>
                </c:pt>
                <c:pt idx="27063">
                  <c:v>32849</c:v>
                </c:pt>
                <c:pt idx="27064">
                  <c:v>41515</c:v>
                </c:pt>
                <c:pt idx="27065">
                  <c:v>22325</c:v>
                </c:pt>
                <c:pt idx="27066">
                  <c:v>38393</c:v>
                </c:pt>
                <c:pt idx="27067">
                  <c:v>51896</c:v>
                </c:pt>
                <c:pt idx="27068">
                  <c:v>21980</c:v>
                </c:pt>
                <c:pt idx="27069">
                  <c:v>38720</c:v>
                </c:pt>
                <c:pt idx="27070">
                  <c:v>67361</c:v>
                </c:pt>
                <c:pt idx="27071">
                  <c:v>36923</c:v>
                </c:pt>
                <c:pt idx="27072">
                  <c:v>52136</c:v>
                </c:pt>
                <c:pt idx="27073">
                  <c:v>37246</c:v>
                </c:pt>
                <c:pt idx="27074">
                  <c:v>47120</c:v>
                </c:pt>
                <c:pt idx="27075">
                  <c:v>36974</c:v>
                </c:pt>
                <c:pt idx="27076">
                  <c:v>53743</c:v>
                </c:pt>
                <c:pt idx="27077">
                  <c:v>44018</c:v>
                </c:pt>
                <c:pt idx="27078">
                  <c:v>22753</c:v>
                </c:pt>
                <c:pt idx="27079">
                  <c:v>21769</c:v>
                </c:pt>
                <c:pt idx="27080">
                  <c:v>141290</c:v>
                </c:pt>
                <c:pt idx="27081">
                  <c:v>47964</c:v>
                </c:pt>
                <c:pt idx="27082">
                  <c:v>41036</c:v>
                </c:pt>
                <c:pt idx="27083">
                  <c:v>43045</c:v>
                </c:pt>
                <c:pt idx="27084">
                  <c:v>46883</c:v>
                </c:pt>
                <c:pt idx="27085">
                  <c:v>23503</c:v>
                </c:pt>
                <c:pt idx="27086">
                  <c:v>22861</c:v>
                </c:pt>
                <c:pt idx="27087">
                  <c:v>44107</c:v>
                </c:pt>
                <c:pt idx="27088">
                  <c:v>38611</c:v>
                </c:pt>
                <c:pt idx="27089">
                  <c:v>33612</c:v>
                </c:pt>
                <c:pt idx="27090">
                  <c:v>27391</c:v>
                </c:pt>
                <c:pt idx="27091">
                  <c:v>112195</c:v>
                </c:pt>
                <c:pt idx="27092">
                  <c:v>27503</c:v>
                </c:pt>
                <c:pt idx="27093">
                  <c:v>32534</c:v>
                </c:pt>
                <c:pt idx="27094">
                  <c:v>32014</c:v>
                </c:pt>
                <c:pt idx="27095">
                  <c:v>21816</c:v>
                </c:pt>
                <c:pt idx="27096">
                  <c:v>50821</c:v>
                </c:pt>
                <c:pt idx="27097">
                  <c:v>58106</c:v>
                </c:pt>
                <c:pt idx="27098">
                  <c:v>23662</c:v>
                </c:pt>
                <c:pt idx="27099">
                  <c:v>244268</c:v>
                </c:pt>
                <c:pt idx="27100">
                  <c:v>63259</c:v>
                </c:pt>
                <c:pt idx="27101">
                  <c:v>92086</c:v>
                </c:pt>
                <c:pt idx="27102">
                  <c:v>47423</c:v>
                </c:pt>
                <c:pt idx="27103">
                  <c:v>40498</c:v>
                </c:pt>
                <c:pt idx="27104">
                  <c:v>53703</c:v>
                </c:pt>
                <c:pt idx="27105">
                  <c:v>38146</c:v>
                </c:pt>
                <c:pt idx="27106">
                  <c:v>70653</c:v>
                </c:pt>
                <c:pt idx="27107">
                  <c:v>44904</c:v>
                </c:pt>
                <c:pt idx="27108">
                  <c:v>45405</c:v>
                </c:pt>
                <c:pt idx="27109">
                  <c:v>28206</c:v>
                </c:pt>
                <c:pt idx="27110">
                  <c:v>23684</c:v>
                </c:pt>
                <c:pt idx="27111">
                  <c:v>44790</c:v>
                </c:pt>
                <c:pt idx="27112">
                  <c:v>42101</c:v>
                </c:pt>
                <c:pt idx="27113">
                  <c:v>29446</c:v>
                </c:pt>
                <c:pt idx="27114">
                  <c:v>135440</c:v>
                </c:pt>
                <c:pt idx="27115">
                  <c:v>62559</c:v>
                </c:pt>
                <c:pt idx="27116">
                  <c:v>43169</c:v>
                </c:pt>
                <c:pt idx="27117">
                  <c:v>25148</c:v>
                </c:pt>
                <c:pt idx="27118">
                  <c:v>88248</c:v>
                </c:pt>
                <c:pt idx="27119">
                  <c:v>44783</c:v>
                </c:pt>
                <c:pt idx="27120">
                  <c:v>32113</c:v>
                </c:pt>
                <c:pt idx="27121">
                  <c:v>51746</c:v>
                </c:pt>
                <c:pt idx="27122">
                  <c:v>60172</c:v>
                </c:pt>
                <c:pt idx="27123">
                  <c:v>27406</c:v>
                </c:pt>
                <c:pt idx="27124">
                  <c:v>38700</c:v>
                </c:pt>
                <c:pt idx="27125">
                  <c:v>40630</c:v>
                </c:pt>
                <c:pt idx="27126">
                  <c:v>47966</c:v>
                </c:pt>
                <c:pt idx="27127">
                  <c:v>49919</c:v>
                </c:pt>
                <c:pt idx="27128">
                  <c:v>47187</c:v>
                </c:pt>
                <c:pt idx="27129">
                  <c:v>45290</c:v>
                </c:pt>
                <c:pt idx="27130">
                  <c:v>164449</c:v>
                </c:pt>
                <c:pt idx="27131">
                  <c:v>37387</c:v>
                </c:pt>
                <c:pt idx="27132">
                  <c:v>47070</c:v>
                </c:pt>
                <c:pt idx="27133">
                  <c:v>27643</c:v>
                </c:pt>
                <c:pt idx="27134">
                  <c:v>167048</c:v>
                </c:pt>
                <c:pt idx="27135">
                  <c:v>38331</c:v>
                </c:pt>
                <c:pt idx="27136">
                  <c:v>40839</c:v>
                </c:pt>
                <c:pt idx="27137">
                  <c:v>96385</c:v>
                </c:pt>
                <c:pt idx="27138">
                  <c:v>266957</c:v>
                </c:pt>
                <c:pt idx="27139">
                  <c:v>48791</c:v>
                </c:pt>
                <c:pt idx="27140">
                  <c:v>38311</c:v>
                </c:pt>
                <c:pt idx="27141">
                  <c:v>49668</c:v>
                </c:pt>
                <c:pt idx="27142">
                  <c:v>46054</c:v>
                </c:pt>
                <c:pt idx="27143">
                  <c:v>31934</c:v>
                </c:pt>
                <c:pt idx="27144">
                  <c:v>97805</c:v>
                </c:pt>
                <c:pt idx="27145">
                  <c:v>58651</c:v>
                </c:pt>
                <c:pt idx="27146">
                  <c:v>45908</c:v>
                </c:pt>
                <c:pt idx="27147">
                  <c:v>35874</c:v>
                </c:pt>
                <c:pt idx="27148">
                  <c:v>39153</c:v>
                </c:pt>
                <c:pt idx="27149">
                  <c:v>136840</c:v>
                </c:pt>
                <c:pt idx="27150">
                  <c:v>51840</c:v>
                </c:pt>
                <c:pt idx="27151">
                  <c:v>69974</c:v>
                </c:pt>
                <c:pt idx="27152">
                  <c:v>34326</c:v>
                </c:pt>
                <c:pt idx="27153">
                  <c:v>45392</c:v>
                </c:pt>
                <c:pt idx="27154">
                  <c:v>39545</c:v>
                </c:pt>
                <c:pt idx="27155">
                  <c:v>253565</c:v>
                </c:pt>
                <c:pt idx="27156">
                  <c:v>83760</c:v>
                </c:pt>
                <c:pt idx="27157">
                  <c:v>15000</c:v>
                </c:pt>
                <c:pt idx="27158">
                  <c:v>35122</c:v>
                </c:pt>
                <c:pt idx="27159">
                  <c:v>46396</c:v>
                </c:pt>
                <c:pt idx="27160">
                  <c:v>264413</c:v>
                </c:pt>
                <c:pt idx="27161">
                  <c:v>79986</c:v>
                </c:pt>
                <c:pt idx="27162">
                  <c:v>22510</c:v>
                </c:pt>
                <c:pt idx="27163">
                  <c:v>65783</c:v>
                </c:pt>
                <c:pt idx="27164">
                  <c:v>49429</c:v>
                </c:pt>
                <c:pt idx="27165">
                  <c:v>95516</c:v>
                </c:pt>
                <c:pt idx="27166">
                  <c:v>22754</c:v>
                </c:pt>
                <c:pt idx="27167">
                  <c:v>50780</c:v>
                </c:pt>
                <c:pt idx="27168">
                  <c:v>206700</c:v>
                </c:pt>
                <c:pt idx="27169">
                  <c:v>47447</c:v>
                </c:pt>
                <c:pt idx="27170">
                  <c:v>69965</c:v>
                </c:pt>
                <c:pt idx="27171">
                  <c:v>47291</c:v>
                </c:pt>
                <c:pt idx="27172">
                  <c:v>26963</c:v>
                </c:pt>
                <c:pt idx="27173">
                  <c:v>22402</c:v>
                </c:pt>
                <c:pt idx="27174">
                  <c:v>53685</c:v>
                </c:pt>
                <c:pt idx="27175">
                  <c:v>29808</c:v>
                </c:pt>
                <c:pt idx="27176">
                  <c:v>51212</c:v>
                </c:pt>
                <c:pt idx="27177">
                  <c:v>37219</c:v>
                </c:pt>
                <c:pt idx="27178">
                  <c:v>102008</c:v>
                </c:pt>
                <c:pt idx="27179">
                  <c:v>38309</c:v>
                </c:pt>
                <c:pt idx="27180">
                  <c:v>97531</c:v>
                </c:pt>
                <c:pt idx="27181">
                  <c:v>41064</c:v>
                </c:pt>
                <c:pt idx="27182">
                  <c:v>59142</c:v>
                </c:pt>
                <c:pt idx="27183">
                  <c:v>96199</c:v>
                </c:pt>
                <c:pt idx="27184">
                  <c:v>29904</c:v>
                </c:pt>
                <c:pt idx="27185">
                  <c:v>30947</c:v>
                </c:pt>
                <c:pt idx="27186">
                  <c:v>24986</c:v>
                </c:pt>
                <c:pt idx="27187">
                  <c:v>21812</c:v>
                </c:pt>
                <c:pt idx="27188">
                  <c:v>43966</c:v>
                </c:pt>
                <c:pt idx="27189">
                  <c:v>93322</c:v>
                </c:pt>
                <c:pt idx="27190">
                  <c:v>52545</c:v>
                </c:pt>
                <c:pt idx="27191">
                  <c:v>259352</c:v>
                </c:pt>
                <c:pt idx="27192">
                  <c:v>78929</c:v>
                </c:pt>
                <c:pt idx="27193">
                  <c:v>121594</c:v>
                </c:pt>
                <c:pt idx="27194">
                  <c:v>24121</c:v>
                </c:pt>
                <c:pt idx="27195">
                  <c:v>34275</c:v>
                </c:pt>
                <c:pt idx="27196">
                  <c:v>65008</c:v>
                </c:pt>
                <c:pt idx="27197">
                  <c:v>83359</c:v>
                </c:pt>
                <c:pt idx="27198">
                  <c:v>48843</c:v>
                </c:pt>
                <c:pt idx="27199">
                  <c:v>53422</c:v>
                </c:pt>
                <c:pt idx="27200">
                  <c:v>51372</c:v>
                </c:pt>
                <c:pt idx="27201">
                  <c:v>268964</c:v>
                </c:pt>
                <c:pt idx="27202">
                  <c:v>32461</c:v>
                </c:pt>
                <c:pt idx="27203">
                  <c:v>31251</c:v>
                </c:pt>
                <c:pt idx="27204">
                  <c:v>87601</c:v>
                </c:pt>
                <c:pt idx="27205">
                  <c:v>33331</c:v>
                </c:pt>
                <c:pt idx="27206">
                  <c:v>24930</c:v>
                </c:pt>
                <c:pt idx="27207">
                  <c:v>29056</c:v>
                </c:pt>
                <c:pt idx="27208">
                  <c:v>40904</c:v>
                </c:pt>
                <c:pt idx="27209">
                  <c:v>35369</c:v>
                </c:pt>
                <c:pt idx="27210">
                  <c:v>34100</c:v>
                </c:pt>
                <c:pt idx="27211">
                  <c:v>34425</c:v>
                </c:pt>
                <c:pt idx="27212">
                  <c:v>75051</c:v>
                </c:pt>
                <c:pt idx="27213">
                  <c:v>60414</c:v>
                </c:pt>
                <c:pt idx="27214">
                  <c:v>35233</c:v>
                </c:pt>
                <c:pt idx="27215">
                  <c:v>101073</c:v>
                </c:pt>
                <c:pt idx="27216">
                  <c:v>81445</c:v>
                </c:pt>
                <c:pt idx="27217">
                  <c:v>35929</c:v>
                </c:pt>
                <c:pt idx="27218">
                  <c:v>215394</c:v>
                </c:pt>
                <c:pt idx="27219">
                  <c:v>197739</c:v>
                </c:pt>
                <c:pt idx="27220">
                  <c:v>92321</c:v>
                </c:pt>
                <c:pt idx="27221">
                  <c:v>22526</c:v>
                </c:pt>
                <c:pt idx="27222">
                  <c:v>25738</c:v>
                </c:pt>
                <c:pt idx="27223">
                  <c:v>35353</c:v>
                </c:pt>
                <c:pt idx="27224">
                  <c:v>81214</c:v>
                </c:pt>
                <c:pt idx="27225">
                  <c:v>27435</c:v>
                </c:pt>
                <c:pt idx="27226">
                  <c:v>33380</c:v>
                </c:pt>
                <c:pt idx="27227">
                  <c:v>75094</c:v>
                </c:pt>
                <c:pt idx="27228">
                  <c:v>72500</c:v>
                </c:pt>
                <c:pt idx="27229">
                  <c:v>21234</c:v>
                </c:pt>
                <c:pt idx="27230">
                  <c:v>63437</c:v>
                </c:pt>
                <c:pt idx="27231">
                  <c:v>60227</c:v>
                </c:pt>
                <c:pt idx="27232">
                  <c:v>51746</c:v>
                </c:pt>
                <c:pt idx="27233">
                  <c:v>70662</c:v>
                </c:pt>
                <c:pt idx="27234">
                  <c:v>198314</c:v>
                </c:pt>
                <c:pt idx="27235">
                  <c:v>125591</c:v>
                </c:pt>
                <c:pt idx="27236">
                  <c:v>20097</c:v>
                </c:pt>
                <c:pt idx="27237">
                  <c:v>45726</c:v>
                </c:pt>
                <c:pt idx="27238">
                  <c:v>37227</c:v>
                </c:pt>
                <c:pt idx="27239">
                  <c:v>193500</c:v>
                </c:pt>
                <c:pt idx="27240">
                  <c:v>58207</c:v>
                </c:pt>
                <c:pt idx="27241">
                  <c:v>38324</c:v>
                </c:pt>
                <c:pt idx="27242">
                  <c:v>59201</c:v>
                </c:pt>
                <c:pt idx="27243">
                  <c:v>46310</c:v>
                </c:pt>
                <c:pt idx="27244">
                  <c:v>79628</c:v>
                </c:pt>
                <c:pt idx="27245">
                  <c:v>59889</c:v>
                </c:pt>
                <c:pt idx="27246">
                  <c:v>23565</c:v>
                </c:pt>
                <c:pt idx="27247">
                  <c:v>78264</c:v>
                </c:pt>
                <c:pt idx="27248">
                  <c:v>28313</c:v>
                </c:pt>
                <c:pt idx="27249">
                  <c:v>61742</c:v>
                </c:pt>
                <c:pt idx="27250">
                  <c:v>24255</c:v>
                </c:pt>
                <c:pt idx="27251">
                  <c:v>39374</c:v>
                </c:pt>
                <c:pt idx="27252">
                  <c:v>56340</c:v>
                </c:pt>
                <c:pt idx="27253">
                  <c:v>98102</c:v>
                </c:pt>
                <c:pt idx="27254">
                  <c:v>153710</c:v>
                </c:pt>
                <c:pt idx="27255">
                  <c:v>68918</c:v>
                </c:pt>
                <c:pt idx="27256">
                  <c:v>54783</c:v>
                </c:pt>
                <c:pt idx="27257">
                  <c:v>123577</c:v>
                </c:pt>
                <c:pt idx="27258">
                  <c:v>40296</c:v>
                </c:pt>
                <c:pt idx="27259">
                  <c:v>363939</c:v>
                </c:pt>
                <c:pt idx="27260">
                  <c:v>62725</c:v>
                </c:pt>
                <c:pt idx="27261">
                  <c:v>76739</c:v>
                </c:pt>
                <c:pt idx="27262">
                  <c:v>48593</c:v>
                </c:pt>
                <c:pt idx="27263">
                  <c:v>148673</c:v>
                </c:pt>
                <c:pt idx="27264">
                  <c:v>44113</c:v>
                </c:pt>
                <c:pt idx="27265">
                  <c:v>34808</c:v>
                </c:pt>
                <c:pt idx="27266">
                  <c:v>55049</c:v>
                </c:pt>
                <c:pt idx="27267">
                  <c:v>63086</c:v>
                </c:pt>
                <c:pt idx="27268">
                  <c:v>38523</c:v>
                </c:pt>
                <c:pt idx="27269">
                  <c:v>75684</c:v>
                </c:pt>
                <c:pt idx="27270">
                  <c:v>173454</c:v>
                </c:pt>
                <c:pt idx="27271">
                  <c:v>26397</c:v>
                </c:pt>
                <c:pt idx="27272">
                  <c:v>52873</c:v>
                </c:pt>
                <c:pt idx="27273">
                  <c:v>20859</c:v>
                </c:pt>
                <c:pt idx="27274">
                  <c:v>28206</c:v>
                </c:pt>
                <c:pt idx="27275">
                  <c:v>137787</c:v>
                </c:pt>
                <c:pt idx="27276">
                  <c:v>57636</c:v>
                </c:pt>
                <c:pt idx="27277">
                  <c:v>51923</c:v>
                </c:pt>
                <c:pt idx="27278">
                  <c:v>36903</c:v>
                </c:pt>
                <c:pt idx="27279">
                  <c:v>36337</c:v>
                </c:pt>
                <c:pt idx="27280">
                  <c:v>48838</c:v>
                </c:pt>
                <c:pt idx="27281">
                  <c:v>43726</c:v>
                </c:pt>
                <c:pt idx="27282">
                  <c:v>27482</c:v>
                </c:pt>
                <c:pt idx="27283">
                  <c:v>24379</c:v>
                </c:pt>
                <c:pt idx="27284">
                  <c:v>34598</c:v>
                </c:pt>
                <c:pt idx="27285">
                  <c:v>60535</c:v>
                </c:pt>
                <c:pt idx="27286">
                  <c:v>29823</c:v>
                </c:pt>
                <c:pt idx="27287">
                  <c:v>105471</c:v>
                </c:pt>
                <c:pt idx="27288">
                  <c:v>26037</c:v>
                </c:pt>
                <c:pt idx="27289">
                  <c:v>37939</c:v>
                </c:pt>
                <c:pt idx="27290">
                  <c:v>44725</c:v>
                </c:pt>
                <c:pt idx="27291">
                  <c:v>45138</c:v>
                </c:pt>
                <c:pt idx="27292">
                  <c:v>56162</c:v>
                </c:pt>
                <c:pt idx="27293">
                  <c:v>22301</c:v>
                </c:pt>
                <c:pt idx="27294">
                  <c:v>40792</c:v>
                </c:pt>
                <c:pt idx="27295">
                  <c:v>27535</c:v>
                </c:pt>
                <c:pt idx="27296">
                  <c:v>75933</c:v>
                </c:pt>
                <c:pt idx="27297">
                  <c:v>50776</c:v>
                </c:pt>
                <c:pt idx="27298">
                  <c:v>157149</c:v>
                </c:pt>
                <c:pt idx="27299">
                  <c:v>99420</c:v>
                </c:pt>
                <c:pt idx="27300">
                  <c:v>81137</c:v>
                </c:pt>
                <c:pt idx="27301">
                  <c:v>26606</c:v>
                </c:pt>
                <c:pt idx="27302">
                  <c:v>61853</c:v>
                </c:pt>
                <c:pt idx="27303">
                  <c:v>23859</c:v>
                </c:pt>
                <c:pt idx="27304">
                  <c:v>30459</c:v>
                </c:pt>
                <c:pt idx="27305">
                  <c:v>46920</c:v>
                </c:pt>
                <c:pt idx="27306">
                  <c:v>48630</c:v>
                </c:pt>
                <c:pt idx="27307">
                  <c:v>56054</c:v>
                </c:pt>
                <c:pt idx="27308">
                  <c:v>52592</c:v>
                </c:pt>
                <c:pt idx="27309">
                  <c:v>109612</c:v>
                </c:pt>
                <c:pt idx="27310">
                  <c:v>30218</c:v>
                </c:pt>
                <c:pt idx="27311">
                  <c:v>161604</c:v>
                </c:pt>
                <c:pt idx="27312">
                  <c:v>59444</c:v>
                </c:pt>
                <c:pt idx="27313">
                  <c:v>79319</c:v>
                </c:pt>
                <c:pt idx="27314">
                  <c:v>30483</c:v>
                </c:pt>
                <c:pt idx="27315">
                  <c:v>44196</c:v>
                </c:pt>
                <c:pt idx="27316">
                  <c:v>35636</c:v>
                </c:pt>
                <c:pt idx="27317">
                  <c:v>83108</c:v>
                </c:pt>
                <c:pt idx="27318">
                  <c:v>25412</c:v>
                </c:pt>
                <c:pt idx="27319">
                  <c:v>31259</c:v>
                </c:pt>
                <c:pt idx="27320">
                  <c:v>143322</c:v>
                </c:pt>
                <c:pt idx="27321">
                  <c:v>24216</c:v>
                </c:pt>
                <c:pt idx="27322">
                  <c:v>21677</c:v>
                </c:pt>
                <c:pt idx="27323">
                  <c:v>131273</c:v>
                </c:pt>
                <c:pt idx="27324">
                  <c:v>162681</c:v>
                </c:pt>
                <c:pt idx="27325">
                  <c:v>118877</c:v>
                </c:pt>
                <c:pt idx="27326">
                  <c:v>35218</c:v>
                </c:pt>
                <c:pt idx="27327">
                  <c:v>42183</c:v>
                </c:pt>
                <c:pt idx="27328">
                  <c:v>132224</c:v>
                </c:pt>
                <c:pt idx="27329">
                  <c:v>22572</c:v>
                </c:pt>
                <c:pt idx="27330">
                  <c:v>36289</c:v>
                </c:pt>
                <c:pt idx="27331">
                  <c:v>331018</c:v>
                </c:pt>
                <c:pt idx="27332">
                  <c:v>29414</c:v>
                </c:pt>
                <c:pt idx="27333">
                  <c:v>30252</c:v>
                </c:pt>
                <c:pt idx="27334">
                  <c:v>46896</c:v>
                </c:pt>
                <c:pt idx="27335">
                  <c:v>42504</c:v>
                </c:pt>
                <c:pt idx="27336">
                  <c:v>26176</c:v>
                </c:pt>
                <c:pt idx="27337">
                  <c:v>152716</c:v>
                </c:pt>
                <c:pt idx="27338">
                  <c:v>109781</c:v>
                </c:pt>
                <c:pt idx="27339">
                  <c:v>22717</c:v>
                </c:pt>
                <c:pt idx="27340">
                  <c:v>48584</c:v>
                </c:pt>
                <c:pt idx="27341">
                  <c:v>43816</c:v>
                </c:pt>
                <c:pt idx="27342">
                  <c:v>36934</c:v>
                </c:pt>
                <c:pt idx="27343">
                  <c:v>31881</c:v>
                </c:pt>
                <c:pt idx="27344">
                  <c:v>24921</c:v>
                </c:pt>
                <c:pt idx="27345">
                  <c:v>36277</c:v>
                </c:pt>
                <c:pt idx="27346">
                  <c:v>57875</c:v>
                </c:pt>
                <c:pt idx="27347">
                  <c:v>66893</c:v>
                </c:pt>
                <c:pt idx="27348">
                  <c:v>50436</c:v>
                </c:pt>
                <c:pt idx="27349">
                  <c:v>25538</c:v>
                </c:pt>
                <c:pt idx="27350">
                  <c:v>39624</c:v>
                </c:pt>
                <c:pt idx="27351">
                  <c:v>44615</c:v>
                </c:pt>
                <c:pt idx="27352">
                  <c:v>70615</c:v>
                </c:pt>
                <c:pt idx="27353">
                  <c:v>46962</c:v>
                </c:pt>
                <c:pt idx="27354">
                  <c:v>24619</c:v>
                </c:pt>
                <c:pt idx="27355">
                  <c:v>51216</c:v>
                </c:pt>
                <c:pt idx="27356">
                  <c:v>24760</c:v>
                </c:pt>
                <c:pt idx="27357">
                  <c:v>131315</c:v>
                </c:pt>
                <c:pt idx="27358">
                  <c:v>51379</c:v>
                </c:pt>
                <c:pt idx="27359">
                  <c:v>35883</c:v>
                </c:pt>
                <c:pt idx="27360">
                  <c:v>35302</c:v>
                </c:pt>
                <c:pt idx="27361">
                  <c:v>78867</c:v>
                </c:pt>
                <c:pt idx="27362">
                  <c:v>36581</c:v>
                </c:pt>
                <c:pt idx="27363">
                  <c:v>123485</c:v>
                </c:pt>
                <c:pt idx="27364">
                  <c:v>38500</c:v>
                </c:pt>
                <c:pt idx="27365">
                  <c:v>41573</c:v>
                </c:pt>
                <c:pt idx="27366">
                  <c:v>153903</c:v>
                </c:pt>
                <c:pt idx="27367">
                  <c:v>43469</c:v>
                </c:pt>
                <c:pt idx="27368">
                  <c:v>44137</c:v>
                </c:pt>
                <c:pt idx="27369">
                  <c:v>22097</c:v>
                </c:pt>
                <c:pt idx="27370">
                  <c:v>41529</c:v>
                </c:pt>
                <c:pt idx="27371">
                  <c:v>25932</c:v>
                </c:pt>
                <c:pt idx="27372">
                  <c:v>46818</c:v>
                </c:pt>
                <c:pt idx="27373">
                  <c:v>42107</c:v>
                </c:pt>
                <c:pt idx="27374">
                  <c:v>51677</c:v>
                </c:pt>
                <c:pt idx="27375">
                  <c:v>38053</c:v>
                </c:pt>
                <c:pt idx="27376">
                  <c:v>21482</c:v>
                </c:pt>
                <c:pt idx="27377">
                  <c:v>149478</c:v>
                </c:pt>
                <c:pt idx="27378">
                  <c:v>53646</c:v>
                </c:pt>
                <c:pt idx="27379">
                  <c:v>21860</c:v>
                </c:pt>
                <c:pt idx="27380">
                  <c:v>183079</c:v>
                </c:pt>
                <c:pt idx="27381">
                  <c:v>26064</c:v>
                </c:pt>
                <c:pt idx="27382">
                  <c:v>25405</c:v>
                </c:pt>
                <c:pt idx="27383">
                  <c:v>43130</c:v>
                </c:pt>
                <c:pt idx="27384">
                  <c:v>119074</c:v>
                </c:pt>
                <c:pt idx="27385">
                  <c:v>81700</c:v>
                </c:pt>
                <c:pt idx="27386">
                  <c:v>178845</c:v>
                </c:pt>
                <c:pt idx="27387">
                  <c:v>41273</c:v>
                </c:pt>
                <c:pt idx="27388">
                  <c:v>35432</c:v>
                </c:pt>
                <c:pt idx="27389">
                  <c:v>35394</c:v>
                </c:pt>
                <c:pt idx="27390">
                  <c:v>129257</c:v>
                </c:pt>
                <c:pt idx="27391">
                  <c:v>76055</c:v>
                </c:pt>
                <c:pt idx="27392">
                  <c:v>147339</c:v>
                </c:pt>
                <c:pt idx="27393">
                  <c:v>22300</c:v>
                </c:pt>
                <c:pt idx="27394">
                  <c:v>29042</c:v>
                </c:pt>
                <c:pt idx="27395">
                  <c:v>59593</c:v>
                </c:pt>
                <c:pt idx="27396">
                  <c:v>60361</c:v>
                </c:pt>
                <c:pt idx="27397">
                  <c:v>27946</c:v>
                </c:pt>
                <c:pt idx="27398">
                  <c:v>40288</c:v>
                </c:pt>
                <c:pt idx="27399">
                  <c:v>31996</c:v>
                </c:pt>
                <c:pt idx="27400">
                  <c:v>42292</c:v>
                </c:pt>
                <c:pt idx="27401">
                  <c:v>29854</c:v>
                </c:pt>
                <c:pt idx="27402">
                  <c:v>22963</c:v>
                </c:pt>
                <c:pt idx="27403">
                  <c:v>31239</c:v>
                </c:pt>
                <c:pt idx="27404">
                  <c:v>45777</c:v>
                </c:pt>
                <c:pt idx="27405">
                  <c:v>33864</c:v>
                </c:pt>
                <c:pt idx="27406">
                  <c:v>32928</c:v>
                </c:pt>
                <c:pt idx="27407">
                  <c:v>104588</c:v>
                </c:pt>
                <c:pt idx="27408">
                  <c:v>63754</c:v>
                </c:pt>
                <c:pt idx="27409">
                  <c:v>37979</c:v>
                </c:pt>
                <c:pt idx="27410">
                  <c:v>37810</c:v>
                </c:pt>
                <c:pt idx="27411">
                  <c:v>24288</c:v>
                </c:pt>
                <c:pt idx="27412">
                  <c:v>37056</c:v>
                </c:pt>
                <c:pt idx="27413">
                  <c:v>32624</c:v>
                </c:pt>
                <c:pt idx="27414">
                  <c:v>124056</c:v>
                </c:pt>
                <c:pt idx="27415">
                  <c:v>160325</c:v>
                </c:pt>
                <c:pt idx="27416">
                  <c:v>76566</c:v>
                </c:pt>
                <c:pt idx="27417">
                  <c:v>81755</c:v>
                </c:pt>
                <c:pt idx="27418">
                  <c:v>34322</c:v>
                </c:pt>
                <c:pt idx="27419">
                  <c:v>257441</c:v>
                </c:pt>
                <c:pt idx="27420">
                  <c:v>45733</c:v>
                </c:pt>
                <c:pt idx="27421">
                  <c:v>28072</c:v>
                </c:pt>
                <c:pt idx="27422">
                  <c:v>102936</c:v>
                </c:pt>
                <c:pt idx="27423">
                  <c:v>44773</c:v>
                </c:pt>
                <c:pt idx="27424">
                  <c:v>41647</c:v>
                </c:pt>
                <c:pt idx="27425">
                  <c:v>44936</c:v>
                </c:pt>
                <c:pt idx="27426">
                  <c:v>33133</c:v>
                </c:pt>
                <c:pt idx="27427">
                  <c:v>28227</c:v>
                </c:pt>
                <c:pt idx="27428">
                  <c:v>33212</c:v>
                </c:pt>
                <c:pt idx="27429">
                  <c:v>23858</c:v>
                </c:pt>
                <c:pt idx="27430">
                  <c:v>36168</c:v>
                </c:pt>
                <c:pt idx="27431">
                  <c:v>39831</c:v>
                </c:pt>
                <c:pt idx="27432">
                  <c:v>46948</c:v>
                </c:pt>
                <c:pt idx="27433">
                  <c:v>236166</c:v>
                </c:pt>
                <c:pt idx="27434">
                  <c:v>44178</c:v>
                </c:pt>
                <c:pt idx="27435">
                  <c:v>55888</c:v>
                </c:pt>
                <c:pt idx="27436">
                  <c:v>40939</c:v>
                </c:pt>
                <c:pt idx="27437">
                  <c:v>58106</c:v>
                </c:pt>
                <c:pt idx="27438">
                  <c:v>33077</c:v>
                </c:pt>
                <c:pt idx="27439">
                  <c:v>79340</c:v>
                </c:pt>
                <c:pt idx="27440">
                  <c:v>59883</c:v>
                </c:pt>
                <c:pt idx="27441">
                  <c:v>96165</c:v>
                </c:pt>
                <c:pt idx="27442">
                  <c:v>68755</c:v>
                </c:pt>
                <c:pt idx="27443">
                  <c:v>25679</c:v>
                </c:pt>
                <c:pt idx="27444">
                  <c:v>52705</c:v>
                </c:pt>
                <c:pt idx="27445">
                  <c:v>37143</c:v>
                </c:pt>
                <c:pt idx="27446">
                  <c:v>28626</c:v>
                </c:pt>
                <c:pt idx="27447">
                  <c:v>41621</c:v>
                </c:pt>
                <c:pt idx="27448">
                  <c:v>31808</c:v>
                </c:pt>
                <c:pt idx="27449">
                  <c:v>35447</c:v>
                </c:pt>
                <c:pt idx="27450">
                  <c:v>68532</c:v>
                </c:pt>
                <c:pt idx="27451">
                  <c:v>36491</c:v>
                </c:pt>
                <c:pt idx="27452">
                  <c:v>71681</c:v>
                </c:pt>
                <c:pt idx="27453">
                  <c:v>29717</c:v>
                </c:pt>
                <c:pt idx="27454">
                  <c:v>27524</c:v>
                </c:pt>
                <c:pt idx="27455">
                  <c:v>49078</c:v>
                </c:pt>
                <c:pt idx="27456">
                  <c:v>49591</c:v>
                </c:pt>
                <c:pt idx="27457">
                  <c:v>70571</c:v>
                </c:pt>
                <c:pt idx="27458">
                  <c:v>50083</c:v>
                </c:pt>
                <c:pt idx="27459">
                  <c:v>29744</c:v>
                </c:pt>
                <c:pt idx="27460">
                  <c:v>37917</c:v>
                </c:pt>
                <c:pt idx="27461">
                  <c:v>29476</c:v>
                </c:pt>
                <c:pt idx="27462">
                  <c:v>37842</c:v>
                </c:pt>
                <c:pt idx="27463">
                  <c:v>27972</c:v>
                </c:pt>
                <c:pt idx="27464">
                  <c:v>37211</c:v>
                </c:pt>
                <c:pt idx="27465">
                  <c:v>35767</c:v>
                </c:pt>
                <c:pt idx="27466">
                  <c:v>65386</c:v>
                </c:pt>
                <c:pt idx="27467">
                  <c:v>27416</c:v>
                </c:pt>
                <c:pt idx="27468">
                  <c:v>26719</c:v>
                </c:pt>
                <c:pt idx="27469">
                  <c:v>203288</c:v>
                </c:pt>
                <c:pt idx="27470">
                  <c:v>43272</c:v>
                </c:pt>
                <c:pt idx="27471">
                  <c:v>254628</c:v>
                </c:pt>
                <c:pt idx="27472">
                  <c:v>44759</c:v>
                </c:pt>
                <c:pt idx="27473">
                  <c:v>36163</c:v>
                </c:pt>
                <c:pt idx="27474">
                  <c:v>28266</c:v>
                </c:pt>
                <c:pt idx="27475">
                  <c:v>58942</c:v>
                </c:pt>
                <c:pt idx="27476">
                  <c:v>80170</c:v>
                </c:pt>
                <c:pt idx="27477">
                  <c:v>23553</c:v>
                </c:pt>
                <c:pt idx="27478">
                  <c:v>27658</c:v>
                </c:pt>
                <c:pt idx="27479">
                  <c:v>40481</c:v>
                </c:pt>
                <c:pt idx="27480">
                  <c:v>38311</c:v>
                </c:pt>
                <c:pt idx="27481">
                  <c:v>32153</c:v>
                </c:pt>
                <c:pt idx="27482">
                  <c:v>54002</c:v>
                </c:pt>
                <c:pt idx="27483">
                  <c:v>43056</c:v>
                </c:pt>
                <c:pt idx="27484">
                  <c:v>37401</c:v>
                </c:pt>
                <c:pt idx="27485">
                  <c:v>32583</c:v>
                </c:pt>
                <c:pt idx="27486">
                  <c:v>68667</c:v>
                </c:pt>
                <c:pt idx="27487">
                  <c:v>115807</c:v>
                </c:pt>
                <c:pt idx="27488">
                  <c:v>116045</c:v>
                </c:pt>
                <c:pt idx="27489">
                  <c:v>95449</c:v>
                </c:pt>
                <c:pt idx="27490">
                  <c:v>53310</c:v>
                </c:pt>
                <c:pt idx="27491">
                  <c:v>121660</c:v>
                </c:pt>
                <c:pt idx="27492">
                  <c:v>79460</c:v>
                </c:pt>
                <c:pt idx="27493">
                  <c:v>75827</c:v>
                </c:pt>
                <c:pt idx="27494">
                  <c:v>29150</c:v>
                </c:pt>
                <c:pt idx="27495">
                  <c:v>38845</c:v>
                </c:pt>
                <c:pt idx="27496">
                  <c:v>70701</c:v>
                </c:pt>
                <c:pt idx="27497">
                  <c:v>32285</c:v>
                </c:pt>
                <c:pt idx="27498">
                  <c:v>36997</c:v>
                </c:pt>
                <c:pt idx="27499">
                  <c:v>22895</c:v>
                </c:pt>
                <c:pt idx="27500">
                  <c:v>46867</c:v>
                </c:pt>
                <c:pt idx="27501">
                  <c:v>131407</c:v>
                </c:pt>
                <c:pt idx="27502">
                  <c:v>66475</c:v>
                </c:pt>
                <c:pt idx="27503">
                  <c:v>48939</c:v>
                </c:pt>
                <c:pt idx="27504">
                  <c:v>28517</c:v>
                </c:pt>
                <c:pt idx="27505">
                  <c:v>63035</c:v>
                </c:pt>
                <c:pt idx="27506">
                  <c:v>82756</c:v>
                </c:pt>
                <c:pt idx="27507">
                  <c:v>47355</c:v>
                </c:pt>
                <c:pt idx="27508">
                  <c:v>30614</c:v>
                </c:pt>
                <c:pt idx="27509">
                  <c:v>24891</c:v>
                </c:pt>
                <c:pt idx="27510">
                  <c:v>29221</c:v>
                </c:pt>
                <c:pt idx="27511">
                  <c:v>27854</c:v>
                </c:pt>
                <c:pt idx="27512">
                  <c:v>96171</c:v>
                </c:pt>
                <c:pt idx="27513">
                  <c:v>26428</c:v>
                </c:pt>
                <c:pt idx="27514">
                  <c:v>30939</c:v>
                </c:pt>
                <c:pt idx="27515">
                  <c:v>44470</c:v>
                </c:pt>
                <c:pt idx="27516">
                  <c:v>128891</c:v>
                </c:pt>
                <c:pt idx="27517">
                  <c:v>39377</c:v>
                </c:pt>
                <c:pt idx="27518">
                  <c:v>38349</c:v>
                </c:pt>
                <c:pt idx="27519">
                  <c:v>23823</c:v>
                </c:pt>
                <c:pt idx="27520">
                  <c:v>238774</c:v>
                </c:pt>
                <c:pt idx="27521">
                  <c:v>41688</c:v>
                </c:pt>
                <c:pt idx="27522">
                  <c:v>29992</c:v>
                </c:pt>
                <c:pt idx="27523">
                  <c:v>59381</c:v>
                </c:pt>
                <c:pt idx="27524">
                  <c:v>39076</c:v>
                </c:pt>
                <c:pt idx="27525">
                  <c:v>40823</c:v>
                </c:pt>
                <c:pt idx="27526">
                  <c:v>54495</c:v>
                </c:pt>
                <c:pt idx="27527">
                  <c:v>57125</c:v>
                </c:pt>
                <c:pt idx="27528">
                  <c:v>43018</c:v>
                </c:pt>
                <c:pt idx="27529">
                  <c:v>107557</c:v>
                </c:pt>
                <c:pt idx="27530">
                  <c:v>104075</c:v>
                </c:pt>
                <c:pt idx="27531">
                  <c:v>68044</c:v>
                </c:pt>
                <c:pt idx="27532">
                  <c:v>36688</c:v>
                </c:pt>
                <c:pt idx="27533">
                  <c:v>89116</c:v>
                </c:pt>
                <c:pt idx="27534">
                  <c:v>133048</c:v>
                </c:pt>
                <c:pt idx="27535">
                  <c:v>28872</c:v>
                </c:pt>
                <c:pt idx="27536">
                  <c:v>33338</c:v>
                </c:pt>
                <c:pt idx="27537">
                  <c:v>39815</c:v>
                </c:pt>
                <c:pt idx="27538">
                  <c:v>36359</c:v>
                </c:pt>
                <c:pt idx="27539">
                  <c:v>78278</c:v>
                </c:pt>
                <c:pt idx="27540">
                  <c:v>93311</c:v>
                </c:pt>
                <c:pt idx="27541">
                  <c:v>260318</c:v>
                </c:pt>
                <c:pt idx="27542">
                  <c:v>34013</c:v>
                </c:pt>
                <c:pt idx="27543">
                  <c:v>33781</c:v>
                </c:pt>
                <c:pt idx="27544">
                  <c:v>45796</c:v>
                </c:pt>
                <c:pt idx="27545">
                  <c:v>51597</c:v>
                </c:pt>
                <c:pt idx="27546">
                  <c:v>36918</c:v>
                </c:pt>
                <c:pt idx="27547">
                  <c:v>43391</c:v>
                </c:pt>
                <c:pt idx="27548">
                  <c:v>31466</c:v>
                </c:pt>
                <c:pt idx="27549">
                  <c:v>46987</c:v>
                </c:pt>
                <c:pt idx="27550">
                  <c:v>29075</c:v>
                </c:pt>
                <c:pt idx="27551">
                  <c:v>60288</c:v>
                </c:pt>
                <c:pt idx="27552">
                  <c:v>71282</c:v>
                </c:pt>
                <c:pt idx="27553">
                  <c:v>110523</c:v>
                </c:pt>
                <c:pt idx="27554">
                  <c:v>60770</c:v>
                </c:pt>
                <c:pt idx="27555">
                  <c:v>302413</c:v>
                </c:pt>
                <c:pt idx="27556">
                  <c:v>68091</c:v>
                </c:pt>
                <c:pt idx="27557">
                  <c:v>28695</c:v>
                </c:pt>
                <c:pt idx="27558">
                  <c:v>128806</c:v>
                </c:pt>
                <c:pt idx="27559">
                  <c:v>46233</c:v>
                </c:pt>
                <c:pt idx="27560">
                  <c:v>64145</c:v>
                </c:pt>
                <c:pt idx="27561">
                  <c:v>230733</c:v>
                </c:pt>
                <c:pt idx="27562">
                  <c:v>34232</c:v>
                </c:pt>
                <c:pt idx="27563">
                  <c:v>47886</c:v>
                </c:pt>
                <c:pt idx="27564">
                  <c:v>46325</c:v>
                </c:pt>
                <c:pt idx="27565">
                  <c:v>129054</c:v>
                </c:pt>
                <c:pt idx="27566">
                  <c:v>126479</c:v>
                </c:pt>
                <c:pt idx="27567">
                  <c:v>46193</c:v>
                </c:pt>
                <c:pt idx="27568">
                  <c:v>29711</c:v>
                </c:pt>
                <c:pt idx="27569">
                  <c:v>37713</c:v>
                </c:pt>
                <c:pt idx="27570">
                  <c:v>29201</c:v>
                </c:pt>
                <c:pt idx="27571">
                  <c:v>29294</c:v>
                </c:pt>
                <c:pt idx="27572">
                  <c:v>73155</c:v>
                </c:pt>
                <c:pt idx="27573">
                  <c:v>24681</c:v>
                </c:pt>
                <c:pt idx="27574">
                  <c:v>67417</c:v>
                </c:pt>
                <c:pt idx="27575">
                  <c:v>45446</c:v>
                </c:pt>
                <c:pt idx="27576">
                  <c:v>104433</c:v>
                </c:pt>
                <c:pt idx="27577">
                  <c:v>23172</c:v>
                </c:pt>
                <c:pt idx="27578">
                  <c:v>31044</c:v>
                </c:pt>
                <c:pt idx="27579">
                  <c:v>44820</c:v>
                </c:pt>
                <c:pt idx="27580">
                  <c:v>63405</c:v>
                </c:pt>
                <c:pt idx="27581">
                  <c:v>29732</c:v>
                </c:pt>
                <c:pt idx="27582">
                  <c:v>46271</c:v>
                </c:pt>
                <c:pt idx="27583">
                  <c:v>75384</c:v>
                </c:pt>
                <c:pt idx="27584">
                  <c:v>25795</c:v>
                </c:pt>
                <c:pt idx="27585">
                  <c:v>31979</c:v>
                </c:pt>
                <c:pt idx="27586">
                  <c:v>26084</c:v>
                </c:pt>
                <c:pt idx="27587">
                  <c:v>141987</c:v>
                </c:pt>
                <c:pt idx="27588">
                  <c:v>54799</c:v>
                </c:pt>
                <c:pt idx="27589">
                  <c:v>151465</c:v>
                </c:pt>
                <c:pt idx="27590">
                  <c:v>40503</c:v>
                </c:pt>
                <c:pt idx="27591">
                  <c:v>136233</c:v>
                </c:pt>
                <c:pt idx="27592">
                  <c:v>47542</c:v>
                </c:pt>
                <c:pt idx="27593">
                  <c:v>165558</c:v>
                </c:pt>
                <c:pt idx="27594">
                  <c:v>30733</c:v>
                </c:pt>
                <c:pt idx="27595">
                  <c:v>52783</c:v>
                </c:pt>
                <c:pt idx="27596">
                  <c:v>24142</c:v>
                </c:pt>
                <c:pt idx="27597">
                  <c:v>240397</c:v>
                </c:pt>
                <c:pt idx="27598">
                  <c:v>80034</c:v>
                </c:pt>
                <c:pt idx="27599">
                  <c:v>32236</c:v>
                </c:pt>
                <c:pt idx="27600">
                  <c:v>65211</c:v>
                </c:pt>
                <c:pt idx="27601">
                  <c:v>37630</c:v>
                </c:pt>
                <c:pt idx="27602">
                  <c:v>35654</c:v>
                </c:pt>
                <c:pt idx="27603">
                  <c:v>34220</c:v>
                </c:pt>
                <c:pt idx="27604">
                  <c:v>53548</c:v>
                </c:pt>
                <c:pt idx="27605">
                  <c:v>33636</c:v>
                </c:pt>
                <c:pt idx="27606">
                  <c:v>286522</c:v>
                </c:pt>
                <c:pt idx="27607">
                  <c:v>23216</c:v>
                </c:pt>
                <c:pt idx="27608">
                  <c:v>44746</c:v>
                </c:pt>
                <c:pt idx="27609">
                  <c:v>36754</c:v>
                </c:pt>
                <c:pt idx="27610">
                  <c:v>35137</c:v>
                </c:pt>
                <c:pt idx="27611">
                  <c:v>161230</c:v>
                </c:pt>
                <c:pt idx="27612">
                  <c:v>52101</c:v>
                </c:pt>
                <c:pt idx="27613">
                  <c:v>30946</c:v>
                </c:pt>
                <c:pt idx="27614">
                  <c:v>34899</c:v>
                </c:pt>
                <c:pt idx="27615">
                  <c:v>120826</c:v>
                </c:pt>
                <c:pt idx="27616">
                  <c:v>26402</c:v>
                </c:pt>
                <c:pt idx="27617">
                  <c:v>36881</c:v>
                </c:pt>
                <c:pt idx="27618">
                  <c:v>43052</c:v>
                </c:pt>
                <c:pt idx="27619">
                  <c:v>122052</c:v>
                </c:pt>
                <c:pt idx="27620">
                  <c:v>45524</c:v>
                </c:pt>
                <c:pt idx="27621">
                  <c:v>68304</c:v>
                </c:pt>
                <c:pt idx="27622">
                  <c:v>39514</c:v>
                </c:pt>
                <c:pt idx="27623">
                  <c:v>47624</c:v>
                </c:pt>
                <c:pt idx="27624">
                  <c:v>37927</c:v>
                </c:pt>
                <c:pt idx="27625">
                  <c:v>28816</c:v>
                </c:pt>
                <c:pt idx="27626">
                  <c:v>68960</c:v>
                </c:pt>
                <c:pt idx="27627">
                  <c:v>77353</c:v>
                </c:pt>
                <c:pt idx="27628">
                  <c:v>36475</c:v>
                </c:pt>
                <c:pt idx="27629">
                  <c:v>66567</c:v>
                </c:pt>
                <c:pt idx="27630">
                  <c:v>34137</c:v>
                </c:pt>
                <c:pt idx="27631">
                  <c:v>31677</c:v>
                </c:pt>
                <c:pt idx="27632">
                  <c:v>465740</c:v>
                </c:pt>
                <c:pt idx="27633">
                  <c:v>47595</c:v>
                </c:pt>
                <c:pt idx="27634">
                  <c:v>49062</c:v>
                </c:pt>
                <c:pt idx="27635">
                  <c:v>40021</c:v>
                </c:pt>
                <c:pt idx="27636">
                  <c:v>34448</c:v>
                </c:pt>
                <c:pt idx="27637">
                  <c:v>35230</c:v>
                </c:pt>
                <c:pt idx="27638">
                  <c:v>44096</c:v>
                </c:pt>
                <c:pt idx="27639">
                  <c:v>49505</c:v>
                </c:pt>
                <c:pt idx="27640">
                  <c:v>45637</c:v>
                </c:pt>
                <c:pt idx="27641">
                  <c:v>35869</c:v>
                </c:pt>
                <c:pt idx="27642">
                  <c:v>160910</c:v>
                </c:pt>
                <c:pt idx="27643">
                  <c:v>30859</c:v>
                </c:pt>
                <c:pt idx="27644">
                  <c:v>41305</c:v>
                </c:pt>
                <c:pt idx="27645">
                  <c:v>76625</c:v>
                </c:pt>
                <c:pt idx="27646">
                  <c:v>24244</c:v>
                </c:pt>
                <c:pt idx="27647">
                  <c:v>52843</c:v>
                </c:pt>
                <c:pt idx="27648">
                  <c:v>81237</c:v>
                </c:pt>
                <c:pt idx="27649">
                  <c:v>61581</c:v>
                </c:pt>
                <c:pt idx="27650">
                  <c:v>113943</c:v>
                </c:pt>
                <c:pt idx="27651">
                  <c:v>97622</c:v>
                </c:pt>
                <c:pt idx="27652">
                  <c:v>29399</c:v>
                </c:pt>
                <c:pt idx="27653">
                  <c:v>21720</c:v>
                </c:pt>
                <c:pt idx="27654">
                  <c:v>24642</c:v>
                </c:pt>
                <c:pt idx="27655">
                  <c:v>54142</c:v>
                </c:pt>
                <c:pt idx="27656">
                  <c:v>34568</c:v>
                </c:pt>
                <c:pt idx="27657">
                  <c:v>18656</c:v>
                </c:pt>
                <c:pt idx="27658">
                  <c:v>51529</c:v>
                </c:pt>
                <c:pt idx="27659">
                  <c:v>227173</c:v>
                </c:pt>
                <c:pt idx="27660">
                  <c:v>71043</c:v>
                </c:pt>
                <c:pt idx="27661">
                  <c:v>60873</c:v>
                </c:pt>
                <c:pt idx="27662">
                  <c:v>37631</c:v>
                </c:pt>
                <c:pt idx="27663">
                  <c:v>41306</c:v>
                </c:pt>
                <c:pt idx="27664">
                  <c:v>30726</c:v>
                </c:pt>
                <c:pt idx="27665">
                  <c:v>43575</c:v>
                </c:pt>
                <c:pt idx="27666">
                  <c:v>24583</c:v>
                </c:pt>
                <c:pt idx="27667">
                  <c:v>36105</c:v>
                </c:pt>
                <c:pt idx="27668">
                  <c:v>60461</c:v>
                </c:pt>
                <c:pt idx="27669">
                  <c:v>29615</c:v>
                </c:pt>
                <c:pt idx="27670">
                  <c:v>170587</c:v>
                </c:pt>
                <c:pt idx="27671">
                  <c:v>53709</c:v>
                </c:pt>
                <c:pt idx="27672">
                  <c:v>45614</c:v>
                </c:pt>
                <c:pt idx="27673">
                  <c:v>29928</c:v>
                </c:pt>
                <c:pt idx="27674">
                  <c:v>30438</c:v>
                </c:pt>
                <c:pt idx="27675">
                  <c:v>51039</c:v>
                </c:pt>
                <c:pt idx="27676">
                  <c:v>37499</c:v>
                </c:pt>
                <c:pt idx="27677">
                  <c:v>33399</c:v>
                </c:pt>
                <c:pt idx="27678">
                  <c:v>53800</c:v>
                </c:pt>
                <c:pt idx="27679">
                  <c:v>82587</c:v>
                </c:pt>
                <c:pt idx="27680">
                  <c:v>45718</c:v>
                </c:pt>
                <c:pt idx="27681">
                  <c:v>22208</c:v>
                </c:pt>
                <c:pt idx="27682">
                  <c:v>36847</c:v>
                </c:pt>
                <c:pt idx="27683">
                  <c:v>41185</c:v>
                </c:pt>
                <c:pt idx="27684">
                  <c:v>40539</c:v>
                </c:pt>
                <c:pt idx="27685">
                  <c:v>152039</c:v>
                </c:pt>
                <c:pt idx="27686">
                  <c:v>92726</c:v>
                </c:pt>
                <c:pt idx="27687">
                  <c:v>159576</c:v>
                </c:pt>
                <c:pt idx="27688">
                  <c:v>46026</c:v>
                </c:pt>
                <c:pt idx="27689">
                  <c:v>29614</c:v>
                </c:pt>
                <c:pt idx="27690">
                  <c:v>53152</c:v>
                </c:pt>
                <c:pt idx="27691">
                  <c:v>81680</c:v>
                </c:pt>
                <c:pt idx="27692">
                  <c:v>124716</c:v>
                </c:pt>
                <c:pt idx="27693">
                  <c:v>19870</c:v>
                </c:pt>
                <c:pt idx="27694">
                  <c:v>28288</c:v>
                </c:pt>
                <c:pt idx="27695">
                  <c:v>24886</c:v>
                </c:pt>
                <c:pt idx="27696">
                  <c:v>41590</c:v>
                </c:pt>
                <c:pt idx="27697">
                  <c:v>26242</c:v>
                </c:pt>
                <c:pt idx="27698">
                  <c:v>29547</c:v>
                </c:pt>
                <c:pt idx="27699">
                  <c:v>72987</c:v>
                </c:pt>
                <c:pt idx="27700">
                  <c:v>81339</c:v>
                </c:pt>
                <c:pt idx="27701">
                  <c:v>45424</c:v>
                </c:pt>
                <c:pt idx="27702">
                  <c:v>117789</c:v>
                </c:pt>
                <c:pt idx="27703">
                  <c:v>39791</c:v>
                </c:pt>
                <c:pt idx="27704">
                  <c:v>146763</c:v>
                </c:pt>
                <c:pt idx="27705">
                  <c:v>23712</c:v>
                </c:pt>
                <c:pt idx="27706">
                  <c:v>51485</c:v>
                </c:pt>
                <c:pt idx="27707">
                  <c:v>229782</c:v>
                </c:pt>
                <c:pt idx="27708">
                  <c:v>27017</c:v>
                </c:pt>
                <c:pt idx="27709">
                  <c:v>31439</c:v>
                </c:pt>
                <c:pt idx="27710">
                  <c:v>41816</c:v>
                </c:pt>
                <c:pt idx="27711">
                  <c:v>20515</c:v>
                </c:pt>
                <c:pt idx="27712">
                  <c:v>30957</c:v>
                </c:pt>
                <c:pt idx="27713">
                  <c:v>22907</c:v>
                </c:pt>
                <c:pt idx="27714">
                  <c:v>62446</c:v>
                </c:pt>
                <c:pt idx="27715">
                  <c:v>24566</c:v>
                </c:pt>
                <c:pt idx="27716">
                  <c:v>33931</c:v>
                </c:pt>
                <c:pt idx="27717">
                  <c:v>107642</c:v>
                </c:pt>
                <c:pt idx="27718">
                  <c:v>146230</c:v>
                </c:pt>
                <c:pt idx="27719">
                  <c:v>27621</c:v>
                </c:pt>
                <c:pt idx="27720">
                  <c:v>43412</c:v>
                </c:pt>
                <c:pt idx="27721">
                  <c:v>25419</c:v>
                </c:pt>
                <c:pt idx="27722">
                  <c:v>41574</c:v>
                </c:pt>
                <c:pt idx="27723">
                  <c:v>33408</c:v>
                </c:pt>
                <c:pt idx="27724">
                  <c:v>42236</c:v>
                </c:pt>
                <c:pt idx="27725">
                  <c:v>34034</c:v>
                </c:pt>
                <c:pt idx="27726">
                  <c:v>23719</c:v>
                </c:pt>
                <c:pt idx="27727">
                  <c:v>31723</c:v>
                </c:pt>
                <c:pt idx="27728">
                  <c:v>44149</c:v>
                </c:pt>
                <c:pt idx="27729">
                  <c:v>37193</c:v>
                </c:pt>
                <c:pt idx="27730">
                  <c:v>49861</c:v>
                </c:pt>
                <c:pt idx="27731">
                  <c:v>59667</c:v>
                </c:pt>
                <c:pt idx="27732">
                  <c:v>40894</c:v>
                </c:pt>
                <c:pt idx="27733">
                  <c:v>25212</c:v>
                </c:pt>
                <c:pt idx="27734">
                  <c:v>21876</c:v>
                </c:pt>
                <c:pt idx="27735">
                  <c:v>36895</c:v>
                </c:pt>
                <c:pt idx="27736">
                  <c:v>43814</c:v>
                </c:pt>
                <c:pt idx="27737">
                  <c:v>160633</c:v>
                </c:pt>
                <c:pt idx="27738">
                  <c:v>92802</c:v>
                </c:pt>
                <c:pt idx="27739">
                  <c:v>80108</c:v>
                </c:pt>
                <c:pt idx="27740">
                  <c:v>23716</c:v>
                </c:pt>
                <c:pt idx="27741">
                  <c:v>103355</c:v>
                </c:pt>
                <c:pt idx="27742">
                  <c:v>35108</c:v>
                </c:pt>
                <c:pt idx="27743">
                  <c:v>137159</c:v>
                </c:pt>
                <c:pt idx="27744">
                  <c:v>81637</c:v>
                </c:pt>
                <c:pt idx="27745">
                  <c:v>23742</c:v>
                </c:pt>
                <c:pt idx="27746">
                  <c:v>66874</c:v>
                </c:pt>
                <c:pt idx="27747">
                  <c:v>41194</c:v>
                </c:pt>
                <c:pt idx="27748">
                  <c:v>45619</c:v>
                </c:pt>
                <c:pt idx="27749">
                  <c:v>25470</c:v>
                </c:pt>
                <c:pt idx="27750">
                  <c:v>109434</c:v>
                </c:pt>
                <c:pt idx="27751">
                  <c:v>36059</c:v>
                </c:pt>
                <c:pt idx="27752">
                  <c:v>45087</c:v>
                </c:pt>
                <c:pt idx="27753">
                  <c:v>30309</c:v>
                </c:pt>
                <c:pt idx="27754">
                  <c:v>63028</c:v>
                </c:pt>
                <c:pt idx="27755">
                  <c:v>63891</c:v>
                </c:pt>
                <c:pt idx="27756">
                  <c:v>45713</c:v>
                </c:pt>
                <c:pt idx="27757">
                  <c:v>34557</c:v>
                </c:pt>
                <c:pt idx="27758">
                  <c:v>27711</c:v>
                </c:pt>
                <c:pt idx="27759">
                  <c:v>39612</c:v>
                </c:pt>
                <c:pt idx="27760">
                  <c:v>34167</c:v>
                </c:pt>
                <c:pt idx="27761">
                  <c:v>28990</c:v>
                </c:pt>
                <c:pt idx="27762">
                  <c:v>25883</c:v>
                </c:pt>
                <c:pt idx="27763">
                  <c:v>32983</c:v>
                </c:pt>
                <c:pt idx="27764">
                  <c:v>19605</c:v>
                </c:pt>
                <c:pt idx="27765">
                  <c:v>25222</c:v>
                </c:pt>
                <c:pt idx="27766">
                  <c:v>39367</c:v>
                </c:pt>
                <c:pt idx="27767">
                  <c:v>65424</c:v>
                </c:pt>
                <c:pt idx="27768">
                  <c:v>51104</c:v>
                </c:pt>
                <c:pt idx="27769">
                  <c:v>33001</c:v>
                </c:pt>
                <c:pt idx="27770">
                  <c:v>74310</c:v>
                </c:pt>
                <c:pt idx="27771">
                  <c:v>92350</c:v>
                </c:pt>
                <c:pt idx="27772">
                  <c:v>25581</c:v>
                </c:pt>
                <c:pt idx="27773">
                  <c:v>53835</c:v>
                </c:pt>
                <c:pt idx="27774">
                  <c:v>43603</c:v>
                </c:pt>
                <c:pt idx="27775">
                  <c:v>36345</c:v>
                </c:pt>
                <c:pt idx="27776">
                  <c:v>33171</c:v>
                </c:pt>
                <c:pt idx="27777">
                  <c:v>83033</c:v>
                </c:pt>
                <c:pt idx="27778">
                  <c:v>50889</c:v>
                </c:pt>
                <c:pt idx="27779">
                  <c:v>42523</c:v>
                </c:pt>
                <c:pt idx="27780">
                  <c:v>42024</c:v>
                </c:pt>
                <c:pt idx="27781">
                  <c:v>104912</c:v>
                </c:pt>
                <c:pt idx="27782">
                  <c:v>29276</c:v>
                </c:pt>
                <c:pt idx="27783">
                  <c:v>115883</c:v>
                </c:pt>
                <c:pt idx="27784">
                  <c:v>36130</c:v>
                </c:pt>
                <c:pt idx="27785">
                  <c:v>56844</c:v>
                </c:pt>
                <c:pt idx="27786">
                  <c:v>32576</c:v>
                </c:pt>
                <c:pt idx="27787">
                  <c:v>67746</c:v>
                </c:pt>
                <c:pt idx="27788">
                  <c:v>98935</c:v>
                </c:pt>
                <c:pt idx="27789">
                  <c:v>108143</c:v>
                </c:pt>
                <c:pt idx="27790">
                  <c:v>126349</c:v>
                </c:pt>
                <c:pt idx="27791">
                  <c:v>47354</c:v>
                </c:pt>
                <c:pt idx="27792">
                  <c:v>267449</c:v>
                </c:pt>
                <c:pt idx="27793">
                  <c:v>54417</c:v>
                </c:pt>
                <c:pt idx="27794">
                  <c:v>26118</c:v>
                </c:pt>
                <c:pt idx="27795">
                  <c:v>78067</c:v>
                </c:pt>
                <c:pt idx="27796">
                  <c:v>25236</c:v>
                </c:pt>
                <c:pt idx="27797">
                  <c:v>47271</c:v>
                </c:pt>
                <c:pt idx="27798">
                  <c:v>527800</c:v>
                </c:pt>
                <c:pt idx="27799">
                  <c:v>95571</c:v>
                </c:pt>
                <c:pt idx="27800">
                  <c:v>110537</c:v>
                </c:pt>
                <c:pt idx="27801">
                  <c:v>89569</c:v>
                </c:pt>
                <c:pt idx="27802">
                  <c:v>36014</c:v>
                </c:pt>
                <c:pt idx="27803">
                  <c:v>50135</c:v>
                </c:pt>
                <c:pt idx="27804">
                  <c:v>153350</c:v>
                </c:pt>
                <c:pt idx="27805">
                  <c:v>38577</c:v>
                </c:pt>
                <c:pt idx="27806">
                  <c:v>110270</c:v>
                </c:pt>
                <c:pt idx="27807">
                  <c:v>51375</c:v>
                </c:pt>
                <c:pt idx="27808">
                  <c:v>39775</c:v>
                </c:pt>
                <c:pt idx="27809">
                  <c:v>28357</c:v>
                </c:pt>
                <c:pt idx="27810">
                  <c:v>234699</c:v>
                </c:pt>
                <c:pt idx="27811">
                  <c:v>41567</c:v>
                </c:pt>
                <c:pt idx="27812">
                  <c:v>127174</c:v>
                </c:pt>
                <c:pt idx="27813">
                  <c:v>55745</c:v>
                </c:pt>
                <c:pt idx="27814">
                  <c:v>25498</c:v>
                </c:pt>
                <c:pt idx="27815">
                  <c:v>26921</c:v>
                </c:pt>
                <c:pt idx="27816">
                  <c:v>36568</c:v>
                </c:pt>
                <c:pt idx="27817">
                  <c:v>21696</c:v>
                </c:pt>
                <c:pt idx="27818">
                  <c:v>37523</c:v>
                </c:pt>
                <c:pt idx="27819">
                  <c:v>33477</c:v>
                </c:pt>
                <c:pt idx="27820">
                  <c:v>63605</c:v>
                </c:pt>
                <c:pt idx="27821">
                  <c:v>98488</c:v>
                </c:pt>
                <c:pt idx="27822">
                  <c:v>67270</c:v>
                </c:pt>
                <c:pt idx="27823">
                  <c:v>26935</c:v>
                </c:pt>
                <c:pt idx="27824">
                  <c:v>33823</c:v>
                </c:pt>
                <c:pt idx="27825">
                  <c:v>47969</c:v>
                </c:pt>
                <c:pt idx="27826">
                  <c:v>61064</c:v>
                </c:pt>
                <c:pt idx="27827">
                  <c:v>42886</c:v>
                </c:pt>
                <c:pt idx="27828">
                  <c:v>39402</c:v>
                </c:pt>
                <c:pt idx="27829">
                  <c:v>41859</c:v>
                </c:pt>
                <c:pt idx="27830">
                  <c:v>105058</c:v>
                </c:pt>
                <c:pt idx="27831">
                  <c:v>55814</c:v>
                </c:pt>
                <c:pt idx="27832">
                  <c:v>181489</c:v>
                </c:pt>
                <c:pt idx="27833">
                  <c:v>61699</c:v>
                </c:pt>
                <c:pt idx="27834">
                  <c:v>67846</c:v>
                </c:pt>
                <c:pt idx="27835">
                  <c:v>54764</c:v>
                </c:pt>
                <c:pt idx="27836">
                  <c:v>47997</c:v>
                </c:pt>
                <c:pt idx="27837">
                  <c:v>161905</c:v>
                </c:pt>
                <c:pt idx="27838">
                  <c:v>23627</c:v>
                </c:pt>
                <c:pt idx="27839">
                  <c:v>27596</c:v>
                </c:pt>
                <c:pt idx="27840">
                  <c:v>23413</c:v>
                </c:pt>
                <c:pt idx="27841">
                  <c:v>22118</c:v>
                </c:pt>
                <c:pt idx="27842">
                  <c:v>99661</c:v>
                </c:pt>
                <c:pt idx="27843">
                  <c:v>26098</c:v>
                </c:pt>
                <c:pt idx="27844">
                  <c:v>96986</c:v>
                </c:pt>
                <c:pt idx="27845">
                  <c:v>34639</c:v>
                </c:pt>
                <c:pt idx="27846">
                  <c:v>112822</c:v>
                </c:pt>
                <c:pt idx="27847">
                  <c:v>41322</c:v>
                </c:pt>
                <c:pt idx="27848">
                  <c:v>46630</c:v>
                </c:pt>
                <c:pt idx="27849">
                  <c:v>30174</c:v>
                </c:pt>
                <c:pt idx="27850">
                  <c:v>29259</c:v>
                </c:pt>
                <c:pt idx="27851">
                  <c:v>29169</c:v>
                </c:pt>
                <c:pt idx="27852">
                  <c:v>31257</c:v>
                </c:pt>
                <c:pt idx="27853">
                  <c:v>77061</c:v>
                </c:pt>
                <c:pt idx="27854">
                  <c:v>264746</c:v>
                </c:pt>
                <c:pt idx="27855">
                  <c:v>39954</c:v>
                </c:pt>
                <c:pt idx="27856">
                  <c:v>274174</c:v>
                </c:pt>
                <c:pt idx="27857">
                  <c:v>124635</c:v>
                </c:pt>
                <c:pt idx="27858">
                  <c:v>23265</c:v>
                </c:pt>
                <c:pt idx="27859">
                  <c:v>66598</c:v>
                </c:pt>
                <c:pt idx="27860">
                  <c:v>42299</c:v>
                </c:pt>
                <c:pt idx="27861">
                  <c:v>102683</c:v>
                </c:pt>
                <c:pt idx="27862">
                  <c:v>30783</c:v>
                </c:pt>
                <c:pt idx="27863">
                  <c:v>24167</c:v>
                </c:pt>
                <c:pt idx="27864">
                  <c:v>33806</c:v>
                </c:pt>
                <c:pt idx="27865">
                  <c:v>244410</c:v>
                </c:pt>
                <c:pt idx="27866">
                  <c:v>72039</c:v>
                </c:pt>
                <c:pt idx="27867">
                  <c:v>59787</c:v>
                </c:pt>
                <c:pt idx="27868">
                  <c:v>55902</c:v>
                </c:pt>
                <c:pt idx="27869">
                  <c:v>32776</c:v>
                </c:pt>
                <c:pt idx="27870">
                  <c:v>24720</c:v>
                </c:pt>
                <c:pt idx="27871">
                  <c:v>32213</c:v>
                </c:pt>
                <c:pt idx="27872">
                  <c:v>38745</c:v>
                </c:pt>
                <c:pt idx="27873">
                  <c:v>27895</c:v>
                </c:pt>
                <c:pt idx="27874">
                  <c:v>45365</c:v>
                </c:pt>
                <c:pt idx="27875">
                  <c:v>87785</c:v>
                </c:pt>
                <c:pt idx="27876">
                  <c:v>32099</c:v>
                </c:pt>
                <c:pt idx="27877">
                  <c:v>27194</c:v>
                </c:pt>
                <c:pt idx="27878">
                  <c:v>20412</c:v>
                </c:pt>
                <c:pt idx="27879">
                  <c:v>41829</c:v>
                </c:pt>
                <c:pt idx="27880">
                  <c:v>40353</c:v>
                </c:pt>
                <c:pt idx="27881">
                  <c:v>99333</c:v>
                </c:pt>
                <c:pt idx="27882">
                  <c:v>41464</c:v>
                </c:pt>
                <c:pt idx="27883">
                  <c:v>27717</c:v>
                </c:pt>
                <c:pt idx="27884">
                  <c:v>25974</c:v>
                </c:pt>
                <c:pt idx="27885">
                  <c:v>49934</c:v>
                </c:pt>
                <c:pt idx="27886">
                  <c:v>21802</c:v>
                </c:pt>
                <c:pt idx="27887">
                  <c:v>209703</c:v>
                </c:pt>
                <c:pt idx="27888">
                  <c:v>46327</c:v>
                </c:pt>
                <c:pt idx="27889">
                  <c:v>29903</c:v>
                </c:pt>
                <c:pt idx="27890">
                  <c:v>105970</c:v>
                </c:pt>
                <c:pt idx="27891">
                  <c:v>47999</c:v>
                </c:pt>
                <c:pt idx="27892">
                  <c:v>109338</c:v>
                </c:pt>
                <c:pt idx="27893">
                  <c:v>68705</c:v>
                </c:pt>
                <c:pt idx="27894">
                  <c:v>32731</c:v>
                </c:pt>
                <c:pt idx="27895">
                  <c:v>36608</c:v>
                </c:pt>
                <c:pt idx="27896">
                  <c:v>33308</c:v>
                </c:pt>
                <c:pt idx="27897">
                  <c:v>39795</c:v>
                </c:pt>
                <c:pt idx="27898">
                  <c:v>26995</c:v>
                </c:pt>
                <c:pt idx="27899">
                  <c:v>22074</c:v>
                </c:pt>
                <c:pt idx="27900">
                  <c:v>94275</c:v>
                </c:pt>
                <c:pt idx="27901">
                  <c:v>71342</c:v>
                </c:pt>
                <c:pt idx="27902">
                  <c:v>67553</c:v>
                </c:pt>
                <c:pt idx="27903">
                  <c:v>33486</c:v>
                </c:pt>
                <c:pt idx="27904">
                  <c:v>60899</c:v>
                </c:pt>
                <c:pt idx="27905">
                  <c:v>25606</c:v>
                </c:pt>
                <c:pt idx="27906">
                  <c:v>27334</c:v>
                </c:pt>
                <c:pt idx="27907">
                  <c:v>108821</c:v>
                </c:pt>
                <c:pt idx="27908">
                  <c:v>191013</c:v>
                </c:pt>
                <c:pt idx="27909">
                  <c:v>40547</c:v>
                </c:pt>
                <c:pt idx="27910">
                  <c:v>118920</c:v>
                </c:pt>
                <c:pt idx="27911">
                  <c:v>87391</c:v>
                </c:pt>
                <c:pt idx="27912">
                  <c:v>97629</c:v>
                </c:pt>
                <c:pt idx="27913">
                  <c:v>20121</c:v>
                </c:pt>
                <c:pt idx="27914">
                  <c:v>45056</c:v>
                </c:pt>
                <c:pt idx="27915">
                  <c:v>37699</c:v>
                </c:pt>
                <c:pt idx="27916">
                  <c:v>163032</c:v>
                </c:pt>
                <c:pt idx="27917">
                  <c:v>44190</c:v>
                </c:pt>
                <c:pt idx="27918">
                  <c:v>27635</c:v>
                </c:pt>
                <c:pt idx="27919">
                  <c:v>57553</c:v>
                </c:pt>
                <c:pt idx="27920">
                  <c:v>28549</c:v>
                </c:pt>
                <c:pt idx="27921">
                  <c:v>130814</c:v>
                </c:pt>
                <c:pt idx="27922">
                  <c:v>61309</c:v>
                </c:pt>
                <c:pt idx="27923">
                  <c:v>28608</c:v>
                </c:pt>
                <c:pt idx="27924">
                  <c:v>93879</c:v>
                </c:pt>
                <c:pt idx="27925">
                  <c:v>31086</c:v>
                </c:pt>
                <c:pt idx="27926">
                  <c:v>113535</c:v>
                </c:pt>
                <c:pt idx="27927">
                  <c:v>69354</c:v>
                </c:pt>
                <c:pt idx="27928">
                  <c:v>41219</c:v>
                </c:pt>
                <c:pt idx="27929">
                  <c:v>26841</c:v>
                </c:pt>
                <c:pt idx="27930">
                  <c:v>92729</c:v>
                </c:pt>
                <c:pt idx="27931">
                  <c:v>57532</c:v>
                </c:pt>
                <c:pt idx="27932">
                  <c:v>44104</c:v>
                </c:pt>
                <c:pt idx="27933">
                  <c:v>420539</c:v>
                </c:pt>
                <c:pt idx="27934">
                  <c:v>27691</c:v>
                </c:pt>
                <c:pt idx="27935">
                  <c:v>81982</c:v>
                </c:pt>
                <c:pt idx="27936">
                  <c:v>45839</c:v>
                </c:pt>
                <c:pt idx="27937">
                  <c:v>22037</c:v>
                </c:pt>
                <c:pt idx="27938">
                  <c:v>48788</c:v>
                </c:pt>
                <c:pt idx="27939">
                  <c:v>72348</c:v>
                </c:pt>
                <c:pt idx="27940">
                  <c:v>32596</c:v>
                </c:pt>
                <c:pt idx="27941">
                  <c:v>72657</c:v>
                </c:pt>
                <c:pt idx="27942">
                  <c:v>32515</c:v>
                </c:pt>
                <c:pt idx="27943">
                  <c:v>31773</c:v>
                </c:pt>
                <c:pt idx="27944">
                  <c:v>53473</c:v>
                </c:pt>
                <c:pt idx="27945">
                  <c:v>117563</c:v>
                </c:pt>
                <c:pt idx="27946">
                  <c:v>135765</c:v>
                </c:pt>
                <c:pt idx="27947">
                  <c:v>138757</c:v>
                </c:pt>
                <c:pt idx="27948">
                  <c:v>50570</c:v>
                </c:pt>
                <c:pt idx="27949">
                  <c:v>33747</c:v>
                </c:pt>
                <c:pt idx="27950">
                  <c:v>37671</c:v>
                </c:pt>
                <c:pt idx="27951">
                  <c:v>32236</c:v>
                </c:pt>
                <c:pt idx="27952">
                  <c:v>151171</c:v>
                </c:pt>
                <c:pt idx="27953">
                  <c:v>25233</c:v>
                </c:pt>
                <c:pt idx="27954">
                  <c:v>41246</c:v>
                </c:pt>
                <c:pt idx="27955">
                  <c:v>56795</c:v>
                </c:pt>
                <c:pt idx="27956">
                  <c:v>71299</c:v>
                </c:pt>
                <c:pt idx="27957">
                  <c:v>42719</c:v>
                </c:pt>
                <c:pt idx="27958">
                  <c:v>67046</c:v>
                </c:pt>
                <c:pt idx="27959">
                  <c:v>82176</c:v>
                </c:pt>
                <c:pt idx="27960">
                  <c:v>38549</c:v>
                </c:pt>
                <c:pt idx="27961">
                  <c:v>58719</c:v>
                </c:pt>
                <c:pt idx="27962">
                  <c:v>31078</c:v>
                </c:pt>
                <c:pt idx="27963">
                  <c:v>77026</c:v>
                </c:pt>
                <c:pt idx="27964">
                  <c:v>26238</c:v>
                </c:pt>
                <c:pt idx="27965">
                  <c:v>42729</c:v>
                </c:pt>
                <c:pt idx="27966">
                  <c:v>43177</c:v>
                </c:pt>
                <c:pt idx="27967">
                  <c:v>30716</c:v>
                </c:pt>
                <c:pt idx="27968">
                  <c:v>115776</c:v>
                </c:pt>
                <c:pt idx="27969">
                  <c:v>39418</c:v>
                </c:pt>
                <c:pt idx="27970">
                  <c:v>44442</c:v>
                </c:pt>
                <c:pt idx="27971">
                  <c:v>46387</c:v>
                </c:pt>
                <c:pt idx="27972">
                  <c:v>44002</c:v>
                </c:pt>
                <c:pt idx="27973">
                  <c:v>22183</c:v>
                </c:pt>
                <c:pt idx="27974">
                  <c:v>59044</c:v>
                </c:pt>
                <c:pt idx="27975">
                  <c:v>37062</c:v>
                </c:pt>
                <c:pt idx="27976">
                  <c:v>24469</c:v>
                </c:pt>
                <c:pt idx="27977">
                  <c:v>111079</c:v>
                </c:pt>
                <c:pt idx="27978">
                  <c:v>40842</c:v>
                </c:pt>
                <c:pt idx="27979">
                  <c:v>43846</c:v>
                </c:pt>
                <c:pt idx="27980">
                  <c:v>32462</c:v>
                </c:pt>
                <c:pt idx="27981">
                  <c:v>59387</c:v>
                </c:pt>
                <c:pt idx="27982">
                  <c:v>28791</c:v>
                </c:pt>
                <c:pt idx="27983">
                  <c:v>101815</c:v>
                </c:pt>
                <c:pt idx="27984">
                  <c:v>29043</c:v>
                </c:pt>
                <c:pt idx="27985">
                  <c:v>35222</c:v>
                </c:pt>
                <c:pt idx="27986">
                  <c:v>38834</c:v>
                </c:pt>
                <c:pt idx="27987">
                  <c:v>32732</c:v>
                </c:pt>
                <c:pt idx="27988">
                  <c:v>31441</c:v>
                </c:pt>
                <c:pt idx="27989">
                  <c:v>24576</c:v>
                </c:pt>
                <c:pt idx="27990">
                  <c:v>37687</c:v>
                </c:pt>
                <c:pt idx="27991">
                  <c:v>63556</c:v>
                </c:pt>
                <c:pt idx="27992">
                  <c:v>35773</c:v>
                </c:pt>
                <c:pt idx="27993">
                  <c:v>111602</c:v>
                </c:pt>
                <c:pt idx="27994">
                  <c:v>30674</c:v>
                </c:pt>
                <c:pt idx="27995">
                  <c:v>148550</c:v>
                </c:pt>
                <c:pt idx="27996">
                  <c:v>35385</c:v>
                </c:pt>
                <c:pt idx="27997">
                  <c:v>28262</c:v>
                </c:pt>
                <c:pt idx="27998">
                  <c:v>71192</c:v>
                </c:pt>
                <c:pt idx="27999">
                  <c:v>58008</c:v>
                </c:pt>
                <c:pt idx="28000">
                  <c:v>176242</c:v>
                </c:pt>
                <c:pt idx="28001">
                  <c:v>55660</c:v>
                </c:pt>
                <c:pt idx="28002">
                  <c:v>183012</c:v>
                </c:pt>
                <c:pt idx="28003">
                  <c:v>204948</c:v>
                </c:pt>
                <c:pt idx="28004">
                  <c:v>35889</c:v>
                </c:pt>
                <c:pt idx="28005">
                  <c:v>24944</c:v>
                </c:pt>
                <c:pt idx="28006">
                  <c:v>25403</c:v>
                </c:pt>
                <c:pt idx="28007">
                  <c:v>56431</c:v>
                </c:pt>
                <c:pt idx="28008">
                  <c:v>28829</c:v>
                </c:pt>
                <c:pt idx="28009">
                  <c:v>46140</c:v>
                </c:pt>
                <c:pt idx="28010">
                  <c:v>27610</c:v>
                </c:pt>
                <c:pt idx="28011">
                  <c:v>40246</c:v>
                </c:pt>
                <c:pt idx="28012">
                  <c:v>21881</c:v>
                </c:pt>
                <c:pt idx="28013">
                  <c:v>49271</c:v>
                </c:pt>
                <c:pt idx="28014">
                  <c:v>37033</c:v>
                </c:pt>
                <c:pt idx="28015">
                  <c:v>45242</c:v>
                </c:pt>
                <c:pt idx="28016">
                  <c:v>39359</c:v>
                </c:pt>
                <c:pt idx="28017">
                  <c:v>83931</c:v>
                </c:pt>
                <c:pt idx="28018">
                  <c:v>49016</c:v>
                </c:pt>
                <c:pt idx="28019">
                  <c:v>40891</c:v>
                </c:pt>
                <c:pt idx="28020">
                  <c:v>62334</c:v>
                </c:pt>
                <c:pt idx="28021">
                  <c:v>82890</c:v>
                </c:pt>
                <c:pt idx="28022">
                  <c:v>72135</c:v>
                </c:pt>
                <c:pt idx="28023">
                  <c:v>40974</c:v>
                </c:pt>
                <c:pt idx="28024">
                  <c:v>34401</c:v>
                </c:pt>
                <c:pt idx="28025">
                  <c:v>25270</c:v>
                </c:pt>
                <c:pt idx="28026">
                  <c:v>37171</c:v>
                </c:pt>
                <c:pt idx="28027">
                  <c:v>44779</c:v>
                </c:pt>
                <c:pt idx="28028">
                  <c:v>45024</c:v>
                </c:pt>
                <c:pt idx="28029">
                  <c:v>125462</c:v>
                </c:pt>
                <c:pt idx="28030">
                  <c:v>47020</c:v>
                </c:pt>
                <c:pt idx="28031">
                  <c:v>33125</c:v>
                </c:pt>
                <c:pt idx="28032">
                  <c:v>35742</c:v>
                </c:pt>
                <c:pt idx="28033">
                  <c:v>241514</c:v>
                </c:pt>
                <c:pt idx="28034">
                  <c:v>26006</c:v>
                </c:pt>
                <c:pt idx="28035">
                  <c:v>29729</c:v>
                </c:pt>
                <c:pt idx="28036">
                  <c:v>74877</c:v>
                </c:pt>
                <c:pt idx="28037">
                  <c:v>34522</c:v>
                </c:pt>
                <c:pt idx="28038">
                  <c:v>38931</c:v>
                </c:pt>
                <c:pt idx="28039">
                  <c:v>26990</c:v>
                </c:pt>
                <c:pt idx="28040">
                  <c:v>32959</c:v>
                </c:pt>
                <c:pt idx="28041">
                  <c:v>35805</c:v>
                </c:pt>
                <c:pt idx="28042">
                  <c:v>75153</c:v>
                </c:pt>
                <c:pt idx="28043">
                  <c:v>26867</c:v>
                </c:pt>
                <c:pt idx="28044">
                  <c:v>54284</c:v>
                </c:pt>
                <c:pt idx="28045">
                  <c:v>23041</c:v>
                </c:pt>
                <c:pt idx="28046">
                  <c:v>30298</c:v>
                </c:pt>
                <c:pt idx="28047">
                  <c:v>213192</c:v>
                </c:pt>
                <c:pt idx="28048">
                  <c:v>25981</c:v>
                </c:pt>
                <c:pt idx="28049">
                  <c:v>108075</c:v>
                </c:pt>
                <c:pt idx="28050">
                  <c:v>35132</c:v>
                </c:pt>
                <c:pt idx="28051">
                  <c:v>124523</c:v>
                </c:pt>
                <c:pt idx="28052">
                  <c:v>30369</c:v>
                </c:pt>
                <c:pt idx="28053">
                  <c:v>93202</c:v>
                </c:pt>
                <c:pt idx="28054">
                  <c:v>54751</c:v>
                </c:pt>
                <c:pt idx="28055">
                  <c:v>129121</c:v>
                </c:pt>
                <c:pt idx="28056">
                  <c:v>63120</c:v>
                </c:pt>
                <c:pt idx="28057">
                  <c:v>31887</c:v>
                </c:pt>
                <c:pt idx="28058">
                  <c:v>25010</c:v>
                </c:pt>
                <c:pt idx="28059">
                  <c:v>40281</c:v>
                </c:pt>
                <c:pt idx="28060">
                  <c:v>18850</c:v>
                </c:pt>
                <c:pt idx="28061">
                  <c:v>134286</c:v>
                </c:pt>
                <c:pt idx="28062">
                  <c:v>314206</c:v>
                </c:pt>
                <c:pt idx="28063">
                  <c:v>35550</c:v>
                </c:pt>
                <c:pt idx="28064">
                  <c:v>45568</c:v>
                </c:pt>
                <c:pt idx="28065">
                  <c:v>34741</c:v>
                </c:pt>
                <c:pt idx="28066">
                  <c:v>47379</c:v>
                </c:pt>
                <c:pt idx="28067">
                  <c:v>41727</c:v>
                </c:pt>
                <c:pt idx="28068">
                  <c:v>26563</c:v>
                </c:pt>
                <c:pt idx="28069">
                  <c:v>38301</c:v>
                </c:pt>
                <c:pt idx="28070">
                  <c:v>56990</c:v>
                </c:pt>
                <c:pt idx="28071">
                  <c:v>30594</c:v>
                </c:pt>
                <c:pt idx="28072">
                  <c:v>207987</c:v>
                </c:pt>
                <c:pt idx="28073">
                  <c:v>44144</c:v>
                </c:pt>
                <c:pt idx="28074">
                  <c:v>22618</c:v>
                </c:pt>
                <c:pt idx="28075">
                  <c:v>33361</c:v>
                </c:pt>
                <c:pt idx="28076">
                  <c:v>55925</c:v>
                </c:pt>
                <c:pt idx="28077">
                  <c:v>37110</c:v>
                </c:pt>
                <c:pt idx="28078">
                  <c:v>48199</c:v>
                </c:pt>
                <c:pt idx="28079">
                  <c:v>42469</c:v>
                </c:pt>
                <c:pt idx="28080">
                  <c:v>86678</c:v>
                </c:pt>
                <c:pt idx="28081">
                  <c:v>31634</c:v>
                </c:pt>
                <c:pt idx="28082">
                  <c:v>116834</c:v>
                </c:pt>
                <c:pt idx="28083">
                  <c:v>24577</c:v>
                </c:pt>
                <c:pt idx="28084">
                  <c:v>101181</c:v>
                </c:pt>
                <c:pt idx="28085">
                  <c:v>72096</c:v>
                </c:pt>
                <c:pt idx="28086">
                  <c:v>53538</c:v>
                </c:pt>
                <c:pt idx="28087">
                  <c:v>18612</c:v>
                </c:pt>
                <c:pt idx="28088">
                  <c:v>44509</c:v>
                </c:pt>
                <c:pt idx="28089">
                  <c:v>90928</c:v>
                </c:pt>
                <c:pt idx="28090">
                  <c:v>68545</c:v>
                </c:pt>
                <c:pt idx="28091">
                  <c:v>146502</c:v>
                </c:pt>
                <c:pt idx="28092">
                  <c:v>37322</c:v>
                </c:pt>
                <c:pt idx="28093">
                  <c:v>41165</c:v>
                </c:pt>
                <c:pt idx="28094">
                  <c:v>75092</c:v>
                </c:pt>
                <c:pt idx="28095">
                  <c:v>37195</c:v>
                </c:pt>
                <c:pt idx="28096">
                  <c:v>36785</c:v>
                </c:pt>
                <c:pt idx="28097">
                  <c:v>24168</c:v>
                </c:pt>
                <c:pt idx="28098">
                  <c:v>101939</c:v>
                </c:pt>
                <c:pt idx="28099">
                  <c:v>31674</c:v>
                </c:pt>
                <c:pt idx="28100">
                  <c:v>29661</c:v>
                </c:pt>
                <c:pt idx="28101">
                  <c:v>96300</c:v>
                </c:pt>
                <c:pt idx="28102">
                  <c:v>59727</c:v>
                </c:pt>
                <c:pt idx="28103">
                  <c:v>46914</c:v>
                </c:pt>
                <c:pt idx="28104">
                  <c:v>30238</c:v>
                </c:pt>
                <c:pt idx="28105">
                  <c:v>33137</c:v>
                </c:pt>
                <c:pt idx="28106">
                  <c:v>36983</c:v>
                </c:pt>
                <c:pt idx="28107">
                  <c:v>118602</c:v>
                </c:pt>
                <c:pt idx="28108">
                  <c:v>60390</c:v>
                </c:pt>
                <c:pt idx="28109">
                  <c:v>28110</c:v>
                </c:pt>
                <c:pt idx="28110">
                  <c:v>25383</c:v>
                </c:pt>
                <c:pt idx="28111">
                  <c:v>31517</c:v>
                </c:pt>
                <c:pt idx="28112">
                  <c:v>110924</c:v>
                </c:pt>
                <c:pt idx="28113">
                  <c:v>111103</c:v>
                </c:pt>
                <c:pt idx="28114">
                  <c:v>62935</c:v>
                </c:pt>
                <c:pt idx="28115">
                  <c:v>28101</c:v>
                </c:pt>
                <c:pt idx="28116">
                  <c:v>24861</c:v>
                </c:pt>
                <c:pt idx="28117">
                  <c:v>39112</c:v>
                </c:pt>
                <c:pt idx="28118">
                  <c:v>100377</c:v>
                </c:pt>
                <c:pt idx="28119">
                  <c:v>61903</c:v>
                </c:pt>
                <c:pt idx="28120">
                  <c:v>53227</c:v>
                </c:pt>
                <c:pt idx="28121">
                  <c:v>26779</c:v>
                </c:pt>
                <c:pt idx="28122">
                  <c:v>42464</c:v>
                </c:pt>
                <c:pt idx="28123">
                  <c:v>22317</c:v>
                </c:pt>
                <c:pt idx="28124">
                  <c:v>37102</c:v>
                </c:pt>
                <c:pt idx="28125">
                  <c:v>25455</c:v>
                </c:pt>
                <c:pt idx="28126">
                  <c:v>25130</c:v>
                </c:pt>
                <c:pt idx="28127">
                  <c:v>83464</c:v>
                </c:pt>
                <c:pt idx="28128">
                  <c:v>38180</c:v>
                </c:pt>
                <c:pt idx="28129">
                  <c:v>156220</c:v>
                </c:pt>
                <c:pt idx="28130">
                  <c:v>42799</c:v>
                </c:pt>
                <c:pt idx="28131">
                  <c:v>88417</c:v>
                </c:pt>
                <c:pt idx="28132">
                  <c:v>41127</c:v>
                </c:pt>
                <c:pt idx="28133">
                  <c:v>28835</c:v>
                </c:pt>
                <c:pt idx="28134">
                  <c:v>42931</c:v>
                </c:pt>
                <c:pt idx="28135">
                  <c:v>82158</c:v>
                </c:pt>
                <c:pt idx="28136">
                  <c:v>32446</c:v>
                </c:pt>
                <c:pt idx="28137">
                  <c:v>29892</c:v>
                </c:pt>
                <c:pt idx="28138">
                  <c:v>167126</c:v>
                </c:pt>
                <c:pt idx="28139">
                  <c:v>77149</c:v>
                </c:pt>
                <c:pt idx="28140">
                  <c:v>40733</c:v>
                </c:pt>
                <c:pt idx="28141">
                  <c:v>84268</c:v>
                </c:pt>
                <c:pt idx="28142">
                  <c:v>51471</c:v>
                </c:pt>
                <c:pt idx="28143">
                  <c:v>50517</c:v>
                </c:pt>
                <c:pt idx="28144">
                  <c:v>39752</c:v>
                </c:pt>
                <c:pt idx="28145">
                  <c:v>58876</c:v>
                </c:pt>
                <c:pt idx="28146">
                  <c:v>34678</c:v>
                </c:pt>
                <c:pt idx="28147">
                  <c:v>42269</c:v>
                </c:pt>
                <c:pt idx="28148">
                  <c:v>51467</c:v>
                </c:pt>
                <c:pt idx="28149">
                  <c:v>57091</c:v>
                </c:pt>
                <c:pt idx="28150">
                  <c:v>46862</c:v>
                </c:pt>
                <c:pt idx="28151">
                  <c:v>39597</c:v>
                </c:pt>
                <c:pt idx="28152">
                  <c:v>34466</c:v>
                </c:pt>
                <c:pt idx="28153">
                  <c:v>39183</c:v>
                </c:pt>
                <c:pt idx="28154">
                  <c:v>33435</c:v>
                </c:pt>
                <c:pt idx="28155">
                  <c:v>64633</c:v>
                </c:pt>
                <c:pt idx="28156">
                  <c:v>42299</c:v>
                </c:pt>
                <c:pt idx="28157">
                  <c:v>24206</c:v>
                </c:pt>
                <c:pt idx="28158">
                  <c:v>32460</c:v>
                </c:pt>
                <c:pt idx="28159">
                  <c:v>41556</c:v>
                </c:pt>
                <c:pt idx="28160">
                  <c:v>42155</c:v>
                </c:pt>
                <c:pt idx="28161">
                  <c:v>24586</c:v>
                </c:pt>
                <c:pt idx="28162">
                  <c:v>34559</c:v>
                </c:pt>
                <c:pt idx="28163">
                  <c:v>28104</c:v>
                </c:pt>
                <c:pt idx="28164">
                  <c:v>61297</c:v>
                </c:pt>
                <c:pt idx="28165">
                  <c:v>28619</c:v>
                </c:pt>
                <c:pt idx="28166">
                  <c:v>21490</c:v>
                </c:pt>
                <c:pt idx="28167">
                  <c:v>230221</c:v>
                </c:pt>
                <c:pt idx="28168">
                  <c:v>30789</c:v>
                </c:pt>
                <c:pt idx="28169">
                  <c:v>83837</c:v>
                </c:pt>
                <c:pt idx="28170">
                  <c:v>79626</c:v>
                </c:pt>
                <c:pt idx="28171">
                  <c:v>202590</c:v>
                </c:pt>
                <c:pt idx="28172">
                  <c:v>40942</c:v>
                </c:pt>
                <c:pt idx="28173">
                  <c:v>47282</c:v>
                </c:pt>
                <c:pt idx="28174">
                  <c:v>40941</c:v>
                </c:pt>
                <c:pt idx="28175">
                  <c:v>30513</c:v>
                </c:pt>
                <c:pt idx="28176">
                  <c:v>30972</c:v>
                </c:pt>
                <c:pt idx="28177">
                  <c:v>32138</c:v>
                </c:pt>
                <c:pt idx="28178">
                  <c:v>66168</c:v>
                </c:pt>
                <c:pt idx="28179">
                  <c:v>21952</c:v>
                </c:pt>
                <c:pt idx="28180">
                  <c:v>56406</c:v>
                </c:pt>
                <c:pt idx="28181">
                  <c:v>30300</c:v>
                </c:pt>
                <c:pt idx="28182">
                  <c:v>20086</c:v>
                </c:pt>
                <c:pt idx="28183">
                  <c:v>88654</c:v>
                </c:pt>
                <c:pt idx="28184">
                  <c:v>43217</c:v>
                </c:pt>
                <c:pt idx="28185">
                  <c:v>37619</c:v>
                </c:pt>
                <c:pt idx="28186">
                  <c:v>44676</c:v>
                </c:pt>
                <c:pt idx="28187">
                  <c:v>33010</c:v>
                </c:pt>
                <c:pt idx="28188">
                  <c:v>42622</c:v>
                </c:pt>
                <c:pt idx="28189">
                  <c:v>67393</c:v>
                </c:pt>
                <c:pt idx="28190">
                  <c:v>139004</c:v>
                </c:pt>
                <c:pt idx="28191">
                  <c:v>41192</c:v>
                </c:pt>
                <c:pt idx="28192">
                  <c:v>60031</c:v>
                </c:pt>
                <c:pt idx="28193">
                  <c:v>60642</c:v>
                </c:pt>
                <c:pt idx="28194">
                  <c:v>32321</c:v>
                </c:pt>
                <c:pt idx="28195">
                  <c:v>41816</c:v>
                </c:pt>
                <c:pt idx="28196">
                  <c:v>26257</c:v>
                </c:pt>
                <c:pt idx="28197">
                  <c:v>37008</c:v>
                </c:pt>
                <c:pt idx="28198">
                  <c:v>26077</c:v>
                </c:pt>
                <c:pt idx="28199">
                  <c:v>100972</c:v>
                </c:pt>
                <c:pt idx="28200">
                  <c:v>26067</c:v>
                </c:pt>
                <c:pt idx="28201">
                  <c:v>67472</c:v>
                </c:pt>
                <c:pt idx="28202">
                  <c:v>79607</c:v>
                </c:pt>
                <c:pt idx="28203">
                  <c:v>267988</c:v>
                </c:pt>
                <c:pt idx="28204">
                  <c:v>52566</c:v>
                </c:pt>
                <c:pt idx="28205">
                  <c:v>94525</c:v>
                </c:pt>
                <c:pt idx="28206">
                  <c:v>31555</c:v>
                </c:pt>
                <c:pt idx="28207">
                  <c:v>26271</c:v>
                </c:pt>
                <c:pt idx="28208">
                  <c:v>33406</c:v>
                </c:pt>
                <c:pt idx="28209">
                  <c:v>43578</c:v>
                </c:pt>
                <c:pt idx="28210">
                  <c:v>68021</c:v>
                </c:pt>
                <c:pt idx="28211">
                  <c:v>29469</c:v>
                </c:pt>
                <c:pt idx="28212">
                  <c:v>49466</c:v>
                </c:pt>
                <c:pt idx="28213">
                  <c:v>42416</c:v>
                </c:pt>
                <c:pt idx="28214">
                  <c:v>25248</c:v>
                </c:pt>
                <c:pt idx="28215">
                  <c:v>26252</c:v>
                </c:pt>
                <c:pt idx="28216">
                  <c:v>36259</c:v>
                </c:pt>
                <c:pt idx="28217">
                  <c:v>92107</c:v>
                </c:pt>
                <c:pt idx="28218">
                  <c:v>29713</c:v>
                </c:pt>
                <c:pt idx="28219">
                  <c:v>28750</c:v>
                </c:pt>
                <c:pt idx="28220">
                  <c:v>138063</c:v>
                </c:pt>
                <c:pt idx="28221">
                  <c:v>58185</c:v>
                </c:pt>
                <c:pt idx="28222">
                  <c:v>38616</c:v>
                </c:pt>
                <c:pt idx="28223">
                  <c:v>36623</c:v>
                </c:pt>
                <c:pt idx="28224">
                  <c:v>29668</c:v>
                </c:pt>
                <c:pt idx="28225">
                  <c:v>47919</c:v>
                </c:pt>
                <c:pt idx="28226">
                  <c:v>275366</c:v>
                </c:pt>
                <c:pt idx="28227">
                  <c:v>38764</c:v>
                </c:pt>
                <c:pt idx="28228">
                  <c:v>28067</c:v>
                </c:pt>
                <c:pt idx="28229">
                  <c:v>41718</c:v>
                </c:pt>
                <c:pt idx="28230">
                  <c:v>26392</c:v>
                </c:pt>
                <c:pt idx="28231">
                  <c:v>85596</c:v>
                </c:pt>
                <c:pt idx="28232">
                  <c:v>27636</c:v>
                </c:pt>
                <c:pt idx="28233">
                  <c:v>51511</c:v>
                </c:pt>
                <c:pt idx="28234">
                  <c:v>41196</c:v>
                </c:pt>
                <c:pt idx="28235">
                  <c:v>108467</c:v>
                </c:pt>
                <c:pt idx="28236">
                  <c:v>63506</c:v>
                </c:pt>
                <c:pt idx="28237">
                  <c:v>30380</c:v>
                </c:pt>
                <c:pt idx="28238">
                  <c:v>30804</c:v>
                </c:pt>
                <c:pt idx="28239">
                  <c:v>32346</c:v>
                </c:pt>
                <c:pt idx="28240">
                  <c:v>60990</c:v>
                </c:pt>
                <c:pt idx="28241">
                  <c:v>46881</c:v>
                </c:pt>
                <c:pt idx="28242">
                  <c:v>199694</c:v>
                </c:pt>
                <c:pt idx="28243">
                  <c:v>275813</c:v>
                </c:pt>
                <c:pt idx="28244">
                  <c:v>246746</c:v>
                </c:pt>
                <c:pt idx="28245">
                  <c:v>81387</c:v>
                </c:pt>
                <c:pt idx="28246">
                  <c:v>88678</c:v>
                </c:pt>
                <c:pt idx="28247">
                  <c:v>101288</c:v>
                </c:pt>
                <c:pt idx="28248">
                  <c:v>32015</c:v>
                </c:pt>
                <c:pt idx="28249">
                  <c:v>122941</c:v>
                </c:pt>
                <c:pt idx="28250">
                  <c:v>31202</c:v>
                </c:pt>
                <c:pt idx="28251">
                  <c:v>44771</c:v>
                </c:pt>
                <c:pt idx="28252">
                  <c:v>97410</c:v>
                </c:pt>
                <c:pt idx="28253">
                  <c:v>51301</c:v>
                </c:pt>
                <c:pt idx="28254">
                  <c:v>41023</c:v>
                </c:pt>
                <c:pt idx="28255">
                  <c:v>99484</c:v>
                </c:pt>
                <c:pt idx="28256">
                  <c:v>26901</c:v>
                </c:pt>
                <c:pt idx="28257">
                  <c:v>37530</c:v>
                </c:pt>
                <c:pt idx="28258">
                  <c:v>21097</c:v>
                </c:pt>
                <c:pt idx="28259">
                  <c:v>25728</c:v>
                </c:pt>
                <c:pt idx="28260">
                  <c:v>54143</c:v>
                </c:pt>
                <c:pt idx="28261">
                  <c:v>47391</c:v>
                </c:pt>
                <c:pt idx="28262">
                  <c:v>24790</c:v>
                </c:pt>
                <c:pt idx="28263">
                  <c:v>48018</c:v>
                </c:pt>
                <c:pt idx="28264">
                  <c:v>23451</c:v>
                </c:pt>
                <c:pt idx="28265">
                  <c:v>31397</c:v>
                </c:pt>
                <c:pt idx="28266">
                  <c:v>169215</c:v>
                </c:pt>
                <c:pt idx="28267">
                  <c:v>23941</c:v>
                </c:pt>
                <c:pt idx="28268">
                  <c:v>44836</c:v>
                </c:pt>
                <c:pt idx="28269">
                  <c:v>39490</c:v>
                </c:pt>
                <c:pt idx="28270">
                  <c:v>51542</c:v>
                </c:pt>
                <c:pt idx="28271">
                  <c:v>25458</c:v>
                </c:pt>
                <c:pt idx="28272">
                  <c:v>44155</c:v>
                </c:pt>
                <c:pt idx="28273">
                  <c:v>44586</c:v>
                </c:pt>
                <c:pt idx="28274">
                  <c:v>27630</c:v>
                </c:pt>
                <c:pt idx="28275">
                  <c:v>39430</c:v>
                </c:pt>
                <c:pt idx="28276">
                  <c:v>46838</c:v>
                </c:pt>
                <c:pt idx="28277">
                  <c:v>45958</c:v>
                </c:pt>
                <c:pt idx="28278">
                  <c:v>63375</c:v>
                </c:pt>
                <c:pt idx="28279">
                  <c:v>26838</c:v>
                </c:pt>
                <c:pt idx="28280">
                  <c:v>52944</c:v>
                </c:pt>
                <c:pt idx="28281">
                  <c:v>37070</c:v>
                </c:pt>
                <c:pt idx="28282">
                  <c:v>75188</c:v>
                </c:pt>
                <c:pt idx="28283">
                  <c:v>30089</c:v>
                </c:pt>
                <c:pt idx="28284">
                  <c:v>96319</c:v>
                </c:pt>
                <c:pt idx="28285">
                  <c:v>37111</c:v>
                </c:pt>
                <c:pt idx="28286">
                  <c:v>72052</c:v>
                </c:pt>
                <c:pt idx="28287">
                  <c:v>147916</c:v>
                </c:pt>
                <c:pt idx="28288">
                  <c:v>40951</c:v>
                </c:pt>
                <c:pt idx="28289">
                  <c:v>92892</c:v>
                </c:pt>
                <c:pt idx="28290">
                  <c:v>67104</c:v>
                </c:pt>
                <c:pt idx="28291">
                  <c:v>40405</c:v>
                </c:pt>
                <c:pt idx="28292">
                  <c:v>33217</c:v>
                </c:pt>
                <c:pt idx="28293">
                  <c:v>155530</c:v>
                </c:pt>
                <c:pt idx="28294">
                  <c:v>28108</c:v>
                </c:pt>
                <c:pt idx="28295">
                  <c:v>46294</c:v>
                </c:pt>
                <c:pt idx="28296">
                  <c:v>48911</c:v>
                </c:pt>
                <c:pt idx="28297">
                  <c:v>41681</c:v>
                </c:pt>
                <c:pt idx="28298">
                  <c:v>52033</c:v>
                </c:pt>
                <c:pt idx="28299">
                  <c:v>23507</c:v>
                </c:pt>
                <c:pt idx="28300">
                  <c:v>32970</c:v>
                </c:pt>
                <c:pt idx="28301">
                  <c:v>41046</c:v>
                </c:pt>
                <c:pt idx="28302">
                  <c:v>34360</c:v>
                </c:pt>
                <c:pt idx="28303">
                  <c:v>34908</c:v>
                </c:pt>
                <c:pt idx="28304">
                  <c:v>40765</c:v>
                </c:pt>
                <c:pt idx="28305">
                  <c:v>35701</c:v>
                </c:pt>
                <c:pt idx="28306">
                  <c:v>34523</c:v>
                </c:pt>
                <c:pt idx="28307">
                  <c:v>52216</c:v>
                </c:pt>
                <c:pt idx="28308">
                  <c:v>47970</c:v>
                </c:pt>
                <c:pt idx="28309">
                  <c:v>45639</c:v>
                </c:pt>
                <c:pt idx="28310">
                  <c:v>22535</c:v>
                </c:pt>
                <c:pt idx="28311">
                  <c:v>103851</c:v>
                </c:pt>
                <c:pt idx="28312">
                  <c:v>62251</c:v>
                </c:pt>
                <c:pt idx="28313">
                  <c:v>44000</c:v>
                </c:pt>
                <c:pt idx="28314">
                  <c:v>36856</c:v>
                </c:pt>
                <c:pt idx="28315">
                  <c:v>27611</c:v>
                </c:pt>
                <c:pt idx="28316">
                  <c:v>28814</c:v>
                </c:pt>
                <c:pt idx="28317">
                  <c:v>56153</c:v>
                </c:pt>
                <c:pt idx="28318">
                  <c:v>52787</c:v>
                </c:pt>
                <c:pt idx="28319">
                  <c:v>131007</c:v>
                </c:pt>
                <c:pt idx="28320">
                  <c:v>36532</c:v>
                </c:pt>
                <c:pt idx="28321">
                  <c:v>106247</c:v>
                </c:pt>
                <c:pt idx="28322">
                  <c:v>57668</c:v>
                </c:pt>
                <c:pt idx="28323">
                  <c:v>255167</c:v>
                </c:pt>
                <c:pt idx="28324">
                  <c:v>46553</c:v>
                </c:pt>
                <c:pt idx="28325">
                  <c:v>34394</c:v>
                </c:pt>
                <c:pt idx="28326">
                  <c:v>48912</c:v>
                </c:pt>
                <c:pt idx="28327">
                  <c:v>75792</c:v>
                </c:pt>
                <c:pt idx="28328">
                  <c:v>214596</c:v>
                </c:pt>
                <c:pt idx="28329">
                  <c:v>46705</c:v>
                </c:pt>
                <c:pt idx="28330">
                  <c:v>94095</c:v>
                </c:pt>
                <c:pt idx="28331">
                  <c:v>40239</c:v>
                </c:pt>
                <c:pt idx="28332">
                  <c:v>35223</c:v>
                </c:pt>
                <c:pt idx="28333">
                  <c:v>49150</c:v>
                </c:pt>
                <c:pt idx="28334">
                  <c:v>53777</c:v>
                </c:pt>
                <c:pt idx="28335">
                  <c:v>32859</c:v>
                </c:pt>
                <c:pt idx="28336">
                  <c:v>36496</c:v>
                </c:pt>
                <c:pt idx="28337">
                  <c:v>28832</c:v>
                </c:pt>
                <c:pt idx="28338">
                  <c:v>32068</c:v>
                </c:pt>
                <c:pt idx="28339">
                  <c:v>36685</c:v>
                </c:pt>
                <c:pt idx="28340">
                  <c:v>34055</c:v>
                </c:pt>
                <c:pt idx="28341">
                  <c:v>24626</c:v>
                </c:pt>
                <c:pt idx="28342">
                  <c:v>52823</c:v>
                </c:pt>
                <c:pt idx="28343">
                  <c:v>48363</c:v>
                </c:pt>
                <c:pt idx="28344">
                  <c:v>24906</c:v>
                </c:pt>
                <c:pt idx="28345">
                  <c:v>31741</c:v>
                </c:pt>
                <c:pt idx="28346">
                  <c:v>47172</c:v>
                </c:pt>
                <c:pt idx="28347">
                  <c:v>124624</c:v>
                </c:pt>
                <c:pt idx="28348">
                  <c:v>199326</c:v>
                </c:pt>
                <c:pt idx="28349">
                  <c:v>26997</c:v>
                </c:pt>
                <c:pt idx="28350">
                  <c:v>22275</c:v>
                </c:pt>
                <c:pt idx="28351">
                  <c:v>36659</c:v>
                </c:pt>
                <c:pt idx="28352">
                  <c:v>49014</c:v>
                </c:pt>
                <c:pt idx="28353">
                  <c:v>36527</c:v>
                </c:pt>
                <c:pt idx="28354">
                  <c:v>52158</c:v>
                </c:pt>
                <c:pt idx="28355">
                  <c:v>122352</c:v>
                </c:pt>
                <c:pt idx="28356">
                  <c:v>78624</c:v>
                </c:pt>
                <c:pt idx="28357">
                  <c:v>58733</c:v>
                </c:pt>
                <c:pt idx="28358">
                  <c:v>51700</c:v>
                </c:pt>
                <c:pt idx="28359">
                  <c:v>46034</c:v>
                </c:pt>
                <c:pt idx="28360">
                  <c:v>25721</c:v>
                </c:pt>
                <c:pt idx="28361">
                  <c:v>29105</c:v>
                </c:pt>
                <c:pt idx="28362">
                  <c:v>104847</c:v>
                </c:pt>
                <c:pt idx="28363">
                  <c:v>48350</c:v>
                </c:pt>
                <c:pt idx="28364">
                  <c:v>40727</c:v>
                </c:pt>
                <c:pt idx="28365">
                  <c:v>27308</c:v>
                </c:pt>
                <c:pt idx="28366">
                  <c:v>74155</c:v>
                </c:pt>
                <c:pt idx="28367">
                  <c:v>117005</c:v>
                </c:pt>
                <c:pt idx="28368">
                  <c:v>45641</c:v>
                </c:pt>
                <c:pt idx="28369">
                  <c:v>63860</c:v>
                </c:pt>
                <c:pt idx="28370">
                  <c:v>67440</c:v>
                </c:pt>
                <c:pt idx="28371">
                  <c:v>170154</c:v>
                </c:pt>
                <c:pt idx="28372">
                  <c:v>24349</c:v>
                </c:pt>
                <c:pt idx="28373">
                  <c:v>171759</c:v>
                </c:pt>
                <c:pt idx="28374">
                  <c:v>187827</c:v>
                </c:pt>
                <c:pt idx="28375">
                  <c:v>48037</c:v>
                </c:pt>
                <c:pt idx="28376">
                  <c:v>83162</c:v>
                </c:pt>
                <c:pt idx="28377">
                  <c:v>40807</c:v>
                </c:pt>
                <c:pt idx="28378">
                  <c:v>52821</c:v>
                </c:pt>
                <c:pt idx="28379">
                  <c:v>36845</c:v>
                </c:pt>
                <c:pt idx="28380">
                  <c:v>34702</c:v>
                </c:pt>
                <c:pt idx="28381">
                  <c:v>24287</c:v>
                </c:pt>
                <c:pt idx="28382">
                  <c:v>47726</c:v>
                </c:pt>
                <c:pt idx="28383">
                  <c:v>38351</c:v>
                </c:pt>
                <c:pt idx="28384">
                  <c:v>28078</c:v>
                </c:pt>
                <c:pt idx="28385">
                  <c:v>44255</c:v>
                </c:pt>
                <c:pt idx="28386">
                  <c:v>27838</c:v>
                </c:pt>
                <c:pt idx="28387">
                  <c:v>63511</c:v>
                </c:pt>
                <c:pt idx="28388">
                  <c:v>46373</c:v>
                </c:pt>
                <c:pt idx="28389">
                  <c:v>41050</c:v>
                </c:pt>
                <c:pt idx="28390">
                  <c:v>36632</c:v>
                </c:pt>
                <c:pt idx="28391">
                  <c:v>43539</c:v>
                </c:pt>
                <c:pt idx="28392">
                  <c:v>25238</c:v>
                </c:pt>
                <c:pt idx="28393">
                  <c:v>46883</c:v>
                </c:pt>
                <c:pt idx="28394">
                  <c:v>199929</c:v>
                </c:pt>
                <c:pt idx="28395">
                  <c:v>35273</c:v>
                </c:pt>
                <c:pt idx="28396">
                  <c:v>37524</c:v>
                </c:pt>
                <c:pt idx="28397">
                  <c:v>41494</c:v>
                </c:pt>
                <c:pt idx="28398">
                  <c:v>61259</c:v>
                </c:pt>
                <c:pt idx="28399">
                  <c:v>83623</c:v>
                </c:pt>
                <c:pt idx="28400">
                  <c:v>23590</c:v>
                </c:pt>
                <c:pt idx="28401">
                  <c:v>41941</c:v>
                </c:pt>
                <c:pt idx="28402">
                  <c:v>41117</c:v>
                </c:pt>
                <c:pt idx="28403">
                  <c:v>44698</c:v>
                </c:pt>
                <c:pt idx="28404">
                  <c:v>43836</c:v>
                </c:pt>
                <c:pt idx="28405">
                  <c:v>231586</c:v>
                </c:pt>
                <c:pt idx="28406">
                  <c:v>61220</c:v>
                </c:pt>
                <c:pt idx="28407">
                  <c:v>43409</c:v>
                </c:pt>
                <c:pt idx="28408">
                  <c:v>30408</c:v>
                </c:pt>
                <c:pt idx="28409">
                  <c:v>51681</c:v>
                </c:pt>
                <c:pt idx="28410">
                  <c:v>49847</c:v>
                </c:pt>
                <c:pt idx="28411">
                  <c:v>73669</c:v>
                </c:pt>
                <c:pt idx="28412">
                  <c:v>41298</c:v>
                </c:pt>
                <c:pt idx="28413">
                  <c:v>81593</c:v>
                </c:pt>
                <c:pt idx="28414">
                  <c:v>74036</c:v>
                </c:pt>
                <c:pt idx="28415">
                  <c:v>78131</c:v>
                </c:pt>
                <c:pt idx="28416">
                  <c:v>45141</c:v>
                </c:pt>
                <c:pt idx="28417">
                  <c:v>175792</c:v>
                </c:pt>
                <c:pt idx="28418">
                  <c:v>71641</c:v>
                </c:pt>
                <c:pt idx="28419">
                  <c:v>23683</c:v>
                </c:pt>
                <c:pt idx="28420">
                  <c:v>91939</c:v>
                </c:pt>
                <c:pt idx="28421">
                  <c:v>106299</c:v>
                </c:pt>
                <c:pt idx="28422">
                  <c:v>33570</c:v>
                </c:pt>
                <c:pt idx="28423">
                  <c:v>38323</c:v>
                </c:pt>
                <c:pt idx="28424">
                  <c:v>174070</c:v>
                </c:pt>
                <c:pt idx="28425">
                  <c:v>39676</c:v>
                </c:pt>
                <c:pt idx="28426">
                  <c:v>29658</c:v>
                </c:pt>
                <c:pt idx="28427">
                  <c:v>106220</c:v>
                </c:pt>
                <c:pt idx="28428">
                  <c:v>42140</c:v>
                </c:pt>
                <c:pt idx="28429">
                  <c:v>32774</c:v>
                </c:pt>
                <c:pt idx="28430">
                  <c:v>25513</c:v>
                </c:pt>
                <c:pt idx="28431">
                  <c:v>29693</c:v>
                </c:pt>
                <c:pt idx="28432">
                  <c:v>66238</c:v>
                </c:pt>
                <c:pt idx="28433">
                  <c:v>27449</c:v>
                </c:pt>
                <c:pt idx="28434">
                  <c:v>51590</c:v>
                </c:pt>
                <c:pt idx="28435">
                  <c:v>120779</c:v>
                </c:pt>
                <c:pt idx="28436">
                  <c:v>36111</c:v>
                </c:pt>
                <c:pt idx="28437">
                  <c:v>48735</c:v>
                </c:pt>
                <c:pt idx="28438">
                  <c:v>39948</c:v>
                </c:pt>
                <c:pt idx="28439">
                  <c:v>56758</c:v>
                </c:pt>
                <c:pt idx="28440">
                  <c:v>139219</c:v>
                </c:pt>
                <c:pt idx="28441">
                  <c:v>44960</c:v>
                </c:pt>
                <c:pt idx="28442">
                  <c:v>18951</c:v>
                </c:pt>
                <c:pt idx="28443">
                  <c:v>26722</c:v>
                </c:pt>
                <c:pt idx="28444">
                  <c:v>49612</c:v>
                </c:pt>
                <c:pt idx="28445">
                  <c:v>51605</c:v>
                </c:pt>
                <c:pt idx="28446">
                  <c:v>33855</c:v>
                </c:pt>
                <c:pt idx="28447">
                  <c:v>114059</c:v>
                </c:pt>
                <c:pt idx="28448">
                  <c:v>66688</c:v>
                </c:pt>
                <c:pt idx="28449">
                  <c:v>51984</c:v>
                </c:pt>
                <c:pt idx="28450">
                  <c:v>34536</c:v>
                </c:pt>
                <c:pt idx="28451">
                  <c:v>27829</c:v>
                </c:pt>
                <c:pt idx="28452">
                  <c:v>46075</c:v>
                </c:pt>
                <c:pt idx="28453">
                  <c:v>40479</c:v>
                </c:pt>
                <c:pt idx="28454">
                  <c:v>33146</c:v>
                </c:pt>
                <c:pt idx="28455">
                  <c:v>33121</c:v>
                </c:pt>
                <c:pt idx="28456">
                  <c:v>90139</c:v>
                </c:pt>
                <c:pt idx="28457">
                  <c:v>38350</c:v>
                </c:pt>
                <c:pt idx="28458">
                  <c:v>27639</c:v>
                </c:pt>
                <c:pt idx="28459">
                  <c:v>41520</c:v>
                </c:pt>
                <c:pt idx="28460">
                  <c:v>96338</c:v>
                </c:pt>
                <c:pt idx="28461">
                  <c:v>48650</c:v>
                </c:pt>
                <c:pt idx="28462">
                  <c:v>37465</c:v>
                </c:pt>
                <c:pt idx="28463">
                  <c:v>65265</c:v>
                </c:pt>
                <c:pt idx="28464">
                  <c:v>26047</c:v>
                </c:pt>
                <c:pt idx="28465">
                  <c:v>52756</c:v>
                </c:pt>
                <c:pt idx="28466">
                  <c:v>43924</c:v>
                </c:pt>
                <c:pt idx="28467">
                  <c:v>75866</c:v>
                </c:pt>
                <c:pt idx="28468">
                  <c:v>206178</c:v>
                </c:pt>
                <c:pt idx="28469">
                  <c:v>34951</c:v>
                </c:pt>
                <c:pt idx="28470">
                  <c:v>51127</c:v>
                </c:pt>
                <c:pt idx="28471">
                  <c:v>73097</c:v>
                </c:pt>
                <c:pt idx="28472">
                  <c:v>24864</c:v>
                </c:pt>
                <c:pt idx="28473">
                  <c:v>95400</c:v>
                </c:pt>
                <c:pt idx="28474">
                  <c:v>32724</c:v>
                </c:pt>
                <c:pt idx="28475">
                  <c:v>78271</c:v>
                </c:pt>
                <c:pt idx="28476">
                  <c:v>68557</c:v>
                </c:pt>
                <c:pt idx="28477">
                  <c:v>86763</c:v>
                </c:pt>
                <c:pt idx="28478">
                  <c:v>42276</c:v>
                </c:pt>
                <c:pt idx="28479">
                  <c:v>35887</c:v>
                </c:pt>
                <c:pt idx="28480">
                  <c:v>28348</c:v>
                </c:pt>
                <c:pt idx="28481">
                  <c:v>202601</c:v>
                </c:pt>
                <c:pt idx="28482">
                  <c:v>41730</c:v>
                </c:pt>
                <c:pt idx="28483">
                  <c:v>49310</c:v>
                </c:pt>
                <c:pt idx="28484">
                  <c:v>24607</c:v>
                </c:pt>
                <c:pt idx="28485">
                  <c:v>54146</c:v>
                </c:pt>
                <c:pt idx="28486">
                  <c:v>27984</c:v>
                </c:pt>
                <c:pt idx="28487">
                  <c:v>45362</c:v>
                </c:pt>
                <c:pt idx="28488">
                  <c:v>24817</c:v>
                </c:pt>
                <c:pt idx="28489">
                  <c:v>24197</c:v>
                </c:pt>
                <c:pt idx="28490">
                  <c:v>179114</c:v>
                </c:pt>
                <c:pt idx="28491">
                  <c:v>59244</c:v>
                </c:pt>
                <c:pt idx="28492">
                  <c:v>23431</c:v>
                </c:pt>
                <c:pt idx="28493">
                  <c:v>32936</c:v>
                </c:pt>
                <c:pt idx="28494">
                  <c:v>46745</c:v>
                </c:pt>
                <c:pt idx="28495">
                  <c:v>29233</c:v>
                </c:pt>
                <c:pt idx="28496">
                  <c:v>56555</c:v>
                </c:pt>
                <c:pt idx="28497">
                  <c:v>115069</c:v>
                </c:pt>
                <c:pt idx="28498">
                  <c:v>68840</c:v>
                </c:pt>
                <c:pt idx="28499">
                  <c:v>38420</c:v>
                </c:pt>
                <c:pt idx="28500">
                  <c:v>41493</c:v>
                </c:pt>
                <c:pt idx="28501">
                  <c:v>26017</c:v>
                </c:pt>
                <c:pt idx="28502">
                  <c:v>30872</c:v>
                </c:pt>
                <c:pt idx="28503">
                  <c:v>106206</c:v>
                </c:pt>
                <c:pt idx="28504">
                  <c:v>28902</c:v>
                </c:pt>
                <c:pt idx="28505">
                  <c:v>65777</c:v>
                </c:pt>
                <c:pt idx="28506">
                  <c:v>39091</c:v>
                </c:pt>
                <c:pt idx="28507">
                  <c:v>42730</c:v>
                </c:pt>
                <c:pt idx="28508">
                  <c:v>43652</c:v>
                </c:pt>
                <c:pt idx="28509">
                  <c:v>50854</c:v>
                </c:pt>
                <c:pt idx="28510">
                  <c:v>154511</c:v>
                </c:pt>
                <c:pt idx="28511">
                  <c:v>38683</c:v>
                </c:pt>
                <c:pt idx="28512">
                  <c:v>23318</c:v>
                </c:pt>
                <c:pt idx="28513">
                  <c:v>208574</c:v>
                </c:pt>
                <c:pt idx="28514">
                  <c:v>46690</c:v>
                </c:pt>
                <c:pt idx="28515">
                  <c:v>44657</c:v>
                </c:pt>
                <c:pt idx="28516">
                  <c:v>47513</c:v>
                </c:pt>
                <c:pt idx="28517">
                  <c:v>31760</c:v>
                </c:pt>
                <c:pt idx="28518">
                  <c:v>76012</c:v>
                </c:pt>
                <c:pt idx="28519">
                  <c:v>22086</c:v>
                </c:pt>
                <c:pt idx="28520">
                  <c:v>30579</c:v>
                </c:pt>
                <c:pt idx="28521">
                  <c:v>35426</c:v>
                </c:pt>
                <c:pt idx="28522">
                  <c:v>47346</c:v>
                </c:pt>
                <c:pt idx="28523">
                  <c:v>50000</c:v>
                </c:pt>
                <c:pt idx="28524">
                  <c:v>32416</c:v>
                </c:pt>
                <c:pt idx="28525">
                  <c:v>34919</c:v>
                </c:pt>
                <c:pt idx="28526">
                  <c:v>108585</c:v>
                </c:pt>
                <c:pt idx="28527">
                  <c:v>61143</c:v>
                </c:pt>
                <c:pt idx="28528">
                  <c:v>39114</c:v>
                </c:pt>
                <c:pt idx="28529">
                  <c:v>35053</c:v>
                </c:pt>
                <c:pt idx="28530">
                  <c:v>29124</c:v>
                </c:pt>
                <c:pt idx="28531">
                  <c:v>60602</c:v>
                </c:pt>
                <c:pt idx="28532">
                  <c:v>22684</c:v>
                </c:pt>
                <c:pt idx="28533">
                  <c:v>28543</c:v>
                </c:pt>
                <c:pt idx="28534">
                  <c:v>24824</c:v>
                </c:pt>
                <c:pt idx="28535">
                  <c:v>38479</c:v>
                </c:pt>
                <c:pt idx="28536">
                  <c:v>68764</c:v>
                </c:pt>
                <c:pt idx="28537">
                  <c:v>24540</c:v>
                </c:pt>
                <c:pt idx="28538">
                  <c:v>41074</c:v>
                </c:pt>
                <c:pt idx="28539">
                  <c:v>26494</c:v>
                </c:pt>
                <c:pt idx="28540">
                  <c:v>52297</c:v>
                </c:pt>
                <c:pt idx="28541">
                  <c:v>28933</c:v>
                </c:pt>
                <c:pt idx="28542">
                  <c:v>65118</c:v>
                </c:pt>
                <c:pt idx="28543">
                  <c:v>29828</c:v>
                </c:pt>
                <c:pt idx="28544">
                  <c:v>47375</c:v>
                </c:pt>
                <c:pt idx="28545">
                  <c:v>69336</c:v>
                </c:pt>
                <c:pt idx="28546">
                  <c:v>30828</c:v>
                </c:pt>
                <c:pt idx="28547">
                  <c:v>56169</c:v>
                </c:pt>
                <c:pt idx="28548">
                  <c:v>31266</c:v>
                </c:pt>
                <c:pt idx="28549">
                  <c:v>183402</c:v>
                </c:pt>
                <c:pt idx="28550">
                  <c:v>53870</c:v>
                </c:pt>
                <c:pt idx="28551">
                  <c:v>64256</c:v>
                </c:pt>
                <c:pt idx="28552">
                  <c:v>30332</c:v>
                </c:pt>
                <c:pt idx="28553">
                  <c:v>136578</c:v>
                </c:pt>
                <c:pt idx="28554">
                  <c:v>62931</c:v>
                </c:pt>
                <c:pt idx="28555">
                  <c:v>141234</c:v>
                </c:pt>
                <c:pt idx="28556">
                  <c:v>43313</c:v>
                </c:pt>
                <c:pt idx="28557">
                  <c:v>62975</c:v>
                </c:pt>
                <c:pt idx="28558">
                  <c:v>42580</c:v>
                </c:pt>
                <c:pt idx="28559">
                  <c:v>53975</c:v>
                </c:pt>
                <c:pt idx="28560">
                  <c:v>27381</c:v>
                </c:pt>
                <c:pt idx="28561">
                  <c:v>28726</c:v>
                </c:pt>
                <c:pt idx="28562">
                  <c:v>29639</c:v>
                </c:pt>
                <c:pt idx="28563">
                  <c:v>128494</c:v>
                </c:pt>
                <c:pt idx="28564">
                  <c:v>51622</c:v>
                </c:pt>
                <c:pt idx="28565">
                  <c:v>95920</c:v>
                </c:pt>
                <c:pt idx="28566">
                  <c:v>27943</c:v>
                </c:pt>
                <c:pt idx="28567">
                  <c:v>23585</c:v>
                </c:pt>
                <c:pt idx="28568">
                  <c:v>40617</c:v>
                </c:pt>
                <c:pt idx="28569">
                  <c:v>49658</c:v>
                </c:pt>
                <c:pt idx="28570">
                  <c:v>39639</c:v>
                </c:pt>
                <c:pt idx="28571">
                  <c:v>34251</c:v>
                </c:pt>
                <c:pt idx="28572">
                  <c:v>37495</c:v>
                </c:pt>
                <c:pt idx="28573">
                  <c:v>105282</c:v>
                </c:pt>
                <c:pt idx="28574">
                  <c:v>48533</c:v>
                </c:pt>
                <c:pt idx="28575">
                  <c:v>102919</c:v>
                </c:pt>
                <c:pt idx="28576">
                  <c:v>35536</c:v>
                </c:pt>
                <c:pt idx="28577">
                  <c:v>23602</c:v>
                </c:pt>
                <c:pt idx="28578">
                  <c:v>51963</c:v>
                </c:pt>
                <c:pt idx="28579">
                  <c:v>108495</c:v>
                </c:pt>
                <c:pt idx="28580">
                  <c:v>32033</c:v>
                </c:pt>
                <c:pt idx="28581">
                  <c:v>46061</c:v>
                </c:pt>
                <c:pt idx="28582">
                  <c:v>69100</c:v>
                </c:pt>
                <c:pt idx="28583">
                  <c:v>88300</c:v>
                </c:pt>
                <c:pt idx="28584">
                  <c:v>113307</c:v>
                </c:pt>
                <c:pt idx="28585">
                  <c:v>87604</c:v>
                </c:pt>
                <c:pt idx="28586">
                  <c:v>26208</c:v>
                </c:pt>
                <c:pt idx="28587">
                  <c:v>34174</c:v>
                </c:pt>
                <c:pt idx="28588">
                  <c:v>90412</c:v>
                </c:pt>
                <c:pt idx="28589">
                  <c:v>74647</c:v>
                </c:pt>
                <c:pt idx="28590">
                  <c:v>50763</c:v>
                </c:pt>
                <c:pt idx="28591">
                  <c:v>47697</c:v>
                </c:pt>
                <c:pt idx="28592">
                  <c:v>42323</c:v>
                </c:pt>
                <c:pt idx="28593">
                  <c:v>27375</c:v>
                </c:pt>
                <c:pt idx="28594">
                  <c:v>78110</c:v>
                </c:pt>
                <c:pt idx="28595">
                  <c:v>40911</c:v>
                </c:pt>
                <c:pt idx="28596">
                  <c:v>29947</c:v>
                </c:pt>
                <c:pt idx="28597">
                  <c:v>46408</c:v>
                </c:pt>
                <c:pt idx="28598">
                  <c:v>122732</c:v>
                </c:pt>
                <c:pt idx="28599">
                  <c:v>42230</c:v>
                </c:pt>
                <c:pt idx="28600">
                  <c:v>102470</c:v>
                </c:pt>
                <c:pt idx="28601">
                  <c:v>54888</c:v>
                </c:pt>
                <c:pt idx="28602">
                  <c:v>48942</c:v>
                </c:pt>
                <c:pt idx="28603">
                  <c:v>28630</c:v>
                </c:pt>
                <c:pt idx="28604">
                  <c:v>76769</c:v>
                </c:pt>
                <c:pt idx="28605">
                  <c:v>23699</c:v>
                </c:pt>
                <c:pt idx="28606">
                  <c:v>117302</c:v>
                </c:pt>
                <c:pt idx="28607">
                  <c:v>44240</c:v>
                </c:pt>
                <c:pt idx="28608">
                  <c:v>159127</c:v>
                </c:pt>
                <c:pt idx="28609">
                  <c:v>96893</c:v>
                </c:pt>
                <c:pt idx="28610">
                  <c:v>31160</c:v>
                </c:pt>
                <c:pt idx="28611">
                  <c:v>51953</c:v>
                </c:pt>
                <c:pt idx="28612">
                  <c:v>89792</c:v>
                </c:pt>
                <c:pt idx="28613">
                  <c:v>185277</c:v>
                </c:pt>
                <c:pt idx="28614">
                  <c:v>105683</c:v>
                </c:pt>
                <c:pt idx="28615">
                  <c:v>26091</c:v>
                </c:pt>
                <c:pt idx="28616">
                  <c:v>126609</c:v>
                </c:pt>
                <c:pt idx="28617">
                  <c:v>24208</c:v>
                </c:pt>
                <c:pt idx="28618">
                  <c:v>51540</c:v>
                </c:pt>
                <c:pt idx="28619">
                  <c:v>25408</c:v>
                </c:pt>
                <c:pt idx="28620">
                  <c:v>45895</c:v>
                </c:pt>
                <c:pt idx="28621">
                  <c:v>67952</c:v>
                </c:pt>
                <c:pt idx="28622">
                  <c:v>38621</c:v>
                </c:pt>
                <c:pt idx="28623">
                  <c:v>44509</c:v>
                </c:pt>
                <c:pt idx="28624">
                  <c:v>116718</c:v>
                </c:pt>
                <c:pt idx="28625">
                  <c:v>54866</c:v>
                </c:pt>
                <c:pt idx="28626">
                  <c:v>65027</c:v>
                </c:pt>
                <c:pt idx="28627">
                  <c:v>209655</c:v>
                </c:pt>
                <c:pt idx="28628">
                  <c:v>68421</c:v>
                </c:pt>
                <c:pt idx="28629">
                  <c:v>41665</c:v>
                </c:pt>
                <c:pt idx="28630">
                  <c:v>119121</c:v>
                </c:pt>
                <c:pt idx="28631">
                  <c:v>60216</c:v>
                </c:pt>
                <c:pt idx="28632">
                  <c:v>41016</c:v>
                </c:pt>
                <c:pt idx="28633">
                  <c:v>24663</c:v>
                </c:pt>
                <c:pt idx="28634">
                  <c:v>33214</c:v>
                </c:pt>
                <c:pt idx="28635">
                  <c:v>28425</c:v>
                </c:pt>
                <c:pt idx="28636">
                  <c:v>42232</c:v>
                </c:pt>
                <c:pt idx="28637">
                  <c:v>61623</c:v>
                </c:pt>
                <c:pt idx="28638">
                  <c:v>48144</c:v>
                </c:pt>
                <c:pt idx="28639">
                  <c:v>46649</c:v>
                </c:pt>
                <c:pt idx="28640">
                  <c:v>206364</c:v>
                </c:pt>
                <c:pt idx="28641">
                  <c:v>42055</c:v>
                </c:pt>
                <c:pt idx="28642">
                  <c:v>33305</c:v>
                </c:pt>
                <c:pt idx="28643">
                  <c:v>44720</c:v>
                </c:pt>
                <c:pt idx="28644">
                  <c:v>102563</c:v>
                </c:pt>
                <c:pt idx="28645">
                  <c:v>46372</c:v>
                </c:pt>
                <c:pt idx="28646">
                  <c:v>29733</c:v>
                </c:pt>
                <c:pt idx="28647">
                  <c:v>34262</c:v>
                </c:pt>
                <c:pt idx="28648">
                  <c:v>52578</c:v>
                </c:pt>
                <c:pt idx="28649">
                  <c:v>22210</c:v>
                </c:pt>
                <c:pt idx="28650">
                  <c:v>33783</c:v>
                </c:pt>
                <c:pt idx="28651">
                  <c:v>91773</c:v>
                </c:pt>
                <c:pt idx="28652">
                  <c:v>28194</c:v>
                </c:pt>
                <c:pt idx="28653">
                  <c:v>80726</c:v>
                </c:pt>
                <c:pt idx="28654">
                  <c:v>50247</c:v>
                </c:pt>
                <c:pt idx="28655">
                  <c:v>191668</c:v>
                </c:pt>
                <c:pt idx="28656">
                  <c:v>37128</c:v>
                </c:pt>
                <c:pt idx="28657">
                  <c:v>78743</c:v>
                </c:pt>
                <c:pt idx="28658">
                  <c:v>30270</c:v>
                </c:pt>
                <c:pt idx="28659">
                  <c:v>40689</c:v>
                </c:pt>
                <c:pt idx="28660">
                  <c:v>36948</c:v>
                </c:pt>
                <c:pt idx="28661">
                  <c:v>37236</c:v>
                </c:pt>
                <c:pt idx="28662">
                  <c:v>49949</c:v>
                </c:pt>
                <c:pt idx="28663">
                  <c:v>40626</c:v>
                </c:pt>
                <c:pt idx="28664">
                  <c:v>31640</c:v>
                </c:pt>
                <c:pt idx="28665">
                  <c:v>30069</c:v>
                </c:pt>
                <c:pt idx="28666">
                  <c:v>24220</c:v>
                </c:pt>
                <c:pt idx="28667">
                  <c:v>43016</c:v>
                </c:pt>
                <c:pt idx="28668">
                  <c:v>35532</c:v>
                </c:pt>
                <c:pt idx="28669">
                  <c:v>58090</c:v>
                </c:pt>
                <c:pt idx="28670">
                  <c:v>23973</c:v>
                </c:pt>
                <c:pt idx="28671">
                  <c:v>54247</c:v>
                </c:pt>
                <c:pt idx="28672">
                  <c:v>101581</c:v>
                </c:pt>
                <c:pt idx="28673">
                  <c:v>48263</c:v>
                </c:pt>
                <c:pt idx="28674">
                  <c:v>63906</c:v>
                </c:pt>
                <c:pt idx="28675">
                  <c:v>122072</c:v>
                </c:pt>
                <c:pt idx="28676">
                  <c:v>24154</c:v>
                </c:pt>
                <c:pt idx="28677">
                  <c:v>39270</c:v>
                </c:pt>
                <c:pt idx="28678">
                  <c:v>69910</c:v>
                </c:pt>
                <c:pt idx="28679">
                  <c:v>57838</c:v>
                </c:pt>
                <c:pt idx="28680">
                  <c:v>54720</c:v>
                </c:pt>
                <c:pt idx="28681">
                  <c:v>61382</c:v>
                </c:pt>
                <c:pt idx="28682">
                  <c:v>52128</c:v>
                </c:pt>
                <c:pt idx="28683">
                  <c:v>23473</c:v>
                </c:pt>
                <c:pt idx="28684">
                  <c:v>37838</c:v>
                </c:pt>
                <c:pt idx="28685">
                  <c:v>69632</c:v>
                </c:pt>
                <c:pt idx="28686">
                  <c:v>52945</c:v>
                </c:pt>
                <c:pt idx="28687">
                  <c:v>134153</c:v>
                </c:pt>
                <c:pt idx="28688">
                  <c:v>45291</c:v>
                </c:pt>
                <c:pt idx="28689">
                  <c:v>78939</c:v>
                </c:pt>
                <c:pt idx="28690">
                  <c:v>98084</c:v>
                </c:pt>
                <c:pt idx="28691">
                  <c:v>24487</c:v>
                </c:pt>
                <c:pt idx="28692">
                  <c:v>130248</c:v>
                </c:pt>
                <c:pt idx="28693">
                  <c:v>60740</c:v>
                </c:pt>
                <c:pt idx="28694">
                  <c:v>47083</c:v>
                </c:pt>
                <c:pt idx="28695">
                  <c:v>205341</c:v>
                </c:pt>
                <c:pt idx="28696">
                  <c:v>91474</c:v>
                </c:pt>
                <c:pt idx="28697">
                  <c:v>47441</c:v>
                </c:pt>
                <c:pt idx="28698">
                  <c:v>44973</c:v>
                </c:pt>
                <c:pt idx="28699">
                  <c:v>31945</c:v>
                </c:pt>
                <c:pt idx="28700">
                  <c:v>31228</c:v>
                </c:pt>
                <c:pt idx="28701">
                  <c:v>52603</c:v>
                </c:pt>
                <c:pt idx="28702">
                  <c:v>44564</c:v>
                </c:pt>
                <c:pt idx="28703">
                  <c:v>32747</c:v>
                </c:pt>
                <c:pt idx="28704">
                  <c:v>104842</c:v>
                </c:pt>
                <c:pt idx="28705">
                  <c:v>47634</c:v>
                </c:pt>
                <c:pt idx="28706">
                  <c:v>22732</c:v>
                </c:pt>
                <c:pt idx="28707">
                  <c:v>95346</c:v>
                </c:pt>
                <c:pt idx="28708">
                  <c:v>162493</c:v>
                </c:pt>
                <c:pt idx="28709">
                  <c:v>42594</c:v>
                </c:pt>
                <c:pt idx="28710">
                  <c:v>29790</c:v>
                </c:pt>
                <c:pt idx="28711">
                  <c:v>43661</c:v>
                </c:pt>
                <c:pt idx="28712">
                  <c:v>91427</c:v>
                </c:pt>
                <c:pt idx="28713">
                  <c:v>27849</c:v>
                </c:pt>
                <c:pt idx="28714">
                  <c:v>24290</c:v>
                </c:pt>
                <c:pt idx="28715">
                  <c:v>80111</c:v>
                </c:pt>
                <c:pt idx="28716">
                  <c:v>57058</c:v>
                </c:pt>
                <c:pt idx="28717">
                  <c:v>71290</c:v>
                </c:pt>
                <c:pt idx="28718">
                  <c:v>29034</c:v>
                </c:pt>
                <c:pt idx="28719">
                  <c:v>40090</c:v>
                </c:pt>
                <c:pt idx="28720">
                  <c:v>35280</c:v>
                </c:pt>
                <c:pt idx="28721">
                  <c:v>40366</c:v>
                </c:pt>
                <c:pt idx="28722">
                  <c:v>93976</c:v>
                </c:pt>
                <c:pt idx="28723">
                  <c:v>48396</c:v>
                </c:pt>
                <c:pt idx="28724">
                  <c:v>38797</c:v>
                </c:pt>
                <c:pt idx="28725">
                  <c:v>32036</c:v>
                </c:pt>
                <c:pt idx="28726">
                  <c:v>31876</c:v>
                </c:pt>
                <c:pt idx="28727">
                  <c:v>23430</c:v>
                </c:pt>
                <c:pt idx="28728">
                  <c:v>42702</c:v>
                </c:pt>
                <c:pt idx="28729">
                  <c:v>27885</c:v>
                </c:pt>
                <c:pt idx="28730">
                  <c:v>174357</c:v>
                </c:pt>
                <c:pt idx="28731">
                  <c:v>67783</c:v>
                </c:pt>
                <c:pt idx="28732">
                  <c:v>28781</c:v>
                </c:pt>
                <c:pt idx="28733">
                  <c:v>39580</c:v>
                </c:pt>
                <c:pt idx="28734">
                  <c:v>267115</c:v>
                </c:pt>
                <c:pt idx="28735">
                  <c:v>23224</c:v>
                </c:pt>
                <c:pt idx="28736">
                  <c:v>50390</c:v>
                </c:pt>
                <c:pt idx="28737">
                  <c:v>88751</c:v>
                </c:pt>
                <c:pt idx="28738">
                  <c:v>27836</c:v>
                </c:pt>
                <c:pt idx="28739">
                  <c:v>37032</c:v>
                </c:pt>
                <c:pt idx="28740">
                  <c:v>27689</c:v>
                </c:pt>
                <c:pt idx="28741">
                  <c:v>177960</c:v>
                </c:pt>
                <c:pt idx="28742">
                  <c:v>27651</c:v>
                </c:pt>
                <c:pt idx="28743">
                  <c:v>29690</c:v>
                </c:pt>
                <c:pt idx="28744">
                  <c:v>26986</c:v>
                </c:pt>
                <c:pt idx="28745">
                  <c:v>41016</c:v>
                </c:pt>
                <c:pt idx="28746">
                  <c:v>20474</c:v>
                </c:pt>
                <c:pt idx="28747">
                  <c:v>80921</c:v>
                </c:pt>
                <c:pt idx="28748">
                  <c:v>109039</c:v>
                </c:pt>
                <c:pt idx="28749">
                  <c:v>45050</c:v>
                </c:pt>
                <c:pt idx="28750">
                  <c:v>57156</c:v>
                </c:pt>
                <c:pt idx="28751">
                  <c:v>52655</c:v>
                </c:pt>
                <c:pt idx="28752">
                  <c:v>107608</c:v>
                </c:pt>
                <c:pt idx="28753">
                  <c:v>35846</c:v>
                </c:pt>
                <c:pt idx="28754">
                  <c:v>36205</c:v>
                </c:pt>
                <c:pt idx="28755">
                  <c:v>129363</c:v>
                </c:pt>
                <c:pt idx="28756">
                  <c:v>41894</c:v>
                </c:pt>
                <c:pt idx="28757">
                  <c:v>35635</c:v>
                </c:pt>
                <c:pt idx="28758">
                  <c:v>122685</c:v>
                </c:pt>
                <c:pt idx="28759">
                  <c:v>42050</c:v>
                </c:pt>
                <c:pt idx="28760">
                  <c:v>44359</c:v>
                </c:pt>
                <c:pt idx="28761">
                  <c:v>57570</c:v>
                </c:pt>
                <c:pt idx="28762">
                  <c:v>44313</c:v>
                </c:pt>
                <c:pt idx="28763">
                  <c:v>29894</c:v>
                </c:pt>
                <c:pt idx="28764">
                  <c:v>48520</c:v>
                </c:pt>
                <c:pt idx="28765">
                  <c:v>45541</c:v>
                </c:pt>
                <c:pt idx="28766">
                  <c:v>25499</c:v>
                </c:pt>
                <c:pt idx="28767">
                  <c:v>21255</c:v>
                </c:pt>
                <c:pt idx="28768">
                  <c:v>143233</c:v>
                </c:pt>
                <c:pt idx="28769">
                  <c:v>140063</c:v>
                </c:pt>
                <c:pt idx="28770">
                  <c:v>35723</c:v>
                </c:pt>
                <c:pt idx="28771">
                  <c:v>47135</c:v>
                </c:pt>
                <c:pt idx="28772">
                  <c:v>53497</c:v>
                </c:pt>
                <c:pt idx="28773">
                  <c:v>193041</c:v>
                </c:pt>
                <c:pt idx="28774">
                  <c:v>42110</c:v>
                </c:pt>
                <c:pt idx="28775">
                  <c:v>32296</c:v>
                </c:pt>
                <c:pt idx="28776">
                  <c:v>32527</c:v>
                </c:pt>
                <c:pt idx="28777">
                  <c:v>33325</c:v>
                </c:pt>
                <c:pt idx="28778">
                  <c:v>133349</c:v>
                </c:pt>
                <c:pt idx="28779">
                  <c:v>26344</c:v>
                </c:pt>
                <c:pt idx="28780">
                  <c:v>27476</c:v>
                </c:pt>
                <c:pt idx="28781">
                  <c:v>66089</c:v>
                </c:pt>
                <c:pt idx="28782">
                  <c:v>41931</c:v>
                </c:pt>
                <c:pt idx="28783">
                  <c:v>23964</c:v>
                </c:pt>
                <c:pt idx="28784">
                  <c:v>86248</c:v>
                </c:pt>
                <c:pt idx="28785">
                  <c:v>39027</c:v>
                </c:pt>
                <c:pt idx="28786">
                  <c:v>22851</c:v>
                </c:pt>
                <c:pt idx="28787">
                  <c:v>54777</c:v>
                </c:pt>
                <c:pt idx="28788">
                  <c:v>26780</c:v>
                </c:pt>
                <c:pt idx="28789">
                  <c:v>145269</c:v>
                </c:pt>
                <c:pt idx="28790">
                  <c:v>35449</c:v>
                </c:pt>
                <c:pt idx="28791">
                  <c:v>53692</c:v>
                </c:pt>
                <c:pt idx="28792">
                  <c:v>35006</c:v>
                </c:pt>
                <c:pt idx="28793">
                  <c:v>67932</c:v>
                </c:pt>
                <c:pt idx="28794">
                  <c:v>54367</c:v>
                </c:pt>
                <c:pt idx="28795">
                  <c:v>25433</c:v>
                </c:pt>
                <c:pt idx="28796">
                  <c:v>34166</c:v>
                </c:pt>
                <c:pt idx="28797">
                  <c:v>33421</c:v>
                </c:pt>
                <c:pt idx="28798">
                  <c:v>142482</c:v>
                </c:pt>
                <c:pt idx="28799">
                  <c:v>24509</c:v>
                </c:pt>
                <c:pt idx="28800">
                  <c:v>87551</c:v>
                </c:pt>
                <c:pt idx="28801">
                  <c:v>36132</c:v>
                </c:pt>
                <c:pt idx="28802">
                  <c:v>33179</c:v>
                </c:pt>
                <c:pt idx="28803">
                  <c:v>52253</c:v>
                </c:pt>
                <c:pt idx="28804">
                  <c:v>36390</c:v>
                </c:pt>
                <c:pt idx="28805">
                  <c:v>79718</c:v>
                </c:pt>
                <c:pt idx="28806">
                  <c:v>48795</c:v>
                </c:pt>
                <c:pt idx="28807">
                  <c:v>54857</c:v>
                </c:pt>
                <c:pt idx="28808">
                  <c:v>45261</c:v>
                </c:pt>
                <c:pt idx="28809">
                  <c:v>22842</c:v>
                </c:pt>
                <c:pt idx="28810">
                  <c:v>92936</c:v>
                </c:pt>
                <c:pt idx="28811">
                  <c:v>28033</c:v>
                </c:pt>
                <c:pt idx="28812">
                  <c:v>71485</c:v>
                </c:pt>
                <c:pt idx="28813">
                  <c:v>47375</c:v>
                </c:pt>
                <c:pt idx="28814">
                  <c:v>316033</c:v>
                </c:pt>
                <c:pt idx="28815">
                  <c:v>66790</c:v>
                </c:pt>
                <c:pt idx="28816">
                  <c:v>51164</c:v>
                </c:pt>
                <c:pt idx="28817">
                  <c:v>25610</c:v>
                </c:pt>
                <c:pt idx="28818">
                  <c:v>51206</c:v>
                </c:pt>
                <c:pt idx="28819">
                  <c:v>29712</c:v>
                </c:pt>
                <c:pt idx="28820">
                  <c:v>38082</c:v>
                </c:pt>
                <c:pt idx="28821">
                  <c:v>115185</c:v>
                </c:pt>
                <c:pt idx="28822">
                  <c:v>26190</c:v>
                </c:pt>
                <c:pt idx="28823">
                  <c:v>57101</c:v>
                </c:pt>
                <c:pt idx="28824">
                  <c:v>49136</c:v>
                </c:pt>
                <c:pt idx="28825">
                  <c:v>34243</c:v>
                </c:pt>
                <c:pt idx="28826">
                  <c:v>263304</c:v>
                </c:pt>
                <c:pt idx="28827">
                  <c:v>130612</c:v>
                </c:pt>
                <c:pt idx="28828">
                  <c:v>29075</c:v>
                </c:pt>
                <c:pt idx="28829">
                  <c:v>58872</c:v>
                </c:pt>
                <c:pt idx="28830">
                  <c:v>22952</c:v>
                </c:pt>
                <c:pt idx="28831">
                  <c:v>88369</c:v>
                </c:pt>
                <c:pt idx="28832">
                  <c:v>41708</c:v>
                </c:pt>
                <c:pt idx="28833">
                  <c:v>70772</c:v>
                </c:pt>
                <c:pt idx="28834">
                  <c:v>32784</c:v>
                </c:pt>
                <c:pt idx="28835">
                  <c:v>48511</c:v>
                </c:pt>
                <c:pt idx="28836">
                  <c:v>57125</c:v>
                </c:pt>
                <c:pt idx="28837">
                  <c:v>44997</c:v>
                </c:pt>
                <c:pt idx="28838">
                  <c:v>26946</c:v>
                </c:pt>
                <c:pt idx="28839">
                  <c:v>104466</c:v>
                </c:pt>
                <c:pt idx="28840">
                  <c:v>51224</c:v>
                </c:pt>
                <c:pt idx="28841">
                  <c:v>37150</c:v>
                </c:pt>
                <c:pt idx="28842">
                  <c:v>40239</c:v>
                </c:pt>
                <c:pt idx="28843">
                  <c:v>23099</c:v>
                </c:pt>
                <c:pt idx="28844">
                  <c:v>34807</c:v>
                </c:pt>
                <c:pt idx="28845">
                  <c:v>45708</c:v>
                </c:pt>
                <c:pt idx="28846">
                  <c:v>164662</c:v>
                </c:pt>
                <c:pt idx="28847">
                  <c:v>108674</c:v>
                </c:pt>
                <c:pt idx="28848">
                  <c:v>31664</c:v>
                </c:pt>
                <c:pt idx="28849">
                  <c:v>24599</c:v>
                </c:pt>
                <c:pt idx="28850">
                  <c:v>242067</c:v>
                </c:pt>
                <c:pt idx="28851">
                  <c:v>195317</c:v>
                </c:pt>
                <c:pt idx="28852">
                  <c:v>31481</c:v>
                </c:pt>
                <c:pt idx="28853">
                  <c:v>23793</c:v>
                </c:pt>
                <c:pt idx="28854">
                  <c:v>257979</c:v>
                </c:pt>
                <c:pt idx="28855">
                  <c:v>119105</c:v>
                </c:pt>
                <c:pt idx="28856">
                  <c:v>47979</c:v>
                </c:pt>
                <c:pt idx="28857">
                  <c:v>41166</c:v>
                </c:pt>
                <c:pt idx="28858">
                  <c:v>52908</c:v>
                </c:pt>
                <c:pt idx="28859">
                  <c:v>38310</c:v>
                </c:pt>
                <c:pt idx="28860">
                  <c:v>53322</c:v>
                </c:pt>
                <c:pt idx="28861">
                  <c:v>38155</c:v>
                </c:pt>
                <c:pt idx="28862">
                  <c:v>21990</c:v>
                </c:pt>
                <c:pt idx="28863">
                  <c:v>110964</c:v>
                </c:pt>
                <c:pt idx="28864">
                  <c:v>39747</c:v>
                </c:pt>
                <c:pt idx="28865">
                  <c:v>51460</c:v>
                </c:pt>
                <c:pt idx="28866">
                  <c:v>28097</c:v>
                </c:pt>
                <c:pt idx="28867">
                  <c:v>45595</c:v>
                </c:pt>
                <c:pt idx="28868">
                  <c:v>50640</c:v>
                </c:pt>
                <c:pt idx="28869">
                  <c:v>83978</c:v>
                </c:pt>
                <c:pt idx="28870">
                  <c:v>31653</c:v>
                </c:pt>
                <c:pt idx="28871">
                  <c:v>73290</c:v>
                </c:pt>
                <c:pt idx="28872">
                  <c:v>51172</c:v>
                </c:pt>
                <c:pt idx="28873">
                  <c:v>22147</c:v>
                </c:pt>
                <c:pt idx="28874">
                  <c:v>42091</c:v>
                </c:pt>
                <c:pt idx="28875">
                  <c:v>46834</c:v>
                </c:pt>
                <c:pt idx="28876">
                  <c:v>50596</c:v>
                </c:pt>
                <c:pt idx="28877">
                  <c:v>23166</c:v>
                </c:pt>
                <c:pt idx="28878">
                  <c:v>43336</c:v>
                </c:pt>
                <c:pt idx="28879">
                  <c:v>37838</c:v>
                </c:pt>
                <c:pt idx="28880">
                  <c:v>56052</c:v>
                </c:pt>
                <c:pt idx="28881">
                  <c:v>41015</c:v>
                </c:pt>
                <c:pt idx="28882">
                  <c:v>27399</c:v>
                </c:pt>
                <c:pt idx="28883">
                  <c:v>30407</c:v>
                </c:pt>
                <c:pt idx="28884">
                  <c:v>27410</c:v>
                </c:pt>
                <c:pt idx="28885">
                  <c:v>36489</c:v>
                </c:pt>
                <c:pt idx="28886">
                  <c:v>37633</c:v>
                </c:pt>
                <c:pt idx="28887">
                  <c:v>76791</c:v>
                </c:pt>
                <c:pt idx="28888">
                  <c:v>38910</c:v>
                </c:pt>
                <c:pt idx="28889">
                  <c:v>48034</c:v>
                </c:pt>
                <c:pt idx="28890">
                  <c:v>91248</c:v>
                </c:pt>
                <c:pt idx="28891">
                  <c:v>47215</c:v>
                </c:pt>
                <c:pt idx="28892">
                  <c:v>27962</c:v>
                </c:pt>
                <c:pt idx="28893">
                  <c:v>38343</c:v>
                </c:pt>
                <c:pt idx="28894">
                  <c:v>28158</c:v>
                </c:pt>
                <c:pt idx="28895">
                  <c:v>15000</c:v>
                </c:pt>
                <c:pt idx="28896">
                  <c:v>51991</c:v>
                </c:pt>
                <c:pt idx="28897">
                  <c:v>43408</c:v>
                </c:pt>
                <c:pt idx="28898">
                  <c:v>30559</c:v>
                </c:pt>
                <c:pt idx="28899">
                  <c:v>41500</c:v>
                </c:pt>
                <c:pt idx="28900">
                  <c:v>97347</c:v>
                </c:pt>
                <c:pt idx="28901">
                  <c:v>111473</c:v>
                </c:pt>
                <c:pt idx="28902">
                  <c:v>51473</c:v>
                </c:pt>
                <c:pt idx="28903">
                  <c:v>33267</c:v>
                </c:pt>
                <c:pt idx="28904">
                  <c:v>40955</c:v>
                </c:pt>
                <c:pt idx="28905">
                  <c:v>41763</c:v>
                </c:pt>
                <c:pt idx="28906">
                  <c:v>84035</c:v>
                </c:pt>
                <c:pt idx="28907">
                  <c:v>36135</c:v>
                </c:pt>
                <c:pt idx="28908">
                  <c:v>24664</c:v>
                </c:pt>
                <c:pt idx="28909">
                  <c:v>25689</c:v>
                </c:pt>
                <c:pt idx="28910">
                  <c:v>28985</c:v>
                </c:pt>
                <c:pt idx="28911">
                  <c:v>31060</c:v>
                </c:pt>
                <c:pt idx="28912">
                  <c:v>115690</c:v>
                </c:pt>
                <c:pt idx="28913">
                  <c:v>52199</c:v>
                </c:pt>
                <c:pt idx="28914">
                  <c:v>22248</c:v>
                </c:pt>
                <c:pt idx="28915">
                  <c:v>40675</c:v>
                </c:pt>
                <c:pt idx="28916">
                  <c:v>26596</c:v>
                </c:pt>
                <c:pt idx="28917">
                  <c:v>272383</c:v>
                </c:pt>
                <c:pt idx="28918">
                  <c:v>60298</c:v>
                </c:pt>
                <c:pt idx="28919">
                  <c:v>117178</c:v>
                </c:pt>
                <c:pt idx="28920">
                  <c:v>28095</c:v>
                </c:pt>
                <c:pt idx="28921">
                  <c:v>38483</c:v>
                </c:pt>
                <c:pt idx="28922">
                  <c:v>112600</c:v>
                </c:pt>
                <c:pt idx="28923">
                  <c:v>28775</c:v>
                </c:pt>
                <c:pt idx="28924">
                  <c:v>23368</c:v>
                </c:pt>
                <c:pt idx="28925">
                  <c:v>268693</c:v>
                </c:pt>
                <c:pt idx="28926">
                  <c:v>49314</c:v>
                </c:pt>
                <c:pt idx="28927">
                  <c:v>20881</c:v>
                </c:pt>
                <c:pt idx="28928">
                  <c:v>113134</c:v>
                </c:pt>
                <c:pt idx="28929">
                  <c:v>26801</c:v>
                </c:pt>
                <c:pt idx="28930">
                  <c:v>38467</c:v>
                </c:pt>
                <c:pt idx="28931">
                  <c:v>23880</c:v>
                </c:pt>
                <c:pt idx="28932">
                  <c:v>134235</c:v>
                </c:pt>
                <c:pt idx="28933">
                  <c:v>22738</c:v>
                </c:pt>
                <c:pt idx="28934">
                  <c:v>39787</c:v>
                </c:pt>
                <c:pt idx="28935">
                  <c:v>116148</c:v>
                </c:pt>
                <c:pt idx="28936">
                  <c:v>40443</c:v>
                </c:pt>
                <c:pt idx="28937">
                  <c:v>98653</c:v>
                </c:pt>
                <c:pt idx="28938">
                  <c:v>35444</c:v>
                </c:pt>
                <c:pt idx="28939">
                  <c:v>32562</c:v>
                </c:pt>
                <c:pt idx="28940">
                  <c:v>36747</c:v>
                </c:pt>
                <c:pt idx="28941">
                  <c:v>54752</c:v>
                </c:pt>
                <c:pt idx="28942">
                  <c:v>50425</c:v>
                </c:pt>
                <c:pt idx="28943">
                  <c:v>160060</c:v>
                </c:pt>
                <c:pt idx="28944">
                  <c:v>23443</c:v>
                </c:pt>
                <c:pt idx="28945">
                  <c:v>71985</c:v>
                </c:pt>
                <c:pt idx="28946">
                  <c:v>32582</c:v>
                </c:pt>
                <c:pt idx="28947">
                  <c:v>38928</c:v>
                </c:pt>
                <c:pt idx="28948">
                  <c:v>38519</c:v>
                </c:pt>
                <c:pt idx="28949">
                  <c:v>92878</c:v>
                </c:pt>
                <c:pt idx="28950">
                  <c:v>52791</c:v>
                </c:pt>
                <c:pt idx="28951">
                  <c:v>40197</c:v>
                </c:pt>
                <c:pt idx="28952">
                  <c:v>96089</c:v>
                </c:pt>
                <c:pt idx="28953">
                  <c:v>45622</c:v>
                </c:pt>
                <c:pt idx="28954">
                  <c:v>46856</c:v>
                </c:pt>
                <c:pt idx="28955">
                  <c:v>41268</c:v>
                </c:pt>
                <c:pt idx="28956">
                  <c:v>23515</c:v>
                </c:pt>
                <c:pt idx="28957">
                  <c:v>46991</c:v>
                </c:pt>
                <c:pt idx="28958">
                  <c:v>59476</c:v>
                </c:pt>
                <c:pt idx="28959">
                  <c:v>58558</c:v>
                </c:pt>
                <c:pt idx="28960">
                  <c:v>23958</c:v>
                </c:pt>
                <c:pt idx="28961">
                  <c:v>45430</c:v>
                </c:pt>
                <c:pt idx="28962">
                  <c:v>45494</c:v>
                </c:pt>
                <c:pt idx="28963">
                  <c:v>22913</c:v>
                </c:pt>
                <c:pt idx="28964">
                  <c:v>37374</c:v>
                </c:pt>
                <c:pt idx="28965">
                  <c:v>72222</c:v>
                </c:pt>
                <c:pt idx="28966">
                  <c:v>37625</c:v>
                </c:pt>
                <c:pt idx="28967">
                  <c:v>73677</c:v>
                </c:pt>
                <c:pt idx="28968">
                  <c:v>25519</c:v>
                </c:pt>
                <c:pt idx="28969">
                  <c:v>31828</c:v>
                </c:pt>
                <c:pt idx="28970">
                  <c:v>35192</c:v>
                </c:pt>
                <c:pt idx="28971">
                  <c:v>43011</c:v>
                </c:pt>
                <c:pt idx="28972">
                  <c:v>59193</c:v>
                </c:pt>
                <c:pt idx="28973">
                  <c:v>99829</c:v>
                </c:pt>
                <c:pt idx="28974">
                  <c:v>67437</c:v>
                </c:pt>
                <c:pt idx="28975">
                  <c:v>32649</c:v>
                </c:pt>
                <c:pt idx="28976">
                  <c:v>29547</c:v>
                </c:pt>
                <c:pt idx="28977">
                  <c:v>36538</c:v>
                </c:pt>
                <c:pt idx="28978">
                  <c:v>61129</c:v>
                </c:pt>
                <c:pt idx="28979">
                  <c:v>50930</c:v>
                </c:pt>
                <c:pt idx="28980">
                  <c:v>35558</c:v>
                </c:pt>
                <c:pt idx="28981">
                  <c:v>76305</c:v>
                </c:pt>
                <c:pt idx="28982">
                  <c:v>43672</c:v>
                </c:pt>
                <c:pt idx="28983">
                  <c:v>80712</c:v>
                </c:pt>
                <c:pt idx="28984">
                  <c:v>118815</c:v>
                </c:pt>
                <c:pt idx="28985">
                  <c:v>35448</c:v>
                </c:pt>
                <c:pt idx="28986">
                  <c:v>45807</c:v>
                </c:pt>
                <c:pt idx="28987">
                  <c:v>107348</c:v>
                </c:pt>
                <c:pt idx="28988">
                  <c:v>97997</c:v>
                </c:pt>
                <c:pt idx="28989">
                  <c:v>39376</c:v>
                </c:pt>
                <c:pt idx="28990">
                  <c:v>26490</c:v>
                </c:pt>
                <c:pt idx="28991">
                  <c:v>28514</c:v>
                </c:pt>
                <c:pt idx="28992">
                  <c:v>199076</c:v>
                </c:pt>
                <c:pt idx="28993">
                  <c:v>47749</c:v>
                </c:pt>
                <c:pt idx="28994">
                  <c:v>86007</c:v>
                </c:pt>
                <c:pt idx="28995">
                  <c:v>307044</c:v>
                </c:pt>
                <c:pt idx="28996">
                  <c:v>47899</c:v>
                </c:pt>
                <c:pt idx="28997">
                  <c:v>35361</c:v>
                </c:pt>
                <c:pt idx="28998">
                  <c:v>51662</c:v>
                </c:pt>
                <c:pt idx="28999">
                  <c:v>82127</c:v>
                </c:pt>
                <c:pt idx="29000">
                  <c:v>73329</c:v>
                </c:pt>
                <c:pt idx="29001">
                  <c:v>35620</c:v>
                </c:pt>
                <c:pt idx="29002">
                  <c:v>22796</c:v>
                </c:pt>
                <c:pt idx="29003">
                  <c:v>129382</c:v>
                </c:pt>
                <c:pt idx="29004">
                  <c:v>26927</c:v>
                </c:pt>
                <c:pt idx="29005">
                  <c:v>59643</c:v>
                </c:pt>
                <c:pt idx="29006">
                  <c:v>83857</c:v>
                </c:pt>
                <c:pt idx="29007">
                  <c:v>76054</c:v>
                </c:pt>
                <c:pt idx="29008">
                  <c:v>25601</c:v>
                </c:pt>
                <c:pt idx="29009">
                  <c:v>70025</c:v>
                </c:pt>
                <c:pt idx="29010">
                  <c:v>26940</c:v>
                </c:pt>
                <c:pt idx="29011">
                  <c:v>40015</c:v>
                </c:pt>
                <c:pt idx="29012">
                  <c:v>133736</c:v>
                </c:pt>
                <c:pt idx="29013">
                  <c:v>43377</c:v>
                </c:pt>
                <c:pt idx="29014">
                  <c:v>28838</c:v>
                </c:pt>
                <c:pt idx="29015">
                  <c:v>105459</c:v>
                </c:pt>
                <c:pt idx="29016">
                  <c:v>43027</c:v>
                </c:pt>
                <c:pt idx="29017">
                  <c:v>38168</c:v>
                </c:pt>
                <c:pt idx="29018">
                  <c:v>25548</c:v>
                </c:pt>
                <c:pt idx="29019">
                  <c:v>37301</c:v>
                </c:pt>
                <c:pt idx="29020">
                  <c:v>22445</c:v>
                </c:pt>
                <c:pt idx="29021">
                  <c:v>21747</c:v>
                </c:pt>
                <c:pt idx="29022">
                  <c:v>48517</c:v>
                </c:pt>
                <c:pt idx="29023">
                  <c:v>38827</c:v>
                </c:pt>
                <c:pt idx="29024">
                  <c:v>21631</c:v>
                </c:pt>
                <c:pt idx="29025">
                  <c:v>21750</c:v>
                </c:pt>
                <c:pt idx="29026">
                  <c:v>48345</c:v>
                </c:pt>
                <c:pt idx="29027">
                  <c:v>58974</c:v>
                </c:pt>
                <c:pt idx="29028">
                  <c:v>30513</c:v>
                </c:pt>
                <c:pt idx="29029">
                  <c:v>96808</c:v>
                </c:pt>
                <c:pt idx="29030">
                  <c:v>244773</c:v>
                </c:pt>
                <c:pt idx="29031">
                  <c:v>57970</c:v>
                </c:pt>
                <c:pt idx="29032">
                  <c:v>209958</c:v>
                </c:pt>
                <c:pt idx="29033">
                  <c:v>49314</c:v>
                </c:pt>
                <c:pt idx="29034">
                  <c:v>32129</c:v>
                </c:pt>
                <c:pt idx="29035">
                  <c:v>36776</c:v>
                </c:pt>
                <c:pt idx="29036">
                  <c:v>23382</c:v>
                </c:pt>
                <c:pt idx="29037">
                  <c:v>45585</c:v>
                </c:pt>
                <c:pt idx="29038">
                  <c:v>45683</c:v>
                </c:pt>
                <c:pt idx="29039">
                  <c:v>61628</c:v>
                </c:pt>
                <c:pt idx="29040">
                  <c:v>30482</c:v>
                </c:pt>
                <c:pt idx="29041">
                  <c:v>60649</c:v>
                </c:pt>
                <c:pt idx="29042">
                  <c:v>41123</c:v>
                </c:pt>
                <c:pt idx="29043">
                  <c:v>57439</c:v>
                </c:pt>
                <c:pt idx="29044">
                  <c:v>28607</c:v>
                </c:pt>
                <c:pt idx="29045">
                  <c:v>40599</c:v>
                </c:pt>
                <c:pt idx="29046">
                  <c:v>24817</c:v>
                </c:pt>
                <c:pt idx="29047">
                  <c:v>92885</c:v>
                </c:pt>
                <c:pt idx="29048">
                  <c:v>117796</c:v>
                </c:pt>
                <c:pt idx="29049">
                  <c:v>128626</c:v>
                </c:pt>
                <c:pt idx="29050">
                  <c:v>97205</c:v>
                </c:pt>
                <c:pt idx="29051">
                  <c:v>39541</c:v>
                </c:pt>
                <c:pt idx="29052">
                  <c:v>35744</c:v>
                </c:pt>
                <c:pt idx="29053">
                  <c:v>33135</c:v>
                </c:pt>
                <c:pt idx="29054">
                  <c:v>46806</c:v>
                </c:pt>
                <c:pt idx="29055">
                  <c:v>26381</c:v>
                </c:pt>
                <c:pt idx="29056">
                  <c:v>31169</c:v>
                </c:pt>
                <c:pt idx="29057">
                  <c:v>22159</c:v>
                </c:pt>
                <c:pt idx="29058">
                  <c:v>26509</c:v>
                </c:pt>
                <c:pt idx="29059">
                  <c:v>66450</c:v>
                </c:pt>
                <c:pt idx="29060">
                  <c:v>77093</c:v>
                </c:pt>
                <c:pt idx="29061">
                  <c:v>59212</c:v>
                </c:pt>
                <c:pt idx="29062">
                  <c:v>36968</c:v>
                </c:pt>
                <c:pt idx="29063">
                  <c:v>73567</c:v>
                </c:pt>
                <c:pt idx="29064">
                  <c:v>40797</c:v>
                </c:pt>
                <c:pt idx="29065">
                  <c:v>72145</c:v>
                </c:pt>
                <c:pt idx="29066">
                  <c:v>41868</c:v>
                </c:pt>
                <c:pt idx="29067">
                  <c:v>29828</c:v>
                </c:pt>
                <c:pt idx="29068">
                  <c:v>35573</c:v>
                </c:pt>
                <c:pt idx="29069">
                  <c:v>46483</c:v>
                </c:pt>
                <c:pt idx="29070">
                  <c:v>30842</c:v>
                </c:pt>
                <c:pt idx="29071">
                  <c:v>65574</c:v>
                </c:pt>
                <c:pt idx="29072">
                  <c:v>27810</c:v>
                </c:pt>
                <c:pt idx="29073">
                  <c:v>130485</c:v>
                </c:pt>
                <c:pt idx="29074">
                  <c:v>26715</c:v>
                </c:pt>
                <c:pt idx="29075">
                  <c:v>65497</c:v>
                </c:pt>
                <c:pt idx="29076">
                  <c:v>26057</c:v>
                </c:pt>
                <c:pt idx="29077">
                  <c:v>81001</c:v>
                </c:pt>
                <c:pt idx="29078">
                  <c:v>39270</c:v>
                </c:pt>
                <c:pt idx="29079">
                  <c:v>66449</c:v>
                </c:pt>
                <c:pt idx="29080">
                  <c:v>38187</c:v>
                </c:pt>
                <c:pt idx="29081">
                  <c:v>36443</c:v>
                </c:pt>
                <c:pt idx="29082">
                  <c:v>25971</c:v>
                </c:pt>
                <c:pt idx="29083">
                  <c:v>119763</c:v>
                </c:pt>
                <c:pt idx="29084">
                  <c:v>26930</c:v>
                </c:pt>
                <c:pt idx="29085">
                  <c:v>50584</c:v>
                </c:pt>
                <c:pt idx="29086">
                  <c:v>65683</c:v>
                </c:pt>
                <c:pt idx="29087">
                  <c:v>67089</c:v>
                </c:pt>
                <c:pt idx="29088">
                  <c:v>88666</c:v>
                </c:pt>
                <c:pt idx="29089">
                  <c:v>212799</c:v>
                </c:pt>
                <c:pt idx="29090">
                  <c:v>26202</c:v>
                </c:pt>
                <c:pt idx="29091">
                  <c:v>102450</c:v>
                </c:pt>
                <c:pt idx="29092">
                  <c:v>26054</c:v>
                </c:pt>
                <c:pt idx="29093">
                  <c:v>43627</c:v>
                </c:pt>
                <c:pt idx="29094">
                  <c:v>77282</c:v>
                </c:pt>
                <c:pt idx="29095">
                  <c:v>48687</c:v>
                </c:pt>
                <c:pt idx="29096">
                  <c:v>61139</c:v>
                </c:pt>
                <c:pt idx="29097">
                  <c:v>37761</c:v>
                </c:pt>
                <c:pt idx="29098">
                  <c:v>112829</c:v>
                </c:pt>
                <c:pt idx="29099">
                  <c:v>39454</c:v>
                </c:pt>
                <c:pt idx="29100">
                  <c:v>94520</c:v>
                </c:pt>
                <c:pt idx="29101">
                  <c:v>22907</c:v>
                </c:pt>
                <c:pt idx="29102">
                  <c:v>43789</c:v>
                </c:pt>
                <c:pt idx="29103">
                  <c:v>70597</c:v>
                </c:pt>
                <c:pt idx="29104">
                  <c:v>69961</c:v>
                </c:pt>
                <c:pt idx="29105">
                  <c:v>82187</c:v>
                </c:pt>
                <c:pt idx="29106">
                  <c:v>33955</c:v>
                </c:pt>
                <c:pt idx="29107">
                  <c:v>67837</c:v>
                </c:pt>
                <c:pt idx="29108">
                  <c:v>59766</c:v>
                </c:pt>
                <c:pt idx="29109">
                  <c:v>138709</c:v>
                </c:pt>
                <c:pt idx="29110">
                  <c:v>143404</c:v>
                </c:pt>
                <c:pt idx="29111">
                  <c:v>35824</c:v>
                </c:pt>
                <c:pt idx="29112">
                  <c:v>82594</c:v>
                </c:pt>
                <c:pt idx="29113">
                  <c:v>27571</c:v>
                </c:pt>
                <c:pt idx="29114">
                  <c:v>49591</c:v>
                </c:pt>
                <c:pt idx="29115">
                  <c:v>182918</c:v>
                </c:pt>
                <c:pt idx="29116">
                  <c:v>39526</c:v>
                </c:pt>
                <c:pt idx="29117">
                  <c:v>28601</c:v>
                </c:pt>
                <c:pt idx="29118">
                  <c:v>72660</c:v>
                </c:pt>
                <c:pt idx="29119">
                  <c:v>58424</c:v>
                </c:pt>
                <c:pt idx="29120">
                  <c:v>37122</c:v>
                </c:pt>
                <c:pt idx="29121">
                  <c:v>49267</c:v>
                </c:pt>
                <c:pt idx="29122">
                  <c:v>283798</c:v>
                </c:pt>
                <c:pt idx="29123">
                  <c:v>59819</c:v>
                </c:pt>
                <c:pt idx="29124">
                  <c:v>48893</c:v>
                </c:pt>
                <c:pt idx="29125">
                  <c:v>15000</c:v>
                </c:pt>
                <c:pt idx="29126">
                  <c:v>24774</c:v>
                </c:pt>
                <c:pt idx="29127">
                  <c:v>31736</c:v>
                </c:pt>
                <c:pt idx="29128">
                  <c:v>65422</c:v>
                </c:pt>
                <c:pt idx="29129">
                  <c:v>215463</c:v>
                </c:pt>
                <c:pt idx="29130">
                  <c:v>40196</c:v>
                </c:pt>
                <c:pt idx="29131">
                  <c:v>45387</c:v>
                </c:pt>
                <c:pt idx="29132">
                  <c:v>41366</c:v>
                </c:pt>
                <c:pt idx="29133">
                  <c:v>154993</c:v>
                </c:pt>
                <c:pt idx="29134">
                  <c:v>41049</c:v>
                </c:pt>
                <c:pt idx="29135">
                  <c:v>29096</c:v>
                </c:pt>
                <c:pt idx="29136">
                  <c:v>62513</c:v>
                </c:pt>
                <c:pt idx="29137">
                  <c:v>30445</c:v>
                </c:pt>
                <c:pt idx="29138">
                  <c:v>36803</c:v>
                </c:pt>
                <c:pt idx="29139">
                  <c:v>37373</c:v>
                </c:pt>
                <c:pt idx="29140">
                  <c:v>41784</c:v>
                </c:pt>
                <c:pt idx="29141">
                  <c:v>38855</c:v>
                </c:pt>
                <c:pt idx="29142">
                  <c:v>67444</c:v>
                </c:pt>
                <c:pt idx="29143">
                  <c:v>103679</c:v>
                </c:pt>
                <c:pt idx="29144">
                  <c:v>35644</c:v>
                </c:pt>
                <c:pt idx="29145">
                  <c:v>61918</c:v>
                </c:pt>
                <c:pt idx="29146">
                  <c:v>109131</c:v>
                </c:pt>
                <c:pt idx="29147">
                  <c:v>28037</c:v>
                </c:pt>
                <c:pt idx="29148">
                  <c:v>134981</c:v>
                </c:pt>
                <c:pt idx="29149">
                  <c:v>35921</c:v>
                </c:pt>
                <c:pt idx="29150">
                  <c:v>21839</c:v>
                </c:pt>
                <c:pt idx="29151">
                  <c:v>94637</c:v>
                </c:pt>
                <c:pt idx="29152">
                  <c:v>54994</c:v>
                </c:pt>
                <c:pt idx="29153">
                  <c:v>34923</c:v>
                </c:pt>
                <c:pt idx="29154">
                  <c:v>23768</c:v>
                </c:pt>
                <c:pt idx="29155">
                  <c:v>117328</c:v>
                </c:pt>
                <c:pt idx="29156">
                  <c:v>25100</c:v>
                </c:pt>
                <c:pt idx="29157">
                  <c:v>251919</c:v>
                </c:pt>
                <c:pt idx="29158">
                  <c:v>37354</c:v>
                </c:pt>
                <c:pt idx="29159">
                  <c:v>56202</c:v>
                </c:pt>
                <c:pt idx="29160">
                  <c:v>55959</c:v>
                </c:pt>
                <c:pt idx="29161">
                  <c:v>81598</c:v>
                </c:pt>
                <c:pt idx="29162">
                  <c:v>245923</c:v>
                </c:pt>
                <c:pt idx="29163">
                  <c:v>118893</c:v>
                </c:pt>
                <c:pt idx="29164">
                  <c:v>26479</c:v>
                </c:pt>
                <c:pt idx="29165">
                  <c:v>113103</c:v>
                </c:pt>
                <c:pt idx="29166">
                  <c:v>37738</c:v>
                </c:pt>
                <c:pt idx="29167">
                  <c:v>77410</c:v>
                </c:pt>
                <c:pt idx="29168">
                  <c:v>43791</c:v>
                </c:pt>
                <c:pt idx="29169">
                  <c:v>63980</c:v>
                </c:pt>
                <c:pt idx="29170">
                  <c:v>81693</c:v>
                </c:pt>
                <c:pt idx="29171">
                  <c:v>80729</c:v>
                </c:pt>
                <c:pt idx="29172">
                  <c:v>48944</c:v>
                </c:pt>
                <c:pt idx="29173">
                  <c:v>43641</c:v>
                </c:pt>
                <c:pt idx="29174">
                  <c:v>130417</c:v>
                </c:pt>
                <c:pt idx="29175">
                  <c:v>78865</c:v>
                </c:pt>
                <c:pt idx="29176">
                  <c:v>25163</c:v>
                </c:pt>
                <c:pt idx="29177">
                  <c:v>35157</c:v>
                </c:pt>
                <c:pt idx="29178">
                  <c:v>24422</c:v>
                </c:pt>
                <c:pt idx="29179">
                  <c:v>59083</c:v>
                </c:pt>
                <c:pt idx="29180">
                  <c:v>84100</c:v>
                </c:pt>
                <c:pt idx="29181">
                  <c:v>47301</c:v>
                </c:pt>
                <c:pt idx="29182">
                  <c:v>73820</c:v>
                </c:pt>
                <c:pt idx="29183">
                  <c:v>36747</c:v>
                </c:pt>
                <c:pt idx="29184">
                  <c:v>26492</c:v>
                </c:pt>
                <c:pt idx="29185">
                  <c:v>35846</c:v>
                </c:pt>
                <c:pt idx="29186">
                  <c:v>46640</c:v>
                </c:pt>
                <c:pt idx="29187">
                  <c:v>54228</c:v>
                </c:pt>
                <c:pt idx="29188">
                  <c:v>110899</c:v>
                </c:pt>
                <c:pt idx="29189">
                  <c:v>22209</c:v>
                </c:pt>
                <c:pt idx="29190">
                  <c:v>32499</c:v>
                </c:pt>
                <c:pt idx="29191">
                  <c:v>33919</c:v>
                </c:pt>
                <c:pt idx="29192">
                  <c:v>100421</c:v>
                </c:pt>
                <c:pt idx="29193">
                  <c:v>57420</c:v>
                </c:pt>
                <c:pt idx="29194">
                  <c:v>23522</c:v>
                </c:pt>
                <c:pt idx="29195">
                  <c:v>39018</c:v>
                </c:pt>
                <c:pt idx="29196">
                  <c:v>73818</c:v>
                </c:pt>
                <c:pt idx="29197">
                  <c:v>42757</c:v>
                </c:pt>
                <c:pt idx="29198">
                  <c:v>43369</c:v>
                </c:pt>
                <c:pt idx="29199">
                  <c:v>63792</c:v>
                </c:pt>
                <c:pt idx="29200">
                  <c:v>37584</c:v>
                </c:pt>
                <c:pt idx="29201">
                  <c:v>143170</c:v>
                </c:pt>
                <c:pt idx="29202">
                  <c:v>43470</c:v>
                </c:pt>
                <c:pt idx="29203">
                  <c:v>49024</c:v>
                </c:pt>
                <c:pt idx="29204">
                  <c:v>64371</c:v>
                </c:pt>
                <c:pt idx="29205">
                  <c:v>150720</c:v>
                </c:pt>
                <c:pt idx="29206">
                  <c:v>72570</c:v>
                </c:pt>
                <c:pt idx="29207">
                  <c:v>73146</c:v>
                </c:pt>
                <c:pt idx="29208">
                  <c:v>52777</c:v>
                </c:pt>
                <c:pt idx="29209">
                  <c:v>118067</c:v>
                </c:pt>
                <c:pt idx="29210">
                  <c:v>46237</c:v>
                </c:pt>
                <c:pt idx="29211">
                  <c:v>42084</c:v>
                </c:pt>
                <c:pt idx="29212">
                  <c:v>76077</c:v>
                </c:pt>
                <c:pt idx="29213">
                  <c:v>41250</c:v>
                </c:pt>
                <c:pt idx="29214">
                  <c:v>88867</c:v>
                </c:pt>
                <c:pt idx="29215">
                  <c:v>86141</c:v>
                </c:pt>
                <c:pt idx="29216">
                  <c:v>29924</c:v>
                </c:pt>
                <c:pt idx="29217">
                  <c:v>49549</c:v>
                </c:pt>
                <c:pt idx="29218">
                  <c:v>43982</c:v>
                </c:pt>
                <c:pt idx="29219">
                  <c:v>39140</c:v>
                </c:pt>
                <c:pt idx="29220">
                  <c:v>69764</c:v>
                </c:pt>
                <c:pt idx="29221">
                  <c:v>38509</c:v>
                </c:pt>
                <c:pt idx="29222">
                  <c:v>177906</c:v>
                </c:pt>
                <c:pt idx="29223">
                  <c:v>33246</c:v>
                </c:pt>
                <c:pt idx="29224">
                  <c:v>47654</c:v>
                </c:pt>
                <c:pt idx="29225">
                  <c:v>87720</c:v>
                </c:pt>
                <c:pt idx="29226">
                  <c:v>42732</c:v>
                </c:pt>
                <c:pt idx="29227">
                  <c:v>40426</c:v>
                </c:pt>
                <c:pt idx="29228">
                  <c:v>27874</c:v>
                </c:pt>
                <c:pt idx="29229">
                  <c:v>124644</c:v>
                </c:pt>
                <c:pt idx="29230">
                  <c:v>66439</c:v>
                </c:pt>
                <c:pt idx="29231">
                  <c:v>70404</c:v>
                </c:pt>
                <c:pt idx="29232">
                  <c:v>35727</c:v>
                </c:pt>
                <c:pt idx="29233">
                  <c:v>38289</c:v>
                </c:pt>
                <c:pt idx="29234">
                  <c:v>45390</c:v>
                </c:pt>
                <c:pt idx="29235">
                  <c:v>35279</c:v>
                </c:pt>
                <c:pt idx="29236">
                  <c:v>56119</c:v>
                </c:pt>
                <c:pt idx="29237">
                  <c:v>23057</c:v>
                </c:pt>
                <c:pt idx="29238">
                  <c:v>35411</c:v>
                </c:pt>
                <c:pt idx="29239">
                  <c:v>135307</c:v>
                </c:pt>
                <c:pt idx="29240">
                  <c:v>111072</c:v>
                </c:pt>
                <c:pt idx="29241">
                  <c:v>84330</c:v>
                </c:pt>
                <c:pt idx="29242">
                  <c:v>36832</c:v>
                </c:pt>
                <c:pt idx="29243">
                  <c:v>40930</c:v>
                </c:pt>
                <c:pt idx="29244">
                  <c:v>86594</c:v>
                </c:pt>
                <c:pt idx="29245">
                  <c:v>148932</c:v>
                </c:pt>
                <c:pt idx="29246">
                  <c:v>35849</c:v>
                </c:pt>
                <c:pt idx="29247">
                  <c:v>49763</c:v>
                </c:pt>
                <c:pt idx="29248">
                  <c:v>25607</c:v>
                </c:pt>
                <c:pt idx="29249">
                  <c:v>21885</c:v>
                </c:pt>
                <c:pt idx="29250">
                  <c:v>36948</c:v>
                </c:pt>
                <c:pt idx="29251">
                  <c:v>47282</c:v>
                </c:pt>
                <c:pt idx="29252">
                  <c:v>44418</c:v>
                </c:pt>
                <c:pt idx="29253">
                  <c:v>30800</c:v>
                </c:pt>
                <c:pt idx="29254">
                  <c:v>40011</c:v>
                </c:pt>
                <c:pt idx="29255">
                  <c:v>87353</c:v>
                </c:pt>
                <c:pt idx="29256">
                  <c:v>32288</c:v>
                </c:pt>
                <c:pt idx="29257">
                  <c:v>23745</c:v>
                </c:pt>
                <c:pt idx="29258">
                  <c:v>29435</c:v>
                </c:pt>
                <c:pt idx="29259">
                  <c:v>60231</c:v>
                </c:pt>
                <c:pt idx="29260">
                  <c:v>36136</c:v>
                </c:pt>
                <c:pt idx="29261">
                  <c:v>35453</c:v>
                </c:pt>
                <c:pt idx="29262">
                  <c:v>58064</c:v>
                </c:pt>
                <c:pt idx="29263">
                  <c:v>50776</c:v>
                </c:pt>
                <c:pt idx="29264">
                  <c:v>69693</c:v>
                </c:pt>
                <c:pt idx="29265">
                  <c:v>31354</c:v>
                </c:pt>
                <c:pt idx="29266">
                  <c:v>41267</c:v>
                </c:pt>
                <c:pt idx="29267">
                  <c:v>56434</c:v>
                </c:pt>
                <c:pt idx="29268">
                  <c:v>35851</c:v>
                </c:pt>
                <c:pt idx="29269">
                  <c:v>29804</c:v>
                </c:pt>
                <c:pt idx="29270">
                  <c:v>22052</c:v>
                </c:pt>
                <c:pt idx="29271">
                  <c:v>36859</c:v>
                </c:pt>
                <c:pt idx="29272">
                  <c:v>36564</c:v>
                </c:pt>
                <c:pt idx="29273">
                  <c:v>27720</c:v>
                </c:pt>
                <c:pt idx="29274">
                  <c:v>145254</c:v>
                </c:pt>
                <c:pt idx="29275">
                  <c:v>35394</c:v>
                </c:pt>
                <c:pt idx="29276">
                  <c:v>71499</c:v>
                </c:pt>
                <c:pt idx="29277">
                  <c:v>36926</c:v>
                </c:pt>
                <c:pt idx="29278">
                  <c:v>44157</c:v>
                </c:pt>
                <c:pt idx="29279">
                  <c:v>30324</c:v>
                </c:pt>
                <c:pt idx="29280">
                  <c:v>73500</c:v>
                </c:pt>
                <c:pt idx="29281">
                  <c:v>46167</c:v>
                </c:pt>
                <c:pt idx="29282">
                  <c:v>214279</c:v>
                </c:pt>
                <c:pt idx="29283">
                  <c:v>46642</c:v>
                </c:pt>
                <c:pt idx="29284">
                  <c:v>42501</c:v>
                </c:pt>
                <c:pt idx="29285">
                  <c:v>36566</c:v>
                </c:pt>
                <c:pt idx="29286">
                  <c:v>45238</c:v>
                </c:pt>
                <c:pt idx="29287">
                  <c:v>23523</c:v>
                </c:pt>
                <c:pt idx="29288">
                  <c:v>72413</c:v>
                </c:pt>
                <c:pt idx="29289">
                  <c:v>35628</c:v>
                </c:pt>
                <c:pt idx="29290">
                  <c:v>22928</c:v>
                </c:pt>
                <c:pt idx="29291">
                  <c:v>36406</c:v>
                </c:pt>
                <c:pt idx="29292">
                  <c:v>46521</c:v>
                </c:pt>
                <c:pt idx="29293">
                  <c:v>145010</c:v>
                </c:pt>
                <c:pt idx="29294">
                  <c:v>24479</c:v>
                </c:pt>
                <c:pt idx="29295">
                  <c:v>79936</c:v>
                </c:pt>
                <c:pt idx="29296">
                  <c:v>39872</c:v>
                </c:pt>
                <c:pt idx="29297">
                  <c:v>71475</c:v>
                </c:pt>
                <c:pt idx="29298">
                  <c:v>22575</c:v>
                </c:pt>
                <c:pt idx="29299">
                  <c:v>351008</c:v>
                </c:pt>
                <c:pt idx="29300">
                  <c:v>46609</c:v>
                </c:pt>
                <c:pt idx="29301">
                  <c:v>77624</c:v>
                </c:pt>
                <c:pt idx="29302">
                  <c:v>70667</c:v>
                </c:pt>
                <c:pt idx="29303">
                  <c:v>26526</c:v>
                </c:pt>
                <c:pt idx="29304">
                  <c:v>79666</c:v>
                </c:pt>
                <c:pt idx="29305">
                  <c:v>74585</c:v>
                </c:pt>
                <c:pt idx="29306">
                  <c:v>106293</c:v>
                </c:pt>
                <c:pt idx="29307">
                  <c:v>43713</c:v>
                </c:pt>
                <c:pt idx="29308">
                  <c:v>38366</c:v>
                </c:pt>
                <c:pt idx="29309">
                  <c:v>34914</c:v>
                </c:pt>
                <c:pt idx="29310">
                  <c:v>150617</c:v>
                </c:pt>
                <c:pt idx="29311">
                  <c:v>35567</c:v>
                </c:pt>
                <c:pt idx="29312">
                  <c:v>27377</c:v>
                </c:pt>
                <c:pt idx="29313">
                  <c:v>40529</c:v>
                </c:pt>
                <c:pt idx="29314">
                  <c:v>80513</c:v>
                </c:pt>
                <c:pt idx="29315">
                  <c:v>37088</c:v>
                </c:pt>
                <c:pt idx="29316">
                  <c:v>129620</c:v>
                </c:pt>
                <c:pt idx="29317">
                  <c:v>29636</c:v>
                </c:pt>
                <c:pt idx="29318">
                  <c:v>68761</c:v>
                </c:pt>
                <c:pt idx="29319">
                  <c:v>27275</c:v>
                </c:pt>
                <c:pt idx="29320">
                  <c:v>23291</c:v>
                </c:pt>
                <c:pt idx="29321">
                  <c:v>145430</c:v>
                </c:pt>
                <c:pt idx="29322">
                  <c:v>25980</c:v>
                </c:pt>
                <c:pt idx="29323">
                  <c:v>95260</c:v>
                </c:pt>
                <c:pt idx="29324">
                  <c:v>50868</c:v>
                </c:pt>
                <c:pt idx="29325">
                  <c:v>32997</c:v>
                </c:pt>
                <c:pt idx="29326">
                  <c:v>70016</c:v>
                </c:pt>
                <c:pt idx="29327">
                  <c:v>27969</c:v>
                </c:pt>
                <c:pt idx="29328">
                  <c:v>27754</c:v>
                </c:pt>
                <c:pt idx="29329">
                  <c:v>60865</c:v>
                </c:pt>
                <c:pt idx="29330">
                  <c:v>25217</c:v>
                </c:pt>
                <c:pt idx="29331">
                  <c:v>86849</c:v>
                </c:pt>
                <c:pt idx="29332">
                  <c:v>28103</c:v>
                </c:pt>
                <c:pt idx="29333">
                  <c:v>128918</c:v>
                </c:pt>
                <c:pt idx="29334">
                  <c:v>24809</c:v>
                </c:pt>
                <c:pt idx="29335">
                  <c:v>30641</c:v>
                </c:pt>
                <c:pt idx="29336">
                  <c:v>47000</c:v>
                </c:pt>
                <c:pt idx="29337">
                  <c:v>100410</c:v>
                </c:pt>
                <c:pt idx="29338">
                  <c:v>90890</c:v>
                </c:pt>
                <c:pt idx="29339">
                  <c:v>88786</c:v>
                </c:pt>
                <c:pt idx="29340">
                  <c:v>30204</c:v>
                </c:pt>
                <c:pt idx="29341">
                  <c:v>41566</c:v>
                </c:pt>
                <c:pt idx="29342">
                  <c:v>43901</c:v>
                </c:pt>
                <c:pt idx="29343">
                  <c:v>61799</c:v>
                </c:pt>
                <c:pt idx="29344">
                  <c:v>28260</c:v>
                </c:pt>
                <c:pt idx="29345">
                  <c:v>49987</c:v>
                </c:pt>
                <c:pt idx="29346">
                  <c:v>25283</c:v>
                </c:pt>
                <c:pt idx="29347">
                  <c:v>144413</c:v>
                </c:pt>
                <c:pt idx="29348">
                  <c:v>38274</c:v>
                </c:pt>
                <c:pt idx="29349">
                  <c:v>100338</c:v>
                </c:pt>
                <c:pt idx="29350">
                  <c:v>81523</c:v>
                </c:pt>
                <c:pt idx="29351">
                  <c:v>70841</c:v>
                </c:pt>
                <c:pt idx="29352">
                  <c:v>147255</c:v>
                </c:pt>
                <c:pt idx="29353">
                  <c:v>40401</c:v>
                </c:pt>
                <c:pt idx="29354">
                  <c:v>35248</c:v>
                </c:pt>
                <c:pt idx="29355">
                  <c:v>37705</c:v>
                </c:pt>
                <c:pt idx="29356">
                  <c:v>58737</c:v>
                </c:pt>
                <c:pt idx="29357">
                  <c:v>49569</c:v>
                </c:pt>
                <c:pt idx="29358">
                  <c:v>37118</c:v>
                </c:pt>
                <c:pt idx="29359">
                  <c:v>54532</c:v>
                </c:pt>
                <c:pt idx="29360">
                  <c:v>211947</c:v>
                </c:pt>
                <c:pt idx="29361">
                  <c:v>44018</c:v>
                </c:pt>
                <c:pt idx="29362">
                  <c:v>61287</c:v>
                </c:pt>
                <c:pt idx="29363">
                  <c:v>116201</c:v>
                </c:pt>
                <c:pt idx="29364">
                  <c:v>49666</c:v>
                </c:pt>
                <c:pt idx="29365">
                  <c:v>51709</c:v>
                </c:pt>
                <c:pt idx="29366">
                  <c:v>54252</c:v>
                </c:pt>
                <c:pt idx="29367">
                  <c:v>26710</c:v>
                </c:pt>
                <c:pt idx="29368">
                  <c:v>60727</c:v>
                </c:pt>
                <c:pt idx="29369">
                  <c:v>31528</c:v>
                </c:pt>
                <c:pt idx="29370">
                  <c:v>92863</c:v>
                </c:pt>
                <c:pt idx="29371">
                  <c:v>25254</c:v>
                </c:pt>
                <c:pt idx="29372">
                  <c:v>34590</c:v>
                </c:pt>
                <c:pt idx="29373">
                  <c:v>92285</c:v>
                </c:pt>
                <c:pt idx="29374">
                  <c:v>56061</c:v>
                </c:pt>
                <c:pt idx="29375">
                  <c:v>28175</c:v>
                </c:pt>
                <c:pt idx="29376">
                  <c:v>41791</c:v>
                </c:pt>
                <c:pt idx="29377">
                  <c:v>27197</c:v>
                </c:pt>
                <c:pt idx="29378">
                  <c:v>46530</c:v>
                </c:pt>
                <c:pt idx="29379">
                  <c:v>59558</c:v>
                </c:pt>
                <c:pt idx="29380">
                  <c:v>183234</c:v>
                </c:pt>
                <c:pt idx="29381">
                  <c:v>76625</c:v>
                </c:pt>
                <c:pt idx="29382">
                  <c:v>122118</c:v>
                </c:pt>
                <c:pt idx="29383">
                  <c:v>30792</c:v>
                </c:pt>
                <c:pt idx="29384">
                  <c:v>26595</c:v>
                </c:pt>
                <c:pt idx="29385">
                  <c:v>133464</c:v>
                </c:pt>
                <c:pt idx="29386">
                  <c:v>28966</c:v>
                </c:pt>
                <c:pt idx="29387">
                  <c:v>189945</c:v>
                </c:pt>
                <c:pt idx="29388">
                  <c:v>51961</c:v>
                </c:pt>
                <c:pt idx="29389">
                  <c:v>75004</c:v>
                </c:pt>
                <c:pt idx="29390">
                  <c:v>45877</c:v>
                </c:pt>
                <c:pt idx="29391">
                  <c:v>107777</c:v>
                </c:pt>
                <c:pt idx="29392">
                  <c:v>842693</c:v>
                </c:pt>
                <c:pt idx="29393">
                  <c:v>39905</c:v>
                </c:pt>
                <c:pt idx="29394">
                  <c:v>40012</c:v>
                </c:pt>
                <c:pt idx="29395">
                  <c:v>22575</c:v>
                </c:pt>
                <c:pt idx="29396">
                  <c:v>50453</c:v>
                </c:pt>
                <c:pt idx="29397">
                  <c:v>122852</c:v>
                </c:pt>
                <c:pt idx="29398">
                  <c:v>41697</c:v>
                </c:pt>
                <c:pt idx="29399">
                  <c:v>27126</c:v>
                </c:pt>
                <c:pt idx="29400">
                  <c:v>59308</c:v>
                </c:pt>
                <c:pt idx="29401">
                  <c:v>29491</c:v>
                </c:pt>
                <c:pt idx="29402">
                  <c:v>27158</c:v>
                </c:pt>
                <c:pt idx="29403">
                  <c:v>149251</c:v>
                </c:pt>
                <c:pt idx="29404">
                  <c:v>60260</c:v>
                </c:pt>
                <c:pt idx="29405">
                  <c:v>37401</c:v>
                </c:pt>
                <c:pt idx="29406">
                  <c:v>30322</c:v>
                </c:pt>
                <c:pt idx="29407">
                  <c:v>58069</c:v>
                </c:pt>
                <c:pt idx="29408">
                  <c:v>32852</c:v>
                </c:pt>
                <c:pt idx="29409">
                  <c:v>29491</c:v>
                </c:pt>
                <c:pt idx="29410">
                  <c:v>26483</c:v>
                </c:pt>
                <c:pt idx="29411">
                  <c:v>74509</c:v>
                </c:pt>
                <c:pt idx="29412">
                  <c:v>114719</c:v>
                </c:pt>
                <c:pt idx="29413">
                  <c:v>62844</c:v>
                </c:pt>
                <c:pt idx="29414">
                  <c:v>24736</c:v>
                </c:pt>
                <c:pt idx="29415">
                  <c:v>50679</c:v>
                </c:pt>
                <c:pt idx="29416">
                  <c:v>43126</c:v>
                </c:pt>
                <c:pt idx="29417">
                  <c:v>31988</c:v>
                </c:pt>
                <c:pt idx="29418">
                  <c:v>104576</c:v>
                </c:pt>
                <c:pt idx="29419">
                  <c:v>58643</c:v>
                </c:pt>
                <c:pt idx="29420">
                  <c:v>25073</c:v>
                </c:pt>
                <c:pt idx="29421">
                  <c:v>41124</c:v>
                </c:pt>
                <c:pt idx="29422">
                  <c:v>53130</c:v>
                </c:pt>
                <c:pt idx="29423">
                  <c:v>38923</c:v>
                </c:pt>
                <c:pt idx="29424">
                  <c:v>52828</c:v>
                </c:pt>
                <c:pt idx="29425">
                  <c:v>30050</c:v>
                </c:pt>
                <c:pt idx="29426">
                  <c:v>38784</c:v>
                </c:pt>
                <c:pt idx="29427">
                  <c:v>60342</c:v>
                </c:pt>
                <c:pt idx="29428">
                  <c:v>142290</c:v>
                </c:pt>
                <c:pt idx="29429">
                  <c:v>40790</c:v>
                </c:pt>
                <c:pt idx="29430">
                  <c:v>58569</c:v>
                </c:pt>
                <c:pt idx="29431">
                  <c:v>40563</c:v>
                </c:pt>
                <c:pt idx="29432">
                  <c:v>36153</c:v>
                </c:pt>
                <c:pt idx="29433">
                  <c:v>88228</c:v>
                </c:pt>
                <c:pt idx="29434">
                  <c:v>32830</c:v>
                </c:pt>
                <c:pt idx="29435">
                  <c:v>29313</c:v>
                </c:pt>
                <c:pt idx="29436">
                  <c:v>48885</c:v>
                </c:pt>
                <c:pt idx="29437">
                  <c:v>110786</c:v>
                </c:pt>
                <c:pt idx="29438">
                  <c:v>58210</c:v>
                </c:pt>
                <c:pt idx="29439">
                  <c:v>31741</c:v>
                </c:pt>
                <c:pt idx="29440">
                  <c:v>25356</c:v>
                </c:pt>
                <c:pt idx="29441">
                  <c:v>22452</c:v>
                </c:pt>
                <c:pt idx="29442">
                  <c:v>70393</c:v>
                </c:pt>
                <c:pt idx="29443">
                  <c:v>160504</c:v>
                </c:pt>
                <c:pt idx="29444">
                  <c:v>67907</c:v>
                </c:pt>
                <c:pt idx="29445">
                  <c:v>36529</c:v>
                </c:pt>
                <c:pt idx="29446">
                  <c:v>177164</c:v>
                </c:pt>
                <c:pt idx="29447">
                  <c:v>37792</c:v>
                </c:pt>
                <c:pt idx="29448">
                  <c:v>42608</c:v>
                </c:pt>
                <c:pt idx="29449">
                  <c:v>94923</c:v>
                </c:pt>
                <c:pt idx="29450">
                  <c:v>35400</c:v>
                </c:pt>
                <c:pt idx="29451">
                  <c:v>72626</c:v>
                </c:pt>
                <c:pt idx="29452">
                  <c:v>30183</c:v>
                </c:pt>
                <c:pt idx="29453">
                  <c:v>62145</c:v>
                </c:pt>
                <c:pt idx="29454">
                  <c:v>48952</c:v>
                </c:pt>
                <c:pt idx="29455">
                  <c:v>37559</c:v>
                </c:pt>
                <c:pt idx="29456">
                  <c:v>52935</c:v>
                </c:pt>
                <c:pt idx="29457">
                  <c:v>36008</c:v>
                </c:pt>
                <c:pt idx="29458">
                  <c:v>63385</c:v>
                </c:pt>
                <c:pt idx="29459">
                  <c:v>47291</c:v>
                </c:pt>
                <c:pt idx="29460">
                  <c:v>124955</c:v>
                </c:pt>
                <c:pt idx="29461">
                  <c:v>30310</c:v>
                </c:pt>
                <c:pt idx="29462">
                  <c:v>33261</c:v>
                </c:pt>
                <c:pt idx="29463">
                  <c:v>90894</c:v>
                </c:pt>
                <c:pt idx="29464">
                  <c:v>44563</c:v>
                </c:pt>
                <c:pt idx="29465">
                  <c:v>62838</c:v>
                </c:pt>
                <c:pt idx="29466">
                  <c:v>54677</c:v>
                </c:pt>
                <c:pt idx="29467">
                  <c:v>37544</c:v>
                </c:pt>
                <c:pt idx="29468">
                  <c:v>23101</c:v>
                </c:pt>
                <c:pt idx="29469">
                  <c:v>40063</c:v>
                </c:pt>
                <c:pt idx="29470">
                  <c:v>24978</c:v>
                </c:pt>
                <c:pt idx="29471">
                  <c:v>23839</c:v>
                </c:pt>
                <c:pt idx="29472">
                  <c:v>50679</c:v>
                </c:pt>
                <c:pt idx="29473">
                  <c:v>39312</c:v>
                </c:pt>
                <c:pt idx="29474">
                  <c:v>83382</c:v>
                </c:pt>
                <c:pt idx="29475">
                  <c:v>25695</c:v>
                </c:pt>
                <c:pt idx="29476">
                  <c:v>36692</c:v>
                </c:pt>
                <c:pt idx="29477">
                  <c:v>32727</c:v>
                </c:pt>
                <c:pt idx="29478">
                  <c:v>47928</c:v>
                </c:pt>
                <c:pt idx="29479">
                  <c:v>65413</c:v>
                </c:pt>
                <c:pt idx="29480">
                  <c:v>37442</c:v>
                </c:pt>
                <c:pt idx="29481">
                  <c:v>20188</c:v>
                </c:pt>
                <c:pt idx="29482">
                  <c:v>67622</c:v>
                </c:pt>
                <c:pt idx="29483">
                  <c:v>35631</c:v>
                </c:pt>
                <c:pt idx="29484">
                  <c:v>44480</c:v>
                </c:pt>
                <c:pt idx="29485">
                  <c:v>106522</c:v>
                </c:pt>
                <c:pt idx="29486">
                  <c:v>24664</c:v>
                </c:pt>
                <c:pt idx="29487">
                  <c:v>40018</c:v>
                </c:pt>
                <c:pt idx="29488">
                  <c:v>69435</c:v>
                </c:pt>
                <c:pt idx="29489">
                  <c:v>46302</c:v>
                </c:pt>
                <c:pt idx="29490">
                  <c:v>29751</c:v>
                </c:pt>
                <c:pt idx="29491">
                  <c:v>47073</c:v>
                </c:pt>
                <c:pt idx="29492">
                  <c:v>164251</c:v>
                </c:pt>
                <c:pt idx="29493">
                  <c:v>29509</c:v>
                </c:pt>
                <c:pt idx="29494">
                  <c:v>135939</c:v>
                </c:pt>
                <c:pt idx="29495">
                  <c:v>44314</c:v>
                </c:pt>
                <c:pt idx="29496">
                  <c:v>53546</c:v>
                </c:pt>
                <c:pt idx="29497">
                  <c:v>162166</c:v>
                </c:pt>
                <c:pt idx="29498">
                  <c:v>157754</c:v>
                </c:pt>
                <c:pt idx="29499">
                  <c:v>47292</c:v>
                </c:pt>
                <c:pt idx="29500">
                  <c:v>58382</c:v>
                </c:pt>
                <c:pt idx="29501">
                  <c:v>94509</c:v>
                </c:pt>
                <c:pt idx="29502">
                  <c:v>43198</c:v>
                </c:pt>
                <c:pt idx="29503">
                  <c:v>68729</c:v>
                </c:pt>
                <c:pt idx="29504">
                  <c:v>59241</c:v>
                </c:pt>
                <c:pt idx="29505">
                  <c:v>34645</c:v>
                </c:pt>
                <c:pt idx="29506">
                  <c:v>21044</c:v>
                </c:pt>
                <c:pt idx="29507">
                  <c:v>24276</c:v>
                </c:pt>
                <c:pt idx="29508">
                  <c:v>22972</c:v>
                </c:pt>
                <c:pt idx="29509">
                  <c:v>74791</c:v>
                </c:pt>
                <c:pt idx="29510">
                  <c:v>26140</c:v>
                </c:pt>
                <c:pt idx="29511">
                  <c:v>20154</c:v>
                </c:pt>
                <c:pt idx="29512">
                  <c:v>37442</c:v>
                </c:pt>
                <c:pt idx="29513">
                  <c:v>30142</c:v>
                </c:pt>
                <c:pt idx="29514">
                  <c:v>44703</c:v>
                </c:pt>
                <c:pt idx="29515">
                  <c:v>33067</c:v>
                </c:pt>
                <c:pt idx="29516">
                  <c:v>99714</c:v>
                </c:pt>
                <c:pt idx="29517">
                  <c:v>35226</c:v>
                </c:pt>
                <c:pt idx="29518">
                  <c:v>113034</c:v>
                </c:pt>
                <c:pt idx="29519">
                  <c:v>52961</c:v>
                </c:pt>
                <c:pt idx="29520">
                  <c:v>24155</c:v>
                </c:pt>
                <c:pt idx="29521">
                  <c:v>37857</c:v>
                </c:pt>
                <c:pt idx="29522">
                  <c:v>40978</c:v>
                </c:pt>
                <c:pt idx="29523">
                  <c:v>37460</c:v>
                </c:pt>
                <c:pt idx="29524">
                  <c:v>80898</c:v>
                </c:pt>
                <c:pt idx="29525">
                  <c:v>49705</c:v>
                </c:pt>
                <c:pt idx="29526">
                  <c:v>50759</c:v>
                </c:pt>
                <c:pt idx="29527">
                  <c:v>173490</c:v>
                </c:pt>
                <c:pt idx="29528">
                  <c:v>26013</c:v>
                </c:pt>
                <c:pt idx="29529">
                  <c:v>53581</c:v>
                </c:pt>
                <c:pt idx="29530">
                  <c:v>43250</c:v>
                </c:pt>
                <c:pt idx="29531">
                  <c:v>98207</c:v>
                </c:pt>
                <c:pt idx="29532">
                  <c:v>49084</c:v>
                </c:pt>
                <c:pt idx="29533">
                  <c:v>47646</c:v>
                </c:pt>
                <c:pt idx="29534">
                  <c:v>26974</c:v>
                </c:pt>
                <c:pt idx="29535">
                  <c:v>103202</c:v>
                </c:pt>
                <c:pt idx="29536">
                  <c:v>42318</c:v>
                </c:pt>
                <c:pt idx="29537">
                  <c:v>32659</c:v>
                </c:pt>
                <c:pt idx="29538">
                  <c:v>41817</c:v>
                </c:pt>
                <c:pt idx="29539">
                  <c:v>36144</c:v>
                </c:pt>
                <c:pt idx="29540">
                  <c:v>35753</c:v>
                </c:pt>
                <c:pt idx="29541">
                  <c:v>32697</c:v>
                </c:pt>
                <c:pt idx="29542">
                  <c:v>26986</c:v>
                </c:pt>
                <c:pt idx="29543">
                  <c:v>60444</c:v>
                </c:pt>
                <c:pt idx="29544">
                  <c:v>41735</c:v>
                </c:pt>
                <c:pt idx="29545">
                  <c:v>27960</c:v>
                </c:pt>
                <c:pt idx="29546">
                  <c:v>23260</c:v>
                </c:pt>
                <c:pt idx="29547">
                  <c:v>42162</c:v>
                </c:pt>
                <c:pt idx="29548">
                  <c:v>70510</c:v>
                </c:pt>
                <c:pt idx="29549">
                  <c:v>89969</c:v>
                </c:pt>
                <c:pt idx="29550">
                  <c:v>23607</c:v>
                </c:pt>
                <c:pt idx="29551">
                  <c:v>33779</c:v>
                </c:pt>
                <c:pt idx="29552">
                  <c:v>147198</c:v>
                </c:pt>
                <c:pt idx="29553">
                  <c:v>32167</c:v>
                </c:pt>
                <c:pt idx="29554">
                  <c:v>57083</c:v>
                </c:pt>
                <c:pt idx="29555">
                  <c:v>56464</c:v>
                </c:pt>
                <c:pt idx="29556">
                  <c:v>89105</c:v>
                </c:pt>
                <c:pt idx="29557">
                  <c:v>96019</c:v>
                </c:pt>
                <c:pt idx="29558">
                  <c:v>56449</c:v>
                </c:pt>
                <c:pt idx="29559">
                  <c:v>49674</c:v>
                </c:pt>
                <c:pt idx="29560">
                  <c:v>33785</c:v>
                </c:pt>
                <c:pt idx="29561">
                  <c:v>40907</c:v>
                </c:pt>
                <c:pt idx="29562">
                  <c:v>102512</c:v>
                </c:pt>
                <c:pt idx="29563">
                  <c:v>33616</c:v>
                </c:pt>
                <c:pt idx="29564">
                  <c:v>41017</c:v>
                </c:pt>
                <c:pt idx="29565">
                  <c:v>29757</c:v>
                </c:pt>
                <c:pt idx="29566">
                  <c:v>27015</c:v>
                </c:pt>
                <c:pt idx="29567">
                  <c:v>32119</c:v>
                </c:pt>
                <c:pt idx="29568">
                  <c:v>59569</c:v>
                </c:pt>
                <c:pt idx="29569">
                  <c:v>29499</c:v>
                </c:pt>
                <c:pt idx="29570">
                  <c:v>47395</c:v>
                </c:pt>
                <c:pt idx="29571">
                  <c:v>30771</c:v>
                </c:pt>
                <c:pt idx="29572">
                  <c:v>35543</c:v>
                </c:pt>
                <c:pt idx="29573">
                  <c:v>39846</c:v>
                </c:pt>
                <c:pt idx="29574">
                  <c:v>32363</c:v>
                </c:pt>
                <c:pt idx="29575">
                  <c:v>37550</c:v>
                </c:pt>
                <c:pt idx="29576">
                  <c:v>50717</c:v>
                </c:pt>
                <c:pt idx="29577">
                  <c:v>106426</c:v>
                </c:pt>
                <c:pt idx="29578">
                  <c:v>55617</c:v>
                </c:pt>
                <c:pt idx="29579">
                  <c:v>21419</c:v>
                </c:pt>
                <c:pt idx="29580">
                  <c:v>37992</c:v>
                </c:pt>
                <c:pt idx="29581">
                  <c:v>41435</c:v>
                </c:pt>
                <c:pt idx="29582">
                  <c:v>128281</c:v>
                </c:pt>
                <c:pt idx="29583">
                  <c:v>42604</c:v>
                </c:pt>
                <c:pt idx="29584">
                  <c:v>45164</c:v>
                </c:pt>
                <c:pt idx="29585">
                  <c:v>43575</c:v>
                </c:pt>
                <c:pt idx="29586">
                  <c:v>45188</c:v>
                </c:pt>
                <c:pt idx="29587">
                  <c:v>124711</c:v>
                </c:pt>
                <c:pt idx="29588">
                  <c:v>25563</c:v>
                </c:pt>
                <c:pt idx="29589">
                  <c:v>27331</c:v>
                </c:pt>
                <c:pt idx="29590">
                  <c:v>23563</c:v>
                </c:pt>
                <c:pt idx="29591">
                  <c:v>27205</c:v>
                </c:pt>
                <c:pt idx="29592">
                  <c:v>240034</c:v>
                </c:pt>
                <c:pt idx="29593">
                  <c:v>51203</c:v>
                </c:pt>
                <c:pt idx="29594">
                  <c:v>25917</c:v>
                </c:pt>
                <c:pt idx="29595">
                  <c:v>42451</c:v>
                </c:pt>
                <c:pt idx="29596">
                  <c:v>46422</c:v>
                </c:pt>
                <c:pt idx="29597">
                  <c:v>144037</c:v>
                </c:pt>
                <c:pt idx="29598">
                  <c:v>25238</c:v>
                </c:pt>
                <c:pt idx="29599">
                  <c:v>32249</c:v>
                </c:pt>
                <c:pt idx="29600">
                  <c:v>30351</c:v>
                </c:pt>
                <c:pt idx="29601">
                  <c:v>102519</c:v>
                </c:pt>
                <c:pt idx="29602">
                  <c:v>154384</c:v>
                </c:pt>
                <c:pt idx="29603">
                  <c:v>95992</c:v>
                </c:pt>
                <c:pt idx="29604">
                  <c:v>47675</c:v>
                </c:pt>
                <c:pt idx="29605">
                  <c:v>203157</c:v>
                </c:pt>
                <c:pt idx="29606">
                  <c:v>37966</c:v>
                </c:pt>
                <c:pt idx="29607">
                  <c:v>25986</c:v>
                </c:pt>
                <c:pt idx="29608">
                  <c:v>38931</c:v>
                </c:pt>
                <c:pt idx="29609">
                  <c:v>91370</c:v>
                </c:pt>
                <c:pt idx="29610">
                  <c:v>36362</c:v>
                </c:pt>
                <c:pt idx="29611">
                  <c:v>39319</c:v>
                </c:pt>
                <c:pt idx="29612">
                  <c:v>34613</c:v>
                </c:pt>
                <c:pt idx="29613">
                  <c:v>34070</c:v>
                </c:pt>
                <c:pt idx="29614">
                  <c:v>70192</c:v>
                </c:pt>
                <c:pt idx="29615">
                  <c:v>27096</c:v>
                </c:pt>
                <c:pt idx="29616">
                  <c:v>46097</c:v>
                </c:pt>
                <c:pt idx="29617">
                  <c:v>54887</c:v>
                </c:pt>
                <c:pt idx="29618">
                  <c:v>20973</c:v>
                </c:pt>
                <c:pt idx="29619">
                  <c:v>27876</c:v>
                </c:pt>
                <c:pt idx="29620">
                  <c:v>33603</c:v>
                </c:pt>
                <c:pt idx="29621">
                  <c:v>173342</c:v>
                </c:pt>
                <c:pt idx="29622">
                  <c:v>57426</c:v>
                </c:pt>
                <c:pt idx="29623">
                  <c:v>43004</c:v>
                </c:pt>
                <c:pt idx="29624">
                  <c:v>47875</c:v>
                </c:pt>
                <c:pt idx="29625">
                  <c:v>32888</c:v>
                </c:pt>
                <c:pt idx="29626">
                  <c:v>31002</c:v>
                </c:pt>
                <c:pt idx="29627">
                  <c:v>38666</c:v>
                </c:pt>
                <c:pt idx="29628">
                  <c:v>65203</c:v>
                </c:pt>
                <c:pt idx="29629">
                  <c:v>87720</c:v>
                </c:pt>
                <c:pt idx="29630">
                  <c:v>40638</c:v>
                </c:pt>
                <c:pt idx="29631">
                  <c:v>95519</c:v>
                </c:pt>
                <c:pt idx="29632">
                  <c:v>116015</c:v>
                </c:pt>
                <c:pt idx="29633">
                  <c:v>45346</c:v>
                </c:pt>
                <c:pt idx="29634">
                  <c:v>26219</c:v>
                </c:pt>
                <c:pt idx="29635">
                  <c:v>79448</c:v>
                </c:pt>
                <c:pt idx="29636">
                  <c:v>45996</c:v>
                </c:pt>
                <c:pt idx="29637">
                  <c:v>232067</c:v>
                </c:pt>
                <c:pt idx="29638">
                  <c:v>54040</c:v>
                </c:pt>
                <c:pt idx="29639">
                  <c:v>27022</c:v>
                </c:pt>
                <c:pt idx="29640">
                  <c:v>23901</c:v>
                </c:pt>
                <c:pt idx="29641">
                  <c:v>35513</c:v>
                </c:pt>
                <c:pt idx="29642">
                  <c:v>51724</c:v>
                </c:pt>
                <c:pt idx="29643">
                  <c:v>59777</c:v>
                </c:pt>
                <c:pt idx="29644">
                  <c:v>25620</c:v>
                </c:pt>
                <c:pt idx="29645">
                  <c:v>34729</c:v>
                </c:pt>
                <c:pt idx="29646">
                  <c:v>213948</c:v>
                </c:pt>
                <c:pt idx="29647">
                  <c:v>44498</c:v>
                </c:pt>
                <c:pt idx="29648">
                  <c:v>29597</c:v>
                </c:pt>
                <c:pt idx="29649">
                  <c:v>91061</c:v>
                </c:pt>
                <c:pt idx="29650">
                  <c:v>37948</c:v>
                </c:pt>
                <c:pt idx="29651">
                  <c:v>184216</c:v>
                </c:pt>
                <c:pt idx="29652">
                  <c:v>36501</c:v>
                </c:pt>
                <c:pt idx="29653">
                  <c:v>103526</c:v>
                </c:pt>
                <c:pt idx="29654">
                  <c:v>24342</c:v>
                </c:pt>
                <c:pt idx="29655">
                  <c:v>43912</c:v>
                </c:pt>
                <c:pt idx="29656">
                  <c:v>41024</c:v>
                </c:pt>
                <c:pt idx="29657">
                  <c:v>124675</c:v>
                </c:pt>
                <c:pt idx="29658">
                  <c:v>47377</c:v>
                </c:pt>
                <c:pt idx="29659">
                  <c:v>74462</c:v>
                </c:pt>
                <c:pt idx="29660">
                  <c:v>103662</c:v>
                </c:pt>
                <c:pt idx="29661">
                  <c:v>257062</c:v>
                </c:pt>
                <c:pt idx="29662">
                  <c:v>32458</c:v>
                </c:pt>
                <c:pt idx="29663">
                  <c:v>61705</c:v>
                </c:pt>
                <c:pt idx="29664">
                  <c:v>34678</c:v>
                </c:pt>
                <c:pt idx="29665">
                  <c:v>43178</c:v>
                </c:pt>
                <c:pt idx="29666">
                  <c:v>88494</c:v>
                </c:pt>
                <c:pt idx="29667">
                  <c:v>30348</c:v>
                </c:pt>
                <c:pt idx="29668">
                  <c:v>44822</c:v>
                </c:pt>
                <c:pt idx="29669">
                  <c:v>48266</c:v>
                </c:pt>
                <c:pt idx="29670">
                  <c:v>42935</c:v>
                </c:pt>
                <c:pt idx="29671">
                  <c:v>38523</c:v>
                </c:pt>
                <c:pt idx="29672">
                  <c:v>111204</c:v>
                </c:pt>
                <c:pt idx="29673">
                  <c:v>31356</c:v>
                </c:pt>
                <c:pt idx="29674">
                  <c:v>34289</c:v>
                </c:pt>
                <c:pt idx="29675">
                  <c:v>25521</c:v>
                </c:pt>
                <c:pt idx="29676">
                  <c:v>40991</c:v>
                </c:pt>
                <c:pt idx="29677">
                  <c:v>83863</c:v>
                </c:pt>
                <c:pt idx="29678">
                  <c:v>26820</c:v>
                </c:pt>
                <c:pt idx="29679">
                  <c:v>194298</c:v>
                </c:pt>
                <c:pt idx="29680">
                  <c:v>34338</c:v>
                </c:pt>
                <c:pt idx="29681">
                  <c:v>44013</c:v>
                </c:pt>
                <c:pt idx="29682">
                  <c:v>63267</c:v>
                </c:pt>
                <c:pt idx="29683">
                  <c:v>53671</c:v>
                </c:pt>
                <c:pt idx="29684">
                  <c:v>38087</c:v>
                </c:pt>
                <c:pt idx="29685">
                  <c:v>214041</c:v>
                </c:pt>
                <c:pt idx="29686">
                  <c:v>68440</c:v>
                </c:pt>
                <c:pt idx="29687">
                  <c:v>48448</c:v>
                </c:pt>
                <c:pt idx="29688">
                  <c:v>24630</c:v>
                </c:pt>
                <c:pt idx="29689">
                  <c:v>31172</c:v>
                </c:pt>
                <c:pt idx="29690">
                  <c:v>63421</c:v>
                </c:pt>
                <c:pt idx="29691">
                  <c:v>33162</c:v>
                </c:pt>
                <c:pt idx="29692">
                  <c:v>32601</c:v>
                </c:pt>
                <c:pt idx="29693">
                  <c:v>63041</c:v>
                </c:pt>
                <c:pt idx="29694">
                  <c:v>72385</c:v>
                </c:pt>
                <c:pt idx="29695">
                  <c:v>27201</c:v>
                </c:pt>
                <c:pt idx="29696">
                  <c:v>206444</c:v>
                </c:pt>
                <c:pt idx="29697">
                  <c:v>19211</c:v>
                </c:pt>
                <c:pt idx="29698">
                  <c:v>33335</c:v>
                </c:pt>
                <c:pt idx="29699">
                  <c:v>52973</c:v>
                </c:pt>
                <c:pt idx="29700">
                  <c:v>29643</c:v>
                </c:pt>
                <c:pt idx="29701">
                  <c:v>65221</c:v>
                </c:pt>
                <c:pt idx="29702">
                  <c:v>33805</c:v>
                </c:pt>
                <c:pt idx="29703">
                  <c:v>28822</c:v>
                </c:pt>
                <c:pt idx="29704">
                  <c:v>236324</c:v>
                </c:pt>
                <c:pt idx="29705">
                  <c:v>35572</c:v>
                </c:pt>
                <c:pt idx="29706">
                  <c:v>22461</c:v>
                </c:pt>
                <c:pt idx="29707">
                  <c:v>28113</c:v>
                </c:pt>
                <c:pt idx="29708">
                  <c:v>46838</c:v>
                </c:pt>
                <c:pt idx="29709">
                  <c:v>41499</c:v>
                </c:pt>
                <c:pt idx="29710">
                  <c:v>50442</c:v>
                </c:pt>
                <c:pt idx="29711">
                  <c:v>64584</c:v>
                </c:pt>
                <c:pt idx="29712">
                  <c:v>57227</c:v>
                </c:pt>
                <c:pt idx="29713">
                  <c:v>34710</c:v>
                </c:pt>
                <c:pt idx="29714">
                  <c:v>39343</c:v>
                </c:pt>
                <c:pt idx="29715">
                  <c:v>40207</c:v>
                </c:pt>
                <c:pt idx="29716">
                  <c:v>62722</c:v>
                </c:pt>
                <c:pt idx="29717">
                  <c:v>32990</c:v>
                </c:pt>
                <c:pt idx="29718">
                  <c:v>70198</c:v>
                </c:pt>
                <c:pt idx="29719">
                  <c:v>23550</c:v>
                </c:pt>
                <c:pt idx="29720">
                  <c:v>30426</c:v>
                </c:pt>
                <c:pt idx="29721">
                  <c:v>47552</c:v>
                </c:pt>
                <c:pt idx="29722">
                  <c:v>62496</c:v>
                </c:pt>
                <c:pt idx="29723">
                  <c:v>50221</c:v>
                </c:pt>
                <c:pt idx="29724">
                  <c:v>48665</c:v>
                </c:pt>
                <c:pt idx="29725">
                  <c:v>40339</c:v>
                </c:pt>
                <c:pt idx="29726">
                  <c:v>25775</c:v>
                </c:pt>
                <c:pt idx="29727">
                  <c:v>173586</c:v>
                </c:pt>
                <c:pt idx="29728">
                  <c:v>40596</c:v>
                </c:pt>
                <c:pt idx="29729">
                  <c:v>139962</c:v>
                </c:pt>
                <c:pt idx="29730">
                  <c:v>49064</c:v>
                </c:pt>
                <c:pt idx="29731">
                  <c:v>29241</c:v>
                </c:pt>
                <c:pt idx="29732">
                  <c:v>37886</c:v>
                </c:pt>
                <c:pt idx="29733">
                  <c:v>36131</c:v>
                </c:pt>
                <c:pt idx="29734">
                  <c:v>36661</c:v>
                </c:pt>
                <c:pt idx="29735">
                  <c:v>50410</c:v>
                </c:pt>
                <c:pt idx="29736">
                  <c:v>35588</c:v>
                </c:pt>
                <c:pt idx="29737">
                  <c:v>32035</c:v>
                </c:pt>
                <c:pt idx="29738">
                  <c:v>27439</c:v>
                </c:pt>
                <c:pt idx="29739">
                  <c:v>58136</c:v>
                </c:pt>
                <c:pt idx="29740">
                  <c:v>37878</c:v>
                </c:pt>
                <c:pt idx="29741">
                  <c:v>128624</c:v>
                </c:pt>
                <c:pt idx="29742">
                  <c:v>49394</c:v>
                </c:pt>
                <c:pt idx="29743">
                  <c:v>39166</c:v>
                </c:pt>
                <c:pt idx="29744">
                  <c:v>59807</c:v>
                </c:pt>
                <c:pt idx="29745">
                  <c:v>112308</c:v>
                </c:pt>
                <c:pt idx="29746">
                  <c:v>36427</c:v>
                </c:pt>
                <c:pt idx="29747">
                  <c:v>94339</c:v>
                </c:pt>
                <c:pt idx="29748">
                  <c:v>83209</c:v>
                </c:pt>
                <c:pt idx="29749">
                  <c:v>37562</c:v>
                </c:pt>
                <c:pt idx="29750">
                  <c:v>44257</c:v>
                </c:pt>
                <c:pt idx="29751">
                  <c:v>41448</c:v>
                </c:pt>
                <c:pt idx="29752">
                  <c:v>43967</c:v>
                </c:pt>
                <c:pt idx="29753">
                  <c:v>32067</c:v>
                </c:pt>
                <c:pt idx="29754">
                  <c:v>22865</c:v>
                </c:pt>
                <c:pt idx="29755">
                  <c:v>24802</c:v>
                </c:pt>
                <c:pt idx="29756">
                  <c:v>36665</c:v>
                </c:pt>
                <c:pt idx="29757">
                  <c:v>49276</c:v>
                </c:pt>
                <c:pt idx="29758">
                  <c:v>43804</c:v>
                </c:pt>
                <c:pt idx="29759">
                  <c:v>38801</c:v>
                </c:pt>
                <c:pt idx="29760">
                  <c:v>39557</c:v>
                </c:pt>
                <c:pt idx="29761">
                  <c:v>30213</c:v>
                </c:pt>
                <c:pt idx="29762">
                  <c:v>102751</c:v>
                </c:pt>
                <c:pt idx="29763">
                  <c:v>23005</c:v>
                </c:pt>
                <c:pt idx="29764">
                  <c:v>53770</c:v>
                </c:pt>
                <c:pt idx="29765">
                  <c:v>27366</c:v>
                </c:pt>
                <c:pt idx="29766">
                  <c:v>30729</c:v>
                </c:pt>
                <c:pt idx="29767">
                  <c:v>21631</c:v>
                </c:pt>
                <c:pt idx="29768">
                  <c:v>40267</c:v>
                </c:pt>
                <c:pt idx="29769">
                  <c:v>47372</c:v>
                </c:pt>
                <c:pt idx="29770">
                  <c:v>33563</c:v>
                </c:pt>
                <c:pt idx="29771">
                  <c:v>40228</c:v>
                </c:pt>
                <c:pt idx="29772">
                  <c:v>37883</c:v>
                </c:pt>
                <c:pt idx="29773">
                  <c:v>24326</c:v>
                </c:pt>
                <c:pt idx="29774">
                  <c:v>41108</c:v>
                </c:pt>
                <c:pt idx="29775">
                  <c:v>41737</c:v>
                </c:pt>
                <c:pt idx="29776">
                  <c:v>44114</c:v>
                </c:pt>
                <c:pt idx="29777">
                  <c:v>42650</c:v>
                </c:pt>
                <c:pt idx="29778">
                  <c:v>45842</c:v>
                </c:pt>
                <c:pt idx="29779">
                  <c:v>30858</c:v>
                </c:pt>
                <c:pt idx="29780">
                  <c:v>43897</c:v>
                </c:pt>
                <c:pt idx="29781">
                  <c:v>97680</c:v>
                </c:pt>
                <c:pt idx="29782">
                  <c:v>39269</c:v>
                </c:pt>
                <c:pt idx="29783">
                  <c:v>37423</c:v>
                </c:pt>
                <c:pt idx="29784">
                  <c:v>164586</c:v>
                </c:pt>
                <c:pt idx="29785">
                  <c:v>25502</c:v>
                </c:pt>
                <c:pt idx="29786">
                  <c:v>39631</c:v>
                </c:pt>
                <c:pt idx="29787">
                  <c:v>36818</c:v>
                </c:pt>
                <c:pt idx="29788">
                  <c:v>70071</c:v>
                </c:pt>
                <c:pt idx="29789">
                  <c:v>149325</c:v>
                </c:pt>
                <c:pt idx="29790">
                  <c:v>35843</c:v>
                </c:pt>
                <c:pt idx="29791">
                  <c:v>134405</c:v>
                </c:pt>
                <c:pt idx="29792">
                  <c:v>245208</c:v>
                </c:pt>
                <c:pt idx="29793">
                  <c:v>103119</c:v>
                </c:pt>
                <c:pt idx="29794">
                  <c:v>65642</c:v>
                </c:pt>
                <c:pt idx="29795">
                  <c:v>29904</c:v>
                </c:pt>
                <c:pt idx="29796">
                  <c:v>58196</c:v>
                </c:pt>
                <c:pt idx="29797">
                  <c:v>101606</c:v>
                </c:pt>
                <c:pt idx="29798">
                  <c:v>29275</c:v>
                </c:pt>
                <c:pt idx="29799">
                  <c:v>27248</c:v>
                </c:pt>
                <c:pt idx="29800">
                  <c:v>37644</c:v>
                </c:pt>
                <c:pt idx="29801">
                  <c:v>60206</c:v>
                </c:pt>
                <c:pt idx="29802">
                  <c:v>53499</c:v>
                </c:pt>
                <c:pt idx="29803">
                  <c:v>65112</c:v>
                </c:pt>
                <c:pt idx="29804">
                  <c:v>29232</c:v>
                </c:pt>
                <c:pt idx="29805">
                  <c:v>50046</c:v>
                </c:pt>
                <c:pt idx="29806">
                  <c:v>200244</c:v>
                </c:pt>
                <c:pt idx="29807">
                  <c:v>36640</c:v>
                </c:pt>
                <c:pt idx="29808">
                  <c:v>135838</c:v>
                </c:pt>
                <c:pt idx="29809">
                  <c:v>90534</c:v>
                </c:pt>
                <c:pt idx="29810">
                  <c:v>36697</c:v>
                </c:pt>
                <c:pt idx="29811">
                  <c:v>55099</c:v>
                </c:pt>
                <c:pt idx="29812">
                  <c:v>33177</c:v>
                </c:pt>
                <c:pt idx="29813">
                  <c:v>36941</c:v>
                </c:pt>
                <c:pt idx="29814">
                  <c:v>26822</c:v>
                </c:pt>
                <c:pt idx="29815">
                  <c:v>28996</c:v>
                </c:pt>
                <c:pt idx="29816">
                  <c:v>65497</c:v>
                </c:pt>
                <c:pt idx="29817">
                  <c:v>143250</c:v>
                </c:pt>
                <c:pt idx="29818">
                  <c:v>35814</c:v>
                </c:pt>
                <c:pt idx="29819">
                  <c:v>130744</c:v>
                </c:pt>
                <c:pt idx="29820">
                  <c:v>56719</c:v>
                </c:pt>
                <c:pt idx="29821">
                  <c:v>57778</c:v>
                </c:pt>
                <c:pt idx="29822">
                  <c:v>51838</c:v>
                </c:pt>
                <c:pt idx="29823">
                  <c:v>29148</c:v>
                </c:pt>
                <c:pt idx="29824">
                  <c:v>191349</c:v>
                </c:pt>
                <c:pt idx="29825">
                  <c:v>85823</c:v>
                </c:pt>
                <c:pt idx="29826">
                  <c:v>55687</c:v>
                </c:pt>
                <c:pt idx="29827">
                  <c:v>289301</c:v>
                </c:pt>
                <c:pt idx="29828">
                  <c:v>57410</c:v>
                </c:pt>
                <c:pt idx="29829">
                  <c:v>165885</c:v>
                </c:pt>
                <c:pt idx="29830">
                  <c:v>35548</c:v>
                </c:pt>
                <c:pt idx="29831">
                  <c:v>166890</c:v>
                </c:pt>
                <c:pt idx="29832">
                  <c:v>45559</c:v>
                </c:pt>
                <c:pt idx="29833">
                  <c:v>57396</c:v>
                </c:pt>
                <c:pt idx="29834">
                  <c:v>32693</c:v>
                </c:pt>
                <c:pt idx="29835">
                  <c:v>25560</c:v>
                </c:pt>
                <c:pt idx="29836">
                  <c:v>24301</c:v>
                </c:pt>
                <c:pt idx="29837">
                  <c:v>52667</c:v>
                </c:pt>
                <c:pt idx="29838">
                  <c:v>34939</c:v>
                </c:pt>
                <c:pt idx="29839">
                  <c:v>29219</c:v>
                </c:pt>
                <c:pt idx="29840">
                  <c:v>29165</c:v>
                </c:pt>
                <c:pt idx="29841">
                  <c:v>83693</c:v>
                </c:pt>
                <c:pt idx="29842">
                  <c:v>35438</c:v>
                </c:pt>
                <c:pt idx="29843">
                  <c:v>33617</c:v>
                </c:pt>
                <c:pt idx="29844">
                  <c:v>35077</c:v>
                </c:pt>
                <c:pt idx="29845">
                  <c:v>38863</c:v>
                </c:pt>
                <c:pt idx="29846">
                  <c:v>71835</c:v>
                </c:pt>
                <c:pt idx="29847">
                  <c:v>188036</c:v>
                </c:pt>
                <c:pt idx="29848">
                  <c:v>49768</c:v>
                </c:pt>
                <c:pt idx="29849">
                  <c:v>138158</c:v>
                </c:pt>
                <c:pt idx="29850">
                  <c:v>44666</c:v>
                </c:pt>
                <c:pt idx="29851">
                  <c:v>36327</c:v>
                </c:pt>
                <c:pt idx="29852">
                  <c:v>43038</c:v>
                </c:pt>
                <c:pt idx="29853">
                  <c:v>22645</c:v>
                </c:pt>
                <c:pt idx="29854">
                  <c:v>34744</c:v>
                </c:pt>
                <c:pt idx="29855">
                  <c:v>47792</c:v>
                </c:pt>
                <c:pt idx="29856">
                  <c:v>38187</c:v>
                </c:pt>
                <c:pt idx="29857">
                  <c:v>225589</c:v>
                </c:pt>
                <c:pt idx="29858">
                  <c:v>74128</c:v>
                </c:pt>
                <c:pt idx="29859">
                  <c:v>24228</c:v>
                </c:pt>
                <c:pt idx="29860">
                  <c:v>33116</c:v>
                </c:pt>
                <c:pt idx="29861">
                  <c:v>103442</c:v>
                </c:pt>
                <c:pt idx="29862">
                  <c:v>68659</c:v>
                </c:pt>
                <c:pt idx="29863">
                  <c:v>31943</c:v>
                </c:pt>
                <c:pt idx="29864">
                  <c:v>77090</c:v>
                </c:pt>
                <c:pt idx="29865">
                  <c:v>31849</c:v>
                </c:pt>
                <c:pt idx="29866">
                  <c:v>34214</c:v>
                </c:pt>
                <c:pt idx="29867">
                  <c:v>58371</c:v>
                </c:pt>
                <c:pt idx="29868">
                  <c:v>137091</c:v>
                </c:pt>
                <c:pt idx="29869">
                  <c:v>33558</c:v>
                </c:pt>
                <c:pt idx="29870">
                  <c:v>41034</c:v>
                </c:pt>
                <c:pt idx="29871">
                  <c:v>23199</c:v>
                </c:pt>
                <c:pt idx="29872">
                  <c:v>31089</c:v>
                </c:pt>
                <c:pt idx="29873">
                  <c:v>37481</c:v>
                </c:pt>
                <c:pt idx="29874">
                  <c:v>45651</c:v>
                </c:pt>
                <c:pt idx="29875">
                  <c:v>53976</c:v>
                </c:pt>
                <c:pt idx="29876">
                  <c:v>34960</c:v>
                </c:pt>
                <c:pt idx="29877">
                  <c:v>46876</c:v>
                </c:pt>
                <c:pt idx="29878">
                  <c:v>50281</c:v>
                </c:pt>
                <c:pt idx="29879">
                  <c:v>61169</c:v>
                </c:pt>
                <c:pt idx="29880">
                  <c:v>41528</c:v>
                </c:pt>
                <c:pt idx="29881">
                  <c:v>31714</c:v>
                </c:pt>
                <c:pt idx="29882">
                  <c:v>1168971</c:v>
                </c:pt>
                <c:pt idx="29883">
                  <c:v>61334</c:v>
                </c:pt>
                <c:pt idx="29884">
                  <c:v>40339</c:v>
                </c:pt>
                <c:pt idx="29885">
                  <c:v>40199</c:v>
                </c:pt>
                <c:pt idx="29886">
                  <c:v>31296</c:v>
                </c:pt>
                <c:pt idx="29887">
                  <c:v>44080</c:v>
                </c:pt>
                <c:pt idx="29888">
                  <c:v>47767</c:v>
                </c:pt>
                <c:pt idx="29889">
                  <c:v>82388</c:v>
                </c:pt>
                <c:pt idx="29890">
                  <c:v>36556</c:v>
                </c:pt>
                <c:pt idx="29891">
                  <c:v>271600</c:v>
                </c:pt>
                <c:pt idx="29892">
                  <c:v>75637</c:v>
                </c:pt>
                <c:pt idx="29893">
                  <c:v>40580</c:v>
                </c:pt>
                <c:pt idx="29894">
                  <c:v>30734</c:v>
                </c:pt>
                <c:pt idx="29895">
                  <c:v>55581</c:v>
                </c:pt>
                <c:pt idx="29896">
                  <c:v>30552</c:v>
                </c:pt>
                <c:pt idx="29897">
                  <c:v>32999</c:v>
                </c:pt>
                <c:pt idx="29898">
                  <c:v>23478</c:v>
                </c:pt>
                <c:pt idx="29899">
                  <c:v>41778</c:v>
                </c:pt>
                <c:pt idx="29900">
                  <c:v>30576</c:v>
                </c:pt>
                <c:pt idx="29901">
                  <c:v>37093</c:v>
                </c:pt>
                <c:pt idx="29902">
                  <c:v>25118</c:v>
                </c:pt>
                <c:pt idx="29903">
                  <c:v>45123</c:v>
                </c:pt>
                <c:pt idx="29904">
                  <c:v>51958</c:v>
                </c:pt>
                <c:pt idx="29905">
                  <c:v>29544</c:v>
                </c:pt>
                <c:pt idx="29906">
                  <c:v>47407</c:v>
                </c:pt>
                <c:pt idx="29907">
                  <c:v>40182</c:v>
                </c:pt>
                <c:pt idx="29908">
                  <c:v>21093</c:v>
                </c:pt>
                <c:pt idx="29909">
                  <c:v>41351</c:v>
                </c:pt>
                <c:pt idx="29910">
                  <c:v>196789</c:v>
                </c:pt>
                <c:pt idx="29911">
                  <c:v>24776</c:v>
                </c:pt>
                <c:pt idx="29912">
                  <c:v>84732</c:v>
                </c:pt>
                <c:pt idx="29913">
                  <c:v>32610</c:v>
                </c:pt>
                <c:pt idx="29914">
                  <c:v>38631</c:v>
                </c:pt>
                <c:pt idx="29915">
                  <c:v>96994</c:v>
                </c:pt>
                <c:pt idx="29916">
                  <c:v>39246</c:v>
                </c:pt>
                <c:pt idx="29917">
                  <c:v>39708</c:v>
                </c:pt>
                <c:pt idx="29918">
                  <c:v>41480</c:v>
                </c:pt>
                <c:pt idx="29919">
                  <c:v>47614</c:v>
                </c:pt>
                <c:pt idx="29920">
                  <c:v>58003</c:v>
                </c:pt>
                <c:pt idx="29921">
                  <c:v>46707</c:v>
                </c:pt>
                <c:pt idx="29922">
                  <c:v>25310</c:v>
                </c:pt>
                <c:pt idx="29923">
                  <c:v>82373</c:v>
                </c:pt>
                <c:pt idx="29924">
                  <c:v>54994</c:v>
                </c:pt>
                <c:pt idx="29925">
                  <c:v>135575</c:v>
                </c:pt>
                <c:pt idx="29926">
                  <c:v>34900</c:v>
                </c:pt>
                <c:pt idx="29927">
                  <c:v>25705</c:v>
                </c:pt>
                <c:pt idx="29928">
                  <c:v>41360</c:v>
                </c:pt>
                <c:pt idx="29929">
                  <c:v>82644</c:v>
                </c:pt>
                <c:pt idx="29930">
                  <c:v>41948</c:v>
                </c:pt>
                <c:pt idx="29931">
                  <c:v>35647</c:v>
                </c:pt>
                <c:pt idx="29932">
                  <c:v>96790</c:v>
                </c:pt>
                <c:pt idx="29933">
                  <c:v>31493</c:v>
                </c:pt>
                <c:pt idx="29934">
                  <c:v>187754</c:v>
                </c:pt>
                <c:pt idx="29935">
                  <c:v>53764</c:v>
                </c:pt>
                <c:pt idx="29936">
                  <c:v>32745</c:v>
                </c:pt>
                <c:pt idx="29937">
                  <c:v>55355</c:v>
                </c:pt>
                <c:pt idx="29938">
                  <c:v>59554</c:v>
                </c:pt>
                <c:pt idx="29939">
                  <c:v>59054</c:v>
                </c:pt>
                <c:pt idx="29940">
                  <c:v>75068</c:v>
                </c:pt>
                <c:pt idx="29941">
                  <c:v>63463</c:v>
                </c:pt>
                <c:pt idx="29942">
                  <c:v>84288</c:v>
                </c:pt>
                <c:pt idx="29943">
                  <c:v>77589</c:v>
                </c:pt>
                <c:pt idx="29944">
                  <c:v>46353</c:v>
                </c:pt>
                <c:pt idx="29945">
                  <c:v>22393</c:v>
                </c:pt>
                <c:pt idx="29946">
                  <c:v>57511</c:v>
                </c:pt>
                <c:pt idx="29947">
                  <c:v>28995</c:v>
                </c:pt>
                <c:pt idx="29948">
                  <c:v>39529</c:v>
                </c:pt>
                <c:pt idx="29949">
                  <c:v>40434</c:v>
                </c:pt>
                <c:pt idx="29950">
                  <c:v>32755</c:v>
                </c:pt>
                <c:pt idx="29951">
                  <c:v>38238</c:v>
                </c:pt>
                <c:pt idx="29952">
                  <c:v>29138</c:v>
                </c:pt>
                <c:pt idx="29953">
                  <c:v>41827</c:v>
                </c:pt>
                <c:pt idx="29954">
                  <c:v>44722</c:v>
                </c:pt>
                <c:pt idx="29955">
                  <c:v>28164</c:v>
                </c:pt>
                <c:pt idx="29956">
                  <c:v>57222</c:v>
                </c:pt>
                <c:pt idx="29957">
                  <c:v>83575</c:v>
                </c:pt>
                <c:pt idx="29958">
                  <c:v>43696</c:v>
                </c:pt>
                <c:pt idx="29959">
                  <c:v>37402</c:v>
                </c:pt>
                <c:pt idx="29960">
                  <c:v>28068</c:v>
                </c:pt>
                <c:pt idx="29961">
                  <c:v>33291</c:v>
                </c:pt>
                <c:pt idx="29962">
                  <c:v>55025</c:v>
                </c:pt>
                <c:pt idx="29963">
                  <c:v>38021</c:v>
                </c:pt>
                <c:pt idx="29964">
                  <c:v>117215</c:v>
                </c:pt>
                <c:pt idx="29965">
                  <c:v>64784</c:v>
                </c:pt>
                <c:pt idx="29966">
                  <c:v>39165</c:v>
                </c:pt>
                <c:pt idx="29967">
                  <c:v>33982</c:v>
                </c:pt>
                <c:pt idx="29968">
                  <c:v>22577</c:v>
                </c:pt>
                <c:pt idx="29969">
                  <c:v>74076</c:v>
                </c:pt>
                <c:pt idx="29970">
                  <c:v>267630</c:v>
                </c:pt>
                <c:pt idx="29971">
                  <c:v>36094</c:v>
                </c:pt>
                <c:pt idx="29972">
                  <c:v>41234</c:v>
                </c:pt>
                <c:pt idx="29973">
                  <c:v>36697</c:v>
                </c:pt>
                <c:pt idx="29974">
                  <c:v>78785</c:v>
                </c:pt>
                <c:pt idx="29975">
                  <c:v>41529</c:v>
                </c:pt>
                <c:pt idx="29976">
                  <c:v>40427</c:v>
                </c:pt>
                <c:pt idx="29977">
                  <c:v>48316</c:v>
                </c:pt>
                <c:pt idx="29978">
                  <c:v>36349</c:v>
                </c:pt>
                <c:pt idx="29979">
                  <c:v>78147</c:v>
                </c:pt>
                <c:pt idx="29980">
                  <c:v>162213</c:v>
                </c:pt>
                <c:pt idx="29981">
                  <c:v>44423</c:v>
                </c:pt>
                <c:pt idx="29982">
                  <c:v>22169</c:v>
                </c:pt>
                <c:pt idx="29983">
                  <c:v>29048</c:v>
                </c:pt>
                <c:pt idx="29984">
                  <c:v>31398</c:v>
                </c:pt>
                <c:pt idx="29985">
                  <c:v>64521</c:v>
                </c:pt>
                <c:pt idx="29986">
                  <c:v>129071</c:v>
                </c:pt>
                <c:pt idx="29987">
                  <c:v>165755</c:v>
                </c:pt>
                <c:pt idx="29988">
                  <c:v>49134</c:v>
                </c:pt>
                <c:pt idx="29989">
                  <c:v>111216</c:v>
                </c:pt>
                <c:pt idx="29990">
                  <c:v>88069</c:v>
                </c:pt>
                <c:pt idx="29991">
                  <c:v>31060</c:v>
                </c:pt>
                <c:pt idx="29992">
                  <c:v>42210</c:v>
                </c:pt>
                <c:pt idx="29993">
                  <c:v>31511</c:v>
                </c:pt>
                <c:pt idx="29994">
                  <c:v>30696</c:v>
                </c:pt>
                <c:pt idx="29995">
                  <c:v>35277</c:v>
                </c:pt>
                <c:pt idx="29996">
                  <c:v>68366</c:v>
                </c:pt>
                <c:pt idx="29997">
                  <c:v>253048</c:v>
                </c:pt>
                <c:pt idx="29998">
                  <c:v>80535</c:v>
                </c:pt>
                <c:pt idx="29999">
                  <c:v>68824</c:v>
                </c:pt>
                <c:pt idx="30000">
                  <c:v>27839</c:v>
                </c:pt>
                <c:pt idx="30001">
                  <c:v>45647</c:v>
                </c:pt>
                <c:pt idx="30002">
                  <c:v>96761</c:v>
                </c:pt>
                <c:pt idx="30003">
                  <c:v>47736</c:v>
                </c:pt>
                <c:pt idx="30004">
                  <c:v>42119</c:v>
                </c:pt>
                <c:pt idx="30005">
                  <c:v>40612</c:v>
                </c:pt>
                <c:pt idx="30006">
                  <c:v>36440</c:v>
                </c:pt>
                <c:pt idx="30007">
                  <c:v>90402</c:v>
                </c:pt>
                <c:pt idx="30008">
                  <c:v>23251</c:v>
                </c:pt>
                <c:pt idx="30009">
                  <c:v>26122</c:v>
                </c:pt>
                <c:pt idx="30010">
                  <c:v>34097</c:v>
                </c:pt>
                <c:pt idx="30011">
                  <c:v>29793</c:v>
                </c:pt>
                <c:pt idx="30012">
                  <c:v>245735</c:v>
                </c:pt>
                <c:pt idx="30013">
                  <c:v>97118</c:v>
                </c:pt>
                <c:pt idx="30014">
                  <c:v>43045</c:v>
                </c:pt>
                <c:pt idx="30015">
                  <c:v>35856</c:v>
                </c:pt>
                <c:pt idx="30016">
                  <c:v>22354</c:v>
                </c:pt>
                <c:pt idx="30017">
                  <c:v>152791</c:v>
                </c:pt>
                <c:pt idx="30018">
                  <c:v>34488</c:v>
                </c:pt>
                <c:pt idx="30019">
                  <c:v>244506</c:v>
                </c:pt>
                <c:pt idx="30020">
                  <c:v>104719</c:v>
                </c:pt>
                <c:pt idx="30021">
                  <c:v>219858</c:v>
                </c:pt>
                <c:pt idx="30022">
                  <c:v>30533</c:v>
                </c:pt>
                <c:pt idx="30023">
                  <c:v>44260</c:v>
                </c:pt>
                <c:pt idx="30024">
                  <c:v>48950</c:v>
                </c:pt>
                <c:pt idx="30025">
                  <c:v>45097</c:v>
                </c:pt>
                <c:pt idx="30026">
                  <c:v>111739</c:v>
                </c:pt>
                <c:pt idx="30027">
                  <c:v>27830</c:v>
                </c:pt>
                <c:pt idx="30028">
                  <c:v>273433</c:v>
                </c:pt>
                <c:pt idx="30029">
                  <c:v>41463</c:v>
                </c:pt>
                <c:pt idx="30030">
                  <c:v>105723</c:v>
                </c:pt>
                <c:pt idx="30031">
                  <c:v>39157</c:v>
                </c:pt>
                <c:pt idx="30032">
                  <c:v>55678</c:v>
                </c:pt>
                <c:pt idx="30033">
                  <c:v>41613</c:v>
                </c:pt>
                <c:pt idx="30034">
                  <c:v>26568</c:v>
                </c:pt>
                <c:pt idx="30035">
                  <c:v>24642</c:v>
                </c:pt>
                <c:pt idx="30036">
                  <c:v>50579</c:v>
                </c:pt>
                <c:pt idx="30037">
                  <c:v>59448</c:v>
                </c:pt>
                <c:pt idx="30038">
                  <c:v>27012</c:v>
                </c:pt>
                <c:pt idx="30039">
                  <c:v>33055</c:v>
                </c:pt>
                <c:pt idx="30040">
                  <c:v>27279</c:v>
                </c:pt>
                <c:pt idx="30041">
                  <c:v>152508</c:v>
                </c:pt>
                <c:pt idx="30042">
                  <c:v>36630</c:v>
                </c:pt>
                <c:pt idx="30043">
                  <c:v>36934</c:v>
                </c:pt>
                <c:pt idx="30044">
                  <c:v>36108</c:v>
                </c:pt>
                <c:pt idx="30045">
                  <c:v>111188</c:v>
                </c:pt>
                <c:pt idx="30046">
                  <c:v>306096</c:v>
                </c:pt>
                <c:pt idx="30047">
                  <c:v>27350</c:v>
                </c:pt>
                <c:pt idx="30048">
                  <c:v>41960</c:v>
                </c:pt>
                <c:pt idx="30049">
                  <c:v>60168</c:v>
                </c:pt>
                <c:pt idx="30050">
                  <c:v>115757</c:v>
                </c:pt>
                <c:pt idx="30051">
                  <c:v>25995</c:v>
                </c:pt>
                <c:pt idx="30052">
                  <c:v>28904</c:v>
                </c:pt>
                <c:pt idx="30053">
                  <c:v>23208</c:v>
                </c:pt>
                <c:pt idx="30054">
                  <c:v>90845</c:v>
                </c:pt>
                <c:pt idx="30055">
                  <c:v>60051</c:v>
                </c:pt>
                <c:pt idx="30056">
                  <c:v>58596</c:v>
                </c:pt>
                <c:pt idx="30057">
                  <c:v>29873</c:v>
                </c:pt>
                <c:pt idx="30058">
                  <c:v>58289</c:v>
                </c:pt>
                <c:pt idx="30059">
                  <c:v>181145</c:v>
                </c:pt>
                <c:pt idx="30060">
                  <c:v>160285</c:v>
                </c:pt>
                <c:pt idx="30061">
                  <c:v>42182</c:v>
                </c:pt>
                <c:pt idx="30062">
                  <c:v>47392</c:v>
                </c:pt>
                <c:pt idx="30063">
                  <c:v>82699</c:v>
                </c:pt>
                <c:pt idx="30064">
                  <c:v>46555</c:v>
                </c:pt>
                <c:pt idx="30065">
                  <c:v>77654</c:v>
                </c:pt>
                <c:pt idx="30066">
                  <c:v>46921</c:v>
                </c:pt>
                <c:pt idx="30067">
                  <c:v>228215</c:v>
                </c:pt>
                <c:pt idx="30068">
                  <c:v>25325</c:v>
                </c:pt>
                <c:pt idx="30069">
                  <c:v>69035</c:v>
                </c:pt>
                <c:pt idx="30070">
                  <c:v>42043</c:v>
                </c:pt>
                <c:pt idx="30071">
                  <c:v>29034</c:v>
                </c:pt>
                <c:pt idx="30072">
                  <c:v>68161</c:v>
                </c:pt>
                <c:pt idx="30073">
                  <c:v>61505</c:v>
                </c:pt>
                <c:pt idx="30074">
                  <c:v>27224</c:v>
                </c:pt>
                <c:pt idx="30075">
                  <c:v>36146</c:v>
                </c:pt>
                <c:pt idx="30076">
                  <c:v>30649</c:v>
                </c:pt>
                <c:pt idx="30077">
                  <c:v>48348</c:v>
                </c:pt>
                <c:pt idx="30078">
                  <c:v>110019</c:v>
                </c:pt>
                <c:pt idx="30079">
                  <c:v>37445</c:v>
                </c:pt>
                <c:pt idx="30080">
                  <c:v>27671</c:v>
                </c:pt>
                <c:pt idx="30081">
                  <c:v>27305</c:v>
                </c:pt>
                <c:pt idx="30082">
                  <c:v>54781</c:v>
                </c:pt>
                <c:pt idx="30083">
                  <c:v>45434</c:v>
                </c:pt>
                <c:pt idx="30084">
                  <c:v>47645</c:v>
                </c:pt>
                <c:pt idx="30085">
                  <c:v>39858</c:v>
                </c:pt>
                <c:pt idx="30086">
                  <c:v>37089</c:v>
                </c:pt>
                <c:pt idx="30087">
                  <c:v>36858</c:v>
                </c:pt>
                <c:pt idx="30088">
                  <c:v>26331</c:v>
                </c:pt>
                <c:pt idx="30089">
                  <c:v>34680</c:v>
                </c:pt>
                <c:pt idx="30090">
                  <c:v>93354</c:v>
                </c:pt>
                <c:pt idx="30091">
                  <c:v>32804</c:v>
                </c:pt>
                <c:pt idx="30092">
                  <c:v>51200</c:v>
                </c:pt>
                <c:pt idx="30093">
                  <c:v>34248</c:v>
                </c:pt>
                <c:pt idx="30094">
                  <c:v>34936</c:v>
                </c:pt>
                <c:pt idx="30095">
                  <c:v>35575</c:v>
                </c:pt>
                <c:pt idx="30096">
                  <c:v>32527</c:v>
                </c:pt>
                <c:pt idx="30097">
                  <c:v>41479</c:v>
                </c:pt>
                <c:pt idx="30098">
                  <c:v>133987</c:v>
                </c:pt>
                <c:pt idx="30099">
                  <c:v>36246</c:v>
                </c:pt>
                <c:pt idx="30100">
                  <c:v>91455</c:v>
                </c:pt>
                <c:pt idx="30101">
                  <c:v>25691</c:v>
                </c:pt>
                <c:pt idx="30102">
                  <c:v>26399</c:v>
                </c:pt>
                <c:pt idx="30103">
                  <c:v>26369</c:v>
                </c:pt>
                <c:pt idx="30104">
                  <c:v>71843</c:v>
                </c:pt>
                <c:pt idx="30105">
                  <c:v>36324</c:v>
                </c:pt>
                <c:pt idx="30106">
                  <c:v>27216</c:v>
                </c:pt>
                <c:pt idx="30107">
                  <c:v>39674</c:v>
                </c:pt>
                <c:pt idx="30108">
                  <c:v>57579</c:v>
                </c:pt>
                <c:pt idx="30109">
                  <c:v>102883</c:v>
                </c:pt>
                <c:pt idx="30110">
                  <c:v>147076</c:v>
                </c:pt>
                <c:pt idx="30111">
                  <c:v>66460</c:v>
                </c:pt>
                <c:pt idx="30112">
                  <c:v>45428</c:v>
                </c:pt>
                <c:pt idx="30113">
                  <c:v>21027</c:v>
                </c:pt>
                <c:pt idx="30114">
                  <c:v>35197</c:v>
                </c:pt>
                <c:pt idx="30115">
                  <c:v>88568</c:v>
                </c:pt>
                <c:pt idx="30116">
                  <c:v>37723</c:v>
                </c:pt>
                <c:pt idx="30117">
                  <c:v>39062</c:v>
                </c:pt>
                <c:pt idx="30118">
                  <c:v>112691</c:v>
                </c:pt>
                <c:pt idx="30119">
                  <c:v>24509</c:v>
                </c:pt>
                <c:pt idx="30120">
                  <c:v>68912</c:v>
                </c:pt>
                <c:pt idx="30121">
                  <c:v>43586</c:v>
                </c:pt>
                <c:pt idx="30122">
                  <c:v>40543</c:v>
                </c:pt>
                <c:pt idx="30123">
                  <c:v>41719</c:v>
                </c:pt>
                <c:pt idx="30124">
                  <c:v>46653</c:v>
                </c:pt>
                <c:pt idx="30125">
                  <c:v>21702</c:v>
                </c:pt>
                <c:pt idx="30126">
                  <c:v>88718</c:v>
                </c:pt>
                <c:pt idx="30127">
                  <c:v>118878</c:v>
                </c:pt>
                <c:pt idx="30128">
                  <c:v>29855</c:v>
                </c:pt>
                <c:pt idx="30129">
                  <c:v>87837</c:v>
                </c:pt>
                <c:pt idx="30130">
                  <c:v>23302</c:v>
                </c:pt>
                <c:pt idx="30131">
                  <c:v>30222</c:v>
                </c:pt>
                <c:pt idx="30132">
                  <c:v>29938</c:v>
                </c:pt>
                <c:pt idx="30133">
                  <c:v>23204</c:v>
                </c:pt>
                <c:pt idx="30134">
                  <c:v>33810</c:v>
                </c:pt>
                <c:pt idx="30135">
                  <c:v>44166</c:v>
                </c:pt>
                <c:pt idx="30136">
                  <c:v>30420</c:v>
                </c:pt>
                <c:pt idx="30137">
                  <c:v>38661</c:v>
                </c:pt>
                <c:pt idx="30138">
                  <c:v>41171</c:v>
                </c:pt>
                <c:pt idx="30139">
                  <c:v>30241</c:v>
                </c:pt>
                <c:pt idx="30140">
                  <c:v>66982</c:v>
                </c:pt>
                <c:pt idx="30141">
                  <c:v>40422</c:v>
                </c:pt>
                <c:pt idx="30142">
                  <c:v>94193</c:v>
                </c:pt>
                <c:pt idx="30143">
                  <c:v>28992</c:v>
                </c:pt>
                <c:pt idx="30144">
                  <c:v>113641</c:v>
                </c:pt>
                <c:pt idx="30145">
                  <c:v>41446</c:v>
                </c:pt>
                <c:pt idx="30146">
                  <c:v>420574</c:v>
                </c:pt>
                <c:pt idx="30147">
                  <c:v>38708</c:v>
                </c:pt>
                <c:pt idx="30148">
                  <c:v>29201</c:v>
                </c:pt>
                <c:pt idx="30149">
                  <c:v>28826</c:v>
                </c:pt>
                <c:pt idx="30150">
                  <c:v>110740</c:v>
                </c:pt>
                <c:pt idx="30151">
                  <c:v>38550</c:v>
                </c:pt>
                <c:pt idx="30152">
                  <c:v>46218</c:v>
                </c:pt>
                <c:pt idx="30153">
                  <c:v>36385</c:v>
                </c:pt>
                <c:pt idx="30154">
                  <c:v>31720</c:v>
                </c:pt>
                <c:pt idx="30155">
                  <c:v>38148</c:v>
                </c:pt>
                <c:pt idx="30156">
                  <c:v>86572</c:v>
                </c:pt>
                <c:pt idx="30157">
                  <c:v>23571</c:v>
                </c:pt>
                <c:pt idx="30158">
                  <c:v>106300</c:v>
                </c:pt>
                <c:pt idx="30159">
                  <c:v>36729</c:v>
                </c:pt>
                <c:pt idx="30160">
                  <c:v>83724</c:v>
                </c:pt>
                <c:pt idx="30161">
                  <c:v>133187</c:v>
                </c:pt>
                <c:pt idx="30162">
                  <c:v>36475</c:v>
                </c:pt>
                <c:pt idx="30163">
                  <c:v>42381</c:v>
                </c:pt>
                <c:pt idx="30164">
                  <c:v>39897</c:v>
                </c:pt>
                <c:pt idx="30165">
                  <c:v>38682</c:v>
                </c:pt>
                <c:pt idx="30166">
                  <c:v>117865</c:v>
                </c:pt>
                <c:pt idx="30167">
                  <c:v>39671</c:v>
                </c:pt>
                <c:pt idx="30168">
                  <c:v>40305</c:v>
                </c:pt>
                <c:pt idx="30169">
                  <c:v>56156</c:v>
                </c:pt>
                <c:pt idx="30170">
                  <c:v>34483</c:v>
                </c:pt>
                <c:pt idx="30171">
                  <c:v>28080</c:v>
                </c:pt>
                <c:pt idx="30172">
                  <c:v>32372</c:v>
                </c:pt>
                <c:pt idx="30173">
                  <c:v>39469</c:v>
                </c:pt>
                <c:pt idx="30174">
                  <c:v>29432</c:v>
                </c:pt>
                <c:pt idx="30175">
                  <c:v>50422</c:v>
                </c:pt>
                <c:pt idx="30176">
                  <c:v>53363</c:v>
                </c:pt>
                <c:pt idx="30177">
                  <c:v>24509</c:v>
                </c:pt>
                <c:pt idx="30178">
                  <c:v>441143</c:v>
                </c:pt>
                <c:pt idx="30179">
                  <c:v>34468</c:v>
                </c:pt>
                <c:pt idx="30180">
                  <c:v>31390</c:v>
                </c:pt>
                <c:pt idx="30181">
                  <c:v>54296</c:v>
                </c:pt>
                <c:pt idx="30182">
                  <c:v>41991</c:v>
                </c:pt>
                <c:pt idx="30183">
                  <c:v>26470</c:v>
                </c:pt>
                <c:pt idx="30184">
                  <c:v>39844</c:v>
                </c:pt>
                <c:pt idx="30185">
                  <c:v>47560</c:v>
                </c:pt>
                <c:pt idx="30186">
                  <c:v>57033</c:v>
                </c:pt>
                <c:pt idx="30187">
                  <c:v>28531</c:v>
                </c:pt>
                <c:pt idx="30188">
                  <c:v>32284</c:v>
                </c:pt>
                <c:pt idx="30189">
                  <c:v>35694</c:v>
                </c:pt>
                <c:pt idx="30190">
                  <c:v>28937</c:v>
                </c:pt>
                <c:pt idx="30191">
                  <c:v>32581</c:v>
                </c:pt>
                <c:pt idx="30192">
                  <c:v>117627</c:v>
                </c:pt>
                <c:pt idx="30193">
                  <c:v>62309</c:v>
                </c:pt>
                <c:pt idx="30194">
                  <c:v>66440</c:v>
                </c:pt>
                <c:pt idx="30195">
                  <c:v>63669</c:v>
                </c:pt>
                <c:pt idx="30196">
                  <c:v>77845</c:v>
                </c:pt>
                <c:pt idx="30197">
                  <c:v>42020</c:v>
                </c:pt>
                <c:pt idx="30198">
                  <c:v>27374</c:v>
                </c:pt>
                <c:pt idx="30199">
                  <c:v>30574</c:v>
                </c:pt>
                <c:pt idx="30200">
                  <c:v>151756</c:v>
                </c:pt>
                <c:pt idx="30201">
                  <c:v>39049</c:v>
                </c:pt>
                <c:pt idx="30202">
                  <c:v>26932</c:v>
                </c:pt>
                <c:pt idx="30203">
                  <c:v>59878</c:v>
                </c:pt>
                <c:pt idx="30204">
                  <c:v>173219</c:v>
                </c:pt>
                <c:pt idx="30205">
                  <c:v>56973</c:v>
                </c:pt>
                <c:pt idx="30206">
                  <c:v>28811</c:v>
                </c:pt>
                <c:pt idx="30207">
                  <c:v>26447</c:v>
                </c:pt>
                <c:pt idx="30208">
                  <c:v>30983</c:v>
                </c:pt>
                <c:pt idx="30209">
                  <c:v>26094</c:v>
                </c:pt>
                <c:pt idx="30210">
                  <c:v>87452</c:v>
                </c:pt>
                <c:pt idx="30211">
                  <c:v>381190</c:v>
                </c:pt>
                <c:pt idx="30212">
                  <c:v>170728</c:v>
                </c:pt>
                <c:pt idx="30213">
                  <c:v>35597</c:v>
                </c:pt>
                <c:pt idx="30214">
                  <c:v>54666</c:v>
                </c:pt>
                <c:pt idx="30215">
                  <c:v>46997</c:v>
                </c:pt>
                <c:pt idx="30216">
                  <c:v>30438</c:v>
                </c:pt>
                <c:pt idx="30217">
                  <c:v>25740</c:v>
                </c:pt>
                <c:pt idx="30218">
                  <c:v>81948</c:v>
                </c:pt>
                <c:pt idx="30219">
                  <c:v>37632</c:v>
                </c:pt>
                <c:pt idx="30220">
                  <c:v>44741</c:v>
                </c:pt>
                <c:pt idx="30221">
                  <c:v>57210</c:v>
                </c:pt>
                <c:pt idx="30222">
                  <c:v>95722</c:v>
                </c:pt>
                <c:pt idx="30223">
                  <c:v>22288</c:v>
                </c:pt>
                <c:pt idx="30224">
                  <c:v>45681</c:v>
                </c:pt>
                <c:pt idx="30225">
                  <c:v>33179</c:v>
                </c:pt>
                <c:pt idx="30226">
                  <c:v>44580</c:v>
                </c:pt>
                <c:pt idx="30227">
                  <c:v>24705</c:v>
                </c:pt>
                <c:pt idx="30228">
                  <c:v>33857</c:v>
                </c:pt>
                <c:pt idx="30229">
                  <c:v>43604</c:v>
                </c:pt>
                <c:pt idx="30230">
                  <c:v>26937</c:v>
                </c:pt>
                <c:pt idx="30231">
                  <c:v>40849</c:v>
                </c:pt>
                <c:pt idx="30232">
                  <c:v>324866</c:v>
                </c:pt>
                <c:pt idx="30233">
                  <c:v>28682</c:v>
                </c:pt>
                <c:pt idx="30234">
                  <c:v>49472</c:v>
                </c:pt>
                <c:pt idx="30235">
                  <c:v>45123</c:v>
                </c:pt>
                <c:pt idx="30236">
                  <c:v>36934</c:v>
                </c:pt>
                <c:pt idx="30237">
                  <c:v>39674</c:v>
                </c:pt>
                <c:pt idx="30238">
                  <c:v>23549</c:v>
                </c:pt>
                <c:pt idx="30239">
                  <c:v>45005</c:v>
                </c:pt>
                <c:pt idx="30240">
                  <c:v>15000</c:v>
                </c:pt>
                <c:pt idx="30241">
                  <c:v>48118</c:v>
                </c:pt>
                <c:pt idx="30242">
                  <c:v>50529</c:v>
                </c:pt>
                <c:pt idx="30243">
                  <c:v>44000</c:v>
                </c:pt>
                <c:pt idx="30244">
                  <c:v>41526</c:v>
                </c:pt>
                <c:pt idx="30245">
                  <c:v>39096</c:v>
                </c:pt>
                <c:pt idx="30246">
                  <c:v>41761</c:v>
                </c:pt>
                <c:pt idx="30247">
                  <c:v>36705</c:v>
                </c:pt>
                <c:pt idx="30248">
                  <c:v>59989</c:v>
                </c:pt>
                <c:pt idx="30249">
                  <c:v>97329</c:v>
                </c:pt>
                <c:pt idx="30250">
                  <c:v>50756</c:v>
                </c:pt>
                <c:pt idx="30251">
                  <c:v>42890</c:v>
                </c:pt>
                <c:pt idx="30252">
                  <c:v>31648</c:v>
                </c:pt>
                <c:pt idx="30253">
                  <c:v>24271</c:v>
                </c:pt>
                <c:pt idx="30254">
                  <c:v>133415</c:v>
                </c:pt>
                <c:pt idx="30255">
                  <c:v>24797</c:v>
                </c:pt>
                <c:pt idx="30256">
                  <c:v>50188</c:v>
                </c:pt>
                <c:pt idx="30257">
                  <c:v>54151</c:v>
                </c:pt>
                <c:pt idx="30258">
                  <c:v>137692</c:v>
                </c:pt>
                <c:pt idx="30259">
                  <c:v>78838</c:v>
                </c:pt>
                <c:pt idx="30260">
                  <c:v>32028</c:v>
                </c:pt>
                <c:pt idx="30261">
                  <c:v>79787</c:v>
                </c:pt>
                <c:pt idx="30262">
                  <c:v>60260</c:v>
                </c:pt>
                <c:pt idx="30263">
                  <c:v>38785</c:v>
                </c:pt>
                <c:pt idx="30264">
                  <c:v>28041</c:v>
                </c:pt>
                <c:pt idx="30265">
                  <c:v>49170</c:v>
                </c:pt>
                <c:pt idx="30266">
                  <c:v>75113</c:v>
                </c:pt>
                <c:pt idx="30267">
                  <c:v>32138</c:v>
                </c:pt>
                <c:pt idx="30268">
                  <c:v>48211</c:v>
                </c:pt>
                <c:pt idx="30269">
                  <c:v>32978</c:v>
                </c:pt>
                <c:pt idx="30270">
                  <c:v>26909</c:v>
                </c:pt>
                <c:pt idx="30271">
                  <c:v>71093</c:v>
                </c:pt>
                <c:pt idx="30272">
                  <c:v>40243</c:v>
                </c:pt>
                <c:pt idx="30273">
                  <c:v>34757</c:v>
                </c:pt>
                <c:pt idx="30274">
                  <c:v>65154</c:v>
                </c:pt>
                <c:pt idx="30275">
                  <c:v>42466</c:v>
                </c:pt>
                <c:pt idx="30276">
                  <c:v>89986</c:v>
                </c:pt>
                <c:pt idx="30277">
                  <c:v>25202</c:v>
                </c:pt>
                <c:pt idx="30278">
                  <c:v>32172</c:v>
                </c:pt>
                <c:pt idx="30279">
                  <c:v>58390</c:v>
                </c:pt>
                <c:pt idx="30280">
                  <c:v>45450</c:v>
                </c:pt>
                <c:pt idx="30281">
                  <c:v>41350</c:v>
                </c:pt>
                <c:pt idx="30282">
                  <c:v>57272</c:v>
                </c:pt>
                <c:pt idx="30283">
                  <c:v>78138</c:v>
                </c:pt>
                <c:pt idx="30284">
                  <c:v>66359</c:v>
                </c:pt>
                <c:pt idx="30285">
                  <c:v>30360</c:v>
                </c:pt>
                <c:pt idx="30286">
                  <c:v>22956</c:v>
                </c:pt>
                <c:pt idx="30287">
                  <c:v>42437</c:v>
                </c:pt>
                <c:pt idx="30288">
                  <c:v>82018</c:v>
                </c:pt>
                <c:pt idx="30289">
                  <c:v>53125</c:v>
                </c:pt>
                <c:pt idx="30290">
                  <c:v>53779</c:v>
                </c:pt>
                <c:pt idx="30291">
                  <c:v>38510</c:v>
                </c:pt>
                <c:pt idx="30292">
                  <c:v>62391</c:v>
                </c:pt>
                <c:pt idx="30293">
                  <c:v>42813</c:v>
                </c:pt>
                <c:pt idx="30294">
                  <c:v>46457</c:v>
                </c:pt>
                <c:pt idx="30295">
                  <c:v>63256</c:v>
                </c:pt>
                <c:pt idx="30296">
                  <c:v>34531</c:v>
                </c:pt>
                <c:pt idx="30297">
                  <c:v>27905</c:v>
                </c:pt>
                <c:pt idx="30298">
                  <c:v>44496</c:v>
                </c:pt>
                <c:pt idx="30299">
                  <c:v>321107</c:v>
                </c:pt>
                <c:pt idx="30300">
                  <c:v>28324</c:v>
                </c:pt>
                <c:pt idx="30301">
                  <c:v>28475</c:v>
                </c:pt>
                <c:pt idx="30302">
                  <c:v>31262</c:v>
                </c:pt>
                <c:pt idx="30303">
                  <c:v>48030</c:v>
                </c:pt>
                <c:pt idx="30304">
                  <c:v>38921</c:v>
                </c:pt>
                <c:pt idx="30305">
                  <c:v>45197</c:v>
                </c:pt>
                <c:pt idx="30306">
                  <c:v>30997</c:v>
                </c:pt>
                <c:pt idx="30307">
                  <c:v>27434</c:v>
                </c:pt>
                <c:pt idx="30308">
                  <c:v>67107</c:v>
                </c:pt>
                <c:pt idx="30309">
                  <c:v>23687</c:v>
                </c:pt>
                <c:pt idx="30310">
                  <c:v>28012</c:v>
                </c:pt>
                <c:pt idx="30311">
                  <c:v>110354</c:v>
                </c:pt>
                <c:pt idx="30312">
                  <c:v>23366</c:v>
                </c:pt>
                <c:pt idx="30313">
                  <c:v>48843</c:v>
                </c:pt>
                <c:pt idx="30314">
                  <c:v>69107</c:v>
                </c:pt>
                <c:pt idx="30315">
                  <c:v>32401</c:v>
                </c:pt>
                <c:pt idx="30316">
                  <c:v>37039</c:v>
                </c:pt>
                <c:pt idx="30317">
                  <c:v>50482</c:v>
                </c:pt>
                <c:pt idx="30318">
                  <c:v>38999</c:v>
                </c:pt>
                <c:pt idx="30319">
                  <c:v>32213</c:v>
                </c:pt>
                <c:pt idx="30320">
                  <c:v>67529</c:v>
                </c:pt>
                <c:pt idx="30321">
                  <c:v>30977</c:v>
                </c:pt>
                <c:pt idx="30322">
                  <c:v>29069</c:v>
                </c:pt>
                <c:pt idx="30323">
                  <c:v>38791</c:v>
                </c:pt>
                <c:pt idx="30324">
                  <c:v>56618</c:v>
                </c:pt>
                <c:pt idx="30325">
                  <c:v>104514</c:v>
                </c:pt>
                <c:pt idx="30326">
                  <c:v>70784</c:v>
                </c:pt>
                <c:pt idx="30327">
                  <c:v>30732</c:v>
                </c:pt>
                <c:pt idx="30328">
                  <c:v>42858</c:v>
                </c:pt>
                <c:pt idx="30329">
                  <c:v>51408</c:v>
                </c:pt>
                <c:pt idx="30330">
                  <c:v>229965</c:v>
                </c:pt>
                <c:pt idx="30331">
                  <c:v>64009</c:v>
                </c:pt>
                <c:pt idx="30332">
                  <c:v>23496</c:v>
                </c:pt>
                <c:pt idx="30333">
                  <c:v>33499</c:v>
                </c:pt>
                <c:pt idx="30334">
                  <c:v>54149</c:v>
                </c:pt>
                <c:pt idx="30335">
                  <c:v>44541</c:v>
                </c:pt>
                <c:pt idx="30336">
                  <c:v>15000</c:v>
                </c:pt>
                <c:pt idx="30337">
                  <c:v>36732</c:v>
                </c:pt>
                <c:pt idx="30338">
                  <c:v>141141</c:v>
                </c:pt>
                <c:pt idx="30339">
                  <c:v>25131</c:v>
                </c:pt>
                <c:pt idx="30340">
                  <c:v>86687</c:v>
                </c:pt>
                <c:pt idx="30341">
                  <c:v>26790</c:v>
                </c:pt>
                <c:pt idx="30342">
                  <c:v>26467</c:v>
                </c:pt>
                <c:pt idx="30343">
                  <c:v>129045</c:v>
                </c:pt>
                <c:pt idx="30344">
                  <c:v>33781</c:v>
                </c:pt>
                <c:pt idx="30345">
                  <c:v>40592</c:v>
                </c:pt>
                <c:pt idx="30346">
                  <c:v>52748</c:v>
                </c:pt>
                <c:pt idx="30347">
                  <c:v>25315</c:v>
                </c:pt>
                <c:pt idx="30348">
                  <c:v>34440</c:v>
                </c:pt>
                <c:pt idx="30349">
                  <c:v>57218</c:v>
                </c:pt>
                <c:pt idx="30350">
                  <c:v>88688</c:v>
                </c:pt>
                <c:pt idx="30351">
                  <c:v>24352</c:v>
                </c:pt>
                <c:pt idx="30352">
                  <c:v>32158</c:v>
                </c:pt>
                <c:pt idx="30353">
                  <c:v>28918</c:v>
                </c:pt>
                <c:pt idx="30354">
                  <c:v>92589</c:v>
                </c:pt>
                <c:pt idx="30355">
                  <c:v>50587</c:v>
                </c:pt>
                <c:pt idx="30356">
                  <c:v>47856</c:v>
                </c:pt>
                <c:pt idx="30357">
                  <c:v>116617</c:v>
                </c:pt>
                <c:pt idx="30358">
                  <c:v>33945</c:v>
                </c:pt>
                <c:pt idx="30359">
                  <c:v>66201</c:v>
                </c:pt>
                <c:pt idx="30360">
                  <c:v>61473</c:v>
                </c:pt>
                <c:pt idx="30361">
                  <c:v>47660</c:v>
                </c:pt>
                <c:pt idx="30362">
                  <c:v>60358</c:v>
                </c:pt>
                <c:pt idx="30363">
                  <c:v>38476</c:v>
                </c:pt>
                <c:pt idx="30364">
                  <c:v>29516</c:v>
                </c:pt>
                <c:pt idx="30365">
                  <c:v>66841</c:v>
                </c:pt>
                <c:pt idx="30366">
                  <c:v>29214</c:v>
                </c:pt>
                <c:pt idx="30367">
                  <c:v>31248</c:v>
                </c:pt>
                <c:pt idx="30368">
                  <c:v>27056</c:v>
                </c:pt>
                <c:pt idx="30369">
                  <c:v>61137</c:v>
                </c:pt>
                <c:pt idx="30370">
                  <c:v>78013</c:v>
                </c:pt>
                <c:pt idx="30371">
                  <c:v>52105</c:v>
                </c:pt>
                <c:pt idx="30372">
                  <c:v>45494</c:v>
                </c:pt>
                <c:pt idx="30373">
                  <c:v>43859</c:v>
                </c:pt>
                <c:pt idx="30374">
                  <c:v>59443</c:v>
                </c:pt>
                <c:pt idx="30375">
                  <c:v>44819</c:v>
                </c:pt>
                <c:pt idx="30376">
                  <c:v>55276</c:v>
                </c:pt>
                <c:pt idx="30377">
                  <c:v>43243</c:v>
                </c:pt>
                <c:pt idx="30378">
                  <c:v>28738</c:v>
                </c:pt>
                <c:pt idx="30379">
                  <c:v>115007</c:v>
                </c:pt>
                <c:pt idx="30380">
                  <c:v>41733</c:v>
                </c:pt>
                <c:pt idx="30381">
                  <c:v>81875</c:v>
                </c:pt>
                <c:pt idx="30382">
                  <c:v>48431</c:v>
                </c:pt>
                <c:pt idx="30383">
                  <c:v>36233</c:v>
                </c:pt>
                <c:pt idx="30384">
                  <c:v>37969</c:v>
                </c:pt>
                <c:pt idx="30385">
                  <c:v>76701</c:v>
                </c:pt>
                <c:pt idx="30386">
                  <c:v>56387</c:v>
                </c:pt>
                <c:pt idx="30387">
                  <c:v>40578</c:v>
                </c:pt>
                <c:pt idx="30388">
                  <c:v>139473</c:v>
                </c:pt>
                <c:pt idx="30389">
                  <c:v>45174</c:v>
                </c:pt>
                <c:pt idx="30390">
                  <c:v>29315</c:v>
                </c:pt>
                <c:pt idx="30391">
                  <c:v>90598</c:v>
                </c:pt>
                <c:pt idx="30392">
                  <c:v>91871</c:v>
                </c:pt>
                <c:pt idx="30393">
                  <c:v>34364</c:v>
                </c:pt>
                <c:pt idx="30394">
                  <c:v>136615</c:v>
                </c:pt>
                <c:pt idx="30395">
                  <c:v>33699</c:v>
                </c:pt>
                <c:pt idx="30396">
                  <c:v>74355</c:v>
                </c:pt>
                <c:pt idx="30397">
                  <c:v>77936</c:v>
                </c:pt>
                <c:pt idx="30398">
                  <c:v>40058</c:v>
                </c:pt>
                <c:pt idx="30399">
                  <c:v>54854</c:v>
                </c:pt>
                <c:pt idx="30400">
                  <c:v>32850</c:v>
                </c:pt>
                <c:pt idx="30401">
                  <c:v>23864</c:v>
                </c:pt>
                <c:pt idx="30402">
                  <c:v>34028</c:v>
                </c:pt>
                <c:pt idx="30403">
                  <c:v>30232</c:v>
                </c:pt>
                <c:pt idx="30404">
                  <c:v>34614</c:v>
                </c:pt>
                <c:pt idx="30405">
                  <c:v>46044</c:v>
                </c:pt>
                <c:pt idx="30406">
                  <c:v>30012</c:v>
                </c:pt>
                <c:pt idx="30407">
                  <c:v>51973</c:v>
                </c:pt>
                <c:pt idx="30408">
                  <c:v>42907</c:v>
                </c:pt>
                <c:pt idx="30409">
                  <c:v>25357</c:v>
                </c:pt>
                <c:pt idx="30410">
                  <c:v>37696</c:v>
                </c:pt>
                <c:pt idx="30411">
                  <c:v>30221</c:v>
                </c:pt>
                <c:pt idx="30412">
                  <c:v>33743</c:v>
                </c:pt>
                <c:pt idx="30413">
                  <c:v>42397</c:v>
                </c:pt>
                <c:pt idx="30414">
                  <c:v>46798</c:v>
                </c:pt>
                <c:pt idx="30415">
                  <c:v>53679</c:v>
                </c:pt>
                <c:pt idx="30416">
                  <c:v>99404</c:v>
                </c:pt>
                <c:pt idx="30417">
                  <c:v>33724</c:v>
                </c:pt>
                <c:pt idx="30418">
                  <c:v>96341</c:v>
                </c:pt>
                <c:pt idx="30419">
                  <c:v>39823</c:v>
                </c:pt>
                <c:pt idx="30420">
                  <c:v>221917</c:v>
                </c:pt>
                <c:pt idx="30421">
                  <c:v>90081</c:v>
                </c:pt>
                <c:pt idx="30422">
                  <c:v>42820</c:v>
                </c:pt>
                <c:pt idx="30423">
                  <c:v>24175</c:v>
                </c:pt>
                <c:pt idx="30424">
                  <c:v>35003</c:v>
                </c:pt>
                <c:pt idx="30425">
                  <c:v>36316</c:v>
                </c:pt>
                <c:pt idx="30426">
                  <c:v>64529</c:v>
                </c:pt>
                <c:pt idx="30427">
                  <c:v>43762</c:v>
                </c:pt>
                <c:pt idx="30428">
                  <c:v>31439</c:v>
                </c:pt>
                <c:pt idx="30429">
                  <c:v>32958</c:v>
                </c:pt>
                <c:pt idx="30430">
                  <c:v>45902</c:v>
                </c:pt>
                <c:pt idx="30431">
                  <c:v>35468</c:v>
                </c:pt>
                <c:pt idx="30432">
                  <c:v>51399</c:v>
                </c:pt>
                <c:pt idx="30433">
                  <c:v>79231</c:v>
                </c:pt>
                <c:pt idx="30434">
                  <c:v>104677</c:v>
                </c:pt>
                <c:pt idx="30435">
                  <c:v>74379</c:v>
                </c:pt>
                <c:pt idx="30436">
                  <c:v>188427</c:v>
                </c:pt>
                <c:pt idx="30437">
                  <c:v>33824</c:v>
                </c:pt>
                <c:pt idx="30438">
                  <c:v>72684</c:v>
                </c:pt>
                <c:pt idx="30439">
                  <c:v>24699</c:v>
                </c:pt>
                <c:pt idx="30440">
                  <c:v>39029</c:v>
                </c:pt>
                <c:pt idx="30441">
                  <c:v>96917</c:v>
                </c:pt>
                <c:pt idx="30442">
                  <c:v>49336</c:v>
                </c:pt>
                <c:pt idx="30443">
                  <c:v>38929</c:v>
                </c:pt>
                <c:pt idx="30444">
                  <c:v>30341</c:v>
                </c:pt>
                <c:pt idx="30445">
                  <c:v>37099</c:v>
                </c:pt>
                <c:pt idx="30446">
                  <c:v>90163</c:v>
                </c:pt>
                <c:pt idx="30447">
                  <c:v>24402</c:v>
                </c:pt>
                <c:pt idx="30448">
                  <c:v>44688</c:v>
                </c:pt>
                <c:pt idx="30449">
                  <c:v>31236</c:v>
                </c:pt>
                <c:pt idx="30450">
                  <c:v>117936</c:v>
                </c:pt>
                <c:pt idx="30451">
                  <c:v>24936</c:v>
                </c:pt>
                <c:pt idx="30452">
                  <c:v>19743</c:v>
                </c:pt>
                <c:pt idx="30453">
                  <c:v>33103</c:v>
                </c:pt>
                <c:pt idx="30454">
                  <c:v>42442</c:v>
                </c:pt>
                <c:pt idx="30455">
                  <c:v>268972</c:v>
                </c:pt>
                <c:pt idx="30456">
                  <c:v>30080</c:v>
                </c:pt>
                <c:pt idx="30457">
                  <c:v>32951</c:v>
                </c:pt>
                <c:pt idx="30458">
                  <c:v>52724</c:v>
                </c:pt>
                <c:pt idx="30459">
                  <c:v>95063</c:v>
                </c:pt>
                <c:pt idx="30460">
                  <c:v>26891</c:v>
                </c:pt>
                <c:pt idx="30461">
                  <c:v>36318</c:v>
                </c:pt>
                <c:pt idx="30462">
                  <c:v>64035</c:v>
                </c:pt>
                <c:pt idx="30463">
                  <c:v>36870</c:v>
                </c:pt>
                <c:pt idx="30464">
                  <c:v>41561</c:v>
                </c:pt>
                <c:pt idx="30465">
                  <c:v>32824</c:v>
                </c:pt>
                <c:pt idx="30466">
                  <c:v>29163</c:v>
                </c:pt>
                <c:pt idx="30467">
                  <c:v>42306</c:v>
                </c:pt>
                <c:pt idx="30468">
                  <c:v>39025</c:v>
                </c:pt>
                <c:pt idx="30469">
                  <c:v>51525</c:v>
                </c:pt>
                <c:pt idx="30470">
                  <c:v>39175</c:v>
                </c:pt>
                <c:pt idx="30471">
                  <c:v>43550</c:v>
                </c:pt>
                <c:pt idx="30472">
                  <c:v>90431</c:v>
                </c:pt>
                <c:pt idx="30473">
                  <c:v>136677</c:v>
                </c:pt>
                <c:pt idx="30474">
                  <c:v>32476</c:v>
                </c:pt>
                <c:pt idx="30475">
                  <c:v>50994</c:v>
                </c:pt>
                <c:pt idx="30476">
                  <c:v>55445</c:v>
                </c:pt>
                <c:pt idx="30477">
                  <c:v>33400</c:v>
                </c:pt>
                <c:pt idx="30478">
                  <c:v>119166</c:v>
                </c:pt>
                <c:pt idx="30479">
                  <c:v>27341</c:v>
                </c:pt>
                <c:pt idx="30480">
                  <c:v>102588</c:v>
                </c:pt>
                <c:pt idx="30481">
                  <c:v>50195</c:v>
                </c:pt>
                <c:pt idx="30482">
                  <c:v>28800</c:v>
                </c:pt>
                <c:pt idx="30483">
                  <c:v>35953</c:v>
                </c:pt>
                <c:pt idx="30484">
                  <c:v>33043</c:v>
                </c:pt>
                <c:pt idx="30485">
                  <c:v>42860</c:v>
                </c:pt>
                <c:pt idx="30486">
                  <c:v>31342</c:v>
                </c:pt>
                <c:pt idx="30487">
                  <c:v>30923</c:v>
                </c:pt>
                <c:pt idx="30488">
                  <c:v>41410</c:v>
                </c:pt>
                <c:pt idx="30489">
                  <c:v>25781</c:v>
                </c:pt>
                <c:pt idx="30490">
                  <c:v>40336</c:v>
                </c:pt>
                <c:pt idx="30491">
                  <c:v>61856</c:v>
                </c:pt>
                <c:pt idx="30492">
                  <c:v>24714</c:v>
                </c:pt>
                <c:pt idx="30493">
                  <c:v>22741</c:v>
                </c:pt>
                <c:pt idx="30494">
                  <c:v>25104</c:v>
                </c:pt>
                <c:pt idx="30495">
                  <c:v>37358</c:v>
                </c:pt>
                <c:pt idx="30496">
                  <c:v>35511</c:v>
                </c:pt>
                <c:pt idx="30497">
                  <c:v>42980</c:v>
                </c:pt>
                <c:pt idx="30498">
                  <c:v>51587</c:v>
                </c:pt>
                <c:pt idx="30499">
                  <c:v>57009</c:v>
                </c:pt>
                <c:pt idx="30500">
                  <c:v>33394</c:v>
                </c:pt>
                <c:pt idx="30501">
                  <c:v>40341</c:v>
                </c:pt>
                <c:pt idx="30502">
                  <c:v>45773</c:v>
                </c:pt>
                <c:pt idx="30503">
                  <c:v>85475</c:v>
                </c:pt>
                <c:pt idx="30504">
                  <c:v>104975</c:v>
                </c:pt>
                <c:pt idx="30505">
                  <c:v>53497</c:v>
                </c:pt>
                <c:pt idx="30506">
                  <c:v>69075</c:v>
                </c:pt>
                <c:pt idx="30507">
                  <c:v>42239</c:v>
                </c:pt>
                <c:pt idx="30508">
                  <c:v>33902</c:v>
                </c:pt>
                <c:pt idx="30509">
                  <c:v>23181</c:v>
                </c:pt>
                <c:pt idx="30510">
                  <c:v>34301</c:v>
                </c:pt>
                <c:pt idx="30511">
                  <c:v>58946</c:v>
                </c:pt>
                <c:pt idx="30512">
                  <c:v>40757</c:v>
                </c:pt>
                <c:pt idx="30513">
                  <c:v>44936</c:v>
                </c:pt>
                <c:pt idx="30514">
                  <c:v>35339</c:v>
                </c:pt>
                <c:pt idx="30515">
                  <c:v>44399</c:v>
                </c:pt>
                <c:pt idx="30516">
                  <c:v>39534</c:v>
                </c:pt>
                <c:pt idx="30517">
                  <c:v>91202</c:v>
                </c:pt>
                <c:pt idx="30518">
                  <c:v>32431</c:v>
                </c:pt>
                <c:pt idx="30519">
                  <c:v>39374</c:v>
                </c:pt>
                <c:pt idx="30520">
                  <c:v>59029</c:v>
                </c:pt>
                <c:pt idx="30521">
                  <c:v>84776</c:v>
                </c:pt>
                <c:pt idx="30522">
                  <c:v>36838</c:v>
                </c:pt>
                <c:pt idx="30523">
                  <c:v>45440</c:v>
                </c:pt>
                <c:pt idx="30524">
                  <c:v>60426</c:v>
                </c:pt>
                <c:pt idx="30525">
                  <c:v>66192</c:v>
                </c:pt>
                <c:pt idx="30526">
                  <c:v>24901</c:v>
                </c:pt>
                <c:pt idx="30527">
                  <c:v>26680</c:v>
                </c:pt>
                <c:pt idx="30528">
                  <c:v>23860</c:v>
                </c:pt>
                <c:pt idx="30529">
                  <c:v>21102</c:v>
                </c:pt>
                <c:pt idx="30530">
                  <c:v>43550</c:v>
                </c:pt>
                <c:pt idx="30531">
                  <c:v>27930</c:v>
                </c:pt>
                <c:pt idx="30532">
                  <c:v>30729</c:v>
                </c:pt>
                <c:pt idx="30533">
                  <c:v>53479</c:v>
                </c:pt>
                <c:pt idx="30534">
                  <c:v>22086</c:v>
                </c:pt>
                <c:pt idx="30535">
                  <c:v>49013</c:v>
                </c:pt>
                <c:pt idx="30536">
                  <c:v>51159</c:v>
                </c:pt>
                <c:pt idx="30537">
                  <c:v>109863</c:v>
                </c:pt>
                <c:pt idx="30538">
                  <c:v>25911</c:v>
                </c:pt>
                <c:pt idx="30539">
                  <c:v>34487</c:v>
                </c:pt>
                <c:pt idx="30540">
                  <c:v>61602</c:v>
                </c:pt>
                <c:pt idx="30541">
                  <c:v>36152</c:v>
                </c:pt>
                <c:pt idx="30542">
                  <c:v>53813</c:v>
                </c:pt>
                <c:pt idx="30543">
                  <c:v>53856</c:v>
                </c:pt>
                <c:pt idx="30544">
                  <c:v>29398</c:v>
                </c:pt>
                <c:pt idx="30545">
                  <c:v>121201</c:v>
                </c:pt>
                <c:pt idx="30546">
                  <c:v>25055</c:v>
                </c:pt>
                <c:pt idx="30547">
                  <c:v>50339</c:v>
                </c:pt>
                <c:pt idx="30548">
                  <c:v>44780</c:v>
                </c:pt>
                <c:pt idx="30549">
                  <c:v>42680</c:v>
                </c:pt>
                <c:pt idx="30550">
                  <c:v>53560</c:v>
                </c:pt>
                <c:pt idx="30551">
                  <c:v>51839</c:v>
                </c:pt>
                <c:pt idx="30552">
                  <c:v>35444</c:v>
                </c:pt>
                <c:pt idx="30553">
                  <c:v>31412</c:v>
                </c:pt>
                <c:pt idx="30554">
                  <c:v>25708</c:v>
                </c:pt>
                <c:pt idx="30555">
                  <c:v>37688</c:v>
                </c:pt>
                <c:pt idx="30556">
                  <c:v>22052</c:v>
                </c:pt>
                <c:pt idx="30557">
                  <c:v>22316</c:v>
                </c:pt>
                <c:pt idx="30558">
                  <c:v>41429</c:v>
                </c:pt>
                <c:pt idx="30559">
                  <c:v>55518</c:v>
                </c:pt>
                <c:pt idx="30560">
                  <c:v>139115</c:v>
                </c:pt>
                <c:pt idx="30561">
                  <c:v>39134</c:v>
                </c:pt>
                <c:pt idx="30562">
                  <c:v>119928</c:v>
                </c:pt>
                <c:pt idx="30563">
                  <c:v>25812</c:v>
                </c:pt>
                <c:pt idx="30564">
                  <c:v>25869</c:v>
                </c:pt>
                <c:pt idx="30565">
                  <c:v>33804</c:v>
                </c:pt>
                <c:pt idx="30566">
                  <c:v>45275</c:v>
                </c:pt>
                <c:pt idx="30567">
                  <c:v>74037</c:v>
                </c:pt>
                <c:pt idx="30568">
                  <c:v>54798</c:v>
                </c:pt>
                <c:pt idx="30569">
                  <c:v>33537</c:v>
                </c:pt>
                <c:pt idx="30570">
                  <c:v>40912</c:v>
                </c:pt>
                <c:pt idx="30571">
                  <c:v>35697</c:v>
                </c:pt>
                <c:pt idx="30572">
                  <c:v>57231</c:v>
                </c:pt>
                <c:pt idx="30573">
                  <c:v>26820</c:v>
                </c:pt>
                <c:pt idx="30574">
                  <c:v>42334</c:v>
                </c:pt>
                <c:pt idx="30575">
                  <c:v>97947</c:v>
                </c:pt>
                <c:pt idx="30576">
                  <c:v>39729</c:v>
                </c:pt>
                <c:pt idx="30577">
                  <c:v>47185</c:v>
                </c:pt>
                <c:pt idx="30578">
                  <c:v>30199</c:v>
                </c:pt>
                <c:pt idx="30579">
                  <c:v>41082</c:v>
                </c:pt>
                <c:pt idx="30580">
                  <c:v>100619</c:v>
                </c:pt>
                <c:pt idx="30581">
                  <c:v>42455</c:v>
                </c:pt>
                <c:pt idx="30582">
                  <c:v>33067</c:v>
                </c:pt>
                <c:pt idx="30583">
                  <c:v>64790</c:v>
                </c:pt>
                <c:pt idx="30584">
                  <c:v>30482</c:v>
                </c:pt>
                <c:pt idx="30585">
                  <c:v>41022</c:v>
                </c:pt>
                <c:pt idx="30586">
                  <c:v>39369</c:v>
                </c:pt>
                <c:pt idx="30587">
                  <c:v>29722</c:v>
                </c:pt>
                <c:pt idx="30588">
                  <c:v>88938</c:v>
                </c:pt>
                <c:pt idx="30589">
                  <c:v>47079</c:v>
                </c:pt>
                <c:pt idx="30590">
                  <c:v>38947</c:v>
                </c:pt>
                <c:pt idx="30591">
                  <c:v>34988</c:v>
                </c:pt>
                <c:pt idx="30592">
                  <c:v>187853</c:v>
                </c:pt>
                <c:pt idx="30593">
                  <c:v>39047</c:v>
                </c:pt>
                <c:pt idx="30594">
                  <c:v>46910</c:v>
                </c:pt>
                <c:pt idx="30595">
                  <c:v>32600</c:v>
                </c:pt>
                <c:pt idx="30596">
                  <c:v>42769</c:v>
                </c:pt>
                <c:pt idx="30597">
                  <c:v>133932</c:v>
                </c:pt>
                <c:pt idx="30598">
                  <c:v>31139</c:v>
                </c:pt>
                <c:pt idx="30599">
                  <c:v>30565</c:v>
                </c:pt>
                <c:pt idx="30600">
                  <c:v>33457</c:v>
                </c:pt>
                <c:pt idx="30601">
                  <c:v>81932</c:v>
                </c:pt>
                <c:pt idx="30602">
                  <c:v>25455</c:v>
                </c:pt>
                <c:pt idx="30603">
                  <c:v>92541</c:v>
                </c:pt>
                <c:pt idx="30604">
                  <c:v>49559</c:v>
                </c:pt>
                <c:pt idx="30605">
                  <c:v>25609</c:v>
                </c:pt>
                <c:pt idx="30606">
                  <c:v>22319</c:v>
                </c:pt>
                <c:pt idx="30607">
                  <c:v>75756</c:v>
                </c:pt>
                <c:pt idx="30608">
                  <c:v>31808</c:v>
                </c:pt>
                <c:pt idx="30609">
                  <c:v>121297</c:v>
                </c:pt>
                <c:pt idx="30610">
                  <c:v>26154</c:v>
                </c:pt>
                <c:pt idx="30611">
                  <c:v>61666</c:v>
                </c:pt>
                <c:pt idx="30612">
                  <c:v>43490</c:v>
                </c:pt>
                <c:pt idx="30613">
                  <c:v>29091</c:v>
                </c:pt>
                <c:pt idx="30614">
                  <c:v>25787</c:v>
                </c:pt>
                <c:pt idx="30615">
                  <c:v>44452</c:v>
                </c:pt>
                <c:pt idx="30616">
                  <c:v>34979</c:v>
                </c:pt>
                <c:pt idx="30617">
                  <c:v>21490</c:v>
                </c:pt>
                <c:pt idx="30618">
                  <c:v>115165</c:v>
                </c:pt>
                <c:pt idx="30619">
                  <c:v>37996</c:v>
                </c:pt>
                <c:pt idx="30620">
                  <c:v>62507</c:v>
                </c:pt>
                <c:pt idx="30621">
                  <c:v>28474</c:v>
                </c:pt>
                <c:pt idx="30622">
                  <c:v>36930</c:v>
                </c:pt>
                <c:pt idx="30623">
                  <c:v>79678</c:v>
                </c:pt>
                <c:pt idx="30624">
                  <c:v>26728</c:v>
                </c:pt>
                <c:pt idx="30625">
                  <c:v>39305</c:v>
                </c:pt>
                <c:pt idx="30626">
                  <c:v>21492</c:v>
                </c:pt>
                <c:pt idx="30627">
                  <c:v>52436</c:v>
                </c:pt>
                <c:pt idx="30628">
                  <c:v>39730</c:v>
                </c:pt>
                <c:pt idx="30629">
                  <c:v>56790</c:v>
                </c:pt>
                <c:pt idx="30630">
                  <c:v>96275</c:v>
                </c:pt>
                <c:pt idx="30631">
                  <c:v>86529</c:v>
                </c:pt>
                <c:pt idx="30632">
                  <c:v>39666</c:v>
                </c:pt>
                <c:pt idx="30633">
                  <c:v>56962</c:v>
                </c:pt>
                <c:pt idx="30634">
                  <c:v>37131</c:v>
                </c:pt>
                <c:pt idx="30635">
                  <c:v>41417</c:v>
                </c:pt>
                <c:pt idx="30636">
                  <c:v>91066</c:v>
                </c:pt>
                <c:pt idx="30637">
                  <c:v>45808</c:v>
                </c:pt>
                <c:pt idx="30638">
                  <c:v>78061</c:v>
                </c:pt>
                <c:pt idx="30639">
                  <c:v>226073</c:v>
                </c:pt>
                <c:pt idx="30640">
                  <c:v>46673</c:v>
                </c:pt>
                <c:pt idx="30641">
                  <c:v>35482</c:v>
                </c:pt>
                <c:pt idx="30642">
                  <c:v>32070</c:v>
                </c:pt>
                <c:pt idx="30643">
                  <c:v>36622</c:v>
                </c:pt>
                <c:pt idx="30644">
                  <c:v>73938</c:v>
                </c:pt>
                <c:pt idx="30645">
                  <c:v>31360</c:v>
                </c:pt>
                <c:pt idx="30646">
                  <c:v>41147</c:v>
                </c:pt>
                <c:pt idx="30647">
                  <c:v>23291</c:v>
                </c:pt>
                <c:pt idx="30648">
                  <c:v>112982</c:v>
                </c:pt>
                <c:pt idx="30649">
                  <c:v>21796</c:v>
                </c:pt>
                <c:pt idx="30650">
                  <c:v>92157</c:v>
                </c:pt>
                <c:pt idx="30651">
                  <c:v>38991</c:v>
                </c:pt>
                <c:pt idx="30652">
                  <c:v>174836</c:v>
                </c:pt>
                <c:pt idx="30653">
                  <c:v>115648</c:v>
                </c:pt>
                <c:pt idx="30654">
                  <c:v>48439</c:v>
                </c:pt>
                <c:pt idx="30655">
                  <c:v>115925</c:v>
                </c:pt>
                <c:pt idx="30656">
                  <c:v>39431</c:v>
                </c:pt>
                <c:pt idx="30657">
                  <c:v>45076</c:v>
                </c:pt>
                <c:pt idx="30658">
                  <c:v>51723</c:v>
                </c:pt>
                <c:pt idx="30659">
                  <c:v>24201</c:v>
                </c:pt>
                <c:pt idx="30660">
                  <c:v>58359</c:v>
                </c:pt>
                <c:pt idx="30661">
                  <c:v>223924</c:v>
                </c:pt>
                <c:pt idx="30662">
                  <c:v>62975</c:v>
                </c:pt>
                <c:pt idx="30663">
                  <c:v>57694</c:v>
                </c:pt>
                <c:pt idx="30664">
                  <c:v>61608</c:v>
                </c:pt>
                <c:pt idx="30665">
                  <c:v>49734</c:v>
                </c:pt>
                <c:pt idx="30666">
                  <c:v>28704</c:v>
                </c:pt>
                <c:pt idx="30667">
                  <c:v>26383</c:v>
                </c:pt>
                <c:pt idx="30668">
                  <c:v>32957</c:v>
                </c:pt>
                <c:pt idx="30669">
                  <c:v>49101</c:v>
                </c:pt>
                <c:pt idx="30670">
                  <c:v>42930</c:v>
                </c:pt>
                <c:pt idx="30671">
                  <c:v>66671</c:v>
                </c:pt>
                <c:pt idx="30672">
                  <c:v>30188</c:v>
                </c:pt>
                <c:pt idx="30673">
                  <c:v>27942</c:v>
                </c:pt>
                <c:pt idx="30674">
                  <c:v>34584</c:v>
                </c:pt>
                <c:pt idx="30675">
                  <c:v>44591</c:v>
                </c:pt>
                <c:pt idx="30676">
                  <c:v>30643</c:v>
                </c:pt>
                <c:pt idx="30677">
                  <c:v>37804</c:v>
                </c:pt>
                <c:pt idx="30678">
                  <c:v>194123</c:v>
                </c:pt>
                <c:pt idx="30679">
                  <c:v>39902</c:v>
                </c:pt>
                <c:pt idx="30680">
                  <c:v>18501</c:v>
                </c:pt>
                <c:pt idx="30681">
                  <c:v>23938</c:v>
                </c:pt>
                <c:pt idx="30682">
                  <c:v>35525</c:v>
                </c:pt>
                <c:pt idx="30683">
                  <c:v>26949</c:v>
                </c:pt>
                <c:pt idx="30684">
                  <c:v>72236</c:v>
                </c:pt>
                <c:pt idx="30685">
                  <c:v>25171</c:v>
                </c:pt>
                <c:pt idx="30686">
                  <c:v>147985</c:v>
                </c:pt>
                <c:pt idx="30687">
                  <c:v>45043</c:v>
                </c:pt>
                <c:pt idx="30688">
                  <c:v>52718</c:v>
                </c:pt>
                <c:pt idx="30689">
                  <c:v>80607</c:v>
                </c:pt>
                <c:pt idx="30690">
                  <c:v>102679</c:v>
                </c:pt>
                <c:pt idx="30691">
                  <c:v>41786</c:v>
                </c:pt>
                <c:pt idx="30692">
                  <c:v>48695</c:v>
                </c:pt>
                <c:pt idx="30693">
                  <c:v>88669</c:v>
                </c:pt>
                <c:pt idx="30694">
                  <c:v>29844</c:v>
                </c:pt>
                <c:pt idx="30695">
                  <c:v>19194</c:v>
                </c:pt>
                <c:pt idx="30696">
                  <c:v>32750</c:v>
                </c:pt>
                <c:pt idx="30697">
                  <c:v>33773</c:v>
                </c:pt>
                <c:pt idx="30698">
                  <c:v>30710</c:v>
                </c:pt>
                <c:pt idx="30699">
                  <c:v>147994</c:v>
                </c:pt>
                <c:pt idx="30700">
                  <c:v>56359</c:v>
                </c:pt>
                <c:pt idx="30701">
                  <c:v>71707</c:v>
                </c:pt>
                <c:pt idx="30702">
                  <c:v>29136</c:v>
                </c:pt>
                <c:pt idx="30703">
                  <c:v>44506</c:v>
                </c:pt>
                <c:pt idx="30704">
                  <c:v>44918</c:v>
                </c:pt>
                <c:pt idx="30705">
                  <c:v>40782</c:v>
                </c:pt>
                <c:pt idx="30706">
                  <c:v>80217</c:v>
                </c:pt>
                <c:pt idx="30707">
                  <c:v>44405</c:v>
                </c:pt>
                <c:pt idx="30708">
                  <c:v>113674</c:v>
                </c:pt>
                <c:pt idx="30709">
                  <c:v>24287</c:v>
                </c:pt>
                <c:pt idx="30710">
                  <c:v>81764</c:v>
                </c:pt>
                <c:pt idx="30711">
                  <c:v>49437</c:v>
                </c:pt>
                <c:pt idx="30712">
                  <c:v>206525</c:v>
                </c:pt>
                <c:pt idx="30713">
                  <c:v>35799</c:v>
                </c:pt>
                <c:pt idx="30714">
                  <c:v>104886</c:v>
                </c:pt>
                <c:pt idx="30715">
                  <c:v>40044</c:v>
                </c:pt>
                <c:pt idx="30716">
                  <c:v>25654</c:v>
                </c:pt>
                <c:pt idx="30717">
                  <c:v>65929</c:v>
                </c:pt>
                <c:pt idx="30718">
                  <c:v>24010</c:v>
                </c:pt>
                <c:pt idx="30719">
                  <c:v>81458</c:v>
                </c:pt>
                <c:pt idx="30720">
                  <c:v>37486</c:v>
                </c:pt>
                <c:pt idx="30721">
                  <c:v>27039</c:v>
                </c:pt>
                <c:pt idx="30722">
                  <c:v>80960</c:v>
                </c:pt>
                <c:pt idx="30723">
                  <c:v>33479</c:v>
                </c:pt>
                <c:pt idx="30724">
                  <c:v>45562</c:v>
                </c:pt>
                <c:pt idx="30725">
                  <c:v>58576</c:v>
                </c:pt>
                <c:pt idx="30726">
                  <c:v>26419</c:v>
                </c:pt>
                <c:pt idx="30727">
                  <c:v>28685</c:v>
                </c:pt>
                <c:pt idx="30728">
                  <c:v>79199</c:v>
                </c:pt>
                <c:pt idx="30729">
                  <c:v>316209</c:v>
                </c:pt>
                <c:pt idx="30730">
                  <c:v>22216</c:v>
                </c:pt>
                <c:pt idx="30731">
                  <c:v>60147</c:v>
                </c:pt>
                <c:pt idx="30732">
                  <c:v>59499</c:v>
                </c:pt>
                <c:pt idx="30733">
                  <c:v>39535</c:v>
                </c:pt>
                <c:pt idx="30734">
                  <c:v>30464</c:v>
                </c:pt>
                <c:pt idx="30735">
                  <c:v>27429</c:v>
                </c:pt>
                <c:pt idx="30736">
                  <c:v>31813</c:v>
                </c:pt>
                <c:pt idx="30737">
                  <c:v>89260</c:v>
                </c:pt>
                <c:pt idx="30738">
                  <c:v>38640</c:v>
                </c:pt>
                <c:pt idx="30739">
                  <c:v>34878</c:v>
                </c:pt>
                <c:pt idx="30740">
                  <c:v>24886</c:v>
                </c:pt>
                <c:pt idx="30741">
                  <c:v>23677</c:v>
                </c:pt>
                <c:pt idx="30742">
                  <c:v>72969</c:v>
                </c:pt>
                <c:pt idx="30743">
                  <c:v>65406</c:v>
                </c:pt>
                <c:pt idx="30744">
                  <c:v>22113</c:v>
                </c:pt>
                <c:pt idx="30745">
                  <c:v>29658</c:v>
                </c:pt>
                <c:pt idx="30746">
                  <c:v>32432</c:v>
                </c:pt>
                <c:pt idx="30747">
                  <c:v>45947</c:v>
                </c:pt>
                <c:pt idx="30748">
                  <c:v>56069</c:v>
                </c:pt>
                <c:pt idx="30749">
                  <c:v>27129</c:v>
                </c:pt>
                <c:pt idx="30750">
                  <c:v>49861</c:v>
                </c:pt>
                <c:pt idx="30751">
                  <c:v>27237</c:v>
                </c:pt>
                <c:pt idx="30752">
                  <c:v>31752</c:v>
                </c:pt>
                <c:pt idx="30753">
                  <c:v>199315</c:v>
                </c:pt>
                <c:pt idx="30754">
                  <c:v>43954</c:v>
                </c:pt>
                <c:pt idx="30755">
                  <c:v>29195</c:v>
                </c:pt>
                <c:pt idx="30756">
                  <c:v>41054</c:v>
                </c:pt>
                <c:pt idx="30757">
                  <c:v>79797</c:v>
                </c:pt>
                <c:pt idx="30758">
                  <c:v>32075</c:v>
                </c:pt>
                <c:pt idx="30759">
                  <c:v>44915</c:v>
                </c:pt>
                <c:pt idx="30760">
                  <c:v>88058</c:v>
                </c:pt>
                <c:pt idx="30761">
                  <c:v>58940</c:v>
                </c:pt>
                <c:pt idx="30762">
                  <c:v>104335</c:v>
                </c:pt>
                <c:pt idx="30763">
                  <c:v>64484</c:v>
                </c:pt>
                <c:pt idx="30764">
                  <c:v>73063</c:v>
                </c:pt>
                <c:pt idx="30765">
                  <c:v>28398</c:v>
                </c:pt>
                <c:pt idx="30766">
                  <c:v>27263</c:v>
                </c:pt>
                <c:pt idx="30767">
                  <c:v>40158</c:v>
                </c:pt>
                <c:pt idx="30768">
                  <c:v>34808</c:v>
                </c:pt>
                <c:pt idx="30769">
                  <c:v>38616</c:v>
                </c:pt>
                <c:pt idx="30770">
                  <c:v>31575</c:v>
                </c:pt>
                <c:pt idx="30771">
                  <c:v>55411</c:v>
                </c:pt>
                <c:pt idx="30772">
                  <c:v>72278</c:v>
                </c:pt>
                <c:pt idx="30773">
                  <c:v>51154</c:v>
                </c:pt>
                <c:pt idx="30774">
                  <c:v>26073</c:v>
                </c:pt>
                <c:pt idx="30775">
                  <c:v>26809</c:v>
                </c:pt>
                <c:pt idx="30776">
                  <c:v>32742</c:v>
                </c:pt>
                <c:pt idx="30777">
                  <c:v>27228</c:v>
                </c:pt>
                <c:pt idx="30778">
                  <c:v>122820</c:v>
                </c:pt>
                <c:pt idx="30779">
                  <c:v>47191</c:v>
                </c:pt>
                <c:pt idx="30780">
                  <c:v>29525</c:v>
                </c:pt>
                <c:pt idx="30781">
                  <c:v>80562</c:v>
                </c:pt>
                <c:pt idx="30782">
                  <c:v>62971</c:v>
                </c:pt>
                <c:pt idx="30783">
                  <c:v>47837</c:v>
                </c:pt>
                <c:pt idx="30784">
                  <c:v>28770</c:v>
                </c:pt>
                <c:pt idx="30785">
                  <c:v>15000</c:v>
                </c:pt>
                <c:pt idx="30786">
                  <c:v>28015</c:v>
                </c:pt>
                <c:pt idx="30787">
                  <c:v>35466</c:v>
                </c:pt>
                <c:pt idx="30788">
                  <c:v>59025</c:v>
                </c:pt>
                <c:pt idx="30789">
                  <c:v>45685</c:v>
                </c:pt>
                <c:pt idx="30790">
                  <c:v>27202</c:v>
                </c:pt>
                <c:pt idx="30791">
                  <c:v>36084</c:v>
                </c:pt>
                <c:pt idx="30792">
                  <c:v>43339</c:v>
                </c:pt>
                <c:pt idx="30793">
                  <c:v>36867</c:v>
                </c:pt>
                <c:pt idx="30794">
                  <c:v>40877</c:v>
                </c:pt>
                <c:pt idx="30795">
                  <c:v>33000</c:v>
                </c:pt>
                <c:pt idx="30796">
                  <c:v>47706</c:v>
                </c:pt>
                <c:pt idx="30797">
                  <c:v>43982</c:v>
                </c:pt>
                <c:pt idx="30798">
                  <c:v>23564</c:v>
                </c:pt>
                <c:pt idx="30799">
                  <c:v>72468</c:v>
                </c:pt>
                <c:pt idx="30800">
                  <c:v>166773</c:v>
                </c:pt>
                <c:pt idx="30801">
                  <c:v>40586</c:v>
                </c:pt>
                <c:pt idx="30802">
                  <c:v>59936</c:v>
                </c:pt>
                <c:pt idx="30803">
                  <c:v>83416</c:v>
                </c:pt>
                <c:pt idx="30804">
                  <c:v>126703</c:v>
                </c:pt>
                <c:pt idx="30805">
                  <c:v>40933</c:v>
                </c:pt>
                <c:pt idx="30806">
                  <c:v>32775</c:v>
                </c:pt>
                <c:pt idx="30807">
                  <c:v>44357</c:v>
                </c:pt>
                <c:pt idx="30808">
                  <c:v>42615</c:v>
                </c:pt>
                <c:pt idx="30809">
                  <c:v>26872</c:v>
                </c:pt>
                <c:pt idx="30810">
                  <c:v>39717</c:v>
                </c:pt>
                <c:pt idx="30811">
                  <c:v>37565</c:v>
                </c:pt>
                <c:pt idx="30812">
                  <c:v>41884</c:v>
                </c:pt>
                <c:pt idx="30813">
                  <c:v>49736</c:v>
                </c:pt>
                <c:pt idx="30814">
                  <c:v>40807</c:v>
                </c:pt>
                <c:pt idx="30815">
                  <c:v>27589</c:v>
                </c:pt>
                <c:pt idx="30816">
                  <c:v>27352</c:v>
                </c:pt>
                <c:pt idx="30817">
                  <c:v>57288</c:v>
                </c:pt>
                <c:pt idx="30818">
                  <c:v>157184</c:v>
                </c:pt>
                <c:pt idx="30819">
                  <c:v>84229</c:v>
                </c:pt>
                <c:pt idx="30820">
                  <c:v>169977</c:v>
                </c:pt>
                <c:pt idx="30821">
                  <c:v>440444</c:v>
                </c:pt>
                <c:pt idx="30822">
                  <c:v>46808</c:v>
                </c:pt>
                <c:pt idx="30823">
                  <c:v>79520</c:v>
                </c:pt>
                <c:pt idx="30824">
                  <c:v>32951</c:v>
                </c:pt>
                <c:pt idx="30825">
                  <c:v>27931</c:v>
                </c:pt>
                <c:pt idx="30826">
                  <c:v>75704</c:v>
                </c:pt>
                <c:pt idx="30827">
                  <c:v>30675</c:v>
                </c:pt>
                <c:pt idx="30828">
                  <c:v>36362</c:v>
                </c:pt>
                <c:pt idx="30829">
                  <c:v>105832</c:v>
                </c:pt>
                <c:pt idx="30830">
                  <c:v>36948</c:v>
                </c:pt>
                <c:pt idx="30831">
                  <c:v>45244</c:v>
                </c:pt>
                <c:pt idx="30832">
                  <c:v>51544</c:v>
                </c:pt>
                <c:pt idx="30833">
                  <c:v>40020</c:v>
                </c:pt>
                <c:pt idx="30834">
                  <c:v>92972</c:v>
                </c:pt>
                <c:pt idx="30835">
                  <c:v>25235</c:v>
                </c:pt>
                <c:pt idx="30836">
                  <c:v>56687</c:v>
                </c:pt>
                <c:pt idx="30837">
                  <c:v>43633</c:v>
                </c:pt>
                <c:pt idx="30838">
                  <c:v>63520</c:v>
                </c:pt>
                <c:pt idx="30839">
                  <c:v>53010</c:v>
                </c:pt>
                <c:pt idx="30840">
                  <c:v>185019</c:v>
                </c:pt>
                <c:pt idx="30841">
                  <c:v>27075</c:v>
                </c:pt>
                <c:pt idx="30842">
                  <c:v>46769</c:v>
                </c:pt>
                <c:pt idx="30843">
                  <c:v>47945</c:v>
                </c:pt>
                <c:pt idx="30844">
                  <c:v>41319</c:v>
                </c:pt>
                <c:pt idx="30845">
                  <c:v>77564</c:v>
                </c:pt>
                <c:pt idx="30846">
                  <c:v>36711</c:v>
                </c:pt>
                <c:pt idx="30847">
                  <c:v>90732</c:v>
                </c:pt>
                <c:pt idx="30848">
                  <c:v>173558</c:v>
                </c:pt>
                <c:pt idx="30849">
                  <c:v>96145</c:v>
                </c:pt>
                <c:pt idx="30850">
                  <c:v>55519</c:v>
                </c:pt>
                <c:pt idx="30851">
                  <c:v>245006</c:v>
                </c:pt>
                <c:pt idx="30852">
                  <c:v>31297</c:v>
                </c:pt>
                <c:pt idx="30853">
                  <c:v>32513</c:v>
                </c:pt>
                <c:pt idx="30854">
                  <c:v>45099</c:v>
                </c:pt>
                <c:pt idx="30855">
                  <c:v>112545</c:v>
                </c:pt>
                <c:pt idx="30856">
                  <c:v>44565</c:v>
                </c:pt>
                <c:pt idx="30857">
                  <c:v>26797</c:v>
                </c:pt>
                <c:pt idx="30858">
                  <c:v>27273</c:v>
                </c:pt>
                <c:pt idx="30859">
                  <c:v>78440</c:v>
                </c:pt>
                <c:pt idx="30860">
                  <c:v>29485</c:v>
                </c:pt>
                <c:pt idx="30861">
                  <c:v>78656</c:v>
                </c:pt>
                <c:pt idx="30862">
                  <c:v>58143</c:v>
                </c:pt>
                <c:pt idx="30863">
                  <c:v>44141</c:v>
                </c:pt>
                <c:pt idx="30864">
                  <c:v>101558</c:v>
                </c:pt>
                <c:pt idx="30865">
                  <c:v>25541</c:v>
                </c:pt>
                <c:pt idx="30866">
                  <c:v>172518</c:v>
                </c:pt>
                <c:pt idx="30867">
                  <c:v>45576</c:v>
                </c:pt>
                <c:pt idx="30868">
                  <c:v>103669</c:v>
                </c:pt>
                <c:pt idx="30869">
                  <c:v>62472</c:v>
                </c:pt>
                <c:pt idx="30870">
                  <c:v>26206</c:v>
                </c:pt>
                <c:pt idx="30871">
                  <c:v>40655</c:v>
                </c:pt>
                <c:pt idx="30872">
                  <c:v>37685</c:v>
                </c:pt>
                <c:pt idx="30873">
                  <c:v>26798</c:v>
                </c:pt>
                <c:pt idx="30874">
                  <c:v>140239</c:v>
                </c:pt>
                <c:pt idx="30875">
                  <c:v>33194</c:v>
                </c:pt>
                <c:pt idx="30876">
                  <c:v>169256</c:v>
                </c:pt>
                <c:pt idx="30877">
                  <c:v>24514</c:v>
                </c:pt>
                <c:pt idx="30878">
                  <c:v>46439</c:v>
                </c:pt>
                <c:pt idx="30879">
                  <c:v>168210</c:v>
                </c:pt>
                <c:pt idx="30880">
                  <c:v>72986</c:v>
                </c:pt>
                <c:pt idx="30881">
                  <c:v>57149</c:v>
                </c:pt>
                <c:pt idx="30882">
                  <c:v>46626</c:v>
                </c:pt>
                <c:pt idx="30883">
                  <c:v>54850</c:v>
                </c:pt>
                <c:pt idx="30884">
                  <c:v>173130</c:v>
                </c:pt>
                <c:pt idx="30885">
                  <c:v>198802</c:v>
                </c:pt>
                <c:pt idx="30886">
                  <c:v>87478</c:v>
                </c:pt>
                <c:pt idx="30887">
                  <c:v>72460</c:v>
                </c:pt>
                <c:pt idx="30888">
                  <c:v>31078</c:v>
                </c:pt>
                <c:pt idx="30889">
                  <c:v>59593</c:v>
                </c:pt>
                <c:pt idx="30890">
                  <c:v>47005</c:v>
                </c:pt>
                <c:pt idx="30891">
                  <c:v>47196</c:v>
                </c:pt>
                <c:pt idx="30892">
                  <c:v>36668</c:v>
                </c:pt>
                <c:pt idx="30893">
                  <c:v>37924</c:v>
                </c:pt>
                <c:pt idx="30894">
                  <c:v>27698</c:v>
                </c:pt>
                <c:pt idx="30895">
                  <c:v>82634</c:v>
                </c:pt>
                <c:pt idx="30896">
                  <c:v>41441</c:v>
                </c:pt>
                <c:pt idx="30897">
                  <c:v>64470</c:v>
                </c:pt>
                <c:pt idx="30898">
                  <c:v>40306</c:v>
                </c:pt>
                <c:pt idx="30899">
                  <c:v>51350</c:v>
                </c:pt>
                <c:pt idx="30900">
                  <c:v>35110</c:v>
                </c:pt>
                <c:pt idx="30901">
                  <c:v>54504</c:v>
                </c:pt>
                <c:pt idx="30902">
                  <c:v>26872</c:v>
                </c:pt>
                <c:pt idx="30903">
                  <c:v>23929</c:v>
                </c:pt>
                <c:pt idx="30904">
                  <c:v>77169</c:v>
                </c:pt>
                <c:pt idx="30905">
                  <c:v>36001</c:v>
                </c:pt>
                <c:pt idx="30906">
                  <c:v>33973</c:v>
                </c:pt>
                <c:pt idx="30907">
                  <c:v>223808</c:v>
                </c:pt>
                <c:pt idx="30908">
                  <c:v>34372</c:v>
                </c:pt>
                <c:pt idx="30909">
                  <c:v>38926</c:v>
                </c:pt>
                <c:pt idx="30910">
                  <c:v>94293</c:v>
                </c:pt>
                <c:pt idx="30911">
                  <c:v>50499</c:v>
                </c:pt>
                <c:pt idx="30912">
                  <c:v>23914</c:v>
                </c:pt>
                <c:pt idx="30913">
                  <c:v>169420</c:v>
                </c:pt>
                <c:pt idx="30914">
                  <c:v>26278</c:v>
                </c:pt>
                <c:pt idx="30915">
                  <c:v>87868</c:v>
                </c:pt>
                <c:pt idx="30916">
                  <c:v>48624</c:v>
                </c:pt>
                <c:pt idx="30917">
                  <c:v>129044</c:v>
                </c:pt>
                <c:pt idx="30918">
                  <c:v>27928</c:v>
                </c:pt>
                <c:pt idx="30919">
                  <c:v>45396</c:v>
                </c:pt>
                <c:pt idx="30920">
                  <c:v>39155</c:v>
                </c:pt>
                <c:pt idx="30921">
                  <c:v>21043</c:v>
                </c:pt>
                <c:pt idx="30922">
                  <c:v>34995</c:v>
                </c:pt>
                <c:pt idx="30923">
                  <c:v>131926</c:v>
                </c:pt>
                <c:pt idx="30924">
                  <c:v>24280</c:v>
                </c:pt>
                <c:pt idx="30925">
                  <c:v>34614</c:v>
                </c:pt>
                <c:pt idx="30926">
                  <c:v>33025</c:v>
                </c:pt>
                <c:pt idx="30927">
                  <c:v>83859</c:v>
                </c:pt>
                <c:pt idx="30928">
                  <c:v>58549</c:v>
                </c:pt>
                <c:pt idx="30929">
                  <c:v>44810</c:v>
                </c:pt>
                <c:pt idx="30930">
                  <c:v>72811</c:v>
                </c:pt>
                <c:pt idx="30931">
                  <c:v>80203</c:v>
                </c:pt>
                <c:pt idx="30932">
                  <c:v>215275</c:v>
                </c:pt>
                <c:pt idx="30933">
                  <c:v>47197</c:v>
                </c:pt>
                <c:pt idx="30934">
                  <c:v>25233</c:v>
                </c:pt>
                <c:pt idx="30935">
                  <c:v>69314</c:v>
                </c:pt>
                <c:pt idx="30936">
                  <c:v>33106</c:v>
                </c:pt>
                <c:pt idx="30937">
                  <c:v>59265</c:v>
                </c:pt>
                <c:pt idx="30938">
                  <c:v>30584</c:v>
                </c:pt>
                <c:pt idx="30939">
                  <c:v>132184</c:v>
                </c:pt>
                <c:pt idx="30940">
                  <c:v>39809</c:v>
                </c:pt>
                <c:pt idx="30941">
                  <c:v>33924</c:v>
                </c:pt>
                <c:pt idx="30942">
                  <c:v>23208</c:v>
                </c:pt>
                <c:pt idx="30943">
                  <c:v>39324</c:v>
                </c:pt>
                <c:pt idx="30944">
                  <c:v>75109</c:v>
                </c:pt>
                <c:pt idx="30945">
                  <c:v>220533</c:v>
                </c:pt>
                <c:pt idx="30946">
                  <c:v>38042</c:v>
                </c:pt>
                <c:pt idx="30947">
                  <c:v>41992</c:v>
                </c:pt>
                <c:pt idx="30948">
                  <c:v>66968</c:v>
                </c:pt>
                <c:pt idx="30949">
                  <c:v>106880</c:v>
                </c:pt>
                <c:pt idx="30950">
                  <c:v>78082</c:v>
                </c:pt>
                <c:pt idx="30951">
                  <c:v>42622</c:v>
                </c:pt>
                <c:pt idx="30952">
                  <c:v>37682</c:v>
                </c:pt>
                <c:pt idx="30953">
                  <c:v>39964</c:v>
                </c:pt>
                <c:pt idx="30954">
                  <c:v>42440</c:v>
                </c:pt>
                <c:pt idx="30955">
                  <c:v>58621</c:v>
                </c:pt>
                <c:pt idx="30956">
                  <c:v>37996</c:v>
                </c:pt>
                <c:pt idx="30957">
                  <c:v>45945</c:v>
                </c:pt>
                <c:pt idx="30958">
                  <c:v>36170</c:v>
                </c:pt>
                <c:pt idx="30959">
                  <c:v>44975</c:v>
                </c:pt>
                <c:pt idx="30960">
                  <c:v>24315</c:v>
                </c:pt>
                <c:pt idx="30961">
                  <c:v>33566</c:v>
                </c:pt>
                <c:pt idx="30962">
                  <c:v>44033</c:v>
                </c:pt>
                <c:pt idx="30963">
                  <c:v>124302</c:v>
                </c:pt>
                <c:pt idx="30964">
                  <c:v>35384</c:v>
                </c:pt>
                <c:pt idx="30965">
                  <c:v>65820</c:v>
                </c:pt>
                <c:pt idx="30966">
                  <c:v>55634</c:v>
                </c:pt>
                <c:pt idx="30967">
                  <c:v>38943</c:v>
                </c:pt>
                <c:pt idx="30968">
                  <c:v>43986</c:v>
                </c:pt>
                <c:pt idx="30969">
                  <c:v>25775</c:v>
                </c:pt>
                <c:pt idx="30970">
                  <c:v>58859</c:v>
                </c:pt>
                <c:pt idx="30971">
                  <c:v>28710</c:v>
                </c:pt>
                <c:pt idx="30972">
                  <c:v>51238</c:v>
                </c:pt>
                <c:pt idx="30973">
                  <c:v>22534</c:v>
                </c:pt>
                <c:pt idx="30974">
                  <c:v>38689</c:v>
                </c:pt>
                <c:pt idx="30975">
                  <c:v>28788</c:v>
                </c:pt>
                <c:pt idx="30976">
                  <c:v>61283</c:v>
                </c:pt>
                <c:pt idx="30977">
                  <c:v>54233</c:v>
                </c:pt>
                <c:pt idx="30978">
                  <c:v>38465</c:v>
                </c:pt>
                <c:pt idx="30979">
                  <c:v>40057</c:v>
                </c:pt>
                <c:pt idx="30980">
                  <c:v>58489</c:v>
                </c:pt>
                <c:pt idx="30981">
                  <c:v>31795</c:v>
                </c:pt>
                <c:pt idx="30982">
                  <c:v>97134</c:v>
                </c:pt>
                <c:pt idx="30983">
                  <c:v>34031</c:v>
                </c:pt>
                <c:pt idx="30984">
                  <c:v>23155</c:v>
                </c:pt>
                <c:pt idx="30985">
                  <c:v>119306</c:v>
                </c:pt>
                <c:pt idx="30986">
                  <c:v>29814</c:v>
                </c:pt>
                <c:pt idx="30987">
                  <c:v>60302</c:v>
                </c:pt>
                <c:pt idx="30988">
                  <c:v>24012</c:v>
                </c:pt>
                <c:pt idx="30989">
                  <c:v>46200</c:v>
                </c:pt>
                <c:pt idx="30990">
                  <c:v>34684</c:v>
                </c:pt>
                <c:pt idx="30991">
                  <c:v>102313</c:v>
                </c:pt>
                <c:pt idx="30992">
                  <c:v>53933</c:v>
                </c:pt>
                <c:pt idx="30993">
                  <c:v>73603</c:v>
                </c:pt>
                <c:pt idx="30994">
                  <c:v>28761</c:v>
                </c:pt>
                <c:pt idx="30995">
                  <c:v>30789</c:v>
                </c:pt>
                <c:pt idx="30996">
                  <c:v>56305</c:v>
                </c:pt>
                <c:pt idx="30997">
                  <c:v>35479</c:v>
                </c:pt>
                <c:pt idx="30998">
                  <c:v>58105</c:v>
                </c:pt>
                <c:pt idx="30999">
                  <c:v>25346</c:v>
                </c:pt>
                <c:pt idx="31000">
                  <c:v>26580</c:v>
                </c:pt>
                <c:pt idx="31001">
                  <c:v>79211</c:v>
                </c:pt>
                <c:pt idx="31002">
                  <c:v>58364</c:v>
                </c:pt>
                <c:pt idx="31003">
                  <c:v>37849</c:v>
                </c:pt>
                <c:pt idx="31004">
                  <c:v>26923</c:v>
                </c:pt>
                <c:pt idx="31005">
                  <c:v>43093</c:v>
                </c:pt>
                <c:pt idx="31006">
                  <c:v>75946</c:v>
                </c:pt>
                <c:pt idx="31007">
                  <c:v>35992</c:v>
                </c:pt>
                <c:pt idx="31008">
                  <c:v>36599</c:v>
                </c:pt>
                <c:pt idx="31009">
                  <c:v>34442</c:v>
                </c:pt>
                <c:pt idx="31010">
                  <c:v>30390</c:v>
                </c:pt>
                <c:pt idx="31011">
                  <c:v>59428</c:v>
                </c:pt>
                <c:pt idx="31012">
                  <c:v>30932</c:v>
                </c:pt>
                <c:pt idx="31013">
                  <c:v>79320</c:v>
                </c:pt>
                <c:pt idx="31014">
                  <c:v>133215</c:v>
                </c:pt>
                <c:pt idx="31015">
                  <c:v>43883</c:v>
                </c:pt>
                <c:pt idx="31016">
                  <c:v>31772</c:v>
                </c:pt>
                <c:pt idx="31017">
                  <c:v>42503</c:v>
                </c:pt>
                <c:pt idx="31018">
                  <c:v>28137</c:v>
                </c:pt>
                <c:pt idx="31019">
                  <c:v>45322</c:v>
                </c:pt>
                <c:pt idx="31020">
                  <c:v>36916</c:v>
                </c:pt>
                <c:pt idx="31021">
                  <c:v>45771</c:v>
                </c:pt>
                <c:pt idx="31022">
                  <c:v>55162</c:v>
                </c:pt>
                <c:pt idx="31023">
                  <c:v>22993</c:v>
                </c:pt>
                <c:pt idx="31024">
                  <c:v>52583</c:v>
                </c:pt>
                <c:pt idx="31025">
                  <c:v>39960</c:v>
                </c:pt>
                <c:pt idx="31026">
                  <c:v>26024</c:v>
                </c:pt>
                <c:pt idx="31027">
                  <c:v>132026</c:v>
                </c:pt>
                <c:pt idx="31028">
                  <c:v>35475</c:v>
                </c:pt>
                <c:pt idx="31029">
                  <c:v>39247</c:v>
                </c:pt>
                <c:pt idx="31030">
                  <c:v>22792</c:v>
                </c:pt>
                <c:pt idx="31031">
                  <c:v>32652</c:v>
                </c:pt>
                <c:pt idx="31032">
                  <c:v>49002</c:v>
                </c:pt>
                <c:pt idx="31033">
                  <c:v>39624</c:v>
                </c:pt>
                <c:pt idx="31034">
                  <c:v>46060</c:v>
                </c:pt>
                <c:pt idx="31035">
                  <c:v>94429</c:v>
                </c:pt>
                <c:pt idx="31036">
                  <c:v>26441</c:v>
                </c:pt>
                <c:pt idx="31037">
                  <c:v>26967</c:v>
                </c:pt>
                <c:pt idx="31038">
                  <c:v>63640</c:v>
                </c:pt>
                <c:pt idx="31039">
                  <c:v>119094</c:v>
                </c:pt>
                <c:pt idx="31040">
                  <c:v>27470</c:v>
                </c:pt>
                <c:pt idx="31041">
                  <c:v>35790</c:v>
                </c:pt>
                <c:pt idx="31042">
                  <c:v>47424</c:v>
                </c:pt>
                <c:pt idx="31043">
                  <c:v>63740</c:v>
                </c:pt>
                <c:pt idx="31044">
                  <c:v>76502</c:v>
                </c:pt>
                <c:pt idx="31045">
                  <c:v>37966</c:v>
                </c:pt>
                <c:pt idx="31046">
                  <c:v>30733</c:v>
                </c:pt>
                <c:pt idx="31047">
                  <c:v>33613</c:v>
                </c:pt>
                <c:pt idx="31048">
                  <c:v>168062</c:v>
                </c:pt>
                <c:pt idx="31049">
                  <c:v>25021</c:v>
                </c:pt>
                <c:pt idx="31050">
                  <c:v>141110</c:v>
                </c:pt>
                <c:pt idx="31051">
                  <c:v>142928</c:v>
                </c:pt>
                <c:pt idx="31052">
                  <c:v>27086</c:v>
                </c:pt>
                <c:pt idx="31053">
                  <c:v>28320</c:v>
                </c:pt>
                <c:pt idx="31054">
                  <c:v>44562</c:v>
                </c:pt>
                <c:pt idx="31055">
                  <c:v>170441</c:v>
                </c:pt>
                <c:pt idx="31056">
                  <c:v>41257</c:v>
                </c:pt>
                <c:pt idx="31057">
                  <c:v>102466</c:v>
                </c:pt>
                <c:pt idx="31058">
                  <c:v>43891</c:v>
                </c:pt>
                <c:pt idx="31059">
                  <c:v>27668</c:v>
                </c:pt>
                <c:pt idx="31060">
                  <c:v>31160</c:v>
                </c:pt>
                <c:pt idx="31061">
                  <c:v>27543</c:v>
                </c:pt>
                <c:pt idx="31062">
                  <c:v>46072</c:v>
                </c:pt>
                <c:pt idx="31063">
                  <c:v>23685</c:v>
                </c:pt>
                <c:pt idx="31064">
                  <c:v>37717</c:v>
                </c:pt>
                <c:pt idx="31065">
                  <c:v>32436</c:v>
                </c:pt>
                <c:pt idx="31066">
                  <c:v>44010</c:v>
                </c:pt>
                <c:pt idx="31067">
                  <c:v>99740</c:v>
                </c:pt>
                <c:pt idx="31068">
                  <c:v>74199</c:v>
                </c:pt>
                <c:pt idx="31069">
                  <c:v>61576</c:v>
                </c:pt>
                <c:pt idx="31070">
                  <c:v>99487</c:v>
                </c:pt>
                <c:pt idx="31071">
                  <c:v>38411</c:v>
                </c:pt>
                <c:pt idx="31072">
                  <c:v>24177</c:v>
                </c:pt>
                <c:pt idx="31073">
                  <c:v>54385</c:v>
                </c:pt>
                <c:pt idx="31074">
                  <c:v>38976</c:v>
                </c:pt>
                <c:pt idx="31075">
                  <c:v>24277</c:v>
                </c:pt>
                <c:pt idx="31076">
                  <c:v>30145</c:v>
                </c:pt>
                <c:pt idx="31077">
                  <c:v>197334</c:v>
                </c:pt>
                <c:pt idx="31078">
                  <c:v>31521</c:v>
                </c:pt>
                <c:pt idx="31079">
                  <c:v>28879</c:v>
                </c:pt>
                <c:pt idx="31080">
                  <c:v>43127</c:v>
                </c:pt>
                <c:pt idx="31081">
                  <c:v>63996</c:v>
                </c:pt>
                <c:pt idx="31082">
                  <c:v>34857</c:v>
                </c:pt>
                <c:pt idx="31083">
                  <c:v>95528</c:v>
                </c:pt>
                <c:pt idx="31084">
                  <c:v>26765</c:v>
                </c:pt>
                <c:pt idx="31085">
                  <c:v>283663</c:v>
                </c:pt>
                <c:pt idx="31086">
                  <c:v>37481</c:v>
                </c:pt>
                <c:pt idx="31087">
                  <c:v>26811</c:v>
                </c:pt>
                <c:pt idx="31088">
                  <c:v>324899</c:v>
                </c:pt>
                <c:pt idx="31089">
                  <c:v>64394</c:v>
                </c:pt>
                <c:pt idx="31090">
                  <c:v>34161</c:v>
                </c:pt>
                <c:pt idx="31091">
                  <c:v>152037</c:v>
                </c:pt>
                <c:pt idx="31092">
                  <c:v>151686</c:v>
                </c:pt>
                <c:pt idx="31093">
                  <c:v>50257</c:v>
                </c:pt>
                <c:pt idx="31094">
                  <c:v>84644</c:v>
                </c:pt>
                <c:pt idx="31095">
                  <c:v>198163</c:v>
                </c:pt>
                <c:pt idx="31096">
                  <c:v>189468</c:v>
                </c:pt>
                <c:pt idx="31097">
                  <c:v>70527</c:v>
                </c:pt>
                <c:pt idx="31098">
                  <c:v>32225</c:v>
                </c:pt>
                <c:pt idx="31099">
                  <c:v>29900</c:v>
                </c:pt>
                <c:pt idx="31100">
                  <c:v>107373</c:v>
                </c:pt>
                <c:pt idx="31101">
                  <c:v>23511</c:v>
                </c:pt>
                <c:pt idx="31102">
                  <c:v>47749</c:v>
                </c:pt>
                <c:pt idx="31103">
                  <c:v>57932</c:v>
                </c:pt>
                <c:pt idx="31104">
                  <c:v>136396</c:v>
                </c:pt>
                <c:pt idx="31105">
                  <c:v>229388</c:v>
                </c:pt>
                <c:pt idx="31106">
                  <c:v>26757</c:v>
                </c:pt>
                <c:pt idx="31107">
                  <c:v>49296</c:v>
                </c:pt>
                <c:pt idx="31108">
                  <c:v>39398</c:v>
                </c:pt>
                <c:pt idx="31109">
                  <c:v>74245</c:v>
                </c:pt>
                <c:pt idx="31110">
                  <c:v>36891</c:v>
                </c:pt>
                <c:pt idx="31111">
                  <c:v>36389</c:v>
                </c:pt>
                <c:pt idx="31112">
                  <c:v>108423</c:v>
                </c:pt>
                <c:pt idx="31113">
                  <c:v>67560</c:v>
                </c:pt>
                <c:pt idx="31114">
                  <c:v>23950</c:v>
                </c:pt>
                <c:pt idx="31115">
                  <c:v>75246</c:v>
                </c:pt>
                <c:pt idx="31116">
                  <c:v>40040</c:v>
                </c:pt>
                <c:pt idx="31117">
                  <c:v>93038</c:v>
                </c:pt>
                <c:pt idx="31118">
                  <c:v>48647</c:v>
                </c:pt>
                <c:pt idx="31119">
                  <c:v>29440</c:v>
                </c:pt>
                <c:pt idx="31120">
                  <c:v>66051</c:v>
                </c:pt>
                <c:pt idx="31121">
                  <c:v>70263</c:v>
                </c:pt>
                <c:pt idx="31122">
                  <c:v>24943</c:v>
                </c:pt>
                <c:pt idx="31123">
                  <c:v>48407</c:v>
                </c:pt>
                <c:pt idx="31124">
                  <c:v>91208</c:v>
                </c:pt>
                <c:pt idx="31125">
                  <c:v>151910</c:v>
                </c:pt>
                <c:pt idx="31126">
                  <c:v>26116</c:v>
                </c:pt>
                <c:pt idx="31127">
                  <c:v>31197</c:v>
                </c:pt>
                <c:pt idx="31128">
                  <c:v>36568</c:v>
                </c:pt>
                <c:pt idx="31129">
                  <c:v>28368</c:v>
                </c:pt>
                <c:pt idx="31130">
                  <c:v>32183</c:v>
                </c:pt>
                <c:pt idx="31131">
                  <c:v>26375</c:v>
                </c:pt>
                <c:pt idx="31132">
                  <c:v>50245</c:v>
                </c:pt>
                <c:pt idx="31133">
                  <c:v>39097</c:v>
                </c:pt>
                <c:pt idx="31134">
                  <c:v>24879</c:v>
                </c:pt>
                <c:pt idx="31135">
                  <c:v>49109</c:v>
                </c:pt>
                <c:pt idx="31136">
                  <c:v>29612</c:v>
                </c:pt>
                <c:pt idx="31137">
                  <c:v>37328</c:v>
                </c:pt>
                <c:pt idx="31138">
                  <c:v>71769</c:v>
                </c:pt>
                <c:pt idx="31139">
                  <c:v>46072</c:v>
                </c:pt>
                <c:pt idx="31140">
                  <c:v>45674</c:v>
                </c:pt>
                <c:pt idx="31141">
                  <c:v>347606</c:v>
                </c:pt>
                <c:pt idx="31142">
                  <c:v>53798</c:v>
                </c:pt>
                <c:pt idx="31143">
                  <c:v>43921</c:v>
                </c:pt>
                <c:pt idx="31144">
                  <c:v>98863</c:v>
                </c:pt>
                <c:pt idx="31145">
                  <c:v>56887</c:v>
                </c:pt>
                <c:pt idx="31146">
                  <c:v>30671</c:v>
                </c:pt>
                <c:pt idx="31147">
                  <c:v>60655</c:v>
                </c:pt>
                <c:pt idx="31148">
                  <c:v>48284</c:v>
                </c:pt>
                <c:pt idx="31149">
                  <c:v>41417</c:v>
                </c:pt>
                <c:pt idx="31150">
                  <c:v>40175</c:v>
                </c:pt>
                <c:pt idx="31151">
                  <c:v>31666</c:v>
                </c:pt>
                <c:pt idx="31152">
                  <c:v>33482</c:v>
                </c:pt>
                <c:pt idx="31153">
                  <c:v>73986</c:v>
                </c:pt>
                <c:pt idx="31154">
                  <c:v>34235</c:v>
                </c:pt>
                <c:pt idx="31155">
                  <c:v>48543</c:v>
                </c:pt>
                <c:pt idx="31156">
                  <c:v>43480</c:v>
                </c:pt>
                <c:pt idx="31157">
                  <c:v>46047</c:v>
                </c:pt>
                <c:pt idx="31158">
                  <c:v>58099</c:v>
                </c:pt>
                <c:pt idx="31159">
                  <c:v>30666</c:v>
                </c:pt>
                <c:pt idx="31160">
                  <c:v>52081</c:v>
                </c:pt>
                <c:pt idx="31161">
                  <c:v>96537</c:v>
                </c:pt>
                <c:pt idx="31162">
                  <c:v>46989</c:v>
                </c:pt>
                <c:pt idx="31163">
                  <c:v>41021</c:v>
                </c:pt>
                <c:pt idx="31164">
                  <c:v>34972</c:v>
                </c:pt>
                <c:pt idx="31165">
                  <c:v>61046</c:v>
                </c:pt>
                <c:pt idx="31166">
                  <c:v>32654</c:v>
                </c:pt>
                <c:pt idx="31167">
                  <c:v>30318</c:v>
                </c:pt>
                <c:pt idx="31168">
                  <c:v>36623</c:v>
                </c:pt>
                <c:pt idx="31169">
                  <c:v>41687</c:v>
                </c:pt>
                <c:pt idx="31170">
                  <c:v>74958</c:v>
                </c:pt>
                <c:pt idx="31171">
                  <c:v>43826</c:v>
                </c:pt>
                <c:pt idx="31172">
                  <c:v>22477</c:v>
                </c:pt>
                <c:pt idx="31173">
                  <c:v>29268</c:v>
                </c:pt>
                <c:pt idx="31174">
                  <c:v>60667</c:v>
                </c:pt>
                <c:pt idx="31175">
                  <c:v>33932</c:v>
                </c:pt>
                <c:pt idx="31176">
                  <c:v>76833</c:v>
                </c:pt>
                <c:pt idx="31177">
                  <c:v>37587</c:v>
                </c:pt>
                <c:pt idx="31178">
                  <c:v>79959</c:v>
                </c:pt>
                <c:pt idx="31179">
                  <c:v>47171</c:v>
                </c:pt>
                <c:pt idx="31180">
                  <c:v>36956</c:v>
                </c:pt>
                <c:pt idx="31181">
                  <c:v>31213</c:v>
                </c:pt>
                <c:pt idx="31182">
                  <c:v>56562</c:v>
                </c:pt>
                <c:pt idx="31183">
                  <c:v>37973</c:v>
                </c:pt>
                <c:pt idx="31184">
                  <c:v>52291</c:v>
                </c:pt>
                <c:pt idx="31185">
                  <c:v>48403</c:v>
                </c:pt>
                <c:pt idx="31186">
                  <c:v>44900</c:v>
                </c:pt>
                <c:pt idx="31187">
                  <c:v>84379</c:v>
                </c:pt>
                <c:pt idx="31188">
                  <c:v>22860</c:v>
                </c:pt>
                <c:pt idx="31189">
                  <c:v>39427</c:v>
                </c:pt>
                <c:pt idx="31190">
                  <c:v>38907</c:v>
                </c:pt>
                <c:pt idx="31191">
                  <c:v>67949</c:v>
                </c:pt>
                <c:pt idx="31192">
                  <c:v>49466</c:v>
                </c:pt>
                <c:pt idx="31193">
                  <c:v>118767</c:v>
                </c:pt>
                <c:pt idx="31194">
                  <c:v>32265</c:v>
                </c:pt>
                <c:pt idx="31195">
                  <c:v>32607</c:v>
                </c:pt>
                <c:pt idx="31196">
                  <c:v>22544</c:v>
                </c:pt>
                <c:pt idx="31197">
                  <c:v>243563</c:v>
                </c:pt>
                <c:pt idx="31198">
                  <c:v>28086</c:v>
                </c:pt>
                <c:pt idx="31199">
                  <c:v>63854</c:v>
                </c:pt>
                <c:pt idx="31200">
                  <c:v>25942</c:v>
                </c:pt>
                <c:pt idx="31201">
                  <c:v>31301</c:v>
                </c:pt>
                <c:pt idx="31202">
                  <c:v>31469</c:v>
                </c:pt>
                <c:pt idx="31203">
                  <c:v>166136</c:v>
                </c:pt>
                <c:pt idx="31204">
                  <c:v>50130</c:v>
                </c:pt>
                <c:pt idx="31205">
                  <c:v>27670</c:v>
                </c:pt>
                <c:pt idx="31206">
                  <c:v>66658</c:v>
                </c:pt>
                <c:pt idx="31207">
                  <c:v>117057</c:v>
                </c:pt>
                <c:pt idx="31208">
                  <c:v>108574</c:v>
                </c:pt>
                <c:pt idx="31209">
                  <c:v>37154</c:v>
                </c:pt>
                <c:pt idx="31210">
                  <c:v>48988</c:v>
                </c:pt>
                <c:pt idx="31211">
                  <c:v>36651</c:v>
                </c:pt>
                <c:pt idx="31212">
                  <c:v>35455</c:v>
                </c:pt>
                <c:pt idx="31213">
                  <c:v>43064</c:v>
                </c:pt>
                <c:pt idx="31214">
                  <c:v>111698</c:v>
                </c:pt>
                <c:pt idx="31215">
                  <c:v>48068</c:v>
                </c:pt>
                <c:pt idx="31216">
                  <c:v>73740</c:v>
                </c:pt>
                <c:pt idx="31217">
                  <c:v>34979</c:v>
                </c:pt>
                <c:pt idx="31218">
                  <c:v>82546</c:v>
                </c:pt>
                <c:pt idx="31219">
                  <c:v>129589</c:v>
                </c:pt>
                <c:pt idx="31220">
                  <c:v>26745</c:v>
                </c:pt>
                <c:pt idx="31221">
                  <c:v>74890</c:v>
                </c:pt>
                <c:pt idx="31222">
                  <c:v>48624</c:v>
                </c:pt>
                <c:pt idx="31223">
                  <c:v>31689</c:v>
                </c:pt>
                <c:pt idx="31224">
                  <c:v>54836</c:v>
                </c:pt>
                <c:pt idx="31225">
                  <c:v>43160</c:v>
                </c:pt>
                <c:pt idx="31226">
                  <c:v>78677</c:v>
                </c:pt>
                <c:pt idx="31227">
                  <c:v>120755</c:v>
                </c:pt>
                <c:pt idx="31228">
                  <c:v>53129</c:v>
                </c:pt>
                <c:pt idx="31229">
                  <c:v>60020</c:v>
                </c:pt>
                <c:pt idx="31230">
                  <c:v>15000</c:v>
                </c:pt>
                <c:pt idx="31231">
                  <c:v>34899</c:v>
                </c:pt>
                <c:pt idx="31232">
                  <c:v>150835</c:v>
                </c:pt>
                <c:pt idx="31233">
                  <c:v>52588</c:v>
                </c:pt>
                <c:pt idx="31234">
                  <c:v>44676</c:v>
                </c:pt>
                <c:pt idx="31235">
                  <c:v>33846</c:v>
                </c:pt>
                <c:pt idx="31236">
                  <c:v>37584</c:v>
                </c:pt>
                <c:pt idx="31237">
                  <c:v>30226</c:v>
                </c:pt>
                <c:pt idx="31238">
                  <c:v>40976</c:v>
                </c:pt>
                <c:pt idx="31239">
                  <c:v>36864</c:v>
                </c:pt>
                <c:pt idx="31240">
                  <c:v>45695</c:v>
                </c:pt>
                <c:pt idx="31241">
                  <c:v>30815</c:v>
                </c:pt>
                <c:pt idx="31242">
                  <c:v>47884</c:v>
                </c:pt>
                <c:pt idx="31243">
                  <c:v>39196</c:v>
                </c:pt>
                <c:pt idx="31244">
                  <c:v>41959</c:v>
                </c:pt>
                <c:pt idx="31245">
                  <c:v>25093</c:v>
                </c:pt>
                <c:pt idx="31246">
                  <c:v>33098</c:v>
                </c:pt>
                <c:pt idx="31247">
                  <c:v>32597</c:v>
                </c:pt>
                <c:pt idx="31248">
                  <c:v>73328</c:v>
                </c:pt>
                <c:pt idx="31249">
                  <c:v>110866</c:v>
                </c:pt>
                <c:pt idx="31250">
                  <c:v>72210</c:v>
                </c:pt>
                <c:pt idx="31251">
                  <c:v>46505</c:v>
                </c:pt>
                <c:pt idx="31252">
                  <c:v>20889</c:v>
                </c:pt>
                <c:pt idx="31253">
                  <c:v>38572</c:v>
                </c:pt>
                <c:pt idx="31254">
                  <c:v>46266</c:v>
                </c:pt>
                <c:pt idx="31255">
                  <c:v>87680</c:v>
                </c:pt>
                <c:pt idx="31256">
                  <c:v>22304</c:v>
                </c:pt>
                <c:pt idx="31257">
                  <c:v>25211</c:v>
                </c:pt>
                <c:pt idx="31258">
                  <c:v>25394</c:v>
                </c:pt>
                <c:pt idx="31259">
                  <c:v>61351</c:v>
                </c:pt>
                <c:pt idx="31260">
                  <c:v>30794</c:v>
                </c:pt>
                <c:pt idx="31261">
                  <c:v>58867</c:v>
                </c:pt>
                <c:pt idx="31262">
                  <c:v>130889</c:v>
                </c:pt>
                <c:pt idx="31263">
                  <c:v>36164</c:v>
                </c:pt>
                <c:pt idx="31264">
                  <c:v>89656</c:v>
                </c:pt>
                <c:pt idx="31265">
                  <c:v>46082</c:v>
                </c:pt>
                <c:pt idx="31266">
                  <c:v>91958</c:v>
                </c:pt>
                <c:pt idx="31267">
                  <c:v>72254</c:v>
                </c:pt>
                <c:pt idx="31268">
                  <c:v>83245</c:v>
                </c:pt>
                <c:pt idx="31269">
                  <c:v>44565</c:v>
                </c:pt>
                <c:pt idx="31270">
                  <c:v>56048</c:v>
                </c:pt>
                <c:pt idx="31271">
                  <c:v>26884</c:v>
                </c:pt>
                <c:pt idx="31272">
                  <c:v>19960</c:v>
                </c:pt>
                <c:pt idx="31273">
                  <c:v>36450</c:v>
                </c:pt>
                <c:pt idx="31274">
                  <c:v>158124</c:v>
                </c:pt>
                <c:pt idx="31275">
                  <c:v>96436</c:v>
                </c:pt>
                <c:pt idx="31276">
                  <c:v>155127</c:v>
                </c:pt>
                <c:pt idx="31277">
                  <c:v>40493</c:v>
                </c:pt>
                <c:pt idx="31278">
                  <c:v>45921</c:v>
                </c:pt>
                <c:pt idx="31279">
                  <c:v>24598</c:v>
                </c:pt>
                <c:pt idx="31280">
                  <c:v>98279</c:v>
                </c:pt>
                <c:pt idx="31281">
                  <c:v>35174</c:v>
                </c:pt>
                <c:pt idx="31282">
                  <c:v>42712</c:v>
                </c:pt>
                <c:pt idx="31283">
                  <c:v>52858</c:v>
                </c:pt>
                <c:pt idx="31284">
                  <c:v>34502</c:v>
                </c:pt>
                <c:pt idx="31285">
                  <c:v>43610</c:v>
                </c:pt>
                <c:pt idx="31286">
                  <c:v>82355</c:v>
                </c:pt>
                <c:pt idx="31287">
                  <c:v>65559</c:v>
                </c:pt>
                <c:pt idx="31288">
                  <c:v>36707</c:v>
                </c:pt>
                <c:pt idx="31289">
                  <c:v>23120</c:v>
                </c:pt>
                <c:pt idx="31290">
                  <c:v>74169</c:v>
                </c:pt>
                <c:pt idx="31291">
                  <c:v>184808</c:v>
                </c:pt>
                <c:pt idx="31292">
                  <c:v>42958</c:v>
                </c:pt>
                <c:pt idx="31293">
                  <c:v>49549</c:v>
                </c:pt>
                <c:pt idx="31294">
                  <c:v>35042</c:v>
                </c:pt>
                <c:pt idx="31295">
                  <c:v>128815</c:v>
                </c:pt>
                <c:pt idx="31296">
                  <c:v>56108</c:v>
                </c:pt>
                <c:pt idx="31297">
                  <c:v>29131</c:v>
                </c:pt>
                <c:pt idx="31298">
                  <c:v>47000</c:v>
                </c:pt>
                <c:pt idx="31299">
                  <c:v>74515</c:v>
                </c:pt>
                <c:pt idx="31300">
                  <c:v>26807</c:v>
                </c:pt>
                <c:pt idx="31301">
                  <c:v>29640</c:v>
                </c:pt>
                <c:pt idx="31302">
                  <c:v>34097</c:v>
                </c:pt>
                <c:pt idx="31303">
                  <c:v>36535</c:v>
                </c:pt>
                <c:pt idx="31304">
                  <c:v>54312</c:v>
                </c:pt>
                <c:pt idx="31305">
                  <c:v>55713</c:v>
                </c:pt>
                <c:pt idx="31306">
                  <c:v>138219</c:v>
                </c:pt>
                <c:pt idx="31307">
                  <c:v>43829</c:v>
                </c:pt>
                <c:pt idx="31308">
                  <c:v>66025</c:v>
                </c:pt>
                <c:pt idx="31309">
                  <c:v>165895</c:v>
                </c:pt>
                <c:pt idx="31310">
                  <c:v>202464</c:v>
                </c:pt>
                <c:pt idx="31311">
                  <c:v>200750</c:v>
                </c:pt>
                <c:pt idx="31312">
                  <c:v>122679</c:v>
                </c:pt>
                <c:pt idx="31313">
                  <c:v>43306</c:v>
                </c:pt>
                <c:pt idx="31314">
                  <c:v>43505</c:v>
                </c:pt>
                <c:pt idx="31315">
                  <c:v>34734</c:v>
                </c:pt>
                <c:pt idx="31316">
                  <c:v>43260</c:v>
                </c:pt>
                <c:pt idx="31317">
                  <c:v>215964</c:v>
                </c:pt>
                <c:pt idx="31318">
                  <c:v>112547</c:v>
                </c:pt>
                <c:pt idx="31319">
                  <c:v>69176</c:v>
                </c:pt>
                <c:pt idx="31320">
                  <c:v>68612</c:v>
                </c:pt>
                <c:pt idx="31321">
                  <c:v>64225</c:v>
                </c:pt>
                <c:pt idx="31322">
                  <c:v>84285</c:v>
                </c:pt>
                <c:pt idx="31323">
                  <c:v>30037</c:v>
                </c:pt>
                <c:pt idx="31324">
                  <c:v>277892</c:v>
                </c:pt>
                <c:pt idx="31325">
                  <c:v>32937</c:v>
                </c:pt>
                <c:pt idx="31326">
                  <c:v>40847</c:v>
                </c:pt>
                <c:pt idx="31327">
                  <c:v>62983</c:v>
                </c:pt>
                <c:pt idx="31328">
                  <c:v>32056</c:v>
                </c:pt>
                <c:pt idx="31329">
                  <c:v>183733</c:v>
                </c:pt>
                <c:pt idx="31330">
                  <c:v>47440</c:v>
                </c:pt>
                <c:pt idx="31331">
                  <c:v>41896</c:v>
                </c:pt>
                <c:pt idx="31332">
                  <c:v>36910</c:v>
                </c:pt>
                <c:pt idx="31333">
                  <c:v>40699</c:v>
                </c:pt>
                <c:pt idx="31334">
                  <c:v>25071</c:v>
                </c:pt>
                <c:pt idx="31335">
                  <c:v>47096</c:v>
                </c:pt>
                <c:pt idx="31336">
                  <c:v>37206</c:v>
                </c:pt>
                <c:pt idx="31337">
                  <c:v>95095</c:v>
                </c:pt>
                <c:pt idx="31338">
                  <c:v>74583</c:v>
                </c:pt>
                <c:pt idx="31339">
                  <c:v>32782</c:v>
                </c:pt>
                <c:pt idx="31340">
                  <c:v>25829</c:v>
                </c:pt>
                <c:pt idx="31341">
                  <c:v>41755</c:v>
                </c:pt>
                <c:pt idx="31342">
                  <c:v>38217</c:v>
                </c:pt>
                <c:pt idx="31343">
                  <c:v>86993</c:v>
                </c:pt>
                <c:pt idx="31344">
                  <c:v>109381</c:v>
                </c:pt>
                <c:pt idx="31345">
                  <c:v>46586</c:v>
                </c:pt>
                <c:pt idx="31346">
                  <c:v>32646</c:v>
                </c:pt>
                <c:pt idx="31347">
                  <c:v>51968</c:v>
                </c:pt>
                <c:pt idx="31348">
                  <c:v>65726</c:v>
                </c:pt>
                <c:pt idx="31349">
                  <c:v>36233</c:v>
                </c:pt>
                <c:pt idx="31350">
                  <c:v>47993</c:v>
                </c:pt>
                <c:pt idx="31351">
                  <c:v>68663</c:v>
                </c:pt>
                <c:pt idx="31352">
                  <c:v>23056</c:v>
                </c:pt>
                <c:pt idx="31353">
                  <c:v>49331</c:v>
                </c:pt>
                <c:pt idx="31354">
                  <c:v>65768</c:v>
                </c:pt>
                <c:pt idx="31355">
                  <c:v>77008</c:v>
                </c:pt>
                <c:pt idx="31356">
                  <c:v>49609</c:v>
                </c:pt>
                <c:pt idx="31357">
                  <c:v>41537</c:v>
                </c:pt>
                <c:pt idx="31358">
                  <c:v>25837</c:v>
                </c:pt>
                <c:pt idx="31359">
                  <c:v>35413</c:v>
                </c:pt>
                <c:pt idx="31360">
                  <c:v>90766</c:v>
                </c:pt>
                <c:pt idx="31361">
                  <c:v>44398</c:v>
                </c:pt>
                <c:pt idx="31362">
                  <c:v>30805</c:v>
                </c:pt>
                <c:pt idx="31363">
                  <c:v>38472</c:v>
                </c:pt>
                <c:pt idx="31364">
                  <c:v>45171</c:v>
                </c:pt>
                <c:pt idx="31365">
                  <c:v>118321</c:v>
                </c:pt>
                <c:pt idx="31366">
                  <c:v>167500</c:v>
                </c:pt>
                <c:pt idx="31367">
                  <c:v>45611</c:v>
                </c:pt>
                <c:pt idx="31368">
                  <c:v>37826</c:v>
                </c:pt>
                <c:pt idx="31369">
                  <c:v>122820</c:v>
                </c:pt>
                <c:pt idx="31370">
                  <c:v>43577</c:v>
                </c:pt>
                <c:pt idx="31371">
                  <c:v>105300</c:v>
                </c:pt>
                <c:pt idx="31372">
                  <c:v>48320</c:v>
                </c:pt>
                <c:pt idx="31373">
                  <c:v>26981</c:v>
                </c:pt>
                <c:pt idx="31374">
                  <c:v>72675</c:v>
                </c:pt>
                <c:pt idx="31375">
                  <c:v>65731</c:v>
                </c:pt>
                <c:pt idx="31376">
                  <c:v>55190</c:v>
                </c:pt>
                <c:pt idx="31377">
                  <c:v>23605</c:v>
                </c:pt>
                <c:pt idx="31378">
                  <c:v>33734</c:v>
                </c:pt>
                <c:pt idx="31379">
                  <c:v>27341</c:v>
                </c:pt>
                <c:pt idx="31380">
                  <c:v>23862</c:v>
                </c:pt>
                <c:pt idx="31381">
                  <c:v>50051</c:v>
                </c:pt>
                <c:pt idx="31382">
                  <c:v>45613</c:v>
                </c:pt>
                <c:pt idx="31383">
                  <c:v>44733</c:v>
                </c:pt>
                <c:pt idx="31384">
                  <c:v>76642</c:v>
                </c:pt>
                <c:pt idx="31385">
                  <c:v>26769</c:v>
                </c:pt>
                <c:pt idx="31386">
                  <c:v>38738</c:v>
                </c:pt>
                <c:pt idx="31387">
                  <c:v>49219</c:v>
                </c:pt>
                <c:pt idx="31388">
                  <c:v>29207</c:v>
                </c:pt>
                <c:pt idx="31389">
                  <c:v>144809</c:v>
                </c:pt>
                <c:pt idx="31390">
                  <c:v>123839</c:v>
                </c:pt>
                <c:pt idx="31391">
                  <c:v>32017</c:v>
                </c:pt>
                <c:pt idx="31392">
                  <c:v>24639</c:v>
                </c:pt>
                <c:pt idx="31393">
                  <c:v>26063</c:v>
                </c:pt>
                <c:pt idx="31394">
                  <c:v>21024</c:v>
                </c:pt>
                <c:pt idx="31395">
                  <c:v>122205</c:v>
                </c:pt>
                <c:pt idx="31396">
                  <c:v>64976</c:v>
                </c:pt>
                <c:pt idx="31397">
                  <c:v>186942</c:v>
                </c:pt>
                <c:pt idx="31398">
                  <c:v>26097</c:v>
                </c:pt>
                <c:pt idx="31399">
                  <c:v>99053</c:v>
                </c:pt>
                <c:pt idx="31400">
                  <c:v>29501</c:v>
                </c:pt>
                <c:pt idx="31401">
                  <c:v>87038</c:v>
                </c:pt>
                <c:pt idx="31402">
                  <c:v>34908</c:v>
                </c:pt>
                <c:pt idx="31403">
                  <c:v>38738</c:v>
                </c:pt>
                <c:pt idx="31404">
                  <c:v>46212</c:v>
                </c:pt>
                <c:pt idx="31405">
                  <c:v>36356</c:v>
                </c:pt>
                <c:pt idx="31406">
                  <c:v>45297</c:v>
                </c:pt>
                <c:pt idx="31407">
                  <c:v>87688</c:v>
                </c:pt>
                <c:pt idx="31408">
                  <c:v>39987</c:v>
                </c:pt>
                <c:pt idx="31409">
                  <c:v>32516</c:v>
                </c:pt>
                <c:pt idx="31410">
                  <c:v>39580</c:v>
                </c:pt>
                <c:pt idx="31411">
                  <c:v>46165</c:v>
                </c:pt>
                <c:pt idx="31412">
                  <c:v>42216</c:v>
                </c:pt>
                <c:pt idx="31413">
                  <c:v>38136</c:v>
                </c:pt>
                <c:pt idx="31414">
                  <c:v>34951</c:v>
                </c:pt>
                <c:pt idx="31415">
                  <c:v>36459</c:v>
                </c:pt>
                <c:pt idx="31416">
                  <c:v>39809</c:v>
                </c:pt>
                <c:pt idx="31417">
                  <c:v>23729</c:v>
                </c:pt>
                <c:pt idx="31418">
                  <c:v>21261</c:v>
                </c:pt>
                <c:pt idx="31419">
                  <c:v>41555</c:v>
                </c:pt>
                <c:pt idx="31420">
                  <c:v>36826</c:v>
                </c:pt>
                <c:pt idx="31421">
                  <c:v>38438</c:v>
                </c:pt>
                <c:pt idx="31422">
                  <c:v>37408</c:v>
                </c:pt>
                <c:pt idx="31423">
                  <c:v>35100</c:v>
                </c:pt>
                <c:pt idx="31424">
                  <c:v>38108</c:v>
                </c:pt>
                <c:pt idx="31425">
                  <c:v>62273</c:v>
                </c:pt>
                <c:pt idx="31426">
                  <c:v>82641</c:v>
                </c:pt>
                <c:pt idx="31427">
                  <c:v>43268</c:v>
                </c:pt>
                <c:pt idx="31428">
                  <c:v>213773</c:v>
                </c:pt>
                <c:pt idx="31429">
                  <c:v>36000</c:v>
                </c:pt>
                <c:pt idx="31430">
                  <c:v>30288</c:v>
                </c:pt>
                <c:pt idx="31431">
                  <c:v>44522</c:v>
                </c:pt>
                <c:pt idx="31432">
                  <c:v>74174</c:v>
                </c:pt>
                <c:pt idx="31433">
                  <c:v>35204</c:v>
                </c:pt>
                <c:pt idx="31434">
                  <c:v>32404</c:v>
                </c:pt>
                <c:pt idx="31435">
                  <c:v>64834</c:v>
                </c:pt>
                <c:pt idx="31436">
                  <c:v>151829</c:v>
                </c:pt>
                <c:pt idx="31437">
                  <c:v>40329</c:v>
                </c:pt>
                <c:pt idx="31438">
                  <c:v>34873</c:v>
                </c:pt>
                <c:pt idx="31439">
                  <c:v>167647</c:v>
                </c:pt>
                <c:pt idx="31440">
                  <c:v>60626</c:v>
                </c:pt>
                <c:pt idx="31441">
                  <c:v>87750</c:v>
                </c:pt>
                <c:pt idx="31442">
                  <c:v>37232</c:v>
                </c:pt>
                <c:pt idx="31443">
                  <c:v>97187</c:v>
                </c:pt>
                <c:pt idx="31444">
                  <c:v>33906</c:v>
                </c:pt>
                <c:pt idx="31445">
                  <c:v>33784</c:v>
                </c:pt>
                <c:pt idx="31446">
                  <c:v>67588</c:v>
                </c:pt>
                <c:pt idx="31447">
                  <c:v>157077</c:v>
                </c:pt>
                <c:pt idx="31448">
                  <c:v>44744</c:v>
                </c:pt>
                <c:pt idx="31449">
                  <c:v>44112</c:v>
                </c:pt>
                <c:pt idx="31450">
                  <c:v>76025</c:v>
                </c:pt>
                <c:pt idx="31451">
                  <c:v>29079</c:v>
                </c:pt>
                <c:pt idx="31452">
                  <c:v>33411</c:v>
                </c:pt>
                <c:pt idx="31453">
                  <c:v>41178</c:v>
                </c:pt>
                <c:pt idx="31454">
                  <c:v>36811</c:v>
                </c:pt>
                <c:pt idx="31455">
                  <c:v>46427</c:v>
                </c:pt>
                <c:pt idx="31456">
                  <c:v>226639</c:v>
                </c:pt>
                <c:pt idx="31457">
                  <c:v>41337</c:v>
                </c:pt>
                <c:pt idx="31458">
                  <c:v>40644</c:v>
                </c:pt>
                <c:pt idx="31459">
                  <c:v>38754</c:v>
                </c:pt>
                <c:pt idx="31460">
                  <c:v>30337</c:v>
                </c:pt>
                <c:pt idx="31461">
                  <c:v>87804</c:v>
                </c:pt>
                <c:pt idx="31462">
                  <c:v>39581</c:v>
                </c:pt>
                <c:pt idx="31463">
                  <c:v>24920</c:v>
                </c:pt>
                <c:pt idx="31464">
                  <c:v>40616</c:v>
                </c:pt>
                <c:pt idx="31465">
                  <c:v>89412</c:v>
                </c:pt>
                <c:pt idx="31466">
                  <c:v>39852</c:v>
                </c:pt>
                <c:pt idx="31467">
                  <c:v>26186</c:v>
                </c:pt>
                <c:pt idx="31468">
                  <c:v>47305</c:v>
                </c:pt>
                <c:pt idx="31469">
                  <c:v>55115</c:v>
                </c:pt>
                <c:pt idx="31470">
                  <c:v>53143</c:v>
                </c:pt>
                <c:pt idx="31471">
                  <c:v>33547</c:v>
                </c:pt>
                <c:pt idx="31472">
                  <c:v>29068</c:v>
                </c:pt>
                <c:pt idx="31473">
                  <c:v>36072</c:v>
                </c:pt>
                <c:pt idx="31474">
                  <c:v>31446</c:v>
                </c:pt>
                <c:pt idx="31475">
                  <c:v>38348</c:v>
                </c:pt>
                <c:pt idx="31476">
                  <c:v>45792</c:v>
                </c:pt>
                <c:pt idx="31477">
                  <c:v>25755</c:v>
                </c:pt>
                <c:pt idx="31478">
                  <c:v>32425</c:v>
                </c:pt>
                <c:pt idx="31479">
                  <c:v>141522</c:v>
                </c:pt>
                <c:pt idx="31480">
                  <c:v>38352</c:v>
                </c:pt>
                <c:pt idx="31481">
                  <c:v>155508</c:v>
                </c:pt>
                <c:pt idx="31482">
                  <c:v>23835</c:v>
                </c:pt>
                <c:pt idx="31483">
                  <c:v>33847</c:v>
                </c:pt>
                <c:pt idx="31484">
                  <c:v>38040</c:v>
                </c:pt>
                <c:pt idx="31485">
                  <c:v>24300</c:v>
                </c:pt>
                <c:pt idx="31486">
                  <c:v>27347</c:v>
                </c:pt>
                <c:pt idx="31487">
                  <c:v>353057</c:v>
                </c:pt>
                <c:pt idx="31488">
                  <c:v>41029</c:v>
                </c:pt>
                <c:pt idx="31489">
                  <c:v>24770</c:v>
                </c:pt>
                <c:pt idx="31490">
                  <c:v>36524</c:v>
                </c:pt>
                <c:pt idx="31491">
                  <c:v>161983</c:v>
                </c:pt>
                <c:pt idx="31492">
                  <c:v>25352</c:v>
                </c:pt>
                <c:pt idx="31493">
                  <c:v>86326</c:v>
                </c:pt>
                <c:pt idx="31494">
                  <c:v>107339</c:v>
                </c:pt>
                <c:pt idx="31495">
                  <c:v>43120</c:v>
                </c:pt>
                <c:pt idx="31496">
                  <c:v>41343</c:v>
                </c:pt>
                <c:pt idx="31497">
                  <c:v>42387</c:v>
                </c:pt>
                <c:pt idx="31498">
                  <c:v>40908</c:v>
                </c:pt>
                <c:pt idx="31499">
                  <c:v>39139</c:v>
                </c:pt>
                <c:pt idx="31500">
                  <c:v>65332</c:v>
                </c:pt>
                <c:pt idx="31501">
                  <c:v>47975</c:v>
                </c:pt>
                <c:pt idx="31502">
                  <c:v>52660</c:v>
                </c:pt>
                <c:pt idx="31503">
                  <c:v>26007</c:v>
                </c:pt>
                <c:pt idx="31504">
                  <c:v>24880</c:v>
                </c:pt>
                <c:pt idx="31505">
                  <c:v>175112</c:v>
                </c:pt>
                <c:pt idx="31506">
                  <c:v>38704</c:v>
                </c:pt>
                <c:pt idx="31507">
                  <c:v>30179</c:v>
                </c:pt>
                <c:pt idx="31508">
                  <c:v>31550</c:v>
                </c:pt>
                <c:pt idx="31509">
                  <c:v>42361</c:v>
                </c:pt>
                <c:pt idx="31510">
                  <c:v>47535</c:v>
                </c:pt>
                <c:pt idx="31511">
                  <c:v>37034</c:v>
                </c:pt>
                <c:pt idx="31512">
                  <c:v>121993</c:v>
                </c:pt>
                <c:pt idx="31513">
                  <c:v>36709</c:v>
                </c:pt>
                <c:pt idx="31514">
                  <c:v>37303</c:v>
                </c:pt>
                <c:pt idx="31515">
                  <c:v>33927</c:v>
                </c:pt>
                <c:pt idx="31516">
                  <c:v>43817</c:v>
                </c:pt>
                <c:pt idx="31517">
                  <c:v>119252</c:v>
                </c:pt>
                <c:pt idx="31518">
                  <c:v>26434</c:v>
                </c:pt>
                <c:pt idx="31519">
                  <c:v>54626</c:v>
                </c:pt>
                <c:pt idx="31520">
                  <c:v>42331</c:v>
                </c:pt>
                <c:pt idx="31521">
                  <c:v>126285</c:v>
                </c:pt>
                <c:pt idx="31522">
                  <c:v>24594</c:v>
                </c:pt>
                <c:pt idx="31523">
                  <c:v>41868</c:v>
                </c:pt>
                <c:pt idx="31524">
                  <c:v>234943</c:v>
                </c:pt>
                <c:pt idx="31525">
                  <c:v>26511</c:v>
                </c:pt>
                <c:pt idx="31526">
                  <c:v>115320</c:v>
                </c:pt>
                <c:pt idx="31527">
                  <c:v>35592</c:v>
                </c:pt>
                <c:pt idx="31528">
                  <c:v>19431</c:v>
                </c:pt>
                <c:pt idx="31529">
                  <c:v>52993</c:v>
                </c:pt>
                <c:pt idx="31530">
                  <c:v>115659</c:v>
                </c:pt>
                <c:pt idx="31531">
                  <c:v>24603</c:v>
                </c:pt>
                <c:pt idx="31532">
                  <c:v>36492</c:v>
                </c:pt>
                <c:pt idx="31533">
                  <c:v>52748</c:v>
                </c:pt>
                <c:pt idx="31534">
                  <c:v>26655</c:v>
                </c:pt>
                <c:pt idx="31535">
                  <c:v>252752</c:v>
                </c:pt>
                <c:pt idx="31536">
                  <c:v>47411</c:v>
                </c:pt>
                <c:pt idx="31537">
                  <c:v>227128</c:v>
                </c:pt>
                <c:pt idx="31538">
                  <c:v>70407</c:v>
                </c:pt>
                <c:pt idx="31539">
                  <c:v>31307</c:v>
                </c:pt>
                <c:pt idx="31540">
                  <c:v>23811</c:v>
                </c:pt>
                <c:pt idx="31541">
                  <c:v>26963</c:v>
                </c:pt>
                <c:pt idx="31542">
                  <c:v>40169</c:v>
                </c:pt>
                <c:pt idx="31543">
                  <c:v>27395</c:v>
                </c:pt>
                <c:pt idx="31544">
                  <c:v>68822</c:v>
                </c:pt>
                <c:pt idx="31545">
                  <c:v>124516</c:v>
                </c:pt>
                <c:pt idx="31546">
                  <c:v>135915</c:v>
                </c:pt>
                <c:pt idx="31547">
                  <c:v>81998</c:v>
                </c:pt>
                <c:pt idx="31548">
                  <c:v>77515</c:v>
                </c:pt>
                <c:pt idx="31549">
                  <c:v>198660</c:v>
                </c:pt>
                <c:pt idx="31550">
                  <c:v>25262</c:v>
                </c:pt>
                <c:pt idx="31551">
                  <c:v>316931</c:v>
                </c:pt>
                <c:pt idx="31552">
                  <c:v>45057</c:v>
                </c:pt>
                <c:pt idx="31553">
                  <c:v>28525</c:v>
                </c:pt>
                <c:pt idx="31554">
                  <c:v>132579</c:v>
                </c:pt>
                <c:pt idx="31555">
                  <c:v>31764</c:v>
                </c:pt>
                <c:pt idx="31556">
                  <c:v>187416</c:v>
                </c:pt>
                <c:pt idx="31557">
                  <c:v>24234</c:v>
                </c:pt>
                <c:pt idx="31558">
                  <c:v>237839</c:v>
                </c:pt>
                <c:pt idx="31559">
                  <c:v>25480</c:v>
                </c:pt>
                <c:pt idx="31560">
                  <c:v>102058</c:v>
                </c:pt>
                <c:pt idx="31561">
                  <c:v>36502</c:v>
                </c:pt>
                <c:pt idx="31562">
                  <c:v>41077</c:v>
                </c:pt>
                <c:pt idx="31563">
                  <c:v>32012</c:v>
                </c:pt>
                <c:pt idx="31564">
                  <c:v>46579</c:v>
                </c:pt>
                <c:pt idx="31565">
                  <c:v>24580</c:v>
                </c:pt>
                <c:pt idx="31566">
                  <c:v>46745</c:v>
                </c:pt>
                <c:pt idx="31567">
                  <c:v>35407</c:v>
                </c:pt>
                <c:pt idx="31568">
                  <c:v>51296</c:v>
                </c:pt>
                <c:pt idx="31569">
                  <c:v>27214</c:v>
                </c:pt>
                <c:pt idx="31570">
                  <c:v>37710</c:v>
                </c:pt>
                <c:pt idx="31571">
                  <c:v>29947</c:v>
                </c:pt>
                <c:pt idx="31572">
                  <c:v>42211</c:v>
                </c:pt>
                <c:pt idx="31573">
                  <c:v>36002</c:v>
                </c:pt>
                <c:pt idx="31574">
                  <c:v>31231</c:v>
                </c:pt>
                <c:pt idx="31575">
                  <c:v>57569</c:v>
                </c:pt>
                <c:pt idx="31576">
                  <c:v>86068</c:v>
                </c:pt>
                <c:pt idx="31577">
                  <c:v>116398</c:v>
                </c:pt>
                <c:pt idx="31578">
                  <c:v>72016</c:v>
                </c:pt>
                <c:pt idx="31579">
                  <c:v>43942</c:v>
                </c:pt>
                <c:pt idx="31580">
                  <c:v>40213</c:v>
                </c:pt>
                <c:pt idx="31581">
                  <c:v>23832</c:v>
                </c:pt>
                <c:pt idx="31582">
                  <c:v>36959</c:v>
                </c:pt>
                <c:pt idx="31583">
                  <c:v>26178</c:v>
                </c:pt>
                <c:pt idx="31584">
                  <c:v>40086</c:v>
                </c:pt>
                <c:pt idx="31585">
                  <c:v>49327</c:v>
                </c:pt>
                <c:pt idx="31586">
                  <c:v>194893</c:v>
                </c:pt>
                <c:pt idx="31587">
                  <c:v>43679</c:v>
                </c:pt>
                <c:pt idx="31588">
                  <c:v>116756</c:v>
                </c:pt>
                <c:pt idx="31589">
                  <c:v>34860</c:v>
                </c:pt>
                <c:pt idx="31590">
                  <c:v>79450</c:v>
                </c:pt>
                <c:pt idx="31591">
                  <c:v>95421</c:v>
                </c:pt>
                <c:pt idx="31592">
                  <c:v>110675</c:v>
                </c:pt>
                <c:pt idx="31593">
                  <c:v>37730</c:v>
                </c:pt>
                <c:pt idx="31594">
                  <c:v>29028</c:v>
                </c:pt>
                <c:pt idx="31595">
                  <c:v>44303</c:v>
                </c:pt>
                <c:pt idx="31596">
                  <c:v>58351</c:v>
                </c:pt>
                <c:pt idx="31597">
                  <c:v>34974</c:v>
                </c:pt>
                <c:pt idx="31598">
                  <c:v>28749</c:v>
                </c:pt>
                <c:pt idx="31599">
                  <c:v>74609</c:v>
                </c:pt>
                <c:pt idx="31600">
                  <c:v>63741</c:v>
                </c:pt>
                <c:pt idx="31601">
                  <c:v>40084</c:v>
                </c:pt>
                <c:pt idx="31602">
                  <c:v>41310</c:v>
                </c:pt>
                <c:pt idx="31603">
                  <c:v>64014</c:v>
                </c:pt>
                <c:pt idx="31604">
                  <c:v>88103</c:v>
                </c:pt>
                <c:pt idx="31605">
                  <c:v>47821</c:v>
                </c:pt>
                <c:pt idx="31606">
                  <c:v>140447</c:v>
                </c:pt>
                <c:pt idx="31607">
                  <c:v>146602</c:v>
                </c:pt>
                <c:pt idx="31608">
                  <c:v>97367</c:v>
                </c:pt>
                <c:pt idx="31609">
                  <c:v>30329</c:v>
                </c:pt>
                <c:pt idx="31610">
                  <c:v>62020</c:v>
                </c:pt>
                <c:pt idx="31611">
                  <c:v>38945</c:v>
                </c:pt>
                <c:pt idx="31612">
                  <c:v>35779</c:v>
                </c:pt>
                <c:pt idx="31613">
                  <c:v>45659</c:v>
                </c:pt>
                <c:pt idx="31614">
                  <c:v>26562</c:v>
                </c:pt>
                <c:pt idx="31615">
                  <c:v>36230</c:v>
                </c:pt>
                <c:pt idx="31616">
                  <c:v>44039</c:v>
                </c:pt>
                <c:pt idx="31617">
                  <c:v>34697</c:v>
                </c:pt>
                <c:pt idx="31618">
                  <c:v>62598</c:v>
                </c:pt>
                <c:pt idx="31619">
                  <c:v>50982</c:v>
                </c:pt>
                <c:pt idx="31620">
                  <c:v>35429</c:v>
                </c:pt>
                <c:pt idx="31621">
                  <c:v>27365</c:v>
                </c:pt>
                <c:pt idx="31622">
                  <c:v>44797</c:v>
                </c:pt>
                <c:pt idx="31623">
                  <c:v>53336</c:v>
                </c:pt>
                <c:pt idx="31624">
                  <c:v>45904</c:v>
                </c:pt>
                <c:pt idx="31625">
                  <c:v>74170</c:v>
                </c:pt>
                <c:pt idx="31626">
                  <c:v>77946</c:v>
                </c:pt>
                <c:pt idx="31627">
                  <c:v>56962</c:v>
                </c:pt>
                <c:pt idx="31628">
                  <c:v>55431</c:v>
                </c:pt>
                <c:pt idx="31629">
                  <c:v>28870</c:v>
                </c:pt>
                <c:pt idx="31630">
                  <c:v>29763</c:v>
                </c:pt>
                <c:pt idx="31631">
                  <c:v>29801</c:v>
                </c:pt>
                <c:pt idx="31632">
                  <c:v>34794</c:v>
                </c:pt>
                <c:pt idx="31633">
                  <c:v>97341</c:v>
                </c:pt>
                <c:pt idx="31634">
                  <c:v>115696</c:v>
                </c:pt>
                <c:pt idx="31635">
                  <c:v>33819</c:v>
                </c:pt>
                <c:pt idx="31636">
                  <c:v>57650</c:v>
                </c:pt>
                <c:pt idx="31637">
                  <c:v>64276</c:v>
                </c:pt>
                <c:pt idx="31638">
                  <c:v>26076</c:v>
                </c:pt>
                <c:pt idx="31639">
                  <c:v>27137</c:v>
                </c:pt>
                <c:pt idx="31640">
                  <c:v>42426</c:v>
                </c:pt>
                <c:pt idx="31641">
                  <c:v>44195</c:v>
                </c:pt>
                <c:pt idx="31642">
                  <c:v>49282</c:v>
                </c:pt>
                <c:pt idx="31643">
                  <c:v>37620</c:v>
                </c:pt>
                <c:pt idx="31644">
                  <c:v>35388</c:v>
                </c:pt>
                <c:pt idx="31645">
                  <c:v>37394</c:v>
                </c:pt>
                <c:pt idx="31646">
                  <c:v>58509</c:v>
                </c:pt>
                <c:pt idx="31647">
                  <c:v>41676</c:v>
                </c:pt>
                <c:pt idx="31648">
                  <c:v>62403</c:v>
                </c:pt>
                <c:pt idx="31649">
                  <c:v>43690</c:v>
                </c:pt>
                <c:pt idx="31650">
                  <c:v>30504</c:v>
                </c:pt>
                <c:pt idx="31651">
                  <c:v>23004</c:v>
                </c:pt>
                <c:pt idx="31652">
                  <c:v>28412</c:v>
                </c:pt>
                <c:pt idx="31653">
                  <c:v>60034</c:v>
                </c:pt>
                <c:pt idx="31654">
                  <c:v>93727</c:v>
                </c:pt>
                <c:pt idx="31655">
                  <c:v>59789</c:v>
                </c:pt>
                <c:pt idx="31656">
                  <c:v>77436</c:v>
                </c:pt>
                <c:pt idx="31657">
                  <c:v>39477</c:v>
                </c:pt>
                <c:pt idx="31658">
                  <c:v>107193</c:v>
                </c:pt>
                <c:pt idx="31659">
                  <c:v>30413</c:v>
                </c:pt>
                <c:pt idx="31660">
                  <c:v>96133</c:v>
                </c:pt>
                <c:pt idx="31661">
                  <c:v>24792</c:v>
                </c:pt>
                <c:pt idx="31662">
                  <c:v>46872</c:v>
                </c:pt>
                <c:pt idx="31663">
                  <c:v>71691</c:v>
                </c:pt>
                <c:pt idx="31664">
                  <c:v>26538</c:v>
                </c:pt>
                <c:pt idx="31665">
                  <c:v>47726</c:v>
                </c:pt>
                <c:pt idx="31666">
                  <c:v>101716</c:v>
                </c:pt>
                <c:pt idx="31667">
                  <c:v>26272</c:v>
                </c:pt>
                <c:pt idx="31668">
                  <c:v>45745</c:v>
                </c:pt>
                <c:pt idx="31669">
                  <c:v>49303</c:v>
                </c:pt>
                <c:pt idx="31670">
                  <c:v>71268</c:v>
                </c:pt>
                <c:pt idx="31671">
                  <c:v>38938</c:v>
                </c:pt>
                <c:pt idx="31672">
                  <c:v>78568</c:v>
                </c:pt>
                <c:pt idx="31673">
                  <c:v>59010</c:v>
                </c:pt>
                <c:pt idx="31674">
                  <c:v>42048</c:v>
                </c:pt>
                <c:pt idx="31675">
                  <c:v>33994</c:v>
                </c:pt>
                <c:pt idx="31676">
                  <c:v>33218</c:v>
                </c:pt>
                <c:pt idx="31677">
                  <c:v>63409</c:v>
                </c:pt>
                <c:pt idx="31678">
                  <c:v>34471</c:v>
                </c:pt>
                <c:pt idx="31679">
                  <c:v>59410</c:v>
                </c:pt>
                <c:pt idx="31680">
                  <c:v>39601</c:v>
                </c:pt>
                <c:pt idx="31681">
                  <c:v>33962</c:v>
                </c:pt>
                <c:pt idx="31682">
                  <c:v>84033</c:v>
                </c:pt>
                <c:pt idx="31683">
                  <c:v>22611</c:v>
                </c:pt>
                <c:pt idx="31684">
                  <c:v>35824</c:v>
                </c:pt>
                <c:pt idx="31685">
                  <c:v>88278</c:v>
                </c:pt>
                <c:pt idx="31686">
                  <c:v>45680</c:v>
                </c:pt>
                <c:pt idx="31687">
                  <c:v>30311</c:v>
                </c:pt>
                <c:pt idx="31688">
                  <c:v>27076</c:v>
                </c:pt>
                <c:pt idx="31689">
                  <c:v>27297</c:v>
                </c:pt>
                <c:pt idx="31690">
                  <c:v>34340</c:v>
                </c:pt>
                <c:pt idx="31691">
                  <c:v>34737</c:v>
                </c:pt>
                <c:pt idx="31692">
                  <c:v>134273</c:v>
                </c:pt>
                <c:pt idx="31693">
                  <c:v>54606</c:v>
                </c:pt>
                <c:pt idx="31694">
                  <c:v>42586</c:v>
                </c:pt>
                <c:pt idx="31695">
                  <c:v>44078</c:v>
                </c:pt>
                <c:pt idx="31696">
                  <c:v>53790</c:v>
                </c:pt>
                <c:pt idx="31697">
                  <c:v>38588</c:v>
                </c:pt>
                <c:pt idx="31698">
                  <c:v>65862</c:v>
                </c:pt>
                <c:pt idx="31699">
                  <c:v>23796</c:v>
                </c:pt>
                <c:pt idx="31700">
                  <c:v>195283</c:v>
                </c:pt>
                <c:pt idx="31701">
                  <c:v>271141</c:v>
                </c:pt>
                <c:pt idx="31702">
                  <c:v>74090</c:v>
                </c:pt>
                <c:pt idx="31703">
                  <c:v>41983</c:v>
                </c:pt>
                <c:pt idx="31704">
                  <c:v>62649</c:v>
                </c:pt>
                <c:pt idx="31705">
                  <c:v>70871</c:v>
                </c:pt>
                <c:pt idx="31706">
                  <c:v>27355</c:v>
                </c:pt>
                <c:pt idx="31707">
                  <c:v>106994</c:v>
                </c:pt>
                <c:pt idx="31708">
                  <c:v>21120</c:v>
                </c:pt>
                <c:pt idx="31709">
                  <c:v>23391</c:v>
                </c:pt>
                <c:pt idx="31710">
                  <c:v>83029</c:v>
                </c:pt>
                <c:pt idx="31711">
                  <c:v>79747</c:v>
                </c:pt>
                <c:pt idx="31712">
                  <c:v>38420</c:v>
                </c:pt>
                <c:pt idx="31713">
                  <c:v>49000</c:v>
                </c:pt>
                <c:pt idx="31714">
                  <c:v>55850</c:v>
                </c:pt>
                <c:pt idx="31715">
                  <c:v>30225</c:v>
                </c:pt>
                <c:pt idx="31716">
                  <c:v>40080</c:v>
                </c:pt>
                <c:pt idx="31717">
                  <c:v>50791</c:v>
                </c:pt>
                <c:pt idx="31718">
                  <c:v>69188</c:v>
                </c:pt>
                <c:pt idx="31719">
                  <c:v>40844</c:v>
                </c:pt>
                <c:pt idx="31720">
                  <c:v>155123</c:v>
                </c:pt>
                <c:pt idx="31721">
                  <c:v>39457</c:v>
                </c:pt>
                <c:pt idx="31722">
                  <c:v>31363</c:v>
                </c:pt>
                <c:pt idx="31723">
                  <c:v>26860</c:v>
                </c:pt>
                <c:pt idx="31724">
                  <c:v>71455</c:v>
                </c:pt>
                <c:pt idx="31725">
                  <c:v>58528</c:v>
                </c:pt>
                <c:pt idx="31726">
                  <c:v>36409</c:v>
                </c:pt>
                <c:pt idx="31727">
                  <c:v>31572</c:v>
                </c:pt>
                <c:pt idx="31728">
                  <c:v>74323</c:v>
                </c:pt>
                <c:pt idx="31729">
                  <c:v>29643</c:v>
                </c:pt>
                <c:pt idx="31730">
                  <c:v>87455</c:v>
                </c:pt>
                <c:pt idx="31731">
                  <c:v>47850</c:v>
                </c:pt>
                <c:pt idx="31732">
                  <c:v>61605</c:v>
                </c:pt>
                <c:pt idx="31733">
                  <c:v>31878</c:v>
                </c:pt>
                <c:pt idx="31734">
                  <c:v>32676</c:v>
                </c:pt>
                <c:pt idx="31735">
                  <c:v>35131</c:v>
                </c:pt>
                <c:pt idx="31736">
                  <c:v>63125</c:v>
                </c:pt>
                <c:pt idx="31737">
                  <c:v>60666</c:v>
                </c:pt>
                <c:pt idx="31738">
                  <c:v>46797</c:v>
                </c:pt>
                <c:pt idx="31739">
                  <c:v>30752</c:v>
                </c:pt>
                <c:pt idx="31740">
                  <c:v>62703</c:v>
                </c:pt>
                <c:pt idx="31741">
                  <c:v>39762</c:v>
                </c:pt>
                <c:pt idx="31742">
                  <c:v>131429</c:v>
                </c:pt>
                <c:pt idx="31743">
                  <c:v>40351</c:v>
                </c:pt>
                <c:pt idx="31744">
                  <c:v>26824</c:v>
                </c:pt>
                <c:pt idx="31745">
                  <c:v>172089</c:v>
                </c:pt>
                <c:pt idx="31746">
                  <c:v>144212</c:v>
                </c:pt>
                <c:pt idx="31747">
                  <c:v>65695</c:v>
                </c:pt>
                <c:pt idx="31748">
                  <c:v>118474</c:v>
                </c:pt>
                <c:pt idx="31749">
                  <c:v>167450</c:v>
                </c:pt>
                <c:pt idx="31750">
                  <c:v>50087</c:v>
                </c:pt>
                <c:pt idx="31751">
                  <c:v>48244</c:v>
                </c:pt>
                <c:pt idx="31752">
                  <c:v>29758</c:v>
                </c:pt>
                <c:pt idx="31753">
                  <c:v>51863</c:v>
                </c:pt>
                <c:pt idx="31754">
                  <c:v>107381</c:v>
                </c:pt>
                <c:pt idx="31755">
                  <c:v>148302</c:v>
                </c:pt>
                <c:pt idx="31756">
                  <c:v>195289</c:v>
                </c:pt>
                <c:pt idx="31757">
                  <c:v>24062</c:v>
                </c:pt>
                <c:pt idx="31758">
                  <c:v>35436</c:v>
                </c:pt>
                <c:pt idx="31759">
                  <c:v>27953</c:v>
                </c:pt>
                <c:pt idx="31760">
                  <c:v>225798</c:v>
                </c:pt>
                <c:pt idx="31761">
                  <c:v>70668</c:v>
                </c:pt>
                <c:pt idx="31762">
                  <c:v>75024</c:v>
                </c:pt>
                <c:pt idx="31763">
                  <c:v>40385</c:v>
                </c:pt>
                <c:pt idx="31764">
                  <c:v>31451</c:v>
                </c:pt>
                <c:pt idx="31765">
                  <c:v>36669</c:v>
                </c:pt>
                <c:pt idx="31766">
                  <c:v>41069</c:v>
                </c:pt>
                <c:pt idx="31767">
                  <c:v>113769</c:v>
                </c:pt>
                <c:pt idx="31768">
                  <c:v>46260</c:v>
                </c:pt>
                <c:pt idx="31769">
                  <c:v>43592</c:v>
                </c:pt>
                <c:pt idx="31770">
                  <c:v>23395</c:v>
                </c:pt>
                <c:pt idx="31771">
                  <c:v>31736</c:v>
                </c:pt>
                <c:pt idx="31772">
                  <c:v>99175</c:v>
                </c:pt>
                <c:pt idx="31773">
                  <c:v>39817</c:v>
                </c:pt>
                <c:pt idx="31774">
                  <c:v>106378</c:v>
                </c:pt>
                <c:pt idx="31775">
                  <c:v>22007</c:v>
                </c:pt>
                <c:pt idx="31776">
                  <c:v>262372</c:v>
                </c:pt>
                <c:pt idx="31777">
                  <c:v>43922</c:v>
                </c:pt>
                <c:pt idx="31778">
                  <c:v>26313</c:v>
                </c:pt>
                <c:pt idx="31779">
                  <c:v>25965</c:v>
                </c:pt>
                <c:pt idx="31780">
                  <c:v>52771</c:v>
                </c:pt>
                <c:pt idx="31781">
                  <c:v>26111</c:v>
                </c:pt>
                <c:pt idx="31782">
                  <c:v>237936</c:v>
                </c:pt>
                <c:pt idx="31783">
                  <c:v>69991</c:v>
                </c:pt>
                <c:pt idx="31784">
                  <c:v>117673</c:v>
                </c:pt>
                <c:pt idx="31785">
                  <c:v>277469</c:v>
                </c:pt>
                <c:pt idx="31786">
                  <c:v>26106</c:v>
                </c:pt>
                <c:pt idx="31787">
                  <c:v>34947</c:v>
                </c:pt>
                <c:pt idx="31788">
                  <c:v>26610</c:v>
                </c:pt>
                <c:pt idx="31789">
                  <c:v>33183</c:v>
                </c:pt>
                <c:pt idx="31790">
                  <c:v>44586</c:v>
                </c:pt>
                <c:pt idx="31791">
                  <c:v>152923</c:v>
                </c:pt>
                <c:pt idx="31792">
                  <c:v>54096</c:v>
                </c:pt>
                <c:pt idx="31793">
                  <c:v>26940</c:v>
                </c:pt>
                <c:pt idx="31794">
                  <c:v>179687</c:v>
                </c:pt>
                <c:pt idx="31795">
                  <c:v>25158</c:v>
                </c:pt>
                <c:pt idx="31796">
                  <c:v>32906</c:v>
                </c:pt>
                <c:pt idx="31797">
                  <c:v>36578</c:v>
                </c:pt>
                <c:pt idx="31798">
                  <c:v>213586</c:v>
                </c:pt>
                <c:pt idx="31799">
                  <c:v>33212</c:v>
                </c:pt>
                <c:pt idx="31800">
                  <c:v>82720</c:v>
                </c:pt>
                <c:pt idx="31801">
                  <c:v>76090</c:v>
                </c:pt>
                <c:pt idx="31802">
                  <c:v>84358</c:v>
                </c:pt>
                <c:pt idx="31803">
                  <c:v>31483</c:v>
                </c:pt>
                <c:pt idx="31804">
                  <c:v>37612</c:v>
                </c:pt>
                <c:pt idx="31805">
                  <c:v>21837</c:v>
                </c:pt>
                <c:pt idx="31806">
                  <c:v>31024</c:v>
                </c:pt>
                <c:pt idx="31807">
                  <c:v>34189</c:v>
                </c:pt>
                <c:pt idx="31808">
                  <c:v>29186</c:v>
                </c:pt>
                <c:pt idx="31809">
                  <c:v>64572</c:v>
                </c:pt>
                <c:pt idx="31810">
                  <c:v>33530</c:v>
                </c:pt>
                <c:pt idx="31811">
                  <c:v>25902</c:v>
                </c:pt>
                <c:pt idx="31812">
                  <c:v>31294</c:v>
                </c:pt>
                <c:pt idx="31813">
                  <c:v>25622</c:v>
                </c:pt>
                <c:pt idx="31814">
                  <c:v>33447</c:v>
                </c:pt>
                <c:pt idx="31815">
                  <c:v>46121</c:v>
                </c:pt>
                <c:pt idx="31816">
                  <c:v>33778</c:v>
                </c:pt>
                <c:pt idx="31817">
                  <c:v>37132</c:v>
                </c:pt>
                <c:pt idx="31818">
                  <c:v>31561</c:v>
                </c:pt>
                <c:pt idx="31819">
                  <c:v>34180</c:v>
                </c:pt>
                <c:pt idx="31820">
                  <c:v>114566</c:v>
                </c:pt>
                <c:pt idx="31821">
                  <c:v>25422</c:v>
                </c:pt>
                <c:pt idx="31822">
                  <c:v>30247</c:v>
                </c:pt>
                <c:pt idx="31823">
                  <c:v>102684</c:v>
                </c:pt>
                <c:pt idx="31824">
                  <c:v>101020</c:v>
                </c:pt>
                <c:pt idx="31825">
                  <c:v>173764</c:v>
                </c:pt>
                <c:pt idx="31826">
                  <c:v>41311</c:v>
                </c:pt>
                <c:pt idx="31827">
                  <c:v>64802</c:v>
                </c:pt>
                <c:pt idx="31828">
                  <c:v>46564</c:v>
                </c:pt>
                <c:pt idx="31829">
                  <c:v>44367</c:v>
                </c:pt>
                <c:pt idx="31830">
                  <c:v>39174</c:v>
                </c:pt>
                <c:pt idx="31831">
                  <c:v>93581</c:v>
                </c:pt>
                <c:pt idx="31832">
                  <c:v>32402</c:v>
                </c:pt>
                <c:pt idx="31833">
                  <c:v>111276</c:v>
                </c:pt>
                <c:pt idx="31834">
                  <c:v>67486</c:v>
                </c:pt>
                <c:pt idx="31835">
                  <c:v>36093</c:v>
                </c:pt>
                <c:pt idx="31836">
                  <c:v>67464</c:v>
                </c:pt>
                <c:pt idx="31837">
                  <c:v>25288</c:v>
                </c:pt>
                <c:pt idx="31838">
                  <c:v>26890</c:v>
                </c:pt>
                <c:pt idx="31839">
                  <c:v>39102</c:v>
                </c:pt>
                <c:pt idx="31840">
                  <c:v>34567</c:v>
                </c:pt>
                <c:pt idx="31841">
                  <c:v>46111</c:v>
                </c:pt>
                <c:pt idx="31842">
                  <c:v>23529</c:v>
                </c:pt>
                <c:pt idx="31843">
                  <c:v>58104</c:v>
                </c:pt>
                <c:pt idx="31844">
                  <c:v>37199</c:v>
                </c:pt>
                <c:pt idx="31845">
                  <c:v>41318</c:v>
                </c:pt>
                <c:pt idx="31846">
                  <c:v>54687</c:v>
                </c:pt>
                <c:pt idx="31847">
                  <c:v>39806</c:v>
                </c:pt>
                <c:pt idx="31848">
                  <c:v>23361</c:v>
                </c:pt>
                <c:pt idx="31849">
                  <c:v>72959</c:v>
                </c:pt>
                <c:pt idx="31850">
                  <c:v>50434</c:v>
                </c:pt>
                <c:pt idx="31851">
                  <c:v>57192</c:v>
                </c:pt>
                <c:pt idx="31852">
                  <c:v>25182</c:v>
                </c:pt>
                <c:pt idx="31853">
                  <c:v>66703</c:v>
                </c:pt>
                <c:pt idx="31854">
                  <c:v>63055</c:v>
                </c:pt>
                <c:pt idx="31855">
                  <c:v>31103</c:v>
                </c:pt>
                <c:pt idx="31856">
                  <c:v>36002</c:v>
                </c:pt>
                <c:pt idx="31857">
                  <c:v>33172</c:v>
                </c:pt>
                <c:pt idx="31858">
                  <c:v>62836</c:v>
                </c:pt>
                <c:pt idx="31859">
                  <c:v>51428</c:v>
                </c:pt>
                <c:pt idx="31860">
                  <c:v>256239</c:v>
                </c:pt>
                <c:pt idx="31861">
                  <c:v>15000</c:v>
                </c:pt>
                <c:pt idx="31862">
                  <c:v>33743</c:v>
                </c:pt>
                <c:pt idx="31863">
                  <c:v>29862</c:v>
                </c:pt>
                <c:pt idx="31864">
                  <c:v>45265</c:v>
                </c:pt>
                <c:pt idx="31865">
                  <c:v>24633</c:v>
                </c:pt>
                <c:pt idx="31866">
                  <c:v>34732</c:v>
                </c:pt>
                <c:pt idx="31867">
                  <c:v>53255</c:v>
                </c:pt>
                <c:pt idx="31868">
                  <c:v>56501</c:v>
                </c:pt>
                <c:pt idx="31869">
                  <c:v>29412</c:v>
                </c:pt>
                <c:pt idx="31870">
                  <c:v>38637</c:v>
                </c:pt>
                <c:pt idx="31871">
                  <c:v>45094</c:v>
                </c:pt>
                <c:pt idx="31872">
                  <c:v>35443</c:v>
                </c:pt>
                <c:pt idx="31873">
                  <c:v>132219</c:v>
                </c:pt>
                <c:pt idx="31874">
                  <c:v>47132</c:v>
                </c:pt>
                <c:pt idx="31875">
                  <c:v>29004</c:v>
                </c:pt>
                <c:pt idx="31876">
                  <c:v>36239</c:v>
                </c:pt>
                <c:pt idx="31877">
                  <c:v>39798</c:v>
                </c:pt>
                <c:pt idx="31878">
                  <c:v>41450</c:v>
                </c:pt>
                <c:pt idx="31879">
                  <c:v>72618</c:v>
                </c:pt>
                <c:pt idx="31880">
                  <c:v>68152</c:v>
                </c:pt>
                <c:pt idx="31881">
                  <c:v>49454</c:v>
                </c:pt>
                <c:pt idx="31882">
                  <c:v>38589</c:v>
                </c:pt>
                <c:pt idx="31883">
                  <c:v>31677</c:v>
                </c:pt>
                <c:pt idx="31884">
                  <c:v>40025</c:v>
                </c:pt>
                <c:pt idx="31885">
                  <c:v>42341</c:v>
                </c:pt>
                <c:pt idx="31886">
                  <c:v>33955</c:v>
                </c:pt>
                <c:pt idx="31887">
                  <c:v>146643</c:v>
                </c:pt>
                <c:pt idx="31888">
                  <c:v>22694</c:v>
                </c:pt>
                <c:pt idx="31889">
                  <c:v>22333</c:v>
                </c:pt>
                <c:pt idx="31890">
                  <c:v>28870</c:v>
                </c:pt>
                <c:pt idx="31891">
                  <c:v>24562</c:v>
                </c:pt>
                <c:pt idx="31892">
                  <c:v>33923</c:v>
                </c:pt>
                <c:pt idx="31893">
                  <c:v>30563</c:v>
                </c:pt>
                <c:pt idx="31894">
                  <c:v>43781</c:v>
                </c:pt>
                <c:pt idx="31895">
                  <c:v>60314</c:v>
                </c:pt>
                <c:pt idx="31896">
                  <c:v>52360</c:v>
                </c:pt>
                <c:pt idx="31897">
                  <c:v>75347</c:v>
                </c:pt>
                <c:pt idx="31898">
                  <c:v>35575</c:v>
                </c:pt>
                <c:pt idx="31899">
                  <c:v>282112</c:v>
                </c:pt>
                <c:pt idx="31900">
                  <c:v>61083</c:v>
                </c:pt>
                <c:pt idx="31901">
                  <c:v>34762</c:v>
                </c:pt>
                <c:pt idx="31902">
                  <c:v>40952</c:v>
                </c:pt>
                <c:pt idx="31903">
                  <c:v>50702</c:v>
                </c:pt>
                <c:pt idx="31904">
                  <c:v>56339</c:v>
                </c:pt>
                <c:pt idx="31905">
                  <c:v>36193</c:v>
                </c:pt>
                <c:pt idx="31906">
                  <c:v>51402</c:v>
                </c:pt>
                <c:pt idx="31907">
                  <c:v>45012</c:v>
                </c:pt>
                <c:pt idx="31908">
                  <c:v>23752</c:v>
                </c:pt>
                <c:pt idx="31909">
                  <c:v>41128</c:v>
                </c:pt>
                <c:pt idx="31910">
                  <c:v>45886</c:v>
                </c:pt>
                <c:pt idx="31911">
                  <c:v>70499</c:v>
                </c:pt>
                <c:pt idx="31912">
                  <c:v>23676</c:v>
                </c:pt>
                <c:pt idx="31913">
                  <c:v>43236</c:v>
                </c:pt>
                <c:pt idx="31914">
                  <c:v>70705</c:v>
                </c:pt>
                <c:pt idx="31915">
                  <c:v>39998</c:v>
                </c:pt>
                <c:pt idx="31916">
                  <c:v>28499</c:v>
                </c:pt>
                <c:pt idx="31917">
                  <c:v>41410</c:v>
                </c:pt>
                <c:pt idx="31918">
                  <c:v>42088</c:v>
                </c:pt>
                <c:pt idx="31919">
                  <c:v>47648</c:v>
                </c:pt>
                <c:pt idx="31920">
                  <c:v>29212</c:v>
                </c:pt>
                <c:pt idx="31921">
                  <c:v>32345</c:v>
                </c:pt>
                <c:pt idx="31922">
                  <c:v>42600</c:v>
                </c:pt>
                <c:pt idx="31923">
                  <c:v>39666</c:v>
                </c:pt>
                <c:pt idx="31924">
                  <c:v>132015</c:v>
                </c:pt>
                <c:pt idx="31925">
                  <c:v>75002</c:v>
                </c:pt>
                <c:pt idx="31926">
                  <c:v>28569</c:v>
                </c:pt>
                <c:pt idx="31927">
                  <c:v>186291</c:v>
                </c:pt>
                <c:pt idx="31928">
                  <c:v>51060</c:v>
                </c:pt>
                <c:pt idx="31929">
                  <c:v>55673</c:v>
                </c:pt>
                <c:pt idx="31930">
                  <c:v>49896</c:v>
                </c:pt>
                <c:pt idx="31931">
                  <c:v>97152</c:v>
                </c:pt>
                <c:pt idx="31932">
                  <c:v>79003</c:v>
                </c:pt>
                <c:pt idx="31933">
                  <c:v>144547</c:v>
                </c:pt>
                <c:pt idx="31934">
                  <c:v>41737</c:v>
                </c:pt>
                <c:pt idx="31935">
                  <c:v>34184</c:v>
                </c:pt>
                <c:pt idx="31936">
                  <c:v>78730</c:v>
                </c:pt>
                <c:pt idx="31937">
                  <c:v>75449</c:v>
                </c:pt>
                <c:pt idx="31938">
                  <c:v>25434</c:v>
                </c:pt>
                <c:pt idx="31939">
                  <c:v>39852</c:v>
                </c:pt>
                <c:pt idx="31940">
                  <c:v>26477</c:v>
                </c:pt>
                <c:pt idx="31941">
                  <c:v>273236</c:v>
                </c:pt>
                <c:pt idx="31942">
                  <c:v>37421</c:v>
                </c:pt>
                <c:pt idx="31943">
                  <c:v>60418</c:v>
                </c:pt>
                <c:pt idx="31944">
                  <c:v>46125</c:v>
                </c:pt>
                <c:pt idx="31945">
                  <c:v>46066</c:v>
                </c:pt>
                <c:pt idx="31946">
                  <c:v>58519</c:v>
                </c:pt>
                <c:pt idx="31947">
                  <c:v>51154</c:v>
                </c:pt>
                <c:pt idx="31948">
                  <c:v>42041</c:v>
                </c:pt>
                <c:pt idx="31949">
                  <c:v>51612</c:v>
                </c:pt>
                <c:pt idx="31950">
                  <c:v>57267</c:v>
                </c:pt>
                <c:pt idx="31951">
                  <c:v>90548</c:v>
                </c:pt>
                <c:pt idx="31952">
                  <c:v>81918</c:v>
                </c:pt>
                <c:pt idx="31953">
                  <c:v>90679</c:v>
                </c:pt>
                <c:pt idx="31954">
                  <c:v>59816</c:v>
                </c:pt>
                <c:pt idx="31955">
                  <c:v>98169</c:v>
                </c:pt>
                <c:pt idx="31956">
                  <c:v>39578</c:v>
                </c:pt>
                <c:pt idx="31957">
                  <c:v>58865</c:v>
                </c:pt>
                <c:pt idx="31958">
                  <c:v>56317</c:v>
                </c:pt>
                <c:pt idx="31959">
                  <c:v>53686</c:v>
                </c:pt>
                <c:pt idx="31960">
                  <c:v>53080</c:v>
                </c:pt>
                <c:pt idx="31961">
                  <c:v>26322</c:v>
                </c:pt>
                <c:pt idx="31962">
                  <c:v>47698</c:v>
                </c:pt>
                <c:pt idx="31963">
                  <c:v>64433</c:v>
                </c:pt>
                <c:pt idx="31964">
                  <c:v>50432</c:v>
                </c:pt>
                <c:pt idx="31965">
                  <c:v>27761</c:v>
                </c:pt>
                <c:pt idx="31966">
                  <c:v>24304</c:v>
                </c:pt>
                <c:pt idx="31967">
                  <c:v>54372</c:v>
                </c:pt>
                <c:pt idx="31968">
                  <c:v>39190</c:v>
                </c:pt>
                <c:pt idx="31969">
                  <c:v>32282</c:v>
                </c:pt>
                <c:pt idx="31970">
                  <c:v>53772</c:v>
                </c:pt>
                <c:pt idx="31971">
                  <c:v>97156</c:v>
                </c:pt>
                <c:pt idx="31972">
                  <c:v>53850</c:v>
                </c:pt>
                <c:pt idx="31973">
                  <c:v>35678</c:v>
                </c:pt>
                <c:pt idx="31974">
                  <c:v>198695</c:v>
                </c:pt>
                <c:pt idx="31975">
                  <c:v>52608</c:v>
                </c:pt>
                <c:pt idx="31976">
                  <c:v>34905</c:v>
                </c:pt>
                <c:pt idx="31977">
                  <c:v>74268</c:v>
                </c:pt>
                <c:pt idx="31978">
                  <c:v>177562</c:v>
                </c:pt>
                <c:pt idx="31979">
                  <c:v>199878</c:v>
                </c:pt>
                <c:pt idx="31980">
                  <c:v>38813</c:v>
                </c:pt>
                <c:pt idx="31981">
                  <c:v>42802</c:v>
                </c:pt>
                <c:pt idx="31982">
                  <c:v>51320</c:v>
                </c:pt>
                <c:pt idx="31983">
                  <c:v>32632</c:v>
                </c:pt>
                <c:pt idx="31984">
                  <c:v>36909</c:v>
                </c:pt>
                <c:pt idx="31985">
                  <c:v>206101</c:v>
                </c:pt>
                <c:pt idx="31986">
                  <c:v>22427</c:v>
                </c:pt>
                <c:pt idx="31987">
                  <c:v>58212</c:v>
                </c:pt>
                <c:pt idx="31988">
                  <c:v>38250</c:v>
                </c:pt>
                <c:pt idx="31989">
                  <c:v>43819</c:v>
                </c:pt>
                <c:pt idx="31990">
                  <c:v>49971</c:v>
                </c:pt>
                <c:pt idx="31991">
                  <c:v>232642</c:v>
                </c:pt>
                <c:pt idx="31992">
                  <c:v>126177</c:v>
                </c:pt>
                <c:pt idx="31993">
                  <c:v>24278</c:v>
                </c:pt>
                <c:pt idx="31994">
                  <c:v>51742</c:v>
                </c:pt>
                <c:pt idx="31995">
                  <c:v>30547</c:v>
                </c:pt>
                <c:pt idx="31996">
                  <c:v>85756</c:v>
                </c:pt>
                <c:pt idx="31997">
                  <c:v>39457</c:v>
                </c:pt>
                <c:pt idx="31998">
                  <c:v>118916</c:v>
                </c:pt>
                <c:pt idx="31999">
                  <c:v>27368</c:v>
                </c:pt>
                <c:pt idx="32000">
                  <c:v>24285</c:v>
                </c:pt>
                <c:pt idx="32001">
                  <c:v>30011</c:v>
                </c:pt>
                <c:pt idx="32002">
                  <c:v>36936</c:v>
                </c:pt>
                <c:pt idx="32003">
                  <c:v>94639</c:v>
                </c:pt>
                <c:pt idx="32004">
                  <c:v>28371</c:v>
                </c:pt>
                <c:pt idx="32005">
                  <c:v>43924</c:v>
                </c:pt>
                <c:pt idx="32006">
                  <c:v>46559</c:v>
                </c:pt>
                <c:pt idx="32007">
                  <c:v>39584</c:v>
                </c:pt>
                <c:pt idx="32008">
                  <c:v>49706</c:v>
                </c:pt>
                <c:pt idx="32009">
                  <c:v>31245</c:v>
                </c:pt>
                <c:pt idx="32010">
                  <c:v>119930</c:v>
                </c:pt>
                <c:pt idx="32011">
                  <c:v>28005</c:v>
                </c:pt>
                <c:pt idx="32012">
                  <c:v>44852</c:v>
                </c:pt>
                <c:pt idx="32013">
                  <c:v>45000</c:v>
                </c:pt>
                <c:pt idx="32014">
                  <c:v>42929</c:v>
                </c:pt>
                <c:pt idx="32015">
                  <c:v>42618</c:v>
                </c:pt>
                <c:pt idx="32016">
                  <c:v>24391</c:v>
                </c:pt>
                <c:pt idx="32017">
                  <c:v>22876</c:v>
                </c:pt>
                <c:pt idx="32018">
                  <c:v>51111</c:v>
                </c:pt>
                <c:pt idx="32019">
                  <c:v>55388</c:v>
                </c:pt>
                <c:pt idx="32020">
                  <c:v>62329</c:v>
                </c:pt>
                <c:pt idx="32021">
                  <c:v>131907</c:v>
                </c:pt>
                <c:pt idx="32022">
                  <c:v>32253</c:v>
                </c:pt>
                <c:pt idx="32023">
                  <c:v>106412</c:v>
                </c:pt>
                <c:pt idx="32024">
                  <c:v>136353</c:v>
                </c:pt>
                <c:pt idx="32025">
                  <c:v>36477</c:v>
                </c:pt>
                <c:pt idx="32026">
                  <c:v>66212</c:v>
                </c:pt>
                <c:pt idx="32027">
                  <c:v>53590</c:v>
                </c:pt>
                <c:pt idx="32028">
                  <c:v>81912</c:v>
                </c:pt>
                <c:pt idx="32029">
                  <c:v>30896</c:v>
                </c:pt>
                <c:pt idx="32030">
                  <c:v>34617</c:v>
                </c:pt>
                <c:pt idx="32031">
                  <c:v>28736</c:v>
                </c:pt>
                <c:pt idx="32032">
                  <c:v>25611</c:v>
                </c:pt>
                <c:pt idx="32033">
                  <c:v>50663</c:v>
                </c:pt>
                <c:pt idx="32034">
                  <c:v>41438</c:v>
                </c:pt>
                <c:pt idx="32035">
                  <c:v>66615</c:v>
                </c:pt>
                <c:pt idx="32036">
                  <c:v>70880</c:v>
                </c:pt>
                <c:pt idx="32037">
                  <c:v>117441</c:v>
                </c:pt>
                <c:pt idx="32038">
                  <c:v>121763</c:v>
                </c:pt>
                <c:pt idx="32039">
                  <c:v>40495</c:v>
                </c:pt>
                <c:pt idx="32040">
                  <c:v>214704</c:v>
                </c:pt>
                <c:pt idx="32041">
                  <c:v>28510</c:v>
                </c:pt>
                <c:pt idx="32042">
                  <c:v>45142</c:v>
                </c:pt>
                <c:pt idx="32043">
                  <c:v>24979</c:v>
                </c:pt>
                <c:pt idx="32044">
                  <c:v>35318</c:v>
                </c:pt>
                <c:pt idx="32045">
                  <c:v>82473</c:v>
                </c:pt>
                <c:pt idx="32046">
                  <c:v>131907</c:v>
                </c:pt>
                <c:pt idx="32047">
                  <c:v>42298</c:v>
                </c:pt>
                <c:pt idx="32048">
                  <c:v>45935</c:v>
                </c:pt>
                <c:pt idx="32049">
                  <c:v>96169</c:v>
                </c:pt>
                <c:pt idx="32050">
                  <c:v>86203</c:v>
                </c:pt>
                <c:pt idx="32051">
                  <c:v>35448</c:v>
                </c:pt>
                <c:pt idx="32052">
                  <c:v>21323</c:v>
                </c:pt>
                <c:pt idx="32053">
                  <c:v>137094</c:v>
                </c:pt>
                <c:pt idx="32054">
                  <c:v>32785</c:v>
                </c:pt>
                <c:pt idx="32055">
                  <c:v>22331</c:v>
                </c:pt>
                <c:pt idx="32056">
                  <c:v>77615</c:v>
                </c:pt>
                <c:pt idx="32057">
                  <c:v>54540</c:v>
                </c:pt>
                <c:pt idx="32058">
                  <c:v>25861</c:v>
                </c:pt>
                <c:pt idx="32059">
                  <c:v>35461</c:v>
                </c:pt>
                <c:pt idx="32060">
                  <c:v>32937</c:v>
                </c:pt>
                <c:pt idx="32061">
                  <c:v>39891</c:v>
                </c:pt>
                <c:pt idx="32062">
                  <c:v>232024</c:v>
                </c:pt>
                <c:pt idx="32063">
                  <c:v>62061</c:v>
                </c:pt>
                <c:pt idx="32064">
                  <c:v>36498</c:v>
                </c:pt>
                <c:pt idx="32065">
                  <c:v>31261</c:v>
                </c:pt>
                <c:pt idx="32066">
                  <c:v>67744</c:v>
                </c:pt>
                <c:pt idx="32067">
                  <c:v>25190</c:v>
                </c:pt>
                <c:pt idx="32068">
                  <c:v>146413</c:v>
                </c:pt>
                <c:pt idx="32069">
                  <c:v>114744</c:v>
                </c:pt>
                <c:pt idx="32070">
                  <c:v>29349</c:v>
                </c:pt>
                <c:pt idx="32071">
                  <c:v>46856</c:v>
                </c:pt>
                <c:pt idx="32072">
                  <c:v>231860</c:v>
                </c:pt>
                <c:pt idx="32073">
                  <c:v>47102</c:v>
                </c:pt>
                <c:pt idx="32074">
                  <c:v>25424</c:v>
                </c:pt>
                <c:pt idx="32075">
                  <c:v>31655</c:v>
                </c:pt>
                <c:pt idx="32076">
                  <c:v>35719</c:v>
                </c:pt>
                <c:pt idx="32077">
                  <c:v>199130</c:v>
                </c:pt>
                <c:pt idx="32078">
                  <c:v>45643</c:v>
                </c:pt>
                <c:pt idx="32079">
                  <c:v>25059</c:v>
                </c:pt>
                <c:pt idx="32080">
                  <c:v>37512</c:v>
                </c:pt>
                <c:pt idx="32081">
                  <c:v>26701</c:v>
                </c:pt>
                <c:pt idx="32082">
                  <c:v>47170</c:v>
                </c:pt>
                <c:pt idx="32083">
                  <c:v>76938</c:v>
                </c:pt>
                <c:pt idx="32084">
                  <c:v>32067</c:v>
                </c:pt>
                <c:pt idx="32085">
                  <c:v>30434</c:v>
                </c:pt>
                <c:pt idx="32086">
                  <c:v>44735</c:v>
                </c:pt>
                <c:pt idx="32087">
                  <c:v>40471</c:v>
                </c:pt>
                <c:pt idx="32088">
                  <c:v>49711</c:v>
                </c:pt>
                <c:pt idx="32089">
                  <c:v>38972</c:v>
                </c:pt>
                <c:pt idx="32090">
                  <c:v>81675</c:v>
                </c:pt>
                <c:pt idx="32091">
                  <c:v>42124</c:v>
                </c:pt>
                <c:pt idx="32092">
                  <c:v>38680</c:v>
                </c:pt>
                <c:pt idx="32093">
                  <c:v>56677</c:v>
                </c:pt>
                <c:pt idx="32094">
                  <c:v>119661</c:v>
                </c:pt>
                <c:pt idx="32095">
                  <c:v>26893</c:v>
                </c:pt>
                <c:pt idx="32096">
                  <c:v>41679</c:v>
                </c:pt>
                <c:pt idx="32097">
                  <c:v>27158</c:v>
                </c:pt>
                <c:pt idx="32098">
                  <c:v>44390</c:v>
                </c:pt>
                <c:pt idx="32099">
                  <c:v>61416</c:v>
                </c:pt>
                <c:pt idx="32100">
                  <c:v>25531</c:v>
                </c:pt>
                <c:pt idx="32101">
                  <c:v>67569</c:v>
                </c:pt>
                <c:pt idx="32102">
                  <c:v>50244</c:v>
                </c:pt>
                <c:pt idx="32103">
                  <c:v>25648</c:v>
                </c:pt>
                <c:pt idx="32104">
                  <c:v>216838</c:v>
                </c:pt>
                <c:pt idx="32105">
                  <c:v>47711</c:v>
                </c:pt>
                <c:pt idx="32106">
                  <c:v>67687</c:v>
                </c:pt>
                <c:pt idx="32107">
                  <c:v>41743</c:v>
                </c:pt>
                <c:pt idx="32108">
                  <c:v>58457</c:v>
                </c:pt>
                <c:pt idx="32109">
                  <c:v>169922</c:v>
                </c:pt>
                <c:pt idx="32110">
                  <c:v>48942</c:v>
                </c:pt>
                <c:pt idx="32111">
                  <c:v>93541</c:v>
                </c:pt>
                <c:pt idx="32112">
                  <c:v>56645</c:v>
                </c:pt>
                <c:pt idx="32113">
                  <c:v>46923</c:v>
                </c:pt>
                <c:pt idx="32114">
                  <c:v>52917</c:v>
                </c:pt>
                <c:pt idx="32115">
                  <c:v>20793</c:v>
                </c:pt>
                <c:pt idx="32116">
                  <c:v>30094</c:v>
                </c:pt>
                <c:pt idx="32117">
                  <c:v>71110</c:v>
                </c:pt>
                <c:pt idx="32118">
                  <c:v>32163</c:v>
                </c:pt>
                <c:pt idx="32119">
                  <c:v>56861</c:v>
                </c:pt>
                <c:pt idx="32120">
                  <c:v>40526</c:v>
                </c:pt>
                <c:pt idx="32121">
                  <c:v>81120</c:v>
                </c:pt>
                <c:pt idx="32122">
                  <c:v>28888</c:v>
                </c:pt>
                <c:pt idx="32123">
                  <c:v>213823</c:v>
                </c:pt>
                <c:pt idx="32124">
                  <c:v>62987</c:v>
                </c:pt>
                <c:pt idx="32125">
                  <c:v>93579</c:v>
                </c:pt>
                <c:pt idx="32126">
                  <c:v>43552</c:v>
                </c:pt>
                <c:pt idx="32127">
                  <c:v>31737</c:v>
                </c:pt>
                <c:pt idx="32128">
                  <c:v>29848</c:v>
                </c:pt>
                <c:pt idx="32129">
                  <c:v>71790</c:v>
                </c:pt>
                <c:pt idx="32130">
                  <c:v>36476</c:v>
                </c:pt>
                <c:pt idx="32131">
                  <c:v>47534</c:v>
                </c:pt>
                <c:pt idx="32132">
                  <c:v>67172</c:v>
                </c:pt>
                <c:pt idx="32133">
                  <c:v>45512</c:v>
                </c:pt>
                <c:pt idx="32134">
                  <c:v>210905</c:v>
                </c:pt>
                <c:pt idx="32135">
                  <c:v>46957</c:v>
                </c:pt>
                <c:pt idx="32136">
                  <c:v>98516</c:v>
                </c:pt>
                <c:pt idx="32137">
                  <c:v>44010</c:v>
                </c:pt>
                <c:pt idx="32138">
                  <c:v>61601</c:v>
                </c:pt>
                <c:pt idx="32139">
                  <c:v>77139</c:v>
                </c:pt>
                <c:pt idx="32140">
                  <c:v>26198</c:v>
                </c:pt>
                <c:pt idx="32141">
                  <c:v>70403</c:v>
                </c:pt>
                <c:pt idx="32142">
                  <c:v>57328</c:v>
                </c:pt>
                <c:pt idx="32143">
                  <c:v>128995</c:v>
                </c:pt>
                <c:pt idx="32144">
                  <c:v>45571</c:v>
                </c:pt>
                <c:pt idx="32145">
                  <c:v>83528</c:v>
                </c:pt>
                <c:pt idx="32146">
                  <c:v>20698</c:v>
                </c:pt>
                <c:pt idx="32147">
                  <c:v>39565</c:v>
                </c:pt>
                <c:pt idx="32148">
                  <c:v>30101</c:v>
                </c:pt>
                <c:pt idx="32149">
                  <c:v>209873</c:v>
                </c:pt>
                <c:pt idx="32150">
                  <c:v>36250</c:v>
                </c:pt>
                <c:pt idx="32151">
                  <c:v>39099</c:v>
                </c:pt>
                <c:pt idx="32152">
                  <c:v>32655</c:v>
                </c:pt>
                <c:pt idx="32153">
                  <c:v>21168</c:v>
                </c:pt>
                <c:pt idx="32154">
                  <c:v>45675</c:v>
                </c:pt>
                <c:pt idx="32155">
                  <c:v>32538</c:v>
                </c:pt>
                <c:pt idx="32156">
                  <c:v>37017</c:v>
                </c:pt>
                <c:pt idx="32157">
                  <c:v>38785</c:v>
                </c:pt>
                <c:pt idx="32158">
                  <c:v>104646</c:v>
                </c:pt>
                <c:pt idx="32159">
                  <c:v>81130</c:v>
                </c:pt>
                <c:pt idx="32160">
                  <c:v>46624</c:v>
                </c:pt>
                <c:pt idx="32161">
                  <c:v>36010</c:v>
                </c:pt>
                <c:pt idx="32162">
                  <c:v>33112</c:v>
                </c:pt>
                <c:pt idx="32163">
                  <c:v>123662</c:v>
                </c:pt>
                <c:pt idx="32164">
                  <c:v>35631</c:v>
                </c:pt>
                <c:pt idx="32165">
                  <c:v>37789</c:v>
                </c:pt>
                <c:pt idx="32166">
                  <c:v>85046</c:v>
                </c:pt>
                <c:pt idx="32167">
                  <c:v>35453</c:v>
                </c:pt>
                <c:pt idx="32168">
                  <c:v>38784</c:v>
                </c:pt>
                <c:pt idx="32169">
                  <c:v>30230</c:v>
                </c:pt>
                <c:pt idx="32170">
                  <c:v>47783</c:v>
                </c:pt>
                <c:pt idx="32171">
                  <c:v>73737</c:v>
                </c:pt>
                <c:pt idx="32172">
                  <c:v>64507</c:v>
                </c:pt>
                <c:pt idx="32173">
                  <c:v>137407</c:v>
                </c:pt>
                <c:pt idx="32174">
                  <c:v>107524</c:v>
                </c:pt>
                <c:pt idx="32175">
                  <c:v>60155</c:v>
                </c:pt>
                <c:pt idx="32176">
                  <c:v>79304</c:v>
                </c:pt>
                <c:pt idx="32177">
                  <c:v>110049</c:v>
                </c:pt>
                <c:pt idx="32178">
                  <c:v>45892</c:v>
                </c:pt>
                <c:pt idx="32179">
                  <c:v>44674</c:v>
                </c:pt>
                <c:pt idx="32180">
                  <c:v>39645</c:v>
                </c:pt>
                <c:pt idx="32181">
                  <c:v>22923</c:v>
                </c:pt>
                <c:pt idx="32182">
                  <c:v>41867</c:v>
                </c:pt>
                <c:pt idx="32183">
                  <c:v>87997</c:v>
                </c:pt>
                <c:pt idx="32184">
                  <c:v>68640</c:v>
                </c:pt>
                <c:pt idx="32185">
                  <c:v>46183</c:v>
                </c:pt>
                <c:pt idx="32186">
                  <c:v>102959</c:v>
                </c:pt>
                <c:pt idx="32187">
                  <c:v>63142</c:v>
                </c:pt>
                <c:pt idx="32188">
                  <c:v>51978</c:v>
                </c:pt>
                <c:pt idx="32189">
                  <c:v>47201</c:v>
                </c:pt>
                <c:pt idx="32190">
                  <c:v>56850</c:v>
                </c:pt>
                <c:pt idx="32191">
                  <c:v>25961</c:v>
                </c:pt>
                <c:pt idx="32192">
                  <c:v>33449</c:v>
                </c:pt>
                <c:pt idx="32193">
                  <c:v>142976</c:v>
                </c:pt>
                <c:pt idx="32194">
                  <c:v>21732</c:v>
                </c:pt>
                <c:pt idx="32195">
                  <c:v>44167</c:v>
                </c:pt>
                <c:pt idx="32196">
                  <c:v>25858</c:v>
                </c:pt>
                <c:pt idx="32197">
                  <c:v>22512</c:v>
                </c:pt>
                <c:pt idx="32198">
                  <c:v>44978</c:v>
                </c:pt>
                <c:pt idx="32199">
                  <c:v>169561</c:v>
                </c:pt>
                <c:pt idx="32200">
                  <c:v>43680</c:v>
                </c:pt>
                <c:pt idx="32201">
                  <c:v>42023</c:v>
                </c:pt>
                <c:pt idx="32202">
                  <c:v>25653</c:v>
                </c:pt>
                <c:pt idx="32203">
                  <c:v>44749</c:v>
                </c:pt>
                <c:pt idx="32204">
                  <c:v>32985</c:v>
                </c:pt>
                <c:pt idx="32205">
                  <c:v>41838</c:v>
                </c:pt>
                <c:pt idx="32206">
                  <c:v>72020</c:v>
                </c:pt>
                <c:pt idx="32207">
                  <c:v>32552</c:v>
                </c:pt>
                <c:pt idx="32208">
                  <c:v>29579</c:v>
                </c:pt>
                <c:pt idx="32209">
                  <c:v>71385</c:v>
                </c:pt>
                <c:pt idx="32210">
                  <c:v>49673</c:v>
                </c:pt>
                <c:pt idx="32211">
                  <c:v>32033</c:v>
                </c:pt>
                <c:pt idx="32212">
                  <c:v>43344</c:v>
                </c:pt>
                <c:pt idx="32213">
                  <c:v>153336</c:v>
                </c:pt>
                <c:pt idx="32214">
                  <c:v>95134</c:v>
                </c:pt>
                <c:pt idx="32215">
                  <c:v>62385</c:v>
                </c:pt>
                <c:pt idx="32216">
                  <c:v>78411</c:v>
                </c:pt>
                <c:pt idx="32217">
                  <c:v>22071</c:v>
                </c:pt>
                <c:pt idx="32218">
                  <c:v>31051</c:v>
                </c:pt>
                <c:pt idx="32219">
                  <c:v>131620</c:v>
                </c:pt>
                <c:pt idx="32220">
                  <c:v>49448</c:v>
                </c:pt>
                <c:pt idx="32221">
                  <c:v>48816</c:v>
                </c:pt>
                <c:pt idx="32222">
                  <c:v>43957</c:v>
                </c:pt>
                <c:pt idx="32223">
                  <c:v>55492</c:v>
                </c:pt>
                <c:pt idx="32224">
                  <c:v>24830</c:v>
                </c:pt>
                <c:pt idx="32225">
                  <c:v>246261</c:v>
                </c:pt>
                <c:pt idx="32226">
                  <c:v>39807</c:v>
                </c:pt>
                <c:pt idx="32227">
                  <c:v>49565</c:v>
                </c:pt>
                <c:pt idx="32228">
                  <c:v>53432</c:v>
                </c:pt>
                <c:pt idx="32229">
                  <c:v>53957</c:v>
                </c:pt>
                <c:pt idx="32230">
                  <c:v>42194</c:v>
                </c:pt>
                <c:pt idx="32231">
                  <c:v>48097</c:v>
                </c:pt>
                <c:pt idx="32232">
                  <c:v>32073</c:v>
                </c:pt>
                <c:pt idx="32233">
                  <c:v>28775</c:v>
                </c:pt>
                <c:pt idx="32234">
                  <c:v>38764</c:v>
                </c:pt>
                <c:pt idx="32235">
                  <c:v>84125</c:v>
                </c:pt>
                <c:pt idx="32236">
                  <c:v>78704</c:v>
                </c:pt>
                <c:pt idx="32237">
                  <c:v>65359</c:v>
                </c:pt>
                <c:pt idx="32238">
                  <c:v>68157</c:v>
                </c:pt>
                <c:pt idx="32239">
                  <c:v>31705</c:v>
                </c:pt>
                <c:pt idx="32240">
                  <c:v>41091</c:v>
                </c:pt>
                <c:pt idx="32241">
                  <c:v>40262</c:v>
                </c:pt>
                <c:pt idx="32242">
                  <c:v>52248</c:v>
                </c:pt>
                <c:pt idx="32243">
                  <c:v>523569</c:v>
                </c:pt>
                <c:pt idx="32244">
                  <c:v>37530</c:v>
                </c:pt>
                <c:pt idx="32245">
                  <c:v>32929</c:v>
                </c:pt>
                <c:pt idx="32246">
                  <c:v>29198</c:v>
                </c:pt>
                <c:pt idx="32247">
                  <c:v>60001</c:v>
                </c:pt>
                <c:pt idx="32248">
                  <c:v>39016</c:v>
                </c:pt>
                <c:pt idx="32249">
                  <c:v>23507</c:v>
                </c:pt>
                <c:pt idx="32250">
                  <c:v>45616</c:v>
                </c:pt>
                <c:pt idx="32251">
                  <c:v>54703</c:v>
                </c:pt>
                <c:pt idx="32252">
                  <c:v>35722</c:v>
                </c:pt>
                <c:pt idx="32253">
                  <c:v>40402</c:v>
                </c:pt>
                <c:pt idx="32254">
                  <c:v>38392</c:v>
                </c:pt>
                <c:pt idx="32255">
                  <c:v>49081</c:v>
                </c:pt>
                <c:pt idx="32256">
                  <c:v>310522</c:v>
                </c:pt>
                <c:pt idx="32257">
                  <c:v>65278</c:v>
                </c:pt>
                <c:pt idx="32258">
                  <c:v>27688</c:v>
                </c:pt>
                <c:pt idx="32259">
                  <c:v>234670</c:v>
                </c:pt>
                <c:pt idx="32260">
                  <c:v>25543</c:v>
                </c:pt>
                <c:pt idx="32261">
                  <c:v>26128</c:v>
                </c:pt>
                <c:pt idx="32262">
                  <c:v>36095</c:v>
                </c:pt>
                <c:pt idx="32263">
                  <c:v>52343</c:v>
                </c:pt>
                <c:pt idx="32264">
                  <c:v>24119</c:v>
                </c:pt>
                <c:pt idx="32265">
                  <c:v>75406</c:v>
                </c:pt>
                <c:pt idx="32266">
                  <c:v>42468</c:v>
                </c:pt>
                <c:pt idx="32267">
                  <c:v>20229</c:v>
                </c:pt>
                <c:pt idx="32268">
                  <c:v>90102</c:v>
                </c:pt>
                <c:pt idx="32269">
                  <c:v>29432</c:v>
                </c:pt>
                <c:pt idx="32270">
                  <c:v>37295</c:v>
                </c:pt>
                <c:pt idx="32271">
                  <c:v>25148</c:v>
                </c:pt>
                <c:pt idx="32272">
                  <c:v>35294</c:v>
                </c:pt>
                <c:pt idx="32273">
                  <c:v>40348</c:v>
                </c:pt>
                <c:pt idx="32274">
                  <c:v>105937</c:v>
                </c:pt>
                <c:pt idx="32275">
                  <c:v>37207</c:v>
                </c:pt>
                <c:pt idx="32276">
                  <c:v>34246</c:v>
                </c:pt>
                <c:pt idx="32277">
                  <c:v>120342</c:v>
                </c:pt>
                <c:pt idx="32278">
                  <c:v>25396</c:v>
                </c:pt>
                <c:pt idx="32279">
                  <c:v>40652</c:v>
                </c:pt>
                <c:pt idx="32280">
                  <c:v>33759</c:v>
                </c:pt>
                <c:pt idx="32281">
                  <c:v>188471</c:v>
                </c:pt>
                <c:pt idx="32282">
                  <c:v>39259</c:v>
                </c:pt>
                <c:pt idx="32283">
                  <c:v>67691</c:v>
                </c:pt>
                <c:pt idx="32284">
                  <c:v>24302</c:v>
                </c:pt>
                <c:pt idx="32285">
                  <c:v>58926</c:v>
                </c:pt>
                <c:pt idx="32286">
                  <c:v>144304</c:v>
                </c:pt>
                <c:pt idx="32287">
                  <c:v>25257</c:v>
                </c:pt>
                <c:pt idx="32288">
                  <c:v>40563</c:v>
                </c:pt>
                <c:pt idx="32289">
                  <c:v>116465</c:v>
                </c:pt>
                <c:pt idx="32290">
                  <c:v>30443</c:v>
                </c:pt>
                <c:pt idx="32291">
                  <c:v>69631</c:v>
                </c:pt>
                <c:pt idx="32292">
                  <c:v>39432</c:v>
                </c:pt>
                <c:pt idx="32293">
                  <c:v>305461</c:v>
                </c:pt>
                <c:pt idx="32294">
                  <c:v>176326</c:v>
                </c:pt>
                <c:pt idx="32295">
                  <c:v>60196</c:v>
                </c:pt>
                <c:pt idx="32296">
                  <c:v>36598</c:v>
                </c:pt>
                <c:pt idx="32297">
                  <c:v>49773</c:v>
                </c:pt>
                <c:pt idx="32298">
                  <c:v>69878</c:v>
                </c:pt>
                <c:pt idx="32299">
                  <c:v>37359</c:v>
                </c:pt>
                <c:pt idx="32300">
                  <c:v>68865</c:v>
                </c:pt>
                <c:pt idx="32301">
                  <c:v>160757</c:v>
                </c:pt>
                <c:pt idx="32302">
                  <c:v>212706</c:v>
                </c:pt>
                <c:pt idx="32303">
                  <c:v>98582</c:v>
                </c:pt>
                <c:pt idx="32304">
                  <c:v>51818</c:v>
                </c:pt>
                <c:pt idx="32305">
                  <c:v>284082</c:v>
                </c:pt>
                <c:pt idx="32306">
                  <c:v>24391</c:v>
                </c:pt>
                <c:pt idx="32307">
                  <c:v>47224</c:v>
                </c:pt>
                <c:pt idx="32308">
                  <c:v>33376</c:v>
                </c:pt>
                <c:pt idx="32309">
                  <c:v>58347</c:v>
                </c:pt>
                <c:pt idx="32310">
                  <c:v>36061</c:v>
                </c:pt>
                <c:pt idx="32311">
                  <c:v>214410</c:v>
                </c:pt>
                <c:pt idx="32312">
                  <c:v>28191</c:v>
                </c:pt>
                <c:pt idx="32313">
                  <c:v>51668</c:v>
                </c:pt>
                <c:pt idx="32314">
                  <c:v>96409</c:v>
                </c:pt>
                <c:pt idx="32315">
                  <c:v>57530</c:v>
                </c:pt>
                <c:pt idx="32316">
                  <c:v>33176</c:v>
                </c:pt>
                <c:pt idx="32317">
                  <c:v>25841</c:v>
                </c:pt>
                <c:pt idx="32318">
                  <c:v>19581</c:v>
                </c:pt>
                <c:pt idx="32319">
                  <c:v>27293</c:v>
                </c:pt>
                <c:pt idx="32320">
                  <c:v>95308</c:v>
                </c:pt>
                <c:pt idx="32321">
                  <c:v>60339</c:v>
                </c:pt>
                <c:pt idx="32322">
                  <c:v>44666</c:v>
                </c:pt>
                <c:pt idx="32323">
                  <c:v>35157</c:v>
                </c:pt>
                <c:pt idx="32324">
                  <c:v>44191</c:v>
                </c:pt>
                <c:pt idx="32325">
                  <c:v>27178</c:v>
                </c:pt>
                <c:pt idx="32326">
                  <c:v>43870</c:v>
                </c:pt>
                <c:pt idx="32327">
                  <c:v>56292</c:v>
                </c:pt>
                <c:pt idx="32328">
                  <c:v>115713</c:v>
                </c:pt>
                <c:pt idx="32329">
                  <c:v>70823</c:v>
                </c:pt>
                <c:pt idx="32330">
                  <c:v>118451</c:v>
                </c:pt>
                <c:pt idx="32331">
                  <c:v>105750</c:v>
                </c:pt>
                <c:pt idx="32332">
                  <c:v>40905</c:v>
                </c:pt>
                <c:pt idx="32333">
                  <c:v>32066</c:v>
                </c:pt>
                <c:pt idx="32334">
                  <c:v>35694</c:v>
                </c:pt>
                <c:pt idx="32335">
                  <c:v>30568</c:v>
                </c:pt>
                <c:pt idx="32336">
                  <c:v>159422</c:v>
                </c:pt>
                <c:pt idx="32337">
                  <c:v>36012</c:v>
                </c:pt>
                <c:pt idx="32338">
                  <c:v>58129</c:v>
                </c:pt>
                <c:pt idx="32339">
                  <c:v>34558</c:v>
                </c:pt>
                <c:pt idx="32340">
                  <c:v>63811</c:v>
                </c:pt>
                <c:pt idx="32341">
                  <c:v>36841</c:v>
                </c:pt>
                <c:pt idx="32342">
                  <c:v>49750</c:v>
                </c:pt>
                <c:pt idx="32343">
                  <c:v>57240</c:v>
                </c:pt>
                <c:pt idx="32344">
                  <c:v>135289</c:v>
                </c:pt>
                <c:pt idx="32345">
                  <c:v>41370</c:v>
                </c:pt>
                <c:pt idx="32346">
                  <c:v>63004</c:v>
                </c:pt>
                <c:pt idx="32347">
                  <c:v>188679</c:v>
                </c:pt>
                <c:pt idx="32348">
                  <c:v>29107</c:v>
                </c:pt>
                <c:pt idx="32349">
                  <c:v>35366</c:v>
                </c:pt>
                <c:pt idx="32350">
                  <c:v>44855</c:v>
                </c:pt>
                <c:pt idx="32351">
                  <c:v>101227</c:v>
                </c:pt>
                <c:pt idx="32352">
                  <c:v>34692</c:v>
                </c:pt>
                <c:pt idx="32353">
                  <c:v>30635</c:v>
                </c:pt>
                <c:pt idx="32354">
                  <c:v>44808</c:v>
                </c:pt>
                <c:pt idx="32355">
                  <c:v>44681</c:v>
                </c:pt>
                <c:pt idx="32356">
                  <c:v>26218</c:v>
                </c:pt>
                <c:pt idx="32357">
                  <c:v>28252</c:v>
                </c:pt>
                <c:pt idx="32358">
                  <c:v>60883</c:v>
                </c:pt>
                <c:pt idx="32359">
                  <c:v>44155</c:v>
                </c:pt>
                <c:pt idx="32360">
                  <c:v>79903</c:v>
                </c:pt>
                <c:pt idx="32361">
                  <c:v>69540</c:v>
                </c:pt>
                <c:pt idx="32362">
                  <c:v>60388</c:v>
                </c:pt>
                <c:pt idx="32363">
                  <c:v>368516</c:v>
                </c:pt>
                <c:pt idx="32364">
                  <c:v>30449</c:v>
                </c:pt>
                <c:pt idx="32365">
                  <c:v>38837</c:v>
                </c:pt>
                <c:pt idx="32366">
                  <c:v>52444</c:v>
                </c:pt>
                <c:pt idx="32367">
                  <c:v>45493</c:v>
                </c:pt>
                <c:pt idx="32368">
                  <c:v>48295</c:v>
                </c:pt>
                <c:pt idx="32369">
                  <c:v>43701</c:v>
                </c:pt>
                <c:pt idx="32370">
                  <c:v>54844</c:v>
                </c:pt>
                <c:pt idx="32371">
                  <c:v>23656</c:v>
                </c:pt>
                <c:pt idx="32372">
                  <c:v>40037</c:v>
                </c:pt>
                <c:pt idx="32373">
                  <c:v>277948</c:v>
                </c:pt>
                <c:pt idx="32374">
                  <c:v>40403</c:v>
                </c:pt>
                <c:pt idx="32375">
                  <c:v>32069</c:v>
                </c:pt>
                <c:pt idx="32376">
                  <c:v>52406</c:v>
                </c:pt>
                <c:pt idx="32377">
                  <c:v>57422</c:v>
                </c:pt>
                <c:pt idx="32378">
                  <c:v>52609</c:v>
                </c:pt>
                <c:pt idx="32379">
                  <c:v>43744</c:v>
                </c:pt>
                <c:pt idx="32380">
                  <c:v>30479</c:v>
                </c:pt>
                <c:pt idx="32381">
                  <c:v>36411</c:v>
                </c:pt>
                <c:pt idx="32382">
                  <c:v>31903</c:v>
                </c:pt>
                <c:pt idx="32383">
                  <c:v>50651</c:v>
                </c:pt>
                <c:pt idx="32384">
                  <c:v>35089</c:v>
                </c:pt>
                <c:pt idx="32385">
                  <c:v>41419</c:v>
                </c:pt>
                <c:pt idx="32386">
                  <c:v>65760</c:v>
                </c:pt>
                <c:pt idx="32387">
                  <c:v>56817</c:v>
                </c:pt>
                <c:pt idx="32388">
                  <c:v>88272</c:v>
                </c:pt>
                <c:pt idx="32389">
                  <c:v>35246</c:v>
                </c:pt>
                <c:pt idx="32390">
                  <c:v>42880</c:v>
                </c:pt>
                <c:pt idx="32391">
                  <c:v>34922</c:v>
                </c:pt>
                <c:pt idx="32392">
                  <c:v>40360</c:v>
                </c:pt>
                <c:pt idx="32393">
                  <c:v>71721</c:v>
                </c:pt>
                <c:pt idx="32394">
                  <c:v>51387</c:v>
                </c:pt>
                <c:pt idx="32395">
                  <c:v>99585</c:v>
                </c:pt>
                <c:pt idx="32396">
                  <c:v>96277</c:v>
                </c:pt>
                <c:pt idx="32397">
                  <c:v>161138</c:v>
                </c:pt>
                <c:pt idx="32398">
                  <c:v>29005</c:v>
                </c:pt>
                <c:pt idx="32399">
                  <c:v>38078</c:v>
                </c:pt>
                <c:pt idx="32400">
                  <c:v>27018</c:v>
                </c:pt>
                <c:pt idx="32401">
                  <c:v>27937</c:v>
                </c:pt>
                <c:pt idx="32402">
                  <c:v>24932</c:v>
                </c:pt>
                <c:pt idx="32403">
                  <c:v>43602</c:v>
                </c:pt>
                <c:pt idx="32404">
                  <c:v>71990</c:v>
                </c:pt>
                <c:pt idx="32405">
                  <c:v>74688</c:v>
                </c:pt>
                <c:pt idx="32406">
                  <c:v>116109</c:v>
                </c:pt>
                <c:pt idx="32407">
                  <c:v>72067</c:v>
                </c:pt>
                <c:pt idx="32408">
                  <c:v>148307</c:v>
                </c:pt>
                <c:pt idx="32409">
                  <c:v>42570</c:v>
                </c:pt>
                <c:pt idx="32410">
                  <c:v>35293</c:v>
                </c:pt>
                <c:pt idx="32411">
                  <c:v>25306</c:v>
                </c:pt>
                <c:pt idx="32412">
                  <c:v>105997</c:v>
                </c:pt>
                <c:pt idx="32413">
                  <c:v>86546</c:v>
                </c:pt>
                <c:pt idx="32414">
                  <c:v>39368</c:v>
                </c:pt>
                <c:pt idx="32415">
                  <c:v>56215</c:v>
                </c:pt>
                <c:pt idx="32416">
                  <c:v>146145</c:v>
                </c:pt>
                <c:pt idx="32417">
                  <c:v>71135</c:v>
                </c:pt>
                <c:pt idx="32418">
                  <c:v>78597</c:v>
                </c:pt>
                <c:pt idx="32419">
                  <c:v>36855</c:v>
                </c:pt>
                <c:pt idx="32420">
                  <c:v>62902</c:v>
                </c:pt>
                <c:pt idx="32421">
                  <c:v>31837</c:v>
                </c:pt>
                <c:pt idx="32422">
                  <c:v>39075</c:v>
                </c:pt>
                <c:pt idx="32423">
                  <c:v>52538</c:v>
                </c:pt>
                <c:pt idx="32424">
                  <c:v>36565</c:v>
                </c:pt>
                <c:pt idx="32425">
                  <c:v>221972</c:v>
                </c:pt>
                <c:pt idx="32426">
                  <c:v>44169</c:v>
                </c:pt>
                <c:pt idx="32427">
                  <c:v>48055</c:v>
                </c:pt>
                <c:pt idx="32428">
                  <c:v>37267</c:v>
                </c:pt>
                <c:pt idx="32429">
                  <c:v>38558</c:v>
                </c:pt>
                <c:pt idx="32430">
                  <c:v>64816</c:v>
                </c:pt>
                <c:pt idx="32431">
                  <c:v>44062</c:v>
                </c:pt>
                <c:pt idx="32432">
                  <c:v>31428</c:v>
                </c:pt>
                <c:pt idx="32433">
                  <c:v>83862</c:v>
                </c:pt>
                <c:pt idx="32434">
                  <c:v>81630</c:v>
                </c:pt>
                <c:pt idx="32435">
                  <c:v>43265</c:v>
                </c:pt>
                <c:pt idx="32436">
                  <c:v>55004</c:v>
                </c:pt>
                <c:pt idx="32437">
                  <c:v>42016</c:v>
                </c:pt>
                <c:pt idx="32438">
                  <c:v>27290</c:v>
                </c:pt>
                <c:pt idx="32439">
                  <c:v>35825</c:v>
                </c:pt>
                <c:pt idx="32440">
                  <c:v>27173</c:v>
                </c:pt>
                <c:pt idx="32441">
                  <c:v>142087</c:v>
                </c:pt>
                <c:pt idx="32442">
                  <c:v>31185</c:v>
                </c:pt>
                <c:pt idx="32443">
                  <c:v>40445</c:v>
                </c:pt>
                <c:pt idx="32444">
                  <c:v>36988</c:v>
                </c:pt>
                <c:pt idx="32445">
                  <c:v>36420</c:v>
                </c:pt>
                <c:pt idx="32446">
                  <c:v>69466</c:v>
                </c:pt>
                <c:pt idx="32447">
                  <c:v>100361</c:v>
                </c:pt>
                <c:pt idx="32448">
                  <c:v>36836</c:v>
                </c:pt>
                <c:pt idx="32449">
                  <c:v>45832</c:v>
                </c:pt>
                <c:pt idx="32450">
                  <c:v>88107</c:v>
                </c:pt>
                <c:pt idx="32451">
                  <c:v>41991</c:v>
                </c:pt>
                <c:pt idx="32452">
                  <c:v>24164</c:v>
                </c:pt>
                <c:pt idx="32453">
                  <c:v>28397</c:v>
                </c:pt>
                <c:pt idx="32454">
                  <c:v>365725</c:v>
                </c:pt>
                <c:pt idx="32455">
                  <c:v>55536</c:v>
                </c:pt>
                <c:pt idx="32456">
                  <c:v>32775</c:v>
                </c:pt>
                <c:pt idx="32457">
                  <c:v>64545</c:v>
                </c:pt>
                <c:pt idx="32458">
                  <c:v>45835</c:v>
                </c:pt>
                <c:pt idx="32459">
                  <c:v>194281</c:v>
                </c:pt>
                <c:pt idx="32460">
                  <c:v>41425</c:v>
                </c:pt>
                <c:pt idx="32461">
                  <c:v>32722</c:v>
                </c:pt>
                <c:pt idx="32462">
                  <c:v>24065</c:v>
                </c:pt>
                <c:pt idx="32463">
                  <c:v>40395</c:v>
                </c:pt>
                <c:pt idx="32464">
                  <c:v>40085</c:v>
                </c:pt>
                <c:pt idx="32465">
                  <c:v>68529</c:v>
                </c:pt>
                <c:pt idx="32466">
                  <c:v>40891</c:v>
                </c:pt>
                <c:pt idx="32467">
                  <c:v>50459</c:v>
                </c:pt>
                <c:pt idx="32468">
                  <c:v>41257</c:v>
                </c:pt>
                <c:pt idx="32469">
                  <c:v>36249</c:v>
                </c:pt>
                <c:pt idx="32470">
                  <c:v>49619</c:v>
                </c:pt>
                <c:pt idx="32471">
                  <c:v>23186</c:v>
                </c:pt>
                <c:pt idx="32472">
                  <c:v>25949</c:v>
                </c:pt>
                <c:pt idx="32473">
                  <c:v>131588</c:v>
                </c:pt>
                <c:pt idx="32474">
                  <c:v>44149</c:v>
                </c:pt>
                <c:pt idx="32475">
                  <c:v>26918</c:v>
                </c:pt>
                <c:pt idx="32476">
                  <c:v>26858</c:v>
                </c:pt>
                <c:pt idx="32477">
                  <c:v>42596</c:v>
                </c:pt>
                <c:pt idx="32478">
                  <c:v>47992</c:v>
                </c:pt>
                <c:pt idx="32479">
                  <c:v>45878</c:v>
                </c:pt>
                <c:pt idx="32480">
                  <c:v>32623</c:v>
                </c:pt>
                <c:pt idx="32481">
                  <c:v>43007</c:v>
                </c:pt>
                <c:pt idx="32482">
                  <c:v>114935</c:v>
                </c:pt>
                <c:pt idx="32483">
                  <c:v>28123</c:v>
                </c:pt>
                <c:pt idx="32484">
                  <c:v>176536</c:v>
                </c:pt>
                <c:pt idx="32485">
                  <c:v>23892</c:v>
                </c:pt>
                <c:pt idx="32486">
                  <c:v>41799</c:v>
                </c:pt>
                <c:pt idx="32487">
                  <c:v>35762</c:v>
                </c:pt>
                <c:pt idx="32488">
                  <c:v>34282</c:v>
                </c:pt>
                <c:pt idx="32489">
                  <c:v>43213</c:v>
                </c:pt>
                <c:pt idx="32490">
                  <c:v>56920</c:v>
                </c:pt>
                <c:pt idx="32491">
                  <c:v>151817</c:v>
                </c:pt>
                <c:pt idx="32492">
                  <c:v>32249</c:v>
                </c:pt>
                <c:pt idx="32493">
                  <c:v>42693</c:v>
                </c:pt>
                <c:pt idx="32494">
                  <c:v>38178</c:v>
                </c:pt>
                <c:pt idx="32495">
                  <c:v>32718</c:v>
                </c:pt>
                <c:pt idx="32496">
                  <c:v>28385</c:v>
                </c:pt>
                <c:pt idx="32497">
                  <c:v>231926</c:v>
                </c:pt>
                <c:pt idx="32498">
                  <c:v>213035</c:v>
                </c:pt>
                <c:pt idx="32499">
                  <c:v>38017</c:v>
                </c:pt>
                <c:pt idx="32500">
                  <c:v>114288</c:v>
                </c:pt>
                <c:pt idx="32501">
                  <c:v>32571</c:v>
                </c:pt>
                <c:pt idx="32502">
                  <c:v>23726</c:v>
                </c:pt>
                <c:pt idx="32503">
                  <c:v>42363</c:v>
                </c:pt>
                <c:pt idx="32504">
                  <c:v>34205</c:v>
                </c:pt>
                <c:pt idx="32505">
                  <c:v>36839</c:v>
                </c:pt>
                <c:pt idx="32506">
                  <c:v>26769</c:v>
                </c:pt>
                <c:pt idx="32507">
                  <c:v>15000</c:v>
                </c:pt>
                <c:pt idx="32508">
                  <c:v>42943</c:v>
                </c:pt>
                <c:pt idx="32509">
                  <c:v>28099</c:v>
                </c:pt>
                <c:pt idx="32510">
                  <c:v>54921</c:v>
                </c:pt>
                <c:pt idx="32511">
                  <c:v>36805</c:v>
                </c:pt>
                <c:pt idx="32512">
                  <c:v>49462</c:v>
                </c:pt>
                <c:pt idx="32513">
                  <c:v>43392</c:v>
                </c:pt>
                <c:pt idx="32514">
                  <c:v>148606</c:v>
                </c:pt>
                <c:pt idx="32515">
                  <c:v>62293</c:v>
                </c:pt>
                <c:pt idx="32516">
                  <c:v>33890</c:v>
                </c:pt>
                <c:pt idx="32517">
                  <c:v>299502</c:v>
                </c:pt>
                <c:pt idx="32518">
                  <c:v>25071</c:v>
                </c:pt>
                <c:pt idx="32519">
                  <c:v>38512</c:v>
                </c:pt>
                <c:pt idx="32520">
                  <c:v>42256</c:v>
                </c:pt>
                <c:pt idx="32521">
                  <c:v>80797</c:v>
                </c:pt>
                <c:pt idx="32522">
                  <c:v>121288</c:v>
                </c:pt>
                <c:pt idx="32523">
                  <c:v>305889</c:v>
                </c:pt>
                <c:pt idx="32524">
                  <c:v>36972</c:v>
                </c:pt>
                <c:pt idx="32525">
                  <c:v>30848</c:v>
                </c:pt>
                <c:pt idx="32526">
                  <c:v>54946</c:v>
                </c:pt>
                <c:pt idx="32527">
                  <c:v>63341</c:v>
                </c:pt>
                <c:pt idx="32528">
                  <c:v>56925</c:v>
                </c:pt>
                <c:pt idx="32529">
                  <c:v>38590</c:v>
                </c:pt>
                <c:pt idx="32530">
                  <c:v>67153</c:v>
                </c:pt>
                <c:pt idx="32531">
                  <c:v>39296</c:v>
                </c:pt>
                <c:pt idx="32532">
                  <c:v>77001</c:v>
                </c:pt>
                <c:pt idx="32533">
                  <c:v>100973</c:v>
                </c:pt>
                <c:pt idx="32534">
                  <c:v>235103</c:v>
                </c:pt>
                <c:pt idx="32535">
                  <c:v>49470</c:v>
                </c:pt>
                <c:pt idx="32536">
                  <c:v>35605</c:v>
                </c:pt>
                <c:pt idx="32537">
                  <c:v>23763</c:v>
                </c:pt>
                <c:pt idx="32538">
                  <c:v>29503</c:v>
                </c:pt>
                <c:pt idx="32539">
                  <c:v>22695</c:v>
                </c:pt>
                <c:pt idx="32540">
                  <c:v>22803</c:v>
                </c:pt>
                <c:pt idx="32541">
                  <c:v>77920</c:v>
                </c:pt>
                <c:pt idx="32542">
                  <c:v>35867</c:v>
                </c:pt>
                <c:pt idx="32543">
                  <c:v>39581</c:v>
                </c:pt>
                <c:pt idx="32544">
                  <c:v>37654</c:v>
                </c:pt>
                <c:pt idx="32545">
                  <c:v>29651</c:v>
                </c:pt>
                <c:pt idx="32546">
                  <c:v>127509</c:v>
                </c:pt>
                <c:pt idx="32547">
                  <c:v>32779</c:v>
                </c:pt>
                <c:pt idx="32548">
                  <c:v>21961</c:v>
                </c:pt>
                <c:pt idx="32549">
                  <c:v>32857</c:v>
                </c:pt>
                <c:pt idx="32550">
                  <c:v>23888</c:v>
                </c:pt>
                <c:pt idx="32551">
                  <c:v>65668</c:v>
                </c:pt>
                <c:pt idx="32552">
                  <c:v>36101</c:v>
                </c:pt>
                <c:pt idx="32553">
                  <c:v>29788</c:v>
                </c:pt>
                <c:pt idx="32554">
                  <c:v>108573</c:v>
                </c:pt>
                <c:pt idx="32555">
                  <c:v>24869</c:v>
                </c:pt>
                <c:pt idx="32556">
                  <c:v>57627</c:v>
                </c:pt>
                <c:pt idx="32557">
                  <c:v>62736</c:v>
                </c:pt>
                <c:pt idx="32558">
                  <c:v>64494</c:v>
                </c:pt>
                <c:pt idx="32559">
                  <c:v>43438</c:v>
                </c:pt>
                <c:pt idx="32560">
                  <c:v>30525</c:v>
                </c:pt>
                <c:pt idx="32561">
                  <c:v>33427</c:v>
                </c:pt>
                <c:pt idx="32562">
                  <c:v>35034</c:v>
                </c:pt>
                <c:pt idx="32563">
                  <c:v>35813</c:v>
                </c:pt>
                <c:pt idx="32564">
                  <c:v>37995</c:v>
                </c:pt>
                <c:pt idx="32565">
                  <c:v>64910</c:v>
                </c:pt>
                <c:pt idx="32566">
                  <c:v>21525</c:v>
                </c:pt>
                <c:pt idx="32567">
                  <c:v>52598</c:v>
                </c:pt>
                <c:pt idx="32568">
                  <c:v>34623</c:v>
                </c:pt>
                <c:pt idx="32569">
                  <c:v>114380</c:v>
                </c:pt>
                <c:pt idx="32570">
                  <c:v>41125</c:v>
                </c:pt>
                <c:pt idx="32571">
                  <c:v>40362</c:v>
                </c:pt>
                <c:pt idx="32572">
                  <c:v>72636</c:v>
                </c:pt>
                <c:pt idx="32573">
                  <c:v>38471</c:v>
                </c:pt>
                <c:pt idx="32574">
                  <c:v>41939</c:v>
                </c:pt>
                <c:pt idx="32575">
                  <c:v>87752</c:v>
                </c:pt>
                <c:pt idx="32576">
                  <c:v>25293</c:v>
                </c:pt>
                <c:pt idx="32577">
                  <c:v>197011</c:v>
                </c:pt>
                <c:pt idx="32578">
                  <c:v>28732</c:v>
                </c:pt>
                <c:pt idx="32579">
                  <c:v>24459</c:v>
                </c:pt>
                <c:pt idx="32580">
                  <c:v>105823</c:v>
                </c:pt>
                <c:pt idx="32581">
                  <c:v>139695</c:v>
                </c:pt>
                <c:pt idx="32582">
                  <c:v>38998</c:v>
                </c:pt>
                <c:pt idx="32583">
                  <c:v>50538</c:v>
                </c:pt>
                <c:pt idx="32584">
                  <c:v>62054</c:v>
                </c:pt>
                <c:pt idx="32585">
                  <c:v>44278</c:v>
                </c:pt>
                <c:pt idx="32586">
                  <c:v>41569</c:v>
                </c:pt>
                <c:pt idx="32587">
                  <c:v>45255</c:v>
                </c:pt>
                <c:pt idx="32588">
                  <c:v>30305</c:v>
                </c:pt>
                <c:pt idx="32589">
                  <c:v>132759</c:v>
                </c:pt>
                <c:pt idx="32590">
                  <c:v>73514</c:v>
                </c:pt>
                <c:pt idx="32591">
                  <c:v>23933</c:v>
                </c:pt>
                <c:pt idx="32592">
                  <c:v>50393</c:v>
                </c:pt>
                <c:pt idx="32593">
                  <c:v>24227</c:v>
                </c:pt>
                <c:pt idx="32594">
                  <c:v>34875</c:v>
                </c:pt>
                <c:pt idx="32595">
                  <c:v>54470</c:v>
                </c:pt>
                <c:pt idx="32596">
                  <c:v>118665</c:v>
                </c:pt>
                <c:pt idx="32597">
                  <c:v>36985</c:v>
                </c:pt>
                <c:pt idx="32598">
                  <c:v>22952</c:v>
                </c:pt>
                <c:pt idx="32599">
                  <c:v>34290</c:v>
                </c:pt>
                <c:pt idx="32600">
                  <c:v>33951</c:v>
                </c:pt>
                <c:pt idx="32601">
                  <c:v>25582</c:v>
                </c:pt>
                <c:pt idx="32602">
                  <c:v>47315</c:v>
                </c:pt>
                <c:pt idx="32603">
                  <c:v>134522</c:v>
                </c:pt>
                <c:pt idx="32604">
                  <c:v>25027</c:v>
                </c:pt>
                <c:pt idx="32605">
                  <c:v>29780</c:v>
                </c:pt>
                <c:pt idx="32606">
                  <c:v>46229</c:v>
                </c:pt>
                <c:pt idx="32607">
                  <c:v>23027</c:v>
                </c:pt>
                <c:pt idx="32608">
                  <c:v>77816</c:v>
                </c:pt>
                <c:pt idx="32609">
                  <c:v>114333</c:v>
                </c:pt>
                <c:pt idx="32610">
                  <c:v>106535</c:v>
                </c:pt>
                <c:pt idx="32611">
                  <c:v>39202</c:v>
                </c:pt>
                <c:pt idx="32612">
                  <c:v>45318</c:v>
                </c:pt>
                <c:pt idx="32613">
                  <c:v>21234</c:v>
                </c:pt>
                <c:pt idx="32614">
                  <c:v>35003</c:v>
                </c:pt>
                <c:pt idx="32615">
                  <c:v>21692</c:v>
                </c:pt>
                <c:pt idx="32616">
                  <c:v>34571</c:v>
                </c:pt>
                <c:pt idx="32617">
                  <c:v>39378</c:v>
                </c:pt>
                <c:pt idx="32618">
                  <c:v>33828</c:v>
                </c:pt>
                <c:pt idx="32619">
                  <c:v>41674</c:v>
                </c:pt>
                <c:pt idx="32620">
                  <c:v>30410</c:v>
                </c:pt>
                <c:pt idx="32621">
                  <c:v>27124</c:v>
                </c:pt>
                <c:pt idx="32622">
                  <c:v>68807</c:v>
                </c:pt>
                <c:pt idx="32623">
                  <c:v>30985</c:v>
                </c:pt>
                <c:pt idx="32624">
                  <c:v>28589</c:v>
                </c:pt>
                <c:pt idx="32625">
                  <c:v>23628</c:v>
                </c:pt>
                <c:pt idx="32626">
                  <c:v>67160</c:v>
                </c:pt>
                <c:pt idx="32627">
                  <c:v>33737</c:v>
                </c:pt>
                <c:pt idx="32628">
                  <c:v>78190</c:v>
                </c:pt>
                <c:pt idx="32629">
                  <c:v>49178</c:v>
                </c:pt>
                <c:pt idx="32630">
                  <c:v>35887</c:v>
                </c:pt>
                <c:pt idx="32631">
                  <c:v>223000</c:v>
                </c:pt>
                <c:pt idx="32632">
                  <c:v>53695</c:v>
                </c:pt>
                <c:pt idx="32633">
                  <c:v>36192</c:v>
                </c:pt>
                <c:pt idx="32634">
                  <c:v>33235</c:v>
                </c:pt>
                <c:pt idx="32635">
                  <c:v>99086</c:v>
                </c:pt>
                <c:pt idx="32636">
                  <c:v>37872</c:v>
                </c:pt>
                <c:pt idx="32637">
                  <c:v>36404</c:v>
                </c:pt>
                <c:pt idx="32638">
                  <c:v>57283</c:v>
                </c:pt>
                <c:pt idx="32639">
                  <c:v>35929</c:v>
                </c:pt>
                <c:pt idx="32640">
                  <c:v>24405</c:v>
                </c:pt>
                <c:pt idx="32641">
                  <c:v>45591</c:v>
                </c:pt>
                <c:pt idx="32642">
                  <c:v>22789</c:v>
                </c:pt>
                <c:pt idx="32643">
                  <c:v>31973</c:v>
                </c:pt>
                <c:pt idx="32644">
                  <c:v>50455</c:v>
                </c:pt>
                <c:pt idx="32645">
                  <c:v>223852</c:v>
                </c:pt>
                <c:pt idx="32646">
                  <c:v>30107</c:v>
                </c:pt>
                <c:pt idx="32647">
                  <c:v>80678</c:v>
                </c:pt>
                <c:pt idx="32648">
                  <c:v>69153</c:v>
                </c:pt>
                <c:pt idx="32649">
                  <c:v>24337</c:v>
                </c:pt>
                <c:pt idx="32650">
                  <c:v>42651</c:v>
                </c:pt>
                <c:pt idx="32651">
                  <c:v>156703</c:v>
                </c:pt>
                <c:pt idx="32652">
                  <c:v>61177</c:v>
                </c:pt>
                <c:pt idx="32653">
                  <c:v>127247</c:v>
                </c:pt>
                <c:pt idx="32654">
                  <c:v>44899</c:v>
                </c:pt>
                <c:pt idx="32655">
                  <c:v>94316</c:v>
                </c:pt>
                <c:pt idx="32656">
                  <c:v>68687</c:v>
                </c:pt>
                <c:pt idx="32657">
                  <c:v>45490</c:v>
                </c:pt>
                <c:pt idx="32658">
                  <c:v>44181</c:v>
                </c:pt>
                <c:pt idx="32659">
                  <c:v>33363</c:v>
                </c:pt>
                <c:pt idx="32660">
                  <c:v>33278</c:v>
                </c:pt>
                <c:pt idx="32661">
                  <c:v>54639</c:v>
                </c:pt>
                <c:pt idx="32662">
                  <c:v>54363</c:v>
                </c:pt>
                <c:pt idx="32663">
                  <c:v>44818</c:v>
                </c:pt>
                <c:pt idx="32664">
                  <c:v>63488</c:v>
                </c:pt>
                <c:pt idx="32665">
                  <c:v>39048</c:v>
                </c:pt>
                <c:pt idx="32666">
                  <c:v>27077</c:v>
                </c:pt>
                <c:pt idx="32667">
                  <c:v>23016</c:v>
                </c:pt>
                <c:pt idx="32668">
                  <c:v>36128</c:v>
                </c:pt>
                <c:pt idx="32669">
                  <c:v>151868</c:v>
                </c:pt>
                <c:pt idx="32670">
                  <c:v>35701</c:v>
                </c:pt>
                <c:pt idx="32671">
                  <c:v>188062</c:v>
                </c:pt>
                <c:pt idx="32672">
                  <c:v>41954</c:v>
                </c:pt>
                <c:pt idx="32673">
                  <c:v>127539</c:v>
                </c:pt>
                <c:pt idx="32674">
                  <c:v>55728</c:v>
                </c:pt>
                <c:pt idx="32675">
                  <c:v>69768</c:v>
                </c:pt>
                <c:pt idx="32676">
                  <c:v>123015</c:v>
                </c:pt>
                <c:pt idx="32677">
                  <c:v>42968</c:v>
                </c:pt>
                <c:pt idx="32678">
                  <c:v>34591</c:v>
                </c:pt>
                <c:pt idx="32679">
                  <c:v>42681</c:v>
                </c:pt>
                <c:pt idx="32680">
                  <c:v>63250</c:v>
                </c:pt>
                <c:pt idx="32681">
                  <c:v>34885</c:v>
                </c:pt>
                <c:pt idx="32682">
                  <c:v>54594</c:v>
                </c:pt>
                <c:pt idx="32683">
                  <c:v>36817</c:v>
                </c:pt>
                <c:pt idx="32684">
                  <c:v>41384</c:v>
                </c:pt>
                <c:pt idx="32685">
                  <c:v>125352</c:v>
                </c:pt>
                <c:pt idx="32686">
                  <c:v>49904</c:v>
                </c:pt>
                <c:pt idx="32687">
                  <c:v>37387</c:v>
                </c:pt>
                <c:pt idx="32688">
                  <c:v>49170</c:v>
                </c:pt>
                <c:pt idx="32689">
                  <c:v>50439</c:v>
                </c:pt>
                <c:pt idx="32690">
                  <c:v>37651</c:v>
                </c:pt>
                <c:pt idx="32691">
                  <c:v>44433</c:v>
                </c:pt>
                <c:pt idx="32692">
                  <c:v>107618</c:v>
                </c:pt>
                <c:pt idx="32693">
                  <c:v>33325</c:v>
                </c:pt>
                <c:pt idx="32694">
                  <c:v>31030</c:v>
                </c:pt>
                <c:pt idx="32695">
                  <c:v>69472</c:v>
                </c:pt>
                <c:pt idx="32696">
                  <c:v>35643</c:v>
                </c:pt>
                <c:pt idx="32697">
                  <c:v>107800</c:v>
                </c:pt>
                <c:pt idx="32698">
                  <c:v>76676</c:v>
                </c:pt>
                <c:pt idx="32699">
                  <c:v>64050</c:v>
                </c:pt>
                <c:pt idx="32700">
                  <c:v>57449</c:v>
                </c:pt>
                <c:pt idx="32701">
                  <c:v>64835</c:v>
                </c:pt>
                <c:pt idx="32702">
                  <c:v>42179</c:v>
                </c:pt>
                <c:pt idx="32703">
                  <c:v>43449</c:v>
                </c:pt>
                <c:pt idx="32704">
                  <c:v>89364</c:v>
                </c:pt>
                <c:pt idx="32705">
                  <c:v>25685</c:v>
                </c:pt>
                <c:pt idx="32706">
                  <c:v>64667</c:v>
                </c:pt>
                <c:pt idx="32707">
                  <c:v>38537</c:v>
                </c:pt>
                <c:pt idx="32708">
                  <c:v>98828</c:v>
                </c:pt>
                <c:pt idx="32709">
                  <c:v>54340</c:v>
                </c:pt>
                <c:pt idx="32710">
                  <c:v>45816</c:v>
                </c:pt>
                <c:pt idx="32711">
                  <c:v>109576</c:v>
                </c:pt>
                <c:pt idx="32712">
                  <c:v>37462</c:v>
                </c:pt>
                <c:pt idx="32713">
                  <c:v>303921</c:v>
                </c:pt>
                <c:pt idx="32714">
                  <c:v>25263</c:v>
                </c:pt>
                <c:pt idx="32715">
                  <c:v>99545</c:v>
                </c:pt>
                <c:pt idx="32716">
                  <c:v>38964</c:v>
                </c:pt>
                <c:pt idx="32717">
                  <c:v>83077</c:v>
                </c:pt>
                <c:pt idx="32718">
                  <c:v>83041</c:v>
                </c:pt>
                <c:pt idx="32719">
                  <c:v>28550</c:v>
                </c:pt>
                <c:pt idx="32720">
                  <c:v>36788</c:v>
                </c:pt>
                <c:pt idx="32721">
                  <c:v>37235</c:v>
                </c:pt>
                <c:pt idx="32722">
                  <c:v>45084</c:v>
                </c:pt>
                <c:pt idx="32723">
                  <c:v>80094</c:v>
                </c:pt>
                <c:pt idx="32724">
                  <c:v>32511</c:v>
                </c:pt>
                <c:pt idx="32725">
                  <c:v>49913</c:v>
                </c:pt>
                <c:pt idx="32726">
                  <c:v>37696</c:v>
                </c:pt>
                <c:pt idx="32727">
                  <c:v>33519</c:v>
                </c:pt>
                <c:pt idx="32728">
                  <c:v>94365</c:v>
                </c:pt>
                <c:pt idx="32729">
                  <c:v>57892</c:v>
                </c:pt>
                <c:pt idx="32730">
                  <c:v>46785</c:v>
                </c:pt>
                <c:pt idx="32731">
                  <c:v>21556</c:v>
                </c:pt>
                <c:pt idx="32732">
                  <c:v>41219</c:v>
                </c:pt>
                <c:pt idx="32733">
                  <c:v>56635</c:v>
                </c:pt>
                <c:pt idx="32734">
                  <c:v>72048</c:v>
                </c:pt>
                <c:pt idx="32735">
                  <c:v>23065</c:v>
                </c:pt>
                <c:pt idx="32736">
                  <c:v>26665</c:v>
                </c:pt>
                <c:pt idx="32737">
                  <c:v>53005</c:v>
                </c:pt>
                <c:pt idx="32738">
                  <c:v>24756</c:v>
                </c:pt>
                <c:pt idx="32739">
                  <c:v>28633</c:v>
                </c:pt>
                <c:pt idx="32740">
                  <c:v>53193</c:v>
                </c:pt>
                <c:pt idx="32741">
                  <c:v>25969</c:v>
                </c:pt>
                <c:pt idx="32742">
                  <c:v>183266</c:v>
                </c:pt>
                <c:pt idx="32743">
                  <c:v>37926</c:v>
                </c:pt>
                <c:pt idx="32744">
                  <c:v>58308</c:v>
                </c:pt>
                <c:pt idx="32745">
                  <c:v>32502</c:v>
                </c:pt>
                <c:pt idx="32746">
                  <c:v>39553</c:v>
                </c:pt>
                <c:pt idx="32747">
                  <c:v>50899</c:v>
                </c:pt>
                <c:pt idx="32748">
                  <c:v>98666</c:v>
                </c:pt>
                <c:pt idx="32749">
                  <c:v>54973</c:v>
                </c:pt>
                <c:pt idx="32750">
                  <c:v>28388</c:v>
                </c:pt>
                <c:pt idx="32751">
                  <c:v>39429</c:v>
                </c:pt>
                <c:pt idx="32752">
                  <c:v>64646</c:v>
                </c:pt>
                <c:pt idx="32753">
                  <c:v>136483</c:v>
                </c:pt>
                <c:pt idx="32754">
                  <c:v>160026</c:v>
                </c:pt>
                <c:pt idx="32755">
                  <c:v>25658</c:v>
                </c:pt>
                <c:pt idx="32756">
                  <c:v>52947</c:v>
                </c:pt>
                <c:pt idx="32757">
                  <c:v>116916</c:v>
                </c:pt>
                <c:pt idx="32758">
                  <c:v>23353</c:v>
                </c:pt>
                <c:pt idx="32759">
                  <c:v>27164</c:v>
                </c:pt>
                <c:pt idx="32760">
                  <c:v>44567</c:v>
                </c:pt>
                <c:pt idx="32761">
                  <c:v>228342</c:v>
                </c:pt>
                <c:pt idx="32762">
                  <c:v>35011</c:v>
                </c:pt>
                <c:pt idx="32763">
                  <c:v>42274</c:v>
                </c:pt>
                <c:pt idx="32764">
                  <c:v>63345</c:v>
                </c:pt>
                <c:pt idx="32765">
                  <c:v>74859</c:v>
                </c:pt>
                <c:pt idx="32766">
                  <c:v>59905</c:v>
                </c:pt>
                <c:pt idx="32767">
                  <c:v>28170</c:v>
                </c:pt>
                <c:pt idx="32768">
                  <c:v>39867</c:v>
                </c:pt>
                <c:pt idx="32769">
                  <c:v>34555</c:v>
                </c:pt>
                <c:pt idx="32770">
                  <c:v>46615</c:v>
                </c:pt>
                <c:pt idx="32771">
                  <c:v>26211</c:v>
                </c:pt>
                <c:pt idx="32772">
                  <c:v>127799</c:v>
                </c:pt>
                <c:pt idx="32773">
                  <c:v>41158</c:v>
                </c:pt>
                <c:pt idx="32774">
                  <c:v>20101</c:v>
                </c:pt>
                <c:pt idx="32775">
                  <c:v>31276</c:v>
                </c:pt>
                <c:pt idx="32776">
                  <c:v>127942</c:v>
                </c:pt>
                <c:pt idx="32777">
                  <c:v>53667</c:v>
                </c:pt>
                <c:pt idx="32778">
                  <c:v>24216</c:v>
                </c:pt>
                <c:pt idx="32779">
                  <c:v>60679</c:v>
                </c:pt>
                <c:pt idx="32780">
                  <c:v>26171</c:v>
                </c:pt>
                <c:pt idx="32781">
                  <c:v>40207</c:v>
                </c:pt>
                <c:pt idx="32782">
                  <c:v>46516</c:v>
                </c:pt>
                <c:pt idx="32783">
                  <c:v>36697</c:v>
                </c:pt>
                <c:pt idx="32784">
                  <c:v>33000</c:v>
                </c:pt>
                <c:pt idx="32785">
                  <c:v>117477</c:v>
                </c:pt>
                <c:pt idx="32786">
                  <c:v>28968</c:v>
                </c:pt>
                <c:pt idx="32787">
                  <c:v>75953</c:v>
                </c:pt>
                <c:pt idx="32788">
                  <c:v>31701</c:v>
                </c:pt>
                <c:pt idx="32789">
                  <c:v>35778</c:v>
                </c:pt>
                <c:pt idx="32790">
                  <c:v>54823</c:v>
                </c:pt>
                <c:pt idx="32791">
                  <c:v>104553</c:v>
                </c:pt>
                <c:pt idx="32792">
                  <c:v>37731</c:v>
                </c:pt>
                <c:pt idx="32793">
                  <c:v>35021</c:v>
                </c:pt>
                <c:pt idx="32794">
                  <c:v>31929</c:v>
                </c:pt>
                <c:pt idx="32795">
                  <c:v>112810</c:v>
                </c:pt>
                <c:pt idx="32796">
                  <c:v>83441</c:v>
                </c:pt>
                <c:pt idx="32797">
                  <c:v>50820</c:v>
                </c:pt>
                <c:pt idx="32798">
                  <c:v>38319</c:v>
                </c:pt>
                <c:pt idx="32799">
                  <c:v>31468</c:v>
                </c:pt>
                <c:pt idx="32800">
                  <c:v>35590</c:v>
                </c:pt>
                <c:pt idx="32801">
                  <c:v>173563</c:v>
                </c:pt>
                <c:pt idx="32802">
                  <c:v>38420</c:v>
                </c:pt>
                <c:pt idx="32803">
                  <c:v>63512</c:v>
                </c:pt>
                <c:pt idx="32804">
                  <c:v>45910</c:v>
                </c:pt>
                <c:pt idx="32805">
                  <c:v>24504</c:v>
                </c:pt>
                <c:pt idx="32806">
                  <c:v>47699</c:v>
                </c:pt>
                <c:pt idx="32807">
                  <c:v>48351</c:v>
                </c:pt>
                <c:pt idx="32808">
                  <c:v>202823</c:v>
                </c:pt>
                <c:pt idx="32809">
                  <c:v>55422</c:v>
                </c:pt>
                <c:pt idx="32810">
                  <c:v>21641</c:v>
                </c:pt>
                <c:pt idx="32811">
                  <c:v>23239</c:v>
                </c:pt>
                <c:pt idx="32812">
                  <c:v>48012</c:v>
                </c:pt>
                <c:pt idx="32813">
                  <c:v>29509</c:v>
                </c:pt>
                <c:pt idx="32814">
                  <c:v>50476</c:v>
                </c:pt>
                <c:pt idx="32815">
                  <c:v>44394</c:v>
                </c:pt>
                <c:pt idx="32816">
                  <c:v>36683</c:v>
                </c:pt>
                <c:pt idx="32817">
                  <c:v>26292</c:v>
                </c:pt>
                <c:pt idx="32818">
                  <c:v>62235</c:v>
                </c:pt>
                <c:pt idx="32819">
                  <c:v>25568</c:v>
                </c:pt>
                <c:pt idx="32820">
                  <c:v>82992</c:v>
                </c:pt>
                <c:pt idx="32821">
                  <c:v>53289</c:v>
                </c:pt>
                <c:pt idx="32822">
                  <c:v>49991</c:v>
                </c:pt>
                <c:pt idx="32823">
                  <c:v>52581</c:v>
                </c:pt>
                <c:pt idx="32824">
                  <c:v>34073</c:v>
                </c:pt>
                <c:pt idx="32825">
                  <c:v>50072</c:v>
                </c:pt>
                <c:pt idx="32826">
                  <c:v>48836</c:v>
                </c:pt>
                <c:pt idx="32827">
                  <c:v>49317</c:v>
                </c:pt>
                <c:pt idx="32828">
                  <c:v>26540</c:v>
                </c:pt>
                <c:pt idx="32829">
                  <c:v>31635</c:v>
                </c:pt>
                <c:pt idx="32830">
                  <c:v>33138</c:v>
                </c:pt>
                <c:pt idx="32831">
                  <c:v>70183</c:v>
                </c:pt>
                <c:pt idx="32832">
                  <c:v>48891</c:v>
                </c:pt>
                <c:pt idx="32833">
                  <c:v>35212</c:v>
                </c:pt>
                <c:pt idx="32834">
                  <c:v>74993</c:v>
                </c:pt>
                <c:pt idx="32835">
                  <c:v>132798</c:v>
                </c:pt>
                <c:pt idx="32836">
                  <c:v>58276</c:v>
                </c:pt>
                <c:pt idx="32837">
                  <c:v>33794</c:v>
                </c:pt>
                <c:pt idx="32838">
                  <c:v>29553</c:v>
                </c:pt>
                <c:pt idx="32839">
                  <c:v>27379</c:v>
                </c:pt>
                <c:pt idx="32840">
                  <c:v>44400</c:v>
                </c:pt>
                <c:pt idx="32841">
                  <c:v>65140</c:v>
                </c:pt>
                <c:pt idx="32842">
                  <c:v>33482</c:v>
                </c:pt>
                <c:pt idx="32843">
                  <c:v>93103</c:v>
                </c:pt>
                <c:pt idx="32844">
                  <c:v>29513</c:v>
                </c:pt>
                <c:pt idx="32845">
                  <c:v>25670</c:v>
                </c:pt>
                <c:pt idx="32846">
                  <c:v>92087</c:v>
                </c:pt>
                <c:pt idx="32847">
                  <c:v>44649</c:v>
                </c:pt>
                <c:pt idx="32848">
                  <c:v>42626</c:v>
                </c:pt>
                <c:pt idx="32849">
                  <c:v>28300</c:v>
                </c:pt>
                <c:pt idx="32850">
                  <c:v>36670</c:v>
                </c:pt>
                <c:pt idx="32851">
                  <c:v>49062</c:v>
                </c:pt>
                <c:pt idx="32852">
                  <c:v>23569</c:v>
                </c:pt>
                <c:pt idx="32853">
                  <c:v>68342</c:v>
                </c:pt>
                <c:pt idx="32854">
                  <c:v>40197</c:v>
                </c:pt>
                <c:pt idx="32855">
                  <c:v>82972</c:v>
                </c:pt>
                <c:pt idx="32856">
                  <c:v>67477</c:v>
                </c:pt>
                <c:pt idx="32857">
                  <c:v>93394</c:v>
                </c:pt>
                <c:pt idx="32858">
                  <c:v>77858</c:v>
                </c:pt>
                <c:pt idx="32859">
                  <c:v>36569</c:v>
                </c:pt>
                <c:pt idx="32860">
                  <c:v>35610</c:v>
                </c:pt>
                <c:pt idx="32861">
                  <c:v>41795</c:v>
                </c:pt>
                <c:pt idx="32862">
                  <c:v>42020</c:v>
                </c:pt>
                <c:pt idx="32863">
                  <c:v>71931</c:v>
                </c:pt>
                <c:pt idx="32864">
                  <c:v>114678</c:v>
                </c:pt>
                <c:pt idx="32865">
                  <c:v>30566</c:v>
                </c:pt>
                <c:pt idx="32866">
                  <c:v>67675</c:v>
                </c:pt>
                <c:pt idx="32867">
                  <c:v>41758</c:v>
                </c:pt>
                <c:pt idx="32868">
                  <c:v>37129</c:v>
                </c:pt>
                <c:pt idx="32869">
                  <c:v>32484</c:v>
                </c:pt>
                <c:pt idx="32870">
                  <c:v>38728</c:v>
                </c:pt>
                <c:pt idx="32871">
                  <c:v>32456</c:v>
                </c:pt>
                <c:pt idx="32872">
                  <c:v>25055</c:v>
                </c:pt>
                <c:pt idx="32873">
                  <c:v>31027</c:v>
                </c:pt>
                <c:pt idx="32874">
                  <c:v>44872</c:v>
                </c:pt>
                <c:pt idx="32875">
                  <c:v>36973</c:v>
                </c:pt>
                <c:pt idx="32876">
                  <c:v>30067</c:v>
                </c:pt>
                <c:pt idx="32877">
                  <c:v>52543</c:v>
                </c:pt>
                <c:pt idx="32878">
                  <c:v>44449</c:v>
                </c:pt>
                <c:pt idx="32879">
                  <c:v>270714</c:v>
                </c:pt>
                <c:pt idx="32880">
                  <c:v>49878</c:v>
                </c:pt>
                <c:pt idx="32881">
                  <c:v>59353</c:v>
                </c:pt>
                <c:pt idx="32882">
                  <c:v>22132</c:v>
                </c:pt>
                <c:pt idx="32883">
                  <c:v>60910</c:v>
                </c:pt>
                <c:pt idx="32884">
                  <c:v>92783</c:v>
                </c:pt>
                <c:pt idx="32885">
                  <c:v>76301</c:v>
                </c:pt>
                <c:pt idx="32886">
                  <c:v>26711</c:v>
                </c:pt>
                <c:pt idx="32887">
                  <c:v>84686</c:v>
                </c:pt>
                <c:pt idx="32888">
                  <c:v>184052</c:v>
                </c:pt>
                <c:pt idx="32889">
                  <c:v>34753</c:v>
                </c:pt>
                <c:pt idx="32890">
                  <c:v>27588</c:v>
                </c:pt>
                <c:pt idx="32891">
                  <c:v>27638</c:v>
                </c:pt>
                <c:pt idx="32892">
                  <c:v>46466</c:v>
                </c:pt>
                <c:pt idx="32893">
                  <c:v>25765</c:v>
                </c:pt>
                <c:pt idx="32894">
                  <c:v>30921</c:v>
                </c:pt>
                <c:pt idx="32895">
                  <c:v>83989</c:v>
                </c:pt>
                <c:pt idx="32896">
                  <c:v>48671</c:v>
                </c:pt>
                <c:pt idx="32897">
                  <c:v>80359</c:v>
                </c:pt>
                <c:pt idx="32898">
                  <c:v>32560</c:v>
                </c:pt>
                <c:pt idx="32899">
                  <c:v>46742</c:v>
                </c:pt>
                <c:pt idx="32900">
                  <c:v>39747</c:v>
                </c:pt>
                <c:pt idx="32901">
                  <c:v>48915</c:v>
                </c:pt>
                <c:pt idx="32902">
                  <c:v>28281</c:v>
                </c:pt>
                <c:pt idx="32903">
                  <c:v>15000</c:v>
                </c:pt>
                <c:pt idx="32904">
                  <c:v>37700</c:v>
                </c:pt>
                <c:pt idx="32905">
                  <c:v>37920</c:v>
                </c:pt>
                <c:pt idx="32906">
                  <c:v>235417</c:v>
                </c:pt>
                <c:pt idx="32907">
                  <c:v>53106</c:v>
                </c:pt>
                <c:pt idx="32908">
                  <c:v>38172</c:v>
                </c:pt>
                <c:pt idx="32909">
                  <c:v>47319</c:v>
                </c:pt>
                <c:pt idx="32910">
                  <c:v>47283</c:v>
                </c:pt>
                <c:pt idx="32911">
                  <c:v>90612</c:v>
                </c:pt>
                <c:pt idx="32912">
                  <c:v>60421</c:v>
                </c:pt>
                <c:pt idx="32913">
                  <c:v>49194</c:v>
                </c:pt>
                <c:pt idx="32914">
                  <c:v>59425</c:v>
                </c:pt>
                <c:pt idx="32915">
                  <c:v>187130</c:v>
                </c:pt>
                <c:pt idx="32916">
                  <c:v>40405</c:v>
                </c:pt>
                <c:pt idx="32917">
                  <c:v>32068</c:v>
                </c:pt>
                <c:pt idx="32918">
                  <c:v>98781</c:v>
                </c:pt>
                <c:pt idx="32919">
                  <c:v>64243</c:v>
                </c:pt>
                <c:pt idx="32920">
                  <c:v>53249</c:v>
                </c:pt>
                <c:pt idx="32921">
                  <c:v>45809</c:v>
                </c:pt>
                <c:pt idx="32922">
                  <c:v>59817</c:v>
                </c:pt>
                <c:pt idx="32923">
                  <c:v>34387</c:v>
                </c:pt>
                <c:pt idx="32924">
                  <c:v>218409</c:v>
                </c:pt>
                <c:pt idx="32925">
                  <c:v>87672</c:v>
                </c:pt>
                <c:pt idx="32926">
                  <c:v>57892</c:v>
                </c:pt>
                <c:pt idx="32927">
                  <c:v>191979</c:v>
                </c:pt>
                <c:pt idx="32928">
                  <c:v>27204</c:v>
                </c:pt>
                <c:pt idx="32929">
                  <c:v>103645</c:v>
                </c:pt>
                <c:pt idx="32930">
                  <c:v>128607</c:v>
                </c:pt>
                <c:pt idx="32931">
                  <c:v>28796</c:v>
                </c:pt>
                <c:pt idx="32932">
                  <c:v>22865</c:v>
                </c:pt>
                <c:pt idx="32933">
                  <c:v>25606</c:v>
                </c:pt>
                <c:pt idx="32934">
                  <c:v>41351</c:v>
                </c:pt>
                <c:pt idx="32935">
                  <c:v>74319</c:v>
                </c:pt>
                <c:pt idx="32936">
                  <c:v>35554</c:v>
                </c:pt>
                <c:pt idx="32937">
                  <c:v>27876</c:v>
                </c:pt>
                <c:pt idx="32938">
                  <c:v>54410</c:v>
                </c:pt>
                <c:pt idx="32939">
                  <c:v>36801</c:v>
                </c:pt>
                <c:pt idx="32940">
                  <c:v>60508</c:v>
                </c:pt>
                <c:pt idx="32941">
                  <c:v>64865</c:v>
                </c:pt>
                <c:pt idx="32942">
                  <c:v>123244</c:v>
                </c:pt>
                <c:pt idx="32943">
                  <c:v>42901</c:v>
                </c:pt>
                <c:pt idx="32944">
                  <c:v>29164</c:v>
                </c:pt>
                <c:pt idx="32945">
                  <c:v>75143</c:v>
                </c:pt>
                <c:pt idx="32946">
                  <c:v>74704</c:v>
                </c:pt>
                <c:pt idx="32947">
                  <c:v>41442</c:v>
                </c:pt>
                <c:pt idx="32948">
                  <c:v>96763</c:v>
                </c:pt>
                <c:pt idx="32949">
                  <c:v>36960</c:v>
                </c:pt>
                <c:pt idx="32950">
                  <c:v>37683</c:v>
                </c:pt>
                <c:pt idx="32951">
                  <c:v>33672</c:v>
                </c:pt>
                <c:pt idx="32952">
                  <c:v>48698</c:v>
                </c:pt>
                <c:pt idx="32953">
                  <c:v>66162</c:v>
                </c:pt>
                <c:pt idx="32954">
                  <c:v>57850</c:v>
                </c:pt>
                <c:pt idx="32955">
                  <c:v>113203</c:v>
                </c:pt>
                <c:pt idx="32956">
                  <c:v>27694</c:v>
                </c:pt>
                <c:pt idx="32957">
                  <c:v>65900</c:v>
                </c:pt>
                <c:pt idx="32958">
                  <c:v>32798</c:v>
                </c:pt>
                <c:pt idx="32959">
                  <c:v>40501</c:v>
                </c:pt>
                <c:pt idx="32960">
                  <c:v>57788</c:v>
                </c:pt>
                <c:pt idx="32961">
                  <c:v>25671</c:v>
                </c:pt>
                <c:pt idx="32962">
                  <c:v>24780</c:v>
                </c:pt>
                <c:pt idx="32963">
                  <c:v>22250</c:v>
                </c:pt>
                <c:pt idx="32964">
                  <c:v>90100</c:v>
                </c:pt>
                <c:pt idx="32965">
                  <c:v>36318</c:v>
                </c:pt>
                <c:pt idx="32966">
                  <c:v>41955</c:v>
                </c:pt>
                <c:pt idx="32967">
                  <c:v>24036</c:v>
                </c:pt>
                <c:pt idx="32968">
                  <c:v>74911</c:v>
                </c:pt>
                <c:pt idx="32969">
                  <c:v>122302</c:v>
                </c:pt>
                <c:pt idx="32970">
                  <c:v>65036</c:v>
                </c:pt>
                <c:pt idx="32971">
                  <c:v>35435</c:v>
                </c:pt>
                <c:pt idx="32972">
                  <c:v>46957</c:v>
                </c:pt>
                <c:pt idx="32973">
                  <c:v>113793</c:v>
                </c:pt>
                <c:pt idx="32974">
                  <c:v>28391</c:v>
                </c:pt>
                <c:pt idx="32975">
                  <c:v>77597</c:v>
                </c:pt>
                <c:pt idx="32976">
                  <c:v>65554</c:v>
                </c:pt>
                <c:pt idx="32977">
                  <c:v>81757</c:v>
                </c:pt>
                <c:pt idx="32978">
                  <c:v>41111</c:v>
                </c:pt>
                <c:pt idx="32979">
                  <c:v>68361</c:v>
                </c:pt>
                <c:pt idx="32980">
                  <c:v>60923</c:v>
                </c:pt>
                <c:pt idx="32981">
                  <c:v>71012</c:v>
                </c:pt>
                <c:pt idx="32982">
                  <c:v>49231</c:v>
                </c:pt>
                <c:pt idx="32983">
                  <c:v>33362</c:v>
                </c:pt>
                <c:pt idx="32984">
                  <c:v>40615</c:v>
                </c:pt>
                <c:pt idx="32985">
                  <c:v>33785</c:v>
                </c:pt>
                <c:pt idx="32986">
                  <c:v>89602</c:v>
                </c:pt>
                <c:pt idx="32987">
                  <c:v>40350</c:v>
                </c:pt>
                <c:pt idx="32988">
                  <c:v>92896</c:v>
                </c:pt>
                <c:pt idx="32989">
                  <c:v>48010</c:v>
                </c:pt>
                <c:pt idx="32990">
                  <c:v>141796</c:v>
                </c:pt>
                <c:pt idx="32991">
                  <c:v>27101</c:v>
                </c:pt>
                <c:pt idx="32992">
                  <c:v>104129</c:v>
                </c:pt>
                <c:pt idx="32993">
                  <c:v>37629</c:v>
                </c:pt>
                <c:pt idx="32994">
                  <c:v>64369</c:v>
                </c:pt>
                <c:pt idx="32995">
                  <c:v>56621</c:v>
                </c:pt>
                <c:pt idx="32996">
                  <c:v>24331</c:v>
                </c:pt>
                <c:pt idx="32997">
                  <c:v>47769</c:v>
                </c:pt>
                <c:pt idx="32998">
                  <c:v>49607</c:v>
                </c:pt>
                <c:pt idx="32999">
                  <c:v>31182</c:v>
                </c:pt>
                <c:pt idx="33000">
                  <c:v>64357</c:v>
                </c:pt>
                <c:pt idx="33001">
                  <c:v>39826</c:v>
                </c:pt>
                <c:pt idx="33002">
                  <c:v>34372</c:v>
                </c:pt>
                <c:pt idx="33003">
                  <c:v>56481</c:v>
                </c:pt>
                <c:pt idx="33004">
                  <c:v>35363</c:v>
                </c:pt>
                <c:pt idx="33005">
                  <c:v>24309</c:v>
                </c:pt>
                <c:pt idx="33006">
                  <c:v>76022</c:v>
                </c:pt>
                <c:pt idx="33007">
                  <c:v>87531</c:v>
                </c:pt>
                <c:pt idx="33008">
                  <c:v>89466</c:v>
                </c:pt>
                <c:pt idx="33009">
                  <c:v>33794</c:v>
                </c:pt>
                <c:pt idx="33010">
                  <c:v>53882</c:v>
                </c:pt>
                <c:pt idx="33011">
                  <c:v>39788</c:v>
                </c:pt>
                <c:pt idx="33012">
                  <c:v>31131</c:v>
                </c:pt>
                <c:pt idx="33013">
                  <c:v>86558</c:v>
                </c:pt>
                <c:pt idx="33014">
                  <c:v>86076</c:v>
                </c:pt>
                <c:pt idx="33015">
                  <c:v>125719</c:v>
                </c:pt>
                <c:pt idx="33016">
                  <c:v>121070</c:v>
                </c:pt>
                <c:pt idx="33017">
                  <c:v>84887</c:v>
                </c:pt>
                <c:pt idx="33018">
                  <c:v>30454</c:v>
                </c:pt>
                <c:pt idx="33019">
                  <c:v>23288</c:v>
                </c:pt>
                <c:pt idx="33020">
                  <c:v>46256</c:v>
                </c:pt>
                <c:pt idx="33021">
                  <c:v>25622</c:v>
                </c:pt>
                <c:pt idx="33022">
                  <c:v>35534</c:v>
                </c:pt>
                <c:pt idx="33023">
                  <c:v>27792</c:v>
                </c:pt>
                <c:pt idx="33024">
                  <c:v>28721</c:v>
                </c:pt>
                <c:pt idx="33025">
                  <c:v>73074</c:v>
                </c:pt>
                <c:pt idx="33026">
                  <c:v>117730</c:v>
                </c:pt>
                <c:pt idx="33027">
                  <c:v>25808</c:v>
                </c:pt>
                <c:pt idx="33028">
                  <c:v>68916</c:v>
                </c:pt>
                <c:pt idx="33029">
                  <c:v>28071</c:v>
                </c:pt>
                <c:pt idx="33030">
                  <c:v>38893</c:v>
                </c:pt>
                <c:pt idx="33031">
                  <c:v>39935</c:v>
                </c:pt>
                <c:pt idx="33032">
                  <c:v>53045</c:v>
                </c:pt>
                <c:pt idx="33033">
                  <c:v>63842</c:v>
                </c:pt>
                <c:pt idx="33034">
                  <c:v>197092</c:v>
                </c:pt>
                <c:pt idx="33035">
                  <c:v>20731</c:v>
                </c:pt>
                <c:pt idx="33036">
                  <c:v>24796</c:v>
                </c:pt>
                <c:pt idx="33037">
                  <c:v>111595</c:v>
                </c:pt>
                <c:pt idx="33038">
                  <c:v>41517</c:v>
                </c:pt>
                <c:pt idx="33039">
                  <c:v>52670</c:v>
                </c:pt>
                <c:pt idx="33040">
                  <c:v>21508</c:v>
                </c:pt>
                <c:pt idx="33041">
                  <c:v>34843</c:v>
                </c:pt>
                <c:pt idx="33042">
                  <c:v>87973</c:v>
                </c:pt>
                <c:pt idx="33043">
                  <c:v>94158</c:v>
                </c:pt>
                <c:pt idx="33044">
                  <c:v>61110</c:v>
                </c:pt>
                <c:pt idx="33045">
                  <c:v>50013</c:v>
                </c:pt>
                <c:pt idx="33046">
                  <c:v>51262</c:v>
                </c:pt>
                <c:pt idx="33047">
                  <c:v>22244</c:v>
                </c:pt>
                <c:pt idx="33048">
                  <c:v>43752</c:v>
                </c:pt>
                <c:pt idx="33049">
                  <c:v>65780</c:v>
                </c:pt>
                <c:pt idx="33050">
                  <c:v>36299</c:v>
                </c:pt>
                <c:pt idx="33051">
                  <c:v>60655</c:v>
                </c:pt>
                <c:pt idx="33052">
                  <c:v>34766</c:v>
                </c:pt>
                <c:pt idx="33053">
                  <c:v>44643</c:v>
                </c:pt>
                <c:pt idx="33054">
                  <c:v>51255</c:v>
                </c:pt>
                <c:pt idx="33055">
                  <c:v>26381</c:v>
                </c:pt>
                <c:pt idx="33056">
                  <c:v>37239</c:v>
                </c:pt>
                <c:pt idx="33057">
                  <c:v>41305</c:v>
                </c:pt>
                <c:pt idx="33058">
                  <c:v>26831</c:v>
                </c:pt>
                <c:pt idx="33059">
                  <c:v>41475</c:v>
                </c:pt>
                <c:pt idx="33060">
                  <c:v>73274</c:v>
                </c:pt>
                <c:pt idx="33061">
                  <c:v>61309</c:v>
                </c:pt>
                <c:pt idx="33062">
                  <c:v>30193</c:v>
                </c:pt>
                <c:pt idx="33063">
                  <c:v>31068</c:v>
                </c:pt>
                <c:pt idx="33064">
                  <c:v>25060</c:v>
                </c:pt>
                <c:pt idx="33065">
                  <c:v>72544</c:v>
                </c:pt>
                <c:pt idx="33066">
                  <c:v>74876</c:v>
                </c:pt>
                <c:pt idx="33067">
                  <c:v>38218</c:v>
                </c:pt>
                <c:pt idx="33068">
                  <c:v>35776</c:v>
                </c:pt>
                <c:pt idx="33069">
                  <c:v>43904</c:v>
                </c:pt>
                <c:pt idx="33070">
                  <c:v>59782</c:v>
                </c:pt>
                <c:pt idx="33071">
                  <c:v>56625</c:v>
                </c:pt>
                <c:pt idx="33072">
                  <c:v>51603</c:v>
                </c:pt>
                <c:pt idx="33073">
                  <c:v>55936</c:v>
                </c:pt>
                <c:pt idx="33074">
                  <c:v>23553</c:v>
                </c:pt>
                <c:pt idx="33075">
                  <c:v>42357</c:v>
                </c:pt>
                <c:pt idx="33076">
                  <c:v>38675</c:v>
                </c:pt>
                <c:pt idx="33077">
                  <c:v>27637</c:v>
                </c:pt>
                <c:pt idx="33078">
                  <c:v>30752</c:v>
                </c:pt>
                <c:pt idx="33079">
                  <c:v>29141</c:v>
                </c:pt>
                <c:pt idx="33080">
                  <c:v>58071</c:v>
                </c:pt>
                <c:pt idx="33081">
                  <c:v>30281</c:v>
                </c:pt>
                <c:pt idx="33082">
                  <c:v>33462</c:v>
                </c:pt>
                <c:pt idx="33083">
                  <c:v>27897</c:v>
                </c:pt>
                <c:pt idx="33084">
                  <c:v>52310</c:v>
                </c:pt>
                <c:pt idx="33085">
                  <c:v>42347</c:v>
                </c:pt>
                <c:pt idx="33086">
                  <c:v>99730</c:v>
                </c:pt>
                <c:pt idx="33087">
                  <c:v>28912</c:v>
                </c:pt>
                <c:pt idx="33088">
                  <c:v>37308</c:v>
                </c:pt>
                <c:pt idx="33089">
                  <c:v>58606</c:v>
                </c:pt>
                <c:pt idx="33090">
                  <c:v>25262</c:v>
                </c:pt>
                <c:pt idx="33091">
                  <c:v>27050</c:v>
                </c:pt>
                <c:pt idx="33092">
                  <c:v>111047</c:v>
                </c:pt>
                <c:pt idx="33093">
                  <c:v>36944</c:v>
                </c:pt>
                <c:pt idx="33094">
                  <c:v>28959</c:v>
                </c:pt>
                <c:pt idx="33095">
                  <c:v>54838</c:v>
                </c:pt>
                <c:pt idx="33096">
                  <c:v>23372</c:v>
                </c:pt>
                <c:pt idx="33097">
                  <c:v>138164</c:v>
                </c:pt>
                <c:pt idx="33098">
                  <c:v>61342</c:v>
                </c:pt>
                <c:pt idx="33099">
                  <c:v>32978</c:v>
                </c:pt>
                <c:pt idx="33100">
                  <c:v>28382</c:v>
                </c:pt>
                <c:pt idx="33101">
                  <c:v>27985</c:v>
                </c:pt>
                <c:pt idx="33102">
                  <c:v>21921</c:v>
                </c:pt>
                <c:pt idx="33103">
                  <c:v>32588</c:v>
                </c:pt>
                <c:pt idx="33104">
                  <c:v>58692</c:v>
                </c:pt>
                <c:pt idx="33105">
                  <c:v>76624</c:v>
                </c:pt>
                <c:pt idx="33106">
                  <c:v>36841</c:v>
                </c:pt>
                <c:pt idx="33107">
                  <c:v>32560</c:v>
                </c:pt>
                <c:pt idx="33108">
                  <c:v>50776</c:v>
                </c:pt>
                <c:pt idx="33109">
                  <c:v>40809</c:v>
                </c:pt>
                <c:pt idx="33110">
                  <c:v>25992</c:v>
                </c:pt>
                <c:pt idx="33111">
                  <c:v>48849</c:v>
                </c:pt>
                <c:pt idx="33112">
                  <c:v>35353</c:v>
                </c:pt>
                <c:pt idx="33113">
                  <c:v>30648</c:v>
                </c:pt>
                <c:pt idx="33114">
                  <c:v>50002</c:v>
                </c:pt>
                <c:pt idx="33115">
                  <c:v>169673</c:v>
                </c:pt>
                <c:pt idx="33116">
                  <c:v>25769</c:v>
                </c:pt>
                <c:pt idx="33117">
                  <c:v>36379</c:v>
                </c:pt>
                <c:pt idx="33118">
                  <c:v>71156</c:v>
                </c:pt>
                <c:pt idx="33119">
                  <c:v>123110</c:v>
                </c:pt>
                <c:pt idx="33120">
                  <c:v>86058</c:v>
                </c:pt>
                <c:pt idx="33121">
                  <c:v>62679</c:v>
                </c:pt>
                <c:pt idx="33122">
                  <c:v>42665</c:v>
                </c:pt>
                <c:pt idx="33123">
                  <c:v>97283</c:v>
                </c:pt>
                <c:pt idx="33124">
                  <c:v>27504</c:v>
                </c:pt>
                <c:pt idx="33125">
                  <c:v>27803</c:v>
                </c:pt>
                <c:pt idx="33126">
                  <c:v>72460</c:v>
                </c:pt>
                <c:pt idx="33127">
                  <c:v>29694</c:v>
                </c:pt>
                <c:pt idx="33128">
                  <c:v>35261</c:v>
                </c:pt>
                <c:pt idx="33129">
                  <c:v>54290</c:v>
                </c:pt>
                <c:pt idx="33130">
                  <c:v>116264</c:v>
                </c:pt>
                <c:pt idx="33131">
                  <c:v>140733</c:v>
                </c:pt>
                <c:pt idx="33132">
                  <c:v>25435</c:v>
                </c:pt>
                <c:pt idx="33133">
                  <c:v>71595</c:v>
                </c:pt>
                <c:pt idx="33134">
                  <c:v>71457</c:v>
                </c:pt>
                <c:pt idx="33135">
                  <c:v>28295</c:v>
                </c:pt>
                <c:pt idx="33136">
                  <c:v>32055</c:v>
                </c:pt>
                <c:pt idx="33137">
                  <c:v>23470</c:v>
                </c:pt>
                <c:pt idx="33138">
                  <c:v>48079</c:v>
                </c:pt>
                <c:pt idx="33139">
                  <c:v>109612</c:v>
                </c:pt>
                <c:pt idx="33140">
                  <c:v>43359</c:v>
                </c:pt>
                <c:pt idx="33141">
                  <c:v>272203</c:v>
                </c:pt>
                <c:pt idx="33142">
                  <c:v>72362</c:v>
                </c:pt>
                <c:pt idx="33143">
                  <c:v>37523</c:v>
                </c:pt>
                <c:pt idx="33144">
                  <c:v>33572</c:v>
                </c:pt>
                <c:pt idx="33145">
                  <c:v>47066</c:v>
                </c:pt>
                <c:pt idx="33146">
                  <c:v>34356</c:v>
                </c:pt>
                <c:pt idx="33147">
                  <c:v>396125</c:v>
                </c:pt>
                <c:pt idx="33148">
                  <c:v>98997</c:v>
                </c:pt>
                <c:pt idx="33149">
                  <c:v>34535</c:v>
                </c:pt>
                <c:pt idx="33150">
                  <c:v>37274</c:v>
                </c:pt>
                <c:pt idx="33151">
                  <c:v>33846</c:v>
                </c:pt>
                <c:pt idx="33152">
                  <c:v>45448</c:v>
                </c:pt>
                <c:pt idx="33153">
                  <c:v>20928</c:v>
                </c:pt>
                <c:pt idx="33154">
                  <c:v>45572</c:v>
                </c:pt>
                <c:pt idx="33155">
                  <c:v>26752</c:v>
                </c:pt>
                <c:pt idx="33156">
                  <c:v>42810</c:v>
                </c:pt>
                <c:pt idx="33157">
                  <c:v>105810</c:v>
                </c:pt>
                <c:pt idx="33158">
                  <c:v>22588</c:v>
                </c:pt>
                <c:pt idx="33159">
                  <c:v>243316</c:v>
                </c:pt>
                <c:pt idx="33160">
                  <c:v>98712</c:v>
                </c:pt>
                <c:pt idx="33161">
                  <c:v>40148</c:v>
                </c:pt>
                <c:pt idx="33162">
                  <c:v>60379</c:v>
                </c:pt>
                <c:pt idx="33163">
                  <c:v>23631</c:v>
                </c:pt>
                <c:pt idx="33164">
                  <c:v>50713</c:v>
                </c:pt>
                <c:pt idx="33165">
                  <c:v>41694</c:v>
                </c:pt>
                <c:pt idx="33166">
                  <c:v>42853</c:v>
                </c:pt>
                <c:pt idx="33167">
                  <c:v>86079</c:v>
                </c:pt>
                <c:pt idx="33168">
                  <c:v>38046</c:v>
                </c:pt>
                <c:pt idx="33169">
                  <c:v>50757</c:v>
                </c:pt>
                <c:pt idx="33170">
                  <c:v>34694</c:v>
                </c:pt>
                <c:pt idx="33171">
                  <c:v>37134</c:v>
                </c:pt>
                <c:pt idx="33172">
                  <c:v>174631</c:v>
                </c:pt>
                <c:pt idx="33173">
                  <c:v>47551</c:v>
                </c:pt>
                <c:pt idx="33174">
                  <c:v>26176</c:v>
                </c:pt>
                <c:pt idx="33175">
                  <c:v>25944</c:v>
                </c:pt>
                <c:pt idx="33176">
                  <c:v>52282</c:v>
                </c:pt>
                <c:pt idx="33177">
                  <c:v>53406</c:v>
                </c:pt>
                <c:pt idx="33178">
                  <c:v>46790</c:v>
                </c:pt>
                <c:pt idx="33179">
                  <c:v>35444</c:v>
                </c:pt>
                <c:pt idx="33180">
                  <c:v>32554</c:v>
                </c:pt>
                <c:pt idx="33181">
                  <c:v>44923</c:v>
                </c:pt>
                <c:pt idx="33182">
                  <c:v>60458</c:v>
                </c:pt>
                <c:pt idx="33183">
                  <c:v>125508</c:v>
                </c:pt>
                <c:pt idx="33184">
                  <c:v>35919</c:v>
                </c:pt>
                <c:pt idx="33185">
                  <c:v>24533</c:v>
                </c:pt>
                <c:pt idx="33186">
                  <c:v>225109</c:v>
                </c:pt>
                <c:pt idx="33187">
                  <c:v>42999</c:v>
                </c:pt>
                <c:pt idx="33188">
                  <c:v>31986</c:v>
                </c:pt>
                <c:pt idx="33189">
                  <c:v>29313</c:v>
                </c:pt>
                <c:pt idx="33190">
                  <c:v>83315</c:v>
                </c:pt>
                <c:pt idx="33191">
                  <c:v>27209</c:v>
                </c:pt>
                <c:pt idx="33192">
                  <c:v>43045</c:v>
                </c:pt>
                <c:pt idx="33193">
                  <c:v>44808</c:v>
                </c:pt>
                <c:pt idx="33194">
                  <c:v>22289</c:v>
                </c:pt>
                <c:pt idx="33195">
                  <c:v>38801</c:v>
                </c:pt>
                <c:pt idx="33196">
                  <c:v>47844</c:v>
                </c:pt>
                <c:pt idx="33197">
                  <c:v>31368</c:v>
                </c:pt>
                <c:pt idx="33198">
                  <c:v>23586</c:v>
                </c:pt>
                <c:pt idx="33199">
                  <c:v>33998</c:v>
                </c:pt>
                <c:pt idx="33200">
                  <c:v>24275</c:v>
                </c:pt>
                <c:pt idx="33201">
                  <c:v>60594</c:v>
                </c:pt>
                <c:pt idx="33202">
                  <c:v>30301</c:v>
                </c:pt>
                <c:pt idx="33203">
                  <c:v>30933</c:v>
                </c:pt>
                <c:pt idx="33204">
                  <c:v>38903</c:v>
                </c:pt>
                <c:pt idx="33205">
                  <c:v>53244</c:v>
                </c:pt>
                <c:pt idx="33206">
                  <c:v>122224</c:v>
                </c:pt>
                <c:pt idx="33207">
                  <c:v>113325</c:v>
                </c:pt>
                <c:pt idx="33208">
                  <c:v>46364</c:v>
                </c:pt>
                <c:pt idx="33209">
                  <c:v>78822</c:v>
                </c:pt>
                <c:pt idx="33210">
                  <c:v>42953</c:v>
                </c:pt>
                <c:pt idx="33211">
                  <c:v>134234</c:v>
                </c:pt>
                <c:pt idx="33212">
                  <c:v>131331</c:v>
                </c:pt>
                <c:pt idx="33213">
                  <c:v>64079</c:v>
                </c:pt>
                <c:pt idx="33214">
                  <c:v>26673</c:v>
                </c:pt>
                <c:pt idx="33215">
                  <c:v>31002</c:v>
                </c:pt>
                <c:pt idx="33216">
                  <c:v>40070</c:v>
                </c:pt>
                <c:pt idx="33217">
                  <c:v>52288</c:v>
                </c:pt>
                <c:pt idx="33218">
                  <c:v>28388</c:v>
                </c:pt>
                <c:pt idx="33219">
                  <c:v>36921</c:v>
                </c:pt>
                <c:pt idx="33220">
                  <c:v>73420</c:v>
                </c:pt>
                <c:pt idx="33221">
                  <c:v>41635</c:v>
                </c:pt>
                <c:pt idx="33222">
                  <c:v>89781</c:v>
                </c:pt>
                <c:pt idx="33223">
                  <c:v>25481</c:v>
                </c:pt>
                <c:pt idx="33224">
                  <c:v>33894</c:v>
                </c:pt>
                <c:pt idx="33225">
                  <c:v>141253</c:v>
                </c:pt>
                <c:pt idx="33226">
                  <c:v>85872</c:v>
                </c:pt>
                <c:pt idx="33227">
                  <c:v>32453</c:v>
                </c:pt>
                <c:pt idx="33228">
                  <c:v>61223</c:v>
                </c:pt>
                <c:pt idx="33229">
                  <c:v>35878</c:v>
                </c:pt>
                <c:pt idx="33230">
                  <c:v>42326</c:v>
                </c:pt>
                <c:pt idx="33231">
                  <c:v>27053</c:v>
                </c:pt>
                <c:pt idx="33232">
                  <c:v>177041</c:v>
                </c:pt>
                <c:pt idx="33233">
                  <c:v>93250</c:v>
                </c:pt>
                <c:pt idx="33234">
                  <c:v>28104</c:v>
                </c:pt>
                <c:pt idx="33235">
                  <c:v>90342</c:v>
                </c:pt>
                <c:pt idx="33236">
                  <c:v>41374</c:v>
                </c:pt>
                <c:pt idx="33237">
                  <c:v>100261</c:v>
                </c:pt>
                <c:pt idx="33238">
                  <c:v>46952</c:v>
                </c:pt>
                <c:pt idx="33239">
                  <c:v>61621</c:v>
                </c:pt>
                <c:pt idx="33240">
                  <c:v>56318</c:v>
                </c:pt>
                <c:pt idx="33241">
                  <c:v>24247</c:v>
                </c:pt>
                <c:pt idx="33242">
                  <c:v>48559</c:v>
                </c:pt>
                <c:pt idx="33243">
                  <c:v>35832</c:v>
                </c:pt>
                <c:pt idx="33244">
                  <c:v>41019</c:v>
                </c:pt>
                <c:pt idx="33245">
                  <c:v>67270</c:v>
                </c:pt>
                <c:pt idx="33246">
                  <c:v>222079</c:v>
                </c:pt>
                <c:pt idx="33247">
                  <c:v>42001</c:v>
                </c:pt>
                <c:pt idx="33248">
                  <c:v>28723</c:v>
                </c:pt>
                <c:pt idx="33249">
                  <c:v>29793</c:v>
                </c:pt>
                <c:pt idx="33250">
                  <c:v>41573</c:v>
                </c:pt>
                <c:pt idx="33251">
                  <c:v>23771</c:v>
                </c:pt>
                <c:pt idx="33252">
                  <c:v>29038</c:v>
                </c:pt>
                <c:pt idx="33253">
                  <c:v>23703</c:v>
                </c:pt>
                <c:pt idx="33254">
                  <c:v>32393</c:v>
                </c:pt>
                <c:pt idx="33255">
                  <c:v>25953</c:v>
                </c:pt>
                <c:pt idx="33256">
                  <c:v>40382</c:v>
                </c:pt>
                <c:pt idx="33257">
                  <c:v>39151</c:v>
                </c:pt>
                <c:pt idx="33258">
                  <c:v>114832</c:v>
                </c:pt>
                <c:pt idx="33259">
                  <c:v>129041</c:v>
                </c:pt>
                <c:pt idx="33260">
                  <c:v>39964</c:v>
                </c:pt>
                <c:pt idx="33261">
                  <c:v>31823</c:v>
                </c:pt>
                <c:pt idx="33262">
                  <c:v>33827</c:v>
                </c:pt>
                <c:pt idx="33263">
                  <c:v>88472</c:v>
                </c:pt>
                <c:pt idx="33264">
                  <c:v>49630</c:v>
                </c:pt>
                <c:pt idx="33265">
                  <c:v>46531</c:v>
                </c:pt>
                <c:pt idx="33266">
                  <c:v>54836</c:v>
                </c:pt>
                <c:pt idx="33267">
                  <c:v>38670</c:v>
                </c:pt>
                <c:pt idx="33268">
                  <c:v>93716</c:v>
                </c:pt>
                <c:pt idx="33269">
                  <c:v>95797</c:v>
                </c:pt>
                <c:pt idx="33270">
                  <c:v>124403</c:v>
                </c:pt>
                <c:pt idx="33271">
                  <c:v>88863</c:v>
                </c:pt>
                <c:pt idx="33272">
                  <c:v>47226</c:v>
                </c:pt>
                <c:pt idx="33273">
                  <c:v>79094</c:v>
                </c:pt>
                <c:pt idx="33274">
                  <c:v>44077</c:v>
                </c:pt>
                <c:pt idx="33275">
                  <c:v>29307</c:v>
                </c:pt>
                <c:pt idx="33276">
                  <c:v>75971</c:v>
                </c:pt>
                <c:pt idx="33277">
                  <c:v>48594</c:v>
                </c:pt>
                <c:pt idx="33278">
                  <c:v>27237</c:v>
                </c:pt>
                <c:pt idx="33279">
                  <c:v>32979</c:v>
                </c:pt>
                <c:pt idx="33280">
                  <c:v>186845</c:v>
                </c:pt>
                <c:pt idx="33281">
                  <c:v>129153</c:v>
                </c:pt>
                <c:pt idx="33282">
                  <c:v>101961</c:v>
                </c:pt>
                <c:pt idx="33283">
                  <c:v>60870</c:v>
                </c:pt>
                <c:pt idx="33284">
                  <c:v>30805</c:v>
                </c:pt>
                <c:pt idx="33285">
                  <c:v>46737</c:v>
                </c:pt>
                <c:pt idx="33286">
                  <c:v>34889</c:v>
                </c:pt>
                <c:pt idx="33287">
                  <c:v>27044</c:v>
                </c:pt>
                <c:pt idx="33288">
                  <c:v>66627</c:v>
                </c:pt>
                <c:pt idx="33289">
                  <c:v>36623</c:v>
                </c:pt>
                <c:pt idx="33290">
                  <c:v>61542</c:v>
                </c:pt>
                <c:pt idx="33291">
                  <c:v>23494</c:v>
                </c:pt>
                <c:pt idx="33292">
                  <c:v>39688</c:v>
                </c:pt>
                <c:pt idx="33293">
                  <c:v>44711</c:v>
                </c:pt>
                <c:pt idx="33294">
                  <c:v>51602</c:v>
                </c:pt>
                <c:pt idx="33295">
                  <c:v>35141</c:v>
                </c:pt>
                <c:pt idx="33296">
                  <c:v>35445</c:v>
                </c:pt>
                <c:pt idx="33297">
                  <c:v>49323</c:v>
                </c:pt>
                <c:pt idx="33298">
                  <c:v>24587</c:v>
                </c:pt>
                <c:pt idx="33299">
                  <c:v>112486</c:v>
                </c:pt>
                <c:pt idx="33300">
                  <c:v>41558</c:v>
                </c:pt>
                <c:pt idx="33301">
                  <c:v>19497</c:v>
                </c:pt>
                <c:pt idx="33302">
                  <c:v>124952</c:v>
                </c:pt>
                <c:pt idx="33303">
                  <c:v>67260</c:v>
                </c:pt>
                <c:pt idx="33304">
                  <c:v>29855</c:v>
                </c:pt>
                <c:pt idx="33305">
                  <c:v>30010</c:v>
                </c:pt>
                <c:pt idx="33306">
                  <c:v>52124</c:v>
                </c:pt>
                <c:pt idx="33307">
                  <c:v>41469</c:v>
                </c:pt>
                <c:pt idx="33308">
                  <c:v>38032</c:v>
                </c:pt>
                <c:pt idx="33309">
                  <c:v>31817</c:v>
                </c:pt>
                <c:pt idx="33310">
                  <c:v>43488</c:v>
                </c:pt>
                <c:pt idx="33311">
                  <c:v>37972</c:v>
                </c:pt>
                <c:pt idx="33312">
                  <c:v>41821</c:v>
                </c:pt>
                <c:pt idx="33313">
                  <c:v>46809</c:v>
                </c:pt>
                <c:pt idx="33314">
                  <c:v>43270</c:v>
                </c:pt>
                <c:pt idx="33315">
                  <c:v>21391</c:v>
                </c:pt>
                <c:pt idx="33316">
                  <c:v>25955</c:v>
                </c:pt>
                <c:pt idx="33317">
                  <c:v>27193</c:v>
                </c:pt>
                <c:pt idx="33318">
                  <c:v>56618</c:v>
                </c:pt>
                <c:pt idx="33319">
                  <c:v>138770</c:v>
                </c:pt>
                <c:pt idx="33320">
                  <c:v>47639</c:v>
                </c:pt>
                <c:pt idx="33321">
                  <c:v>29194</c:v>
                </c:pt>
                <c:pt idx="33322">
                  <c:v>41179</c:v>
                </c:pt>
                <c:pt idx="33323">
                  <c:v>96133</c:v>
                </c:pt>
                <c:pt idx="33324">
                  <c:v>254876</c:v>
                </c:pt>
                <c:pt idx="33325">
                  <c:v>36985</c:v>
                </c:pt>
                <c:pt idx="33326">
                  <c:v>64316</c:v>
                </c:pt>
                <c:pt idx="33327">
                  <c:v>55210</c:v>
                </c:pt>
                <c:pt idx="33328">
                  <c:v>56637</c:v>
                </c:pt>
                <c:pt idx="33329">
                  <c:v>39847</c:v>
                </c:pt>
                <c:pt idx="33330">
                  <c:v>29005</c:v>
                </c:pt>
                <c:pt idx="33331">
                  <c:v>24791</c:v>
                </c:pt>
                <c:pt idx="33332">
                  <c:v>101686</c:v>
                </c:pt>
                <c:pt idx="33333">
                  <c:v>112332</c:v>
                </c:pt>
                <c:pt idx="33334">
                  <c:v>139159</c:v>
                </c:pt>
                <c:pt idx="33335">
                  <c:v>68110</c:v>
                </c:pt>
                <c:pt idx="33336">
                  <c:v>47372</c:v>
                </c:pt>
                <c:pt idx="33337">
                  <c:v>55442</c:v>
                </c:pt>
                <c:pt idx="33338">
                  <c:v>27021</c:v>
                </c:pt>
                <c:pt idx="33339">
                  <c:v>45155</c:v>
                </c:pt>
                <c:pt idx="33340">
                  <c:v>44996</c:v>
                </c:pt>
                <c:pt idx="33341">
                  <c:v>56030</c:v>
                </c:pt>
                <c:pt idx="33342">
                  <c:v>96008</c:v>
                </c:pt>
                <c:pt idx="33343">
                  <c:v>43741</c:v>
                </c:pt>
                <c:pt idx="33344">
                  <c:v>29656</c:v>
                </c:pt>
                <c:pt idx="33345">
                  <c:v>161421</c:v>
                </c:pt>
                <c:pt idx="33346">
                  <c:v>47055</c:v>
                </c:pt>
                <c:pt idx="33347">
                  <c:v>30801</c:v>
                </c:pt>
                <c:pt idx="33348">
                  <c:v>48259</c:v>
                </c:pt>
                <c:pt idx="33349">
                  <c:v>42345</c:v>
                </c:pt>
                <c:pt idx="33350">
                  <c:v>37534</c:v>
                </c:pt>
                <c:pt idx="33351">
                  <c:v>29739</c:v>
                </c:pt>
                <c:pt idx="33352">
                  <c:v>28117</c:v>
                </c:pt>
                <c:pt idx="33353">
                  <c:v>58411</c:v>
                </c:pt>
                <c:pt idx="33354">
                  <c:v>37229</c:v>
                </c:pt>
                <c:pt idx="33355">
                  <c:v>57365</c:v>
                </c:pt>
                <c:pt idx="33356">
                  <c:v>41437</c:v>
                </c:pt>
                <c:pt idx="33357">
                  <c:v>22409</c:v>
                </c:pt>
                <c:pt idx="33358">
                  <c:v>128984</c:v>
                </c:pt>
                <c:pt idx="33359">
                  <c:v>30265</c:v>
                </c:pt>
                <c:pt idx="33360">
                  <c:v>50545</c:v>
                </c:pt>
                <c:pt idx="33361">
                  <c:v>47217</c:v>
                </c:pt>
                <c:pt idx="33362">
                  <c:v>26611</c:v>
                </c:pt>
                <c:pt idx="33363">
                  <c:v>50876</c:v>
                </c:pt>
                <c:pt idx="33364">
                  <c:v>124461</c:v>
                </c:pt>
                <c:pt idx="33365">
                  <c:v>31575</c:v>
                </c:pt>
                <c:pt idx="33366">
                  <c:v>23301</c:v>
                </c:pt>
                <c:pt idx="33367">
                  <c:v>58261</c:v>
                </c:pt>
                <c:pt idx="33368">
                  <c:v>22728</c:v>
                </c:pt>
                <c:pt idx="33369">
                  <c:v>205826</c:v>
                </c:pt>
                <c:pt idx="33370">
                  <c:v>34678</c:v>
                </c:pt>
                <c:pt idx="33371">
                  <c:v>26936</c:v>
                </c:pt>
                <c:pt idx="33372">
                  <c:v>66789</c:v>
                </c:pt>
                <c:pt idx="33373">
                  <c:v>32115</c:v>
                </c:pt>
                <c:pt idx="33374">
                  <c:v>86638</c:v>
                </c:pt>
                <c:pt idx="33375">
                  <c:v>45574</c:v>
                </c:pt>
                <c:pt idx="33376">
                  <c:v>35206</c:v>
                </c:pt>
                <c:pt idx="33377">
                  <c:v>36963</c:v>
                </c:pt>
                <c:pt idx="33378">
                  <c:v>30197</c:v>
                </c:pt>
                <c:pt idx="33379">
                  <c:v>560439</c:v>
                </c:pt>
                <c:pt idx="33380">
                  <c:v>67373</c:v>
                </c:pt>
                <c:pt idx="33381">
                  <c:v>74626</c:v>
                </c:pt>
                <c:pt idx="33382">
                  <c:v>45574</c:v>
                </c:pt>
                <c:pt idx="33383">
                  <c:v>26937</c:v>
                </c:pt>
                <c:pt idx="33384">
                  <c:v>25861</c:v>
                </c:pt>
                <c:pt idx="33385">
                  <c:v>161082</c:v>
                </c:pt>
                <c:pt idx="33386">
                  <c:v>76737</c:v>
                </c:pt>
                <c:pt idx="33387">
                  <c:v>31102</c:v>
                </c:pt>
                <c:pt idx="33388">
                  <c:v>142414</c:v>
                </c:pt>
                <c:pt idx="33389">
                  <c:v>122048</c:v>
                </c:pt>
                <c:pt idx="33390">
                  <c:v>50898</c:v>
                </c:pt>
                <c:pt idx="33391">
                  <c:v>40597</c:v>
                </c:pt>
                <c:pt idx="33392">
                  <c:v>25052</c:v>
                </c:pt>
                <c:pt idx="33393">
                  <c:v>56168</c:v>
                </c:pt>
                <c:pt idx="33394">
                  <c:v>42427</c:v>
                </c:pt>
                <c:pt idx="33395">
                  <c:v>37541</c:v>
                </c:pt>
                <c:pt idx="33396">
                  <c:v>94047</c:v>
                </c:pt>
                <c:pt idx="33397">
                  <c:v>22258</c:v>
                </c:pt>
                <c:pt idx="33398">
                  <c:v>27640</c:v>
                </c:pt>
                <c:pt idx="33399">
                  <c:v>45062</c:v>
                </c:pt>
                <c:pt idx="33400">
                  <c:v>43341</c:v>
                </c:pt>
                <c:pt idx="33401">
                  <c:v>27963</c:v>
                </c:pt>
                <c:pt idx="33402">
                  <c:v>86687</c:v>
                </c:pt>
                <c:pt idx="33403">
                  <c:v>99783</c:v>
                </c:pt>
                <c:pt idx="33404">
                  <c:v>48598</c:v>
                </c:pt>
                <c:pt idx="33405">
                  <c:v>62183</c:v>
                </c:pt>
                <c:pt idx="33406">
                  <c:v>43778</c:v>
                </c:pt>
                <c:pt idx="33407">
                  <c:v>41179</c:v>
                </c:pt>
                <c:pt idx="33408">
                  <c:v>25499</c:v>
                </c:pt>
                <c:pt idx="33409">
                  <c:v>44589</c:v>
                </c:pt>
                <c:pt idx="33410">
                  <c:v>37073</c:v>
                </c:pt>
                <c:pt idx="33411">
                  <c:v>71093</c:v>
                </c:pt>
                <c:pt idx="33412">
                  <c:v>77039</c:v>
                </c:pt>
                <c:pt idx="33413">
                  <c:v>26655</c:v>
                </c:pt>
                <c:pt idx="33414">
                  <c:v>33200</c:v>
                </c:pt>
                <c:pt idx="33415">
                  <c:v>43028</c:v>
                </c:pt>
                <c:pt idx="33416">
                  <c:v>162641</c:v>
                </c:pt>
                <c:pt idx="33417">
                  <c:v>41062</c:v>
                </c:pt>
                <c:pt idx="33418">
                  <c:v>80345</c:v>
                </c:pt>
                <c:pt idx="33419">
                  <c:v>129048</c:v>
                </c:pt>
                <c:pt idx="33420">
                  <c:v>23054</c:v>
                </c:pt>
                <c:pt idx="33421">
                  <c:v>39627</c:v>
                </c:pt>
                <c:pt idx="33422">
                  <c:v>35715</c:v>
                </c:pt>
                <c:pt idx="33423">
                  <c:v>28984</c:v>
                </c:pt>
                <c:pt idx="33424">
                  <c:v>42444</c:v>
                </c:pt>
                <c:pt idx="33425">
                  <c:v>41295</c:v>
                </c:pt>
                <c:pt idx="33426">
                  <c:v>38773</c:v>
                </c:pt>
                <c:pt idx="33427">
                  <c:v>72227</c:v>
                </c:pt>
                <c:pt idx="33428">
                  <c:v>43813</c:v>
                </c:pt>
                <c:pt idx="33429">
                  <c:v>30335</c:v>
                </c:pt>
                <c:pt idx="33430">
                  <c:v>48178</c:v>
                </c:pt>
                <c:pt idx="33431">
                  <c:v>59064</c:v>
                </c:pt>
                <c:pt idx="33432">
                  <c:v>29985</c:v>
                </c:pt>
                <c:pt idx="33433">
                  <c:v>50631</c:v>
                </c:pt>
                <c:pt idx="33434">
                  <c:v>27114</c:v>
                </c:pt>
                <c:pt idx="33435">
                  <c:v>33899</c:v>
                </c:pt>
                <c:pt idx="33436">
                  <c:v>136530</c:v>
                </c:pt>
                <c:pt idx="33437">
                  <c:v>25250</c:v>
                </c:pt>
                <c:pt idx="33438">
                  <c:v>29471</c:v>
                </c:pt>
                <c:pt idx="33439">
                  <c:v>85393</c:v>
                </c:pt>
                <c:pt idx="33440">
                  <c:v>98218</c:v>
                </c:pt>
                <c:pt idx="33441">
                  <c:v>72398</c:v>
                </c:pt>
                <c:pt idx="33442">
                  <c:v>96540</c:v>
                </c:pt>
                <c:pt idx="33443">
                  <c:v>22649</c:v>
                </c:pt>
                <c:pt idx="33444">
                  <c:v>55130</c:v>
                </c:pt>
                <c:pt idx="33445">
                  <c:v>27690</c:v>
                </c:pt>
                <c:pt idx="33446">
                  <c:v>24649</c:v>
                </c:pt>
                <c:pt idx="33447">
                  <c:v>42283</c:v>
                </c:pt>
                <c:pt idx="33448">
                  <c:v>39535</c:v>
                </c:pt>
                <c:pt idx="33449">
                  <c:v>138938</c:v>
                </c:pt>
                <c:pt idx="33450">
                  <c:v>237466</c:v>
                </c:pt>
                <c:pt idx="33451">
                  <c:v>48195</c:v>
                </c:pt>
                <c:pt idx="33452">
                  <c:v>120735</c:v>
                </c:pt>
                <c:pt idx="33453">
                  <c:v>27265</c:v>
                </c:pt>
                <c:pt idx="33454">
                  <c:v>32535</c:v>
                </c:pt>
                <c:pt idx="33455">
                  <c:v>28025</c:v>
                </c:pt>
                <c:pt idx="33456">
                  <c:v>32365</c:v>
                </c:pt>
                <c:pt idx="33457">
                  <c:v>41446</c:v>
                </c:pt>
                <c:pt idx="33458">
                  <c:v>34539</c:v>
                </c:pt>
                <c:pt idx="33459">
                  <c:v>30687</c:v>
                </c:pt>
                <c:pt idx="33460">
                  <c:v>24514</c:v>
                </c:pt>
                <c:pt idx="33461">
                  <c:v>38351</c:v>
                </c:pt>
                <c:pt idx="33462">
                  <c:v>89862</c:v>
                </c:pt>
                <c:pt idx="33463">
                  <c:v>237792</c:v>
                </c:pt>
                <c:pt idx="33464">
                  <c:v>33065</c:v>
                </c:pt>
                <c:pt idx="33465">
                  <c:v>26324</c:v>
                </c:pt>
                <c:pt idx="33466">
                  <c:v>23858</c:v>
                </c:pt>
                <c:pt idx="33467">
                  <c:v>28405</c:v>
                </c:pt>
                <c:pt idx="33468">
                  <c:v>55692</c:v>
                </c:pt>
                <c:pt idx="33469">
                  <c:v>32425</c:v>
                </c:pt>
                <c:pt idx="33470">
                  <c:v>34285</c:v>
                </c:pt>
                <c:pt idx="33471">
                  <c:v>89658</c:v>
                </c:pt>
                <c:pt idx="33472">
                  <c:v>44500</c:v>
                </c:pt>
                <c:pt idx="33473">
                  <c:v>47194</c:v>
                </c:pt>
                <c:pt idx="33474">
                  <c:v>26831</c:v>
                </c:pt>
                <c:pt idx="33475">
                  <c:v>29667</c:v>
                </c:pt>
                <c:pt idx="33476">
                  <c:v>96224</c:v>
                </c:pt>
                <c:pt idx="33477">
                  <c:v>62945</c:v>
                </c:pt>
                <c:pt idx="33478">
                  <c:v>28320</c:v>
                </c:pt>
                <c:pt idx="33479">
                  <c:v>23345</c:v>
                </c:pt>
                <c:pt idx="33480">
                  <c:v>66820</c:v>
                </c:pt>
                <c:pt idx="33481">
                  <c:v>77772</c:v>
                </c:pt>
                <c:pt idx="33482">
                  <c:v>40932</c:v>
                </c:pt>
                <c:pt idx="33483">
                  <c:v>136545</c:v>
                </c:pt>
                <c:pt idx="33484">
                  <c:v>40970</c:v>
                </c:pt>
                <c:pt idx="33485">
                  <c:v>65401</c:v>
                </c:pt>
                <c:pt idx="33486">
                  <c:v>42624</c:v>
                </c:pt>
                <c:pt idx="33487">
                  <c:v>34765</c:v>
                </c:pt>
                <c:pt idx="33488">
                  <c:v>42980</c:v>
                </c:pt>
                <c:pt idx="33489">
                  <c:v>54555</c:v>
                </c:pt>
                <c:pt idx="33490">
                  <c:v>63487</c:v>
                </c:pt>
                <c:pt idx="33491">
                  <c:v>44227</c:v>
                </c:pt>
                <c:pt idx="33492">
                  <c:v>43117</c:v>
                </c:pt>
                <c:pt idx="33493">
                  <c:v>71022</c:v>
                </c:pt>
                <c:pt idx="33494">
                  <c:v>31440</c:v>
                </c:pt>
                <c:pt idx="33495">
                  <c:v>44080</c:v>
                </c:pt>
                <c:pt idx="33496">
                  <c:v>24437</c:v>
                </c:pt>
                <c:pt idx="33497">
                  <c:v>48566</c:v>
                </c:pt>
                <c:pt idx="33498">
                  <c:v>52990</c:v>
                </c:pt>
                <c:pt idx="33499">
                  <c:v>81183</c:v>
                </c:pt>
                <c:pt idx="33500">
                  <c:v>246043</c:v>
                </c:pt>
                <c:pt idx="33501">
                  <c:v>75374</c:v>
                </c:pt>
                <c:pt idx="33502">
                  <c:v>25345</c:v>
                </c:pt>
                <c:pt idx="33503">
                  <c:v>40651</c:v>
                </c:pt>
                <c:pt idx="33504">
                  <c:v>43920</c:v>
                </c:pt>
                <c:pt idx="33505">
                  <c:v>33669</c:v>
                </c:pt>
                <c:pt idx="33506">
                  <c:v>89354</c:v>
                </c:pt>
                <c:pt idx="33507">
                  <c:v>33650</c:v>
                </c:pt>
                <c:pt idx="33508">
                  <c:v>33287</c:v>
                </c:pt>
                <c:pt idx="33509">
                  <c:v>57858</c:v>
                </c:pt>
                <c:pt idx="33510">
                  <c:v>26385</c:v>
                </c:pt>
                <c:pt idx="33511">
                  <c:v>62547</c:v>
                </c:pt>
                <c:pt idx="33512">
                  <c:v>36555</c:v>
                </c:pt>
                <c:pt idx="33513">
                  <c:v>37709</c:v>
                </c:pt>
                <c:pt idx="33514">
                  <c:v>22538</c:v>
                </c:pt>
                <c:pt idx="33515">
                  <c:v>44301</c:v>
                </c:pt>
                <c:pt idx="33516">
                  <c:v>25965</c:v>
                </c:pt>
                <c:pt idx="33517">
                  <c:v>43008</c:v>
                </c:pt>
                <c:pt idx="33518">
                  <c:v>41687</c:v>
                </c:pt>
                <c:pt idx="33519">
                  <c:v>111312</c:v>
                </c:pt>
                <c:pt idx="33520">
                  <c:v>44135</c:v>
                </c:pt>
                <c:pt idx="33521">
                  <c:v>56604</c:v>
                </c:pt>
                <c:pt idx="33522">
                  <c:v>33200</c:v>
                </c:pt>
                <c:pt idx="33523">
                  <c:v>94628</c:v>
                </c:pt>
                <c:pt idx="33524">
                  <c:v>88086</c:v>
                </c:pt>
                <c:pt idx="33525">
                  <c:v>24627</c:v>
                </c:pt>
                <c:pt idx="33526">
                  <c:v>198380</c:v>
                </c:pt>
                <c:pt idx="33527">
                  <c:v>85298</c:v>
                </c:pt>
                <c:pt idx="33528">
                  <c:v>33011</c:v>
                </c:pt>
                <c:pt idx="33529">
                  <c:v>24662</c:v>
                </c:pt>
                <c:pt idx="33530">
                  <c:v>70980</c:v>
                </c:pt>
                <c:pt idx="33531">
                  <c:v>35454</c:v>
                </c:pt>
                <c:pt idx="33532">
                  <c:v>38739</c:v>
                </c:pt>
                <c:pt idx="33533">
                  <c:v>23846</c:v>
                </c:pt>
                <c:pt idx="33534">
                  <c:v>115352</c:v>
                </c:pt>
                <c:pt idx="33535">
                  <c:v>39986</c:v>
                </c:pt>
                <c:pt idx="33536">
                  <c:v>27800</c:v>
                </c:pt>
                <c:pt idx="33537">
                  <c:v>108891</c:v>
                </c:pt>
                <c:pt idx="33538">
                  <c:v>63639</c:v>
                </c:pt>
                <c:pt idx="33539">
                  <c:v>26125</c:v>
                </c:pt>
                <c:pt idx="33540">
                  <c:v>30343</c:v>
                </c:pt>
                <c:pt idx="33541">
                  <c:v>27170</c:v>
                </c:pt>
                <c:pt idx="33542">
                  <c:v>22560</c:v>
                </c:pt>
                <c:pt idx="33543">
                  <c:v>49370</c:v>
                </c:pt>
                <c:pt idx="33544">
                  <c:v>49203</c:v>
                </c:pt>
                <c:pt idx="33545">
                  <c:v>44298</c:v>
                </c:pt>
                <c:pt idx="33546">
                  <c:v>24153</c:v>
                </c:pt>
                <c:pt idx="33547">
                  <c:v>38365</c:v>
                </c:pt>
                <c:pt idx="33548">
                  <c:v>42215</c:v>
                </c:pt>
                <c:pt idx="33549">
                  <c:v>25480</c:v>
                </c:pt>
                <c:pt idx="33550">
                  <c:v>62064</c:v>
                </c:pt>
                <c:pt idx="33551">
                  <c:v>43805</c:v>
                </c:pt>
                <c:pt idx="33552">
                  <c:v>36562</c:v>
                </c:pt>
                <c:pt idx="33553">
                  <c:v>45333</c:v>
                </c:pt>
                <c:pt idx="33554">
                  <c:v>60975</c:v>
                </c:pt>
                <c:pt idx="33555">
                  <c:v>24498</c:v>
                </c:pt>
                <c:pt idx="33556">
                  <c:v>28561</c:v>
                </c:pt>
                <c:pt idx="33557">
                  <c:v>82939</c:v>
                </c:pt>
                <c:pt idx="33558">
                  <c:v>47027</c:v>
                </c:pt>
                <c:pt idx="33559">
                  <c:v>55722</c:v>
                </c:pt>
                <c:pt idx="33560">
                  <c:v>72776</c:v>
                </c:pt>
                <c:pt idx="33561">
                  <c:v>56952</c:v>
                </c:pt>
                <c:pt idx="33562">
                  <c:v>39083</c:v>
                </c:pt>
                <c:pt idx="33563">
                  <c:v>22830</c:v>
                </c:pt>
                <c:pt idx="33564">
                  <c:v>17016</c:v>
                </c:pt>
                <c:pt idx="33565">
                  <c:v>90479</c:v>
                </c:pt>
                <c:pt idx="33566">
                  <c:v>267704</c:v>
                </c:pt>
                <c:pt idx="33567">
                  <c:v>25443</c:v>
                </c:pt>
                <c:pt idx="33568">
                  <c:v>38117</c:v>
                </c:pt>
                <c:pt idx="33569">
                  <c:v>32161</c:v>
                </c:pt>
                <c:pt idx="33570">
                  <c:v>41919</c:v>
                </c:pt>
                <c:pt idx="33571">
                  <c:v>33076</c:v>
                </c:pt>
                <c:pt idx="33572">
                  <c:v>57995</c:v>
                </c:pt>
                <c:pt idx="33573">
                  <c:v>25279</c:v>
                </c:pt>
                <c:pt idx="33574">
                  <c:v>31491</c:v>
                </c:pt>
                <c:pt idx="33575">
                  <c:v>90848</c:v>
                </c:pt>
                <c:pt idx="33576">
                  <c:v>56374</c:v>
                </c:pt>
                <c:pt idx="33577">
                  <c:v>54086</c:v>
                </c:pt>
                <c:pt idx="33578">
                  <c:v>150490</c:v>
                </c:pt>
                <c:pt idx="33579">
                  <c:v>36925</c:v>
                </c:pt>
                <c:pt idx="33580">
                  <c:v>39788</c:v>
                </c:pt>
                <c:pt idx="33581">
                  <c:v>245404</c:v>
                </c:pt>
                <c:pt idx="33582">
                  <c:v>214263</c:v>
                </c:pt>
                <c:pt idx="33583">
                  <c:v>29424</c:v>
                </c:pt>
                <c:pt idx="33584">
                  <c:v>42247</c:v>
                </c:pt>
                <c:pt idx="33585">
                  <c:v>112527</c:v>
                </c:pt>
                <c:pt idx="33586">
                  <c:v>44246</c:v>
                </c:pt>
                <c:pt idx="33587">
                  <c:v>27523</c:v>
                </c:pt>
                <c:pt idx="33588">
                  <c:v>54106</c:v>
                </c:pt>
                <c:pt idx="33589">
                  <c:v>44926</c:v>
                </c:pt>
                <c:pt idx="33590">
                  <c:v>81978</c:v>
                </c:pt>
                <c:pt idx="33591">
                  <c:v>37696</c:v>
                </c:pt>
                <c:pt idx="33592">
                  <c:v>37983</c:v>
                </c:pt>
                <c:pt idx="33593">
                  <c:v>59388</c:v>
                </c:pt>
                <c:pt idx="33594">
                  <c:v>40471</c:v>
                </c:pt>
                <c:pt idx="33595">
                  <c:v>73532</c:v>
                </c:pt>
                <c:pt idx="33596">
                  <c:v>47746</c:v>
                </c:pt>
                <c:pt idx="33597">
                  <c:v>29684</c:v>
                </c:pt>
                <c:pt idx="33598">
                  <c:v>27681</c:v>
                </c:pt>
                <c:pt idx="33599">
                  <c:v>46544</c:v>
                </c:pt>
                <c:pt idx="33600">
                  <c:v>165392</c:v>
                </c:pt>
                <c:pt idx="33601">
                  <c:v>154571</c:v>
                </c:pt>
                <c:pt idx="33602">
                  <c:v>140112</c:v>
                </c:pt>
                <c:pt idx="33603">
                  <c:v>52711</c:v>
                </c:pt>
                <c:pt idx="33604">
                  <c:v>28547</c:v>
                </c:pt>
                <c:pt idx="33605">
                  <c:v>44069</c:v>
                </c:pt>
                <c:pt idx="33606">
                  <c:v>57937</c:v>
                </c:pt>
                <c:pt idx="33607">
                  <c:v>180528</c:v>
                </c:pt>
                <c:pt idx="33608">
                  <c:v>48141</c:v>
                </c:pt>
                <c:pt idx="33609">
                  <c:v>30117</c:v>
                </c:pt>
                <c:pt idx="33610">
                  <c:v>34245</c:v>
                </c:pt>
                <c:pt idx="33611">
                  <c:v>62807</c:v>
                </c:pt>
                <c:pt idx="33612">
                  <c:v>42236</c:v>
                </c:pt>
                <c:pt idx="33613">
                  <c:v>44302</c:v>
                </c:pt>
                <c:pt idx="33614">
                  <c:v>68731</c:v>
                </c:pt>
                <c:pt idx="33615">
                  <c:v>88821</c:v>
                </c:pt>
                <c:pt idx="33616">
                  <c:v>28762</c:v>
                </c:pt>
                <c:pt idx="33617">
                  <c:v>34428</c:v>
                </c:pt>
                <c:pt idx="33618">
                  <c:v>23857</c:v>
                </c:pt>
                <c:pt idx="33619">
                  <c:v>26699</c:v>
                </c:pt>
                <c:pt idx="33620">
                  <c:v>36520</c:v>
                </c:pt>
                <c:pt idx="33621">
                  <c:v>52772</c:v>
                </c:pt>
                <c:pt idx="33622">
                  <c:v>29858</c:v>
                </c:pt>
                <c:pt idx="33623">
                  <c:v>30606</c:v>
                </c:pt>
                <c:pt idx="33624">
                  <c:v>31836</c:v>
                </c:pt>
                <c:pt idx="33625">
                  <c:v>28292</c:v>
                </c:pt>
                <c:pt idx="33626">
                  <c:v>56233</c:v>
                </c:pt>
                <c:pt idx="33627">
                  <c:v>67068</c:v>
                </c:pt>
                <c:pt idx="33628">
                  <c:v>43583</c:v>
                </c:pt>
                <c:pt idx="33629">
                  <c:v>168900</c:v>
                </c:pt>
                <c:pt idx="33630">
                  <c:v>96134</c:v>
                </c:pt>
                <c:pt idx="33631">
                  <c:v>56216</c:v>
                </c:pt>
                <c:pt idx="33632">
                  <c:v>43195</c:v>
                </c:pt>
                <c:pt idx="33633">
                  <c:v>24828</c:v>
                </c:pt>
                <c:pt idx="33634">
                  <c:v>72776</c:v>
                </c:pt>
                <c:pt idx="33635">
                  <c:v>41308</c:v>
                </c:pt>
                <c:pt idx="33636">
                  <c:v>121632</c:v>
                </c:pt>
                <c:pt idx="33637">
                  <c:v>50826</c:v>
                </c:pt>
                <c:pt idx="33638">
                  <c:v>31248</c:v>
                </c:pt>
                <c:pt idx="33639">
                  <c:v>32234</c:v>
                </c:pt>
                <c:pt idx="33640">
                  <c:v>52357</c:v>
                </c:pt>
                <c:pt idx="33641">
                  <c:v>116914</c:v>
                </c:pt>
                <c:pt idx="33642">
                  <c:v>28277</c:v>
                </c:pt>
                <c:pt idx="33643">
                  <c:v>193604</c:v>
                </c:pt>
                <c:pt idx="33644">
                  <c:v>39141</c:v>
                </c:pt>
                <c:pt idx="33645">
                  <c:v>60407</c:v>
                </c:pt>
                <c:pt idx="33646">
                  <c:v>60539</c:v>
                </c:pt>
                <c:pt idx="33647">
                  <c:v>40440</c:v>
                </c:pt>
                <c:pt idx="33648">
                  <c:v>36218</c:v>
                </c:pt>
                <c:pt idx="33649">
                  <c:v>24401</c:v>
                </c:pt>
                <c:pt idx="33650">
                  <c:v>36823</c:v>
                </c:pt>
                <c:pt idx="33651">
                  <c:v>45161</c:v>
                </c:pt>
                <c:pt idx="33652">
                  <c:v>42080</c:v>
                </c:pt>
                <c:pt idx="33653">
                  <c:v>69833</c:v>
                </c:pt>
                <c:pt idx="33654">
                  <c:v>22128</c:v>
                </c:pt>
                <c:pt idx="33655">
                  <c:v>34043</c:v>
                </c:pt>
                <c:pt idx="33656">
                  <c:v>28151</c:v>
                </c:pt>
                <c:pt idx="33657">
                  <c:v>23802</c:v>
                </c:pt>
                <c:pt idx="33658">
                  <c:v>38743</c:v>
                </c:pt>
                <c:pt idx="33659">
                  <c:v>101272</c:v>
                </c:pt>
                <c:pt idx="33660">
                  <c:v>48991</c:v>
                </c:pt>
                <c:pt idx="33661">
                  <c:v>57367</c:v>
                </c:pt>
                <c:pt idx="33662">
                  <c:v>33169</c:v>
                </c:pt>
                <c:pt idx="33663">
                  <c:v>35920</c:v>
                </c:pt>
                <c:pt idx="33664">
                  <c:v>58492</c:v>
                </c:pt>
                <c:pt idx="33665">
                  <c:v>25590</c:v>
                </c:pt>
                <c:pt idx="33666">
                  <c:v>46900</c:v>
                </c:pt>
                <c:pt idx="33667">
                  <c:v>36465</c:v>
                </c:pt>
                <c:pt idx="33668">
                  <c:v>59077</c:v>
                </c:pt>
                <c:pt idx="33669">
                  <c:v>108135</c:v>
                </c:pt>
                <c:pt idx="33670">
                  <c:v>84255</c:v>
                </c:pt>
                <c:pt idx="33671">
                  <c:v>21669</c:v>
                </c:pt>
                <c:pt idx="33672">
                  <c:v>33067</c:v>
                </c:pt>
                <c:pt idx="33673">
                  <c:v>80047</c:v>
                </c:pt>
                <c:pt idx="33674">
                  <c:v>132547</c:v>
                </c:pt>
                <c:pt idx="33675">
                  <c:v>35865</c:v>
                </c:pt>
                <c:pt idx="33676">
                  <c:v>22486</c:v>
                </c:pt>
                <c:pt idx="33677">
                  <c:v>31059</c:v>
                </c:pt>
                <c:pt idx="33678">
                  <c:v>45027</c:v>
                </c:pt>
                <c:pt idx="33679">
                  <c:v>46849</c:v>
                </c:pt>
                <c:pt idx="33680">
                  <c:v>165083</c:v>
                </c:pt>
                <c:pt idx="33681">
                  <c:v>44177</c:v>
                </c:pt>
                <c:pt idx="33682">
                  <c:v>23515</c:v>
                </c:pt>
                <c:pt idx="33683">
                  <c:v>39627</c:v>
                </c:pt>
                <c:pt idx="33684">
                  <c:v>32906</c:v>
                </c:pt>
                <c:pt idx="33685">
                  <c:v>35315</c:v>
                </c:pt>
                <c:pt idx="33686">
                  <c:v>118901</c:v>
                </c:pt>
                <c:pt idx="33687">
                  <c:v>31250</c:v>
                </c:pt>
                <c:pt idx="33688">
                  <c:v>26887</c:v>
                </c:pt>
                <c:pt idx="33689">
                  <c:v>43494</c:v>
                </c:pt>
                <c:pt idx="33690">
                  <c:v>39922</c:v>
                </c:pt>
                <c:pt idx="33691">
                  <c:v>106448</c:v>
                </c:pt>
                <c:pt idx="33692">
                  <c:v>44928</c:v>
                </c:pt>
                <c:pt idx="33693">
                  <c:v>52372</c:v>
                </c:pt>
                <c:pt idx="33694">
                  <c:v>82002</c:v>
                </c:pt>
                <c:pt idx="33695">
                  <c:v>50790</c:v>
                </c:pt>
                <c:pt idx="33696">
                  <c:v>48715</c:v>
                </c:pt>
                <c:pt idx="33697">
                  <c:v>28668</c:v>
                </c:pt>
                <c:pt idx="33698">
                  <c:v>29948</c:v>
                </c:pt>
                <c:pt idx="33699">
                  <c:v>40051</c:v>
                </c:pt>
                <c:pt idx="33700">
                  <c:v>120923</c:v>
                </c:pt>
                <c:pt idx="33701">
                  <c:v>103971</c:v>
                </c:pt>
                <c:pt idx="33702">
                  <c:v>30281</c:v>
                </c:pt>
                <c:pt idx="33703">
                  <c:v>28426</c:v>
                </c:pt>
                <c:pt idx="33704">
                  <c:v>71534</c:v>
                </c:pt>
                <c:pt idx="33705">
                  <c:v>36260</c:v>
                </c:pt>
                <c:pt idx="33706">
                  <c:v>62507</c:v>
                </c:pt>
                <c:pt idx="33707">
                  <c:v>27794</c:v>
                </c:pt>
                <c:pt idx="33708">
                  <c:v>20981</c:v>
                </c:pt>
                <c:pt idx="33709">
                  <c:v>37464</c:v>
                </c:pt>
                <c:pt idx="33710">
                  <c:v>70570</c:v>
                </c:pt>
                <c:pt idx="33711">
                  <c:v>23247</c:v>
                </c:pt>
                <c:pt idx="33712">
                  <c:v>30394</c:v>
                </c:pt>
                <c:pt idx="33713">
                  <c:v>46852</c:v>
                </c:pt>
                <c:pt idx="33714">
                  <c:v>30782</c:v>
                </c:pt>
                <c:pt idx="33715">
                  <c:v>25423</c:v>
                </c:pt>
                <c:pt idx="33716">
                  <c:v>71036</c:v>
                </c:pt>
                <c:pt idx="33717">
                  <c:v>34868</c:v>
                </c:pt>
                <c:pt idx="33718">
                  <c:v>20394</c:v>
                </c:pt>
                <c:pt idx="33719">
                  <c:v>28787</c:v>
                </c:pt>
                <c:pt idx="33720">
                  <c:v>24701</c:v>
                </c:pt>
                <c:pt idx="33721">
                  <c:v>37411</c:v>
                </c:pt>
                <c:pt idx="33722">
                  <c:v>33287</c:v>
                </c:pt>
                <c:pt idx="33723">
                  <c:v>91169</c:v>
                </c:pt>
                <c:pt idx="33724">
                  <c:v>38215</c:v>
                </c:pt>
                <c:pt idx="33725">
                  <c:v>62325</c:v>
                </c:pt>
                <c:pt idx="33726">
                  <c:v>73987</c:v>
                </c:pt>
                <c:pt idx="33727">
                  <c:v>25339</c:v>
                </c:pt>
                <c:pt idx="33728">
                  <c:v>59186</c:v>
                </c:pt>
                <c:pt idx="33729">
                  <c:v>51424</c:v>
                </c:pt>
                <c:pt idx="33730">
                  <c:v>49422</c:v>
                </c:pt>
                <c:pt idx="33731">
                  <c:v>40038</c:v>
                </c:pt>
                <c:pt idx="33732">
                  <c:v>52562</c:v>
                </c:pt>
                <c:pt idx="33733">
                  <c:v>27861</c:v>
                </c:pt>
                <c:pt idx="33734">
                  <c:v>112143</c:v>
                </c:pt>
                <c:pt idx="33735">
                  <c:v>45588</c:v>
                </c:pt>
                <c:pt idx="33736">
                  <c:v>146394</c:v>
                </c:pt>
                <c:pt idx="33737">
                  <c:v>56330</c:v>
                </c:pt>
                <c:pt idx="33738">
                  <c:v>57866</c:v>
                </c:pt>
                <c:pt idx="33739">
                  <c:v>110865</c:v>
                </c:pt>
                <c:pt idx="33740">
                  <c:v>51998</c:v>
                </c:pt>
                <c:pt idx="33741">
                  <c:v>48964</c:v>
                </c:pt>
                <c:pt idx="33742">
                  <c:v>76908</c:v>
                </c:pt>
                <c:pt idx="33743">
                  <c:v>34060</c:v>
                </c:pt>
                <c:pt idx="33744">
                  <c:v>45702</c:v>
                </c:pt>
                <c:pt idx="33745">
                  <c:v>28390</c:v>
                </c:pt>
                <c:pt idx="33746">
                  <c:v>145833</c:v>
                </c:pt>
                <c:pt idx="33747">
                  <c:v>40496</c:v>
                </c:pt>
                <c:pt idx="33748">
                  <c:v>69982</c:v>
                </c:pt>
                <c:pt idx="33749">
                  <c:v>25845</c:v>
                </c:pt>
                <c:pt idx="33750">
                  <c:v>25740</c:v>
                </c:pt>
                <c:pt idx="33751">
                  <c:v>21873</c:v>
                </c:pt>
                <c:pt idx="33752">
                  <c:v>33861</c:v>
                </c:pt>
                <c:pt idx="33753">
                  <c:v>155152</c:v>
                </c:pt>
                <c:pt idx="33754">
                  <c:v>27023</c:v>
                </c:pt>
                <c:pt idx="33755">
                  <c:v>33864</c:v>
                </c:pt>
                <c:pt idx="33756">
                  <c:v>38283</c:v>
                </c:pt>
                <c:pt idx="33757">
                  <c:v>25164</c:v>
                </c:pt>
                <c:pt idx="33758">
                  <c:v>60775</c:v>
                </c:pt>
                <c:pt idx="33759">
                  <c:v>51348</c:v>
                </c:pt>
                <c:pt idx="33760">
                  <c:v>62172</c:v>
                </c:pt>
                <c:pt idx="33761">
                  <c:v>33615</c:v>
                </c:pt>
                <c:pt idx="33762">
                  <c:v>62318</c:v>
                </c:pt>
                <c:pt idx="33763">
                  <c:v>24577</c:v>
                </c:pt>
                <c:pt idx="33764">
                  <c:v>53871</c:v>
                </c:pt>
                <c:pt idx="33765">
                  <c:v>158486</c:v>
                </c:pt>
                <c:pt idx="33766">
                  <c:v>30430</c:v>
                </c:pt>
                <c:pt idx="33767">
                  <c:v>140443</c:v>
                </c:pt>
                <c:pt idx="33768">
                  <c:v>31913</c:v>
                </c:pt>
                <c:pt idx="33769">
                  <c:v>51673</c:v>
                </c:pt>
                <c:pt idx="33770">
                  <c:v>43501</c:v>
                </c:pt>
                <c:pt idx="33771">
                  <c:v>37134</c:v>
                </c:pt>
                <c:pt idx="33772">
                  <c:v>68498</c:v>
                </c:pt>
                <c:pt idx="33773">
                  <c:v>60208</c:v>
                </c:pt>
                <c:pt idx="33774">
                  <c:v>55460</c:v>
                </c:pt>
                <c:pt idx="33775">
                  <c:v>31476</c:v>
                </c:pt>
                <c:pt idx="33776">
                  <c:v>113610</c:v>
                </c:pt>
                <c:pt idx="33777">
                  <c:v>41857</c:v>
                </c:pt>
                <c:pt idx="33778">
                  <c:v>23579</c:v>
                </c:pt>
                <c:pt idx="33779">
                  <c:v>88373</c:v>
                </c:pt>
                <c:pt idx="33780">
                  <c:v>41277</c:v>
                </c:pt>
                <c:pt idx="33781">
                  <c:v>61500</c:v>
                </c:pt>
                <c:pt idx="33782">
                  <c:v>43680</c:v>
                </c:pt>
                <c:pt idx="33783">
                  <c:v>34013</c:v>
                </c:pt>
                <c:pt idx="33784">
                  <c:v>86512</c:v>
                </c:pt>
                <c:pt idx="33785">
                  <c:v>40379</c:v>
                </c:pt>
                <c:pt idx="33786">
                  <c:v>26005</c:v>
                </c:pt>
                <c:pt idx="33787">
                  <c:v>35879</c:v>
                </c:pt>
                <c:pt idx="33788">
                  <c:v>38796</c:v>
                </c:pt>
                <c:pt idx="33789">
                  <c:v>71434</c:v>
                </c:pt>
                <c:pt idx="33790">
                  <c:v>33033</c:v>
                </c:pt>
                <c:pt idx="33791">
                  <c:v>44287</c:v>
                </c:pt>
                <c:pt idx="33792">
                  <c:v>39546</c:v>
                </c:pt>
                <c:pt idx="33793">
                  <c:v>37582</c:v>
                </c:pt>
                <c:pt idx="33794">
                  <c:v>32244</c:v>
                </c:pt>
                <c:pt idx="33795">
                  <c:v>34250</c:v>
                </c:pt>
                <c:pt idx="33796">
                  <c:v>97025</c:v>
                </c:pt>
                <c:pt idx="33797">
                  <c:v>41872</c:v>
                </c:pt>
                <c:pt idx="33798">
                  <c:v>78896</c:v>
                </c:pt>
                <c:pt idx="33799">
                  <c:v>199193</c:v>
                </c:pt>
                <c:pt idx="33800">
                  <c:v>85923</c:v>
                </c:pt>
                <c:pt idx="33801">
                  <c:v>23135</c:v>
                </c:pt>
                <c:pt idx="33802">
                  <c:v>58983</c:v>
                </c:pt>
                <c:pt idx="33803">
                  <c:v>29882</c:v>
                </c:pt>
                <c:pt idx="33804">
                  <c:v>38946</c:v>
                </c:pt>
                <c:pt idx="33805">
                  <c:v>33562</c:v>
                </c:pt>
                <c:pt idx="33806">
                  <c:v>30510</c:v>
                </c:pt>
                <c:pt idx="33807">
                  <c:v>49174</c:v>
                </c:pt>
                <c:pt idx="33808">
                  <c:v>40087</c:v>
                </c:pt>
                <c:pt idx="33809">
                  <c:v>33165</c:v>
                </c:pt>
                <c:pt idx="33810">
                  <c:v>104087</c:v>
                </c:pt>
                <c:pt idx="33811">
                  <c:v>58428</c:v>
                </c:pt>
                <c:pt idx="33812">
                  <c:v>90233</c:v>
                </c:pt>
                <c:pt idx="33813">
                  <c:v>42149</c:v>
                </c:pt>
                <c:pt idx="33814">
                  <c:v>68087</c:v>
                </c:pt>
                <c:pt idx="33815">
                  <c:v>34880</c:v>
                </c:pt>
                <c:pt idx="33816">
                  <c:v>85300</c:v>
                </c:pt>
                <c:pt idx="33817">
                  <c:v>141733</c:v>
                </c:pt>
                <c:pt idx="33818">
                  <c:v>26155</c:v>
                </c:pt>
                <c:pt idx="33819">
                  <c:v>38171</c:v>
                </c:pt>
                <c:pt idx="33820">
                  <c:v>23060</c:v>
                </c:pt>
                <c:pt idx="33821">
                  <c:v>93417</c:v>
                </c:pt>
                <c:pt idx="33822">
                  <c:v>26384</c:v>
                </c:pt>
                <c:pt idx="33823">
                  <c:v>44983</c:v>
                </c:pt>
                <c:pt idx="33824">
                  <c:v>49839</c:v>
                </c:pt>
                <c:pt idx="33825">
                  <c:v>120414</c:v>
                </c:pt>
                <c:pt idx="33826">
                  <c:v>36233</c:v>
                </c:pt>
                <c:pt idx="33827">
                  <c:v>129975</c:v>
                </c:pt>
                <c:pt idx="33828">
                  <c:v>66643</c:v>
                </c:pt>
                <c:pt idx="33829">
                  <c:v>76322</c:v>
                </c:pt>
                <c:pt idx="33830">
                  <c:v>53532</c:v>
                </c:pt>
                <c:pt idx="33831">
                  <c:v>35209</c:v>
                </c:pt>
                <c:pt idx="33832">
                  <c:v>39087</c:v>
                </c:pt>
                <c:pt idx="33833">
                  <c:v>26023</c:v>
                </c:pt>
                <c:pt idx="33834">
                  <c:v>37811</c:v>
                </c:pt>
                <c:pt idx="33835">
                  <c:v>30403</c:v>
                </c:pt>
                <c:pt idx="33836">
                  <c:v>69779</c:v>
                </c:pt>
                <c:pt idx="33837">
                  <c:v>39292</c:v>
                </c:pt>
                <c:pt idx="33838">
                  <c:v>57329</c:v>
                </c:pt>
                <c:pt idx="33839">
                  <c:v>54242</c:v>
                </c:pt>
                <c:pt idx="33840">
                  <c:v>49730</c:v>
                </c:pt>
                <c:pt idx="33841">
                  <c:v>30232</c:v>
                </c:pt>
                <c:pt idx="33842">
                  <c:v>45091</c:v>
                </c:pt>
                <c:pt idx="33843">
                  <c:v>52142</c:v>
                </c:pt>
                <c:pt idx="33844">
                  <c:v>206266</c:v>
                </c:pt>
                <c:pt idx="33845">
                  <c:v>112666</c:v>
                </c:pt>
                <c:pt idx="33846">
                  <c:v>26607</c:v>
                </c:pt>
                <c:pt idx="33847">
                  <c:v>65977</c:v>
                </c:pt>
                <c:pt idx="33848">
                  <c:v>73467</c:v>
                </c:pt>
                <c:pt idx="33849">
                  <c:v>26014</c:v>
                </c:pt>
                <c:pt idx="33850">
                  <c:v>108460</c:v>
                </c:pt>
                <c:pt idx="33851">
                  <c:v>24004</c:v>
                </c:pt>
                <c:pt idx="33852">
                  <c:v>63331</c:v>
                </c:pt>
                <c:pt idx="33853">
                  <c:v>47896</c:v>
                </c:pt>
                <c:pt idx="33854">
                  <c:v>46689</c:v>
                </c:pt>
                <c:pt idx="33855">
                  <c:v>73743</c:v>
                </c:pt>
                <c:pt idx="33856">
                  <c:v>61427</c:v>
                </c:pt>
                <c:pt idx="33857">
                  <c:v>56661</c:v>
                </c:pt>
                <c:pt idx="33858">
                  <c:v>55332</c:v>
                </c:pt>
                <c:pt idx="33859">
                  <c:v>50858</c:v>
                </c:pt>
                <c:pt idx="33860">
                  <c:v>51932</c:v>
                </c:pt>
                <c:pt idx="33861">
                  <c:v>67310</c:v>
                </c:pt>
                <c:pt idx="33862">
                  <c:v>25146</c:v>
                </c:pt>
                <c:pt idx="33863">
                  <c:v>221552</c:v>
                </c:pt>
                <c:pt idx="33864">
                  <c:v>22832</c:v>
                </c:pt>
                <c:pt idx="33865">
                  <c:v>27730</c:v>
                </c:pt>
                <c:pt idx="33866">
                  <c:v>26694</c:v>
                </c:pt>
                <c:pt idx="33867">
                  <c:v>34741</c:v>
                </c:pt>
                <c:pt idx="33868">
                  <c:v>43014</c:v>
                </c:pt>
                <c:pt idx="33869">
                  <c:v>78509</c:v>
                </c:pt>
                <c:pt idx="33870">
                  <c:v>32060</c:v>
                </c:pt>
                <c:pt idx="33871">
                  <c:v>51341</c:v>
                </c:pt>
                <c:pt idx="33872">
                  <c:v>30581</c:v>
                </c:pt>
                <c:pt idx="33873">
                  <c:v>48414</c:v>
                </c:pt>
                <c:pt idx="33874">
                  <c:v>41361</c:v>
                </c:pt>
                <c:pt idx="33875">
                  <c:v>28752</c:v>
                </c:pt>
                <c:pt idx="33876">
                  <c:v>61694</c:v>
                </c:pt>
                <c:pt idx="33877">
                  <c:v>112244</c:v>
                </c:pt>
                <c:pt idx="33878">
                  <c:v>38082</c:v>
                </c:pt>
                <c:pt idx="33879">
                  <c:v>89290</c:v>
                </c:pt>
                <c:pt idx="33880">
                  <c:v>81018</c:v>
                </c:pt>
                <c:pt idx="33881">
                  <c:v>95214</c:v>
                </c:pt>
                <c:pt idx="33882">
                  <c:v>31807</c:v>
                </c:pt>
                <c:pt idx="33883">
                  <c:v>36271</c:v>
                </c:pt>
                <c:pt idx="33884">
                  <c:v>85425</c:v>
                </c:pt>
                <c:pt idx="33885">
                  <c:v>24206</c:v>
                </c:pt>
                <c:pt idx="33886">
                  <c:v>116194</c:v>
                </c:pt>
                <c:pt idx="33887">
                  <c:v>27553</c:v>
                </c:pt>
                <c:pt idx="33888">
                  <c:v>45175</c:v>
                </c:pt>
                <c:pt idx="33889">
                  <c:v>53672</c:v>
                </c:pt>
                <c:pt idx="33890">
                  <c:v>152890</c:v>
                </c:pt>
                <c:pt idx="33891">
                  <c:v>67318</c:v>
                </c:pt>
                <c:pt idx="33892">
                  <c:v>35140</c:v>
                </c:pt>
                <c:pt idx="33893">
                  <c:v>83752</c:v>
                </c:pt>
                <c:pt idx="33894">
                  <c:v>42771</c:v>
                </c:pt>
                <c:pt idx="33895">
                  <c:v>31822</c:v>
                </c:pt>
                <c:pt idx="33896">
                  <c:v>144584</c:v>
                </c:pt>
                <c:pt idx="33897">
                  <c:v>58128</c:v>
                </c:pt>
                <c:pt idx="33898">
                  <c:v>72972</c:v>
                </c:pt>
                <c:pt idx="33899">
                  <c:v>37319</c:v>
                </c:pt>
                <c:pt idx="33900">
                  <c:v>32786</c:v>
                </c:pt>
                <c:pt idx="33901">
                  <c:v>21509</c:v>
                </c:pt>
                <c:pt idx="33902">
                  <c:v>27661</c:v>
                </c:pt>
                <c:pt idx="33903">
                  <c:v>38013</c:v>
                </c:pt>
                <c:pt idx="33904">
                  <c:v>26264</c:v>
                </c:pt>
                <c:pt idx="33905">
                  <c:v>63886</c:v>
                </c:pt>
                <c:pt idx="33906">
                  <c:v>48186</c:v>
                </c:pt>
                <c:pt idx="33907">
                  <c:v>41994</c:v>
                </c:pt>
                <c:pt idx="33908">
                  <c:v>32729</c:v>
                </c:pt>
                <c:pt idx="33909">
                  <c:v>158700</c:v>
                </c:pt>
                <c:pt idx="33910">
                  <c:v>59667</c:v>
                </c:pt>
                <c:pt idx="33911">
                  <c:v>35701</c:v>
                </c:pt>
                <c:pt idx="33912">
                  <c:v>55774</c:v>
                </c:pt>
                <c:pt idx="33913">
                  <c:v>58511</c:v>
                </c:pt>
                <c:pt idx="33914">
                  <c:v>89394</c:v>
                </c:pt>
                <c:pt idx="33915">
                  <c:v>25510</c:v>
                </c:pt>
                <c:pt idx="33916">
                  <c:v>97368</c:v>
                </c:pt>
                <c:pt idx="33917">
                  <c:v>56041</c:v>
                </c:pt>
                <c:pt idx="33918">
                  <c:v>30165</c:v>
                </c:pt>
                <c:pt idx="33919">
                  <c:v>61474</c:v>
                </c:pt>
                <c:pt idx="33920">
                  <c:v>43289</c:v>
                </c:pt>
                <c:pt idx="33921">
                  <c:v>82176</c:v>
                </c:pt>
                <c:pt idx="33922">
                  <c:v>21948</c:v>
                </c:pt>
                <c:pt idx="33923">
                  <c:v>48860</c:v>
                </c:pt>
                <c:pt idx="33924">
                  <c:v>39950</c:v>
                </c:pt>
                <c:pt idx="33925">
                  <c:v>23084</c:v>
                </c:pt>
                <c:pt idx="33926">
                  <c:v>54076</c:v>
                </c:pt>
                <c:pt idx="33927">
                  <c:v>29121</c:v>
                </c:pt>
                <c:pt idx="33928">
                  <c:v>46292</c:v>
                </c:pt>
                <c:pt idx="33929">
                  <c:v>36186</c:v>
                </c:pt>
                <c:pt idx="33930">
                  <c:v>22932</c:v>
                </c:pt>
                <c:pt idx="33931">
                  <c:v>95850</c:v>
                </c:pt>
                <c:pt idx="33932">
                  <c:v>36754</c:v>
                </c:pt>
                <c:pt idx="33933">
                  <c:v>26094</c:v>
                </c:pt>
                <c:pt idx="33934">
                  <c:v>40802</c:v>
                </c:pt>
                <c:pt idx="33935">
                  <c:v>40849</c:v>
                </c:pt>
                <c:pt idx="33936">
                  <c:v>30005</c:v>
                </c:pt>
                <c:pt idx="33937">
                  <c:v>21912</c:v>
                </c:pt>
                <c:pt idx="33938">
                  <c:v>23389</c:v>
                </c:pt>
                <c:pt idx="33939">
                  <c:v>49082</c:v>
                </c:pt>
                <c:pt idx="33940">
                  <c:v>117352</c:v>
                </c:pt>
                <c:pt idx="33941">
                  <c:v>39510</c:v>
                </c:pt>
                <c:pt idx="33942">
                  <c:v>41660</c:v>
                </c:pt>
                <c:pt idx="33943">
                  <c:v>26593</c:v>
                </c:pt>
                <c:pt idx="33944">
                  <c:v>50696</c:v>
                </c:pt>
                <c:pt idx="33945">
                  <c:v>41926</c:v>
                </c:pt>
                <c:pt idx="33946">
                  <c:v>30094</c:v>
                </c:pt>
                <c:pt idx="33947">
                  <c:v>29019</c:v>
                </c:pt>
                <c:pt idx="33948">
                  <c:v>26847</c:v>
                </c:pt>
                <c:pt idx="33949">
                  <c:v>105838</c:v>
                </c:pt>
                <c:pt idx="33950">
                  <c:v>41158</c:v>
                </c:pt>
                <c:pt idx="33951">
                  <c:v>227842</c:v>
                </c:pt>
                <c:pt idx="33952">
                  <c:v>49542</c:v>
                </c:pt>
                <c:pt idx="33953">
                  <c:v>35454</c:v>
                </c:pt>
                <c:pt idx="33954">
                  <c:v>172247</c:v>
                </c:pt>
                <c:pt idx="33955">
                  <c:v>22880</c:v>
                </c:pt>
                <c:pt idx="33956">
                  <c:v>151577</c:v>
                </c:pt>
                <c:pt idx="33957">
                  <c:v>57922</c:v>
                </c:pt>
                <c:pt idx="33958">
                  <c:v>57296</c:v>
                </c:pt>
                <c:pt idx="33959">
                  <c:v>101697</c:v>
                </c:pt>
                <c:pt idx="33960">
                  <c:v>28349</c:v>
                </c:pt>
                <c:pt idx="33961">
                  <c:v>47696</c:v>
                </c:pt>
                <c:pt idx="33962">
                  <c:v>25428</c:v>
                </c:pt>
                <c:pt idx="33963">
                  <c:v>33220</c:v>
                </c:pt>
                <c:pt idx="33964">
                  <c:v>38402</c:v>
                </c:pt>
                <c:pt idx="33965">
                  <c:v>36756</c:v>
                </c:pt>
                <c:pt idx="33966">
                  <c:v>27196</c:v>
                </c:pt>
                <c:pt idx="33967">
                  <c:v>43340</c:v>
                </c:pt>
                <c:pt idx="33968">
                  <c:v>25838</c:v>
                </c:pt>
                <c:pt idx="33969">
                  <c:v>28591</c:v>
                </c:pt>
                <c:pt idx="33970">
                  <c:v>43265</c:v>
                </c:pt>
                <c:pt idx="33971">
                  <c:v>42784</c:v>
                </c:pt>
                <c:pt idx="33972">
                  <c:v>24029</c:v>
                </c:pt>
                <c:pt idx="33973">
                  <c:v>44849</c:v>
                </c:pt>
                <c:pt idx="33974">
                  <c:v>33997</c:v>
                </c:pt>
                <c:pt idx="33975">
                  <c:v>54338</c:v>
                </c:pt>
                <c:pt idx="33976">
                  <c:v>80727</c:v>
                </c:pt>
                <c:pt idx="33977">
                  <c:v>30959</c:v>
                </c:pt>
                <c:pt idx="33978">
                  <c:v>62712</c:v>
                </c:pt>
                <c:pt idx="33979">
                  <c:v>242995</c:v>
                </c:pt>
                <c:pt idx="33980">
                  <c:v>27288</c:v>
                </c:pt>
                <c:pt idx="33981">
                  <c:v>56866</c:v>
                </c:pt>
                <c:pt idx="33982">
                  <c:v>130872</c:v>
                </c:pt>
                <c:pt idx="33983">
                  <c:v>27589</c:v>
                </c:pt>
                <c:pt idx="33984">
                  <c:v>41013</c:v>
                </c:pt>
                <c:pt idx="33985">
                  <c:v>51828</c:v>
                </c:pt>
                <c:pt idx="33986">
                  <c:v>38475</c:v>
                </c:pt>
                <c:pt idx="33987">
                  <c:v>217634</c:v>
                </c:pt>
                <c:pt idx="33988">
                  <c:v>29711</c:v>
                </c:pt>
                <c:pt idx="33989">
                  <c:v>145279</c:v>
                </c:pt>
                <c:pt idx="33990">
                  <c:v>41507</c:v>
                </c:pt>
                <c:pt idx="33991">
                  <c:v>64319</c:v>
                </c:pt>
                <c:pt idx="33992">
                  <c:v>82366</c:v>
                </c:pt>
                <c:pt idx="33993">
                  <c:v>32200</c:v>
                </c:pt>
                <c:pt idx="33994">
                  <c:v>67246</c:v>
                </c:pt>
                <c:pt idx="33995">
                  <c:v>47169</c:v>
                </c:pt>
                <c:pt idx="33996">
                  <c:v>200191</c:v>
                </c:pt>
                <c:pt idx="33997">
                  <c:v>27366</c:v>
                </c:pt>
                <c:pt idx="33998">
                  <c:v>44939</c:v>
                </c:pt>
                <c:pt idx="33999">
                  <c:v>35187</c:v>
                </c:pt>
                <c:pt idx="34000">
                  <c:v>81920</c:v>
                </c:pt>
                <c:pt idx="34001">
                  <c:v>47047</c:v>
                </c:pt>
                <c:pt idx="34002">
                  <c:v>68495</c:v>
                </c:pt>
                <c:pt idx="34003">
                  <c:v>32260</c:v>
                </c:pt>
                <c:pt idx="34004">
                  <c:v>32215</c:v>
                </c:pt>
                <c:pt idx="34005">
                  <c:v>35085</c:v>
                </c:pt>
                <c:pt idx="34006">
                  <c:v>54379</c:v>
                </c:pt>
                <c:pt idx="34007">
                  <c:v>36079</c:v>
                </c:pt>
                <c:pt idx="34008">
                  <c:v>45443</c:v>
                </c:pt>
                <c:pt idx="34009">
                  <c:v>68721</c:v>
                </c:pt>
                <c:pt idx="34010">
                  <c:v>142301</c:v>
                </c:pt>
                <c:pt idx="34011">
                  <c:v>34261</c:v>
                </c:pt>
                <c:pt idx="34012">
                  <c:v>114896</c:v>
                </c:pt>
                <c:pt idx="34013">
                  <c:v>25443</c:v>
                </c:pt>
                <c:pt idx="34014">
                  <c:v>130962</c:v>
                </c:pt>
                <c:pt idx="34015">
                  <c:v>28590</c:v>
                </c:pt>
                <c:pt idx="34016">
                  <c:v>34587</c:v>
                </c:pt>
                <c:pt idx="34017">
                  <c:v>37546</c:v>
                </c:pt>
                <c:pt idx="34018">
                  <c:v>36477</c:v>
                </c:pt>
                <c:pt idx="34019">
                  <c:v>57533</c:v>
                </c:pt>
                <c:pt idx="34020">
                  <c:v>30526</c:v>
                </c:pt>
                <c:pt idx="34021">
                  <c:v>25944</c:v>
                </c:pt>
                <c:pt idx="34022">
                  <c:v>41813</c:v>
                </c:pt>
                <c:pt idx="34023">
                  <c:v>62126</c:v>
                </c:pt>
                <c:pt idx="34024">
                  <c:v>70897</c:v>
                </c:pt>
                <c:pt idx="34025">
                  <c:v>48002</c:v>
                </c:pt>
                <c:pt idx="34026">
                  <c:v>78251</c:v>
                </c:pt>
                <c:pt idx="34027">
                  <c:v>65303</c:v>
                </c:pt>
                <c:pt idx="34028">
                  <c:v>63645</c:v>
                </c:pt>
                <c:pt idx="34029">
                  <c:v>146901</c:v>
                </c:pt>
                <c:pt idx="34030">
                  <c:v>62922</c:v>
                </c:pt>
                <c:pt idx="34031">
                  <c:v>35752</c:v>
                </c:pt>
                <c:pt idx="34032">
                  <c:v>37432</c:v>
                </c:pt>
                <c:pt idx="34033">
                  <c:v>86497</c:v>
                </c:pt>
                <c:pt idx="34034">
                  <c:v>46135</c:v>
                </c:pt>
                <c:pt idx="34035">
                  <c:v>94124</c:v>
                </c:pt>
                <c:pt idx="34036">
                  <c:v>33352</c:v>
                </c:pt>
                <c:pt idx="34037">
                  <c:v>42754</c:v>
                </c:pt>
                <c:pt idx="34038">
                  <c:v>34395</c:v>
                </c:pt>
                <c:pt idx="34039">
                  <c:v>61370</c:v>
                </c:pt>
                <c:pt idx="34040">
                  <c:v>206614</c:v>
                </c:pt>
                <c:pt idx="34041">
                  <c:v>41732</c:v>
                </c:pt>
                <c:pt idx="34042">
                  <c:v>27752</c:v>
                </c:pt>
                <c:pt idx="34043">
                  <c:v>40774</c:v>
                </c:pt>
                <c:pt idx="34044">
                  <c:v>57327</c:v>
                </c:pt>
                <c:pt idx="34045">
                  <c:v>41422</c:v>
                </c:pt>
                <c:pt idx="34046">
                  <c:v>53453</c:v>
                </c:pt>
                <c:pt idx="34047">
                  <c:v>40320</c:v>
                </c:pt>
                <c:pt idx="34048">
                  <c:v>41991</c:v>
                </c:pt>
                <c:pt idx="34049">
                  <c:v>118450</c:v>
                </c:pt>
                <c:pt idx="34050">
                  <c:v>25070</c:v>
                </c:pt>
                <c:pt idx="34051">
                  <c:v>38516</c:v>
                </c:pt>
                <c:pt idx="34052">
                  <c:v>34496</c:v>
                </c:pt>
                <c:pt idx="34053">
                  <c:v>109781</c:v>
                </c:pt>
                <c:pt idx="34054">
                  <c:v>257770</c:v>
                </c:pt>
                <c:pt idx="34055">
                  <c:v>97022</c:v>
                </c:pt>
                <c:pt idx="34056">
                  <c:v>27536</c:v>
                </c:pt>
                <c:pt idx="34057">
                  <c:v>26995</c:v>
                </c:pt>
                <c:pt idx="34058">
                  <c:v>38358</c:v>
                </c:pt>
                <c:pt idx="34059">
                  <c:v>44855</c:v>
                </c:pt>
                <c:pt idx="34060">
                  <c:v>67946</c:v>
                </c:pt>
                <c:pt idx="34061">
                  <c:v>35889</c:v>
                </c:pt>
                <c:pt idx="34062">
                  <c:v>71894</c:v>
                </c:pt>
                <c:pt idx="34063">
                  <c:v>32170</c:v>
                </c:pt>
                <c:pt idx="34064">
                  <c:v>24618</c:v>
                </c:pt>
                <c:pt idx="34065">
                  <c:v>241781</c:v>
                </c:pt>
                <c:pt idx="34066">
                  <c:v>33504</c:v>
                </c:pt>
                <c:pt idx="34067">
                  <c:v>171859</c:v>
                </c:pt>
                <c:pt idx="34068">
                  <c:v>42252</c:v>
                </c:pt>
                <c:pt idx="34069">
                  <c:v>55064</c:v>
                </c:pt>
                <c:pt idx="34070">
                  <c:v>39739</c:v>
                </c:pt>
                <c:pt idx="34071">
                  <c:v>43135</c:v>
                </c:pt>
                <c:pt idx="34072">
                  <c:v>240059</c:v>
                </c:pt>
                <c:pt idx="34073">
                  <c:v>52895</c:v>
                </c:pt>
                <c:pt idx="34074">
                  <c:v>29661</c:v>
                </c:pt>
                <c:pt idx="34075">
                  <c:v>55610</c:v>
                </c:pt>
                <c:pt idx="34076">
                  <c:v>122253</c:v>
                </c:pt>
                <c:pt idx="34077">
                  <c:v>78660</c:v>
                </c:pt>
                <c:pt idx="34078">
                  <c:v>43683</c:v>
                </c:pt>
                <c:pt idx="34079">
                  <c:v>62259</c:v>
                </c:pt>
                <c:pt idx="34080">
                  <c:v>86421</c:v>
                </c:pt>
                <c:pt idx="34081">
                  <c:v>49574</c:v>
                </c:pt>
                <c:pt idx="34082">
                  <c:v>45337</c:v>
                </c:pt>
                <c:pt idx="34083">
                  <c:v>19797</c:v>
                </c:pt>
                <c:pt idx="34084">
                  <c:v>49397</c:v>
                </c:pt>
                <c:pt idx="34085">
                  <c:v>98488</c:v>
                </c:pt>
                <c:pt idx="34086">
                  <c:v>73703</c:v>
                </c:pt>
                <c:pt idx="34087">
                  <c:v>31434</c:v>
                </c:pt>
                <c:pt idx="34088">
                  <c:v>33112</c:v>
                </c:pt>
                <c:pt idx="34089">
                  <c:v>34432</c:v>
                </c:pt>
                <c:pt idx="34090">
                  <c:v>34717</c:v>
                </c:pt>
                <c:pt idx="34091">
                  <c:v>103182</c:v>
                </c:pt>
                <c:pt idx="34092">
                  <c:v>45898</c:v>
                </c:pt>
                <c:pt idx="34093">
                  <c:v>82190</c:v>
                </c:pt>
                <c:pt idx="34094">
                  <c:v>41093</c:v>
                </c:pt>
                <c:pt idx="34095">
                  <c:v>31343</c:v>
                </c:pt>
                <c:pt idx="34096">
                  <c:v>33544</c:v>
                </c:pt>
                <c:pt idx="34097">
                  <c:v>73151</c:v>
                </c:pt>
                <c:pt idx="34098">
                  <c:v>43588</c:v>
                </c:pt>
                <c:pt idx="34099">
                  <c:v>32174</c:v>
                </c:pt>
                <c:pt idx="34100">
                  <c:v>42781</c:v>
                </c:pt>
                <c:pt idx="34101">
                  <c:v>31177</c:v>
                </c:pt>
                <c:pt idx="34102">
                  <c:v>25407</c:v>
                </c:pt>
                <c:pt idx="34103">
                  <c:v>94362</c:v>
                </c:pt>
                <c:pt idx="34104">
                  <c:v>39441</c:v>
                </c:pt>
                <c:pt idx="34105">
                  <c:v>43833</c:v>
                </c:pt>
                <c:pt idx="34106">
                  <c:v>83824</c:v>
                </c:pt>
                <c:pt idx="34107">
                  <c:v>46658</c:v>
                </c:pt>
                <c:pt idx="34108">
                  <c:v>31496</c:v>
                </c:pt>
                <c:pt idx="34109">
                  <c:v>56013</c:v>
                </c:pt>
                <c:pt idx="34110">
                  <c:v>31881</c:v>
                </c:pt>
                <c:pt idx="34111">
                  <c:v>82714</c:v>
                </c:pt>
                <c:pt idx="34112">
                  <c:v>111008</c:v>
                </c:pt>
                <c:pt idx="34113">
                  <c:v>65183</c:v>
                </c:pt>
                <c:pt idx="34114">
                  <c:v>51854</c:v>
                </c:pt>
                <c:pt idx="34115">
                  <c:v>45191</c:v>
                </c:pt>
                <c:pt idx="34116">
                  <c:v>84119</c:v>
                </c:pt>
                <c:pt idx="34117">
                  <c:v>60617</c:v>
                </c:pt>
                <c:pt idx="34118">
                  <c:v>41411</c:v>
                </c:pt>
                <c:pt idx="34119">
                  <c:v>33266</c:v>
                </c:pt>
                <c:pt idx="34120">
                  <c:v>34035</c:v>
                </c:pt>
                <c:pt idx="34121">
                  <c:v>57484</c:v>
                </c:pt>
                <c:pt idx="34122">
                  <c:v>47440</c:v>
                </c:pt>
                <c:pt idx="34123">
                  <c:v>43745</c:v>
                </c:pt>
                <c:pt idx="34124">
                  <c:v>113286</c:v>
                </c:pt>
                <c:pt idx="34125">
                  <c:v>41073</c:v>
                </c:pt>
                <c:pt idx="34126">
                  <c:v>27949</c:v>
                </c:pt>
                <c:pt idx="34127">
                  <c:v>77225</c:v>
                </c:pt>
                <c:pt idx="34128">
                  <c:v>27944</c:v>
                </c:pt>
                <c:pt idx="34129">
                  <c:v>52429</c:v>
                </c:pt>
                <c:pt idx="34130">
                  <c:v>144352</c:v>
                </c:pt>
                <c:pt idx="34131">
                  <c:v>65902</c:v>
                </c:pt>
                <c:pt idx="34132">
                  <c:v>32948</c:v>
                </c:pt>
                <c:pt idx="34133">
                  <c:v>32335</c:v>
                </c:pt>
                <c:pt idx="34134">
                  <c:v>60046</c:v>
                </c:pt>
                <c:pt idx="34135">
                  <c:v>96484</c:v>
                </c:pt>
                <c:pt idx="34136">
                  <c:v>108059</c:v>
                </c:pt>
                <c:pt idx="34137">
                  <c:v>63389</c:v>
                </c:pt>
                <c:pt idx="34138">
                  <c:v>142076</c:v>
                </c:pt>
                <c:pt idx="34139">
                  <c:v>108780</c:v>
                </c:pt>
                <c:pt idx="34140">
                  <c:v>328029</c:v>
                </c:pt>
                <c:pt idx="34141">
                  <c:v>67752</c:v>
                </c:pt>
                <c:pt idx="34142">
                  <c:v>103848</c:v>
                </c:pt>
                <c:pt idx="34143">
                  <c:v>65921</c:v>
                </c:pt>
                <c:pt idx="34144">
                  <c:v>25114</c:v>
                </c:pt>
                <c:pt idx="34145">
                  <c:v>38076</c:v>
                </c:pt>
                <c:pt idx="34146">
                  <c:v>65533</c:v>
                </c:pt>
                <c:pt idx="34147">
                  <c:v>42978</c:v>
                </c:pt>
                <c:pt idx="34148">
                  <c:v>38572</c:v>
                </c:pt>
                <c:pt idx="34149">
                  <c:v>42223</c:v>
                </c:pt>
                <c:pt idx="34150">
                  <c:v>31128</c:v>
                </c:pt>
                <c:pt idx="34151">
                  <c:v>81307</c:v>
                </c:pt>
                <c:pt idx="34152">
                  <c:v>38998</c:v>
                </c:pt>
                <c:pt idx="34153">
                  <c:v>36183</c:v>
                </c:pt>
                <c:pt idx="34154">
                  <c:v>41651</c:v>
                </c:pt>
                <c:pt idx="34155">
                  <c:v>37200</c:v>
                </c:pt>
                <c:pt idx="34156">
                  <c:v>15000</c:v>
                </c:pt>
                <c:pt idx="34157">
                  <c:v>31930</c:v>
                </c:pt>
                <c:pt idx="34158">
                  <c:v>21614</c:v>
                </c:pt>
                <c:pt idx="34159">
                  <c:v>22380</c:v>
                </c:pt>
                <c:pt idx="34160">
                  <c:v>48929</c:v>
                </c:pt>
                <c:pt idx="34161">
                  <c:v>25283</c:v>
                </c:pt>
                <c:pt idx="34162">
                  <c:v>51606</c:v>
                </c:pt>
                <c:pt idx="34163">
                  <c:v>38002</c:v>
                </c:pt>
                <c:pt idx="34164">
                  <c:v>76053</c:v>
                </c:pt>
                <c:pt idx="34165">
                  <c:v>39031</c:v>
                </c:pt>
                <c:pt idx="34166">
                  <c:v>51554</c:v>
                </c:pt>
                <c:pt idx="34167">
                  <c:v>43745</c:v>
                </c:pt>
                <c:pt idx="34168">
                  <c:v>54229</c:v>
                </c:pt>
                <c:pt idx="34169">
                  <c:v>87623</c:v>
                </c:pt>
                <c:pt idx="34170">
                  <c:v>32313</c:v>
                </c:pt>
                <c:pt idx="34171">
                  <c:v>41353</c:v>
                </c:pt>
                <c:pt idx="34172">
                  <c:v>60613</c:v>
                </c:pt>
                <c:pt idx="34173">
                  <c:v>61040</c:v>
                </c:pt>
                <c:pt idx="34174">
                  <c:v>27351</c:v>
                </c:pt>
                <c:pt idx="34175">
                  <c:v>53156</c:v>
                </c:pt>
                <c:pt idx="34176">
                  <c:v>129169</c:v>
                </c:pt>
                <c:pt idx="34177">
                  <c:v>41805</c:v>
                </c:pt>
                <c:pt idx="34178">
                  <c:v>90716</c:v>
                </c:pt>
                <c:pt idx="34179">
                  <c:v>106195</c:v>
                </c:pt>
                <c:pt idx="34180">
                  <c:v>57996</c:v>
                </c:pt>
                <c:pt idx="34181">
                  <c:v>28086</c:v>
                </c:pt>
                <c:pt idx="34182">
                  <c:v>105239</c:v>
                </c:pt>
                <c:pt idx="34183">
                  <c:v>154283</c:v>
                </c:pt>
                <c:pt idx="34184">
                  <c:v>73493</c:v>
                </c:pt>
                <c:pt idx="34185">
                  <c:v>46509</c:v>
                </c:pt>
                <c:pt idx="34186">
                  <c:v>163270</c:v>
                </c:pt>
                <c:pt idx="34187">
                  <c:v>62837</c:v>
                </c:pt>
                <c:pt idx="34188">
                  <c:v>41250</c:v>
                </c:pt>
                <c:pt idx="34189">
                  <c:v>85919</c:v>
                </c:pt>
                <c:pt idx="34190">
                  <c:v>32616</c:v>
                </c:pt>
                <c:pt idx="34191">
                  <c:v>33337</c:v>
                </c:pt>
                <c:pt idx="34192">
                  <c:v>55027</c:v>
                </c:pt>
                <c:pt idx="34193">
                  <c:v>26757</c:v>
                </c:pt>
                <c:pt idx="34194">
                  <c:v>24173</c:v>
                </c:pt>
                <c:pt idx="34195">
                  <c:v>61672</c:v>
                </c:pt>
                <c:pt idx="34196">
                  <c:v>279617</c:v>
                </c:pt>
                <c:pt idx="34197">
                  <c:v>51542</c:v>
                </c:pt>
                <c:pt idx="34198">
                  <c:v>29037</c:v>
                </c:pt>
                <c:pt idx="34199">
                  <c:v>44900</c:v>
                </c:pt>
                <c:pt idx="34200">
                  <c:v>106417</c:v>
                </c:pt>
                <c:pt idx="34201">
                  <c:v>51307</c:v>
                </c:pt>
                <c:pt idx="34202">
                  <c:v>83083</c:v>
                </c:pt>
                <c:pt idx="34203">
                  <c:v>86035</c:v>
                </c:pt>
                <c:pt idx="34204">
                  <c:v>37414</c:v>
                </c:pt>
                <c:pt idx="34205">
                  <c:v>39848</c:v>
                </c:pt>
                <c:pt idx="34206">
                  <c:v>35804</c:v>
                </c:pt>
                <c:pt idx="34207">
                  <c:v>79625</c:v>
                </c:pt>
                <c:pt idx="34208">
                  <c:v>37092</c:v>
                </c:pt>
                <c:pt idx="34209">
                  <c:v>26637</c:v>
                </c:pt>
                <c:pt idx="34210">
                  <c:v>32552</c:v>
                </c:pt>
                <c:pt idx="34211">
                  <c:v>31867</c:v>
                </c:pt>
                <c:pt idx="34212">
                  <c:v>37181</c:v>
                </c:pt>
                <c:pt idx="34213">
                  <c:v>19681</c:v>
                </c:pt>
                <c:pt idx="34214">
                  <c:v>60926</c:v>
                </c:pt>
                <c:pt idx="34215">
                  <c:v>48637</c:v>
                </c:pt>
                <c:pt idx="34216">
                  <c:v>37718</c:v>
                </c:pt>
                <c:pt idx="34217">
                  <c:v>41016</c:v>
                </c:pt>
                <c:pt idx="34218">
                  <c:v>22159</c:v>
                </c:pt>
                <c:pt idx="34219">
                  <c:v>40952</c:v>
                </c:pt>
                <c:pt idx="34220">
                  <c:v>30419</c:v>
                </c:pt>
                <c:pt idx="34221">
                  <c:v>42639</c:v>
                </c:pt>
                <c:pt idx="34222">
                  <c:v>30152</c:v>
                </c:pt>
                <c:pt idx="34223">
                  <c:v>203817</c:v>
                </c:pt>
                <c:pt idx="34224">
                  <c:v>38891</c:v>
                </c:pt>
                <c:pt idx="34225">
                  <c:v>28258</c:v>
                </c:pt>
                <c:pt idx="34226">
                  <c:v>28638</c:v>
                </c:pt>
                <c:pt idx="34227">
                  <c:v>29885</c:v>
                </c:pt>
                <c:pt idx="34228">
                  <c:v>141202</c:v>
                </c:pt>
                <c:pt idx="34229">
                  <c:v>46592</c:v>
                </c:pt>
                <c:pt idx="34230">
                  <c:v>101901</c:v>
                </c:pt>
                <c:pt idx="34231">
                  <c:v>25863</c:v>
                </c:pt>
                <c:pt idx="34232">
                  <c:v>44848</c:v>
                </c:pt>
                <c:pt idx="34233">
                  <c:v>35117</c:v>
                </c:pt>
                <c:pt idx="34234">
                  <c:v>35924</c:v>
                </c:pt>
                <c:pt idx="34235">
                  <c:v>47066</c:v>
                </c:pt>
                <c:pt idx="34236">
                  <c:v>27074</c:v>
                </c:pt>
                <c:pt idx="34237">
                  <c:v>31197</c:v>
                </c:pt>
                <c:pt idx="34238">
                  <c:v>29450</c:v>
                </c:pt>
                <c:pt idx="34239">
                  <c:v>88690</c:v>
                </c:pt>
                <c:pt idx="34240">
                  <c:v>58522</c:v>
                </c:pt>
                <c:pt idx="34241">
                  <c:v>34844</c:v>
                </c:pt>
                <c:pt idx="34242">
                  <c:v>37685</c:v>
                </c:pt>
                <c:pt idx="34243">
                  <c:v>25435</c:v>
                </c:pt>
                <c:pt idx="34244">
                  <c:v>89136</c:v>
                </c:pt>
                <c:pt idx="34245">
                  <c:v>48468</c:v>
                </c:pt>
                <c:pt idx="34246">
                  <c:v>26860</c:v>
                </c:pt>
                <c:pt idx="34247">
                  <c:v>45785</c:v>
                </c:pt>
                <c:pt idx="34248">
                  <c:v>35899</c:v>
                </c:pt>
                <c:pt idx="34249">
                  <c:v>39328</c:v>
                </c:pt>
                <c:pt idx="34250">
                  <c:v>166448</c:v>
                </c:pt>
                <c:pt idx="34251">
                  <c:v>67997</c:v>
                </c:pt>
                <c:pt idx="34252">
                  <c:v>26589</c:v>
                </c:pt>
                <c:pt idx="34253">
                  <c:v>56356</c:v>
                </c:pt>
                <c:pt idx="34254">
                  <c:v>26347</c:v>
                </c:pt>
                <c:pt idx="34255">
                  <c:v>438916</c:v>
                </c:pt>
                <c:pt idx="34256">
                  <c:v>37526</c:v>
                </c:pt>
                <c:pt idx="34257">
                  <c:v>54104</c:v>
                </c:pt>
                <c:pt idx="34258">
                  <c:v>22633</c:v>
                </c:pt>
                <c:pt idx="34259">
                  <c:v>52424</c:v>
                </c:pt>
                <c:pt idx="34260">
                  <c:v>45271</c:v>
                </c:pt>
                <c:pt idx="34261">
                  <c:v>35045</c:v>
                </c:pt>
                <c:pt idx="34262">
                  <c:v>41756</c:v>
                </c:pt>
                <c:pt idx="34263">
                  <c:v>80105</c:v>
                </c:pt>
                <c:pt idx="34264">
                  <c:v>70793</c:v>
                </c:pt>
                <c:pt idx="34265">
                  <c:v>28772</c:v>
                </c:pt>
                <c:pt idx="34266">
                  <c:v>48477</c:v>
                </c:pt>
                <c:pt idx="34267">
                  <c:v>43322</c:v>
                </c:pt>
                <c:pt idx="34268">
                  <c:v>28677</c:v>
                </c:pt>
                <c:pt idx="34269">
                  <c:v>48192</c:v>
                </c:pt>
                <c:pt idx="34270">
                  <c:v>116327</c:v>
                </c:pt>
                <c:pt idx="34271">
                  <c:v>44594</c:v>
                </c:pt>
                <c:pt idx="34272">
                  <c:v>61238</c:v>
                </c:pt>
                <c:pt idx="34273">
                  <c:v>99663</c:v>
                </c:pt>
                <c:pt idx="34274">
                  <c:v>73798</c:v>
                </c:pt>
                <c:pt idx="34275">
                  <c:v>99270</c:v>
                </c:pt>
                <c:pt idx="34276">
                  <c:v>32312</c:v>
                </c:pt>
                <c:pt idx="34277">
                  <c:v>89286</c:v>
                </c:pt>
                <c:pt idx="34278">
                  <c:v>36730</c:v>
                </c:pt>
                <c:pt idx="34279">
                  <c:v>59662</c:v>
                </c:pt>
                <c:pt idx="34280">
                  <c:v>84402</c:v>
                </c:pt>
                <c:pt idx="34281">
                  <c:v>44501</c:v>
                </c:pt>
                <c:pt idx="34282">
                  <c:v>80913</c:v>
                </c:pt>
                <c:pt idx="34283">
                  <c:v>40507</c:v>
                </c:pt>
                <c:pt idx="34284">
                  <c:v>43979</c:v>
                </c:pt>
                <c:pt idx="34285">
                  <c:v>43575</c:v>
                </c:pt>
                <c:pt idx="34286">
                  <c:v>26392</c:v>
                </c:pt>
                <c:pt idx="34287">
                  <c:v>31050</c:v>
                </c:pt>
                <c:pt idx="34288">
                  <c:v>38123</c:v>
                </c:pt>
                <c:pt idx="34289">
                  <c:v>33981</c:v>
                </c:pt>
                <c:pt idx="34290">
                  <c:v>33906</c:v>
                </c:pt>
                <c:pt idx="34291">
                  <c:v>22378</c:v>
                </c:pt>
                <c:pt idx="34292">
                  <c:v>183570</c:v>
                </c:pt>
                <c:pt idx="34293">
                  <c:v>58523</c:v>
                </c:pt>
                <c:pt idx="34294">
                  <c:v>41724</c:v>
                </c:pt>
                <c:pt idx="34295">
                  <c:v>74160</c:v>
                </c:pt>
                <c:pt idx="34296">
                  <c:v>36831</c:v>
                </c:pt>
                <c:pt idx="34297">
                  <c:v>67943</c:v>
                </c:pt>
                <c:pt idx="34298">
                  <c:v>25399</c:v>
                </c:pt>
                <c:pt idx="34299">
                  <c:v>51394</c:v>
                </c:pt>
                <c:pt idx="34300">
                  <c:v>25667</c:v>
                </c:pt>
                <c:pt idx="34301">
                  <c:v>50015</c:v>
                </c:pt>
                <c:pt idx="34302">
                  <c:v>58843</c:v>
                </c:pt>
                <c:pt idx="34303">
                  <c:v>81995</c:v>
                </c:pt>
                <c:pt idx="34304">
                  <c:v>37678</c:v>
                </c:pt>
                <c:pt idx="34305">
                  <c:v>23552</c:v>
                </c:pt>
                <c:pt idx="34306">
                  <c:v>82882</c:v>
                </c:pt>
                <c:pt idx="34307">
                  <c:v>48606</c:v>
                </c:pt>
                <c:pt idx="34308">
                  <c:v>56412</c:v>
                </c:pt>
                <c:pt idx="34309">
                  <c:v>56241</c:v>
                </c:pt>
                <c:pt idx="34310">
                  <c:v>63367</c:v>
                </c:pt>
                <c:pt idx="34311">
                  <c:v>45973</c:v>
                </c:pt>
                <c:pt idx="34312">
                  <c:v>19036</c:v>
                </c:pt>
                <c:pt idx="34313">
                  <c:v>90977</c:v>
                </c:pt>
                <c:pt idx="34314">
                  <c:v>47119</c:v>
                </c:pt>
                <c:pt idx="34315">
                  <c:v>79996</c:v>
                </c:pt>
                <c:pt idx="34316">
                  <c:v>108954</c:v>
                </c:pt>
                <c:pt idx="34317">
                  <c:v>28592</c:v>
                </c:pt>
                <c:pt idx="34318">
                  <c:v>374284</c:v>
                </c:pt>
                <c:pt idx="34319">
                  <c:v>55141</c:v>
                </c:pt>
                <c:pt idx="34320">
                  <c:v>61915</c:v>
                </c:pt>
                <c:pt idx="34321">
                  <c:v>50285</c:v>
                </c:pt>
                <c:pt idx="34322">
                  <c:v>64605</c:v>
                </c:pt>
                <c:pt idx="34323">
                  <c:v>55964</c:v>
                </c:pt>
                <c:pt idx="34324">
                  <c:v>46543</c:v>
                </c:pt>
                <c:pt idx="34325">
                  <c:v>25456</c:v>
                </c:pt>
                <c:pt idx="34326">
                  <c:v>56543</c:v>
                </c:pt>
                <c:pt idx="34327">
                  <c:v>56959</c:v>
                </c:pt>
                <c:pt idx="34328">
                  <c:v>54551</c:v>
                </c:pt>
                <c:pt idx="34329">
                  <c:v>31414</c:v>
                </c:pt>
                <c:pt idx="34330">
                  <c:v>27200</c:v>
                </c:pt>
                <c:pt idx="34331">
                  <c:v>43388</c:v>
                </c:pt>
                <c:pt idx="34332">
                  <c:v>50234</c:v>
                </c:pt>
                <c:pt idx="34333">
                  <c:v>20040</c:v>
                </c:pt>
                <c:pt idx="34334">
                  <c:v>35968</c:v>
                </c:pt>
                <c:pt idx="34335">
                  <c:v>43229</c:v>
                </c:pt>
                <c:pt idx="34336">
                  <c:v>22729</c:v>
                </c:pt>
                <c:pt idx="34337">
                  <c:v>165086</c:v>
                </c:pt>
                <c:pt idx="34338">
                  <c:v>43395</c:v>
                </c:pt>
                <c:pt idx="34339">
                  <c:v>39179</c:v>
                </c:pt>
                <c:pt idx="34340">
                  <c:v>51473</c:v>
                </c:pt>
                <c:pt idx="34341">
                  <c:v>25459</c:v>
                </c:pt>
                <c:pt idx="34342">
                  <c:v>86935</c:v>
                </c:pt>
                <c:pt idx="34343">
                  <c:v>67965</c:v>
                </c:pt>
                <c:pt idx="34344">
                  <c:v>24083</c:v>
                </c:pt>
                <c:pt idx="34345">
                  <c:v>37977</c:v>
                </c:pt>
                <c:pt idx="34346">
                  <c:v>52957</c:v>
                </c:pt>
                <c:pt idx="34347">
                  <c:v>62047</c:v>
                </c:pt>
                <c:pt idx="34348">
                  <c:v>28553</c:v>
                </c:pt>
                <c:pt idx="34349">
                  <c:v>22676</c:v>
                </c:pt>
                <c:pt idx="34350">
                  <c:v>36959</c:v>
                </c:pt>
                <c:pt idx="34351">
                  <c:v>29811</c:v>
                </c:pt>
                <c:pt idx="34352">
                  <c:v>191395</c:v>
                </c:pt>
                <c:pt idx="34353">
                  <c:v>31348</c:v>
                </c:pt>
                <c:pt idx="34354">
                  <c:v>85295</c:v>
                </c:pt>
                <c:pt idx="34355">
                  <c:v>136233</c:v>
                </c:pt>
                <c:pt idx="34356">
                  <c:v>23913</c:v>
                </c:pt>
                <c:pt idx="34357">
                  <c:v>99882</c:v>
                </c:pt>
                <c:pt idx="34358">
                  <c:v>40758</c:v>
                </c:pt>
                <c:pt idx="34359">
                  <c:v>24782</c:v>
                </c:pt>
                <c:pt idx="34360">
                  <c:v>29918</c:v>
                </c:pt>
                <c:pt idx="34361">
                  <c:v>52069</c:v>
                </c:pt>
                <c:pt idx="34362">
                  <c:v>25028</c:v>
                </c:pt>
                <c:pt idx="34363">
                  <c:v>54392</c:v>
                </c:pt>
                <c:pt idx="34364">
                  <c:v>41381</c:v>
                </c:pt>
                <c:pt idx="34365">
                  <c:v>48012</c:v>
                </c:pt>
                <c:pt idx="34366">
                  <c:v>39205</c:v>
                </c:pt>
                <c:pt idx="34367">
                  <c:v>79923</c:v>
                </c:pt>
                <c:pt idx="34368">
                  <c:v>22147</c:v>
                </c:pt>
                <c:pt idx="34369">
                  <c:v>42083</c:v>
                </c:pt>
                <c:pt idx="34370">
                  <c:v>40481</c:v>
                </c:pt>
                <c:pt idx="34371">
                  <c:v>26882</c:v>
                </c:pt>
                <c:pt idx="34372">
                  <c:v>40648</c:v>
                </c:pt>
                <c:pt idx="34373">
                  <c:v>263212</c:v>
                </c:pt>
                <c:pt idx="34374">
                  <c:v>35636</c:v>
                </c:pt>
                <c:pt idx="34375">
                  <c:v>44443</c:v>
                </c:pt>
                <c:pt idx="34376">
                  <c:v>34283</c:v>
                </c:pt>
                <c:pt idx="34377">
                  <c:v>23076</c:v>
                </c:pt>
                <c:pt idx="34378">
                  <c:v>78922</c:v>
                </c:pt>
                <c:pt idx="34379">
                  <c:v>35735</c:v>
                </c:pt>
                <c:pt idx="34380">
                  <c:v>43334</c:v>
                </c:pt>
                <c:pt idx="34381">
                  <c:v>32937</c:v>
                </c:pt>
                <c:pt idx="34382">
                  <c:v>39993</c:v>
                </c:pt>
                <c:pt idx="34383">
                  <c:v>66942</c:v>
                </c:pt>
                <c:pt idx="34384">
                  <c:v>40809</c:v>
                </c:pt>
                <c:pt idx="34385">
                  <c:v>143126</c:v>
                </c:pt>
                <c:pt idx="34386">
                  <c:v>46030</c:v>
                </c:pt>
                <c:pt idx="34387">
                  <c:v>42152</c:v>
                </c:pt>
                <c:pt idx="34388">
                  <c:v>33870</c:v>
                </c:pt>
                <c:pt idx="34389">
                  <c:v>28003</c:v>
                </c:pt>
                <c:pt idx="34390">
                  <c:v>73997</c:v>
                </c:pt>
                <c:pt idx="34391">
                  <c:v>46297</c:v>
                </c:pt>
                <c:pt idx="34392">
                  <c:v>195406</c:v>
                </c:pt>
                <c:pt idx="34393">
                  <c:v>35500</c:v>
                </c:pt>
                <c:pt idx="34394">
                  <c:v>40109</c:v>
                </c:pt>
                <c:pt idx="34395">
                  <c:v>63656</c:v>
                </c:pt>
                <c:pt idx="34396">
                  <c:v>47567</c:v>
                </c:pt>
                <c:pt idx="34397">
                  <c:v>28641</c:v>
                </c:pt>
                <c:pt idx="34398">
                  <c:v>498620</c:v>
                </c:pt>
                <c:pt idx="34399">
                  <c:v>31015</c:v>
                </c:pt>
                <c:pt idx="34400">
                  <c:v>148176</c:v>
                </c:pt>
                <c:pt idx="34401">
                  <c:v>34396</c:v>
                </c:pt>
                <c:pt idx="34402">
                  <c:v>62742</c:v>
                </c:pt>
                <c:pt idx="34403">
                  <c:v>33728</c:v>
                </c:pt>
                <c:pt idx="34404">
                  <c:v>46148</c:v>
                </c:pt>
                <c:pt idx="34405">
                  <c:v>27418</c:v>
                </c:pt>
                <c:pt idx="34406">
                  <c:v>20103</c:v>
                </c:pt>
                <c:pt idx="34407">
                  <c:v>61738</c:v>
                </c:pt>
                <c:pt idx="34408">
                  <c:v>46679</c:v>
                </c:pt>
                <c:pt idx="34409">
                  <c:v>61231</c:v>
                </c:pt>
                <c:pt idx="34410">
                  <c:v>63019</c:v>
                </c:pt>
                <c:pt idx="34411">
                  <c:v>139882</c:v>
                </c:pt>
                <c:pt idx="34412">
                  <c:v>79843</c:v>
                </c:pt>
                <c:pt idx="34413">
                  <c:v>43609</c:v>
                </c:pt>
                <c:pt idx="34414">
                  <c:v>72665</c:v>
                </c:pt>
                <c:pt idx="34415">
                  <c:v>40849</c:v>
                </c:pt>
                <c:pt idx="34416">
                  <c:v>43167</c:v>
                </c:pt>
                <c:pt idx="34417">
                  <c:v>64074</c:v>
                </c:pt>
                <c:pt idx="34418">
                  <c:v>81916</c:v>
                </c:pt>
                <c:pt idx="34419">
                  <c:v>31812</c:v>
                </c:pt>
                <c:pt idx="34420">
                  <c:v>37129</c:v>
                </c:pt>
                <c:pt idx="34421">
                  <c:v>53333</c:v>
                </c:pt>
                <c:pt idx="34422">
                  <c:v>44940</c:v>
                </c:pt>
                <c:pt idx="34423">
                  <c:v>74669</c:v>
                </c:pt>
                <c:pt idx="34424">
                  <c:v>29949</c:v>
                </c:pt>
                <c:pt idx="34425">
                  <c:v>35977</c:v>
                </c:pt>
                <c:pt idx="34426">
                  <c:v>24216</c:v>
                </c:pt>
                <c:pt idx="34427">
                  <c:v>27736</c:v>
                </c:pt>
                <c:pt idx="34428">
                  <c:v>31084</c:v>
                </c:pt>
                <c:pt idx="34429">
                  <c:v>46763</c:v>
                </c:pt>
                <c:pt idx="34430">
                  <c:v>29055</c:v>
                </c:pt>
                <c:pt idx="34431">
                  <c:v>31107</c:v>
                </c:pt>
                <c:pt idx="34432">
                  <c:v>85872</c:v>
                </c:pt>
                <c:pt idx="34433">
                  <c:v>100940</c:v>
                </c:pt>
                <c:pt idx="34434">
                  <c:v>31540</c:v>
                </c:pt>
                <c:pt idx="34435">
                  <c:v>67241</c:v>
                </c:pt>
                <c:pt idx="34436">
                  <c:v>46824</c:v>
                </c:pt>
                <c:pt idx="34437">
                  <c:v>34894</c:v>
                </c:pt>
                <c:pt idx="34438">
                  <c:v>28214</c:v>
                </c:pt>
                <c:pt idx="34439">
                  <c:v>36916</c:v>
                </c:pt>
                <c:pt idx="34440">
                  <c:v>41098</c:v>
                </c:pt>
                <c:pt idx="34441">
                  <c:v>54789</c:v>
                </c:pt>
                <c:pt idx="34442">
                  <c:v>27671</c:v>
                </c:pt>
                <c:pt idx="34443">
                  <c:v>25140</c:v>
                </c:pt>
                <c:pt idx="34444">
                  <c:v>46244</c:v>
                </c:pt>
                <c:pt idx="34445">
                  <c:v>60559</c:v>
                </c:pt>
                <c:pt idx="34446">
                  <c:v>42517</c:v>
                </c:pt>
                <c:pt idx="34447">
                  <c:v>23166</c:v>
                </c:pt>
                <c:pt idx="34448">
                  <c:v>53455</c:v>
                </c:pt>
                <c:pt idx="34449">
                  <c:v>203477</c:v>
                </c:pt>
                <c:pt idx="34450">
                  <c:v>41223</c:v>
                </c:pt>
                <c:pt idx="34451">
                  <c:v>61015</c:v>
                </c:pt>
                <c:pt idx="34452">
                  <c:v>41112</c:v>
                </c:pt>
                <c:pt idx="34453">
                  <c:v>33259</c:v>
                </c:pt>
                <c:pt idx="34454">
                  <c:v>79960</c:v>
                </c:pt>
                <c:pt idx="34455">
                  <c:v>53684</c:v>
                </c:pt>
                <c:pt idx="34456">
                  <c:v>78917</c:v>
                </c:pt>
                <c:pt idx="34457">
                  <c:v>57428</c:v>
                </c:pt>
                <c:pt idx="34458">
                  <c:v>38519</c:v>
                </c:pt>
                <c:pt idx="34459">
                  <c:v>136949</c:v>
                </c:pt>
                <c:pt idx="34460">
                  <c:v>57641</c:v>
                </c:pt>
                <c:pt idx="34461">
                  <c:v>20664</c:v>
                </c:pt>
                <c:pt idx="34462">
                  <c:v>40302</c:v>
                </c:pt>
                <c:pt idx="34463">
                  <c:v>57570</c:v>
                </c:pt>
                <c:pt idx="34464">
                  <c:v>64570</c:v>
                </c:pt>
                <c:pt idx="34465">
                  <c:v>35611</c:v>
                </c:pt>
                <c:pt idx="34466">
                  <c:v>38647</c:v>
                </c:pt>
                <c:pt idx="34467">
                  <c:v>53902</c:v>
                </c:pt>
                <c:pt idx="34468">
                  <c:v>62809</c:v>
                </c:pt>
                <c:pt idx="34469">
                  <c:v>59723</c:v>
                </c:pt>
                <c:pt idx="34470">
                  <c:v>37598</c:v>
                </c:pt>
                <c:pt idx="34471">
                  <c:v>36939</c:v>
                </c:pt>
                <c:pt idx="34472">
                  <c:v>56171</c:v>
                </c:pt>
                <c:pt idx="34473">
                  <c:v>63110</c:v>
                </c:pt>
                <c:pt idx="34474">
                  <c:v>88151</c:v>
                </c:pt>
                <c:pt idx="34475">
                  <c:v>61371</c:v>
                </c:pt>
                <c:pt idx="34476">
                  <c:v>44848</c:v>
                </c:pt>
                <c:pt idx="34477">
                  <c:v>41284</c:v>
                </c:pt>
                <c:pt idx="34478">
                  <c:v>33466</c:v>
                </c:pt>
                <c:pt idx="34479">
                  <c:v>183529</c:v>
                </c:pt>
                <c:pt idx="34480">
                  <c:v>65464</c:v>
                </c:pt>
                <c:pt idx="34481">
                  <c:v>156844</c:v>
                </c:pt>
                <c:pt idx="34482">
                  <c:v>36885</c:v>
                </c:pt>
                <c:pt idx="34483">
                  <c:v>48998</c:v>
                </c:pt>
                <c:pt idx="34484">
                  <c:v>156912</c:v>
                </c:pt>
                <c:pt idx="34485">
                  <c:v>24116</c:v>
                </c:pt>
                <c:pt idx="34486">
                  <c:v>59592</c:v>
                </c:pt>
                <c:pt idx="34487">
                  <c:v>44473</c:v>
                </c:pt>
                <c:pt idx="34488">
                  <c:v>49427</c:v>
                </c:pt>
                <c:pt idx="34489">
                  <c:v>28808</c:v>
                </c:pt>
                <c:pt idx="34490">
                  <c:v>47712</c:v>
                </c:pt>
                <c:pt idx="34491">
                  <c:v>46652</c:v>
                </c:pt>
                <c:pt idx="34492">
                  <c:v>32698</c:v>
                </c:pt>
                <c:pt idx="34493">
                  <c:v>59679</c:v>
                </c:pt>
                <c:pt idx="34494">
                  <c:v>36102</c:v>
                </c:pt>
                <c:pt idx="34495">
                  <c:v>216369</c:v>
                </c:pt>
                <c:pt idx="34496">
                  <c:v>25889</c:v>
                </c:pt>
                <c:pt idx="34497">
                  <c:v>47284</c:v>
                </c:pt>
                <c:pt idx="34498">
                  <c:v>38867</c:v>
                </c:pt>
                <c:pt idx="34499">
                  <c:v>25703</c:v>
                </c:pt>
                <c:pt idx="34500">
                  <c:v>69018</c:v>
                </c:pt>
                <c:pt idx="34501">
                  <c:v>60180</c:v>
                </c:pt>
                <c:pt idx="34502">
                  <c:v>42202</c:v>
                </c:pt>
                <c:pt idx="34503">
                  <c:v>47946</c:v>
                </c:pt>
                <c:pt idx="34504">
                  <c:v>27540</c:v>
                </c:pt>
                <c:pt idx="34505">
                  <c:v>27039</c:v>
                </c:pt>
                <c:pt idx="34506">
                  <c:v>114389</c:v>
                </c:pt>
                <c:pt idx="34507">
                  <c:v>30371</c:v>
                </c:pt>
                <c:pt idx="34508">
                  <c:v>33961</c:v>
                </c:pt>
                <c:pt idx="34509">
                  <c:v>30884</c:v>
                </c:pt>
                <c:pt idx="34510">
                  <c:v>50687</c:v>
                </c:pt>
                <c:pt idx="34511">
                  <c:v>25685</c:v>
                </c:pt>
                <c:pt idx="34512">
                  <c:v>41451</c:v>
                </c:pt>
                <c:pt idx="34513">
                  <c:v>47415</c:v>
                </c:pt>
                <c:pt idx="34514">
                  <c:v>24457</c:v>
                </c:pt>
                <c:pt idx="34515">
                  <c:v>36280</c:v>
                </c:pt>
                <c:pt idx="34516">
                  <c:v>33153</c:v>
                </c:pt>
                <c:pt idx="34517">
                  <c:v>26321</c:v>
                </c:pt>
                <c:pt idx="34518">
                  <c:v>35325</c:v>
                </c:pt>
                <c:pt idx="34519">
                  <c:v>43753</c:v>
                </c:pt>
                <c:pt idx="34520">
                  <c:v>34161</c:v>
                </c:pt>
                <c:pt idx="34521">
                  <c:v>41819</c:v>
                </c:pt>
                <c:pt idx="34522">
                  <c:v>28243</c:v>
                </c:pt>
                <c:pt idx="34523">
                  <c:v>48973</c:v>
                </c:pt>
                <c:pt idx="34524">
                  <c:v>32745</c:v>
                </c:pt>
                <c:pt idx="34525">
                  <c:v>32909</c:v>
                </c:pt>
                <c:pt idx="34526">
                  <c:v>58082</c:v>
                </c:pt>
                <c:pt idx="34527">
                  <c:v>32849</c:v>
                </c:pt>
                <c:pt idx="34528">
                  <c:v>48492</c:v>
                </c:pt>
                <c:pt idx="34529">
                  <c:v>34660</c:v>
                </c:pt>
                <c:pt idx="34530">
                  <c:v>34014</c:v>
                </c:pt>
                <c:pt idx="34531">
                  <c:v>32641</c:v>
                </c:pt>
                <c:pt idx="34532">
                  <c:v>171603</c:v>
                </c:pt>
                <c:pt idx="34533">
                  <c:v>53864</c:v>
                </c:pt>
                <c:pt idx="34534">
                  <c:v>24550</c:v>
                </c:pt>
                <c:pt idx="34535">
                  <c:v>48197</c:v>
                </c:pt>
                <c:pt idx="34536">
                  <c:v>38886</c:v>
                </c:pt>
                <c:pt idx="34537">
                  <c:v>22171</c:v>
                </c:pt>
                <c:pt idx="34538">
                  <c:v>36421</c:v>
                </c:pt>
                <c:pt idx="34539">
                  <c:v>72415</c:v>
                </c:pt>
                <c:pt idx="34540">
                  <c:v>33513</c:v>
                </c:pt>
                <c:pt idx="34541">
                  <c:v>24974</c:v>
                </c:pt>
                <c:pt idx="34542">
                  <c:v>37675</c:v>
                </c:pt>
                <c:pt idx="34543">
                  <c:v>32739</c:v>
                </c:pt>
                <c:pt idx="34544">
                  <c:v>18183</c:v>
                </c:pt>
                <c:pt idx="34545">
                  <c:v>53362</c:v>
                </c:pt>
                <c:pt idx="34546">
                  <c:v>49836</c:v>
                </c:pt>
                <c:pt idx="34547">
                  <c:v>33280</c:v>
                </c:pt>
                <c:pt idx="34548">
                  <c:v>28041</c:v>
                </c:pt>
                <c:pt idx="34549">
                  <c:v>121712</c:v>
                </c:pt>
                <c:pt idx="34550">
                  <c:v>53841</c:v>
                </c:pt>
                <c:pt idx="34551">
                  <c:v>41996</c:v>
                </c:pt>
                <c:pt idx="34552">
                  <c:v>52837</c:v>
                </c:pt>
                <c:pt idx="34553">
                  <c:v>37166</c:v>
                </c:pt>
                <c:pt idx="34554">
                  <c:v>38575</c:v>
                </c:pt>
                <c:pt idx="34555">
                  <c:v>30413</c:v>
                </c:pt>
                <c:pt idx="34556">
                  <c:v>63462</c:v>
                </c:pt>
                <c:pt idx="34557">
                  <c:v>64856</c:v>
                </c:pt>
                <c:pt idx="34558">
                  <c:v>40252</c:v>
                </c:pt>
                <c:pt idx="34559">
                  <c:v>44524</c:v>
                </c:pt>
                <c:pt idx="34560">
                  <c:v>94127</c:v>
                </c:pt>
                <c:pt idx="34561">
                  <c:v>35563</c:v>
                </c:pt>
                <c:pt idx="34562">
                  <c:v>46596</c:v>
                </c:pt>
                <c:pt idx="34563">
                  <c:v>76163</c:v>
                </c:pt>
                <c:pt idx="34564">
                  <c:v>49682</c:v>
                </c:pt>
                <c:pt idx="34565">
                  <c:v>68992</c:v>
                </c:pt>
                <c:pt idx="34566">
                  <c:v>26048</c:v>
                </c:pt>
                <c:pt idx="34567">
                  <c:v>31707</c:v>
                </c:pt>
                <c:pt idx="34568">
                  <c:v>39252</c:v>
                </c:pt>
                <c:pt idx="34569">
                  <c:v>31385</c:v>
                </c:pt>
                <c:pt idx="34570">
                  <c:v>31107</c:v>
                </c:pt>
                <c:pt idx="34571">
                  <c:v>108925</c:v>
                </c:pt>
                <c:pt idx="34572">
                  <c:v>46249</c:v>
                </c:pt>
                <c:pt idx="34573">
                  <c:v>42596</c:v>
                </c:pt>
                <c:pt idx="34574">
                  <c:v>50900</c:v>
                </c:pt>
                <c:pt idx="34575">
                  <c:v>38483</c:v>
                </c:pt>
                <c:pt idx="34576">
                  <c:v>110949</c:v>
                </c:pt>
                <c:pt idx="34577">
                  <c:v>39252</c:v>
                </c:pt>
                <c:pt idx="34578">
                  <c:v>41130</c:v>
                </c:pt>
                <c:pt idx="34579">
                  <c:v>67874</c:v>
                </c:pt>
                <c:pt idx="34580">
                  <c:v>31886</c:v>
                </c:pt>
                <c:pt idx="34581">
                  <c:v>33720</c:v>
                </c:pt>
                <c:pt idx="34582">
                  <c:v>27761</c:v>
                </c:pt>
                <c:pt idx="34583">
                  <c:v>118346</c:v>
                </c:pt>
                <c:pt idx="34584">
                  <c:v>23157</c:v>
                </c:pt>
                <c:pt idx="34585">
                  <c:v>38784</c:v>
                </c:pt>
                <c:pt idx="34586">
                  <c:v>39289</c:v>
                </c:pt>
                <c:pt idx="34587">
                  <c:v>42770</c:v>
                </c:pt>
                <c:pt idx="34588">
                  <c:v>24165</c:v>
                </c:pt>
                <c:pt idx="34589">
                  <c:v>60756</c:v>
                </c:pt>
                <c:pt idx="34590">
                  <c:v>57675</c:v>
                </c:pt>
                <c:pt idx="34591">
                  <c:v>24750</c:v>
                </c:pt>
                <c:pt idx="34592">
                  <c:v>33141</c:v>
                </c:pt>
                <c:pt idx="34593">
                  <c:v>24802</c:v>
                </c:pt>
                <c:pt idx="34594">
                  <c:v>47199</c:v>
                </c:pt>
                <c:pt idx="34595">
                  <c:v>34368</c:v>
                </c:pt>
                <c:pt idx="34596">
                  <c:v>32247</c:v>
                </c:pt>
                <c:pt idx="34597">
                  <c:v>99449</c:v>
                </c:pt>
                <c:pt idx="34598">
                  <c:v>67529</c:v>
                </c:pt>
                <c:pt idx="34599">
                  <c:v>31415</c:v>
                </c:pt>
                <c:pt idx="34600">
                  <c:v>40601</c:v>
                </c:pt>
                <c:pt idx="34601">
                  <c:v>63918</c:v>
                </c:pt>
                <c:pt idx="34602">
                  <c:v>34807</c:v>
                </c:pt>
                <c:pt idx="34603">
                  <c:v>61502</c:v>
                </c:pt>
                <c:pt idx="34604">
                  <c:v>25986</c:v>
                </c:pt>
                <c:pt idx="34605">
                  <c:v>41064</c:v>
                </c:pt>
                <c:pt idx="34606">
                  <c:v>32057</c:v>
                </c:pt>
                <c:pt idx="34607">
                  <c:v>208544</c:v>
                </c:pt>
                <c:pt idx="34608">
                  <c:v>46211</c:v>
                </c:pt>
                <c:pt idx="34609">
                  <c:v>140851</c:v>
                </c:pt>
                <c:pt idx="34610">
                  <c:v>40861</c:v>
                </c:pt>
                <c:pt idx="34611">
                  <c:v>65223</c:v>
                </c:pt>
                <c:pt idx="34612">
                  <c:v>37131</c:v>
                </c:pt>
                <c:pt idx="34613">
                  <c:v>26485</c:v>
                </c:pt>
                <c:pt idx="34614">
                  <c:v>40141</c:v>
                </c:pt>
                <c:pt idx="34615">
                  <c:v>157384</c:v>
                </c:pt>
                <c:pt idx="34616">
                  <c:v>41071</c:v>
                </c:pt>
                <c:pt idx="34617">
                  <c:v>39888</c:v>
                </c:pt>
                <c:pt idx="34618">
                  <c:v>27957</c:v>
                </c:pt>
                <c:pt idx="34619">
                  <c:v>29611</c:v>
                </c:pt>
                <c:pt idx="34620">
                  <c:v>43095</c:v>
                </c:pt>
                <c:pt idx="34621">
                  <c:v>53110</c:v>
                </c:pt>
                <c:pt idx="34622">
                  <c:v>36492</c:v>
                </c:pt>
                <c:pt idx="34623">
                  <c:v>60099</c:v>
                </c:pt>
                <c:pt idx="34624">
                  <c:v>205481</c:v>
                </c:pt>
                <c:pt idx="34625">
                  <c:v>260888</c:v>
                </c:pt>
                <c:pt idx="34626">
                  <c:v>77481</c:v>
                </c:pt>
                <c:pt idx="34627">
                  <c:v>29015</c:v>
                </c:pt>
                <c:pt idx="34628">
                  <c:v>87135</c:v>
                </c:pt>
                <c:pt idx="34629">
                  <c:v>61270</c:v>
                </c:pt>
                <c:pt idx="34630">
                  <c:v>84948</c:v>
                </c:pt>
                <c:pt idx="34631">
                  <c:v>40974</c:v>
                </c:pt>
                <c:pt idx="34632">
                  <c:v>43609</c:v>
                </c:pt>
                <c:pt idx="34633">
                  <c:v>76657</c:v>
                </c:pt>
                <c:pt idx="34634">
                  <c:v>53751</c:v>
                </c:pt>
                <c:pt idx="34635">
                  <c:v>40818</c:v>
                </c:pt>
                <c:pt idx="34636">
                  <c:v>28587</c:v>
                </c:pt>
                <c:pt idx="34637">
                  <c:v>57296</c:v>
                </c:pt>
                <c:pt idx="34638">
                  <c:v>43719</c:v>
                </c:pt>
                <c:pt idx="34639">
                  <c:v>72791</c:v>
                </c:pt>
                <c:pt idx="34640">
                  <c:v>37356</c:v>
                </c:pt>
                <c:pt idx="34641">
                  <c:v>50627</c:v>
                </c:pt>
                <c:pt idx="34642">
                  <c:v>38691</c:v>
                </c:pt>
                <c:pt idx="34643">
                  <c:v>15000</c:v>
                </c:pt>
                <c:pt idx="34644">
                  <c:v>56922</c:v>
                </c:pt>
                <c:pt idx="34645">
                  <c:v>43642</c:v>
                </c:pt>
                <c:pt idx="34646">
                  <c:v>102768</c:v>
                </c:pt>
                <c:pt idx="34647">
                  <c:v>31960</c:v>
                </c:pt>
                <c:pt idx="34648">
                  <c:v>63238</c:v>
                </c:pt>
                <c:pt idx="34649">
                  <c:v>52257</c:v>
                </c:pt>
                <c:pt idx="34650">
                  <c:v>45044</c:v>
                </c:pt>
                <c:pt idx="34651">
                  <c:v>59944</c:v>
                </c:pt>
                <c:pt idx="34652">
                  <c:v>33909</c:v>
                </c:pt>
                <c:pt idx="34653">
                  <c:v>31626</c:v>
                </c:pt>
                <c:pt idx="34654">
                  <c:v>164810</c:v>
                </c:pt>
                <c:pt idx="34655">
                  <c:v>91673</c:v>
                </c:pt>
                <c:pt idx="34656">
                  <c:v>42043</c:v>
                </c:pt>
                <c:pt idx="34657">
                  <c:v>54405</c:v>
                </c:pt>
                <c:pt idx="34658">
                  <c:v>60461</c:v>
                </c:pt>
                <c:pt idx="34659">
                  <c:v>24524</c:v>
                </c:pt>
                <c:pt idx="34660">
                  <c:v>32333</c:v>
                </c:pt>
                <c:pt idx="34661">
                  <c:v>42782</c:v>
                </c:pt>
                <c:pt idx="34662">
                  <c:v>31127</c:v>
                </c:pt>
                <c:pt idx="34663">
                  <c:v>106644</c:v>
                </c:pt>
                <c:pt idx="34664">
                  <c:v>32205</c:v>
                </c:pt>
                <c:pt idx="34665">
                  <c:v>48875</c:v>
                </c:pt>
                <c:pt idx="34666">
                  <c:v>42548</c:v>
                </c:pt>
                <c:pt idx="34667">
                  <c:v>37605</c:v>
                </c:pt>
                <c:pt idx="34668">
                  <c:v>82894</c:v>
                </c:pt>
                <c:pt idx="34669">
                  <c:v>154360</c:v>
                </c:pt>
                <c:pt idx="34670">
                  <c:v>37496</c:v>
                </c:pt>
                <c:pt idx="34671">
                  <c:v>79046</c:v>
                </c:pt>
                <c:pt idx="34672">
                  <c:v>50780</c:v>
                </c:pt>
                <c:pt idx="34673">
                  <c:v>66225</c:v>
                </c:pt>
                <c:pt idx="34674">
                  <c:v>26951</c:v>
                </c:pt>
                <c:pt idx="34675">
                  <c:v>115648</c:v>
                </c:pt>
                <c:pt idx="34676">
                  <c:v>37149</c:v>
                </c:pt>
                <c:pt idx="34677">
                  <c:v>43718</c:v>
                </c:pt>
                <c:pt idx="34678">
                  <c:v>187946</c:v>
                </c:pt>
                <c:pt idx="34679">
                  <c:v>44665</c:v>
                </c:pt>
                <c:pt idx="34680">
                  <c:v>90010</c:v>
                </c:pt>
                <c:pt idx="34681">
                  <c:v>39884</c:v>
                </c:pt>
                <c:pt idx="34682">
                  <c:v>27163</c:v>
                </c:pt>
                <c:pt idx="34683">
                  <c:v>37211</c:v>
                </c:pt>
                <c:pt idx="34684">
                  <c:v>23342</c:v>
                </c:pt>
                <c:pt idx="34685">
                  <c:v>32485</c:v>
                </c:pt>
                <c:pt idx="34686">
                  <c:v>26412</c:v>
                </c:pt>
                <c:pt idx="34687">
                  <c:v>26839</c:v>
                </c:pt>
                <c:pt idx="34688">
                  <c:v>24745</c:v>
                </c:pt>
                <c:pt idx="34689">
                  <c:v>49635</c:v>
                </c:pt>
                <c:pt idx="34690">
                  <c:v>39313</c:v>
                </c:pt>
                <c:pt idx="34691">
                  <c:v>24783</c:v>
                </c:pt>
                <c:pt idx="34692">
                  <c:v>70017</c:v>
                </c:pt>
                <c:pt idx="34693">
                  <c:v>25451</c:v>
                </c:pt>
                <c:pt idx="34694">
                  <c:v>40686</c:v>
                </c:pt>
                <c:pt idx="34695">
                  <c:v>41016</c:v>
                </c:pt>
                <c:pt idx="34696">
                  <c:v>26190</c:v>
                </c:pt>
                <c:pt idx="34697">
                  <c:v>70441</c:v>
                </c:pt>
                <c:pt idx="34698">
                  <c:v>45340</c:v>
                </c:pt>
                <c:pt idx="34699">
                  <c:v>23841</c:v>
                </c:pt>
                <c:pt idx="34700">
                  <c:v>44417</c:v>
                </c:pt>
                <c:pt idx="34701">
                  <c:v>27596</c:v>
                </c:pt>
                <c:pt idx="34702">
                  <c:v>48607</c:v>
                </c:pt>
                <c:pt idx="34703">
                  <c:v>40016</c:v>
                </c:pt>
                <c:pt idx="34704">
                  <c:v>33101</c:v>
                </c:pt>
                <c:pt idx="34705">
                  <c:v>47230</c:v>
                </c:pt>
                <c:pt idx="34706">
                  <c:v>38421</c:v>
                </c:pt>
                <c:pt idx="34707">
                  <c:v>83959</c:v>
                </c:pt>
                <c:pt idx="34708">
                  <c:v>46948</c:v>
                </c:pt>
                <c:pt idx="34709">
                  <c:v>55437</c:v>
                </c:pt>
                <c:pt idx="34710">
                  <c:v>37446</c:v>
                </c:pt>
                <c:pt idx="34711">
                  <c:v>18195</c:v>
                </c:pt>
                <c:pt idx="34712">
                  <c:v>44311</c:v>
                </c:pt>
                <c:pt idx="34713">
                  <c:v>99324</c:v>
                </c:pt>
                <c:pt idx="34714">
                  <c:v>276519</c:v>
                </c:pt>
                <c:pt idx="34715">
                  <c:v>24700</c:v>
                </c:pt>
                <c:pt idx="34716">
                  <c:v>59271</c:v>
                </c:pt>
                <c:pt idx="34717">
                  <c:v>29817</c:v>
                </c:pt>
                <c:pt idx="34718">
                  <c:v>29926</c:v>
                </c:pt>
                <c:pt idx="34719">
                  <c:v>38025</c:v>
                </c:pt>
                <c:pt idx="34720">
                  <c:v>34812</c:v>
                </c:pt>
                <c:pt idx="34721">
                  <c:v>35654</c:v>
                </c:pt>
                <c:pt idx="34722">
                  <c:v>75716</c:v>
                </c:pt>
                <c:pt idx="34723">
                  <c:v>118385</c:v>
                </c:pt>
                <c:pt idx="34724">
                  <c:v>129799</c:v>
                </c:pt>
                <c:pt idx="34725">
                  <c:v>20426</c:v>
                </c:pt>
                <c:pt idx="34726">
                  <c:v>109784</c:v>
                </c:pt>
                <c:pt idx="34727">
                  <c:v>34271</c:v>
                </c:pt>
                <c:pt idx="34728">
                  <c:v>35507</c:v>
                </c:pt>
                <c:pt idx="34729">
                  <c:v>48558</c:v>
                </c:pt>
                <c:pt idx="34730">
                  <c:v>64326</c:v>
                </c:pt>
                <c:pt idx="34731">
                  <c:v>45079</c:v>
                </c:pt>
                <c:pt idx="34732">
                  <c:v>35915</c:v>
                </c:pt>
                <c:pt idx="34733">
                  <c:v>131530</c:v>
                </c:pt>
                <c:pt idx="34734">
                  <c:v>45307</c:v>
                </c:pt>
                <c:pt idx="34735">
                  <c:v>122535</c:v>
                </c:pt>
                <c:pt idx="34736">
                  <c:v>52945</c:v>
                </c:pt>
                <c:pt idx="34737">
                  <c:v>29907</c:v>
                </c:pt>
                <c:pt idx="34738">
                  <c:v>50770</c:v>
                </c:pt>
                <c:pt idx="34739">
                  <c:v>23842</c:v>
                </c:pt>
                <c:pt idx="34740">
                  <c:v>68847</c:v>
                </c:pt>
                <c:pt idx="34741">
                  <c:v>45777</c:v>
                </c:pt>
                <c:pt idx="34742">
                  <c:v>29305</c:v>
                </c:pt>
                <c:pt idx="34743">
                  <c:v>77168</c:v>
                </c:pt>
                <c:pt idx="34744">
                  <c:v>22453</c:v>
                </c:pt>
                <c:pt idx="34745">
                  <c:v>32219</c:v>
                </c:pt>
                <c:pt idx="34746">
                  <c:v>41658</c:v>
                </c:pt>
                <c:pt idx="34747">
                  <c:v>31293</c:v>
                </c:pt>
                <c:pt idx="34748">
                  <c:v>43917</c:v>
                </c:pt>
                <c:pt idx="34749">
                  <c:v>23702</c:v>
                </c:pt>
                <c:pt idx="34750">
                  <c:v>35220</c:v>
                </c:pt>
                <c:pt idx="34751">
                  <c:v>27886</c:v>
                </c:pt>
                <c:pt idx="34752">
                  <c:v>43535</c:v>
                </c:pt>
                <c:pt idx="34753">
                  <c:v>42519</c:v>
                </c:pt>
                <c:pt idx="34754">
                  <c:v>46234</c:v>
                </c:pt>
                <c:pt idx="34755">
                  <c:v>29702</c:v>
                </c:pt>
                <c:pt idx="34756">
                  <c:v>91283</c:v>
                </c:pt>
                <c:pt idx="34757">
                  <c:v>53625</c:v>
                </c:pt>
                <c:pt idx="34758">
                  <c:v>32036</c:v>
                </c:pt>
                <c:pt idx="34759">
                  <c:v>25009</c:v>
                </c:pt>
                <c:pt idx="34760">
                  <c:v>379476</c:v>
                </c:pt>
                <c:pt idx="34761">
                  <c:v>22123</c:v>
                </c:pt>
                <c:pt idx="34762">
                  <c:v>49548</c:v>
                </c:pt>
                <c:pt idx="34763">
                  <c:v>30135</c:v>
                </c:pt>
                <c:pt idx="34764">
                  <c:v>39544</c:v>
                </c:pt>
                <c:pt idx="34765">
                  <c:v>64925</c:v>
                </c:pt>
                <c:pt idx="34766">
                  <c:v>77938</c:v>
                </c:pt>
                <c:pt idx="34767">
                  <c:v>125011</c:v>
                </c:pt>
                <c:pt idx="34768">
                  <c:v>50610</c:v>
                </c:pt>
                <c:pt idx="34769">
                  <c:v>64960</c:v>
                </c:pt>
                <c:pt idx="34770">
                  <c:v>96571</c:v>
                </c:pt>
                <c:pt idx="34771">
                  <c:v>109423</c:v>
                </c:pt>
                <c:pt idx="34772">
                  <c:v>26052</c:v>
                </c:pt>
                <c:pt idx="34773">
                  <c:v>27522</c:v>
                </c:pt>
                <c:pt idx="34774">
                  <c:v>378869</c:v>
                </c:pt>
                <c:pt idx="34775">
                  <c:v>39175</c:v>
                </c:pt>
                <c:pt idx="34776">
                  <c:v>36643</c:v>
                </c:pt>
                <c:pt idx="34777">
                  <c:v>40607</c:v>
                </c:pt>
                <c:pt idx="34778">
                  <c:v>37109</c:v>
                </c:pt>
                <c:pt idx="34779">
                  <c:v>37319</c:v>
                </c:pt>
                <c:pt idx="34780">
                  <c:v>63852</c:v>
                </c:pt>
                <c:pt idx="34781">
                  <c:v>56959</c:v>
                </c:pt>
                <c:pt idx="34782">
                  <c:v>37155</c:v>
                </c:pt>
                <c:pt idx="34783">
                  <c:v>25147</c:v>
                </c:pt>
                <c:pt idx="34784">
                  <c:v>80098</c:v>
                </c:pt>
                <c:pt idx="34785">
                  <c:v>35981</c:v>
                </c:pt>
                <c:pt idx="34786">
                  <c:v>50661</c:v>
                </c:pt>
                <c:pt idx="34787">
                  <c:v>34676</c:v>
                </c:pt>
                <c:pt idx="34788">
                  <c:v>48458</c:v>
                </c:pt>
                <c:pt idx="34789">
                  <c:v>52589</c:v>
                </c:pt>
                <c:pt idx="34790">
                  <c:v>154347</c:v>
                </c:pt>
                <c:pt idx="34791">
                  <c:v>125170</c:v>
                </c:pt>
                <c:pt idx="34792">
                  <c:v>87094</c:v>
                </c:pt>
                <c:pt idx="34793">
                  <c:v>34742</c:v>
                </c:pt>
                <c:pt idx="34794">
                  <c:v>110421</c:v>
                </c:pt>
                <c:pt idx="34795">
                  <c:v>41501</c:v>
                </c:pt>
                <c:pt idx="34796">
                  <c:v>31827</c:v>
                </c:pt>
                <c:pt idx="34797">
                  <c:v>22418</c:v>
                </c:pt>
                <c:pt idx="34798">
                  <c:v>29378</c:v>
                </c:pt>
                <c:pt idx="34799">
                  <c:v>33459</c:v>
                </c:pt>
                <c:pt idx="34800">
                  <c:v>38338</c:v>
                </c:pt>
                <c:pt idx="34801">
                  <c:v>113428</c:v>
                </c:pt>
                <c:pt idx="34802">
                  <c:v>31430</c:v>
                </c:pt>
                <c:pt idx="34803">
                  <c:v>56328</c:v>
                </c:pt>
                <c:pt idx="34804">
                  <c:v>128123</c:v>
                </c:pt>
                <c:pt idx="34805">
                  <c:v>80450</c:v>
                </c:pt>
                <c:pt idx="34806">
                  <c:v>40825</c:v>
                </c:pt>
                <c:pt idx="34807">
                  <c:v>124966</c:v>
                </c:pt>
                <c:pt idx="34808">
                  <c:v>37984</c:v>
                </c:pt>
                <c:pt idx="34809">
                  <c:v>41550</c:v>
                </c:pt>
                <c:pt idx="34810">
                  <c:v>41994</c:v>
                </c:pt>
                <c:pt idx="34811">
                  <c:v>68383</c:v>
                </c:pt>
                <c:pt idx="34812">
                  <c:v>43160</c:v>
                </c:pt>
                <c:pt idx="34813">
                  <c:v>24963</c:v>
                </c:pt>
                <c:pt idx="34814">
                  <c:v>74705</c:v>
                </c:pt>
                <c:pt idx="34815">
                  <c:v>72506</c:v>
                </c:pt>
                <c:pt idx="34816">
                  <c:v>39874</c:v>
                </c:pt>
                <c:pt idx="34817">
                  <c:v>50183</c:v>
                </c:pt>
                <c:pt idx="34818">
                  <c:v>36489</c:v>
                </c:pt>
                <c:pt idx="34819">
                  <c:v>22341</c:v>
                </c:pt>
                <c:pt idx="34820">
                  <c:v>27692</c:v>
                </c:pt>
                <c:pt idx="34821">
                  <c:v>25267</c:v>
                </c:pt>
                <c:pt idx="34822">
                  <c:v>47051</c:v>
                </c:pt>
                <c:pt idx="34823">
                  <c:v>65865</c:v>
                </c:pt>
                <c:pt idx="34824">
                  <c:v>71537</c:v>
                </c:pt>
                <c:pt idx="34825">
                  <c:v>32998</c:v>
                </c:pt>
                <c:pt idx="34826">
                  <c:v>56806</c:v>
                </c:pt>
                <c:pt idx="34827">
                  <c:v>81885</c:v>
                </c:pt>
                <c:pt idx="34828">
                  <c:v>28212</c:v>
                </c:pt>
                <c:pt idx="34829">
                  <c:v>46839</c:v>
                </c:pt>
                <c:pt idx="34830">
                  <c:v>25857</c:v>
                </c:pt>
                <c:pt idx="34831">
                  <c:v>57222</c:v>
                </c:pt>
                <c:pt idx="34832">
                  <c:v>44423</c:v>
                </c:pt>
                <c:pt idx="34833">
                  <c:v>89194</c:v>
                </c:pt>
                <c:pt idx="34834">
                  <c:v>33293</c:v>
                </c:pt>
                <c:pt idx="34835">
                  <c:v>24001</c:v>
                </c:pt>
                <c:pt idx="34836">
                  <c:v>29617</c:v>
                </c:pt>
                <c:pt idx="34837">
                  <c:v>26117</c:v>
                </c:pt>
                <c:pt idx="34838">
                  <c:v>75362</c:v>
                </c:pt>
                <c:pt idx="34839">
                  <c:v>38974</c:v>
                </c:pt>
                <c:pt idx="34840">
                  <c:v>34737</c:v>
                </c:pt>
                <c:pt idx="34841">
                  <c:v>39956</c:v>
                </c:pt>
                <c:pt idx="34842">
                  <c:v>59915</c:v>
                </c:pt>
                <c:pt idx="34843">
                  <c:v>34492</c:v>
                </c:pt>
                <c:pt idx="34844">
                  <c:v>62480</c:v>
                </c:pt>
                <c:pt idx="34845">
                  <c:v>42619</c:v>
                </c:pt>
                <c:pt idx="34846">
                  <c:v>187711</c:v>
                </c:pt>
                <c:pt idx="34847">
                  <c:v>31412</c:v>
                </c:pt>
                <c:pt idx="34848">
                  <c:v>64732</c:v>
                </c:pt>
                <c:pt idx="34849">
                  <c:v>45386</c:v>
                </c:pt>
                <c:pt idx="34850">
                  <c:v>100495</c:v>
                </c:pt>
                <c:pt idx="34851">
                  <c:v>46313</c:v>
                </c:pt>
                <c:pt idx="34852">
                  <c:v>48548</c:v>
                </c:pt>
                <c:pt idx="34853">
                  <c:v>32300</c:v>
                </c:pt>
                <c:pt idx="34854">
                  <c:v>40895</c:v>
                </c:pt>
                <c:pt idx="34855">
                  <c:v>126542</c:v>
                </c:pt>
                <c:pt idx="34856">
                  <c:v>44213</c:v>
                </c:pt>
                <c:pt idx="34857">
                  <c:v>227956</c:v>
                </c:pt>
                <c:pt idx="34858">
                  <c:v>25787</c:v>
                </c:pt>
                <c:pt idx="34859">
                  <c:v>32481</c:v>
                </c:pt>
                <c:pt idx="34860">
                  <c:v>94460</c:v>
                </c:pt>
                <c:pt idx="34861">
                  <c:v>116494</c:v>
                </c:pt>
                <c:pt idx="34862">
                  <c:v>50673</c:v>
                </c:pt>
                <c:pt idx="34863">
                  <c:v>57709</c:v>
                </c:pt>
                <c:pt idx="34864">
                  <c:v>30539</c:v>
                </c:pt>
                <c:pt idx="34865">
                  <c:v>90266</c:v>
                </c:pt>
                <c:pt idx="34866">
                  <c:v>27367</c:v>
                </c:pt>
                <c:pt idx="34867">
                  <c:v>22940</c:v>
                </c:pt>
                <c:pt idx="34868">
                  <c:v>25515</c:v>
                </c:pt>
                <c:pt idx="34869">
                  <c:v>23009</c:v>
                </c:pt>
                <c:pt idx="34870">
                  <c:v>25138</c:v>
                </c:pt>
                <c:pt idx="34871">
                  <c:v>56791</c:v>
                </c:pt>
                <c:pt idx="34872">
                  <c:v>50905</c:v>
                </c:pt>
                <c:pt idx="34873">
                  <c:v>62369</c:v>
                </c:pt>
                <c:pt idx="34874">
                  <c:v>25146</c:v>
                </c:pt>
                <c:pt idx="34875">
                  <c:v>49577</c:v>
                </c:pt>
                <c:pt idx="34876">
                  <c:v>30824</c:v>
                </c:pt>
                <c:pt idx="34877">
                  <c:v>70780</c:v>
                </c:pt>
                <c:pt idx="34878">
                  <c:v>122910</c:v>
                </c:pt>
                <c:pt idx="34879">
                  <c:v>38711</c:v>
                </c:pt>
                <c:pt idx="34880">
                  <c:v>27259</c:v>
                </c:pt>
                <c:pt idx="34881">
                  <c:v>43064</c:v>
                </c:pt>
                <c:pt idx="34882">
                  <c:v>38960</c:v>
                </c:pt>
                <c:pt idx="34883">
                  <c:v>25059</c:v>
                </c:pt>
                <c:pt idx="34884">
                  <c:v>30929</c:v>
                </c:pt>
                <c:pt idx="34885">
                  <c:v>52825</c:v>
                </c:pt>
                <c:pt idx="34886">
                  <c:v>44283</c:v>
                </c:pt>
                <c:pt idx="34887">
                  <c:v>121706</c:v>
                </c:pt>
                <c:pt idx="34888">
                  <c:v>31669</c:v>
                </c:pt>
                <c:pt idx="34889">
                  <c:v>57733</c:v>
                </c:pt>
                <c:pt idx="34890">
                  <c:v>46417</c:v>
                </c:pt>
                <c:pt idx="34891">
                  <c:v>28174</c:v>
                </c:pt>
                <c:pt idx="34892">
                  <c:v>40856</c:v>
                </c:pt>
                <c:pt idx="34893">
                  <c:v>25584</c:v>
                </c:pt>
                <c:pt idx="34894">
                  <c:v>33627</c:v>
                </c:pt>
                <c:pt idx="34895">
                  <c:v>53856</c:v>
                </c:pt>
                <c:pt idx="34896">
                  <c:v>39694</c:v>
                </c:pt>
                <c:pt idx="34897">
                  <c:v>109142</c:v>
                </c:pt>
                <c:pt idx="34898">
                  <c:v>46374</c:v>
                </c:pt>
                <c:pt idx="34899">
                  <c:v>191883</c:v>
                </c:pt>
                <c:pt idx="34900">
                  <c:v>212424</c:v>
                </c:pt>
                <c:pt idx="34901">
                  <c:v>38460</c:v>
                </c:pt>
                <c:pt idx="34902">
                  <c:v>60629</c:v>
                </c:pt>
                <c:pt idx="34903">
                  <c:v>103579</c:v>
                </c:pt>
                <c:pt idx="34904">
                  <c:v>30885</c:v>
                </c:pt>
                <c:pt idx="34905">
                  <c:v>108628</c:v>
                </c:pt>
                <c:pt idx="34906">
                  <c:v>43637</c:v>
                </c:pt>
                <c:pt idx="34907">
                  <c:v>75372</c:v>
                </c:pt>
                <c:pt idx="34908">
                  <c:v>38556</c:v>
                </c:pt>
                <c:pt idx="34909">
                  <c:v>97000</c:v>
                </c:pt>
                <c:pt idx="34910">
                  <c:v>44220</c:v>
                </c:pt>
                <c:pt idx="34911">
                  <c:v>102540</c:v>
                </c:pt>
                <c:pt idx="34912">
                  <c:v>61887</c:v>
                </c:pt>
                <c:pt idx="34913">
                  <c:v>36845</c:v>
                </c:pt>
                <c:pt idx="34914">
                  <c:v>29845</c:v>
                </c:pt>
                <c:pt idx="34915">
                  <c:v>28118</c:v>
                </c:pt>
                <c:pt idx="34916">
                  <c:v>157103</c:v>
                </c:pt>
                <c:pt idx="34917">
                  <c:v>37135</c:v>
                </c:pt>
                <c:pt idx="34918">
                  <c:v>40264</c:v>
                </c:pt>
                <c:pt idx="34919">
                  <c:v>50951</c:v>
                </c:pt>
                <c:pt idx="34920">
                  <c:v>88775</c:v>
                </c:pt>
                <c:pt idx="34921">
                  <c:v>23206</c:v>
                </c:pt>
                <c:pt idx="34922">
                  <c:v>29776</c:v>
                </c:pt>
                <c:pt idx="34923">
                  <c:v>139092</c:v>
                </c:pt>
                <c:pt idx="34924">
                  <c:v>338862</c:v>
                </c:pt>
                <c:pt idx="34925">
                  <c:v>30201</c:v>
                </c:pt>
                <c:pt idx="34926">
                  <c:v>42669</c:v>
                </c:pt>
                <c:pt idx="34927">
                  <c:v>37735</c:v>
                </c:pt>
                <c:pt idx="34928">
                  <c:v>44405</c:v>
                </c:pt>
                <c:pt idx="34929">
                  <c:v>71455</c:v>
                </c:pt>
                <c:pt idx="34930">
                  <c:v>27045</c:v>
                </c:pt>
                <c:pt idx="34931">
                  <c:v>47717</c:v>
                </c:pt>
                <c:pt idx="34932">
                  <c:v>65367</c:v>
                </c:pt>
                <c:pt idx="34933">
                  <c:v>74491</c:v>
                </c:pt>
                <c:pt idx="34934">
                  <c:v>50565</c:v>
                </c:pt>
                <c:pt idx="34935">
                  <c:v>42000</c:v>
                </c:pt>
                <c:pt idx="34936">
                  <c:v>52996</c:v>
                </c:pt>
                <c:pt idx="34937">
                  <c:v>41595</c:v>
                </c:pt>
                <c:pt idx="34938">
                  <c:v>88711</c:v>
                </c:pt>
                <c:pt idx="34939">
                  <c:v>30417</c:v>
                </c:pt>
                <c:pt idx="34940">
                  <c:v>75447</c:v>
                </c:pt>
                <c:pt idx="34941">
                  <c:v>82663</c:v>
                </c:pt>
                <c:pt idx="34942">
                  <c:v>42980</c:v>
                </c:pt>
                <c:pt idx="34943">
                  <c:v>44403</c:v>
                </c:pt>
                <c:pt idx="34944">
                  <c:v>45524</c:v>
                </c:pt>
                <c:pt idx="34945">
                  <c:v>62367</c:v>
                </c:pt>
                <c:pt idx="34946">
                  <c:v>155959</c:v>
                </c:pt>
                <c:pt idx="34947">
                  <c:v>53603</c:v>
                </c:pt>
                <c:pt idx="34948">
                  <c:v>27037</c:v>
                </c:pt>
                <c:pt idx="34949">
                  <c:v>68628</c:v>
                </c:pt>
                <c:pt idx="34950">
                  <c:v>34090</c:v>
                </c:pt>
                <c:pt idx="34951">
                  <c:v>23888</c:v>
                </c:pt>
                <c:pt idx="34952">
                  <c:v>41762</c:v>
                </c:pt>
                <c:pt idx="34953">
                  <c:v>33793</c:v>
                </c:pt>
                <c:pt idx="34954">
                  <c:v>45668</c:v>
                </c:pt>
                <c:pt idx="34955">
                  <c:v>99570</c:v>
                </c:pt>
                <c:pt idx="34956">
                  <c:v>40898</c:v>
                </c:pt>
                <c:pt idx="34957">
                  <c:v>41856</c:v>
                </c:pt>
                <c:pt idx="34958">
                  <c:v>38665</c:v>
                </c:pt>
                <c:pt idx="34959">
                  <c:v>59909</c:v>
                </c:pt>
                <c:pt idx="34960">
                  <c:v>55943</c:v>
                </c:pt>
                <c:pt idx="34961">
                  <c:v>36318</c:v>
                </c:pt>
                <c:pt idx="34962">
                  <c:v>127752</c:v>
                </c:pt>
                <c:pt idx="34963">
                  <c:v>29938</c:v>
                </c:pt>
                <c:pt idx="34964">
                  <c:v>42992</c:v>
                </c:pt>
                <c:pt idx="34965">
                  <c:v>35990</c:v>
                </c:pt>
                <c:pt idx="34966">
                  <c:v>49243</c:v>
                </c:pt>
                <c:pt idx="34967">
                  <c:v>21930</c:v>
                </c:pt>
                <c:pt idx="34968">
                  <c:v>115315</c:v>
                </c:pt>
                <c:pt idx="34969">
                  <c:v>52945</c:v>
                </c:pt>
                <c:pt idx="34970">
                  <c:v>59772</c:v>
                </c:pt>
                <c:pt idx="34971">
                  <c:v>21844</c:v>
                </c:pt>
                <c:pt idx="34972">
                  <c:v>40221</c:v>
                </c:pt>
                <c:pt idx="34973">
                  <c:v>45758</c:v>
                </c:pt>
                <c:pt idx="34974">
                  <c:v>45906</c:v>
                </c:pt>
                <c:pt idx="34975">
                  <c:v>36227</c:v>
                </c:pt>
                <c:pt idx="34976">
                  <c:v>38913</c:v>
                </c:pt>
                <c:pt idx="34977">
                  <c:v>70466</c:v>
                </c:pt>
                <c:pt idx="34978">
                  <c:v>37313</c:v>
                </c:pt>
                <c:pt idx="34979">
                  <c:v>60609</c:v>
                </c:pt>
                <c:pt idx="34980">
                  <c:v>36594</c:v>
                </c:pt>
                <c:pt idx="34981">
                  <c:v>38364</c:v>
                </c:pt>
                <c:pt idx="34982">
                  <c:v>24080</c:v>
                </c:pt>
                <c:pt idx="34983">
                  <c:v>37868</c:v>
                </c:pt>
                <c:pt idx="34984">
                  <c:v>64100</c:v>
                </c:pt>
                <c:pt idx="34985">
                  <c:v>36802</c:v>
                </c:pt>
                <c:pt idx="34986">
                  <c:v>39472</c:v>
                </c:pt>
                <c:pt idx="34987">
                  <c:v>85411</c:v>
                </c:pt>
                <c:pt idx="34988">
                  <c:v>101163</c:v>
                </c:pt>
                <c:pt idx="34989">
                  <c:v>102683</c:v>
                </c:pt>
                <c:pt idx="34990">
                  <c:v>33822</c:v>
                </c:pt>
                <c:pt idx="34991">
                  <c:v>55500</c:v>
                </c:pt>
                <c:pt idx="34992">
                  <c:v>39013</c:v>
                </c:pt>
                <c:pt idx="34993">
                  <c:v>24758</c:v>
                </c:pt>
                <c:pt idx="34994">
                  <c:v>110384</c:v>
                </c:pt>
                <c:pt idx="34995">
                  <c:v>41863</c:v>
                </c:pt>
                <c:pt idx="34996">
                  <c:v>28943</c:v>
                </c:pt>
                <c:pt idx="34997">
                  <c:v>50508</c:v>
                </c:pt>
                <c:pt idx="34998">
                  <c:v>30696</c:v>
                </c:pt>
                <c:pt idx="34999">
                  <c:v>40364</c:v>
                </c:pt>
                <c:pt idx="35000">
                  <c:v>81398</c:v>
                </c:pt>
                <c:pt idx="35001">
                  <c:v>36897</c:v>
                </c:pt>
                <c:pt idx="35002">
                  <c:v>31362</c:v>
                </c:pt>
                <c:pt idx="35003">
                  <c:v>33252</c:v>
                </c:pt>
                <c:pt idx="35004">
                  <c:v>62544</c:v>
                </c:pt>
                <c:pt idx="35005">
                  <c:v>36068</c:v>
                </c:pt>
                <c:pt idx="35006">
                  <c:v>179435</c:v>
                </c:pt>
                <c:pt idx="35007">
                  <c:v>249270</c:v>
                </c:pt>
                <c:pt idx="35008">
                  <c:v>129298</c:v>
                </c:pt>
                <c:pt idx="35009">
                  <c:v>40988</c:v>
                </c:pt>
                <c:pt idx="35010">
                  <c:v>157477</c:v>
                </c:pt>
                <c:pt idx="35011">
                  <c:v>34162</c:v>
                </c:pt>
                <c:pt idx="35012">
                  <c:v>41099</c:v>
                </c:pt>
                <c:pt idx="35013">
                  <c:v>32130</c:v>
                </c:pt>
                <c:pt idx="35014">
                  <c:v>53472</c:v>
                </c:pt>
                <c:pt idx="35015">
                  <c:v>63318</c:v>
                </c:pt>
                <c:pt idx="35016">
                  <c:v>38966</c:v>
                </c:pt>
                <c:pt idx="35017">
                  <c:v>77211</c:v>
                </c:pt>
                <c:pt idx="35018">
                  <c:v>35232</c:v>
                </c:pt>
                <c:pt idx="35019">
                  <c:v>44070</c:v>
                </c:pt>
                <c:pt idx="35020">
                  <c:v>54537</c:v>
                </c:pt>
                <c:pt idx="35021">
                  <c:v>23437</c:v>
                </c:pt>
                <c:pt idx="35022">
                  <c:v>175018</c:v>
                </c:pt>
                <c:pt idx="35023">
                  <c:v>78213</c:v>
                </c:pt>
                <c:pt idx="35024">
                  <c:v>99153</c:v>
                </c:pt>
                <c:pt idx="35025">
                  <c:v>31217</c:v>
                </c:pt>
                <c:pt idx="35026">
                  <c:v>28668</c:v>
                </c:pt>
                <c:pt idx="35027">
                  <c:v>30689</c:v>
                </c:pt>
                <c:pt idx="35028">
                  <c:v>38649</c:v>
                </c:pt>
                <c:pt idx="35029">
                  <c:v>34074</c:v>
                </c:pt>
                <c:pt idx="35030">
                  <c:v>40054</c:v>
                </c:pt>
                <c:pt idx="35031">
                  <c:v>24967</c:v>
                </c:pt>
                <c:pt idx="35032">
                  <c:v>42258</c:v>
                </c:pt>
                <c:pt idx="35033">
                  <c:v>42691</c:v>
                </c:pt>
                <c:pt idx="35034">
                  <c:v>105690</c:v>
                </c:pt>
                <c:pt idx="35035">
                  <c:v>39431</c:v>
                </c:pt>
                <c:pt idx="35036">
                  <c:v>54469</c:v>
                </c:pt>
                <c:pt idx="35037">
                  <c:v>35897</c:v>
                </c:pt>
                <c:pt idx="35038">
                  <c:v>104922</c:v>
                </c:pt>
                <c:pt idx="35039">
                  <c:v>51743</c:v>
                </c:pt>
                <c:pt idx="35040">
                  <c:v>38242</c:v>
                </c:pt>
                <c:pt idx="35041">
                  <c:v>29926</c:v>
                </c:pt>
                <c:pt idx="35042">
                  <c:v>34433</c:v>
                </c:pt>
                <c:pt idx="35043">
                  <c:v>74296</c:v>
                </c:pt>
                <c:pt idx="35044">
                  <c:v>140454</c:v>
                </c:pt>
                <c:pt idx="35045">
                  <c:v>45552</c:v>
                </c:pt>
                <c:pt idx="35046">
                  <c:v>144380</c:v>
                </c:pt>
                <c:pt idx="35047">
                  <c:v>54596</c:v>
                </c:pt>
                <c:pt idx="35048">
                  <c:v>60733</c:v>
                </c:pt>
                <c:pt idx="35049">
                  <c:v>31836</c:v>
                </c:pt>
                <c:pt idx="35050">
                  <c:v>99927</c:v>
                </c:pt>
                <c:pt idx="35051">
                  <c:v>41679</c:v>
                </c:pt>
                <c:pt idx="35052">
                  <c:v>32821</c:v>
                </c:pt>
                <c:pt idx="35053">
                  <c:v>35371</c:v>
                </c:pt>
                <c:pt idx="35054">
                  <c:v>69514</c:v>
                </c:pt>
                <c:pt idx="35055">
                  <c:v>40610</c:v>
                </c:pt>
                <c:pt idx="35056">
                  <c:v>49346</c:v>
                </c:pt>
                <c:pt idx="35057">
                  <c:v>89246</c:v>
                </c:pt>
                <c:pt idx="35058">
                  <c:v>45300</c:v>
                </c:pt>
                <c:pt idx="35059">
                  <c:v>89541</c:v>
                </c:pt>
                <c:pt idx="35060">
                  <c:v>29147</c:v>
                </c:pt>
                <c:pt idx="35061">
                  <c:v>38163</c:v>
                </c:pt>
                <c:pt idx="35062">
                  <c:v>29030</c:v>
                </c:pt>
                <c:pt idx="35063">
                  <c:v>43202</c:v>
                </c:pt>
                <c:pt idx="35064">
                  <c:v>32190</c:v>
                </c:pt>
                <c:pt idx="35065">
                  <c:v>33633</c:v>
                </c:pt>
                <c:pt idx="35066">
                  <c:v>28698</c:v>
                </c:pt>
                <c:pt idx="35067">
                  <c:v>28246</c:v>
                </c:pt>
                <c:pt idx="35068">
                  <c:v>30313</c:v>
                </c:pt>
                <c:pt idx="35069">
                  <c:v>91090</c:v>
                </c:pt>
                <c:pt idx="35070">
                  <c:v>47632</c:v>
                </c:pt>
                <c:pt idx="35071">
                  <c:v>44764</c:v>
                </c:pt>
                <c:pt idx="35072">
                  <c:v>129474</c:v>
                </c:pt>
                <c:pt idx="35073">
                  <c:v>43246</c:v>
                </c:pt>
                <c:pt idx="35074">
                  <c:v>114951</c:v>
                </c:pt>
                <c:pt idx="35075">
                  <c:v>114667</c:v>
                </c:pt>
                <c:pt idx="35076">
                  <c:v>51693</c:v>
                </c:pt>
                <c:pt idx="35077">
                  <c:v>31214</c:v>
                </c:pt>
                <c:pt idx="35078">
                  <c:v>21793</c:v>
                </c:pt>
                <c:pt idx="35079">
                  <c:v>49510</c:v>
                </c:pt>
                <c:pt idx="35080">
                  <c:v>43619</c:v>
                </c:pt>
                <c:pt idx="35081">
                  <c:v>26196</c:v>
                </c:pt>
                <c:pt idx="35082">
                  <c:v>81060</c:v>
                </c:pt>
                <c:pt idx="35083">
                  <c:v>61766</c:v>
                </c:pt>
                <c:pt idx="35084">
                  <c:v>24064</c:v>
                </c:pt>
                <c:pt idx="35085">
                  <c:v>21564</c:v>
                </c:pt>
                <c:pt idx="35086">
                  <c:v>124624</c:v>
                </c:pt>
                <c:pt idx="35087">
                  <c:v>49765</c:v>
                </c:pt>
                <c:pt idx="35088">
                  <c:v>31304</c:v>
                </c:pt>
                <c:pt idx="35089">
                  <c:v>39227</c:v>
                </c:pt>
                <c:pt idx="35090">
                  <c:v>66873</c:v>
                </c:pt>
                <c:pt idx="35091">
                  <c:v>48154</c:v>
                </c:pt>
                <c:pt idx="35092">
                  <c:v>25109</c:v>
                </c:pt>
                <c:pt idx="35093">
                  <c:v>51259</c:v>
                </c:pt>
                <c:pt idx="35094">
                  <c:v>22893</c:v>
                </c:pt>
                <c:pt idx="35095">
                  <c:v>58080</c:v>
                </c:pt>
                <c:pt idx="35096">
                  <c:v>21396</c:v>
                </c:pt>
                <c:pt idx="35097">
                  <c:v>54971</c:v>
                </c:pt>
                <c:pt idx="35098">
                  <c:v>43748</c:v>
                </c:pt>
                <c:pt idx="35099">
                  <c:v>65888</c:v>
                </c:pt>
                <c:pt idx="35100">
                  <c:v>47983</c:v>
                </c:pt>
                <c:pt idx="35101">
                  <c:v>35097</c:v>
                </c:pt>
                <c:pt idx="35102">
                  <c:v>25309</c:v>
                </c:pt>
                <c:pt idx="35103">
                  <c:v>30073</c:v>
                </c:pt>
                <c:pt idx="35104">
                  <c:v>48840</c:v>
                </c:pt>
                <c:pt idx="35105">
                  <c:v>209001</c:v>
                </c:pt>
                <c:pt idx="35106">
                  <c:v>85688</c:v>
                </c:pt>
                <c:pt idx="35107">
                  <c:v>63927</c:v>
                </c:pt>
                <c:pt idx="35108">
                  <c:v>53507</c:v>
                </c:pt>
                <c:pt idx="35109">
                  <c:v>49466</c:v>
                </c:pt>
                <c:pt idx="35110">
                  <c:v>54805</c:v>
                </c:pt>
                <c:pt idx="35111">
                  <c:v>247850</c:v>
                </c:pt>
                <c:pt idx="35112">
                  <c:v>66324</c:v>
                </c:pt>
                <c:pt idx="35113">
                  <c:v>37564</c:v>
                </c:pt>
                <c:pt idx="35114">
                  <c:v>21588</c:v>
                </c:pt>
                <c:pt idx="35115">
                  <c:v>35096</c:v>
                </c:pt>
                <c:pt idx="35116">
                  <c:v>28604</c:v>
                </c:pt>
                <c:pt idx="35117">
                  <c:v>47157</c:v>
                </c:pt>
                <c:pt idx="35118">
                  <c:v>28492</c:v>
                </c:pt>
                <c:pt idx="35119">
                  <c:v>29447</c:v>
                </c:pt>
                <c:pt idx="35120">
                  <c:v>138228</c:v>
                </c:pt>
                <c:pt idx="35121">
                  <c:v>38626</c:v>
                </c:pt>
                <c:pt idx="35122">
                  <c:v>32511</c:v>
                </c:pt>
                <c:pt idx="35123">
                  <c:v>62067</c:v>
                </c:pt>
                <c:pt idx="35124">
                  <c:v>60740</c:v>
                </c:pt>
                <c:pt idx="35125">
                  <c:v>71945</c:v>
                </c:pt>
                <c:pt idx="35126">
                  <c:v>271118</c:v>
                </c:pt>
                <c:pt idx="35127">
                  <c:v>67277</c:v>
                </c:pt>
                <c:pt idx="35128">
                  <c:v>49574</c:v>
                </c:pt>
                <c:pt idx="35129">
                  <c:v>37218</c:v>
                </c:pt>
                <c:pt idx="35130">
                  <c:v>43702</c:v>
                </c:pt>
                <c:pt idx="35131">
                  <c:v>63409</c:v>
                </c:pt>
                <c:pt idx="35132">
                  <c:v>52597</c:v>
                </c:pt>
                <c:pt idx="35133">
                  <c:v>39341</c:v>
                </c:pt>
                <c:pt idx="35134">
                  <c:v>35492</c:v>
                </c:pt>
                <c:pt idx="35135">
                  <c:v>99010</c:v>
                </c:pt>
                <c:pt idx="35136">
                  <c:v>346545</c:v>
                </c:pt>
                <c:pt idx="35137">
                  <c:v>61445</c:v>
                </c:pt>
                <c:pt idx="35138">
                  <c:v>47506</c:v>
                </c:pt>
                <c:pt idx="35139">
                  <c:v>46618</c:v>
                </c:pt>
                <c:pt idx="35140">
                  <c:v>39502</c:v>
                </c:pt>
                <c:pt idx="35141">
                  <c:v>47714</c:v>
                </c:pt>
                <c:pt idx="35142">
                  <c:v>26648</c:v>
                </c:pt>
                <c:pt idx="35143">
                  <c:v>32259</c:v>
                </c:pt>
                <c:pt idx="35144">
                  <c:v>72559</c:v>
                </c:pt>
                <c:pt idx="35145">
                  <c:v>35496</c:v>
                </c:pt>
                <c:pt idx="35146">
                  <c:v>41948</c:v>
                </c:pt>
                <c:pt idx="35147">
                  <c:v>25620</c:v>
                </c:pt>
                <c:pt idx="35148">
                  <c:v>55692</c:v>
                </c:pt>
                <c:pt idx="35149">
                  <c:v>30637</c:v>
                </c:pt>
                <c:pt idx="35150">
                  <c:v>55289</c:v>
                </c:pt>
                <c:pt idx="35151">
                  <c:v>209194</c:v>
                </c:pt>
                <c:pt idx="35152">
                  <c:v>93072</c:v>
                </c:pt>
                <c:pt idx="35153">
                  <c:v>32915</c:v>
                </c:pt>
                <c:pt idx="35154">
                  <c:v>77555</c:v>
                </c:pt>
                <c:pt idx="35155">
                  <c:v>127763</c:v>
                </c:pt>
                <c:pt idx="35156">
                  <c:v>74866</c:v>
                </c:pt>
                <c:pt idx="35157">
                  <c:v>34579</c:v>
                </c:pt>
                <c:pt idx="35158">
                  <c:v>42970</c:v>
                </c:pt>
                <c:pt idx="35159">
                  <c:v>140923</c:v>
                </c:pt>
                <c:pt idx="35160">
                  <c:v>50289</c:v>
                </c:pt>
                <c:pt idx="35161">
                  <c:v>35170</c:v>
                </c:pt>
                <c:pt idx="35162">
                  <c:v>84047</c:v>
                </c:pt>
                <c:pt idx="35163">
                  <c:v>47393</c:v>
                </c:pt>
                <c:pt idx="35164">
                  <c:v>50414</c:v>
                </c:pt>
                <c:pt idx="35165">
                  <c:v>26864</c:v>
                </c:pt>
                <c:pt idx="35166">
                  <c:v>108825</c:v>
                </c:pt>
                <c:pt idx="35167">
                  <c:v>56005</c:v>
                </c:pt>
                <c:pt idx="35168">
                  <c:v>31261</c:v>
                </c:pt>
                <c:pt idx="35169">
                  <c:v>63006</c:v>
                </c:pt>
                <c:pt idx="35170">
                  <c:v>40816</c:v>
                </c:pt>
                <c:pt idx="35171">
                  <c:v>43850</c:v>
                </c:pt>
                <c:pt idx="35172">
                  <c:v>53284</c:v>
                </c:pt>
                <c:pt idx="35173">
                  <c:v>30201</c:v>
                </c:pt>
                <c:pt idx="35174">
                  <c:v>112554</c:v>
                </c:pt>
                <c:pt idx="35175">
                  <c:v>56299</c:v>
                </c:pt>
                <c:pt idx="35176">
                  <c:v>43800</c:v>
                </c:pt>
                <c:pt idx="35177">
                  <c:v>50032</c:v>
                </c:pt>
                <c:pt idx="35178">
                  <c:v>45258</c:v>
                </c:pt>
                <c:pt idx="35179">
                  <c:v>67788</c:v>
                </c:pt>
                <c:pt idx="35180">
                  <c:v>45462</c:v>
                </c:pt>
                <c:pt idx="35181">
                  <c:v>59904</c:v>
                </c:pt>
                <c:pt idx="35182">
                  <c:v>24378</c:v>
                </c:pt>
                <c:pt idx="35183">
                  <c:v>38357</c:v>
                </c:pt>
                <c:pt idx="35184">
                  <c:v>40113</c:v>
                </c:pt>
                <c:pt idx="35185">
                  <c:v>53590</c:v>
                </c:pt>
                <c:pt idx="35186">
                  <c:v>29299</c:v>
                </c:pt>
                <c:pt idx="35187">
                  <c:v>28880</c:v>
                </c:pt>
                <c:pt idx="35188">
                  <c:v>34433</c:v>
                </c:pt>
                <c:pt idx="35189">
                  <c:v>25555</c:v>
                </c:pt>
                <c:pt idx="35190">
                  <c:v>48243</c:v>
                </c:pt>
                <c:pt idx="35191">
                  <c:v>48741</c:v>
                </c:pt>
                <c:pt idx="35192">
                  <c:v>48600</c:v>
                </c:pt>
                <c:pt idx="35193">
                  <c:v>43223</c:v>
                </c:pt>
                <c:pt idx="35194">
                  <c:v>124501</c:v>
                </c:pt>
                <c:pt idx="35195">
                  <c:v>43973</c:v>
                </c:pt>
                <c:pt idx="35196">
                  <c:v>176627</c:v>
                </c:pt>
                <c:pt idx="35197">
                  <c:v>63547</c:v>
                </c:pt>
                <c:pt idx="35198">
                  <c:v>47394</c:v>
                </c:pt>
                <c:pt idx="35199">
                  <c:v>25215</c:v>
                </c:pt>
                <c:pt idx="35200">
                  <c:v>44020</c:v>
                </c:pt>
                <c:pt idx="35201">
                  <c:v>86083</c:v>
                </c:pt>
                <c:pt idx="35202">
                  <c:v>165099</c:v>
                </c:pt>
                <c:pt idx="35203">
                  <c:v>67234</c:v>
                </c:pt>
                <c:pt idx="35204">
                  <c:v>24994</c:v>
                </c:pt>
                <c:pt idx="35205">
                  <c:v>78643</c:v>
                </c:pt>
                <c:pt idx="35206">
                  <c:v>24597</c:v>
                </c:pt>
                <c:pt idx="35207">
                  <c:v>30934</c:v>
                </c:pt>
                <c:pt idx="35208">
                  <c:v>38548</c:v>
                </c:pt>
                <c:pt idx="35209">
                  <c:v>37914</c:v>
                </c:pt>
                <c:pt idx="35210">
                  <c:v>37324</c:v>
                </c:pt>
                <c:pt idx="35211">
                  <c:v>37024</c:v>
                </c:pt>
                <c:pt idx="35212">
                  <c:v>24757</c:v>
                </c:pt>
                <c:pt idx="35213">
                  <c:v>75042</c:v>
                </c:pt>
                <c:pt idx="35214">
                  <c:v>44040</c:v>
                </c:pt>
                <c:pt idx="35215">
                  <c:v>64661</c:v>
                </c:pt>
                <c:pt idx="35216">
                  <c:v>50186</c:v>
                </c:pt>
                <c:pt idx="35217">
                  <c:v>177474</c:v>
                </c:pt>
                <c:pt idx="35218">
                  <c:v>41856</c:v>
                </c:pt>
                <c:pt idx="35219">
                  <c:v>84727</c:v>
                </c:pt>
                <c:pt idx="35220">
                  <c:v>71156</c:v>
                </c:pt>
                <c:pt idx="35221">
                  <c:v>37601</c:v>
                </c:pt>
                <c:pt idx="35222">
                  <c:v>41418</c:v>
                </c:pt>
                <c:pt idx="35223">
                  <c:v>40041</c:v>
                </c:pt>
                <c:pt idx="35224">
                  <c:v>50481</c:v>
                </c:pt>
                <c:pt idx="35225">
                  <c:v>41363</c:v>
                </c:pt>
                <c:pt idx="35226">
                  <c:v>36939</c:v>
                </c:pt>
                <c:pt idx="35227">
                  <c:v>99306</c:v>
                </c:pt>
                <c:pt idx="35228">
                  <c:v>58227</c:v>
                </c:pt>
                <c:pt idx="35229">
                  <c:v>39637</c:v>
                </c:pt>
                <c:pt idx="35230">
                  <c:v>112666</c:v>
                </c:pt>
                <c:pt idx="35231">
                  <c:v>99022</c:v>
                </c:pt>
                <c:pt idx="35232">
                  <c:v>35324</c:v>
                </c:pt>
                <c:pt idx="35233">
                  <c:v>26924</c:v>
                </c:pt>
                <c:pt idx="35234">
                  <c:v>28724</c:v>
                </c:pt>
                <c:pt idx="35235">
                  <c:v>138257</c:v>
                </c:pt>
                <c:pt idx="35236">
                  <c:v>25652</c:v>
                </c:pt>
                <c:pt idx="35237">
                  <c:v>34174</c:v>
                </c:pt>
                <c:pt idx="35238">
                  <c:v>104051</c:v>
                </c:pt>
                <c:pt idx="35239">
                  <c:v>52187</c:v>
                </c:pt>
                <c:pt idx="35240">
                  <c:v>77429</c:v>
                </c:pt>
                <c:pt idx="35241">
                  <c:v>254736</c:v>
                </c:pt>
                <c:pt idx="35242">
                  <c:v>28415</c:v>
                </c:pt>
                <c:pt idx="35243">
                  <c:v>45392</c:v>
                </c:pt>
                <c:pt idx="35244">
                  <c:v>65098</c:v>
                </c:pt>
                <c:pt idx="35245">
                  <c:v>25586</c:v>
                </c:pt>
                <c:pt idx="35246">
                  <c:v>201715</c:v>
                </c:pt>
                <c:pt idx="35247">
                  <c:v>40375</c:v>
                </c:pt>
                <c:pt idx="35248">
                  <c:v>41232</c:v>
                </c:pt>
                <c:pt idx="35249">
                  <c:v>34592</c:v>
                </c:pt>
                <c:pt idx="35250">
                  <c:v>39351</c:v>
                </c:pt>
                <c:pt idx="35251">
                  <c:v>27139</c:v>
                </c:pt>
                <c:pt idx="35252">
                  <c:v>43649</c:v>
                </c:pt>
                <c:pt idx="35253">
                  <c:v>24293</c:v>
                </c:pt>
                <c:pt idx="35254">
                  <c:v>86611</c:v>
                </c:pt>
                <c:pt idx="35255">
                  <c:v>60388</c:v>
                </c:pt>
                <c:pt idx="35256">
                  <c:v>220505</c:v>
                </c:pt>
                <c:pt idx="35257">
                  <c:v>35706</c:v>
                </c:pt>
                <c:pt idx="35258">
                  <c:v>32701</c:v>
                </c:pt>
                <c:pt idx="35259">
                  <c:v>54738</c:v>
                </c:pt>
                <c:pt idx="35260">
                  <c:v>24534</c:v>
                </c:pt>
                <c:pt idx="35261">
                  <c:v>39105</c:v>
                </c:pt>
                <c:pt idx="35262">
                  <c:v>32946</c:v>
                </c:pt>
                <c:pt idx="35263">
                  <c:v>40584</c:v>
                </c:pt>
                <c:pt idx="35264">
                  <c:v>23947</c:v>
                </c:pt>
                <c:pt idx="35265">
                  <c:v>335616</c:v>
                </c:pt>
                <c:pt idx="35266">
                  <c:v>69648</c:v>
                </c:pt>
                <c:pt idx="35267">
                  <c:v>31408</c:v>
                </c:pt>
                <c:pt idx="35268">
                  <c:v>249545</c:v>
                </c:pt>
                <c:pt idx="35269">
                  <c:v>93608</c:v>
                </c:pt>
                <c:pt idx="35270">
                  <c:v>27283</c:v>
                </c:pt>
                <c:pt idx="35271">
                  <c:v>291439</c:v>
                </c:pt>
                <c:pt idx="35272">
                  <c:v>40395</c:v>
                </c:pt>
                <c:pt idx="35273">
                  <c:v>62055</c:v>
                </c:pt>
                <c:pt idx="35274">
                  <c:v>316472</c:v>
                </c:pt>
                <c:pt idx="35275">
                  <c:v>126741</c:v>
                </c:pt>
                <c:pt idx="35276">
                  <c:v>48969</c:v>
                </c:pt>
                <c:pt idx="35277">
                  <c:v>122385</c:v>
                </c:pt>
                <c:pt idx="35278">
                  <c:v>73053</c:v>
                </c:pt>
                <c:pt idx="35279">
                  <c:v>39540</c:v>
                </c:pt>
                <c:pt idx="35280">
                  <c:v>74712</c:v>
                </c:pt>
                <c:pt idx="35281">
                  <c:v>60510</c:v>
                </c:pt>
                <c:pt idx="35282">
                  <c:v>55792</c:v>
                </c:pt>
                <c:pt idx="35283">
                  <c:v>24946</c:v>
                </c:pt>
                <c:pt idx="35284">
                  <c:v>41733</c:v>
                </c:pt>
                <c:pt idx="35285">
                  <c:v>42563</c:v>
                </c:pt>
                <c:pt idx="35286">
                  <c:v>111780</c:v>
                </c:pt>
                <c:pt idx="35287">
                  <c:v>43222</c:v>
                </c:pt>
                <c:pt idx="35288">
                  <c:v>37933</c:v>
                </c:pt>
                <c:pt idx="35289">
                  <c:v>29032</c:v>
                </c:pt>
                <c:pt idx="35290">
                  <c:v>28189</c:v>
                </c:pt>
                <c:pt idx="35291">
                  <c:v>88282</c:v>
                </c:pt>
                <c:pt idx="35292">
                  <c:v>50281</c:v>
                </c:pt>
                <c:pt idx="35293">
                  <c:v>26477</c:v>
                </c:pt>
                <c:pt idx="35294">
                  <c:v>38818</c:v>
                </c:pt>
                <c:pt idx="35295">
                  <c:v>165403</c:v>
                </c:pt>
                <c:pt idx="35296">
                  <c:v>66008</c:v>
                </c:pt>
                <c:pt idx="35297">
                  <c:v>38818</c:v>
                </c:pt>
                <c:pt idx="35298">
                  <c:v>39043</c:v>
                </c:pt>
                <c:pt idx="35299">
                  <c:v>44412</c:v>
                </c:pt>
                <c:pt idx="35300">
                  <c:v>27794</c:v>
                </c:pt>
                <c:pt idx="35301">
                  <c:v>60256</c:v>
                </c:pt>
                <c:pt idx="35302">
                  <c:v>26775</c:v>
                </c:pt>
                <c:pt idx="35303">
                  <c:v>33338</c:v>
                </c:pt>
                <c:pt idx="35304">
                  <c:v>52244</c:v>
                </c:pt>
                <c:pt idx="35305">
                  <c:v>101593</c:v>
                </c:pt>
                <c:pt idx="35306">
                  <c:v>50229</c:v>
                </c:pt>
                <c:pt idx="35307">
                  <c:v>46282</c:v>
                </c:pt>
                <c:pt idx="35308">
                  <c:v>84476</c:v>
                </c:pt>
                <c:pt idx="35309">
                  <c:v>35460</c:v>
                </c:pt>
                <c:pt idx="35310">
                  <c:v>26381</c:v>
                </c:pt>
                <c:pt idx="35311">
                  <c:v>82592</c:v>
                </c:pt>
                <c:pt idx="35312">
                  <c:v>38568</c:v>
                </c:pt>
                <c:pt idx="35313">
                  <c:v>27388</c:v>
                </c:pt>
                <c:pt idx="35314">
                  <c:v>50554</c:v>
                </c:pt>
                <c:pt idx="35315">
                  <c:v>43446</c:v>
                </c:pt>
                <c:pt idx="35316">
                  <c:v>37226</c:v>
                </c:pt>
                <c:pt idx="35317">
                  <c:v>52515</c:v>
                </c:pt>
                <c:pt idx="35318">
                  <c:v>324389</c:v>
                </c:pt>
                <c:pt idx="35319">
                  <c:v>71171</c:v>
                </c:pt>
                <c:pt idx="35320">
                  <c:v>34707</c:v>
                </c:pt>
                <c:pt idx="35321">
                  <c:v>34366</c:v>
                </c:pt>
                <c:pt idx="35322">
                  <c:v>45082</c:v>
                </c:pt>
                <c:pt idx="35323">
                  <c:v>39303</c:v>
                </c:pt>
                <c:pt idx="35324">
                  <c:v>28828</c:v>
                </c:pt>
                <c:pt idx="35325">
                  <c:v>119457</c:v>
                </c:pt>
                <c:pt idx="35326">
                  <c:v>140152</c:v>
                </c:pt>
                <c:pt idx="35327">
                  <c:v>69860</c:v>
                </c:pt>
                <c:pt idx="35328">
                  <c:v>93523</c:v>
                </c:pt>
                <c:pt idx="35329">
                  <c:v>49350</c:v>
                </c:pt>
                <c:pt idx="35330">
                  <c:v>37586</c:v>
                </c:pt>
                <c:pt idx="35331">
                  <c:v>25417</c:v>
                </c:pt>
                <c:pt idx="35332">
                  <c:v>30702</c:v>
                </c:pt>
                <c:pt idx="35333">
                  <c:v>24558</c:v>
                </c:pt>
                <c:pt idx="35334">
                  <c:v>88725</c:v>
                </c:pt>
                <c:pt idx="35335">
                  <c:v>53516</c:v>
                </c:pt>
                <c:pt idx="35336">
                  <c:v>40897</c:v>
                </c:pt>
                <c:pt idx="35337">
                  <c:v>26543</c:v>
                </c:pt>
                <c:pt idx="35338">
                  <c:v>22495</c:v>
                </c:pt>
                <c:pt idx="35339">
                  <c:v>71579</c:v>
                </c:pt>
                <c:pt idx="35340">
                  <c:v>33263</c:v>
                </c:pt>
                <c:pt idx="35341">
                  <c:v>39732</c:v>
                </c:pt>
                <c:pt idx="35342">
                  <c:v>58912</c:v>
                </c:pt>
                <c:pt idx="35343">
                  <c:v>110223</c:v>
                </c:pt>
                <c:pt idx="35344">
                  <c:v>32658</c:v>
                </c:pt>
                <c:pt idx="35345">
                  <c:v>121489</c:v>
                </c:pt>
                <c:pt idx="35346">
                  <c:v>26745</c:v>
                </c:pt>
                <c:pt idx="35347">
                  <c:v>37452</c:v>
                </c:pt>
                <c:pt idx="35348">
                  <c:v>35566</c:v>
                </c:pt>
                <c:pt idx="35349">
                  <c:v>44893</c:v>
                </c:pt>
                <c:pt idx="35350">
                  <c:v>33588</c:v>
                </c:pt>
                <c:pt idx="35351">
                  <c:v>181245</c:v>
                </c:pt>
                <c:pt idx="35352">
                  <c:v>45821</c:v>
                </c:pt>
                <c:pt idx="35353">
                  <c:v>39860</c:v>
                </c:pt>
                <c:pt idx="35354">
                  <c:v>35500</c:v>
                </c:pt>
                <c:pt idx="35355">
                  <c:v>35520</c:v>
                </c:pt>
                <c:pt idx="35356">
                  <c:v>28241</c:v>
                </c:pt>
                <c:pt idx="35357">
                  <c:v>43420</c:v>
                </c:pt>
                <c:pt idx="35358">
                  <c:v>40782</c:v>
                </c:pt>
                <c:pt idx="35359">
                  <c:v>52295</c:v>
                </c:pt>
                <c:pt idx="35360">
                  <c:v>47483</c:v>
                </c:pt>
                <c:pt idx="35361">
                  <c:v>50890</c:v>
                </c:pt>
                <c:pt idx="35362">
                  <c:v>42075</c:v>
                </c:pt>
                <c:pt idx="35363">
                  <c:v>47947</c:v>
                </c:pt>
                <c:pt idx="35364">
                  <c:v>46801</c:v>
                </c:pt>
                <c:pt idx="35365">
                  <c:v>41499</c:v>
                </c:pt>
                <c:pt idx="35366">
                  <c:v>35418</c:v>
                </c:pt>
                <c:pt idx="35367">
                  <c:v>65948</c:v>
                </c:pt>
                <c:pt idx="35368">
                  <c:v>100393</c:v>
                </c:pt>
                <c:pt idx="35369">
                  <c:v>24000</c:v>
                </c:pt>
                <c:pt idx="35370">
                  <c:v>22207</c:v>
                </c:pt>
                <c:pt idx="35371">
                  <c:v>58301</c:v>
                </c:pt>
                <c:pt idx="35372">
                  <c:v>35488</c:v>
                </c:pt>
                <c:pt idx="35373">
                  <c:v>98459</c:v>
                </c:pt>
                <c:pt idx="35374">
                  <c:v>42016</c:v>
                </c:pt>
                <c:pt idx="35375">
                  <c:v>38652</c:v>
                </c:pt>
                <c:pt idx="35376">
                  <c:v>30819</c:v>
                </c:pt>
                <c:pt idx="35377">
                  <c:v>50792</c:v>
                </c:pt>
                <c:pt idx="35378">
                  <c:v>67979</c:v>
                </c:pt>
                <c:pt idx="35379">
                  <c:v>41724</c:v>
                </c:pt>
                <c:pt idx="35380">
                  <c:v>79775</c:v>
                </c:pt>
                <c:pt idx="35381">
                  <c:v>29840</c:v>
                </c:pt>
                <c:pt idx="35382">
                  <c:v>41522</c:v>
                </c:pt>
                <c:pt idx="35383">
                  <c:v>46307</c:v>
                </c:pt>
                <c:pt idx="35384">
                  <c:v>50275</c:v>
                </c:pt>
                <c:pt idx="35385">
                  <c:v>41683</c:v>
                </c:pt>
                <c:pt idx="35386">
                  <c:v>55317</c:v>
                </c:pt>
                <c:pt idx="35387">
                  <c:v>40954</c:v>
                </c:pt>
                <c:pt idx="35388">
                  <c:v>30545</c:v>
                </c:pt>
                <c:pt idx="35389">
                  <c:v>27219</c:v>
                </c:pt>
                <c:pt idx="35390">
                  <c:v>53615</c:v>
                </c:pt>
                <c:pt idx="35391">
                  <c:v>28597</c:v>
                </c:pt>
                <c:pt idx="35392">
                  <c:v>73734</c:v>
                </c:pt>
                <c:pt idx="35393">
                  <c:v>33916</c:v>
                </c:pt>
                <c:pt idx="35394">
                  <c:v>91768</c:v>
                </c:pt>
                <c:pt idx="35395">
                  <c:v>22127</c:v>
                </c:pt>
                <c:pt idx="35396">
                  <c:v>48688</c:v>
                </c:pt>
                <c:pt idx="35397">
                  <c:v>64550</c:v>
                </c:pt>
                <c:pt idx="35398">
                  <c:v>92634</c:v>
                </c:pt>
                <c:pt idx="35399">
                  <c:v>104686</c:v>
                </c:pt>
                <c:pt idx="35400">
                  <c:v>21185</c:v>
                </c:pt>
                <c:pt idx="35401">
                  <c:v>29184</c:v>
                </c:pt>
                <c:pt idx="35402">
                  <c:v>300963</c:v>
                </c:pt>
                <c:pt idx="35403">
                  <c:v>55108</c:v>
                </c:pt>
                <c:pt idx="35404">
                  <c:v>22035</c:v>
                </c:pt>
                <c:pt idx="35405">
                  <c:v>22189</c:v>
                </c:pt>
                <c:pt idx="35406">
                  <c:v>49835</c:v>
                </c:pt>
                <c:pt idx="35407">
                  <c:v>109336</c:v>
                </c:pt>
                <c:pt idx="35408">
                  <c:v>39803</c:v>
                </c:pt>
                <c:pt idx="35409">
                  <c:v>117900</c:v>
                </c:pt>
                <c:pt idx="35410">
                  <c:v>30137</c:v>
                </c:pt>
                <c:pt idx="35411">
                  <c:v>27635</c:v>
                </c:pt>
                <c:pt idx="35412">
                  <c:v>302399</c:v>
                </c:pt>
                <c:pt idx="35413">
                  <c:v>29809</c:v>
                </c:pt>
                <c:pt idx="35414">
                  <c:v>21421</c:v>
                </c:pt>
                <c:pt idx="35415">
                  <c:v>62705</c:v>
                </c:pt>
                <c:pt idx="35416">
                  <c:v>32685</c:v>
                </c:pt>
                <c:pt idx="35417">
                  <c:v>34315</c:v>
                </c:pt>
                <c:pt idx="35418">
                  <c:v>480966</c:v>
                </c:pt>
                <c:pt idx="35419">
                  <c:v>37503</c:v>
                </c:pt>
                <c:pt idx="35420">
                  <c:v>21754</c:v>
                </c:pt>
                <c:pt idx="35421">
                  <c:v>34786</c:v>
                </c:pt>
                <c:pt idx="35422">
                  <c:v>26615</c:v>
                </c:pt>
                <c:pt idx="35423">
                  <c:v>33785</c:v>
                </c:pt>
                <c:pt idx="35424">
                  <c:v>312451</c:v>
                </c:pt>
                <c:pt idx="35425">
                  <c:v>32729</c:v>
                </c:pt>
                <c:pt idx="35426">
                  <c:v>55158</c:v>
                </c:pt>
                <c:pt idx="35427">
                  <c:v>54932</c:v>
                </c:pt>
                <c:pt idx="35428">
                  <c:v>75160</c:v>
                </c:pt>
                <c:pt idx="35429">
                  <c:v>206929</c:v>
                </c:pt>
                <c:pt idx="35430">
                  <c:v>38622</c:v>
                </c:pt>
                <c:pt idx="35431">
                  <c:v>29239</c:v>
                </c:pt>
                <c:pt idx="35432">
                  <c:v>66250</c:v>
                </c:pt>
                <c:pt idx="35433">
                  <c:v>47273</c:v>
                </c:pt>
                <c:pt idx="35434">
                  <c:v>61813</c:v>
                </c:pt>
                <c:pt idx="35435">
                  <c:v>26763</c:v>
                </c:pt>
                <c:pt idx="35436">
                  <c:v>22231</c:v>
                </c:pt>
                <c:pt idx="35437">
                  <c:v>137809</c:v>
                </c:pt>
                <c:pt idx="35438">
                  <c:v>62585</c:v>
                </c:pt>
                <c:pt idx="35439">
                  <c:v>47553</c:v>
                </c:pt>
                <c:pt idx="35440">
                  <c:v>138602</c:v>
                </c:pt>
                <c:pt idx="35441">
                  <c:v>47404</c:v>
                </c:pt>
                <c:pt idx="35442">
                  <c:v>15000</c:v>
                </c:pt>
                <c:pt idx="35443">
                  <c:v>149351</c:v>
                </c:pt>
                <c:pt idx="35444">
                  <c:v>51847</c:v>
                </c:pt>
                <c:pt idx="35445">
                  <c:v>41632</c:v>
                </c:pt>
                <c:pt idx="35446">
                  <c:v>34600</c:v>
                </c:pt>
                <c:pt idx="35447">
                  <c:v>27118</c:v>
                </c:pt>
                <c:pt idx="35448">
                  <c:v>55733</c:v>
                </c:pt>
                <c:pt idx="35449">
                  <c:v>22814</c:v>
                </c:pt>
                <c:pt idx="35450">
                  <c:v>29888</c:v>
                </c:pt>
                <c:pt idx="35451">
                  <c:v>29570</c:v>
                </c:pt>
                <c:pt idx="35452">
                  <c:v>25588</c:v>
                </c:pt>
                <c:pt idx="35453">
                  <c:v>26029</c:v>
                </c:pt>
                <c:pt idx="35454">
                  <c:v>40281</c:v>
                </c:pt>
                <c:pt idx="35455">
                  <c:v>54084</c:v>
                </c:pt>
                <c:pt idx="35456">
                  <c:v>34630</c:v>
                </c:pt>
                <c:pt idx="35457">
                  <c:v>36603</c:v>
                </c:pt>
                <c:pt idx="35458">
                  <c:v>34224</c:v>
                </c:pt>
                <c:pt idx="35459">
                  <c:v>24095</c:v>
                </c:pt>
                <c:pt idx="35460">
                  <c:v>28698</c:v>
                </c:pt>
                <c:pt idx="35461">
                  <c:v>25711</c:v>
                </c:pt>
                <c:pt idx="35462">
                  <c:v>34320</c:v>
                </c:pt>
                <c:pt idx="35463">
                  <c:v>53569</c:v>
                </c:pt>
                <c:pt idx="35464">
                  <c:v>61449</c:v>
                </c:pt>
                <c:pt idx="35465">
                  <c:v>41062</c:v>
                </c:pt>
                <c:pt idx="35466">
                  <c:v>43717</c:v>
                </c:pt>
                <c:pt idx="35467">
                  <c:v>62546</c:v>
                </c:pt>
                <c:pt idx="35468">
                  <c:v>68943</c:v>
                </c:pt>
                <c:pt idx="35469">
                  <c:v>33210</c:v>
                </c:pt>
                <c:pt idx="35470">
                  <c:v>38102</c:v>
                </c:pt>
                <c:pt idx="35471">
                  <c:v>68108</c:v>
                </c:pt>
                <c:pt idx="35472">
                  <c:v>125253</c:v>
                </c:pt>
                <c:pt idx="35473">
                  <c:v>30781</c:v>
                </c:pt>
                <c:pt idx="35474">
                  <c:v>36025</c:v>
                </c:pt>
                <c:pt idx="35475">
                  <c:v>47788</c:v>
                </c:pt>
                <c:pt idx="35476">
                  <c:v>121295</c:v>
                </c:pt>
                <c:pt idx="35477">
                  <c:v>26636</c:v>
                </c:pt>
                <c:pt idx="35478">
                  <c:v>35000</c:v>
                </c:pt>
                <c:pt idx="35479">
                  <c:v>25994</c:v>
                </c:pt>
                <c:pt idx="35480">
                  <c:v>74504</c:v>
                </c:pt>
                <c:pt idx="35481">
                  <c:v>25903</c:v>
                </c:pt>
                <c:pt idx="35482">
                  <c:v>58048</c:v>
                </c:pt>
                <c:pt idx="35483">
                  <c:v>48652</c:v>
                </c:pt>
                <c:pt idx="35484">
                  <c:v>40490</c:v>
                </c:pt>
                <c:pt idx="35485">
                  <c:v>195568</c:v>
                </c:pt>
                <c:pt idx="35486">
                  <c:v>24282</c:v>
                </c:pt>
                <c:pt idx="35487">
                  <c:v>73665</c:v>
                </c:pt>
                <c:pt idx="35488">
                  <c:v>63504</c:v>
                </c:pt>
                <c:pt idx="35489">
                  <c:v>62943</c:v>
                </c:pt>
                <c:pt idx="35490">
                  <c:v>36783</c:v>
                </c:pt>
                <c:pt idx="35491">
                  <c:v>68536</c:v>
                </c:pt>
                <c:pt idx="35492">
                  <c:v>33845</c:v>
                </c:pt>
                <c:pt idx="35493">
                  <c:v>41657</c:v>
                </c:pt>
                <c:pt idx="35494">
                  <c:v>142507</c:v>
                </c:pt>
                <c:pt idx="35495">
                  <c:v>28991</c:v>
                </c:pt>
                <c:pt idx="35496">
                  <c:v>41122</c:v>
                </c:pt>
                <c:pt idx="35497">
                  <c:v>81927</c:v>
                </c:pt>
                <c:pt idx="35498">
                  <c:v>89071</c:v>
                </c:pt>
                <c:pt idx="35499">
                  <c:v>31142</c:v>
                </c:pt>
                <c:pt idx="35500">
                  <c:v>51261</c:v>
                </c:pt>
                <c:pt idx="35501">
                  <c:v>72829</c:v>
                </c:pt>
                <c:pt idx="35502">
                  <c:v>41189</c:v>
                </c:pt>
                <c:pt idx="35503">
                  <c:v>37295</c:v>
                </c:pt>
                <c:pt idx="35504">
                  <c:v>33798</c:v>
                </c:pt>
                <c:pt idx="35505">
                  <c:v>28030</c:v>
                </c:pt>
                <c:pt idx="35506">
                  <c:v>47309</c:v>
                </c:pt>
                <c:pt idx="35507">
                  <c:v>48474</c:v>
                </c:pt>
                <c:pt idx="35508">
                  <c:v>88986</c:v>
                </c:pt>
                <c:pt idx="35509">
                  <c:v>27542</c:v>
                </c:pt>
                <c:pt idx="35510">
                  <c:v>145994</c:v>
                </c:pt>
                <c:pt idx="35511">
                  <c:v>139169</c:v>
                </c:pt>
                <c:pt idx="35512">
                  <c:v>49617</c:v>
                </c:pt>
                <c:pt idx="35513">
                  <c:v>21899</c:v>
                </c:pt>
                <c:pt idx="35514">
                  <c:v>179937</c:v>
                </c:pt>
                <c:pt idx="35515">
                  <c:v>40592</c:v>
                </c:pt>
                <c:pt idx="35516">
                  <c:v>59091</c:v>
                </c:pt>
                <c:pt idx="35517">
                  <c:v>31710</c:v>
                </c:pt>
                <c:pt idx="35518">
                  <c:v>25394</c:v>
                </c:pt>
                <c:pt idx="35519">
                  <c:v>124597</c:v>
                </c:pt>
                <c:pt idx="35520">
                  <c:v>45167</c:v>
                </c:pt>
                <c:pt idx="35521">
                  <c:v>45159</c:v>
                </c:pt>
                <c:pt idx="35522">
                  <c:v>28116</c:v>
                </c:pt>
                <c:pt idx="35523">
                  <c:v>55000</c:v>
                </c:pt>
                <c:pt idx="35524">
                  <c:v>55231</c:v>
                </c:pt>
                <c:pt idx="35525">
                  <c:v>43774</c:v>
                </c:pt>
                <c:pt idx="35526">
                  <c:v>64977</c:v>
                </c:pt>
                <c:pt idx="35527">
                  <c:v>54704</c:v>
                </c:pt>
                <c:pt idx="35528">
                  <c:v>55765</c:v>
                </c:pt>
                <c:pt idx="35529">
                  <c:v>88364</c:v>
                </c:pt>
                <c:pt idx="35530">
                  <c:v>49762</c:v>
                </c:pt>
                <c:pt idx="35531">
                  <c:v>42241</c:v>
                </c:pt>
                <c:pt idx="35532">
                  <c:v>44971</c:v>
                </c:pt>
                <c:pt idx="35533">
                  <c:v>38483</c:v>
                </c:pt>
                <c:pt idx="35534">
                  <c:v>82747</c:v>
                </c:pt>
                <c:pt idx="35535">
                  <c:v>23802</c:v>
                </c:pt>
                <c:pt idx="35536">
                  <c:v>24438</c:v>
                </c:pt>
                <c:pt idx="35537">
                  <c:v>37661</c:v>
                </c:pt>
                <c:pt idx="35538">
                  <c:v>53085</c:v>
                </c:pt>
                <c:pt idx="35539">
                  <c:v>49065</c:v>
                </c:pt>
                <c:pt idx="35540">
                  <c:v>47246</c:v>
                </c:pt>
                <c:pt idx="35541">
                  <c:v>32335</c:v>
                </c:pt>
                <c:pt idx="35542">
                  <c:v>28631</c:v>
                </c:pt>
                <c:pt idx="35543">
                  <c:v>102463</c:v>
                </c:pt>
                <c:pt idx="35544">
                  <c:v>25355</c:v>
                </c:pt>
                <c:pt idx="35545">
                  <c:v>28219</c:v>
                </c:pt>
                <c:pt idx="35546">
                  <c:v>42891</c:v>
                </c:pt>
                <c:pt idx="35547">
                  <c:v>103774</c:v>
                </c:pt>
                <c:pt idx="35548">
                  <c:v>50561</c:v>
                </c:pt>
                <c:pt idx="35549">
                  <c:v>23075</c:v>
                </c:pt>
                <c:pt idx="35550">
                  <c:v>45926</c:v>
                </c:pt>
                <c:pt idx="35551">
                  <c:v>37129</c:v>
                </c:pt>
                <c:pt idx="35552">
                  <c:v>49437</c:v>
                </c:pt>
                <c:pt idx="35553">
                  <c:v>28031</c:v>
                </c:pt>
                <c:pt idx="35554">
                  <c:v>41724</c:v>
                </c:pt>
                <c:pt idx="35555">
                  <c:v>122303</c:v>
                </c:pt>
                <c:pt idx="35556">
                  <c:v>37726</c:v>
                </c:pt>
                <c:pt idx="35557">
                  <c:v>56473</c:v>
                </c:pt>
                <c:pt idx="35558">
                  <c:v>47820</c:v>
                </c:pt>
                <c:pt idx="35559">
                  <c:v>33555</c:v>
                </c:pt>
                <c:pt idx="35560">
                  <c:v>157051</c:v>
                </c:pt>
                <c:pt idx="35561">
                  <c:v>20463</c:v>
                </c:pt>
                <c:pt idx="35562">
                  <c:v>64983</c:v>
                </c:pt>
                <c:pt idx="35563">
                  <c:v>52288</c:v>
                </c:pt>
                <c:pt idx="35564">
                  <c:v>192290</c:v>
                </c:pt>
                <c:pt idx="35565">
                  <c:v>82485</c:v>
                </c:pt>
                <c:pt idx="35566">
                  <c:v>111463</c:v>
                </c:pt>
                <c:pt idx="35567">
                  <c:v>46875</c:v>
                </c:pt>
                <c:pt idx="35568">
                  <c:v>25224</c:v>
                </c:pt>
                <c:pt idx="35569">
                  <c:v>41456</c:v>
                </c:pt>
                <c:pt idx="35570">
                  <c:v>28271</c:v>
                </c:pt>
                <c:pt idx="35571">
                  <c:v>51530</c:v>
                </c:pt>
                <c:pt idx="35572">
                  <c:v>31144</c:v>
                </c:pt>
                <c:pt idx="35573">
                  <c:v>42174</c:v>
                </c:pt>
                <c:pt idx="35574">
                  <c:v>24485</c:v>
                </c:pt>
                <c:pt idx="35575">
                  <c:v>26811</c:v>
                </c:pt>
                <c:pt idx="35576">
                  <c:v>80530</c:v>
                </c:pt>
                <c:pt idx="35577">
                  <c:v>38467</c:v>
                </c:pt>
                <c:pt idx="35578">
                  <c:v>108249</c:v>
                </c:pt>
                <c:pt idx="35579">
                  <c:v>47475</c:v>
                </c:pt>
                <c:pt idx="35580">
                  <c:v>35122</c:v>
                </c:pt>
                <c:pt idx="35581">
                  <c:v>20689</c:v>
                </c:pt>
                <c:pt idx="35582">
                  <c:v>39486</c:v>
                </c:pt>
                <c:pt idx="35583">
                  <c:v>35994</c:v>
                </c:pt>
                <c:pt idx="35584">
                  <c:v>44132</c:v>
                </c:pt>
                <c:pt idx="35585">
                  <c:v>41380</c:v>
                </c:pt>
                <c:pt idx="35586">
                  <c:v>71237</c:v>
                </c:pt>
                <c:pt idx="35587">
                  <c:v>57191</c:v>
                </c:pt>
                <c:pt idx="35588">
                  <c:v>61195</c:v>
                </c:pt>
                <c:pt idx="35589">
                  <c:v>259309</c:v>
                </c:pt>
                <c:pt idx="35590">
                  <c:v>30963</c:v>
                </c:pt>
                <c:pt idx="35591">
                  <c:v>43843</c:v>
                </c:pt>
                <c:pt idx="35592">
                  <c:v>44612</c:v>
                </c:pt>
                <c:pt idx="35593">
                  <c:v>34204</c:v>
                </c:pt>
                <c:pt idx="35594">
                  <c:v>32903</c:v>
                </c:pt>
                <c:pt idx="35595">
                  <c:v>50769</c:v>
                </c:pt>
                <c:pt idx="35596">
                  <c:v>316134</c:v>
                </c:pt>
                <c:pt idx="35597">
                  <c:v>228095</c:v>
                </c:pt>
                <c:pt idx="35598">
                  <c:v>34995</c:v>
                </c:pt>
                <c:pt idx="35599">
                  <c:v>50980</c:v>
                </c:pt>
                <c:pt idx="35600">
                  <c:v>38216</c:v>
                </c:pt>
                <c:pt idx="35601">
                  <c:v>24570</c:v>
                </c:pt>
                <c:pt idx="35602">
                  <c:v>43609</c:v>
                </c:pt>
                <c:pt idx="35603">
                  <c:v>32446</c:v>
                </c:pt>
                <c:pt idx="35604">
                  <c:v>28093</c:v>
                </c:pt>
                <c:pt idx="35605">
                  <c:v>25558</c:v>
                </c:pt>
                <c:pt idx="35606">
                  <c:v>253095</c:v>
                </c:pt>
                <c:pt idx="35607">
                  <c:v>45015</c:v>
                </c:pt>
                <c:pt idx="35608">
                  <c:v>35594</c:v>
                </c:pt>
                <c:pt idx="35609">
                  <c:v>27296</c:v>
                </c:pt>
                <c:pt idx="35610">
                  <c:v>239611</c:v>
                </c:pt>
                <c:pt idx="35611">
                  <c:v>40606</c:v>
                </c:pt>
                <c:pt idx="35612">
                  <c:v>36911</c:v>
                </c:pt>
                <c:pt idx="35613">
                  <c:v>52358</c:v>
                </c:pt>
                <c:pt idx="35614">
                  <c:v>62634</c:v>
                </c:pt>
                <c:pt idx="35615">
                  <c:v>29480</c:v>
                </c:pt>
                <c:pt idx="35616">
                  <c:v>125214</c:v>
                </c:pt>
                <c:pt idx="35617">
                  <c:v>35799</c:v>
                </c:pt>
                <c:pt idx="35618">
                  <c:v>30456</c:v>
                </c:pt>
                <c:pt idx="35619">
                  <c:v>49837</c:v>
                </c:pt>
                <c:pt idx="35620">
                  <c:v>44914</c:v>
                </c:pt>
                <c:pt idx="35621">
                  <c:v>37538</c:v>
                </c:pt>
                <c:pt idx="35622">
                  <c:v>55179</c:v>
                </c:pt>
                <c:pt idx="35623">
                  <c:v>84312</c:v>
                </c:pt>
                <c:pt idx="35624">
                  <c:v>54359</c:v>
                </c:pt>
                <c:pt idx="35625">
                  <c:v>36890</c:v>
                </c:pt>
                <c:pt idx="35626">
                  <c:v>78931</c:v>
                </c:pt>
                <c:pt idx="35627">
                  <c:v>53753</c:v>
                </c:pt>
                <c:pt idx="35628">
                  <c:v>44003</c:v>
                </c:pt>
                <c:pt idx="35629">
                  <c:v>54442</c:v>
                </c:pt>
                <c:pt idx="35630">
                  <c:v>44917</c:v>
                </c:pt>
                <c:pt idx="35631">
                  <c:v>31891</c:v>
                </c:pt>
                <c:pt idx="35632">
                  <c:v>75367</c:v>
                </c:pt>
                <c:pt idx="35633">
                  <c:v>33453</c:v>
                </c:pt>
                <c:pt idx="35634">
                  <c:v>25037</c:v>
                </c:pt>
                <c:pt idx="35635">
                  <c:v>25261</c:v>
                </c:pt>
                <c:pt idx="35636">
                  <c:v>25921</c:v>
                </c:pt>
                <c:pt idx="35637">
                  <c:v>87259</c:v>
                </c:pt>
                <c:pt idx="35638">
                  <c:v>47785</c:v>
                </c:pt>
                <c:pt idx="35639">
                  <c:v>15000</c:v>
                </c:pt>
                <c:pt idx="35640">
                  <c:v>48904</c:v>
                </c:pt>
                <c:pt idx="35641">
                  <c:v>47840</c:v>
                </c:pt>
                <c:pt idx="35642">
                  <c:v>138595</c:v>
                </c:pt>
                <c:pt idx="35643">
                  <c:v>55245</c:v>
                </c:pt>
                <c:pt idx="35644">
                  <c:v>45659</c:v>
                </c:pt>
                <c:pt idx="35645">
                  <c:v>82040</c:v>
                </c:pt>
                <c:pt idx="35646">
                  <c:v>41325</c:v>
                </c:pt>
                <c:pt idx="35647">
                  <c:v>46262</c:v>
                </c:pt>
                <c:pt idx="35648">
                  <c:v>61259</c:v>
                </c:pt>
                <c:pt idx="35649">
                  <c:v>37647</c:v>
                </c:pt>
                <c:pt idx="35650">
                  <c:v>18304</c:v>
                </c:pt>
                <c:pt idx="35651">
                  <c:v>87272</c:v>
                </c:pt>
                <c:pt idx="35652">
                  <c:v>37046</c:v>
                </c:pt>
                <c:pt idx="35653">
                  <c:v>25157</c:v>
                </c:pt>
                <c:pt idx="35654">
                  <c:v>73651</c:v>
                </c:pt>
                <c:pt idx="35655">
                  <c:v>39864</c:v>
                </c:pt>
                <c:pt idx="35656">
                  <c:v>26628</c:v>
                </c:pt>
                <c:pt idx="35657">
                  <c:v>135617</c:v>
                </c:pt>
                <c:pt idx="35658">
                  <c:v>39071</c:v>
                </c:pt>
                <c:pt idx="35659">
                  <c:v>35858</c:v>
                </c:pt>
                <c:pt idx="35660">
                  <c:v>31143</c:v>
                </c:pt>
                <c:pt idx="35661">
                  <c:v>55248</c:v>
                </c:pt>
                <c:pt idx="35662">
                  <c:v>44341</c:v>
                </c:pt>
                <c:pt idx="35663">
                  <c:v>25811</c:v>
                </c:pt>
                <c:pt idx="35664">
                  <c:v>30641</c:v>
                </c:pt>
                <c:pt idx="35665">
                  <c:v>52783</c:v>
                </c:pt>
                <c:pt idx="35666">
                  <c:v>44572</c:v>
                </c:pt>
                <c:pt idx="35667">
                  <c:v>44076</c:v>
                </c:pt>
                <c:pt idx="35668">
                  <c:v>27233</c:v>
                </c:pt>
                <c:pt idx="35669">
                  <c:v>46893</c:v>
                </c:pt>
                <c:pt idx="35670">
                  <c:v>23737</c:v>
                </c:pt>
                <c:pt idx="35671">
                  <c:v>51853</c:v>
                </c:pt>
                <c:pt idx="35672">
                  <c:v>36415</c:v>
                </c:pt>
                <c:pt idx="35673">
                  <c:v>42522</c:v>
                </c:pt>
                <c:pt idx="35674">
                  <c:v>56856</c:v>
                </c:pt>
                <c:pt idx="35675">
                  <c:v>95693</c:v>
                </c:pt>
                <c:pt idx="35676">
                  <c:v>30203</c:v>
                </c:pt>
                <c:pt idx="35677">
                  <c:v>28836</c:v>
                </c:pt>
                <c:pt idx="35678">
                  <c:v>55361</c:v>
                </c:pt>
                <c:pt idx="35679">
                  <c:v>158535</c:v>
                </c:pt>
                <c:pt idx="35680">
                  <c:v>27989</c:v>
                </c:pt>
                <c:pt idx="35681">
                  <c:v>38156</c:v>
                </c:pt>
                <c:pt idx="35682">
                  <c:v>37069</c:v>
                </c:pt>
                <c:pt idx="35683">
                  <c:v>57098</c:v>
                </c:pt>
                <c:pt idx="35684">
                  <c:v>35216</c:v>
                </c:pt>
                <c:pt idx="35685">
                  <c:v>48062</c:v>
                </c:pt>
                <c:pt idx="35686">
                  <c:v>35261</c:v>
                </c:pt>
                <c:pt idx="35687">
                  <c:v>56177</c:v>
                </c:pt>
                <c:pt idx="35688">
                  <c:v>75222</c:v>
                </c:pt>
                <c:pt idx="35689">
                  <c:v>31887</c:v>
                </c:pt>
                <c:pt idx="35690">
                  <c:v>30713</c:v>
                </c:pt>
                <c:pt idx="35691">
                  <c:v>18110</c:v>
                </c:pt>
                <c:pt idx="35692">
                  <c:v>68710</c:v>
                </c:pt>
                <c:pt idx="35693">
                  <c:v>24795</c:v>
                </c:pt>
                <c:pt idx="35694">
                  <c:v>66760</c:v>
                </c:pt>
                <c:pt idx="35695">
                  <c:v>107593</c:v>
                </c:pt>
                <c:pt idx="35696">
                  <c:v>22868</c:v>
                </c:pt>
                <c:pt idx="35697">
                  <c:v>37251</c:v>
                </c:pt>
                <c:pt idx="35698">
                  <c:v>54549</c:v>
                </c:pt>
                <c:pt idx="35699">
                  <c:v>303191</c:v>
                </c:pt>
                <c:pt idx="35700">
                  <c:v>86448</c:v>
                </c:pt>
                <c:pt idx="35701">
                  <c:v>36768</c:v>
                </c:pt>
                <c:pt idx="35702">
                  <c:v>27164</c:v>
                </c:pt>
                <c:pt idx="35703">
                  <c:v>171282</c:v>
                </c:pt>
                <c:pt idx="35704">
                  <c:v>40600</c:v>
                </c:pt>
                <c:pt idx="35705">
                  <c:v>41195</c:v>
                </c:pt>
                <c:pt idx="35706">
                  <c:v>62776</c:v>
                </c:pt>
                <c:pt idx="35707">
                  <c:v>54919</c:v>
                </c:pt>
                <c:pt idx="35708">
                  <c:v>98476</c:v>
                </c:pt>
                <c:pt idx="35709">
                  <c:v>82209</c:v>
                </c:pt>
                <c:pt idx="35710">
                  <c:v>179275</c:v>
                </c:pt>
                <c:pt idx="35711">
                  <c:v>36821</c:v>
                </c:pt>
                <c:pt idx="35712">
                  <c:v>43018</c:v>
                </c:pt>
                <c:pt idx="35713">
                  <c:v>42295</c:v>
                </c:pt>
                <c:pt idx="35714">
                  <c:v>98604</c:v>
                </c:pt>
                <c:pt idx="35715">
                  <c:v>42239</c:v>
                </c:pt>
                <c:pt idx="35716">
                  <c:v>89402</c:v>
                </c:pt>
                <c:pt idx="35717">
                  <c:v>56750</c:v>
                </c:pt>
                <c:pt idx="35718">
                  <c:v>77143</c:v>
                </c:pt>
                <c:pt idx="35719">
                  <c:v>60628</c:v>
                </c:pt>
                <c:pt idx="35720">
                  <c:v>33140</c:v>
                </c:pt>
                <c:pt idx="35721">
                  <c:v>90021</c:v>
                </c:pt>
                <c:pt idx="35722">
                  <c:v>41543</c:v>
                </c:pt>
                <c:pt idx="35723">
                  <c:v>52779</c:v>
                </c:pt>
                <c:pt idx="35724">
                  <c:v>93968</c:v>
                </c:pt>
                <c:pt idx="35725">
                  <c:v>25863</c:v>
                </c:pt>
                <c:pt idx="35726">
                  <c:v>122536</c:v>
                </c:pt>
                <c:pt idx="35727">
                  <c:v>21978</c:v>
                </c:pt>
                <c:pt idx="35728">
                  <c:v>43341</c:v>
                </c:pt>
                <c:pt idx="35729">
                  <c:v>82784</c:v>
                </c:pt>
                <c:pt idx="35730">
                  <c:v>74309</c:v>
                </c:pt>
                <c:pt idx="35731">
                  <c:v>42150</c:v>
                </c:pt>
                <c:pt idx="35732">
                  <c:v>29652</c:v>
                </c:pt>
                <c:pt idx="35733">
                  <c:v>38748</c:v>
                </c:pt>
                <c:pt idx="35734">
                  <c:v>111044</c:v>
                </c:pt>
                <c:pt idx="35735">
                  <c:v>63880</c:v>
                </c:pt>
                <c:pt idx="35736">
                  <c:v>43401</c:v>
                </c:pt>
                <c:pt idx="35737">
                  <c:v>46218</c:v>
                </c:pt>
                <c:pt idx="35738">
                  <c:v>64508</c:v>
                </c:pt>
                <c:pt idx="35739">
                  <c:v>31593</c:v>
                </c:pt>
                <c:pt idx="35740">
                  <c:v>33230</c:v>
                </c:pt>
                <c:pt idx="35741">
                  <c:v>39515</c:v>
                </c:pt>
                <c:pt idx="35742">
                  <c:v>36826</c:v>
                </c:pt>
                <c:pt idx="35743">
                  <c:v>26072</c:v>
                </c:pt>
                <c:pt idx="35744">
                  <c:v>45699</c:v>
                </c:pt>
                <c:pt idx="35745">
                  <c:v>43091</c:v>
                </c:pt>
                <c:pt idx="35746">
                  <c:v>35711</c:v>
                </c:pt>
                <c:pt idx="35747">
                  <c:v>55646</c:v>
                </c:pt>
                <c:pt idx="35748">
                  <c:v>34308</c:v>
                </c:pt>
                <c:pt idx="35749">
                  <c:v>68512</c:v>
                </c:pt>
                <c:pt idx="35750">
                  <c:v>307025</c:v>
                </c:pt>
                <c:pt idx="35751">
                  <c:v>25533</c:v>
                </c:pt>
                <c:pt idx="35752">
                  <c:v>62009</c:v>
                </c:pt>
                <c:pt idx="35753">
                  <c:v>112596</c:v>
                </c:pt>
                <c:pt idx="35754">
                  <c:v>126997</c:v>
                </c:pt>
                <c:pt idx="35755">
                  <c:v>61679</c:v>
                </c:pt>
                <c:pt idx="35756">
                  <c:v>91641</c:v>
                </c:pt>
                <c:pt idx="35757">
                  <c:v>27963</c:v>
                </c:pt>
                <c:pt idx="35758">
                  <c:v>28744</c:v>
                </c:pt>
                <c:pt idx="35759">
                  <c:v>43680</c:v>
                </c:pt>
                <c:pt idx="35760">
                  <c:v>35091</c:v>
                </c:pt>
                <c:pt idx="35761">
                  <c:v>28042</c:v>
                </c:pt>
                <c:pt idx="35762">
                  <c:v>210595</c:v>
                </c:pt>
                <c:pt idx="35763">
                  <c:v>113058</c:v>
                </c:pt>
                <c:pt idx="35764">
                  <c:v>45335</c:v>
                </c:pt>
                <c:pt idx="35765">
                  <c:v>154918</c:v>
                </c:pt>
                <c:pt idx="35766">
                  <c:v>35727</c:v>
                </c:pt>
                <c:pt idx="35767">
                  <c:v>31940</c:v>
                </c:pt>
                <c:pt idx="35768">
                  <c:v>27654</c:v>
                </c:pt>
                <c:pt idx="35769">
                  <c:v>163379</c:v>
                </c:pt>
                <c:pt idx="35770">
                  <c:v>96343</c:v>
                </c:pt>
                <c:pt idx="35771">
                  <c:v>45632</c:v>
                </c:pt>
                <c:pt idx="35772">
                  <c:v>43825</c:v>
                </c:pt>
                <c:pt idx="35773">
                  <c:v>47206</c:v>
                </c:pt>
                <c:pt idx="35774">
                  <c:v>22316</c:v>
                </c:pt>
                <c:pt idx="35775">
                  <c:v>69677</c:v>
                </c:pt>
                <c:pt idx="35776">
                  <c:v>55205</c:v>
                </c:pt>
                <c:pt idx="35777">
                  <c:v>44803</c:v>
                </c:pt>
                <c:pt idx="35778">
                  <c:v>23395</c:v>
                </c:pt>
                <c:pt idx="35779">
                  <c:v>63380</c:v>
                </c:pt>
                <c:pt idx="35780">
                  <c:v>33481</c:v>
                </c:pt>
                <c:pt idx="35781">
                  <c:v>43377</c:v>
                </c:pt>
                <c:pt idx="35782">
                  <c:v>30727</c:v>
                </c:pt>
                <c:pt idx="35783">
                  <c:v>40404</c:v>
                </c:pt>
                <c:pt idx="35784">
                  <c:v>124271</c:v>
                </c:pt>
                <c:pt idx="35785">
                  <c:v>39377</c:v>
                </c:pt>
                <c:pt idx="35786">
                  <c:v>29488</c:v>
                </c:pt>
                <c:pt idx="35787">
                  <c:v>77976</c:v>
                </c:pt>
                <c:pt idx="35788">
                  <c:v>56667</c:v>
                </c:pt>
                <c:pt idx="35789">
                  <c:v>35300</c:v>
                </c:pt>
                <c:pt idx="35790">
                  <c:v>82622</c:v>
                </c:pt>
                <c:pt idx="35791">
                  <c:v>186517</c:v>
                </c:pt>
                <c:pt idx="35792">
                  <c:v>68457</c:v>
                </c:pt>
                <c:pt idx="35793">
                  <c:v>23813</c:v>
                </c:pt>
                <c:pt idx="35794">
                  <c:v>26456</c:v>
                </c:pt>
                <c:pt idx="35795">
                  <c:v>117711</c:v>
                </c:pt>
                <c:pt idx="35796">
                  <c:v>85566</c:v>
                </c:pt>
                <c:pt idx="35797">
                  <c:v>29305</c:v>
                </c:pt>
                <c:pt idx="35798">
                  <c:v>116137</c:v>
                </c:pt>
                <c:pt idx="35799">
                  <c:v>84280</c:v>
                </c:pt>
                <c:pt idx="35800">
                  <c:v>44352</c:v>
                </c:pt>
                <c:pt idx="35801">
                  <c:v>19559</c:v>
                </c:pt>
                <c:pt idx="35802">
                  <c:v>42440</c:v>
                </c:pt>
                <c:pt idx="35803">
                  <c:v>39331</c:v>
                </c:pt>
                <c:pt idx="35804">
                  <c:v>54643</c:v>
                </c:pt>
                <c:pt idx="35805">
                  <c:v>42285</c:v>
                </c:pt>
                <c:pt idx="35806">
                  <c:v>33884</c:v>
                </c:pt>
                <c:pt idx="35807">
                  <c:v>103182</c:v>
                </c:pt>
                <c:pt idx="35808">
                  <c:v>91991</c:v>
                </c:pt>
                <c:pt idx="35809">
                  <c:v>39924</c:v>
                </c:pt>
                <c:pt idx="35810">
                  <c:v>40316</c:v>
                </c:pt>
                <c:pt idx="35811">
                  <c:v>42402</c:v>
                </c:pt>
                <c:pt idx="35812">
                  <c:v>32406</c:v>
                </c:pt>
                <c:pt idx="35813">
                  <c:v>70479</c:v>
                </c:pt>
                <c:pt idx="35814">
                  <c:v>84620</c:v>
                </c:pt>
                <c:pt idx="35815">
                  <c:v>64044</c:v>
                </c:pt>
                <c:pt idx="35816">
                  <c:v>150402</c:v>
                </c:pt>
                <c:pt idx="35817">
                  <c:v>39436</c:v>
                </c:pt>
                <c:pt idx="35818">
                  <c:v>29611</c:v>
                </c:pt>
                <c:pt idx="35819">
                  <c:v>50970</c:v>
                </c:pt>
                <c:pt idx="35820">
                  <c:v>51446</c:v>
                </c:pt>
                <c:pt idx="35821">
                  <c:v>24966</c:v>
                </c:pt>
                <c:pt idx="35822">
                  <c:v>47012</c:v>
                </c:pt>
                <c:pt idx="35823">
                  <c:v>25789</c:v>
                </c:pt>
                <c:pt idx="35824">
                  <c:v>38547</c:v>
                </c:pt>
                <c:pt idx="35825">
                  <c:v>40579</c:v>
                </c:pt>
                <c:pt idx="35826">
                  <c:v>28472</c:v>
                </c:pt>
                <c:pt idx="35827">
                  <c:v>23025</c:v>
                </c:pt>
                <c:pt idx="35828">
                  <c:v>90962</c:v>
                </c:pt>
                <c:pt idx="35829">
                  <c:v>39460</c:v>
                </c:pt>
                <c:pt idx="35830">
                  <c:v>132197</c:v>
                </c:pt>
                <c:pt idx="35831">
                  <c:v>43433</c:v>
                </c:pt>
                <c:pt idx="35832">
                  <c:v>146346</c:v>
                </c:pt>
                <c:pt idx="35833">
                  <c:v>104404</c:v>
                </c:pt>
                <c:pt idx="35834">
                  <c:v>92822</c:v>
                </c:pt>
                <c:pt idx="35835">
                  <c:v>114972</c:v>
                </c:pt>
                <c:pt idx="35836">
                  <c:v>28112</c:v>
                </c:pt>
                <c:pt idx="35837">
                  <c:v>25331</c:v>
                </c:pt>
                <c:pt idx="35838">
                  <c:v>42138</c:v>
                </c:pt>
                <c:pt idx="35839">
                  <c:v>23483</c:v>
                </c:pt>
                <c:pt idx="35840">
                  <c:v>49552</c:v>
                </c:pt>
                <c:pt idx="35841">
                  <c:v>36692</c:v>
                </c:pt>
                <c:pt idx="35842">
                  <c:v>50348</c:v>
                </c:pt>
                <c:pt idx="35843">
                  <c:v>50010</c:v>
                </c:pt>
                <c:pt idx="35844">
                  <c:v>31807</c:v>
                </c:pt>
                <c:pt idx="35845">
                  <c:v>68350</c:v>
                </c:pt>
                <c:pt idx="35846">
                  <c:v>71089</c:v>
                </c:pt>
                <c:pt idx="35847">
                  <c:v>136436</c:v>
                </c:pt>
                <c:pt idx="35848">
                  <c:v>25032</c:v>
                </c:pt>
                <c:pt idx="35849">
                  <c:v>39866</c:v>
                </c:pt>
                <c:pt idx="35850">
                  <c:v>109194</c:v>
                </c:pt>
                <c:pt idx="35851">
                  <c:v>117888</c:v>
                </c:pt>
                <c:pt idx="35852">
                  <c:v>100030</c:v>
                </c:pt>
                <c:pt idx="35853">
                  <c:v>53535</c:v>
                </c:pt>
                <c:pt idx="35854">
                  <c:v>42206</c:v>
                </c:pt>
                <c:pt idx="35855">
                  <c:v>38116</c:v>
                </c:pt>
                <c:pt idx="35856">
                  <c:v>63797</c:v>
                </c:pt>
                <c:pt idx="35857">
                  <c:v>87654</c:v>
                </c:pt>
                <c:pt idx="35858">
                  <c:v>78713</c:v>
                </c:pt>
                <c:pt idx="35859">
                  <c:v>44424</c:v>
                </c:pt>
                <c:pt idx="35860">
                  <c:v>83042</c:v>
                </c:pt>
                <c:pt idx="35861">
                  <c:v>28134</c:v>
                </c:pt>
                <c:pt idx="35862">
                  <c:v>35360</c:v>
                </c:pt>
                <c:pt idx="35863">
                  <c:v>23048</c:v>
                </c:pt>
                <c:pt idx="35864">
                  <c:v>33519</c:v>
                </c:pt>
                <c:pt idx="35865">
                  <c:v>47887</c:v>
                </c:pt>
                <c:pt idx="35866">
                  <c:v>39546</c:v>
                </c:pt>
                <c:pt idx="35867">
                  <c:v>29735</c:v>
                </c:pt>
                <c:pt idx="35868">
                  <c:v>32502</c:v>
                </c:pt>
                <c:pt idx="35869">
                  <c:v>28817</c:v>
                </c:pt>
                <c:pt idx="35870">
                  <c:v>59368</c:v>
                </c:pt>
                <c:pt idx="35871">
                  <c:v>34931</c:v>
                </c:pt>
                <c:pt idx="35872">
                  <c:v>26732</c:v>
                </c:pt>
                <c:pt idx="35873">
                  <c:v>61439</c:v>
                </c:pt>
                <c:pt idx="35874">
                  <c:v>22187</c:v>
                </c:pt>
                <c:pt idx="35875">
                  <c:v>22859</c:v>
                </c:pt>
                <c:pt idx="35876">
                  <c:v>49990</c:v>
                </c:pt>
                <c:pt idx="35877">
                  <c:v>109280</c:v>
                </c:pt>
                <c:pt idx="35878">
                  <c:v>44048</c:v>
                </c:pt>
                <c:pt idx="35879">
                  <c:v>31395</c:v>
                </c:pt>
                <c:pt idx="35880">
                  <c:v>104954</c:v>
                </c:pt>
                <c:pt idx="35881">
                  <c:v>33169</c:v>
                </c:pt>
                <c:pt idx="35882">
                  <c:v>34570</c:v>
                </c:pt>
                <c:pt idx="35883">
                  <c:v>20735</c:v>
                </c:pt>
                <c:pt idx="35884">
                  <c:v>43699</c:v>
                </c:pt>
                <c:pt idx="35885">
                  <c:v>39654</c:v>
                </c:pt>
                <c:pt idx="35886">
                  <c:v>33142</c:v>
                </c:pt>
                <c:pt idx="35887">
                  <c:v>36732</c:v>
                </c:pt>
                <c:pt idx="35888">
                  <c:v>35273</c:v>
                </c:pt>
                <c:pt idx="35889">
                  <c:v>48604</c:v>
                </c:pt>
                <c:pt idx="35890">
                  <c:v>46629</c:v>
                </c:pt>
                <c:pt idx="35891">
                  <c:v>38073</c:v>
                </c:pt>
                <c:pt idx="35892">
                  <c:v>36263</c:v>
                </c:pt>
                <c:pt idx="35893">
                  <c:v>79770</c:v>
                </c:pt>
                <c:pt idx="35894">
                  <c:v>63220</c:v>
                </c:pt>
                <c:pt idx="35895">
                  <c:v>38930</c:v>
                </c:pt>
                <c:pt idx="35896">
                  <c:v>44139</c:v>
                </c:pt>
                <c:pt idx="35897">
                  <c:v>34743</c:v>
                </c:pt>
                <c:pt idx="35898">
                  <c:v>228243</c:v>
                </c:pt>
                <c:pt idx="35899">
                  <c:v>45122</c:v>
                </c:pt>
                <c:pt idx="35900">
                  <c:v>68439</c:v>
                </c:pt>
                <c:pt idx="35901">
                  <c:v>108856</c:v>
                </c:pt>
                <c:pt idx="35902">
                  <c:v>139268</c:v>
                </c:pt>
                <c:pt idx="35903">
                  <c:v>135724</c:v>
                </c:pt>
                <c:pt idx="35904">
                  <c:v>56393</c:v>
                </c:pt>
                <c:pt idx="35905">
                  <c:v>39178</c:v>
                </c:pt>
                <c:pt idx="35906">
                  <c:v>15000</c:v>
                </c:pt>
                <c:pt idx="35907">
                  <c:v>59926</c:v>
                </c:pt>
                <c:pt idx="35908">
                  <c:v>114492</c:v>
                </c:pt>
                <c:pt idx="35909">
                  <c:v>41119</c:v>
                </c:pt>
                <c:pt idx="35910">
                  <c:v>43966</c:v>
                </c:pt>
                <c:pt idx="35911">
                  <c:v>24885</c:v>
                </c:pt>
                <c:pt idx="35912">
                  <c:v>32075</c:v>
                </c:pt>
                <c:pt idx="35913">
                  <c:v>29295</c:v>
                </c:pt>
                <c:pt idx="35914">
                  <c:v>42824</c:v>
                </c:pt>
                <c:pt idx="35915">
                  <c:v>87367</c:v>
                </c:pt>
                <c:pt idx="35916">
                  <c:v>27180</c:v>
                </c:pt>
                <c:pt idx="35917">
                  <c:v>57530</c:v>
                </c:pt>
                <c:pt idx="35918">
                  <c:v>38072</c:v>
                </c:pt>
                <c:pt idx="35919">
                  <c:v>26895</c:v>
                </c:pt>
                <c:pt idx="35920">
                  <c:v>97201</c:v>
                </c:pt>
                <c:pt idx="35921">
                  <c:v>87602</c:v>
                </c:pt>
                <c:pt idx="35922">
                  <c:v>100442</c:v>
                </c:pt>
                <c:pt idx="35923">
                  <c:v>25568</c:v>
                </c:pt>
                <c:pt idx="35924">
                  <c:v>27358</c:v>
                </c:pt>
                <c:pt idx="35925">
                  <c:v>41453</c:v>
                </c:pt>
                <c:pt idx="35926">
                  <c:v>42841</c:v>
                </c:pt>
                <c:pt idx="35927">
                  <c:v>71375</c:v>
                </c:pt>
                <c:pt idx="35928">
                  <c:v>36031</c:v>
                </c:pt>
                <c:pt idx="35929">
                  <c:v>23607</c:v>
                </c:pt>
                <c:pt idx="35930">
                  <c:v>35838</c:v>
                </c:pt>
                <c:pt idx="35931">
                  <c:v>45509</c:v>
                </c:pt>
                <c:pt idx="35932">
                  <c:v>93663</c:v>
                </c:pt>
                <c:pt idx="35933">
                  <c:v>55092</c:v>
                </c:pt>
                <c:pt idx="35934">
                  <c:v>47119</c:v>
                </c:pt>
                <c:pt idx="35935">
                  <c:v>38174</c:v>
                </c:pt>
                <c:pt idx="35936">
                  <c:v>38466</c:v>
                </c:pt>
                <c:pt idx="35937">
                  <c:v>40537</c:v>
                </c:pt>
                <c:pt idx="35938">
                  <c:v>37019</c:v>
                </c:pt>
                <c:pt idx="35939">
                  <c:v>28213</c:v>
                </c:pt>
                <c:pt idx="35940">
                  <c:v>26776</c:v>
                </c:pt>
                <c:pt idx="35941">
                  <c:v>22803</c:v>
                </c:pt>
                <c:pt idx="35942">
                  <c:v>27623</c:v>
                </c:pt>
                <c:pt idx="35943">
                  <c:v>110704</c:v>
                </c:pt>
                <c:pt idx="35944">
                  <c:v>43937</c:v>
                </c:pt>
                <c:pt idx="35945">
                  <c:v>136349</c:v>
                </c:pt>
                <c:pt idx="35946">
                  <c:v>29183</c:v>
                </c:pt>
                <c:pt idx="35947">
                  <c:v>45334</c:v>
                </c:pt>
                <c:pt idx="35948">
                  <c:v>67153</c:v>
                </c:pt>
                <c:pt idx="35949">
                  <c:v>88072</c:v>
                </c:pt>
                <c:pt idx="35950">
                  <c:v>61489</c:v>
                </c:pt>
                <c:pt idx="35951">
                  <c:v>25678</c:v>
                </c:pt>
                <c:pt idx="35952">
                  <c:v>43200</c:v>
                </c:pt>
                <c:pt idx="35953">
                  <c:v>45410</c:v>
                </c:pt>
                <c:pt idx="35954">
                  <c:v>51469</c:v>
                </c:pt>
                <c:pt idx="35955">
                  <c:v>160286</c:v>
                </c:pt>
                <c:pt idx="35956">
                  <c:v>41159</c:v>
                </c:pt>
                <c:pt idx="35957">
                  <c:v>31794</c:v>
                </c:pt>
                <c:pt idx="35958">
                  <c:v>60118</c:v>
                </c:pt>
                <c:pt idx="35959">
                  <c:v>43590</c:v>
                </c:pt>
                <c:pt idx="35960">
                  <c:v>51185</c:v>
                </c:pt>
                <c:pt idx="35961">
                  <c:v>51281</c:v>
                </c:pt>
                <c:pt idx="35962">
                  <c:v>74324</c:v>
                </c:pt>
                <c:pt idx="35963">
                  <c:v>94512</c:v>
                </c:pt>
                <c:pt idx="35964">
                  <c:v>63663</c:v>
                </c:pt>
                <c:pt idx="35965">
                  <c:v>48285</c:v>
                </c:pt>
                <c:pt idx="35966">
                  <c:v>274020</c:v>
                </c:pt>
                <c:pt idx="35967">
                  <c:v>212424</c:v>
                </c:pt>
                <c:pt idx="35968">
                  <c:v>40945</c:v>
                </c:pt>
                <c:pt idx="35969">
                  <c:v>35181</c:v>
                </c:pt>
                <c:pt idx="35970">
                  <c:v>270589</c:v>
                </c:pt>
                <c:pt idx="35971">
                  <c:v>37750</c:v>
                </c:pt>
                <c:pt idx="35972">
                  <c:v>89197</c:v>
                </c:pt>
                <c:pt idx="35973">
                  <c:v>53762</c:v>
                </c:pt>
                <c:pt idx="35974">
                  <c:v>31679</c:v>
                </c:pt>
                <c:pt idx="35975">
                  <c:v>40023</c:v>
                </c:pt>
                <c:pt idx="35976">
                  <c:v>46684</c:v>
                </c:pt>
                <c:pt idx="35977">
                  <c:v>36059</c:v>
                </c:pt>
                <c:pt idx="35978">
                  <c:v>35616</c:v>
                </c:pt>
                <c:pt idx="35979">
                  <c:v>62265</c:v>
                </c:pt>
                <c:pt idx="35980">
                  <c:v>24936</c:v>
                </c:pt>
                <c:pt idx="35981">
                  <c:v>75256</c:v>
                </c:pt>
                <c:pt idx="35982">
                  <c:v>43033</c:v>
                </c:pt>
                <c:pt idx="35983">
                  <c:v>49586</c:v>
                </c:pt>
                <c:pt idx="35984">
                  <c:v>36012</c:v>
                </c:pt>
                <c:pt idx="35985">
                  <c:v>53923</c:v>
                </c:pt>
                <c:pt idx="35986">
                  <c:v>51750</c:v>
                </c:pt>
                <c:pt idx="35987">
                  <c:v>26102</c:v>
                </c:pt>
                <c:pt idx="35988">
                  <c:v>25133</c:v>
                </c:pt>
                <c:pt idx="35989">
                  <c:v>36706</c:v>
                </c:pt>
                <c:pt idx="35990">
                  <c:v>86402</c:v>
                </c:pt>
                <c:pt idx="35991">
                  <c:v>39209</c:v>
                </c:pt>
                <c:pt idx="35992">
                  <c:v>33320</c:v>
                </c:pt>
                <c:pt idx="35993">
                  <c:v>25039</c:v>
                </c:pt>
                <c:pt idx="35994">
                  <c:v>157254</c:v>
                </c:pt>
                <c:pt idx="35995">
                  <c:v>222762</c:v>
                </c:pt>
                <c:pt idx="35996">
                  <c:v>28274</c:v>
                </c:pt>
                <c:pt idx="35997">
                  <c:v>119689</c:v>
                </c:pt>
                <c:pt idx="35998">
                  <c:v>37776</c:v>
                </c:pt>
                <c:pt idx="35999">
                  <c:v>55677</c:v>
                </c:pt>
                <c:pt idx="36000">
                  <c:v>45018</c:v>
                </c:pt>
                <c:pt idx="36001">
                  <c:v>34730</c:v>
                </c:pt>
                <c:pt idx="36002">
                  <c:v>43460</c:v>
                </c:pt>
                <c:pt idx="36003">
                  <c:v>52032</c:v>
                </c:pt>
                <c:pt idx="36004">
                  <c:v>138349</c:v>
                </c:pt>
                <c:pt idx="36005">
                  <c:v>42194</c:v>
                </c:pt>
                <c:pt idx="36006">
                  <c:v>91549</c:v>
                </c:pt>
                <c:pt idx="36007">
                  <c:v>22678</c:v>
                </c:pt>
                <c:pt idx="36008">
                  <c:v>37737</c:v>
                </c:pt>
                <c:pt idx="36009">
                  <c:v>50554</c:v>
                </c:pt>
                <c:pt idx="36010">
                  <c:v>40134</c:v>
                </c:pt>
                <c:pt idx="36011">
                  <c:v>38636</c:v>
                </c:pt>
                <c:pt idx="36012">
                  <c:v>40421</c:v>
                </c:pt>
                <c:pt idx="36013">
                  <c:v>176789</c:v>
                </c:pt>
                <c:pt idx="36014">
                  <c:v>85584</c:v>
                </c:pt>
                <c:pt idx="36015">
                  <c:v>54070</c:v>
                </c:pt>
                <c:pt idx="36016">
                  <c:v>40437</c:v>
                </c:pt>
                <c:pt idx="36017">
                  <c:v>32089</c:v>
                </c:pt>
                <c:pt idx="36018">
                  <c:v>27819</c:v>
                </c:pt>
                <c:pt idx="36019">
                  <c:v>37592</c:v>
                </c:pt>
                <c:pt idx="36020">
                  <c:v>33363</c:v>
                </c:pt>
                <c:pt idx="36021">
                  <c:v>28425</c:v>
                </c:pt>
                <c:pt idx="36022">
                  <c:v>83044</c:v>
                </c:pt>
                <c:pt idx="36023">
                  <c:v>142029</c:v>
                </c:pt>
                <c:pt idx="36024">
                  <c:v>36963</c:v>
                </c:pt>
                <c:pt idx="36025">
                  <c:v>35829</c:v>
                </c:pt>
                <c:pt idx="36026">
                  <c:v>28175</c:v>
                </c:pt>
                <c:pt idx="36027">
                  <c:v>83754</c:v>
                </c:pt>
                <c:pt idx="36028">
                  <c:v>134115</c:v>
                </c:pt>
                <c:pt idx="36029">
                  <c:v>22255</c:v>
                </c:pt>
                <c:pt idx="36030">
                  <c:v>152841</c:v>
                </c:pt>
                <c:pt idx="36031">
                  <c:v>58530</c:v>
                </c:pt>
                <c:pt idx="36032">
                  <c:v>58340</c:v>
                </c:pt>
                <c:pt idx="36033">
                  <c:v>33461</c:v>
                </c:pt>
                <c:pt idx="36034">
                  <c:v>51185</c:v>
                </c:pt>
                <c:pt idx="36035">
                  <c:v>61750</c:v>
                </c:pt>
                <c:pt idx="36036">
                  <c:v>28619</c:v>
                </c:pt>
                <c:pt idx="36037">
                  <c:v>69864</c:v>
                </c:pt>
                <c:pt idx="36038">
                  <c:v>41551</c:v>
                </c:pt>
                <c:pt idx="36039">
                  <c:v>26743</c:v>
                </c:pt>
                <c:pt idx="36040">
                  <c:v>48192</c:v>
                </c:pt>
                <c:pt idx="36041">
                  <c:v>102788</c:v>
                </c:pt>
                <c:pt idx="36042">
                  <c:v>29319</c:v>
                </c:pt>
                <c:pt idx="36043">
                  <c:v>134143</c:v>
                </c:pt>
                <c:pt idx="36044">
                  <c:v>41529</c:v>
                </c:pt>
                <c:pt idx="36045">
                  <c:v>76404</c:v>
                </c:pt>
                <c:pt idx="36046">
                  <c:v>334258</c:v>
                </c:pt>
                <c:pt idx="36047">
                  <c:v>40511</c:v>
                </c:pt>
                <c:pt idx="36048">
                  <c:v>32608</c:v>
                </c:pt>
                <c:pt idx="36049">
                  <c:v>161147</c:v>
                </c:pt>
                <c:pt idx="36050">
                  <c:v>124250</c:v>
                </c:pt>
                <c:pt idx="36051">
                  <c:v>52975</c:v>
                </c:pt>
                <c:pt idx="36052">
                  <c:v>34044</c:v>
                </c:pt>
                <c:pt idx="36053">
                  <c:v>31669</c:v>
                </c:pt>
                <c:pt idx="36054">
                  <c:v>24507</c:v>
                </c:pt>
                <c:pt idx="36055">
                  <c:v>37359</c:v>
                </c:pt>
                <c:pt idx="36056">
                  <c:v>52670</c:v>
                </c:pt>
                <c:pt idx="36057">
                  <c:v>87209</c:v>
                </c:pt>
                <c:pt idx="36058">
                  <c:v>110022</c:v>
                </c:pt>
                <c:pt idx="36059">
                  <c:v>23849</c:v>
                </c:pt>
                <c:pt idx="36060">
                  <c:v>46272</c:v>
                </c:pt>
                <c:pt idx="36061">
                  <c:v>78663</c:v>
                </c:pt>
                <c:pt idx="36062">
                  <c:v>54917</c:v>
                </c:pt>
                <c:pt idx="36063">
                  <c:v>194846</c:v>
                </c:pt>
                <c:pt idx="36064">
                  <c:v>30499</c:v>
                </c:pt>
                <c:pt idx="36065">
                  <c:v>195277</c:v>
                </c:pt>
                <c:pt idx="36066">
                  <c:v>33064</c:v>
                </c:pt>
                <c:pt idx="36067">
                  <c:v>48150</c:v>
                </c:pt>
                <c:pt idx="36068">
                  <c:v>26952</c:v>
                </c:pt>
                <c:pt idx="36069">
                  <c:v>139793</c:v>
                </c:pt>
                <c:pt idx="36070">
                  <c:v>33096</c:v>
                </c:pt>
                <c:pt idx="36071">
                  <c:v>72644</c:v>
                </c:pt>
                <c:pt idx="36072">
                  <c:v>30830</c:v>
                </c:pt>
                <c:pt idx="36073">
                  <c:v>72936</c:v>
                </c:pt>
                <c:pt idx="36074">
                  <c:v>40676</c:v>
                </c:pt>
                <c:pt idx="36075">
                  <c:v>60005</c:v>
                </c:pt>
                <c:pt idx="36076">
                  <c:v>48910</c:v>
                </c:pt>
                <c:pt idx="36077">
                  <c:v>63140</c:v>
                </c:pt>
                <c:pt idx="36078">
                  <c:v>37104</c:v>
                </c:pt>
                <c:pt idx="36079">
                  <c:v>56939</c:v>
                </c:pt>
                <c:pt idx="36080">
                  <c:v>30101</c:v>
                </c:pt>
                <c:pt idx="36081">
                  <c:v>46467</c:v>
                </c:pt>
                <c:pt idx="36082">
                  <c:v>38385</c:v>
                </c:pt>
                <c:pt idx="36083">
                  <c:v>56421</c:v>
                </c:pt>
                <c:pt idx="36084">
                  <c:v>31040</c:v>
                </c:pt>
                <c:pt idx="36085">
                  <c:v>40510</c:v>
                </c:pt>
                <c:pt idx="36086">
                  <c:v>305210</c:v>
                </c:pt>
                <c:pt idx="36087">
                  <c:v>45313</c:v>
                </c:pt>
                <c:pt idx="36088">
                  <c:v>160768</c:v>
                </c:pt>
                <c:pt idx="36089">
                  <c:v>37503</c:v>
                </c:pt>
                <c:pt idx="36090">
                  <c:v>46082</c:v>
                </c:pt>
                <c:pt idx="36091">
                  <c:v>69841</c:v>
                </c:pt>
                <c:pt idx="36092">
                  <c:v>30194</c:v>
                </c:pt>
                <c:pt idx="36093">
                  <c:v>88750</c:v>
                </c:pt>
                <c:pt idx="36094">
                  <c:v>32731</c:v>
                </c:pt>
                <c:pt idx="36095">
                  <c:v>253463</c:v>
                </c:pt>
                <c:pt idx="36096">
                  <c:v>29310</c:v>
                </c:pt>
                <c:pt idx="36097">
                  <c:v>90923</c:v>
                </c:pt>
                <c:pt idx="36098">
                  <c:v>28736</c:v>
                </c:pt>
                <c:pt idx="36099">
                  <c:v>35656</c:v>
                </c:pt>
                <c:pt idx="36100">
                  <c:v>44798</c:v>
                </c:pt>
                <c:pt idx="36101">
                  <c:v>40988</c:v>
                </c:pt>
                <c:pt idx="36102">
                  <c:v>31757</c:v>
                </c:pt>
                <c:pt idx="36103">
                  <c:v>52188</c:v>
                </c:pt>
                <c:pt idx="36104">
                  <c:v>26536</c:v>
                </c:pt>
                <c:pt idx="36105">
                  <c:v>92947</c:v>
                </c:pt>
                <c:pt idx="36106">
                  <c:v>39879</c:v>
                </c:pt>
                <c:pt idx="36107">
                  <c:v>58917</c:v>
                </c:pt>
                <c:pt idx="36108">
                  <c:v>42757</c:v>
                </c:pt>
                <c:pt idx="36109">
                  <c:v>47256</c:v>
                </c:pt>
                <c:pt idx="36110">
                  <c:v>58244</c:v>
                </c:pt>
                <c:pt idx="36111">
                  <c:v>47753</c:v>
                </c:pt>
                <c:pt idx="36112">
                  <c:v>45004</c:v>
                </c:pt>
                <c:pt idx="36113">
                  <c:v>43159</c:v>
                </c:pt>
                <c:pt idx="36114">
                  <c:v>28131</c:v>
                </c:pt>
                <c:pt idx="36115">
                  <c:v>31463</c:v>
                </c:pt>
                <c:pt idx="36116">
                  <c:v>86095</c:v>
                </c:pt>
                <c:pt idx="36117">
                  <c:v>34130</c:v>
                </c:pt>
                <c:pt idx="36118">
                  <c:v>25296</c:v>
                </c:pt>
                <c:pt idx="36119">
                  <c:v>22648</c:v>
                </c:pt>
                <c:pt idx="36120">
                  <c:v>24032</c:v>
                </c:pt>
                <c:pt idx="36121">
                  <c:v>23844</c:v>
                </c:pt>
                <c:pt idx="36122">
                  <c:v>23035</c:v>
                </c:pt>
                <c:pt idx="36123">
                  <c:v>31481</c:v>
                </c:pt>
                <c:pt idx="36124">
                  <c:v>26620</c:v>
                </c:pt>
                <c:pt idx="36125">
                  <c:v>55114</c:v>
                </c:pt>
                <c:pt idx="36126">
                  <c:v>32777</c:v>
                </c:pt>
                <c:pt idx="36127">
                  <c:v>60464</c:v>
                </c:pt>
                <c:pt idx="36128">
                  <c:v>32870</c:v>
                </c:pt>
                <c:pt idx="36129">
                  <c:v>97129</c:v>
                </c:pt>
                <c:pt idx="36130">
                  <c:v>25605</c:v>
                </c:pt>
                <c:pt idx="36131">
                  <c:v>36394</c:v>
                </c:pt>
                <c:pt idx="36132">
                  <c:v>65725</c:v>
                </c:pt>
                <c:pt idx="36133">
                  <c:v>53953</c:v>
                </c:pt>
                <c:pt idx="36134">
                  <c:v>59866</c:v>
                </c:pt>
                <c:pt idx="36135">
                  <c:v>143054</c:v>
                </c:pt>
                <c:pt idx="36136">
                  <c:v>40326</c:v>
                </c:pt>
                <c:pt idx="36137">
                  <c:v>47743</c:v>
                </c:pt>
                <c:pt idx="36138">
                  <c:v>61368</c:v>
                </c:pt>
                <c:pt idx="36139">
                  <c:v>62402</c:v>
                </c:pt>
                <c:pt idx="36140">
                  <c:v>160559</c:v>
                </c:pt>
                <c:pt idx="36141">
                  <c:v>43142</c:v>
                </c:pt>
                <c:pt idx="36142">
                  <c:v>64139</c:v>
                </c:pt>
                <c:pt idx="36143">
                  <c:v>42578</c:v>
                </c:pt>
                <c:pt idx="36144">
                  <c:v>31950</c:v>
                </c:pt>
                <c:pt idx="36145">
                  <c:v>38170</c:v>
                </c:pt>
                <c:pt idx="36146">
                  <c:v>147537</c:v>
                </c:pt>
                <c:pt idx="36147">
                  <c:v>45561</c:v>
                </c:pt>
                <c:pt idx="36148">
                  <c:v>55503</c:v>
                </c:pt>
                <c:pt idx="36149">
                  <c:v>147741</c:v>
                </c:pt>
                <c:pt idx="36150">
                  <c:v>112453</c:v>
                </c:pt>
                <c:pt idx="36151">
                  <c:v>132428</c:v>
                </c:pt>
                <c:pt idx="36152">
                  <c:v>62390</c:v>
                </c:pt>
                <c:pt idx="36153">
                  <c:v>64018</c:v>
                </c:pt>
                <c:pt idx="36154">
                  <c:v>28694</c:v>
                </c:pt>
                <c:pt idx="36155">
                  <c:v>55429</c:v>
                </c:pt>
                <c:pt idx="36156">
                  <c:v>53122</c:v>
                </c:pt>
                <c:pt idx="36157">
                  <c:v>133534</c:v>
                </c:pt>
                <c:pt idx="36158">
                  <c:v>35628</c:v>
                </c:pt>
                <c:pt idx="36159">
                  <c:v>28049</c:v>
                </c:pt>
                <c:pt idx="36160">
                  <c:v>46450</c:v>
                </c:pt>
                <c:pt idx="36161">
                  <c:v>85627</c:v>
                </c:pt>
                <c:pt idx="36162">
                  <c:v>31596</c:v>
                </c:pt>
                <c:pt idx="36163">
                  <c:v>79498</c:v>
                </c:pt>
                <c:pt idx="36164">
                  <c:v>38916</c:v>
                </c:pt>
                <c:pt idx="36165">
                  <c:v>24563</c:v>
                </c:pt>
                <c:pt idx="36166">
                  <c:v>47925</c:v>
                </c:pt>
                <c:pt idx="36167">
                  <c:v>40022</c:v>
                </c:pt>
                <c:pt idx="36168">
                  <c:v>49946</c:v>
                </c:pt>
                <c:pt idx="36169">
                  <c:v>34538</c:v>
                </c:pt>
                <c:pt idx="36170">
                  <c:v>263743</c:v>
                </c:pt>
                <c:pt idx="36171">
                  <c:v>37786</c:v>
                </c:pt>
                <c:pt idx="36172">
                  <c:v>181946</c:v>
                </c:pt>
                <c:pt idx="36173">
                  <c:v>25155</c:v>
                </c:pt>
                <c:pt idx="36174">
                  <c:v>62090</c:v>
                </c:pt>
                <c:pt idx="36175">
                  <c:v>20872</c:v>
                </c:pt>
                <c:pt idx="36176">
                  <c:v>26593</c:v>
                </c:pt>
                <c:pt idx="36177">
                  <c:v>26566</c:v>
                </c:pt>
                <c:pt idx="36178">
                  <c:v>256465</c:v>
                </c:pt>
                <c:pt idx="36179">
                  <c:v>28288</c:v>
                </c:pt>
                <c:pt idx="36180">
                  <c:v>26425</c:v>
                </c:pt>
                <c:pt idx="36181">
                  <c:v>42405</c:v>
                </c:pt>
                <c:pt idx="36182">
                  <c:v>27198</c:v>
                </c:pt>
                <c:pt idx="36183">
                  <c:v>157903</c:v>
                </c:pt>
                <c:pt idx="36184">
                  <c:v>32598</c:v>
                </c:pt>
                <c:pt idx="36185">
                  <c:v>59389</c:v>
                </c:pt>
                <c:pt idx="36186">
                  <c:v>57317</c:v>
                </c:pt>
                <c:pt idx="36187">
                  <c:v>21400</c:v>
                </c:pt>
                <c:pt idx="36188">
                  <c:v>25879</c:v>
                </c:pt>
                <c:pt idx="36189">
                  <c:v>22006</c:v>
                </c:pt>
                <c:pt idx="36190">
                  <c:v>35726</c:v>
                </c:pt>
                <c:pt idx="36191">
                  <c:v>27758</c:v>
                </c:pt>
                <c:pt idx="36192">
                  <c:v>41949</c:v>
                </c:pt>
                <c:pt idx="36193">
                  <c:v>42747</c:v>
                </c:pt>
                <c:pt idx="36194">
                  <c:v>34528</c:v>
                </c:pt>
                <c:pt idx="36195">
                  <c:v>70072</c:v>
                </c:pt>
                <c:pt idx="36196">
                  <c:v>51697</c:v>
                </c:pt>
                <c:pt idx="36197">
                  <c:v>32591</c:v>
                </c:pt>
                <c:pt idx="36198">
                  <c:v>54126</c:v>
                </c:pt>
                <c:pt idx="36199">
                  <c:v>49448</c:v>
                </c:pt>
                <c:pt idx="36200">
                  <c:v>69320</c:v>
                </c:pt>
                <c:pt idx="36201">
                  <c:v>37045</c:v>
                </c:pt>
                <c:pt idx="36202">
                  <c:v>24476</c:v>
                </c:pt>
                <c:pt idx="36203">
                  <c:v>38645</c:v>
                </c:pt>
                <c:pt idx="36204">
                  <c:v>24296</c:v>
                </c:pt>
                <c:pt idx="36205">
                  <c:v>114990</c:v>
                </c:pt>
                <c:pt idx="36206">
                  <c:v>30837</c:v>
                </c:pt>
                <c:pt idx="36207">
                  <c:v>22619</c:v>
                </c:pt>
                <c:pt idx="36208">
                  <c:v>27077</c:v>
                </c:pt>
                <c:pt idx="36209">
                  <c:v>37316</c:v>
                </c:pt>
                <c:pt idx="36210">
                  <c:v>49185</c:v>
                </c:pt>
                <c:pt idx="36211">
                  <c:v>160968</c:v>
                </c:pt>
                <c:pt idx="36212">
                  <c:v>28796</c:v>
                </c:pt>
                <c:pt idx="36213">
                  <c:v>28174</c:v>
                </c:pt>
                <c:pt idx="36214">
                  <c:v>20694</c:v>
                </c:pt>
                <c:pt idx="36215">
                  <c:v>37899</c:v>
                </c:pt>
                <c:pt idx="36216">
                  <c:v>43246</c:v>
                </c:pt>
                <c:pt idx="36217">
                  <c:v>57378</c:v>
                </c:pt>
                <c:pt idx="36218">
                  <c:v>231955</c:v>
                </c:pt>
                <c:pt idx="36219">
                  <c:v>32585</c:v>
                </c:pt>
                <c:pt idx="36220">
                  <c:v>427301</c:v>
                </c:pt>
                <c:pt idx="36221">
                  <c:v>50795</c:v>
                </c:pt>
                <c:pt idx="36222">
                  <c:v>44382</c:v>
                </c:pt>
                <c:pt idx="36223">
                  <c:v>36308</c:v>
                </c:pt>
                <c:pt idx="36224">
                  <c:v>41809</c:v>
                </c:pt>
                <c:pt idx="36225">
                  <c:v>28744</c:v>
                </c:pt>
                <c:pt idx="36226">
                  <c:v>159635</c:v>
                </c:pt>
                <c:pt idx="36227">
                  <c:v>76701</c:v>
                </c:pt>
                <c:pt idx="36228">
                  <c:v>24807</c:v>
                </c:pt>
                <c:pt idx="36229">
                  <c:v>68493</c:v>
                </c:pt>
                <c:pt idx="36230">
                  <c:v>40027</c:v>
                </c:pt>
                <c:pt idx="36231">
                  <c:v>55320</c:v>
                </c:pt>
                <c:pt idx="36232">
                  <c:v>39222</c:v>
                </c:pt>
                <c:pt idx="36233">
                  <c:v>42819</c:v>
                </c:pt>
                <c:pt idx="36234">
                  <c:v>109157</c:v>
                </c:pt>
                <c:pt idx="36235">
                  <c:v>26700</c:v>
                </c:pt>
                <c:pt idx="36236">
                  <c:v>24937</c:v>
                </c:pt>
                <c:pt idx="36237">
                  <c:v>54993</c:v>
                </c:pt>
                <c:pt idx="36238">
                  <c:v>23624</c:v>
                </c:pt>
                <c:pt idx="36239">
                  <c:v>71291</c:v>
                </c:pt>
                <c:pt idx="36240">
                  <c:v>33047</c:v>
                </c:pt>
                <c:pt idx="36241">
                  <c:v>63571</c:v>
                </c:pt>
                <c:pt idx="36242">
                  <c:v>70909</c:v>
                </c:pt>
                <c:pt idx="36243">
                  <c:v>114201</c:v>
                </c:pt>
                <c:pt idx="36244">
                  <c:v>35148</c:v>
                </c:pt>
                <c:pt idx="36245">
                  <c:v>41645</c:v>
                </c:pt>
                <c:pt idx="36246">
                  <c:v>47956</c:v>
                </c:pt>
                <c:pt idx="36247">
                  <c:v>64066</c:v>
                </c:pt>
                <c:pt idx="36248">
                  <c:v>68752</c:v>
                </c:pt>
                <c:pt idx="36249">
                  <c:v>31275</c:v>
                </c:pt>
                <c:pt idx="36250">
                  <c:v>24698</c:v>
                </c:pt>
                <c:pt idx="36251">
                  <c:v>87127</c:v>
                </c:pt>
                <c:pt idx="36252">
                  <c:v>37562</c:v>
                </c:pt>
                <c:pt idx="36253">
                  <c:v>111513</c:v>
                </c:pt>
                <c:pt idx="36254">
                  <c:v>23080</c:v>
                </c:pt>
                <c:pt idx="36255">
                  <c:v>146282</c:v>
                </c:pt>
                <c:pt idx="36256">
                  <c:v>49247</c:v>
                </c:pt>
                <c:pt idx="36257">
                  <c:v>35672</c:v>
                </c:pt>
                <c:pt idx="36258">
                  <c:v>46376</c:v>
                </c:pt>
                <c:pt idx="36259">
                  <c:v>34558</c:v>
                </c:pt>
                <c:pt idx="36260">
                  <c:v>51502</c:v>
                </c:pt>
                <c:pt idx="36261">
                  <c:v>46396</c:v>
                </c:pt>
                <c:pt idx="36262">
                  <c:v>219937</c:v>
                </c:pt>
                <c:pt idx="36263">
                  <c:v>41299</c:v>
                </c:pt>
                <c:pt idx="36264">
                  <c:v>171112</c:v>
                </c:pt>
                <c:pt idx="36265">
                  <c:v>103627</c:v>
                </c:pt>
                <c:pt idx="36266">
                  <c:v>38246</c:v>
                </c:pt>
                <c:pt idx="36267">
                  <c:v>40876</c:v>
                </c:pt>
                <c:pt idx="36268">
                  <c:v>69954</c:v>
                </c:pt>
                <c:pt idx="36269">
                  <c:v>40961</c:v>
                </c:pt>
                <c:pt idx="36270">
                  <c:v>81914</c:v>
                </c:pt>
                <c:pt idx="36271">
                  <c:v>43336</c:v>
                </c:pt>
                <c:pt idx="36272">
                  <c:v>33193</c:v>
                </c:pt>
                <c:pt idx="36273">
                  <c:v>29682</c:v>
                </c:pt>
                <c:pt idx="36274">
                  <c:v>35168</c:v>
                </c:pt>
                <c:pt idx="36275">
                  <c:v>76026</c:v>
                </c:pt>
                <c:pt idx="36276">
                  <c:v>40905</c:v>
                </c:pt>
                <c:pt idx="36277">
                  <c:v>77827</c:v>
                </c:pt>
                <c:pt idx="36278">
                  <c:v>26730</c:v>
                </c:pt>
                <c:pt idx="36279">
                  <c:v>23009</c:v>
                </c:pt>
                <c:pt idx="36280">
                  <c:v>49410</c:v>
                </c:pt>
                <c:pt idx="36281">
                  <c:v>24749</c:v>
                </c:pt>
                <c:pt idx="36282">
                  <c:v>189290</c:v>
                </c:pt>
                <c:pt idx="36283">
                  <c:v>28747</c:v>
                </c:pt>
                <c:pt idx="36284">
                  <c:v>69471</c:v>
                </c:pt>
                <c:pt idx="36285">
                  <c:v>41663</c:v>
                </c:pt>
                <c:pt idx="36286">
                  <c:v>35126</c:v>
                </c:pt>
                <c:pt idx="36287">
                  <c:v>35176</c:v>
                </c:pt>
                <c:pt idx="36288">
                  <c:v>66170</c:v>
                </c:pt>
                <c:pt idx="36289">
                  <c:v>91622</c:v>
                </c:pt>
                <c:pt idx="36290">
                  <c:v>98692</c:v>
                </c:pt>
                <c:pt idx="36291">
                  <c:v>280798</c:v>
                </c:pt>
                <c:pt idx="36292">
                  <c:v>32901</c:v>
                </c:pt>
                <c:pt idx="36293">
                  <c:v>48421</c:v>
                </c:pt>
                <c:pt idx="36294">
                  <c:v>39948</c:v>
                </c:pt>
                <c:pt idx="36295">
                  <c:v>71566</c:v>
                </c:pt>
                <c:pt idx="36296">
                  <c:v>66088</c:v>
                </c:pt>
                <c:pt idx="36297">
                  <c:v>42057</c:v>
                </c:pt>
                <c:pt idx="36298">
                  <c:v>21517</c:v>
                </c:pt>
                <c:pt idx="36299">
                  <c:v>74873</c:v>
                </c:pt>
                <c:pt idx="36300">
                  <c:v>59583</c:v>
                </c:pt>
                <c:pt idx="36301">
                  <c:v>36795</c:v>
                </c:pt>
                <c:pt idx="36302">
                  <c:v>32357</c:v>
                </c:pt>
                <c:pt idx="36303">
                  <c:v>28975</c:v>
                </c:pt>
                <c:pt idx="36304">
                  <c:v>40540</c:v>
                </c:pt>
                <c:pt idx="36305">
                  <c:v>22480</c:v>
                </c:pt>
                <c:pt idx="36306">
                  <c:v>41301</c:v>
                </c:pt>
                <c:pt idx="36307">
                  <c:v>39175</c:v>
                </c:pt>
                <c:pt idx="36308">
                  <c:v>25316</c:v>
                </c:pt>
                <c:pt idx="36309">
                  <c:v>32872</c:v>
                </c:pt>
                <c:pt idx="36310">
                  <c:v>41866</c:v>
                </c:pt>
                <c:pt idx="36311">
                  <c:v>43373</c:v>
                </c:pt>
                <c:pt idx="36312">
                  <c:v>44351</c:v>
                </c:pt>
                <c:pt idx="36313">
                  <c:v>64429</c:v>
                </c:pt>
                <c:pt idx="36314">
                  <c:v>38104</c:v>
                </c:pt>
                <c:pt idx="36315">
                  <c:v>37464</c:v>
                </c:pt>
                <c:pt idx="36316">
                  <c:v>20479</c:v>
                </c:pt>
                <c:pt idx="36317">
                  <c:v>48711</c:v>
                </c:pt>
                <c:pt idx="36318">
                  <c:v>68308</c:v>
                </c:pt>
                <c:pt idx="36319">
                  <c:v>51794</c:v>
                </c:pt>
                <c:pt idx="36320">
                  <c:v>146216</c:v>
                </c:pt>
                <c:pt idx="36321">
                  <c:v>33290</c:v>
                </c:pt>
                <c:pt idx="36322">
                  <c:v>39844</c:v>
                </c:pt>
                <c:pt idx="36323">
                  <c:v>35518</c:v>
                </c:pt>
                <c:pt idx="36324">
                  <c:v>38668</c:v>
                </c:pt>
                <c:pt idx="36325">
                  <c:v>32166</c:v>
                </c:pt>
                <c:pt idx="36326">
                  <c:v>32335</c:v>
                </c:pt>
                <c:pt idx="36327">
                  <c:v>54646</c:v>
                </c:pt>
                <c:pt idx="36328">
                  <c:v>148460</c:v>
                </c:pt>
                <c:pt idx="36329">
                  <c:v>36140</c:v>
                </c:pt>
                <c:pt idx="36330">
                  <c:v>24810</c:v>
                </c:pt>
                <c:pt idx="36331">
                  <c:v>38631</c:v>
                </c:pt>
                <c:pt idx="36332">
                  <c:v>39911</c:v>
                </c:pt>
                <c:pt idx="36333">
                  <c:v>37775</c:v>
                </c:pt>
                <c:pt idx="36334">
                  <c:v>53323</c:v>
                </c:pt>
                <c:pt idx="36335">
                  <c:v>48167</c:v>
                </c:pt>
                <c:pt idx="36336">
                  <c:v>36690</c:v>
                </c:pt>
                <c:pt idx="36337">
                  <c:v>22721</c:v>
                </c:pt>
                <c:pt idx="36338">
                  <c:v>25992</c:v>
                </c:pt>
                <c:pt idx="36339">
                  <c:v>69273</c:v>
                </c:pt>
                <c:pt idx="36340">
                  <c:v>87098</c:v>
                </c:pt>
                <c:pt idx="36341">
                  <c:v>33941</c:v>
                </c:pt>
                <c:pt idx="36342">
                  <c:v>53259</c:v>
                </c:pt>
                <c:pt idx="36343">
                  <c:v>24092</c:v>
                </c:pt>
                <c:pt idx="36344">
                  <c:v>59719</c:v>
                </c:pt>
                <c:pt idx="36345">
                  <c:v>135160</c:v>
                </c:pt>
                <c:pt idx="36346">
                  <c:v>32448</c:v>
                </c:pt>
                <c:pt idx="36347">
                  <c:v>41516</c:v>
                </c:pt>
                <c:pt idx="36348">
                  <c:v>30171</c:v>
                </c:pt>
                <c:pt idx="36349">
                  <c:v>31507</c:v>
                </c:pt>
                <c:pt idx="36350">
                  <c:v>47909</c:v>
                </c:pt>
                <c:pt idx="36351">
                  <c:v>33436</c:v>
                </c:pt>
                <c:pt idx="36352">
                  <c:v>40582</c:v>
                </c:pt>
                <c:pt idx="36353">
                  <c:v>42479</c:v>
                </c:pt>
                <c:pt idx="36354">
                  <c:v>46184</c:v>
                </c:pt>
                <c:pt idx="36355">
                  <c:v>149995</c:v>
                </c:pt>
                <c:pt idx="36356">
                  <c:v>166761</c:v>
                </c:pt>
                <c:pt idx="36357">
                  <c:v>44079</c:v>
                </c:pt>
                <c:pt idx="36358">
                  <c:v>166421</c:v>
                </c:pt>
                <c:pt idx="36359">
                  <c:v>26573</c:v>
                </c:pt>
                <c:pt idx="36360">
                  <c:v>296526</c:v>
                </c:pt>
                <c:pt idx="36361">
                  <c:v>39241</c:v>
                </c:pt>
                <c:pt idx="36362">
                  <c:v>209939</c:v>
                </c:pt>
                <c:pt idx="36363">
                  <c:v>29668</c:v>
                </c:pt>
                <c:pt idx="36364">
                  <c:v>58081</c:v>
                </c:pt>
                <c:pt idx="36365">
                  <c:v>89443</c:v>
                </c:pt>
                <c:pt idx="36366">
                  <c:v>71027</c:v>
                </c:pt>
                <c:pt idx="36367">
                  <c:v>51370</c:v>
                </c:pt>
                <c:pt idx="36368">
                  <c:v>27793</c:v>
                </c:pt>
                <c:pt idx="36369">
                  <c:v>144402</c:v>
                </c:pt>
                <c:pt idx="36370">
                  <c:v>31399</c:v>
                </c:pt>
                <c:pt idx="36371">
                  <c:v>165605</c:v>
                </c:pt>
                <c:pt idx="36372">
                  <c:v>32493</c:v>
                </c:pt>
                <c:pt idx="36373">
                  <c:v>27696</c:v>
                </c:pt>
                <c:pt idx="36374">
                  <c:v>89267</c:v>
                </c:pt>
                <c:pt idx="36375">
                  <c:v>26530</c:v>
                </c:pt>
                <c:pt idx="36376">
                  <c:v>40919</c:v>
                </c:pt>
                <c:pt idx="36377">
                  <c:v>50748</c:v>
                </c:pt>
                <c:pt idx="36378">
                  <c:v>54324</c:v>
                </c:pt>
                <c:pt idx="36379">
                  <c:v>31975</c:v>
                </c:pt>
                <c:pt idx="36380">
                  <c:v>22486</c:v>
                </c:pt>
                <c:pt idx="36381">
                  <c:v>67797</c:v>
                </c:pt>
                <c:pt idx="36382">
                  <c:v>28362</c:v>
                </c:pt>
                <c:pt idx="36383">
                  <c:v>44391</c:v>
                </c:pt>
                <c:pt idx="36384">
                  <c:v>36282</c:v>
                </c:pt>
                <c:pt idx="36385">
                  <c:v>80683</c:v>
                </c:pt>
                <c:pt idx="36386">
                  <c:v>33391</c:v>
                </c:pt>
                <c:pt idx="36387">
                  <c:v>93529</c:v>
                </c:pt>
                <c:pt idx="36388">
                  <c:v>65752</c:v>
                </c:pt>
                <c:pt idx="36389">
                  <c:v>30899</c:v>
                </c:pt>
                <c:pt idx="36390">
                  <c:v>103788</c:v>
                </c:pt>
                <c:pt idx="36391">
                  <c:v>56642</c:v>
                </c:pt>
                <c:pt idx="36392">
                  <c:v>36555</c:v>
                </c:pt>
                <c:pt idx="36393">
                  <c:v>60953</c:v>
                </c:pt>
                <c:pt idx="36394">
                  <c:v>136344</c:v>
                </c:pt>
                <c:pt idx="36395">
                  <c:v>31292</c:v>
                </c:pt>
                <c:pt idx="36396">
                  <c:v>244248</c:v>
                </c:pt>
                <c:pt idx="36397">
                  <c:v>72511</c:v>
                </c:pt>
                <c:pt idx="36398">
                  <c:v>30435</c:v>
                </c:pt>
                <c:pt idx="36399">
                  <c:v>55460</c:v>
                </c:pt>
                <c:pt idx="36400">
                  <c:v>41521</c:v>
                </c:pt>
                <c:pt idx="36401">
                  <c:v>90574</c:v>
                </c:pt>
                <c:pt idx="36402">
                  <c:v>19692</c:v>
                </c:pt>
                <c:pt idx="36403">
                  <c:v>26393</c:v>
                </c:pt>
                <c:pt idx="36404">
                  <c:v>128779</c:v>
                </c:pt>
                <c:pt idx="36405">
                  <c:v>27774</c:v>
                </c:pt>
                <c:pt idx="36406">
                  <c:v>65228</c:v>
                </c:pt>
                <c:pt idx="36407">
                  <c:v>125200</c:v>
                </c:pt>
                <c:pt idx="36408">
                  <c:v>43475</c:v>
                </c:pt>
                <c:pt idx="36409">
                  <c:v>25628</c:v>
                </c:pt>
                <c:pt idx="36410">
                  <c:v>107900</c:v>
                </c:pt>
                <c:pt idx="36411">
                  <c:v>40459</c:v>
                </c:pt>
                <c:pt idx="36412">
                  <c:v>139051</c:v>
                </c:pt>
                <c:pt idx="36413">
                  <c:v>115287</c:v>
                </c:pt>
                <c:pt idx="36414">
                  <c:v>36755</c:v>
                </c:pt>
                <c:pt idx="36415">
                  <c:v>33856</c:v>
                </c:pt>
                <c:pt idx="36416">
                  <c:v>137703</c:v>
                </c:pt>
                <c:pt idx="36417">
                  <c:v>29834</c:v>
                </c:pt>
                <c:pt idx="36418">
                  <c:v>45691</c:v>
                </c:pt>
                <c:pt idx="36419">
                  <c:v>35454</c:v>
                </c:pt>
                <c:pt idx="36420">
                  <c:v>29407</c:v>
                </c:pt>
                <c:pt idx="36421">
                  <c:v>58800</c:v>
                </c:pt>
                <c:pt idx="36422">
                  <c:v>34901</c:v>
                </c:pt>
                <c:pt idx="36423">
                  <c:v>35011</c:v>
                </c:pt>
                <c:pt idx="36424">
                  <c:v>23116</c:v>
                </c:pt>
                <c:pt idx="36425">
                  <c:v>29268</c:v>
                </c:pt>
                <c:pt idx="36426">
                  <c:v>36576</c:v>
                </c:pt>
                <c:pt idx="36427">
                  <c:v>21949</c:v>
                </c:pt>
                <c:pt idx="36428">
                  <c:v>33558</c:v>
                </c:pt>
                <c:pt idx="36429">
                  <c:v>27626</c:v>
                </c:pt>
                <c:pt idx="36430">
                  <c:v>25566</c:v>
                </c:pt>
                <c:pt idx="36431">
                  <c:v>34883</c:v>
                </c:pt>
                <c:pt idx="36432">
                  <c:v>139386</c:v>
                </c:pt>
                <c:pt idx="36433">
                  <c:v>55943</c:v>
                </c:pt>
                <c:pt idx="36434">
                  <c:v>27198</c:v>
                </c:pt>
                <c:pt idx="36435">
                  <c:v>46901</c:v>
                </c:pt>
                <c:pt idx="36436">
                  <c:v>23797</c:v>
                </c:pt>
                <c:pt idx="36437">
                  <c:v>27509</c:v>
                </c:pt>
                <c:pt idx="36438">
                  <c:v>20487</c:v>
                </c:pt>
                <c:pt idx="36439">
                  <c:v>29568</c:v>
                </c:pt>
                <c:pt idx="36440">
                  <c:v>79601</c:v>
                </c:pt>
                <c:pt idx="36441">
                  <c:v>32166</c:v>
                </c:pt>
                <c:pt idx="36442">
                  <c:v>116099</c:v>
                </c:pt>
                <c:pt idx="36443">
                  <c:v>91400</c:v>
                </c:pt>
                <c:pt idx="36444">
                  <c:v>43233</c:v>
                </c:pt>
                <c:pt idx="36445">
                  <c:v>66490</c:v>
                </c:pt>
                <c:pt idx="36446">
                  <c:v>26693</c:v>
                </c:pt>
                <c:pt idx="36447">
                  <c:v>117507</c:v>
                </c:pt>
                <c:pt idx="36448">
                  <c:v>115684</c:v>
                </c:pt>
                <c:pt idx="36449">
                  <c:v>45601</c:v>
                </c:pt>
                <c:pt idx="36450">
                  <c:v>79437</c:v>
                </c:pt>
                <c:pt idx="36451">
                  <c:v>154299</c:v>
                </c:pt>
                <c:pt idx="36452">
                  <c:v>47661</c:v>
                </c:pt>
                <c:pt idx="36453">
                  <c:v>69256</c:v>
                </c:pt>
                <c:pt idx="36454">
                  <c:v>37568</c:v>
                </c:pt>
                <c:pt idx="36455">
                  <c:v>47434</c:v>
                </c:pt>
                <c:pt idx="36456">
                  <c:v>49010</c:v>
                </c:pt>
                <c:pt idx="36457">
                  <c:v>24267</c:v>
                </c:pt>
                <c:pt idx="36458">
                  <c:v>24102</c:v>
                </c:pt>
                <c:pt idx="36459">
                  <c:v>39832</c:v>
                </c:pt>
                <c:pt idx="36460">
                  <c:v>86524</c:v>
                </c:pt>
                <c:pt idx="36461">
                  <c:v>33504</c:v>
                </c:pt>
                <c:pt idx="36462">
                  <c:v>82428</c:v>
                </c:pt>
                <c:pt idx="36463">
                  <c:v>40760</c:v>
                </c:pt>
                <c:pt idx="36464">
                  <c:v>33940</c:v>
                </c:pt>
                <c:pt idx="36465">
                  <c:v>157311</c:v>
                </c:pt>
                <c:pt idx="36466">
                  <c:v>25357</c:v>
                </c:pt>
                <c:pt idx="36467">
                  <c:v>227367</c:v>
                </c:pt>
                <c:pt idx="36468">
                  <c:v>25680</c:v>
                </c:pt>
                <c:pt idx="36469">
                  <c:v>31753</c:v>
                </c:pt>
                <c:pt idx="36470">
                  <c:v>34268</c:v>
                </c:pt>
                <c:pt idx="36471">
                  <c:v>159805</c:v>
                </c:pt>
                <c:pt idx="36472">
                  <c:v>33534</c:v>
                </c:pt>
                <c:pt idx="36473">
                  <c:v>37700</c:v>
                </c:pt>
                <c:pt idx="36474">
                  <c:v>46189</c:v>
                </c:pt>
                <c:pt idx="36475">
                  <c:v>49272</c:v>
                </c:pt>
                <c:pt idx="36476">
                  <c:v>29771</c:v>
                </c:pt>
                <c:pt idx="36477">
                  <c:v>22145</c:v>
                </c:pt>
                <c:pt idx="36478">
                  <c:v>33358</c:v>
                </c:pt>
                <c:pt idx="36479">
                  <c:v>63411</c:v>
                </c:pt>
                <c:pt idx="36480">
                  <c:v>30234</c:v>
                </c:pt>
                <c:pt idx="36481">
                  <c:v>45288</c:v>
                </c:pt>
                <c:pt idx="36482">
                  <c:v>26170</c:v>
                </c:pt>
                <c:pt idx="36483">
                  <c:v>22691</c:v>
                </c:pt>
                <c:pt idx="36484">
                  <c:v>89363</c:v>
                </c:pt>
                <c:pt idx="36485">
                  <c:v>44715</c:v>
                </c:pt>
                <c:pt idx="36486">
                  <c:v>25868</c:v>
                </c:pt>
                <c:pt idx="36487">
                  <c:v>59706</c:v>
                </c:pt>
                <c:pt idx="36488">
                  <c:v>37110</c:v>
                </c:pt>
                <c:pt idx="36489">
                  <c:v>55561</c:v>
                </c:pt>
                <c:pt idx="36490">
                  <c:v>58543</c:v>
                </c:pt>
                <c:pt idx="36491">
                  <c:v>210563</c:v>
                </c:pt>
                <c:pt idx="36492">
                  <c:v>30015</c:v>
                </c:pt>
                <c:pt idx="36493">
                  <c:v>37248</c:v>
                </c:pt>
                <c:pt idx="36494">
                  <c:v>43777</c:v>
                </c:pt>
                <c:pt idx="36495">
                  <c:v>76788</c:v>
                </c:pt>
                <c:pt idx="36496">
                  <c:v>123097</c:v>
                </c:pt>
                <c:pt idx="36497">
                  <c:v>30477</c:v>
                </c:pt>
                <c:pt idx="36498">
                  <c:v>42541</c:v>
                </c:pt>
                <c:pt idx="36499">
                  <c:v>37101</c:v>
                </c:pt>
                <c:pt idx="36500">
                  <c:v>39235</c:v>
                </c:pt>
                <c:pt idx="36501">
                  <c:v>34415</c:v>
                </c:pt>
                <c:pt idx="36502">
                  <c:v>84032</c:v>
                </c:pt>
                <c:pt idx="36503">
                  <c:v>24894</c:v>
                </c:pt>
                <c:pt idx="36504">
                  <c:v>37795</c:v>
                </c:pt>
                <c:pt idx="36505">
                  <c:v>47469</c:v>
                </c:pt>
                <c:pt idx="36506">
                  <c:v>107107</c:v>
                </c:pt>
                <c:pt idx="36507">
                  <c:v>49830</c:v>
                </c:pt>
                <c:pt idx="36508">
                  <c:v>38648</c:v>
                </c:pt>
                <c:pt idx="36509">
                  <c:v>91798</c:v>
                </c:pt>
                <c:pt idx="36510">
                  <c:v>192483</c:v>
                </c:pt>
                <c:pt idx="36511">
                  <c:v>99780</c:v>
                </c:pt>
                <c:pt idx="36512">
                  <c:v>64200</c:v>
                </c:pt>
                <c:pt idx="36513">
                  <c:v>33429</c:v>
                </c:pt>
                <c:pt idx="36514">
                  <c:v>73058</c:v>
                </c:pt>
                <c:pt idx="36515">
                  <c:v>37390</c:v>
                </c:pt>
                <c:pt idx="36516">
                  <c:v>34990</c:v>
                </c:pt>
                <c:pt idx="36517">
                  <c:v>33195</c:v>
                </c:pt>
                <c:pt idx="36518">
                  <c:v>54866</c:v>
                </c:pt>
                <c:pt idx="36519">
                  <c:v>39333</c:v>
                </c:pt>
                <c:pt idx="36520">
                  <c:v>39317</c:v>
                </c:pt>
                <c:pt idx="36521">
                  <c:v>26281</c:v>
                </c:pt>
                <c:pt idx="36522">
                  <c:v>39789</c:v>
                </c:pt>
                <c:pt idx="36523">
                  <c:v>37243</c:v>
                </c:pt>
                <c:pt idx="36524">
                  <c:v>42401</c:v>
                </c:pt>
                <c:pt idx="36525">
                  <c:v>30168</c:v>
                </c:pt>
                <c:pt idx="36526">
                  <c:v>38251</c:v>
                </c:pt>
                <c:pt idx="36527">
                  <c:v>73600</c:v>
                </c:pt>
                <c:pt idx="36528">
                  <c:v>56402</c:v>
                </c:pt>
                <c:pt idx="36529">
                  <c:v>23714</c:v>
                </c:pt>
                <c:pt idx="36530">
                  <c:v>24898</c:v>
                </c:pt>
                <c:pt idx="36531">
                  <c:v>48877</c:v>
                </c:pt>
                <c:pt idx="36532">
                  <c:v>50735</c:v>
                </c:pt>
                <c:pt idx="36533">
                  <c:v>31450</c:v>
                </c:pt>
                <c:pt idx="36534">
                  <c:v>87214</c:v>
                </c:pt>
                <c:pt idx="36535">
                  <c:v>21138</c:v>
                </c:pt>
                <c:pt idx="36536">
                  <c:v>32805</c:v>
                </c:pt>
                <c:pt idx="36537">
                  <c:v>31594</c:v>
                </c:pt>
                <c:pt idx="36538">
                  <c:v>20641</c:v>
                </c:pt>
                <c:pt idx="36539">
                  <c:v>38172</c:v>
                </c:pt>
                <c:pt idx="36540">
                  <c:v>146667</c:v>
                </c:pt>
                <c:pt idx="36541">
                  <c:v>55451</c:v>
                </c:pt>
                <c:pt idx="36542">
                  <c:v>35312</c:v>
                </c:pt>
                <c:pt idx="36543">
                  <c:v>33061</c:v>
                </c:pt>
                <c:pt idx="36544">
                  <c:v>40476</c:v>
                </c:pt>
                <c:pt idx="36545">
                  <c:v>46400</c:v>
                </c:pt>
                <c:pt idx="36546">
                  <c:v>26431</c:v>
                </c:pt>
                <c:pt idx="36547">
                  <c:v>85740</c:v>
                </c:pt>
                <c:pt idx="36548">
                  <c:v>62014</c:v>
                </c:pt>
                <c:pt idx="36549">
                  <c:v>38095</c:v>
                </c:pt>
                <c:pt idx="36550">
                  <c:v>46552</c:v>
                </c:pt>
                <c:pt idx="36551">
                  <c:v>49678</c:v>
                </c:pt>
                <c:pt idx="36552">
                  <c:v>30578</c:v>
                </c:pt>
                <c:pt idx="36553">
                  <c:v>25110</c:v>
                </c:pt>
                <c:pt idx="36554">
                  <c:v>45095</c:v>
                </c:pt>
                <c:pt idx="36555">
                  <c:v>35514</c:v>
                </c:pt>
                <c:pt idx="36556">
                  <c:v>47336</c:v>
                </c:pt>
                <c:pt idx="36557">
                  <c:v>98451</c:v>
                </c:pt>
                <c:pt idx="36558">
                  <c:v>39184</c:v>
                </c:pt>
                <c:pt idx="36559">
                  <c:v>37655</c:v>
                </c:pt>
                <c:pt idx="36560">
                  <c:v>62717</c:v>
                </c:pt>
                <c:pt idx="36561">
                  <c:v>48137</c:v>
                </c:pt>
                <c:pt idx="36562">
                  <c:v>35241</c:v>
                </c:pt>
                <c:pt idx="36563">
                  <c:v>29900</c:v>
                </c:pt>
                <c:pt idx="36564">
                  <c:v>36912</c:v>
                </c:pt>
                <c:pt idx="36565">
                  <c:v>30081</c:v>
                </c:pt>
                <c:pt idx="36566">
                  <c:v>148737</c:v>
                </c:pt>
                <c:pt idx="36567">
                  <c:v>34351</c:v>
                </c:pt>
                <c:pt idx="36568">
                  <c:v>52356</c:v>
                </c:pt>
                <c:pt idx="36569">
                  <c:v>48346</c:v>
                </c:pt>
                <c:pt idx="36570">
                  <c:v>51213</c:v>
                </c:pt>
                <c:pt idx="36571">
                  <c:v>58509</c:v>
                </c:pt>
                <c:pt idx="36572">
                  <c:v>42974</c:v>
                </c:pt>
                <c:pt idx="36573">
                  <c:v>51387</c:v>
                </c:pt>
                <c:pt idx="36574">
                  <c:v>115685</c:v>
                </c:pt>
                <c:pt idx="36575">
                  <c:v>47579</c:v>
                </c:pt>
                <c:pt idx="36576">
                  <c:v>32668</c:v>
                </c:pt>
                <c:pt idx="36577">
                  <c:v>141954</c:v>
                </c:pt>
                <c:pt idx="36578">
                  <c:v>61181</c:v>
                </c:pt>
                <c:pt idx="36579">
                  <c:v>100968</c:v>
                </c:pt>
                <c:pt idx="36580">
                  <c:v>46637</c:v>
                </c:pt>
                <c:pt idx="36581">
                  <c:v>25753</c:v>
                </c:pt>
                <c:pt idx="36582">
                  <c:v>191550</c:v>
                </c:pt>
                <c:pt idx="36583">
                  <c:v>32924</c:v>
                </c:pt>
                <c:pt idx="36584">
                  <c:v>58254</c:v>
                </c:pt>
                <c:pt idx="36585">
                  <c:v>26441</c:v>
                </c:pt>
                <c:pt idx="36586">
                  <c:v>29880</c:v>
                </c:pt>
                <c:pt idx="36587">
                  <c:v>24256</c:v>
                </c:pt>
                <c:pt idx="36588">
                  <c:v>74768</c:v>
                </c:pt>
                <c:pt idx="36589">
                  <c:v>29784</c:v>
                </c:pt>
                <c:pt idx="36590">
                  <c:v>49534</c:v>
                </c:pt>
                <c:pt idx="36591">
                  <c:v>42642</c:v>
                </c:pt>
                <c:pt idx="36592">
                  <c:v>24618</c:v>
                </c:pt>
                <c:pt idx="36593">
                  <c:v>23802</c:v>
                </c:pt>
                <c:pt idx="36594">
                  <c:v>136035</c:v>
                </c:pt>
                <c:pt idx="36595">
                  <c:v>22680</c:v>
                </c:pt>
                <c:pt idx="36596">
                  <c:v>34612</c:v>
                </c:pt>
                <c:pt idx="36597">
                  <c:v>39797</c:v>
                </c:pt>
                <c:pt idx="36598">
                  <c:v>39536</c:v>
                </c:pt>
                <c:pt idx="36599">
                  <c:v>72185</c:v>
                </c:pt>
                <c:pt idx="36600">
                  <c:v>41651</c:v>
                </c:pt>
                <c:pt idx="36601">
                  <c:v>69970</c:v>
                </c:pt>
                <c:pt idx="36602">
                  <c:v>60330</c:v>
                </c:pt>
                <c:pt idx="36603">
                  <c:v>45201</c:v>
                </c:pt>
                <c:pt idx="36604">
                  <c:v>46375</c:v>
                </c:pt>
                <c:pt idx="36605">
                  <c:v>64922</c:v>
                </c:pt>
                <c:pt idx="36606">
                  <c:v>102135</c:v>
                </c:pt>
                <c:pt idx="36607">
                  <c:v>73928</c:v>
                </c:pt>
                <c:pt idx="36608">
                  <c:v>23597</c:v>
                </c:pt>
                <c:pt idx="36609">
                  <c:v>40038</c:v>
                </c:pt>
                <c:pt idx="36610">
                  <c:v>180749</c:v>
                </c:pt>
                <c:pt idx="36611">
                  <c:v>40709</c:v>
                </c:pt>
                <c:pt idx="36612">
                  <c:v>86413</c:v>
                </c:pt>
                <c:pt idx="36613">
                  <c:v>47887</c:v>
                </c:pt>
                <c:pt idx="36614">
                  <c:v>32826</c:v>
                </c:pt>
                <c:pt idx="36615">
                  <c:v>26065</c:v>
                </c:pt>
                <c:pt idx="36616">
                  <c:v>78823</c:v>
                </c:pt>
                <c:pt idx="36617">
                  <c:v>38815</c:v>
                </c:pt>
                <c:pt idx="36618">
                  <c:v>168163</c:v>
                </c:pt>
                <c:pt idx="36619">
                  <c:v>40745</c:v>
                </c:pt>
                <c:pt idx="36620">
                  <c:v>61949</c:v>
                </c:pt>
                <c:pt idx="36621">
                  <c:v>48244</c:v>
                </c:pt>
                <c:pt idx="36622">
                  <c:v>47660</c:v>
                </c:pt>
                <c:pt idx="36623">
                  <c:v>38608</c:v>
                </c:pt>
                <c:pt idx="36624">
                  <c:v>55434</c:v>
                </c:pt>
                <c:pt idx="36625">
                  <c:v>20799</c:v>
                </c:pt>
                <c:pt idx="36626">
                  <c:v>23588</c:v>
                </c:pt>
                <c:pt idx="36627">
                  <c:v>35646</c:v>
                </c:pt>
                <c:pt idx="36628">
                  <c:v>93584</c:v>
                </c:pt>
                <c:pt idx="36629">
                  <c:v>53946</c:v>
                </c:pt>
                <c:pt idx="36630">
                  <c:v>34921</c:v>
                </c:pt>
                <c:pt idx="36631">
                  <c:v>96625</c:v>
                </c:pt>
                <c:pt idx="36632">
                  <c:v>37641</c:v>
                </c:pt>
                <c:pt idx="36633">
                  <c:v>41031</c:v>
                </c:pt>
                <c:pt idx="36634">
                  <c:v>44228</c:v>
                </c:pt>
                <c:pt idx="36635">
                  <c:v>49834</c:v>
                </c:pt>
                <c:pt idx="36636">
                  <c:v>29522</c:v>
                </c:pt>
                <c:pt idx="36637">
                  <c:v>59420</c:v>
                </c:pt>
                <c:pt idx="36638">
                  <c:v>45514</c:v>
                </c:pt>
                <c:pt idx="36639">
                  <c:v>25021</c:v>
                </c:pt>
                <c:pt idx="36640">
                  <c:v>35244</c:v>
                </c:pt>
                <c:pt idx="36641">
                  <c:v>71133</c:v>
                </c:pt>
                <c:pt idx="36642">
                  <c:v>45490</c:v>
                </c:pt>
                <c:pt idx="36643">
                  <c:v>19854</c:v>
                </c:pt>
                <c:pt idx="36644">
                  <c:v>31851</c:v>
                </c:pt>
                <c:pt idx="36645">
                  <c:v>22560</c:v>
                </c:pt>
                <c:pt idx="36646">
                  <c:v>37789</c:v>
                </c:pt>
                <c:pt idx="36647">
                  <c:v>38747</c:v>
                </c:pt>
                <c:pt idx="36648">
                  <c:v>47422</c:v>
                </c:pt>
                <c:pt idx="36649">
                  <c:v>69934</c:v>
                </c:pt>
                <c:pt idx="36650">
                  <c:v>48315</c:v>
                </c:pt>
                <c:pt idx="36651">
                  <c:v>108283</c:v>
                </c:pt>
                <c:pt idx="36652">
                  <c:v>29809</c:v>
                </c:pt>
                <c:pt idx="36653">
                  <c:v>133407</c:v>
                </c:pt>
                <c:pt idx="36654">
                  <c:v>29419</c:v>
                </c:pt>
                <c:pt idx="36655">
                  <c:v>30259</c:v>
                </c:pt>
                <c:pt idx="36656">
                  <c:v>58536</c:v>
                </c:pt>
                <c:pt idx="36657">
                  <c:v>223885</c:v>
                </c:pt>
                <c:pt idx="36658">
                  <c:v>91957</c:v>
                </c:pt>
                <c:pt idx="36659">
                  <c:v>88247</c:v>
                </c:pt>
                <c:pt idx="36660">
                  <c:v>42919</c:v>
                </c:pt>
                <c:pt idx="36661">
                  <c:v>38596</c:v>
                </c:pt>
                <c:pt idx="36662">
                  <c:v>23722</c:v>
                </c:pt>
                <c:pt idx="36663">
                  <c:v>39334</c:v>
                </c:pt>
                <c:pt idx="36664">
                  <c:v>60122</c:v>
                </c:pt>
                <c:pt idx="36665">
                  <c:v>33158</c:v>
                </c:pt>
                <c:pt idx="36666">
                  <c:v>22932</c:v>
                </c:pt>
                <c:pt idx="36667">
                  <c:v>34024</c:v>
                </c:pt>
                <c:pt idx="36668">
                  <c:v>44859</c:v>
                </c:pt>
                <c:pt idx="36669">
                  <c:v>117086</c:v>
                </c:pt>
                <c:pt idx="36670">
                  <c:v>31750</c:v>
                </c:pt>
                <c:pt idx="36671">
                  <c:v>26264</c:v>
                </c:pt>
                <c:pt idx="36672">
                  <c:v>32990</c:v>
                </c:pt>
                <c:pt idx="36673">
                  <c:v>34062</c:v>
                </c:pt>
                <c:pt idx="36674">
                  <c:v>66977</c:v>
                </c:pt>
                <c:pt idx="36675">
                  <c:v>98166</c:v>
                </c:pt>
                <c:pt idx="36676">
                  <c:v>37163</c:v>
                </c:pt>
                <c:pt idx="36677">
                  <c:v>80871</c:v>
                </c:pt>
                <c:pt idx="36678">
                  <c:v>64724</c:v>
                </c:pt>
                <c:pt idx="36679">
                  <c:v>46529</c:v>
                </c:pt>
                <c:pt idx="36680">
                  <c:v>42264</c:v>
                </c:pt>
                <c:pt idx="36681">
                  <c:v>154673</c:v>
                </c:pt>
                <c:pt idx="36682">
                  <c:v>23510</c:v>
                </c:pt>
                <c:pt idx="36683">
                  <c:v>49443</c:v>
                </c:pt>
                <c:pt idx="36684">
                  <c:v>34846</c:v>
                </c:pt>
                <c:pt idx="36685">
                  <c:v>32960</c:v>
                </c:pt>
                <c:pt idx="36686">
                  <c:v>49852</c:v>
                </c:pt>
                <c:pt idx="36687">
                  <c:v>26717</c:v>
                </c:pt>
                <c:pt idx="36688">
                  <c:v>42887</c:v>
                </c:pt>
                <c:pt idx="36689">
                  <c:v>24034</c:v>
                </c:pt>
                <c:pt idx="36690">
                  <c:v>33521</c:v>
                </c:pt>
                <c:pt idx="36691">
                  <c:v>30574</c:v>
                </c:pt>
                <c:pt idx="36692">
                  <c:v>39044</c:v>
                </c:pt>
                <c:pt idx="36693">
                  <c:v>31232</c:v>
                </c:pt>
                <c:pt idx="36694">
                  <c:v>25357</c:v>
                </c:pt>
                <c:pt idx="36695">
                  <c:v>27438</c:v>
                </c:pt>
                <c:pt idx="36696">
                  <c:v>31673</c:v>
                </c:pt>
                <c:pt idx="36697">
                  <c:v>51516</c:v>
                </c:pt>
                <c:pt idx="36698">
                  <c:v>93191</c:v>
                </c:pt>
                <c:pt idx="36699">
                  <c:v>33475</c:v>
                </c:pt>
                <c:pt idx="36700">
                  <c:v>34407</c:v>
                </c:pt>
                <c:pt idx="36701">
                  <c:v>44647</c:v>
                </c:pt>
                <c:pt idx="36702">
                  <c:v>32732</c:v>
                </c:pt>
                <c:pt idx="36703">
                  <c:v>86624</c:v>
                </c:pt>
                <c:pt idx="36704">
                  <c:v>50629</c:v>
                </c:pt>
                <c:pt idx="36705">
                  <c:v>24185</c:v>
                </c:pt>
                <c:pt idx="36706">
                  <c:v>42419</c:v>
                </c:pt>
                <c:pt idx="36707">
                  <c:v>23600</c:v>
                </c:pt>
                <c:pt idx="36708">
                  <c:v>49107</c:v>
                </c:pt>
                <c:pt idx="36709">
                  <c:v>59895</c:v>
                </c:pt>
                <c:pt idx="36710">
                  <c:v>79868</c:v>
                </c:pt>
                <c:pt idx="36711">
                  <c:v>27524</c:v>
                </c:pt>
                <c:pt idx="36712">
                  <c:v>60147</c:v>
                </c:pt>
                <c:pt idx="36713">
                  <c:v>34396</c:v>
                </c:pt>
                <c:pt idx="36714">
                  <c:v>26925</c:v>
                </c:pt>
                <c:pt idx="36715">
                  <c:v>91921</c:v>
                </c:pt>
                <c:pt idx="36716">
                  <c:v>136016</c:v>
                </c:pt>
                <c:pt idx="36717">
                  <c:v>50412</c:v>
                </c:pt>
                <c:pt idx="36718">
                  <c:v>45160</c:v>
                </c:pt>
                <c:pt idx="36719">
                  <c:v>54355</c:v>
                </c:pt>
                <c:pt idx="36720">
                  <c:v>183874</c:v>
                </c:pt>
                <c:pt idx="36721">
                  <c:v>29358</c:v>
                </c:pt>
                <c:pt idx="36722">
                  <c:v>41213</c:v>
                </c:pt>
                <c:pt idx="36723">
                  <c:v>73565</c:v>
                </c:pt>
                <c:pt idx="36724">
                  <c:v>58931</c:v>
                </c:pt>
                <c:pt idx="36725">
                  <c:v>62864</c:v>
                </c:pt>
                <c:pt idx="36726">
                  <c:v>92660</c:v>
                </c:pt>
                <c:pt idx="36727">
                  <c:v>26438</c:v>
                </c:pt>
                <c:pt idx="36728">
                  <c:v>30309</c:v>
                </c:pt>
                <c:pt idx="36729">
                  <c:v>80292</c:v>
                </c:pt>
                <c:pt idx="36730">
                  <c:v>86051</c:v>
                </c:pt>
                <c:pt idx="36731">
                  <c:v>45805</c:v>
                </c:pt>
                <c:pt idx="36732">
                  <c:v>55808</c:v>
                </c:pt>
                <c:pt idx="36733">
                  <c:v>25173</c:v>
                </c:pt>
                <c:pt idx="36734">
                  <c:v>46422</c:v>
                </c:pt>
                <c:pt idx="36735">
                  <c:v>65388</c:v>
                </c:pt>
                <c:pt idx="36736">
                  <c:v>65333</c:v>
                </c:pt>
                <c:pt idx="36737">
                  <c:v>180917</c:v>
                </c:pt>
                <c:pt idx="36738">
                  <c:v>24533</c:v>
                </c:pt>
                <c:pt idx="36739">
                  <c:v>81449</c:v>
                </c:pt>
                <c:pt idx="36740">
                  <c:v>43322</c:v>
                </c:pt>
                <c:pt idx="36741">
                  <c:v>44664</c:v>
                </c:pt>
                <c:pt idx="36742">
                  <c:v>26539</c:v>
                </c:pt>
                <c:pt idx="36743">
                  <c:v>49616</c:v>
                </c:pt>
                <c:pt idx="36744">
                  <c:v>55239</c:v>
                </c:pt>
                <c:pt idx="36745">
                  <c:v>47948</c:v>
                </c:pt>
                <c:pt idx="36746">
                  <c:v>55228</c:v>
                </c:pt>
                <c:pt idx="36747">
                  <c:v>70241</c:v>
                </c:pt>
                <c:pt idx="36748">
                  <c:v>54803</c:v>
                </c:pt>
                <c:pt idx="36749">
                  <c:v>94819</c:v>
                </c:pt>
                <c:pt idx="36750">
                  <c:v>57310</c:v>
                </c:pt>
                <c:pt idx="36751">
                  <c:v>303230</c:v>
                </c:pt>
                <c:pt idx="36752">
                  <c:v>49652</c:v>
                </c:pt>
                <c:pt idx="36753">
                  <c:v>160368</c:v>
                </c:pt>
                <c:pt idx="36754">
                  <c:v>41961</c:v>
                </c:pt>
                <c:pt idx="36755">
                  <c:v>74957</c:v>
                </c:pt>
                <c:pt idx="36756">
                  <c:v>38488</c:v>
                </c:pt>
                <c:pt idx="36757">
                  <c:v>33242</c:v>
                </c:pt>
                <c:pt idx="36758">
                  <c:v>99386</c:v>
                </c:pt>
                <c:pt idx="36759">
                  <c:v>58815</c:v>
                </c:pt>
                <c:pt idx="36760">
                  <c:v>22576</c:v>
                </c:pt>
                <c:pt idx="36761">
                  <c:v>33846</c:v>
                </c:pt>
                <c:pt idx="36762">
                  <c:v>29461</c:v>
                </c:pt>
                <c:pt idx="36763">
                  <c:v>30320</c:v>
                </c:pt>
                <c:pt idx="36764">
                  <c:v>72996</c:v>
                </c:pt>
                <c:pt idx="36765">
                  <c:v>40023</c:v>
                </c:pt>
                <c:pt idx="36766">
                  <c:v>37701</c:v>
                </c:pt>
                <c:pt idx="36767">
                  <c:v>21930</c:v>
                </c:pt>
                <c:pt idx="36768">
                  <c:v>24437</c:v>
                </c:pt>
                <c:pt idx="36769">
                  <c:v>31873</c:v>
                </c:pt>
                <c:pt idx="36770">
                  <c:v>52158</c:v>
                </c:pt>
                <c:pt idx="36771">
                  <c:v>28454</c:v>
                </c:pt>
                <c:pt idx="36772">
                  <c:v>49038</c:v>
                </c:pt>
                <c:pt idx="36773">
                  <c:v>150110</c:v>
                </c:pt>
                <c:pt idx="36774">
                  <c:v>48413</c:v>
                </c:pt>
                <c:pt idx="36775">
                  <c:v>42334</c:v>
                </c:pt>
                <c:pt idx="36776">
                  <c:v>31142</c:v>
                </c:pt>
                <c:pt idx="36777">
                  <c:v>105574</c:v>
                </c:pt>
                <c:pt idx="36778">
                  <c:v>45372</c:v>
                </c:pt>
                <c:pt idx="36779">
                  <c:v>45625</c:v>
                </c:pt>
                <c:pt idx="36780">
                  <c:v>34474</c:v>
                </c:pt>
                <c:pt idx="36781">
                  <c:v>146270</c:v>
                </c:pt>
                <c:pt idx="36782">
                  <c:v>36421</c:v>
                </c:pt>
                <c:pt idx="36783">
                  <c:v>61498</c:v>
                </c:pt>
                <c:pt idx="36784">
                  <c:v>37337</c:v>
                </c:pt>
                <c:pt idx="36785">
                  <c:v>31467</c:v>
                </c:pt>
                <c:pt idx="36786">
                  <c:v>71404</c:v>
                </c:pt>
                <c:pt idx="36787">
                  <c:v>370208</c:v>
                </c:pt>
                <c:pt idx="36788">
                  <c:v>43576</c:v>
                </c:pt>
                <c:pt idx="36789">
                  <c:v>25849</c:v>
                </c:pt>
                <c:pt idx="36790">
                  <c:v>25644</c:v>
                </c:pt>
                <c:pt idx="36791">
                  <c:v>181716</c:v>
                </c:pt>
                <c:pt idx="36792">
                  <c:v>56688</c:v>
                </c:pt>
                <c:pt idx="36793">
                  <c:v>39253</c:v>
                </c:pt>
                <c:pt idx="36794">
                  <c:v>23416</c:v>
                </c:pt>
                <c:pt idx="36795">
                  <c:v>30297</c:v>
                </c:pt>
                <c:pt idx="36796">
                  <c:v>45894</c:v>
                </c:pt>
                <c:pt idx="36797">
                  <c:v>81401</c:v>
                </c:pt>
                <c:pt idx="36798">
                  <c:v>39668</c:v>
                </c:pt>
                <c:pt idx="36799">
                  <c:v>36605</c:v>
                </c:pt>
                <c:pt idx="36800">
                  <c:v>38327</c:v>
                </c:pt>
                <c:pt idx="36801">
                  <c:v>38443</c:v>
                </c:pt>
                <c:pt idx="36802">
                  <c:v>20456</c:v>
                </c:pt>
                <c:pt idx="36803">
                  <c:v>37717</c:v>
                </c:pt>
                <c:pt idx="36804">
                  <c:v>101558</c:v>
                </c:pt>
                <c:pt idx="36805">
                  <c:v>74881</c:v>
                </c:pt>
                <c:pt idx="36806">
                  <c:v>38436</c:v>
                </c:pt>
                <c:pt idx="36807">
                  <c:v>153330</c:v>
                </c:pt>
                <c:pt idx="36808">
                  <c:v>103576</c:v>
                </c:pt>
                <c:pt idx="36809">
                  <c:v>69042</c:v>
                </c:pt>
                <c:pt idx="36810">
                  <c:v>106772</c:v>
                </c:pt>
                <c:pt idx="36811">
                  <c:v>42282</c:v>
                </c:pt>
                <c:pt idx="36812">
                  <c:v>69270</c:v>
                </c:pt>
                <c:pt idx="36813">
                  <c:v>38427</c:v>
                </c:pt>
                <c:pt idx="36814">
                  <c:v>54657</c:v>
                </c:pt>
                <c:pt idx="36815">
                  <c:v>30335</c:v>
                </c:pt>
                <c:pt idx="36816">
                  <c:v>47490</c:v>
                </c:pt>
                <c:pt idx="36817">
                  <c:v>31861</c:v>
                </c:pt>
                <c:pt idx="36818">
                  <c:v>26481</c:v>
                </c:pt>
                <c:pt idx="36819">
                  <c:v>26035</c:v>
                </c:pt>
                <c:pt idx="36820">
                  <c:v>39200</c:v>
                </c:pt>
                <c:pt idx="36821">
                  <c:v>48047</c:v>
                </c:pt>
                <c:pt idx="36822">
                  <c:v>302949</c:v>
                </c:pt>
                <c:pt idx="36823">
                  <c:v>39356</c:v>
                </c:pt>
                <c:pt idx="36824">
                  <c:v>143540</c:v>
                </c:pt>
                <c:pt idx="36825">
                  <c:v>38572</c:v>
                </c:pt>
                <c:pt idx="36826">
                  <c:v>112995</c:v>
                </c:pt>
                <c:pt idx="36827">
                  <c:v>191649</c:v>
                </c:pt>
                <c:pt idx="36828">
                  <c:v>38451</c:v>
                </c:pt>
                <c:pt idx="36829">
                  <c:v>107661</c:v>
                </c:pt>
                <c:pt idx="36830">
                  <c:v>62649</c:v>
                </c:pt>
                <c:pt idx="36831">
                  <c:v>32938</c:v>
                </c:pt>
                <c:pt idx="36832">
                  <c:v>37673</c:v>
                </c:pt>
                <c:pt idx="36833">
                  <c:v>43583</c:v>
                </c:pt>
                <c:pt idx="36834">
                  <c:v>130615</c:v>
                </c:pt>
                <c:pt idx="36835">
                  <c:v>40063</c:v>
                </c:pt>
                <c:pt idx="36836">
                  <c:v>45724</c:v>
                </c:pt>
                <c:pt idx="36837">
                  <c:v>40688</c:v>
                </c:pt>
                <c:pt idx="36838">
                  <c:v>24982</c:v>
                </c:pt>
                <c:pt idx="36839">
                  <c:v>30902</c:v>
                </c:pt>
                <c:pt idx="36840">
                  <c:v>115660</c:v>
                </c:pt>
                <c:pt idx="36841">
                  <c:v>27638</c:v>
                </c:pt>
                <c:pt idx="36842">
                  <c:v>195889</c:v>
                </c:pt>
                <c:pt idx="36843">
                  <c:v>37050</c:v>
                </c:pt>
                <c:pt idx="36844">
                  <c:v>98474</c:v>
                </c:pt>
                <c:pt idx="36845">
                  <c:v>115163</c:v>
                </c:pt>
                <c:pt idx="36846">
                  <c:v>79855</c:v>
                </c:pt>
                <c:pt idx="36847">
                  <c:v>29220</c:v>
                </c:pt>
                <c:pt idx="36848">
                  <c:v>56052</c:v>
                </c:pt>
                <c:pt idx="36849">
                  <c:v>75160</c:v>
                </c:pt>
                <c:pt idx="36850">
                  <c:v>27635</c:v>
                </c:pt>
                <c:pt idx="36851">
                  <c:v>64947</c:v>
                </c:pt>
                <c:pt idx="36852">
                  <c:v>29150</c:v>
                </c:pt>
                <c:pt idx="36853">
                  <c:v>43651</c:v>
                </c:pt>
                <c:pt idx="36854">
                  <c:v>61041</c:v>
                </c:pt>
                <c:pt idx="36855">
                  <c:v>96997</c:v>
                </c:pt>
                <c:pt idx="36856">
                  <c:v>48842</c:v>
                </c:pt>
                <c:pt idx="36857">
                  <c:v>48220</c:v>
                </c:pt>
                <c:pt idx="36858">
                  <c:v>32934</c:v>
                </c:pt>
                <c:pt idx="36859">
                  <c:v>30791</c:v>
                </c:pt>
                <c:pt idx="36860">
                  <c:v>82241</c:v>
                </c:pt>
                <c:pt idx="36861">
                  <c:v>27618</c:v>
                </c:pt>
                <c:pt idx="36862">
                  <c:v>25423</c:v>
                </c:pt>
                <c:pt idx="36863">
                  <c:v>26000</c:v>
                </c:pt>
                <c:pt idx="36864">
                  <c:v>116743</c:v>
                </c:pt>
                <c:pt idx="36865">
                  <c:v>43078</c:v>
                </c:pt>
                <c:pt idx="36866">
                  <c:v>52221</c:v>
                </c:pt>
                <c:pt idx="36867">
                  <c:v>89792</c:v>
                </c:pt>
                <c:pt idx="36868">
                  <c:v>105897</c:v>
                </c:pt>
                <c:pt idx="36869">
                  <c:v>41847</c:v>
                </c:pt>
                <c:pt idx="36870">
                  <c:v>64862</c:v>
                </c:pt>
                <c:pt idx="36871">
                  <c:v>73570</c:v>
                </c:pt>
                <c:pt idx="36872">
                  <c:v>51102</c:v>
                </c:pt>
                <c:pt idx="36873">
                  <c:v>27784</c:v>
                </c:pt>
                <c:pt idx="36874">
                  <c:v>60072</c:v>
                </c:pt>
                <c:pt idx="36875">
                  <c:v>45153</c:v>
                </c:pt>
                <c:pt idx="36876">
                  <c:v>131354</c:v>
                </c:pt>
                <c:pt idx="36877">
                  <c:v>48824</c:v>
                </c:pt>
                <c:pt idx="36878">
                  <c:v>49625</c:v>
                </c:pt>
                <c:pt idx="36879">
                  <c:v>48038</c:v>
                </c:pt>
                <c:pt idx="36880">
                  <c:v>27861</c:v>
                </c:pt>
                <c:pt idx="36881">
                  <c:v>53868</c:v>
                </c:pt>
                <c:pt idx="36882">
                  <c:v>55006</c:v>
                </c:pt>
                <c:pt idx="36883">
                  <c:v>39526</c:v>
                </c:pt>
                <c:pt idx="36884">
                  <c:v>23947</c:v>
                </c:pt>
                <c:pt idx="36885">
                  <c:v>62063</c:v>
                </c:pt>
                <c:pt idx="36886">
                  <c:v>138988</c:v>
                </c:pt>
                <c:pt idx="36887">
                  <c:v>25453</c:v>
                </c:pt>
                <c:pt idx="36888">
                  <c:v>43086</c:v>
                </c:pt>
                <c:pt idx="36889">
                  <c:v>42117</c:v>
                </c:pt>
                <c:pt idx="36890">
                  <c:v>44691</c:v>
                </c:pt>
                <c:pt idx="36891">
                  <c:v>60016</c:v>
                </c:pt>
                <c:pt idx="36892">
                  <c:v>47105</c:v>
                </c:pt>
                <c:pt idx="36893">
                  <c:v>23699</c:v>
                </c:pt>
                <c:pt idx="36894">
                  <c:v>127784</c:v>
                </c:pt>
                <c:pt idx="36895">
                  <c:v>91494</c:v>
                </c:pt>
                <c:pt idx="36896">
                  <c:v>130485</c:v>
                </c:pt>
                <c:pt idx="36897">
                  <c:v>23428</c:v>
                </c:pt>
                <c:pt idx="36898">
                  <c:v>44140</c:v>
                </c:pt>
                <c:pt idx="36899">
                  <c:v>43349</c:v>
                </c:pt>
                <c:pt idx="36900">
                  <c:v>39286</c:v>
                </c:pt>
                <c:pt idx="36901">
                  <c:v>35976</c:v>
                </c:pt>
                <c:pt idx="36902">
                  <c:v>56457</c:v>
                </c:pt>
                <c:pt idx="36903">
                  <c:v>44856</c:v>
                </c:pt>
                <c:pt idx="36904">
                  <c:v>30816</c:v>
                </c:pt>
                <c:pt idx="36905">
                  <c:v>106839</c:v>
                </c:pt>
                <c:pt idx="36906">
                  <c:v>39885</c:v>
                </c:pt>
                <c:pt idx="36907">
                  <c:v>22603</c:v>
                </c:pt>
                <c:pt idx="36908">
                  <c:v>31132</c:v>
                </c:pt>
                <c:pt idx="36909">
                  <c:v>34650</c:v>
                </c:pt>
                <c:pt idx="36910">
                  <c:v>24182</c:v>
                </c:pt>
                <c:pt idx="36911">
                  <c:v>70706</c:v>
                </c:pt>
                <c:pt idx="36912">
                  <c:v>66730</c:v>
                </c:pt>
                <c:pt idx="36913">
                  <c:v>27906</c:v>
                </c:pt>
                <c:pt idx="36914">
                  <c:v>24188</c:v>
                </c:pt>
                <c:pt idx="36915">
                  <c:v>87882</c:v>
                </c:pt>
                <c:pt idx="36916">
                  <c:v>46853</c:v>
                </c:pt>
                <c:pt idx="36917">
                  <c:v>56285</c:v>
                </c:pt>
                <c:pt idx="36918">
                  <c:v>23107</c:v>
                </c:pt>
                <c:pt idx="36919">
                  <c:v>91391</c:v>
                </c:pt>
                <c:pt idx="36920">
                  <c:v>52286</c:v>
                </c:pt>
                <c:pt idx="36921">
                  <c:v>41289</c:v>
                </c:pt>
                <c:pt idx="36922">
                  <c:v>66283</c:v>
                </c:pt>
                <c:pt idx="36923">
                  <c:v>80505</c:v>
                </c:pt>
                <c:pt idx="36924">
                  <c:v>39813</c:v>
                </c:pt>
                <c:pt idx="36925">
                  <c:v>41936</c:v>
                </c:pt>
                <c:pt idx="36926">
                  <c:v>30941</c:v>
                </c:pt>
                <c:pt idx="36927">
                  <c:v>128915</c:v>
                </c:pt>
                <c:pt idx="36928">
                  <c:v>45913</c:v>
                </c:pt>
                <c:pt idx="36929">
                  <c:v>360025</c:v>
                </c:pt>
                <c:pt idx="36930">
                  <c:v>45355</c:v>
                </c:pt>
                <c:pt idx="36931">
                  <c:v>43433</c:v>
                </c:pt>
                <c:pt idx="36932">
                  <c:v>96340</c:v>
                </c:pt>
                <c:pt idx="36933">
                  <c:v>23503</c:v>
                </c:pt>
                <c:pt idx="36934">
                  <c:v>45199</c:v>
                </c:pt>
                <c:pt idx="36935">
                  <c:v>41916</c:v>
                </c:pt>
                <c:pt idx="36936">
                  <c:v>43744</c:v>
                </c:pt>
                <c:pt idx="36937">
                  <c:v>41313</c:v>
                </c:pt>
                <c:pt idx="36938">
                  <c:v>30796</c:v>
                </c:pt>
                <c:pt idx="36939">
                  <c:v>87596</c:v>
                </c:pt>
                <c:pt idx="36940">
                  <c:v>26196</c:v>
                </c:pt>
                <c:pt idx="36941">
                  <c:v>20455</c:v>
                </c:pt>
                <c:pt idx="36942">
                  <c:v>51038</c:v>
                </c:pt>
                <c:pt idx="36943">
                  <c:v>55374</c:v>
                </c:pt>
                <c:pt idx="36944">
                  <c:v>30581</c:v>
                </c:pt>
                <c:pt idx="36945">
                  <c:v>193327</c:v>
                </c:pt>
                <c:pt idx="36946">
                  <c:v>81155</c:v>
                </c:pt>
                <c:pt idx="36947">
                  <c:v>25073</c:v>
                </c:pt>
                <c:pt idx="36948">
                  <c:v>27855</c:v>
                </c:pt>
                <c:pt idx="36949">
                  <c:v>39105</c:v>
                </c:pt>
                <c:pt idx="36950">
                  <c:v>30458</c:v>
                </c:pt>
                <c:pt idx="36951">
                  <c:v>92446</c:v>
                </c:pt>
                <c:pt idx="36952">
                  <c:v>29642</c:v>
                </c:pt>
                <c:pt idx="36953">
                  <c:v>45300</c:v>
                </c:pt>
                <c:pt idx="36954">
                  <c:v>54829</c:v>
                </c:pt>
                <c:pt idx="36955">
                  <c:v>68409</c:v>
                </c:pt>
                <c:pt idx="36956">
                  <c:v>342252</c:v>
                </c:pt>
                <c:pt idx="36957">
                  <c:v>23815</c:v>
                </c:pt>
                <c:pt idx="36958">
                  <c:v>24158</c:v>
                </c:pt>
                <c:pt idx="36959">
                  <c:v>33783</c:v>
                </c:pt>
                <c:pt idx="36960">
                  <c:v>38962</c:v>
                </c:pt>
                <c:pt idx="36961">
                  <c:v>57050</c:v>
                </c:pt>
                <c:pt idx="36962">
                  <c:v>90067</c:v>
                </c:pt>
                <c:pt idx="36963">
                  <c:v>35142</c:v>
                </c:pt>
                <c:pt idx="36964">
                  <c:v>26002</c:v>
                </c:pt>
                <c:pt idx="36965">
                  <c:v>70063</c:v>
                </c:pt>
                <c:pt idx="36966">
                  <c:v>34691</c:v>
                </c:pt>
                <c:pt idx="36967">
                  <c:v>118892</c:v>
                </c:pt>
                <c:pt idx="36968">
                  <c:v>107563</c:v>
                </c:pt>
                <c:pt idx="36969">
                  <c:v>48375</c:v>
                </c:pt>
                <c:pt idx="36970">
                  <c:v>107044</c:v>
                </c:pt>
                <c:pt idx="36971">
                  <c:v>106909</c:v>
                </c:pt>
                <c:pt idx="36972">
                  <c:v>50060</c:v>
                </c:pt>
                <c:pt idx="36973">
                  <c:v>65173</c:v>
                </c:pt>
                <c:pt idx="36974">
                  <c:v>35719</c:v>
                </c:pt>
                <c:pt idx="36975">
                  <c:v>52917</c:v>
                </c:pt>
                <c:pt idx="36976">
                  <c:v>31178</c:v>
                </c:pt>
                <c:pt idx="36977">
                  <c:v>47692</c:v>
                </c:pt>
                <c:pt idx="36978">
                  <c:v>38461</c:v>
                </c:pt>
                <c:pt idx="36979">
                  <c:v>36755</c:v>
                </c:pt>
                <c:pt idx="36980">
                  <c:v>32564</c:v>
                </c:pt>
                <c:pt idx="36981">
                  <c:v>267392</c:v>
                </c:pt>
                <c:pt idx="36982">
                  <c:v>94524</c:v>
                </c:pt>
                <c:pt idx="36983">
                  <c:v>67709</c:v>
                </c:pt>
                <c:pt idx="36984">
                  <c:v>23376</c:v>
                </c:pt>
                <c:pt idx="36985">
                  <c:v>109256</c:v>
                </c:pt>
                <c:pt idx="36986">
                  <c:v>45107</c:v>
                </c:pt>
                <c:pt idx="36987">
                  <c:v>37493</c:v>
                </c:pt>
                <c:pt idx="36988">
                  <c:v>32328</c:v>
                </c:pt>
                <c:pt idx="36989">
                  <c:v>59132</c:v>
                </c:pt>
                <c:pt idx="36990">
                  <c:v>35600</c:v>
                </c:pt>
                <c:pt idx="36991">
                  <c:v>107914</c:v>
                </c:pt>
                <c:pt idx="36992">
                  <c:v>62543</c:v>
                </c:pt>
                <c:pt idx="36993">
                  <c:v>44919</c:v>
                </c:pt>
                <c:pt idx="36994">
                  <c:v>42188</c:v>
                </c:pt>
                <c:pt idx="36995">
                  <c:v>29345</c:v>
                </c:pt>
                <c:pt idx="36996">
                  <c:v>15000</c:v>
                </c:pt>
                <c:pt idx="36997">
                  <c:v>37186</c:v>
                </c:pt>
                <c:pt idx="36998">
                  <c:v>86506</c:v>
                </c:pt>
                <c:pt idx="36999">
                  <c:v>28372</c:v>
                </c:pt>
                <c:pt idx="37000">
                  <c:v>177935</c:v>
                </c:pt>
                <c:pt idx="37001">
                  <c:v>34909</c:v>
                </c:pt>
                <c:pt idx="37002">
                  <c:v>29469</c:v>
                </c:pt>
                <c:pt idx="37003">
                  <c:v>45596</c:v>
                </c:pt>
                <c:pt idx="37004">
                  <c:v>70412</c:v>
                </c:pt>
                <c:pt idx="37005">
                  <c:v>43863</c:v>
                </c:pt>
                <c:pt idx="37006">
                  <c:v>41186</c:v>
                </c:pt>
                <c:pt idx="37007">
                  <c:v>29872</c:v>
                </c:pt>
                <c:pt idx="37008">
                  <c:v>50797</c:v>
                </c:pt>
                <c:pt idx="37009">
                  <c:v>55479</c:v>
                </c:pt>
                <c:pt idx="37010">
                  <c:v>22355</c:v>
                </c:pt>
                <c:pt idx="37011">
                  <c:v>40341</c:v>
                </c:pt>
                <c:pt idx="37012">
                  <c:v>69436</c:v>
                </c:pt>
                <c:pt idx="37013">
                  <c:v>75766</c:v>
                </c:pt>
                <c:pt idx="37014">
                  <c:v>111505</c:v>
                </c:pt>
                <c:pt idx="37015">
                  <c:v>34024</c:v>
                </c:pt>
                <c:pt idx="37016">
                  <c:v>34170</c:v>
                </c:pt>
                <c:pt idx="37017">
                  <c:v>41031</c:v>
                </c:pt>
                <c:pt idx="37018">
                  <c:v>22430</c:v>
                </c:pt>
                <c:pt idx="37019">
                  <c:v>37942</c:v>
                </c:pt>
                <c:pt idx="37020">
                  <c:v>25147</c:v>
                </c:pt>
                <c:pt idx="37021">
                  <c:v>118057</c:v>
                </c:pt>
                <c:pt idx="37022">
                  <c:v>92878</c:v>
                </c:pt>
                <c:pt idx="37023">
                  <c:v>37010</c:v>
                </c:pt>
                <c:pt idx="37024">
                  <c:v>41439</c:v>
                </c:pt>
                <c:pt idx="37025">
                  <c:v>24997</c:v>
                </c:pt>
                <c:pt idx="37026">
                  <c:v>32262</c:v>
                </c:pt>
                <c:pt idx="37027">
                  <c:v>23019</c:v>
                </c:pt>
                <c:pt idx="37028">
                  <c:v>76858</c:v>
                </c:pt>
                <c:pt idx="37029">
                  <c:v>40497</c:v>
                </c:pt>
                <c:pt idx="37030">
                  <c:v>71205</c:v>
                </c:pt>
                <c:pt idx="37031">
                  <c:v>57673</c:v>
                </c:pt>
                <c:pt idx="37032">
                  <c:v>55945</c:v>
                </c:pt>
                <c:pt idx="37033">
                  <c:v>100926</c:v>
                </c:pt>
                <c:pt idx="37034">
                  <c:v>31644</c:v>
                </c:pt>
                <c:pt idx="37035">
                  <c:v>43069</c:v>
                </c:pt>
                <c:pt idx="37036">
                  <c:v>92732</c:v>
                </c:pt>
                <c:pt idx="37037">
                  <c:v>65419</c:v>
                </c:pt>
                <c:pt idx="37038">
                  <c:v>61208</c:v>
                </c:pt>
                <c:pt idx="37039">
                  <c:v>58645</c:v>
                </c:pt>
                <c:pt idx="37040">
                  <c:v>79068</c:v>
                </c:pt>
                <c:pt idx="37041">
                  <c:v>25437</c:v>
                </c:pt>
                <c:pt idx="37042">
                  <c:v>189983</c:v>
                </c:pt>
                <c:pt idx="37043">
                  <c:v>37554</c:v>
                </c:pt>
                <c:pt idx="37044">
                  <c:v>43074</c:v>
                </c:pt>
                <c:pt idx="37045">
                  <c:v>31154</c:v>
                </c:pt>
                <c:pt idx="37046">
                  <c:v>49653</c:v>
                </c:pt>
                <c:pt idx="37047">
                  <c:v>38041</c:v>
                </c:pt>
                <c:pt idx="37048">
                  <c:v>37291</c:v>
                </c:pt>
                <c:pt idx="37049">
                  <c:v>37593</c:v>
                </c:pt>
                <c:pt idx="37050">
                  <c:v>36732</c:v>
                </c:pt>
                <c:pt idx="37051">
                  <c:v>44575</c:v>
                </c:pt>
                <c:pt idx="37052">
                  <c:v>47650</c:v>
                </c:pt>
                <c:pt idx="37053">
                  <c:v>202599</c:v>
                </c:pt>
                <c:pt idx="37054">
                  <c:v>45060</c:v>
                </c:pt>
                <c:pt idx="37055">
                  <c:v>41649</c:v>
                </c:pt>
                <c:pt idx="37056">
                  <c:v>45469</c:v>
                </c:pt>
                <c:pt idx="37057">
                  <c:v>29018</c:v>
                </c:pt>
                <c:pt idx="37058">
                  <c:v>38441</c:v>
                </c:pt>
                <c:pt idx="37059">
                  <c:v>40215</c:v>
                </c:pt>
                <c:pt idx="37060">
                  <c:v>33106</c:v>
                </c:pt>
                <c:pt idx="37061">
                  <c:v>110063</c:v>
                </c:pt>
                <c:pt idx="37062">
                  <c:v>116686</c:v>
                </c:pt>
                <c:pt idx="37063">
                  <c:v>34402</c:v>
                </c:pt>
                <c:pt idx="37064">
                  <c:v>25427</c:v>
                </c:pt>
                <c:pt idx="37065">
                  <c:v>30512</c:v>
                </c:pt>
                <c:pt idx="37066">
                  <c:v>86145</c:v>
                </c:pt>
                <c:pt idx="37067">
                  <c:v>24696</c:v>
                </c:pt>
                <c:pt idx="37068">
                  <c:v>29886</c:v>
                </c:pt>
                <c:pt idx="37069">
                  <c:v>101029</c:v>
                </c:pt>
                <c:pt idx="37070">
                  <c:v>21057</c:v>
                </c:pt>
                <c:pt idx="37071">
                  <c:v>56324</c:v>
                </c:pt>
                <c:pt idx="37072">
                  <c:v>31364</c:v>
                </c:pt>
                <c:pt idx="37073">
                  <c:v>40974</c:v>
                </c:pt>
                <c:pt idx="37074">
                  <c:v>143997</c:v>
                </c:pt>
                <c:pt idx="37075">
                  <c:v>51763</c:v>
                </c:pt>
                <c:pt idx="37076">
                  <c:v>86574</c:v>
                </c:pt>
                <c:pt idx="37077">
                  <c:v>67291</c:v>
                </c:pt>
                <c:pt idx="37078">
                  <c:v>79473</c:v>
                </c:pt>
                <c:pt idx="37079">
                  <c:v>45627</c:v>
                </c:pt>
                <c:pt idx="37080">
                  <c:v>159818</c:v>
                </c:pt>
                <c:pt idx="37081">
                  <c:v>33230</c:v>
                </c:pt>
                <c:pt idx="37082">
                  <c:v>29727</c:v>
                </c:pt>
                <c:pt idx="37083">
                  <c:v>72361</c:v>
                </c:pt>
                <c:pt idx="37084">
                  <c:v>19902</c:v>
                </c:pt>
                <c:pt idx="37085">
                  <c:v>38552</c:v>
                </c:pt>
                <c:pt idx="37086">
                  <c:v>44426</c:v>
                </c:pt>
                <c:pt idx="37087">
                  <c:v>45817</c:v>
                </c:pt>
                <c:pt idx="37088">
                  <c:v>34828</c:v>
                </c:pt>
                <c:pt idx="37089">
                  <c:v>143919</c:v>
                </c:pt>
                <c:pt idx="37090">
                  <c:v>49571</c:v>
                </c:pt>
                <c:pt idx="37091">
                  <c:v>140767</c:v>
                </c:pt>
                <c:pt idx="37092">
                  <c:v>30571</c:v>
                </c:pt>
                <c:pt idx="37093">
                  <c:v>30997</c:v>
                </c:pt>
                <c:pt idx="37094">
                  <c:v>171494</c:v>
                </c:pt>
                <c:pt idx="37095">
                  <c:v>139484</c:v>
                </c:pt>
                <c:pt idx="37096">
                  <c:v>27757</c:v>
                </c:pt>
                <c:pt idx="37097">
                  <c:v>51312</c:v>
                </c:pt>
                <c:pt idx="37098">
                  <c:v>43377</c:v>
                </c:pt>
                <c:pt idx="37099">
                  <c:v>35121</c:v>
                </c:pt>
                <c:pt idx="37100">
                  <c:v>30997</c:v>
                </c:pt>
                <c:pt idx="37101">
                  <c:v>22111</c:v>
                </c:pt>
                <c:pt idx="37102">
                  <c:v>43171</c:v>
                </c:pt>
                <c:pt idx="37103">
                  <c:v>104303</c:v>
                </c:pt>
                <c:pt idx="37104">
                  <c:v>33766</c:v>
                </c:pt>
                <c:pt idx="37105">
                  <c:v>71569</c:v>
                </c:pt>
                <c:pt idx="37106">
                  <c:v>17768</c:v>
                </c:pt>
                <c:pt idx="37107">
                  <c:v>94549</c:v>
                </c:pt>
                <c:pt idx="37108">
                  <c:v>40740</c:v>
                </c:pt>
                <c:pt idx="37109">
                  <c:v>48044</c:v>
                </c:pt>
                <c:pt idx="37110">
                  <c:v>35594</c:v>
                </c:pt>
                <c:pt idx="37111">
                  <c:v>166803</c:v>
                </c:pt>
                <c:pt idx="37112">
                  <c:v>24603</c:v>
                </c:pt>
                <c:pt idx="37113">
                  <c:v>55049</c:v>
                </c:pt>
                <c:pt idx="37114">
                  <c:v>28027</c:v>
                </c:pt>
                <c:pt idx="37115">
                  <c:v>53114</c:v>
                </c:pt>
                <c:pt idx="37116">
                  <c:v>40749</c:v>
                </c:pt>
                <c:pt idx="37117">
                  <c:v>57037</c:v>
                </c:pt>
                <c:pt idx="37118">
                  <c:v>23093</c:v>
                </c:pt>
                <c:pt idx="37119">
                  <c:v>33995</c:v>
                </c:pt>
                <c:pt idx="37120">
                  <c:v>43345</c:v>
                </c:pt>
                <c:pt idx="37121">
                  <c:v>44833</c:v>
                </c:pt>
                <c:pt idx="37122">
                  <c:v>75241</c:v>
                </c:pt>
                <c:pt idx="37123">
                  <c:v>83847</c:v>
                </c:pt>
                <c:pt idx="37124">
                  <c:v>143551</c:v>
                </c:pt>
                <c:pt idx="37125">
                  <c:v>56453</c:v>
                </c:pt>
                <c:pt idx="37126">
                  <c:v>33984</c:v>
                </c:pt>
                <c:pt idx="37127">
                  <c:v>46073</c:v>
                </c:pt>
                <c:pt idx="37128">
                  <c:v>23713</c:v>
                </c:pt>
                <c:pt idx="37129">
                  <c:v>110335</c:v>
                </c:pt>
                <c:pt idx="37130">
                  <c:v>54898</c:v>
                </c:pt>
                <c:pt idx="37131">
                  <c:v>93343</c:v>
                </c:pt>
                <c:pt idx="37132">
                  <c:v>62161</c:v>
                </c:pt>
                <c:pt idx="37133">
                  <c:v>65011</c:v>
                </c:pt>
                <c:pt idx="37134">
                  <c:v>34915</c:v>
                </c:pt>
                <c:pt idx="37135">
                  <c:v>29893</c:v>
                </c:pt>
                <c:pt idx="37136">
                  <c:v>102517</c:v>
                </c:pt>
                <c:pt idx="37137">
                  <c:v>45441</c:v>
                </c:pt>
                <c:pt idx="37138">
                  <c:v>39435</c:v>
                </c:pt>
                <c:pt idx="37139">
                  <c:v>44130</c:v>
                </c:pt>
                <c:pt idx="37140">
                  <c:v>62511</c:v>
                </c:pt>
                <c:pt idx="37141">
                  <c:v>81097</c:v>
                </c:pt>
                <c:pt idx="37142">
                  <c:v>37568</c:v>
                </c:pt>
                <c:pt idx="37143">
                  <c:v>28300</c:v>
                </c:pt>
                <c:pt idx="37144">
                  <c:v>37413</c:v>
                </c:pt>
                <c:pt idx="37145">
                  <c:v>108163</c:v>
                </c:pt>
                <c:pt idx="37146">
                  <c:v>44534</c:v>
                </c:pt>
                <c:pt idx="37147">
                  <c:v>37066</c:v>
                </c:pt>
                <c:pt idx="37148">
                  <c:v>133631</c:v>
                </c:pt>
                <c:pt idx="37149">
                  <c:v>57698</c:v>
                </c:pt>
                <c:pt idx="37150">
                  <c:v>75741</c:v>
                </c:pt>
                <c:pt idx="37151">
                  <c:v>25768</c:v>
                </c:pt>
                <c:pt idx="37152">
                  <c:v>37405</c:v>
                </c:pt>
                <c:pt idx="37153">
                  <c:v>51303</c:v>
                </c:pt>
                <c:pt idx="37154">
                  <c:v>43962</c:v>
                </c:pt>
                <c:pt idx="37155">
                  <c:v>36477</c:v>
                </c:pt>
                <c:pt idx="37156">
                  <c:v>26561</c:v>
                </c:pt>
                <c:pt idx="37157">
                  <c:v>135993</c:v>
                </c:pt>
                <c:pt idx="37158">
                  <c:v>32337</c:v>
                </c:pt>
                <c:pt idx="37159">
                  <c:v>44161</c:v>
                </c:pt>
                <c:pt idx="37160">
                  <c:v>46170</c:v>
                </c:pt>
                <c:pt idx="37161">
                  <c:v>30546</c:v>
                </c:pt>
                <c:pt idx="37162">
                  <c:v>38826</c:v>
                </c:pt>
                <c:pt idx="37163">
                  <c:v>120000</c:v>
                </c:pt>
                <c:pt idx="37164">
                  <c:v>35086</c:v>
                </c:pt>
                <c:pt idx="37165">
                  <c:v>28154</c:v>
                </c:pt>
                <c:pt idx="37166">
                  <c:v>98293</c:v>
                </c:pt>
                <c:pt idx="37167">
                  <c:v>40519</c:v>
                </c:pt>
                <c:pt idx="37168">
                  <c:v>29328</c:v>
                </c:pt>
                <c:pt idx="37169">
                  <c:v>204270</c:v>
                </c:pt>
                <c:pt idx="37170">
                  <c:v>41941</c:v>
                </c:pt>
                <c:pt idx="37171">
                  <c:v>27218</c:v>
                </c:pt>
                <c:pt idx="37172">
                  <c:v>32443</c:v>
                </c:pt>
                <c:pt idx="37173">
                  <c:v>81981</c:v>
                </c:pt>
                <c:pt idx="37174">
                  <c:v>42719</c:v>
                </c:pt>
                <c:pt idx="37175">
                  <c:v>42314</c:v>
                </c:pt>
                <c:pt idx="37176">
                  <c:v>56738</c:v>
                </c:pt>
                <c:pt idx="37177">
                  <c:v>25337</c:v>
                </c:pt>
                <c:pt idx="37178">
                  <c:v>45162</c:v>
                </c:pt>
                <c:pt idx="37179">
                  <c:v>57480</c:v>
                </c:pt>
                <c:pt idx="37180">
                  <c:v>111323</c:v>
                </c:pt>
                <c:pt idx="37181">
                  <c:v>51519</c:v>
                </c:pt>
                <c:pt idx="37182">
                  <c:v>40656</c:v>
                </c:pt>
                <c:pt idx="37183">
                  <c:v>48573</c:v>
                </c:pt>
                <c:pt idx="37184">
                  <c:v>44232</c:v>
                </c:pt>
                <c:pt idx="37185">
                  <c:v>27654</c:v>
                </c:pt>
                <c:pt idx="37186">
                  <c:v>83425</c:v>
                </c:pt>
                <c:pt idx="37187">
                  <c:v>34573</c:v>
                </c:pt>
                <c:pt idx="37188">
                  <c:v>33434</c:v>
                </c:pt>
                <c:pt idx="37189">
                  <c:v>26533</c:v>
                </c:pt>
                <c:pt idx="37190">
                  <c:v>23902</c:v>
                </c:pt>
                <c:pt idx="37191">
                  <c:v>64325</c:v>
                </c:pt>
                <c:pt idx="37192">
                  <c:v>31860</c:v>
                </c:pt>
                <c:pt idx="37193">
                  <c:v>147745</c:v>
                </c:pt>
                <c:pt idx="37194">
                  <c:v>29273</c:v>
                </c:pt>
                <c:pt idx="37195">
                  <c:v>31407</c:v>
                </c:pt>
                <c:pt idx="37196">
                  <c:v>32112</c:v>
                </c:pt>
                <c:pt idx="37197">
                  <c:v>46889</c:v>
                </c:pt>
                <c:pt idx="37198">
                  <c:v>99892</c:v>
                </c:pt>
                <c:pt idx="37199">
                  <c:v>38792</c:v>
                </c:pt>
                <c:pt idx="37200">
                  <c:v>23900</c:v>
                </c:pt>
                <c:pt idx="37201">
                  <c:v>38529</c:v>
                </c:pt>
                <c:pt idx="37202">
                  <c:v>27247</c:v>
                </c:pt>
                <c:pt idx="37203">
                  <c:v>130036</c:v>
                </c:pt>
                <c:pt idx="37204">
                  <c:v>22481</c:v>
                </c:pt>
                <c:pt idx="37205">
                  <c:v>100098</c:v>
                </c:pt>
                <c:pt idx="37206">
                  <c:v>40320</c:v>
                </c:pt>
                <c:pt idx="37207">
                  <c:v>24346</c:v>
                </c:pt>
                <c:pt idx="37208">
                  <c:v>26836</c:v>
                </c:pt>
                <c:pt idx="37209">
                  <c:v>44216</c:v>
                </c:pt>
                <c:pt idx="37210">
                  <c:v>49565</c:v>
                </c:pt>
                <c:pt idx="37211">
                  <c:v>37260</c:v>
                </c:pt>
                <c:pt idx="37212">
                  <c:v>56647</c:v>
                </c:pt>
                <c:pt idx="37213">
                  <c:v>58447</c:v>
                </c:pt>
                <c:pt idx="37214">
                  <c:v>34603</c:v>
                </c:pt>
                <c:pt idx="37215">
                  <c:v>244403</c:v>
                </c:pt>
                <c:pt idx="37216">
                  <c:v>32940</c:v>
                </c:pt>
                <c:pt idx="37217">
                  <c:v>279456</c:v>
                </c:pt>
                <c:pt idx="37218">
                  <c:v>57619</c:v>
                </c:pt>
                <c:pt idx="37219">
                  <c:v>42631</c:v>
                </c:pt>
                <c:pt idx="37220">
                  <c:v>29455</c:v>
                </c:pt>
                <c:pt idx="37221">
                  <c:v>36828</c:v>
                </c:pt>
                <c:pt idx="37222">
                  <c:v>45403</c:v>
                </c:pt>
                <c:pt idx="37223">
                  <c:v>54885</c:v>
                </c:pt>
                <c:pt idx="37224">
                  <c:v>71808</c:v>
                </c:pt>
                <c:pt idx="37225">
                  <c:v>171640</c:v>
                </c:pt>
                <c:pt idx="37226">
                  <c:v>34961</c:v>
                </c:pt>
                <c:pt idx="37227">
                  <c:v>24461</c:v>
                </c:pt>
                <c:pt idx="37228">
                  <c:v>109506</c:v>
                </c:pt>
                <c:pt idx="37229">
                  <c:v>41834</c:v>
                </c:pt>
                <c:pt idx="37230">
                  <c:v>140824</c:v>
                </c:pt>
                <c:pt idx="37231">
                  <c:v>26577</c:v>
                </c:pt>
                <c:pt idx="37232">
                  <c:v>39651</c:v>
                </c:pt>
                <c:pt idx="37233">
                  <c:v>146823</c:v>
                </c:pt>
                <c:pt idx="37234">
                  <c:v>68346</c:v>
                </c:pt>
                <c:pt idx="37235">
                  <c:v>38930</c:v>
                </c:pt>
                <c:pt idx="37236">
                  <c:v>23405</c:v>
                </c:pt>
                <c:pt idx="37237">
                  <c:v>30303</c:v>
                </c:pt>
                <c:pt idx="37238">
                  <c:v>50946</c:v>
                </c:pt>
                <c:pt idx="37239">
                  <c:v>367247</c:v>
                </c:pt>
                <c:pt idx="37240">
                  <c:v>55708</c:v>
                </c:pt>
                <c:pt idx="37241">
                  <c:v>53707</c:v>
                </c:pt>
                <c:pt idx="37242">
                  <c:v>69625</c:v>
                </c:pt>
                <c:pt idx="37243">
                  <c:v>27229</c:v>
                </c:pt>
                <c:pt idx="37244">
                  <c:v>64908</c:v>
                </c:pt>
                <c:pt idx="37245">
                  <c:v>29917</c:v>
                </c:pt>
                <c:pt idx="37246">
                  <c:v>90200</c:v>
                </c:pt>
                <c:pt idx="37247">
                  <c:v>55628</c:v>
                </c:pt>
                <c:pt idx="37248">
                  <c:v>80276</c:v>
                </c:pt>
                <c:pt idx="37249">
                  <c:v>38111</c:v>
                </c:pt>
                <c:pt idx="37250">
                  <c:v>31001</c:v>
                </c:pt>
                <c:pt idx="37251">
                  <c:v>87638</c:v>
                </c:pt>
                <c:pt idx="37252">
                  <c:v>42367</c:v>
                </c:pt>
                <c:pt idx="37253">
                  <c:v>48072</c:v>
                </c:pt>
                <c:pt idx="37254">
                  <c:v>39009</c:v>
                </c:pt>
                <c:pt idx="37255">
                  <c:v>98562</c:v>
                </c:pt>
                <c:pt idx="37256">
                  <c:v>29868</c:v>
                </c:pt>
                <c:pt idx="37257">
                  <c:v>63527</c:v>
                </c:pt>
                <c:pt idx="37258">
                  <c:v>75198</c:v>
                </c:pt>
                <c:pt idx="37259">
                  <c:v>44395</c:v>
                </c:pt>
                <c:pt idx="37260">
                  <c:v>220671</c:v>
                </c:pt>
                <c:pt idx="37261">
                  <c:v>162579</c:v>
                </c:pt>
                <c:pt idx="37262">
                  <c:v>42869</c:v>
                </c:pt>
                <c:pt idx="37263">
                  <c:v>36483</c:v>
                </c:pt>
                <c:pt idx="37264">
                  <c:v>25351</c:v>
                </c:pt>
                <c:pt idx="37265">
                  <c:v>57997</c:v>
                </c:pt>
                <c:pt idx="37266">
                  <c:v>26551</c:v>
                </c:pt>
                <c:pt idx="37267">
                  <c:v>39623</c:v>
                </c:pt>
                <c:pt idx="37268">
                  <c:v>51132</c:v>
                </c:pt>
                <c:pt idx="37269">
                  <c:v>32580</c:v>
                </c:pt>
                <c:pt idx="37270">
                  <c:v>108865</c:v>
                </c:pt>
                <c:pt idx="37271">
                  <c:v>49721</c:v>
                </c:pt>
                <c:pt idx="37272">
                  <c:v>29296</c:v>
                </c:pt>
                <c:pt idx="37273">
                  <c:v>54960</c:v>
                </c:pt>
                <c:pt idx="37274">
                  <c:v>111195</c:v>
                </c:pt>
                <c:pt idx="37275">
                  <c:v>44602</c:v>
                </c:pt>
                <c:pt idx="37276">
                  <c:v>59908</c:v>
                </c:pt>
                <c:pt idx="37277">
                  <c:v>116956</c:v>
                </c:pt>
                <c:pt idx="37278">
                  <c:v>26879</c:v>
                </c:pt>
                <c:pt idx="37279">
                  <c:v>192529</c:v>
                </c:pt>
                <c:pt idx="37280">
                  <c:v>96239</c:v>
                </c:pt>
                <c:pt idx="37281">
                  <c:v>50094</c:v>
                </c:pt>
                <c:pt idx="37282">
                  <c:v>169308</c:v>
                </c:pt>
                <c:pt idx="37283">
                  <c:v>66888</c:v>
                </c:pt>
                <c:pt idx="37284">
                  <c:v>34127</c:v>
                </c:pt>
                <c:pt idx="37285">
                  <c:v>30199</c:v>
                </c:pt>
                <c:pt idx="37286">
                  <c:v>57384</c:v>
                </c:pt>
                <c:pt idx="37287">
                  <c:v>32460</c:v>
                </c:pt>
                <c:pt idx="37288">
                  <c:v>23207</c:v>
                </c:pt>
                <c:pt idx="37289">
                  <c:v>72106</c:v>
                </c:pt>
                <c:pt idx="37290">
                  <c:v>179245</c:v>
                </c:pt>
                <c:pt idx="37291">
                  <c:v>30065</c:v>
                </c:pt>
                <c:pt idx="37292">
                  <c:v>235665</c:v>
                </c:pt>
                <c:pt idx="37293">
                  <c:v>241472</c:v>
                </c:pt>
                <c:pt idx="37294">
                  <c:v>40257</c:v>
                </c:pt>
                <c:pt idx="37295">
                  <c:v>28781</c:v>
                </c:pt>
                <c:pt idx="37296">
                  <c:v>48286</c:v>
                </c:pt>
                <c:pt idx="37297">
                  <c:v>53176</c:v>
                </c:pt>
                <c:pt idx="37298">
                  <c:v>37901</c:v>
                </c:pt>
                <c:pt idx="37299">
                  <c:v>59254</c:v>
                </c:pt>
                <c:pt idx="37300">
                  <c:v>68155</c:v>
                </c:pt>
                <c:pt idx="37301">
                  <c:v>111963</c:v>
                </c:pt>
                <c:pt idx="37302">
                  <c:v>33880</c:v>
                </c:pt>
                <c:pt idx="37303">
                  <c:v>43826</c:v>
                </c:pt>
                <c:pt idx="37304">
                  <c:v>45238</c:v>
                </c:pt>
                <c:pt idx="37305">
                  <c:v>60407</c:v>
                </c:pt>
                <c:pt idx="37306">
                  <c:v>26732</c:v>
                </c:pt>
                <c:pt idx="37307">
                  <c:v>179742</c:v>
                </c:pt>
                <c:pt idx="37308">
                  <c:v>40592</c:v>
                </c:pt>
                <c:pt idx="37309">
                  <c:v>61460</c:v>
                </c:pt>
                <c:pt idx="37310">
                  <c:v>116022</c:v>
                </c:pt>
                <c:pt idx="37311">
                  <c:v>55120</c:v>
                </c:pt>
                <c:pt idx="37312">
                  <c:v>102080</c:v>
                </c:pt>
                <c:pt idx="37313">
                  <c:v>46108</c:v>
                </c:pt>
                <c:pt idx="37314">
                  <c:v>22755</c:v>
                </c:pt>
                <c:pt idx="37315">
                  <c:v>44753</c:v>
                </c:pt>
                <c:pt idx="37316">
                  <c:v>44171</c:v>
                </c:pt>
                <c:pt idx="37317">
                  <c:v>32019</c:v>
                </c:pt>
                <c:pt idx="37318">
                  <c:v>49046</c:v>
                </c:pt>
                <c:pt idx="37319">
                  <c:v>34511</c:v>
                </c:pt>
                <c:pt idx="37320">
                  <c:v>170338</c:v>
                </c:pt>
                <c:pt idx="37321">
                  <c:v>87481</c:v>
                </c:pt>
                <c:pt idx="37322">
                  <c:v>151080</c:v>
                </c:pt>
                <c:pt idx="37323">
                  <c:v>36159</c:v>
                </c:pt>
                <c:pt idx="37324">
                  <c:v>41427</c:v>
                </c:pt>
                <c:pt idx="37325">
                  <c:v>25422</c:v>
                </c:pt>
                <c:pt idx="37326">
                  <c:v>23118</c:v>
                </c:pt>
                <c:pt idx="37327">
                  <c:v>34830</c:v>
                </c:pt>
                <c:pt idx="37328">
                  <c:v>61898</c:v>
                </c:pt>
                <c:pt idx="37329">
                  <c:v>45605</c:v>
                </c:pt>
                <c:pt idx="37330">
                  <c:v>26743</c:v>
                </c:pt>
                <c:pt idx="37331">
                  <c:v>32137</c:v>
                </c:pt>
                <c:pt idx="37332">
                  <c:v>34969</c:v>
                </c:pt>
                <c:pt idx="37333">
                  <c:v>53967</c:v>
                </c:pt>
                <c:pt idx="37334">
                  <c:v>47287</c:v>
                </c:pt>
                <c:pt idx="37335">
                  <c:v>44242</c:v>
                </c:pt>
                <c:pt idx="37336">
                  <c:v>39544</c:v>
                </c:pt>
                <c:pt idx="37337">
                  <c:v>30651</c:v>
                </c:pt>
                <c:pt idx="37338">
                  <c:v>41944</c:v>
                </c:pt>
                <c:pt idx="37339">
                  <c:v>84987</c:v>
                </c:pt>
                <c:pt idx="37340">
                  <c:v>213962</c:v>
                </c:pt>
                <c:pt idx="37341">
                  <c:v>20280</c:v>
                </c:pt>
                <c:pt idx="37342">
                  <c:v>109079</c:v>
                </c:pt>
                <c:pt idx="37343">
                  <c:v>39167</c:v>
                </c:pt>
                <c:pt idx="37344">
                  <c:v>75344</c:v>
                </c:pt>
                <c:pt idx="37345">
                  <c:v>31101</c:v>
                </c:pt>
                <c:pt idx="37346">
                  <c:v>308617</c:v>
                </c:pt>
                <c:pt idx="37347">
                  <c:v>45232</c:v>
                </c:pt>
                <c:pt idx="37348">
                  <c:v>63226</c:v>
                </c:pt>
                <c:pt idx="37349">
                  <c:v>123591</c:v>
                </c:pt>
                <c:pt idx="37350">
                  <c:v>49598</c:v>
                </c:pt>
                <c:pt idx="37351">
                  <c:v>51332</c:v>
                </c:pt>
                <c:pt idx="37352">
                  <c:v>68053</c:v>
                </c:pt>
                <c:pt idx="37353">
                  <c:v>56512</c:v>
                </c:pt>
                <c:pt idx="37354">
                  <c:v>51539</c:v>
                </c:pt>
                <c:pt idx="37355">
                  <c:v>44996</c:v>
                </c:pt>
                <c:pt idx="37356">
                  <c:v>59922</c:v>
                </c:pt>
                <c:pt idx="37357">
                  <c:v>131465</c:v>
                </c:pt>
                <c:pt idx="37358">
                  <c:v>43821</c:v>
                </c:pt>
                <c:pt idx="37359">
                  <c:v>67055</c:v>
                </c:pt>
                <c:pt idx="37360">
                  <c:v>34775</c:v>
                </c:pt>
                <c:pt idx="37361">
                  <c:v>72564</c:v>
                </c:pt>
                <c:pt idx="37362">
                  <c:v>38533</c:v>
                </c:pt>
                <c:pt idx="37363">
                  <c:v>34554</c:v>
                </c:pt>
                <c:pt idx="37364">
                  <c:v>91628</c:v>
                </c:pt>
                <c:pt idx="37365">
                  <c:v>132651</c:v>
                </c:pt>
                <c:pt idx="37366">
                  <c:v>23212</c:v>
                </c:pt>
                <c:pt idx="37367">
                  <c:v>32132</c:v>
                </c:pt>
                <c:pt idx="37368">
                  <c:v>26817</c:v>
                </c:pt>
                <c:pt idx="37369">
                  <c:v>222224</c:v>
                </c:pt>
                <c:pt idx="37370">
                  <c:v>50166</c:v>
                </c:pt>
                <c:pt idx="37371">
                  <c:v>68132</c:v>
                </c:pt>
                <c:pt idx="37372">
                  <c:v>17459</c:v>
                </c:pt>
                <c:pt idx="37373">
                  <c:v>74552</c:v>
                </c:pt>
                <c:pt idx="37374">
                  <c:v>29747</c:v>
                </c:pt>
                <c:pt idx="37375">
                  <c:v>38846</c:v>
                </c:pt>
                <c:pt idx="37376">
                  <c:v>56396</c:v>
                </c:pt>
                <c:pt idx="37377">
                  <c:v>86032</c:v>
                </c:pt>
                <c:pt idx="37378">
                  <c:v>43977</c:v>
                </c:pt>
                <c:pt idx="37379">
                  <c:v>40305</c:v>
                </c:pt>
                <c:pt idx="37380">
                  <c:v>100235</c:v>
                </c:pt>
                <c:pt idx="37381">
                  <c:v>28366</c:v>
                </c:pt>
                <c:pt idx="37382">
                  <c:v>45227</c:v>
                </c:pt>
                <c:pt idx="37383">
                  <c:v>132949</c:v>
                </c:pt>
                <c:pt idx="37384">
                  <c:v>34556</c:v>
                </c:pt>
                <c:pt idx="37385">
                  <c:v>20776</c:v>
                </c:pt>
                <c:pt idx="37386">
                  <c:v>88764</c:v>
                </c:pt>
                <c:pt idx="37387">
                  <c:v>102217</c:v>
                </c:pt>
                <c:pt idx="37388">
                  <c:v>47952</c:v>
                </c:pt>
                <c:pt idx="37389">
                  <c:v>44788</c:v>
                </c:pt>
                <c:pt idx="37390">
                  <c:v>41853</c:v>
                </c:pt>
                <c:pt idx="37391">
                  <c:v>63878</c:v>
                </c:pt>
                <c:pt idx="37392">
                  <c:v>27585</c:v>
                </c:pt>
                <c:pt idx="37393">
                  <c:v>33653</c:v>
                </c:pt>
                <c:pt idx="37394">
                  <c:v>47662</c:v>
                </c:pt>
                <c:pt idx="37395">
                  <c:v>62596</c:v>
                </c:pt>
                <c:pt idx="37396">
                  <c:v>38443</c:v>
                </c:pt>
                <c:pt idx="37397">
                  <c:v>31628</c:v>
                </c:pt>
                <c:pt idx="37398">
                  <c:v>47778</c:v>
                </c:pt>
                <c:pt idx="37399">
                  <c:v>83915</c:v>
                </c:pt>
                <c:pt idx="37400">
                  <c:v>65715</c:v>
                </c:pt>
                <c:pt idx="37401">
                  <c:v>39844</c:v>
                </c:pt>
                <c:pt idx="37402">
                  <c:v>31778</c:v>
                </c:pt>
                <c:pt idx="37403">
                  <c:v>26737</c:v>
                </c:pt>
                <c:pt idx="37404">
                  <c:v>88631</c:v>
                </c:pt>
                <c:pt idx="37405">
                  <c:v>26215</c:v>
                </c:pt>
                <c:pt idx="37406">
                  <c:v>61182</c:v>
                </c:pt>
                <c:pt idx="37407">
                  <c:v>45371</c:v>
                </c:pt>
                <c:pt idx="37408">
                  <c:v>54354</c:v>
                </c:pt>
                <c:pt idx="37409">
                  <c:v>60742</c:v>
                </c:pt>
                <c:pt idx="37410">
                  <c:v>128584</c:v>
                </c:pt>
                <c:pt idx="37411">
                  <c:v>49464</c:v>
                </c:pt>
                <c:pt idx="37412">
                  <c:v>44164</c:v>
                </c:pt>
                <c:pt idx="37413">
                  <c:v>66834</c:v>
                </c:pt>
                <c:pt idx="37414">
                  <c:v>36431</c:v>
                </c:pt>
                <c:pt idx="37415">
                  <c:v>53256</c:v>
                </c:pt>
                <c:pt idx="37416">
                  <c:v>58813</c:v>
                </c:pt>
                <c:pt idx="37417">
                  <c:v>147400</c:v>
                </c:pt>
                <c:pt idx="37418">
                  <c:v>33733</c:v>
                </c:pt>
                <c:pt idx="37419">
                  <c:v>36611</c:v>
                </c:pt>
                <c:pt idx="37420">
                  <c:v>25137</c:v>
                </c:pt>
                <c:pt idx="37421">
                  <c:v>39059</c:v>
                </c:pt>
                <c:pt idx="37422">
                  <c:v>99063</c:v>
                </c:pt>
                <c:pt idx="37423">
                  <c:v>29742</c:v>
                </c:pt>
                <c:pt idx="37424">
                  <c:v>49944</c:v>
                </c:pt>
                <c:pt idx="37425">
                  <c:v>44907</c:v>
                </c:pt>
                <c:pt idx="37426">
                  <c:v>45942</c:v>
                </c:pt>
                <c:pt idx="37427">
                  <c:v>34221</c:v>
                </c:pt>
                <c:pt idx="37428">
                  <c:v>22606</c:v>
                </c:pt>
                <c:pt idx="37429">
                  <c:v>58825</c:v>
                </c:pt>
                <c:pt idx="37430">
                  <c:v>37615</c:v>
                </c:pt>
                <c:pt idx="37431">
                  <c:v>60201</c:v>
                </c:pt>
                <c:pt idx="37432">
                  <c:v>40127</c:v>
                </c:pt>
                <c:pt idx="37433">
                  <c:v>23706</c:v>
                </c:pt>
                <c:pt idx="37434">
                  <c:v>32536</c:v>
                </c:pt>
                <c:pt idx="37435">
                  <c:v>25565</c:v>
                </c:pt>
                <c:pt idx="37436">
                  <c:v>49325</c:v>
                </c:pt>
                <c:pt idx="37437">
                  <c:v>42094</c:v>
                </c:pt>
                <c:pt idx="37438">
                  <c:v>71627</c:v>
                </c:pt>
                <c:pt idx="37439">
                  <c:v>32485</c:v>
                </c:pt>
                <c:pt idx="37440">
                  <c:v>159156</c:v>
                </c:pt>
                <c:pt idx="37441">
                  <c:v>21652</c:v>
                </c:pt>
                <c:pt idx="37442">
                  <c:v>75519</c:v>
                </c:pt>
                <c:pt idx="37443">
                  <c:v>64414</c:v>
                </c:pt>
                <c:pt idx="37444">
                  <c:v>47029</c:v>
                </c:pt>
                <c:pt idx="37445">
                  <c:v>30985</c:v>
                </c:pt>
                <c:pt idx="37446">
                  <c:v>280775</c:v>
                </c:pt>
                <c:pt idx="37447">
                  <c:v>45398</c:v>
                </c:pt>
                <c:pt idx="37448">
                  <c:v>85374</c:v>
                </c:pt>
                <c:pt idx="37449">
                  <c:v>50763</c:v>
                </c:pt>
                <c:pt idx="37450">
                  <c:v>163371</c:v>
                </c:pt>
                <c:pt idx="37451">
                  <c:v>22506</c:v>
                </c:pt>
                <c:pt idx="37452">
                  <c:v>69551</c:v>
                </c:pt>
                <c:pt idx="37453">
                  <c:v>39463</c:v>
                </c:pt>
                <c:pt idx="37454">
                  <c:v>24199</c:v>
                </c:pt>
                <c:pt idx="37455">
                  <c:v>43670</c:v>
                </c:pt>
                <c:pt idx="37456">
                  <c:v>58271</c:v>
                </c:pt>
                <c:pt idx="37457">
                  <c:v>26109</c:v>
                </c:pt>
                <c:pt idx="37458">
                  <c:v>64166</c:v>
                </c:pt>
                <c:pt idx="37459">
                  <c:v>36419</c:v>
                </c:pt>
                <c:pt idx="37460">
                  <c:v>22809</c:v>
                </c:pt>
                <c:pt idx="37461">
                  <c:v>32868</c:v>
                </c:pt>
                <c:pt idx="37462">
                  <c:v>45898</c:v>
                </c:pt>
                <c:pt idx="37463">
                  <c:v>31292</c:v>
                </c:pt>
                <c:pt idx="37464">
                  <c:v>201639</c:v>
                </c:pt>
                <c:pt idx="37465">
                  <c:v>47725</c:v>
                </c:pt>
                <c:pt idx="37466">
                  <c:v>49931</c:v>
                </c:pt>
                <c:pt idx="37467">
                  <c:v>26404</c:v>
                </c:pt>
                <c:pt idx="37468">
                  <c:v>34625</c:v>
                </c:pt>
                <c:pt idx="37469">
                  <c:v>33131</c:v>
                </c:pt>
                <c:pt idx="37470">
                  <c:v>42992</c:v>
                </c:pt>
                <c:pt idx="37471">
                  <c:v>33237</c:v>
                </c:pt>
                <c:pt idx="37472">
                  <c:v>283284</c:v>
                </c:pt>
                <c:pt idx="37473">
                  <c:v>60688</c:v>
                </c:pt>
                <c:pt idx="37474">
                  <c:v>57442</c:v>
                </c:pt>
                <c:pt idx="37475">
                  <c:v>83487</c:v>
                </c:pt>
                <c:pt idx="37476">
                  <c:v>36222</c:v>
                </c:pt>
                <c:pt idx="37477">
                  <c:v>15000</c:v>
                </c:pt>
                <c:pt idx="37478">
                  <c:v>99580</c:v>
                </c:pt>
                <c:pt idx="37479">
                  <c:v>35223</c:v>
                </c:pt>
                <c:pt idx="37480">
                  <c:v>64316</c:v>
                </c:pt>
                <c:pt idx="37481">
                  <c:v>51377</c:v>
                </c:pt>
                <c:pt idx="37482">
                  <c:v>101788</c:v>
                </c:pt>
                <c:pt idx="37483">
                  <c:v>39734</c:v>
                </c:pt>
                <c:pt idx="37484">
                  <c:v>47817</c:v>
                </c:pt>
                <c:pt idx="37485">
                  <c:v>52424</c:v>
                </c:pt>
                <c:pt idx="37486">
                  <c:v>122950</c:v>
                </c:pt>
                <c:pt idx="37487">
                  <c:v>213899</c:v>
                </c:pt>
                <c:pt idx="37488">
                  <c:v>51730</c:v>
                </c:pt>
                <c:pt idx="37489">
                  <c:v>24406</c:v>
                </c:pt>
                <c:pt idx="37490">
                  <c:v>123081</c:v>
                </c:pt>
                <c:pt idx="37491">
                  <c:v>85866</c:v>
                </c:pt>
                <c:pt idx="37492">
                  <c:v>32920</c:v>
                </c:pt>
                <c:pt idx="37493">
                  <c:v>25376</c:v>
                </c:pt>
                <c:pt idx="37494">
                  <c:v>28647</c:v>
                </c:pt>
                <c:pt idx="37495">
                  <c:v>61958</c:v>
                </c:pt>
                <c:pt idx="37496">
                  <c:v>47782</c:v>
                </c:pt>
                <c:pt idx="37497">
                  <c:v>49155</c:v>
                </c:pt>
                <c:pt idx="37498">
                  <c:v>29608</c:v>
                </c:pt>
                <c:pt idx="37499">
                  <c:v>39468</c:v>
                </c:pt>
                <c:pt idx="37500">
                  <c:v>211201</c:v>
                </c:pt>
                <c:pt idx="37501">
                  <c:v>65335</c:v>
                </c:pt>
                <c:pt idx="37502">
                  <c:v>32921</c:v>
                </c:pt>
                <c:pt idx="37503">
                  <c:v>44440</c:v>
                </c:pt>
                <c:pt idx="37504">
                  <c:v>38164</c:v>
                </c:pt>
                <c:pt idx="37505">
                  <c:v>90328</c:v>
                </c:pt>
                <c:pt idx="37506">
                  <c:v>73438</c:v>
                </c:pt>
                <c:pt idx="37507">
                  <c:v>43393</c:v>
                </c:pt>
                <c:pt idx="37508">
                  <c:v>32819</c:v>
                </c:pt>
                <c:pt idx="37509">
                  <c:v>32158</c:v>
                </c:pt>
                <c:pt idx="37510">
                  <c:v>43905</c:v>
                </c:pt>
                <c:pt idx="37511">
                  <c:v>26277</c:v>
                </c:pt>
                <c:pt idx="37512">
                  <c:v>71603</c:v>
                </c:pt>
                <c:pt idx="37513">
                  <c:v>46984</c:v>
                </c:pt>
                <c:pt idx="37514">
                  <c:v>43477</c:v>
                </c:pt>
                <c:pt idx="37515">
                  <c:v>200918</c:v>
                </c:pt>
                <c:pt idx="37516">
                  <c:v>159511</c:v>
                </c:pt>
                <c:pt idx="37517">
                  <c:v>30563</c:v>
                </c:pt>
                <c:pt idx="37518">
                  <c:v>32713</c:v>
                </c:pt>
                <c:pt idx="37519">
                  <c:v>42932</c:v>
                </c:pt>
                <c:pt idx="37520">
                  <c:v>65183</c:v>
                </c:pt>
                <c:pt idx="37521">
                  <c:v>23158</c:v>
                </c:pt>
                <c:pt idx="37522">
                  <c:v>32274</c:v>
                </c:pt>
                <c:pt idx="37523">
                  <c:v>56552</c:v>
                </c:pt>
                <c:pt idx="37524">
                  <c:v>36598</c:v>
                </c:pt>
                <c:pt idx="37525">
                  <c:v>31797</c:v>
                </c:pt>
                <c:pt idx="37526">
                  <c:v>51194</c:v>
                </c:pt>
                <c:pt idx="37527">
                  <c:v>46950</c:v>
                </c:pt>
                <c:pt idx="37528">
                  <c:v>41880</c:v>
                </c:pt>
                <c:pt idx="37529">
                  <c:v>41643</c:v>
                </c:pt>
                <c:pt idx="37530">
                  <c:v>24840</c:v>
                </c:pt>
                <c:pt idx="37531">
                  <c:v>20795</c:v>
                </c:pt>
                <c:pt idx="37532">
                  <c:v>60026</c:v>
                </c:pt>
                <c:pt idx="37533">
                  <c:v>85280</c:v>
                </c:pt>
                <c:pt idx="37534">
                  <c:v>102459</c:v>
                </c:pt>
                <c:pt idx="37535">
                  <c:v>200796</c:v>
                </c:pt>
                <c:pt idx="37536">
                  <c:v>28551</c:v>
                </c:pt>
                <c:pt idx="37537">
                  <c:v>52900</c:v>
                </c:pt>
                <c:pt idx="37538">
                  <c:v>39751</c:v>
                </c:pt>
                <c:pt idx="37539">
                  <c:v>80862</c:v>
                </c:pt>
                <c:pt idx="37540">
                  <c:v>81347</c:v>
                </c:pt>
                <c:pt idx="37541">
                  <c:v>85444</c:v>
                </c:pt>
                <c:pt idx="37542">
                  <c:v>89424</c:v>
                </c:pt>
                <c:pt idx="37543">
                  <c:v>38307</c:v>
                </c:pt>
                <c:pt idx="37544">
                  <c:v>26596</c:v>
                </c:pt>
                <c:pt idx="37545">
                  <c:v>21770</c:v>
                </c:pt>
                <c:pt idx="37546">
                  <c:v>204038</c:v>
                </c:pt>
                <c:pt idx="37547">
                  <c:v>28351</c:v>
                </c:pt>
                <c:pt idx="37548">
                  <c:v>33624</c:v>
                </c:pt>
                <c:pt idx="37549">
                  <c:v>104885</c:v>
                </c:pt>
                <c:pt idx="37550">
                  <c:v>46348</c:v>
                </c:pt>
                <c:pt idx="37551">
                  <c:v>92585</c:v>
                </c:pt>
                <c:pt idx="37552">
                  <c:v>41679</c:v>
                </c:pt>
                <c:pt idx="37553">
                  <c:v>26365</c:v>
                </c:pt>
                <c:pt idx="37554">
                  <c:v>44200</c:v>
                </c:pt>
                <c:pt idx="37555">
                  <c:v>24481</c:v>
                </c:pt>
                <c:pt idx="37556">
                  <c:v>35636</c:v>
                </c:pt>
                <c:pt idx="37557">
                  <c:v>30661</c:v>
                </c:pt>
                <c:pt idx="37558">
                  <c:v>34740</c:v>
                </c:pt>
                <c:pt idx="37559">
                  <c:v>26520</c:v>
                </c:pt>
                <c:pt idx="37560">
                  <c:v>34195</c:v>
                </c:pt>
                <c:pt idx="37561">
                  <c:v>66788</c:v>
                </c:pt>
                <c:pt idx="37562">
                  <c:v>38628</c:v>
                </c:pt>
                <c:pt idx="37563">
                  <c:v>40552</c:v>
                </c:pt>
                <c:pt idx="37564">
                  <c:v>79363</c:v>
                </c:pt>
                <c:pt idx="37565">
                  <c:v>264272</c:v>
                </c:pt>
                <c:pt idx="37566">
                  <c:v>36861</c:v>
                </c:pt>
                <c:pt idx="37567">
                  <c:v>37053</c:v>
                </c:pt>
                <c:pt idx="37568">
                  <c:v>24224</c:v>
                </c:pt>
                <c:pt idx="37569">
                  <c:v>29493</c:v>
                </c:pt>
                <c:pt idx="37570">
                  <c:v>35014</c:v>
                </c:pt>
                <c:pt idx="37571">
                  <c:v>45427</c:v>
                </c:pt>
                <c:pt idx="37572">
                  <c:v>40325</c:v>
                </c:pt>
                <c:pt idx="37573">
                  <c:v>146544</c:v>
                </c:pt>
                <c:pt idx="37574">
                  <c:v>60670</c:v>
                </c:pt>
                <c:pt idx="37575">
                  <c:v>37767</c:v>
                </c:pt>
                <c:pt idx="37576">
                  <c:v>37519</c:v>
                </c:pt>
                <c:pt idx="37577">
                  <c:v>25425</c:v>
                </c:pt>
                <c:pt idx="37578">
                  <c:v>24025</c:v>
                </c:pt>
                <c:pt idx="37579">
                  <c:v>35191</c:v>
                </c:pt>
                <c:pt idx="37580">
                  <c:v>46973</c:v>
                </c:pt>
                <c:pt idx="37581">
                  <c:v>37952</c:v>
                </c:pt>
                <c:pt idx="37582">
                  <c:v>105221</c:v>
                </c:pt>
                <c:pt idx="37583">
                  <c:v>92530</c:v>
                </c:pt>
                <c:pt idx="37584">
                  <c:v>34582</c:v>
                </c:pt>
                <c:pt idx="37585">
                  <c:v>46041</c:v>
                </c:pt>
                <c:pt idx="37586">
                  <c:v>27711</c:v>
                </c:pt>
                <c:pt idx="37587">
                  <c:v>162101</c:v>
                </c:pt>
                <c:pt idx="37588">
                  <c:v>28565</c:v>
                </c:pt>
                <c:pt idx="37589">
                  <c:v>89565</c:v>
                </c:pt>
                <c:pt idx="37590">
                  <c:v>30766</c:v>
                </c:pt>
                <c:pt idx="37591">
                  <c:v>33528</c:v>
                </c:pt>
                <c:pt idx="37592">
                  <c:v>116090</c:v>
                </c:pt>
                <c:pt idx="37593">
                  <c:v>17582</c:v>
                </c:pt>
                <c:pt idx="37594">
                  <c:v>47146</c:v>
                </c:pt>
                <c:pt idx="37595">
                  <c:v>43186</c:v>
                </c:pt>
                <c:pt idx="37596">
                  <c:v>41959</c:v>
                </c:pt>
                <c:pt idx="37597">
                  <c:v>34193</c:v>
                </c:pt>
                <c:pt idx="37598">
                  <c:v>32479</c:v>
                </c:pt>
                <c:pt idx="37599">
                  <c:v>47674</c:v>
                </c:pt>
                <c:pt idx="37600">
                  <c:v>37512</c:v>
                </c:pt>
                <c:pt idx="37601">
                  <c:v>97616</c:v>
                </c:pt>
                <c:pt idx="37602">
                  <c:v>36138</c:v>
                </c:pt>
                <c:pt idx="37603">
                  <c:v>62555</c:v>
                </c:pt>
                <c:pt idx="37604">
                  <c:v>39087</c:v>
                </c:pt>
                <c:pt idx="37605">
                  <c:v>45620</c:v>
                </c:pt>
                <c:pt idx="37606">
                  <c:v>43720</c:v>
                </c:pt>
                <c:pt idx="37607">
                  <c:v>42277</c:v>
                </c:pt>
                <c:pt idx="37608">
                  <c:v>36140</c:v>
                </c:pt>
                <c:pt idx="37609">
                  <c:v>41082</c:v>
                </c:pt>
                <c:pt idx="37610">
                  <c:v>40059</c:v>
                </c:pt>
                <c:pt idx="37611">
                  <c:v>55297</c:v>
                </c:pt>
                <c:pt idx="37612">
                  <c:v>137291</c:v>
                </c:pt>
                <c:pt idx="37613">
                  <c:v>43728</c:v>
                </c:pt>
                <c:pt idx="37614">
                  <c:v>31166</c:v>
                </c:pt>
                <c:pt idx="37615">
                  <c:v>220094</c:v>
                </c:pt>
                <c:pt idx="37616">
                  <c:v>27047</c:v>
                </c:pt>
                <c:pt idx="37617">
                  <c:v>210561</c:v>
                </c:pt>
                <c:pt idx="37618">
                  <c:v>95958</c:v>
                </c:pt>
                <c:pt idx="37619">
                  <c:v>43815</c:v>
                </c:pt>
                <c:pt idx="37620">
                  <c:v>32380</c:v>
                </c:pt>
                <c:pt idx="37621">
                  <c:v>24091</c:v>
                </c:pt>
                <c:pt idx="37622">
                  <c:v>69511</c:v>
                </c:pt>
                <c:pt idx="37623">
                  <c:v>45002</c:v>
                </c:pt>
                <c:pt idx="37624">
                  <c:v>71944</c:v>
                </c:pt>
                <c:pt idx="37625">
                  <c:v>33935</c:v>
                </c:pt>
                <c:pt idx="37626">
                  <c:v>35731</c:v>
                </c:pt>
                <c:pt idx="37627">
                  <c:v>37073</c:v>
                </c:pt>
                <c:pt idx="37628">
                  <c:v>44543</c:v>
                </c:pt>
                <c:pt idx="37629">
                  <c:v>84669</c:v>
                </c:pt>
                <c:pt idx="37630">
                  <c:v>82033</c:v>
                </c:pt>
                <c:pt idx="37631">
                  <c:v>42588</c:v>
                </c:pt>
                <c:pt idx="37632">
                  <c:v>46082</c:v>
                </c:pt>
                <c:pt idx="37633">
                  <c:v>25399</c:v>
                </c:pt>
                <c:pt idx="37634">
                  <c:v>34899</c:v>
                </c:pt>
                <c:pt idx="37635">
                  <c:v>92997</c:v>
                </c:pt>
                <c:pt idx="37636">
                  <c:v>56798</c:v>
                </c:pt>
                <c:pt idx="37637">
                  <c:v>35180</c:v>
                </c:pt>
                <c:pt idx="37638">
                  <c:v>25401</c:v>
                </c:pt>
                <c:pt idx="37639">
                  <c:v>59357</c:v>
                </c:pt>
                <c:pt idx="37640">
                  <c:v>44371</c:v>
                </c:pt>
                <c:pt idx="37641">
                  <c:v>39644</c:v>
                </c:pt>
                <c:pt idx="37642">
                  <c:v>67950</c:v>
                </c:pt>
                <c:pt idx="37643">
                  <c:v>35289</c:v>
                </c:pt>
                <c:pt idx="37644">
                  <c:v>28037</c:v>
                </c:pt>
                <c:pt idx="37645">
                  <c:v>44253</c:v>
                </c:pt>
                <c:pt idx="37646">
                  <c:v>25985</c:v>
                </c:pt>
                <c:pt idx="37647">
                  <c:v>44334</c:v>
                </c:pt>
                <c:pt idx="37648">
                  <c:v>64614</c:v>
                </c:pt>
                <c:pt idx="37649">
                  <c:v>37059</c:v>
                </c:pt>
                <c:pt idx="37650">
                  <c:v>37024</c:v>
                </c:pt>
                <c:pt idx="37651">
                  <c:v>25577</c:v>
                </c:pt>
                <c:pt idx="37652">
                  <c:v>56109</c:v>
                </c:pt>
                <c:pt idx="37653">
                  <c:v>148920</c:v>
                </c:pt>
                <c:pt idx="37654">
                  <c:v>44197</c:v>
                </c:pt>
                <c:pt idx="37655">
                  <c:v>107010</c:v>
                </c:pt>
                <c:pt idx="37656">
                  <c:v>78799</c:v>
                </c:pt>
                <c:pt idx="37657">
                  <c:v>27953</c:v>
                </c:pt>
                <c:pt idx="37658">
                  <c:v>32058</c:v>
                </c:pt>
                <c:pt idx="37659">
                  <c:v>24092</c:v>
                </c:pt>
                <c:pt idx="37660">
                  <c:v>25117</c:v>
                </c:pt>
                <c:pt idx="37661">
                  <c:v>138006</c:v>
                </c:pt>
                <c:pt idx="37662">
                  <c:v>108005</c:v>
                </c:pt>
                <c:pt idx="37663">
                  <c:v>58036</c:v>
                </c:pt>
                <c:pt idx="37664">
                  <c:v>23177</c:v>
                </c:pt>
                <c:pt idx="37665">
                  <c:v>33174</c:v>
                </c:pt>
                <c:pt idx="37666">
                  <c:v>43677</c:v>
                </c:pt>
                <c:pt idx="37667">
                  <c:v>216059</c:v>
                </c:pt>
                <c:pt idx="37668">
                  <c:v>178322</c:v>
                </c:pt>
                <c:pt idx="37669">
                  <c:v>38679</c:v>
                </c:pt>
                <c:pt idx="37670">
                  <c:v>43829</c:v>
                </c:pt>
                <c:pt idx="37671">
                  <c:v>29340</c:v>
                </c:pt>
                <c:pt idx="37672">
                  <c:v>26462</c:v>
                </c:pt>
                <c:pt idx="37673">
                  <c:v>56407</c:v>
                </c:pt>
                <c:pt idx="37674">
                  <c:v>126447</c:v>
                </c:pt>
                <c:pt idx="37675">
                  <c:v>34347</c:v>
                </c:pt>
                <c:pt idx="37676">
                  <c:v>54835</c:v>
                </c:pt>
                <c:pt idx="37677">
                  <c:v>211490</c:v>
                </c:pt>
                <c:pt idx="37678">
                  <c:v>51018</c:v>
                </c:pt>
                <c:pt idx="37679">
                  <c:v>37239</c:v>
                </c:pt>
                <c:pt idx="37680">
                  <c:v>31846</c:v>
                </c:pt>
                <c:pt idx="37681">
                  <c:v>31528</c:v>
                </c:pt>
                <c:pt idx="37682">
                  <c:v>29130</c:v>
                </c:pt>
                <c:pt idx="37683">
                  <c:v>31311</c:v>
                </c:pt>
                <c:pt idx="37684">
                  <c:v>33747</c:v>
                </c:pt>
                <c:pt idx="37685">
                  <c:v>119734</c:v>
                </c:pt>
                <c:pt idx="37686">
                  <c:v>23450</c:v>
                </c:pt>
                <c:pt idx="37687">
                  <c:v>27468</c:v>
                </c:pt>
                <c:pt idx="37688">
                  <c:v>37018</c:v>
                </c:pt>
                <c:pt idx="37689">
                  <c:v>27753</c:v>
                </c:pt>
                <c:pt idx="37690">
                  <c:v>20586</c:v>
                </c:pt>
                <c:pt idx="37691">
                  <c:v>27024</c:v>
                </c:pt>
                <c:pt idx="37692">
                  <c:v>67358</c:v>
                </c:pt>
                <c:pt idx="37693">
                  <c:v>62874</c:v>
                </c:pt>
                <c:pt idx="37694">
                  <c:v>43332</c:v>
                </c:pt>
                <c:pt idx="37695">
                  <c:v>23016</c:v>
                </c:pt>
                <c:pt idx="37696">
                  <c:v>115793</c:v>
                </c:pt>
                <c:pt idx="37697">
                  <c:v>32617</c:v>
                </c:pt>
                <c:pt idx="37698">
                  <c:v>33006</c:v>
                </c:pt>
                <c:pt idx="37699">
                  <c:v>38888</c:v>
                </c:pt>
                <c:pt idx="37700">
                  <c:v>52961</c:v>
                </c:pt>
                <c:pt idx="37701">
                  <c:v>36594</c:v>
                </c:pt>
                <c:pt idx="37702">
                  <c:v>24118</c:v>
                </c:pt>
                <c:pt idx="37703">
                  <c:v>89646</c:v>
                </c:pt>
                <c:pt idx="37704">
                  <c:v>25297</c:v>
                </c:pt>
                <c:pt idx="37705">
                  <c:v>191731</c:v>
                </c:pt>
                <c:pt idx="37706">
                  <c:v>39256</c:v>
                </c:pt>
                <c:pt idx="37707">
                  <c:v>37190</c:v>
                </c:pt>
                <c:pt idx="37708">
                  <c:v>29709</c:v>
                </c:pt>
                <c:pt idx="37709">
                  <c:v>326500</c:v>
                </c:pt>
                <c:pt idx="37710">
                  <c:v>45222</c:v>
                </c:pt>
                <c:pt idx="37711">
                  <c:v>135827</c:v>
                </c:pt>
                <c:pt idx="37712">
                  <c:v>39043</c:v>
                </c:pt>
                <c:pt idx="37713">
                  <c:v>34921</c:v>
                </c:pt>
                <c:pt idx="37714">
                  <c:v>36456</c:v>
                </c:pt>
                <c:pt idx="37715">
                  <c:v>26730</c:v>
                </c:pt>
                <c:pt idx="37716">
                  <c:v>49280</c:v>
                </c:pt>
                <c:pt idx="37717">
                  <c:v>38966</c:v>
                </c:pt>
                <c:pt idx="37718">
                  <c:v>118193</c:v>
                </c:pt>
                <c:pt idx="37719">
                  <c:v>72146</c:v>
                </c:pt>
                <c:pt idx="37720">
                  <c:v>70251</c:v>
                </c:pt>
                <c:pt idx="37721">
                  <c:v>60064</c:v>
                </c:pt>
                <c:pt idx="37722">
                  <c:v>187146</c:v>
                </c:pt>
                <c:pt idx="37723">
                  <c:v>37834</c:v>
                </c:pt>
                <c:pt idx="37724">
                  <c:v>24372</c:v>
                </c:pt>
                <c:pt idx="37725">
                  <c:v>50231</c:v>
                </c:pt>
                <c:pt idx="37726">
                  <c:v>31812</c:v>
                </c:pt>
                <c:pt idx="37727">
                  <c:v>34891</c:v>
                </c:pt>
                <c:pt idx="37728">
                  <c:v>177877</c:v>
                </c:pt>
                <c:pt idx="37729">
                  <c:v>36064</c:v>
                </c:pt>
                <c:pt idx="37730">
                  <c:v>37618</c:v>
                </c:pt>
                <c:pt idx="37731">
                  <c:v>105136</c:v>
                </c:pt>
                <c:pt idx="37732">
                  <c:v>53414</c:v>
                </c:pt>
                <c:pt idx="37733">
                  <c:v>43396</c:v>
                </c:pt>
                <c:pt idx="37734">
                  <c:v>40983</c:v>
                </c:pt>
                <c:pt idx="37735">
                  <c:v>37397</c:v>
                </c:pt>
                <c:pt idx="37736">
                  <c:v>45092</c:v>
                </c:pt>
                <c:pt idx="37737">
                  <c:v>39101</c:v>
                </c:pt>
                <c:pt idx="37738">
                  <c:v>34258</c:v>
                </c:pt>
                <c:pt idx="37739">
                  <c:v>108473</c:v>
                </c:pt>
                <c:pt idx="37740">
                  <c:v>116861</c:v>
                </c:pt>
                <c:pt idx="37741">
                  <c:v>186758</c:v>
                </c:pt>
                <c:pt idx="37742">
                  <c:v>29197</c:v>
                </c:pt>
                <c:pt idx="37743">
                  <c:v>32846</c:v>
                </c:pt>
                <c:pt idx="37744">
                  <c:v>34179</c:v>
                </c:pt>
                <c:pt idx="37745">
                  <c:v>36642</c:v>
                </c:pt>
                <c:pt idx="37746">
                  <c:v>39378</c:v>
                </c:pt>
                <c:pt idx="37747">
                  <c:v>58308</c:v>
                </c:pt>
                <c:pt idx="37748">
                  <c:v>35113</c:v>
                </c:pt>
                <c:pt idx="37749">
                  <c:v>22386</c:v>
                </c:pt>
                <c:pt idx="37750">
                  <c:v>25904</c:v>
                </c:pt>
                <c:pt idx="37751">
                  <c:v>75669</c:v>
                </c:pt>
                <c:pt idx="37752">
                  <c:v>50490</c:v>
                </c:pt>
                <c:pt idx="37753">
                  <c:v>59854</c:v>
                </c:pt>
                <c:pt idx="37754">
                  <c:v>86030</c:v>
                </c:pt>
                <c:pt idx="37755">
                  <c:v>27613</c:v>
                </c:pt>
                <c:pt idx="37756">
                  <c:v>61871</c:v>
                </c:pt>
                <c:pt idx="37757">
                  <c:v>73830</c:v>
                </c:pt>
                <c:pt idx="37758">
                  <c:v>46454</c:v>
                </c:pt>
                <c:pt idx="37759">
                  <c:v>187056</c:v>
                </c:pt>
                <c:pt idx="37760">
                  <c:v>23159</c:v>
                </c:pt>
                <c:pt idx="37761">
                  <c:v>24923</c:v>
                </c:pt>
                <c:pt idx="37762">
                  <c:v>218886</c:v>
                </c:pt>
                <c:pt idx="37763">
                  <c:v>31894</c:v>
                </c:pt>
                <c:pt idx="37764">
                  <c:v>47084</c:v>
                </c:pt>
                <c:pt idx="37765">
                  <c:v>31417</c:v>
                </c:pt>
                <c:pt idx="37766">
                  <c:v>28365</c:v>
                </c:pt>
                <c:pt idx="37767">
                  <c:v>71077</c:v>
                </c:pt>
                <c:pt idx="37768">
                  <c:v>128466</c:v>
                </c:pt>
                <c:pt idx="37769">
                  <c:v>70940</c:v>
                </c:pt>
                <c:pt idx="37770">
                  <c:v>36259</c:v>
                </c:pt>
                <c:pt idx="37771">
                  <c:v>43429</c:v>
                </c:pt>
                <c:pt idx="37772">
                  <c:v>31470</c:v>
                </c:pt>
                <c:pt idx="37773">
                  <c:v>27976</c:v>
                </c:pt>
                <c:pt idx="37774">
                  <c:v>38956</c:v>
                </c:pt>
                <c:pt idx="37775">
                  <c:v>29761</c:v>
                </c:pt>
                <c:pt idx="37776">
                  <c:v>54759</c:v>
                </c:pt>
                <c:pt idx="37777">
                  <c:v>50592</c:v>
                </c:pt>
                <c:pt idx="37778">
                  <c:v>45917</c:v>
                </c:pt>
                <c:pt idx="37779">
                  <c:v>92481</c:v>
                </c:pt>
                <c:pt idx="37780">
                  <c:v>51725</c:v>
                </c:pt>
                <c:pt idx="37781">
                  <c:v>46674</c:v>
                </c:pt>
                <c:pt idx="37782">
                  <c:v>42390</c:v>
                </c:pt>
                <c:pt idx="37783">
                  <c:v>42386</c:v>
                </c:pt>
                <c:pt idx="37784">
                  <c:v>23226</c:v>
                </c:pt>
                <c:pt idx="37785">
                  <c:v>28049</c:v>
                </c:pt>
                <c:pt idx="37786">
                  <c:v>76162</c:v>
                </c:pt>
                <c:pt idx="37787">
                  <c:v>35236</c:v>
                </c:pt>
                <c:pt idx="37788">
                  <c:v>29322</c:v>
                </c:pt>
                <c:pt idx="37789">
                  <c:v>43302</c:v>
                </c:pt>
                <c:pt idx="37790">
                  <c:v>61819</c:v>
                </c:pt>
                <c:pt idx="37791">
                  <c:v>35562</c:v>
                </c:pt>
                <c:pt idx="37792">
                  <c:v>55821</c:v>
                </c:pt>
                <c:pt idx="37793">
                  <c:v>76738</c:v>
                </c:pt>
                <c:pt idx="37794">
                  <c:v>40186</c:v>
                </c:pt>
                <c:pt idx="37795">
                  <c:v>66719</c:v>
                </c:pt>
                <c:pt idx="37796">
                  <c:v>30789</c:v>
                </c:pt>
                <c:pt idx="37797">
                  <c:v>34252</c:v>
                </c:pt>
                <c:pt idx="37798">
                  <c:v>40405</c:v>
                </c:pt>
                <c:pt idx="37799">
                  <c:v>41253</c:v>
                </c:pt>
                <c:pt idx="37800">
                  <c:v>130232</c:v>
                </c:pt>
                <c:pt idx="37801">
                  <c:v>23925</c:v>
                </c:pt>
                <c:pt idx="37802">
                  <c:v>34513</c:v>
                </c:pt>
                <c:pt idx="37803">
                  <c:v>27763</c:v>
                </c:pt>
                <c:pt idx="37804">
                  <c:v>166603</c:v>
                </c:pt>
                <c:pt idx="37805">
                  <c:v>28462</c:v>
                </c:pt>
                <c:pt idx="37806">
                  <c:v>42889</c:v>
                </c:pt>
                <c:pt idx="37807">
                  <c:v>32892</c:v>
                </c:pt>
                <c:pt idx="37808">
                  <c:v>39702</c:v>
                </c:pt>
                <c:pt idx="37809">
                  <c:v>23220</c:v>
                </c:pt>
                <c:pt idx="37810">
                  <c:v>46040</c:v>
                </c:pt>
                <c:pt idx="37811">
                  <c:v>101106</c:v>
                </c:pt>
                <c:pt idx="37812">
                  <c:v>76337</c:v>
                </c:pt>
                <c:pt idx="37813">
                  <c:v>51034</c:v>
                </c:pt>
                <c:pt idx="37814">
                  <c:v>30967</c:v>
                </c:pt>
                <c:pt idx="37815">
                  <c:v>45276</c:v>
                </c:pt>
                <c:pt idx="37816">
                  <c:v>36302</c:v>
                </c:pt>
                <c:pt idx="37817">
                  <c:v>39576</c:v>
                </c:pt>
                <c:pt idx="37818">
                  <c:v>30192</c:v>
                </c:pt>
                <c:pt idx="37819">
                  <c:v>38678</c:v>
                </c:pt>
                <c:pt idx="37820">
                  <c:v>118078</c:v>
                </c:pt>
                <c:pt idx="37821">
                  <c:v>44361</c:v>
                </c:pt>
                <c:pt idx="37822">
                  <c:v>47959</c:v>
                </c:pt>
                <c:pt idx="37823">
                  <c:v>24581</c:v>
                </c:pt>
                <c:pt idx="37824">
                  <c:v>331228</c:v>
                </c:pt>
                <c:pt idx="37825">
                  <c:v>55712</c:v>
                </c:pt>
                <c:pt idx="37826">
                  <c:v>63293</c:v>
                </c:pt>
                <c:pt idx="37827">
                  <c:v>44830</c:v>
                </c:pt>
                <c:pt idx="37828">
                  <c:v>39135</c:v>
                </c:pt>
                <c:pt idx="37829">
                  <c:v>74476</c:v>
                </c:pt>
                <c:pt idx="37830">
                  <c:v>29061</c:v>
                </c:pt>
                <c:pt idx="37831">
                  <c:v>121711</c:v>
                </c:pt>
                <c:pt idx="37832">
                  <c:v>251945</c:v>
                </c:pt>
                <c:pt idx="37833">
                  <c:v>199370</c:v>
                </c:pt>
                <c:pt idx="37834">
                  <c:v>52582</c:v>
                </c:pt>
                <c:pt idx="37835">
                  <c:v>76430</c:v>
                </c:pt>
                <c:pt idx="37836">
                  <c:v>77558</c:v>
                </c:pt>
                <c:pt idx="37837">
                  <c:v>77851</c:v>
                </c:pt>
                <c:pt idx="37838">
                  <c:v>196871</c:v>
                </c:pt>
                <c:pt idx="37839">
                  <c:v>43360</c:v>
                </c:pt>
                <c:pt idx="37840">
                  <c:v>27039</c:v>
                </c:pt>
                <c:pt idx="37841">
                  <c:v>27961</c:v>
                </c:pt>
                <c:pt idx="37842">
                  <c:v>33045</c:v>
                </c:pt>
                <c:pt idx="37843">
                  <c:v>25741</c:v>
                </c:pt>
                <c:pt idx="37844">
                  <c:v>31348</c:v>
                </c:pt>
                <c:pt idx="37845">
                  <c:v>30932</c:v>
                </c:pt>
                <c:pt idx="37846">
                  <c:v>34783</c:v>
                </c:pt>
                <c:pt idx="37847">
                  <c:v>36967</c:v>
                </c:pt>
                <c:pt idx="37848">
                  <c:v>26209</c:v>
                </c:pt>
                <c:pt idx="37849">
                  <c:v>69652</c:v>
                </c:pt>
                <c:pt idx="37850">
                  <c:v>72232</c:v>
                </c:pt>
                <c:pt idx="37851">
                  <c:v>90494</c:v>
                </c:pt>
                <c:pt idx="37852">
                  <c:v>95037</c:v>
                </c:pt>
                <c:pt idx="37853">
                  <c:v>52737</c:v>
                </c:pt>
                <c:pt idx="37854">
                  <c:v>149751</c:v>
                </c:pt>
                <c:pt idx="37855">
                  <c:v>68517</c:v>
                </c:pt>
                <c:pt idx="37856">
                  <c:v>304675</c:v>
                </c:pt>
                <c:pt idx="37857">
                  <c:v>24289</c:v>
                </c:pt>
                <c:pt idx="37858">
                  <c:v>51819</c:v>
                </c:pt>
                <c:pt idx="37859">
                  <c:v>71073</c:v>
                </c:pt>
                <c:pt idx="37860">
                  <c:v>30503</c:v>
                </c:pt>
                <c:pt idx="37861">
                  <c:v>48772</c:v>
                </c:pt>
                <c:pt idx="37862">
                  <c:v>23626</c:v>
                </c:pt>
                <c:pt idx="37863">
                  <c:v>107826</c:v>
                </c:pt>
                <c:pt idx="37864">
                  <c:v>47901</c:v>
                </c:pt>
                <c:pt idx="37865">
                  <c:v>99593</c:v>
                </c:pt>
                <c:pt idx="37866">
                  <c:v>37719</c:v>
                </c:pt>
                <c:pt idx="37867">
                  <c:v>45734</c:v>
                </c:pt>
                <c:pt idx="37868">
                  <c:v>99590</c:v>
                </c:pt>
                <c:pt idx="37869">
                  <c:v>126502</c:v>
                </c:pt>
                <c:pt idx="37870">
                  <c:v>34206</c:v>
                </c:pt>
                <c:pt idx="37871">
                  <c:v>1139391</c:v>
                </c:pt>
                <c:pt idx="37872">
                  <c:v>71377</c:v>
                </c:pt>
                <c:pt idx="37873">
                  <c:v>21122</c:v>
                </c:pt>
                <c:pt idx="37874">
                  <c:v>256573</c:v>
                </c:pt>
                <c:pt idx="37875">
                  <c:v>55323</c:v>
                </c:pt>
                <c:pt idx="37876">
                  <c:v>36477</c:v>
                </c:pt>
                <c:pt idx="37877">
                  <c:v>98834</c:v>
                </c:pt>
                <c:pt idx="37878">
                  <c:v>50139</c:v>
                </c:pt>
                <c:pt idx="37879">
                  <c:v>94575</c:v>
                </c:pt>
                <c:pt idx="37880">
                  <c:v>27542</c:v>
                </c:pt>
                <c:pt idx="37881">
                  <c:v>33231</c:v>
                </c:pt>
                <c:pt idx="37882">
                  <c:v>62586</c:v>
                </c:pt>
                <c:pt idx="37883">
                  <c:v>98543</c:v>
                </c:pt>
                <c:pt idx="37884">
                  <c:v>110495</c:v>
                </c:pt>
                <c:pt idx="37885">
                  <c:v>26331</c:v>
                </c:pt>
                <c:pt idx="37886">
                  <c:v>40440</c:v>
                </c:pt>
                <c:pt idx="37887">
                  <c:v>39243</c:v>
                </c:pt>
                <c:pt idx="37888">
                  <c:v>40036</c:v>
                </c:pt>
                <c:pt idx="37889">
                  <c:v>175791</c:v>
                </c:pt>
                <c:pt idx="37890">
                  <c:v>43233</c:v>
                </c:pt>
                <c:pt idx="37891">
                  <c:v>28557</c:v>
                </c:pt>
                <c:pt idx="37892">
                  <c:v>140289</c:v>
                </c:pt>
                <c:pt idx="37893">
                  <c:v>24464</c:v>
                </c:pt>
                <c:pt idx="37894">
                  <c:v>218426</c:v>
                </c:pt>
                <c:pt idx="37895">
                  <c:v>47946</c:v>
                </c:pt>
                <c:pt idx="37896">
                  <c:v>56558</c:v>
                </c:pt>
                <c:pt idx="37897">
                  <c:v>27712</c:v>
                </c:pt>
                <c:pt idx="37898">
                  <c:v>35755</c:v>
                </c:pt>
                <c:pt idx="37899">
                  <c:v>32111</c:v>
                </c:pt>
                <c:pt idx="37900">
                  <c:v>32674</c:v>
                </c:pt>
                <c:pt idx="37901">
                  <c:v>53662</c:v>
                </c:pt>
                <c:pt idx="37902">
                  <c:v>23145</c:v>
                </c:pt>
                <c:pt idx="37903">
                  <c:v>172835</c:v>
                </c:pt>
                <c:pt idx="37904">
                  <c:v>33526</c:v>
                </c:pt>
                <c:pt idx="37905">
                  <c:v>144051</c:v>
                </c:pt>
                <c:pt idx="37906">
                  <c:v>22823</c:v>
                </c:pt>
                <c:pt idx="37907">
                  <c:v>25739</c:v>
                </c:pt>
                <c:pt idx="37908">
                  <c:v>28035</c:v>
                </c:pt>
                <c:pt idx="37909">
                  <c:v>35678</c:v>
                </c:pt>
                <c:pt idx="37910">
                  <c:v>84702</c:v>
                </c:pt>
                <c:pt idx="37911">
                  <c:v>53214</c:v>
                </c:pt>
                <c:pt idx="37912">
                  <c:v>62129</c:v>
                </c:pt>
                <c:pt idx="37913">
                  <c:v>43658</c:v>
                </c:pt>
                <c:pt idx="37914">
                  <c:v>64236</c:v>
                </c:pt>
                <c:pt idx="37915">
                  <c:v>49432</c:v>
                </c:pt>
                <c:pt idx="37916">
                  <c:v>73695</c:v>
                </c:pt>
                <c:pt idx="37917">
                  <c:v>45262</c:v>
                </c:pt>
                <c:pt idx="37918">
                  <c:v>24307</c:v>
                </c:pt>
                <c:pt idx="37919">
                  <c:v>336896</c:v>
                </c:pt>
                <c:pt idx="37920">
                  <c:v>42453</c:v>
                </c:pt>
                <c:pt idx="37921">
                  <c:v>124979</c:v>
                </c:pt>
                <c:pt idx="37922">
                  <c:v>81925</c:v>
                </c:pt>
                <c:pt idx="37923">
                  <c:v>129063</c:v>
                </c:pt>
                <c:pt idx="37924">
                  <c:v>98402</c:v>
                </c:pt>
                <c:pt idx="37925">
                  <c:v>72549</c:v>
                </c:pt>
                <c:pt idx="37926">
                  <c:v>34638</c:v>
                </c:pt>
                <c:pt idx="37927">
                  <c:v>62422</c:v>
                </c:pt>
                <c:pt idx="37928">
                  <c:v>44075</c:v>
                </c:pt>
                <c:pt idx="37929">
                  <c:v>55926</c:v>
                </c:pt>
                <c:pt idx="37930">
                  <c:v>77499</c:v>
                </c:pt>
                <c:pt idx="37931">
                  <c:v>133371</c:v>
                </c:pt>
                <c:pt idx="37932">
                  <c:v>23224</c:v>
                </c:pt>
                <c:pt idx="37933">
                  <c:v>37806</c:v>
                </c:pt>
                <c:pt idx="37934">
                  <c:v>25256</c:v>
                </c:pt>
                <c:pt idx="37935">
                  <c:v>65976</c:v>
                </c:pt>
                <c:pt idx="37936">
                  <c:v>109376</c:v>
                </c:pt>
                <c:pt idx="37937">
                  <c:v>44620</c:v>
                </c:pt>
                <c:pt idx="37938">
                  <c:v>87736</c:v>
                </c:pt>
                <c:pt idx="37939">
                  <c:v>50365</c:v>
                </c:pt>
                <c:pt idx="37940">
                  <c:v>27748</c:v>
                </c:pt>
                <c:pt idx="37941">
                  <c:v>43077</c:v>
                </c:pt>
                <c:pt idx="37942">
                  <c:v>106214</c:v>
                </c:pt>
                <c:pt idx="37943">
                  <c:v>90662</c:v>
                </c:pt>
                <c:pt idx="37944">
                  <c:v>71362</c:v>
                </c:pt>
                <c:pt idx="37945">
                  <c:v>156500</c:v>
                </c:pt>
                <c:pt idx="37946">
                  <c:v>29074</c:v>
                </c:pt>
                <c:pt idx="37947">
                  <c:v>50031</c:v>
                </c:pt>
                <c:pt idx="37948">
                  <c:v>24297</c:v>
                </c:pt>
                <c:pt idx="37949">
                  <c:v>30931</c:v>
                </c:pt>
                <c:pt idx="37950">
                  <c:v>123231</c:v>
                </c:pt>
                <c:pt idx="37951">
                  <c:v>41731</c:v>
                </c:pt>
                <c:pt idx="37952">
                  <c:v>32206</c:v>
                </c:pt>
                <c:pt idx="37953">
                  <c:v>26466</c:v>
                </c:pt>
                <c:pt idx="37954">
                  <c:v>44360</c:v>
                </c:pt>
                <c:pt idx="37955">
                  <c:v>220209</c:v>
                </c:pt>
                <c:pt idx="37956">
                  <c:v>27205</c:v>
                </c:pt>
                <c:pt idx="37957">
                  <c:v>38831</c:v>
                </c:pt>
                <c:pt idx="37958">
                  <c:v>33272</c:v>
                </c:pt>
                <c:pt idx="37959">
                  <c:v>103869</c:v>
                </c:pt>
                <c:pt idx="37960">
                  <c:v>53763</c:v>
                </c:pt>
                <c:pt idx="37961">
                  <c:v>115100</c:v>
                </c:pt>
                <c:pt idx="37962">
                  <c:v>33768</c:v>
                </c:pt>
                <c:pt idx="37963">
                  <c:v>91602</c:v>
                </c:pt>
                <c:pt idx="37964">
                  <c:v>35837</c:v>
                </c:pt>
                <c:pt idx="37965">
                  <c:v>45221</c:v>
                </c:pt>
                <c:pt idx="37966">
                  <c:v>42431</c:v>
                </c:pt>
                <c:pt idx="37967">
                  <c:v>30462</c:v>
                </c:pt>
                <c:pt idx="37968">
                  <c:v>136626</c:v>
                </c:pt>
                <c:pt idx="37969">
                  <c:v>68943</c:v>
                </c:pt>
                <c:pt idx="37970">
                  <c:v>42764</c:v>
                </c:pt>
                <c:pt idx="37971">
                  <c:v>34953</c:v>
                </c:pt>
                <c:pt idx="37972">
                  <c:v>40325</c:v>
                </c:pt>
                <c:pt idx="37973">
                  <c:v>26604</c:v>
                </c:pt>
                <c:pt idx="37974">
                  <c:v>41860</c:v>
                </c:pt>
                <c:pt idx="37975">
                  <c:v>41101</c:v>
                </c:pt>
                <c:pt idx="37976">
                  <c:v>32611</c:v>
                </c:pt>
                <c:pt idx="37977">
                  <c:v>46449</c:v>
                </c:pt>
                <c:pt idx="37978">
                  <c:v>76268</c:v>
                </c:pt>
                <c:pt idx="37979">
                  <c:v>108276</c:v>
                </c:pt>
                <c:pt idx="37980">
                  <c:v>46687</c:v>
                </c:pt>
                <c:pt idx="37981">
                  <c:v>38998</c:v>
                </c:pt>
                <c:pt idx="37982">
                  <c:v>48176</c:v>
                </c:pt>
                <c:pt idx="37983">
                  <c:v>22463</c:v>
                </c:pt>
                <c:pt idx="37984">
                  <c:v>73463</c:v>
                </c:pt>
                <c:pt idx="37985">
                  <c:v>55548</c:v>
                </c:pt>
                <c:pt idx="37986">
                  <c:v>32713</c:v>
                </c:pt>
                <c:pt idx="37987">
                  <c:v>37583</c:v>
                </c:pt>
                <c:pt idx="37988">
                  <c:v>27668</c:v>
                </c:pt>
                <c:pt idx="37989">
                  <c:v>77829</c:v>
                </c:pt>
                <c:pt idx="37990">
                  <c:v>33965</c:v>
                </c:pt>
                <c:pt idx="37991">
                  <c:v>30968</c:v>
                </c:pt>
                <c:pt idx="37992">
                  <c:v>46788</c:v>
                </c:pt>
                <c:pt idx="37993">
                  <c:v>28611</c:v>
                </c:pt>
                <c:pt idx="37994">
                  <c:v>143026</c:v>
                </c:pt>
                <c:pt idx="37995">
                  <c:v>104956</c:v>
                </c:pt>
                <c:pt idx="37996">
                  <c:v>30339</c:v>
                </c:pt>
                <c:pt idx="37997">
                  <c:v>149585</c:v>
                </c:pt>
                <c:pt idx="37998">
                  <c:v>155687</c:v>
                </c:pt>
                <c:pt idx="37999">
                  <c:v>82191</c:v>
                </c:pt>
                <c:pt idx="38000">
                  <c:v>25954</c:v>
                </c:pt>
                <c:pt idx="38001">
                  <c:v>113884</c:v>
                </c:pt>
                <c:pt idx="38002">
                  <c:v>27569</c:v>
                </c:pt>
                <c:pt idx="38003">
                  <c:v>117040</c:v>
                </c:pt>
                <c:pt idx="38004">
                  <c:v>36399</c:v>
                </c:pt>
                <c:pt idx="38005">
                  <c:v>136186</c:v>
                </c:pt>
                <c:pt idx="38006">
                  <c:v>34410</c:v>
                </c:pt>
                <c:pt idx="38007">
                  <c:v>27864</c:v>
                </c:pt>
                <c:pt idx="38008">
                  <c:v>91756</c:v>
                </c:pt>
                <c:pt idx="38009">
                  <c:v>38172</c:v>
                </c:pt>
                <c:pt idx="38010">
                  <c:v>46853</c:v>
                </c:pt>
                <c:pt idx="38011">
                  <c:v>23079</c:v>
                </c:pt>
                <c:pt idx="38012">
                  <c:v>35762</c:v>
                </c:pt>
                <c:pt idx="38013">
                  <c:v>46237</c:v>
                </c:pt>
                <c:pt idx="38014">
                  <c:v>138985</c:v>
                </c:pt>
                <c:pt idx="38015">
                  <c:v>37008</c:v>
                </c:pt>
                <c:pt idx="38016">
                  <c:v>15000</c:v>
                </c:pt>
                <c:pt idx="38017">
                  <c:v>36830</c:v>
                </c:pt>
                <c:pt idx="38018">
                  <c:v>126921</c:v>
                </c:pt>
                <c:pt idx="38019">
                  <c:v>39587</c:v>
                </c:pt>
                <c:pt idx="38020">
                  <c:v>105669</c:v>
                </c:pt>
                <c:pt idx="38021">
                  <c:v>59310</c:v>
                </c:pt>
                <c:pt idx="38022">
                  <c:v>174309</c:v>
                </c:pt>
                <c:pt idx="38023">
                  <c:v>27648</c:v>
                </c:pt>
                <c:pt idx="38024">
                  <c:v>30431</c:v>
                </c:pt>
                <c:pt idx="38025">
                  <c:v>39986</c:v>
                </c:pt>
                <c:pt idx="38026">
                  <c:v>133881</c:v>
                </c:pt>
                <c:pt idx="38027">
                  <c:v>67669</c:v>
                </c:pt>
                <c:pt idx="38028">
                  <c:v>130114</c:v>
                </c:pt>
                <c:pt idx="38029">
                  <c:v>27178</c:v>
                </c:pt>
                <c:pt idx="38030">
                  <c:v>39588</c:v>
                </c:pt>
                <c:pt idx="38031">
                  <c:v>30945</c:v>
                </c:pt>
                <c:pt idx="38032">
                  <c:v>38315</c:v>
                </c:pt>
                <c:pt idx="38033">
                  <c:v>37370</c:v>
                </c:pt>
                <c:pt idx="38034">
                  <c:v>72607</c:v>
                </c:pt>
                <c:pt idx="38035">
                  <c:v>29406</c:v>
                </c:pt>
                <c:pt idx="38036">
                  <c:v>60722</c:v>
                </c:pt>
                <c:pt idx="38037">
                  <c:v>31403</c:v>
                </c:pt>
                <c:pt idx="38038">
                  <c:v>23391</c:v>
                </c:pt>
                <c:pt idx="38039">
                  <c:v>44591</c:v>
                </c:pt>
                <c:pt idx="38040">
                  <c:v>31773</c:v>
                </c:pt>
                <c:pt idx="38041">
                  <c:v>32260</c:v>
                </c:pt>
                <c:pt idx="38042">
                  <c:v>72912</c:v>
                </c:pt>
                <c:pt idx="38043">
                  <c:v>41206</c:v>
                </c:pt>
                <c:pt idx="38044">
                  <c:v>72936</c:v>
                </c:pt>
                <c:pt idx="38045">
                  <c:v>55130</c:v>
                </c:pt>
                <c:pt idx="38046">
                  <c:v>31298</c:v>
                </c:pt>
                <c:pt idx="38047">
                  <c:v>73168</c:v>
                </c:pt>
                <c:pt idx="38048">
                  <c:v>40586</c:v>
                </c:pt>
                <c:pt idx="38049">
                  <c:v>53321</c:v>
                </c:pt>
                <c:pt idx="38050">
                  <c:v>41069</c:v>
                </c:pt>
                <c:pt idx="38051">
                  <c:v>86306</c:v>
                </c:pt>
                <c:pt idx="38052">
                  <c:v>24646</c:v>
                </c:pt>
                <c:pt idx="38053">
                  <c:v>20935</c:v>
                </c:pt>
                <c:pt idx="38054">
                  <c:v>42335</c:v>
                </c:pt>
                <c:pt idx="38055">
                  <c:v>41159</c:v>
                </c:pt>
                <c:pt idx="38056">
                  <c:v>40627</c:v>
                </c:pt>
                <c:pt idx="38057">
                  <c:v>41554</c:v>
                </c:pt>
                <c:pt idx="38058">
                  <c:v>32999</c:v>
                </c:pt>
                <c:pt idx="38059">
                  <c:v>49945</c:v>
                </c:pt>
                <c:pt idx="38060">
                  <c:v>22463</c:v>
                </c:pt>
                <c:pt idx="38061">
                  <c:v>35450</c:v>
                </c:pt>
                <c:pt idx="38062">
                  <c:v>53460</c:v>
                </c:pt>
                <c:pt idx="38063">
                  <c:v>107133</c:v>
                </c:pt>
                <c:pt idx="38064">
                  <c:v>29520</c:v>
                </c:pt>
                <c:pt idx="38065">
                  <c:v>100884</c:v>
                </c:pt>
                <c:pt idx="38066">
                  <c:v>28713</c:v>
                </c:pt>
                <c:pt idx="38067">
                  <c:v>72090</c:v>
                </c:pt>
                <c:pt idx="38068">
                  <c:v>35676</c:v>
                </c:pt>
                <c:pt idx="38069">
                  <c:v>43951</c:v>
                </c:pt>
                <c:pt idx="38070">
                  <c:v>26085</c:v>
                </c:pt>
                <c:pt idx="38071">
                  <c:v>147750</c:v>
                </c:pt>
                <c:pt idx="38072">
                  <c:v>45211</c:v>
                </c:pt>
                <c:pt idx="38073">
                  <c:v>45967</c:v>
                </c:pt>
                <c:pt idx="38074">
                  <c:v>24216</c:v>
                </c:pt>
                <c:pt idx="38075">
                  <c:v>36213</c:v>
                </c:pt>
                <c:pt idx="38076">
                  <c:v>37738</c:v>
                </c:pt>
                <c:pt idx="38077">
                  <c:v>38848</c:v>
                </c:pt>
                <c:pt idx="38078">
                  <c:v>114522</c:v>
                </c:pt>
                <c:pt idx="38079">
                  <c:v>130094</c:v>
                </c:pt>
                <c:pt idx="38080">
                  <c:v>47816</c:v>
                </c:pt>
                <c:pt idx="38081">
                  <c:v>54541</c:v>
                </c:pt>
                <c:pt idx="38082">
                  <c:v>114556</c:v>
                </c:pt>
                <c:pt idx="38083">
                  <c:v>41280</c:v>
                </c:pt>
                <c:pt idx="38084">
                  <c:v>29324</c:v>
                </c:pt>
                <c:pt idx="38085">
                  <c:v>73702</c:v>
                </c:pt>
                <c:pt idx="38086">
                  <c:v>22898</c:v>
                </c:pt>
                <c:pt idx="38087">
                  <c:v>86194</c:v>
                </c:pt>
                <c:pt idx="38088">
                  <c:v>41046</c:v>
                </c:pt>
                <c:pt idx="38089">
                  <c:v>70445</c:v>
                </c:pt>
                <c:pt idx="38090">
                  <c:v>336817</c:v>
                </c:pt>
                <c:pt idx="38091">
                  <c:v>87051</c:v>
                </c:pt>
                <c:pt idx="38092">
                  <c:v>32661</c:v>
                </c:pt>
                <c:pt idx="38093">
                  <c:v>31246</c:v>
                </c:pt>
                <c:pt idx="38094">
                  <c:v>38254</c:v>
                </c:pt>
                <c:pt idx="38095">
                  <c:v>32252</c:v>
                </c:pt>
                <c:pt idx="38096">
                  <c:v>36988</c:v>
                </c:pt>
                <c:pt idx="38097">
                  <c:v>24493</c:v>
                </c:pt>
                <c:pt idx="38098">
                  <c:v>45623</c:v>
                </c:pt>
                <c:pt idx="38099">
                  <c:v>42502</c:v>
                </c:pt>
                <c:pt idx="38100">
                  <c:v>38941</c:v>
                </c:pt>
                <c:pt idx="38101">
                  <c:v>39886</c:v>
                </c:pt>
                <c:pt idx="38102">
                  <c:v>52803</c:v>
                </c:pt>
                <c:pt idx="38103">
                  <c:v>65118</c:v>
                </c:pt>
                <c:pt idx="38104">
                  <c:v>34253</c:v>
                </c:pt>
                <c:pt idx="38105">
                  <c:v>32632</c:v>
                </c:pt>
                <c:pt idx="38106">
                  <c:v>82496</c:v>
                </c:pt>
                <c:pt idx="38107">
                  <c:v>102827</c:v>
                </c:pt>
                <c:pt idx="38108">
                  <c:v>151323</c:v>
                </c:pt>
                <c:pt idx="38109">
                  <c:v>30390</c:v>
                </c:pt>
                <c:pt idx="38110">
                  <c:v>31444</c:v>
                </c:pt>
                <c:pt idx="38111">
                  <c:v>59697</c:v>
                </c:pt>
                <c:pt idx="38112">
                  <c:v>83414</c:v>
                </c:pt>
                <c:pt idx="38113">
                  <c:v>45776</c:v>
                </c:pt>
                <c:pt idx="38114">
                  <c:v>55700</c:v>
                </c:pt>
                <c:pt idx="38115">
                  <c:v>28633</c:v>
                </c:pt>
                <c:pt idx="38116">
                  <c:v>47286</c:v>
                </c:pt>
                <c:pt idx="38117">
                  <c:v>46791</c:v>
                </c:pt>
                <c:pt idx="38118">
                  <c:v>37833</c:v>
                </c:pt>
                <c:pt idx="38119">
                  <c:v>58041</c:v>
                </c:pt>
                <c:pt idx="38120">
                  <c:v>46483</c:v>
                </c:pt>
                <c:pt idx="38121">
                  <c:v>31380</c:v>
                </c:pt>
                <c:pt idx="38122">
                  <c:v>40481</c:v>
                </c:pt>
                <c:pt idx="38123">
                  <c:v>23732</c:v>
                </c:pt>
                <c:pt idx="38124">
                  <c:v>43972</c:v>
                </c:pt>
                <c:pt idx="38125">
                  <c:v>45583</c:v>
                </c:pt>
                <c:pt idx="38126">
                  <c:v>43139</c:v>
                </c:pt>
                <c:pt idx="38127">
                  <c:v>64247</c:v>
                </c:pt>
                <c:pt idx="38128">
                  <c:v>30007</c:v>
                </c:pt>
                <c:pt idx="38129">
                  <c:v>176307</c:v>
                </c:pt>
                <c:pt idx="38130">
                  <c:v>26166</c:v>
                </c:pt>
                <c:pt idx="38131">
                  <c:v>56642</c:v>
                </c:pt>
                <c:pt idx="38132">
                  <c:v>33776</c:v>
                </c:pt>
                <c:pt idx="38133">
                  <c:v>52582</c:v>
                </c:pt>
                <c:pt idx="38134">
                  <c:v>100423</c:v>
                </c:pt>
                <c:pt idx="38135">
                  <c:v>42124</c:v>
                </c:pt>
                <c:pt idx="38136">
                  <c:v>31300</c:v>
                </c:pt>
                <c:pt idx="38137">
                  <c:v>47052</c:v>
                </c:pt>
                <c:pt idx="38138">
                  <c:v>159166</c:v>
                </c:pt>
                <c:pt idx="38139">
                  <c:v>31697</c:v>
                </c:pt>
                <c:pt idx="38140">
                  <c:v>25211</c:v>
                </c:pt>
                <c:pt idx="38141">
                  <c:v>139719</c:v>
                </c:pt>
                <c:pt idx="38142">
                  <c:v>25777</c:v>
                </c:pt>
                <c:pt idx="38143">
                  <c:v>136910</c:v>
                </c:pt>
                <c:pt idx="38144">
                  <c:v>34267</c:v>
                </c:pt>
                <c:pt idx="38145">
                  <c:v>64779</c:v>
                </c:pt>
                <c:pt idx="38146">
                  <c:v>38665</c:v>
                </c:pt>
                <c:pt idx="38147">
                  <c:v>35140</c:v>
                </c:pt>
                <c:pt idx="38148">
                  <c:v>28770</c:v>
                </c:pt>
                <c:pt idx="38149">
                  <c:v>45653</c:v>
                </c:pt>
                <c:pt idx="38150">
                  <c:v>24147</c:v>
                </c:pt>
                <c:pt idx="38151">
                  <c:v>69910</c:v>
                </c:pt>
                <c:pt idx="38152">
                  <c:v>33568</c:v>
                </c:pt>
                <c:pt idx="38153">
                  <c:v>43799</c:v>
                </c:pt>
                <c:pt idx="38154">
                  <c:v>81349</c:v>
                </c:pt>
                <c:pt idx="38155">
                  <c:v>53897</c:v>
                </c:pt>
                <c:pt idx="38156">
                  <c:v>93937</c:v>
                </c:pt>
                <c:pt idx="38157">
                  <c:v>40578</c:v>
                </c:pt>
                <c:pt idx="38158">
                  <c:v>41615</c:v>
                </c:pt>
                <c:pt idx="38159">
                  <c:v>33427</c:v>
                </c:pt>
                <c:pt idx="38160">
                  <c:v>266267</c:v>
                </c:pt>
                <c:pt idx="38161">
                  <c:v>79799</c:v>
                </c:pt>
                <c:pt idx="38162">
                  <c:v>46393</c:v>
                </c:pt>
                <c:pt idx="38163">
                  <c:v>30648</c:v>
                </c:pt>
                <c:pt idx="38164">
                  <c:v>54229</c:v>
                </c:pt>
                <c:pt idx="38165">
                  <c:v>113258</c:v>
                </c:pt>
                <c:pt idx="38166">
                  <c:v>63595</c:v>
                </c:pt>
                <c:pt idx="38167">
                  <c:v>46611</c:v>
                </c:pt>
                <c:pt idx="38168">
                  <c:v>110972</c:v>
                </c:pt>
                <c:pt idx="38169">
                  <c:v>120218</c:v>
                </c:pt>
                <c:pt idx="38170">
                  <c:v>31888</c:v>
                </c:pt>
                <c:pt idx="38171">
                  <c:v>69429</c:v>
                </c:pt>
                <c:pt idx="38172">
                  <c:v>126808</c:v>
                </c:pt>
                <c:pt idx="38173">
                  <c:v>36089</c:v>
                </c:pt>
                <c:pt idx="38174">
                  <c:v>92961</c:v>
                </c:pt>
                <c:pt idx="38175">
                  <c:v>29681</c:v>
                </c:pt>
                <c:pt idx="38176">
                  <c:v>37846</c:v>
                </c:pt>
                <c:pt idx="38177">
                  <c:v>137946</c:v>
                </c:pt>
                <c:pt idx="38178">
                  <c:v>49801</c:v>
                </c:pt>
                <c:pt idx="38179">
                  <c:v>38987</c:v>
                </c:pt>
                <c:pt idx="38180">
                  <c:v>43457</c:v>
                </c:pt>
                <c:pt idx="38181">
                  <c:v>43610</c:v>
                </c:pt>
                <c:pt idx="38182">
                  <c:v>40275</c:v>
                </c:pt>
                <c:pt idx="38183">
                  <c:v>79264</c:v>
                </c:pt>
                <c:pt idx="38184">
                  <c:v>33197</c:v>
                </c:pt>
                <c:pt idx="38185">
                  <c:v>88589</c:v>
                </c:pt>
                <c:pt idx="38186">
                  <c:v>56770</c:v>
                </c:pt>
                <c:pt idx="38187">
                  <c:v>41025</c:v>
                </c:pt>
                <c:pt idx="38188">
                  <c:v>84625</c:v>
                </c:pt>
                <c:pt idx="38189">
                  <c:v>35504</c:v>
                </c:pt>
                <c:pt idx="38190">
                  <c:v>55829</c:v>
                </c:pt>
                <c:pt idx="38191">
                  <c:v>130899</c:v>
                </c:pt>
                <c:pt idx="38192">
                  <c:v>319150</c:v>
                </c:pt>
                <c:pt idx="38193">
                  <c:v>40270</c:v>
                </c:pt>
                <c:pt idx="38194">
                  <c:v>36149</c:v>
                </c:pt>
                <c:pt idx="38195">
                  <c:v>36294</c:v>
                </c:pt>
                <c:pt idx="38196">
                  <c:v>19502</c:v>
                </c:pt>
                <c:pt idx="38197">
                  <c:v>28678</c:v>
                </c:pt>
                <c:pt idx="38198">
                  <c:v>57205</c:v>
                </c:pt>
                <c:pt idx="38199">
                  <c:v>32113</c:v>
                </c:pt>
                <c:pt idx="38200">
                  <c:v>26975</c:v>
                </c:pt>
                <c:pt idx="38201">
                  <c:v>29503</c:v>
                </c:pt>
                <c:pt idx="38202">
                  <c:v>22726</c:v>
                </c:pt>
                <c:pt idx="38203">
                  <c:v>77507</c:v>
                </c:pt>
                <c:pt idx="38204">
                  <c:v>78077</c:v>
                </c:pt>
                <c:pt idx="38205">
                  <c:v>44583</c:v>
                </c:pt>
                <c:pt idx="38206">
                  <c:v>29239</c:v>
                </c:pt>
                <c:pt idx="38207">
                  <c:v>34920</c:v>
                </c:pt>
                <c:pt idx="38208">
                  <c:v>112647</c:v>
                </c:pt>
                <c:pt idx="38209">
                  <c:v>43001</c:v>
                </c:pt>
                <c:pt idx="38210">
                  <c:v>60582</c:v>
                </c:pt>
                <c:pt idx="38211">
                  <c:v>143484</c:v>
                </c:pt>
                <c:pt idx="38212">
                  <c:v>25232</c:v>
                </c:pt>
                <c:pt idx="38213">
                  <c:v>37919</c:v>
                </c:pt>
                <c:pt idx="38214">
                  <c:v>36781</c:v>
                </c:pt>
                <c:pt idx="38215">
                  <c:v>34418</c:v>
                </c:pt>
                <c:pt idx="38216">
                  <c:v>96901</c:v>
                </c:pt>
                <c:pt idx="38217">
                  <c:v>232314</c:v>
                </c:pt>
                <c:pt idx="38218">
                  <c:v>37795</c:v>
                </c:pt>
                <c:pt idx="38219">
                  <c:v>140046</c:v>
                </c:pt>
                <c:pt idx="38220">
                  <c:v>58450</c:v>
                </c:pt>
                <c:pt idx="38221">
                  <c:v>76236</c:v>
                </c:pt>
                <c:pt idx="38222">
                  <c:v>100624</c:v>
                </c:pt>
                <c:pt idx="38223">
                  <c:v>46006</c:v>
                </c:pt>
                <c:pt idx="38224">
                  <c:v>37206</c:v>
                </c:pt>
                <c:pt idx="38225">
                  <c:v>24592</c:v>
                </c:pt>
                <c:pt idx="38226">
                  <c:v>24289</c:v>
                </c:pt>
                <c:pt idx="38227">
                  <c:v>21839</c:v>
                </c:pt>
                <c:pt idx="38228">
                  <c:v>83458</c:v>
                </c:pt>
                <c:pt idx="38229">
                  <c:v>55869</c:v>
                </c:pt>
                <c:pt idx="38230">
                  <c:v>130261</c:v>
                </c:pt>
                <c:pt idx="38231">
                  <c:v>22494</c:v>
                </c:pt>
                <c:pt idx="38232">
                  <c:v>37851</c:v>
                </c:pt>
                <c:pt idx="38233">
                  <c:v>24054</c:v>
                </c:pt>
                <c:pt idx="38234">
                  <c:v>46007</c:v>
                </c:pt>
                <c:pt idx="38235">
                  <c:v>54108</c:v>
                </c:pt>
                <c:pt idx="38236">
                  <c:v>36432</c:v>
                </c:pt>
                <c:pt idx="38237">
                  <c:v>46934</c:v>
                </c:pt>
                <c:pt idx="38238">
                  <c:v>62972</c:v>
                </c:pt>
                <c:pt idx="38239">
                  <c:v>31163</c:v>
                </c:pt>
                <c:pt idx="38240">
                  <c:v>38169</c:v>
                </c:pt>
                <c:pt idx="38241">
                  <c:v>163767</c:v>
                </c:pt>
                <c:pt idx="38242">
                  <c:v>36864</c:v>
                </c:pt>
                <c:pt idx="38243">
                  <c:v>31186</c:v>
                </c:pt>
                <c:pt idx="38244">
                  <c:v>22723</c:v>
                </c:pt>
                <c:pt idx="38245">
                  <c:v>164463</c:v>
                </c:pt>
                <c:pt idx="38246">
                  <c:v>167568</c:v>
                </c:pt>
                <c:pt idx="38247">
                  <c:v>24373</c:v>
                </c:pt>
                <c:pt idx="38248">
                  <c:v>28194</c:v>
                </c:pt>
                <c:pt idx="38249">
                  <c:v>22386</c:v>
                </c:pt>
                <c:pt idx="38250">
                  <c:v>87809</c:v>
                </c:pt>
                <c:pt idx="38251">
                  <c:v>35600</c:v>
                </c:pt>
                <c:pt idx="38252">
                  <c:v>39630</c:v>
                </c:pt>
                <c:pt idx="38253">
                  <c:v>42089</c:v>
                </c:pt>
                <c:pt idx="38254">
                  <c:v>32169</c:v>
                </c:pt>
                <c:pt idx="38255">
                  <c:v>38238</c:v>
                </c:pt>
                <c:pt idx="38256">
                  <c:v>27204</c:v>
                </c:pt>
                <c:pt idx="38257">
                  <c:v>219133</c:v>
                </c:pt>
                <c:pt idx="38258">
                  <c:v>34139</c:v>
                </c:pt>
                <c:pt idx="38259">
                  <c:v>42417</c:v>
                </c:pt>
                <c:pt idx="38260">
                  <c:v>102827</c:v>
                </c:pt>
                <c:pt idx="38261">
                  <c:v>81806</c:v>
                </c:pt>
                <c:pt idx="38262">
                  <c:v>30448</c:v>
                </c:pt>
                <c:pt idx="38263">
                  <c:v>52154</c:v>
                </c:pt>
                <c:pt idx="38264">
                  <c:v>49119</c:v>
                </c:pt>
                <c:pt idx="38265">
                  <c:v>129677</c:v>
                </c:pt>
                <c:pt idx="38266">
                  <c:v>32456</c:v>
                </c:pt>
                <c:pt idx="38267">
                  <c:v>40515</c:v>
                </c:pt>
                <c:pt idx="38268">
                  <c:v>28658</c:v>
                </c:pt>
                <c:pt idx="38269">
                  <c:v>49398</c:v>
                </c:pt>
                <c:pt idx="38270">
                  <c:v>49975</c:v>
                </c:pt>
                <c:pt idx="38271">
                  <c:v>32691</c:v>
                </c:pt>
                <c:pt idx="38272">
                  <c:v>91481</c:v>
                </c:pt>
                <c:pt idx="38273">
                  <c:v>22985</c:v>
                </c:pt>
                <c:pt idx="38274">
                  <c:v>32317</c:v>
                </c:pt>
                <c:pt idx="38275">
                  <c:v>106755</c:v>
                </c:pt>
                <c:pt idx="38276">
                  <c:v>286018</c:v>
                </c:pt>
                <c:pt idx="38277">
                  <c:v>26045</c:v>
                </c:pt>
                <c:pt idx="38278">
                  <c:v>44222</c:v>
                </c:pt>
                <c:pt idx="38279">
                  <c:v>29064</c:v>
                </c:pt>
                <c:pt idx="38280">
                  <c:v>48921</c:v>
                </c:pt>
                <c:pt idx="38281">
                  <c:v>39719</c:v>
                </c:pt>
                <c:pt idx="38282">
                  <c:v>34319</c:v>
                </c:pt>
                <c:pt idx="38283">
                  <c:v>320700</c:v>
                </c:pt>
                <c:pt idx="38284">
                  <c:v>51245</c:v>
                </c:pt>
                <c:pt idx="38285">
                  <c:v>34722</c:v>
                </c:pt>
                <c:pt idx="38286">
                  <c:v>35589</c:v>
                </c:pt>
                <c:pt idx="38287">
                  <c:v>40383</c:v>
                </c:pt>
                <c:pt idx="38288">
                  <c:v>48430</c:v>
                </c:pt>
                <c:pt idx="38289">
                  <c:v>281882</c:v>
                </c:pt>
                <c:pt idx="38290">
                  <c:v>117120</c:v>
                </c:pt>
                <c:pt idx="38291">
                  <c:v>57849</c:v>
                </c:pt>
                <c:pt idx="38292">
                  <c:v>86186</c:v>
                </c:pt>
                <c:pt idx="38293">
                  <c:v>38088</c:v>
                </c:pt>
                <c:pt idx="38294">
                  <c:v>24722</c:v>
                </c:pt>
                <c:pt idx="38295">
                  <c:v>41174</c:v>
                </c:pt>
                <c:pt idx="38296">
                  <c:v>21433</c:v>
                </c:pt>
                <c:pt idx="38297">
                  <c:v>23860</c:v>
                </c:pt>
                <c:pt idx="38298">
                  <c:v>20929</c:v>
                </c:pt>
                <c:pt idx="38299">
                  <c:v>41133</c:v>
                </c:pt>
                <c:pt idx="38300">
                  <c:v>53289</c:v>
                </c:pt>
                <c:pt idx="38301">
                  <c:v>83835</c:v>
                </c:pt>
                <c:pt idx="38302">
                  <c:v>86362</c:v>
                </c:pt>
                <c:pt idx="38303">
                  <c:v>25148</c:v>
                </c:pt>
                <c:pt idx="38304">
                  <c:v>84856</c:v>
                </c:pt>
                <c:pt idx="38305">
                  <c:v>34635</c:v>
                </c:pt>
                <c:pt idx="38306">
                  <c:v>82780</c:v>
                </c:pt>
                <c:pt idx="38307">
                  <c:v>86970</c:v>
                </c:pt>
                <c:pt idx="38308">
                  <c:v>43651</c:v>
                </c:pt>
                <c:pt idx="38309">
                  <c:v>33241</c:v>
                </c:pt>
                <c:pt idx="38310">
                  <c:v>32699</c:v>
                </c:pt>
                <c:pt idx="38311">
                  <c:v>53688</c:v>
                </c:pt>
                <c:pt idx="38312">
                  <c:v>77955</c:v>
                </c:pt>
                <c:pt idx="38313">
                  <c:v>26555</c:v>
                </c:pt>
                <c:pt idx="38314">
                  <c:v>30512</c:v>
                </c:pt>
                <c:pt idx="38315">
                  <c:v>39535</c:v>
                </c:pt>
                <c:pt idx="38316">
                  <c:v>39513</c:v>
                </c:pt>
                <c:pt idx="38317">
                  <c:v>48065</c:v>
                </c:pt>
                <c:pt idx="38318">
                  <c:v>49205</c:v>
                </c:pt>
                <c:pt idx="38319">
                  <c:v>45973</c:v>
                </c:pt>
                <c:pt idx="38320">
                  <c:v>33044</c:v>
                </c:pt>
                <c:pt idx="38321">
                  <c:v>31687</c:v>
                </c:pt>
                <c:pt idx="38322">
                  <c:v>33809</c:v>
                </c:pt>
                <c:pt idx="38323">
                  <c:v>84153</c:v>
                </c:pt>
                <c:pt idx="38324">
                  <c:v>46314</c:v>
                </c:pt>
                <c:pt idx="38325">
                  <c:v>44073</c:v>
                </c:pt>
                <c:pt idx="38326">
                  <c:v>132378</c:v>
                </c:pt>
                <c:pt idx="38327">
                  <c:v>128859</c:v>
                </c:pt>
                <c:pt idx="38328">
                  <c:v>52157</c:v>
                </c:pt>
                <c:pt idx="38329">
                  <c:v>25123</c:v>
                </c:pt>
                <c:pt idx="38330">
                  <c:v>43515</c:v>
                </c:pt>
                <c:pt idx="38331">
                  <c:v>32533</c:v>
                </c:pt>
                <c:pt idx="38332">
                  <c:v>37820</c:v>
                </c:pt>
                <c:pt idx="38333">
                  <c:v>54850</c:v>
                </c:pt>
                <c:pt idx="38334">
                  <c:v>28648</c:v>
                </c:pt>
                <c:pt idx="38335">
                  <c:v>31261</c:v>
                </c:pt>
                <c:pt idx="38336">
                  <c:v>19944</c:v>
                </c:pt>
                <c:pt idx="38337">
                  <c:v>50138</c:v>
                </c:pt>
                <c:pt idx="38338">
                  <c:v>49051</c:v>
                </c:pt>
                <c:pt idx="38339">
                  <c:v>23254</c:v>
                </c:pt>
                <c:pt idx="38340">
                  <c:v>46038</c:v>
                </c:pt>
                <c:pt idx="38341">
                  <c:v>29708</c:v>
                </c:pt>
                <c:pt idx="38342">
                  <c:v>24068</c:v>
                </c:pt>
                <c:pt idx="38343">
                  <c:v>40831</c:v>
                </c:pt>
                <c:pt idx="38344">
                  <c:v>39081</c:v>
                </c:pt>
                <c:pt idx="38345">
                  <c:v>205637</c:v>
                </c:pt>
                <c:pt idx="38346">
                  <c:v>97251</c:v>
                </c:pt>
                <c:pt idx="38347">
                  <c:v>210145</c:v>
                </c:pt>
                <c:pt idx="38348">
                  <c:v>111399</c:v>
                </c:pt>
                <c:pt idx="38349">
                  <c:v>54373</c:v>
                </c:pt>
                <c:pt idx="38350">
                  <c:v>61403</c:v>
                </c:pt>
                <c:pt idx="38351">
                  <c:v>43559</c:v>
                </c:pt>
                <c:pt idx="38352">
                  <c:v>27844</c:v>
                </c:pt>
                <c:pt idx="38353">
                  <c:v>41509</c:v>
                </c:pt>
                <c:pt idx="38354">
                  <c:v>229390</c:v>
                </c:pt>
                <c:pt idx="38355">
                  <c:v>127222</c:v>
                </c:pt>
                <c:pt idx="38356">
                  <c:v>30834</c:v>
                </c:pt>
                <c:pt idx="38357">
                  <c:v>90666</c:v>
                </c:pt>
                <c:pt idx="38358">
                  <c:v>201663</c:v>
                </c:pt>
                <c:pt idx="38359">
                  <c:v>32945</c:v>
                </c:pt>
                <c:pt idx="38360">
                  <c:v>40219</c:v>
                </c:pt>
                <c:pt idx="38361">
                  <c:v>37682</c:v>
                </c:pt>
                <c:pt idx="38362">
                  <c:v>35481</c:v>
                </c:pt>
                <c:pt idx="38363">
                  <c:v>26347</c:v>
                </c:pt>
                <c:pt idx="38364">
                  <c:v>41927</c:v>
                </c:pt>
                <c:pt idx="38365">
                  <c:v>37726</c:v>
                </c:pt>
                <c:pt idx="38366">
                  <c:v>46743</c:v>
                </c:pt>
                <c:pt idx="38367">
                  <c:v>336899</c:v>
                </c:pt>
                <c:pt idx="38368">
                  <c:v>40410</c:v>
                </c:pt>
                <c:pt idx="38369">
                  <c:v>30451</c:v>
                </c:pt>
                <c:pt idx="38370">
                  <c:v>27123</c:v>
                </c:pt>
                <c:pt idx="38371">
                  <c:v>73462</c:v>
                </c:pt>
                <c:pt idx="38372">
                  <c:v>34473</c:v>
                </c:pt>
                <c:pt idx="38373">
                  <c:v>30942</c:v>
                </c:pt>
                <c:pt idx="38374">
                  <c:v>29817</c:v>
                </c:pt>
                <c:pt idx="38375">
                  <c:v>79117</c:v>
                </c:pt>
                <c:pt idx="38376">
                  <c:v>50366</c:v>
                </c:pt>
                <c:pt idx="38377">
                  <c:v>57349</c:v>
                </c:pt>
                <c:pt idx="38378">
                  <c:v>33012</c:v>
                </c:pt>
                <c:pt idx="38379">
                  <c:v>52970</c:v>
                </c:pt>
                <c:pt idx="38380">
                  <c:v>167213</c:v>
                </c:pt>
                <c:pt idx="38381">
                  <c:v>22876</c:v>
                </c:pt>
                <c:pt idx="38382">
                  <c:v>60863</c:v>
                </c:pt>
                <c:pt idx="38383">
                  <c:v>108829</c:v>
                </c:pt>
                <c:pt idx="38384">
                  <c:v>51776</c:v>
                </c:pt>
                <c:pt idx="38385">
                  <c:v>20864</c:v>
                </c:pt>
                <c:pt idx="38386">
                  <c:v>64430</c:v>
                </c:pt>
                <c:pt idx="38387">
                  <c:v>137061</c:v>
                </c:pt>
                <c:pt idx="38388">
                  <c:v>48787</c:v>
                </c:pt>
                <c:pt idx="38389">
                  <c:v>39224</c:v>
                </c:pt>
                <c:pt idx="38390">
                  <c:v>38520</c:v>
                </c:pt>
                <c:pt idx="38391">
                  <c:v>45239</c:v>
                </c:pt>
                <c:pt idx="38392">
                  <c:v>48670</c:v>
                </c:pt>
                <c:pt idx="38393">
                  <c:v>26764</c:v>
                </c:pt>
                <c:pt idx="38394">
                  <c:v>63014</c:v>
                </c:pt>
                <c:pt idx="38395">
                  <c:v>23779</c:v>
                </c:pt>
                <c:pt idx="38396">
                  <c:v>25765</c:v>
                </c:pt>
                <c:pt idx="38397">
                  <c:v>118179</c:v>
                </c:pt>
                <c:pt idx="38398">
                  <c:v>42063</c:v>
                </c:pt>
                <c:pt idx="38399">
                  <c:v>38602</c:v>
                </c:pt>
                <c:pt idx="38400">
                  <c:v>28718</c:v>
                </c:pt>
                <c:pt idx="38401">
                  <c:v>63440</c:v>
                </c:pt>
                <c:pt idx="38402">
                  <c:v>21971</c:v>
                </c:pt>
                <c:pt idx="38403">
                  <c:v>28304</c:v>
                </c:pt>
                <c:pt idx="38404">
                  <c:v>45932</c:v>
                </c:pt>
                <c:pt idx="38405">
                  <c:v>276573</c:v>
                </c:pt>
                <c:pt idx="38406">
                  <c:v>78348</c:v>
                </c:pt>
                <c:pt idx="38407">
                  <c:v>68423</c:v>
                </c:pt>
                <c:pt idx="38408">
                  <c:v>241102</c:v>
                </c:pt>
                <c:pt idx="38409">
                  <c:v>48954</c:v>
                </c:pt>
                <c:pt idx="38410">
                  <c:v>61871</c:v>
                </c:pt>
                <c:pt idx="38411">
                  <c:v>210565</c:v>
                </c:pt>
                <c:pt idx="38412">
                  <c:v>27808</c:v>
                </c:pt>
                <c:pt idx="38413">
                  <c:v>65594</c:v>
                </c:pt>
                <c:pt idx="38414">
                  <c:v>45461</c:v>
                </c:pt>
                <c:pt idx="38415">
                  <c:v>27432</c:v>
                </c:pt>
                <c:pt idx="38416">
                  <c:v>43490</c:v>
                </c:pt>
                <c:pt idx="38417">
                  <c:v>29003</c:v>
                </c:pt>
                <c:pt idx="38418">
                  <c:v>105172</c:v>
                </c:pt>
                <c:pt idx="38419">
                  <c:v>98276</c:v>
                </c:pt>
                <c:pt idx="38420">
                  <c:v>31605</c:v>
                </c:pt>
                <c:pt idx="38421">
                  <c:v>43582</c:v>
                </c:pt>
                <c:pt idx="38422">
                  <c:v>35035</c:v>
                </c:pt>
                <c:pt idx="38423">
                  <c:v>60091</c:v>
                </c:pt>
                <c:pt idx="38424">
                  <c:v>59707</c:v>
                </c:pt>
                <c:pt idx="38425">
                  <c:v>31916</c:v>
                </c:pt>
                <c:pt idx="38426">
                  <c:v>33364</c:v>
                </c:pt>
                <c:pt idx="38427">
                  <c:v>46988</c:v>
                </c:pt>
                <c:pt idx="38428">
                  <c:v>32095</c:v>
                </c:pt>
                <c:pt idx="38429">
                  <c:v>28558</c:v>
                </c:pt>
                <c:pt idx="38430">
                  <c:v>23479</c:v>
                </c:pt>
                <c:pt idx="38431">
                  <c:v>71701</c:v>
                </c:pt>
                <c:pt idx="38432">
                  <c:v>41400</c:v>
                </c:pt>
                <c:pt idx="38433">
                  <c:v>25575</c:v>
                </c:pt>
                <c:pt idx="38434">
                  <c:v>51981</c:v>
                </c:pt>
                <c:pt idx="38435">
                  <c:v>122118</c:v>
                </c:pt>
                <c:pt idx="38436">
                  <c:v>23456</c:v>
                </c:pt>
                <c:pt idx="38437">
                  <c:v>35376</c:v>
                </c:pt>
                <c:pt idx="38438">
                  <c:v>42737</c:v>
                </c:pt>
                <c:pt idx="38439">
                  <c:v>41356</c:v>
                </c:pt>
                <c:pt idx="38440">
                  <c:v>67107</c:v>
                </c:pt>
                <c:pt idx="38441">
                  <c:v>42666</c:v>
                </c:pt>
                <c:pt idx="38442">
                  <c:v>67539</c:v>
                </c:pt>
                <c:pt idx="38443">
                  <c:v>37333</c:v>
                </c:pt>
                <c:pt idx="38444">
                  <c:v>50248</c:v>
                </c:pt>
                <c:pt idx="38445">
                  <c:v>204893</c:v>
                </c:pt>
                <c:pt idx="38446">
                  <c:v>39554</c:v>
                </c:pt>
                <c:pt idx="38447">
                  <c:v>240279</c:v>
                </c:pt>
                <c:pt idx="38448">
                  <c:v>98947</c:v>
                </c:pt>
                <c:pt idx="38449">
                  <c:v>49369</c:v>
                </c:pt>
                <c:pt idx="38450">
                  <c:v>57969</c:v>
                </c:pt>
                <c:pt idx="38451">
                  <c:v>269553</c:v>
                </c:pt>
                <c:pt idx="38452">
                  <c:v>39503</c:v>
                </c:pt>
                <c:pt idx="38453">
                  <c:v>105872</c:v>
                </c:pt>
                <c:pt idx="38454">
                  <c:v>27360</c:v>
                </c:pt>
                <c:pt idx="38455">
                  <c:v>60276</c:v>
                </c:pt>
                <c:pt idx="38456">
                  <c:v>48249</c:v>
                </c:pt>
                <c:pt idx="38457">
                  <c:v>59117</c:v>
                </c:pt>
                <c:pt idx="38458">
                  <c:v>112251</c:v>
                </c:pt>
                <c:pt idx="38459">
                  <c:v>59988</c:v>
                </c:pt>
                <c:pt idx="38460">
                  <c:v>79520</c:v>
                </c:pt>
                <c:pt idx="38461">
                  <c:v>19841</c:v>
                </c:pt>
                <c:pt idx="38462">
                  <c:v>45969</c:v>
                </c:pt>
                <c:pt idx="38463">
                  <c:v>64924</c:v>
                </c:pt>
                <c:pt idx="38464">
                  <c:v>42023</c:v>
                </c:pt>
                <c:pt idx="38465">
                  <c:v>37261</c:v>
                </c:pt>
                <c:pt idx="38466">
                  <c:v>60304</c:v>
                </c:pt>
                <c:pt idx="38467">
                  <c:v>25905</c:v>
                </c:pt>
                <c:pt idx="38468">
                  <c:v>46891</c:v>
                </c:pt>
                <c:pt idx="38469">
                  <c:v>24358</c:v>
                </c:pt>
                <c:pt idx="38470">
                  <c:v>23866</c:v>
                </c:pt>
                <c:pt idx="38471">
                  <c:v>31369</c:v>
                </c:pt>
                <c:pt idx="38472">
                  <c:v>34018</c:v>
                </c:pt>
                <c:pt idx="38473">
                  <c:v>38689</c:v>
                </c:pt>
                <c:pt idx="38474">
                  <c:v>24784</c:v>
                </c:pt>
                <c:pt idx="38475">
                  <c:v>28211</c:v>
                </c:pt>
                <c:pt idx="38476">
                  <c:v>69897</c:v>
                </c:pt>
                <c:pt idx="38477">
                  <c:v>45026</c:v>
                </c:pt>
                <c:pt idx="38478">
                  <c:v>22086</c:v>
                </c:pt>
                <c:pt idx="38479">
                  <c:v>29534</c:v>
                </c:pt>
                <c:pt idx="38480">
                  <c:v>25961</c:v>
                </c:pt>
                <c:pt idx="38481">
                  <c:v>38689</c:v>
                </c:pt>
                <c:pt idx="38482">
                  <c:v>50805</c:v>
                </c:pt>
                <c:pt idx="38483">
                  <c:v>83038</c:v>
                </c:pt>
                <c:pt idx="38484">
                  <c:v>21831</c:v>
                </c:pt>
                <c:pt idx="38485">
                  <c:v>37431</c:v>
                </c:pt>
                <c:pt idx="38486">
                  <c:v>52929</c:v>
                </c:pt>
                <c:pt idx="38487">
                  <c:v>23440</c:v>
                </c:pt>
                <c:pt idx="38488">
                  <c:v>44500</c:v>
                </c:pt>
                <c:pt idx="38489">
                  <c:v>20520</c:v>
                </c:pt>
                <c:pt idx="38490">
                  <c:v>45393</c:v>
                </c:pt>
                <c:pt idx="38491">
                  <c:v>23080</c:v>
                </c:pt>
                <c:pt idx="38492">
                  <c:v>55506</c:v>
                </c:pt>
                <c:pt idx="38493">
                  <c:v>60309</c:v>
                </c:pt>
                <c:pt idx="38494">
                  <c:v>125782</c:v>
                </c:pt>
                <c:pt idx="38495">
                  <c:v>68013</c:v>
                </c:pt>
                <c:pt idx="38496">
                  <c:v>148019</c:v>
                </c:pt>
                <c:pt idx="38497">
                  <c:v>78119</c:v>
                </c:pt>
                <c:pt idx="38498">
                  <c:v>40189</c:v>
                </c:pt>
                <c:pt idx="38499">
                  <c:v>70796</c:v>
                </c:pt>
                <c:pt idx="38500">
                  <c:v>40076</c:v>
                </c:pt>
                <c:pt idx="38501">
                  <c:v>40150</c:v>
                </c:pt>
                <c:pt idx="38502">
                  <c:v>34610</c:v>
                </c:pt>
                <c:pt idx="38503">
                  <c:v>34320</c:v>
                </c:pt>
                <c:pt idx="38504">
                  <c:v>34606</c:v>
                </c:pt>
                <c:pt idx="38505">
                  <c:v>110542</c:v>
                </c:pt>
                <c:pt idx="38506">
                  <c:v>49132</c:v>
                </c:pt>
                <c:pt idx="38507">
                  <c:v>26159</c:v>
                </c:pt>
                <c:pt idx="38508">
                  <c:v>105252</c:v>
                </c:pt>
                <c:pt idx="38509">
                  <c:v>188442</c:v>
                </c:pt>
                <c:pt idx="38510">
                  <c:v>75673</c:v>
                </c:pt>
                <c:pt idx="38511">
                  <c:v>114361</c:v>
                </c:pt>
                <c:pt idx="38512">
                  <c:v>92748</c:v>
                </c:pt>
                <c:pt idx="38513">
                  <c:v>49206</c:v>
                </c:pt>
                <c:pt idx="38514">
                  <c:v>39771</c:v>
                </c:pt>
                <c:pt idx="38515">
                  <c:v>56818</c:v>
                </c:pt>
                <c:pt idx="38516">
                  <c:v>84793</c:v>
                </c:pt>
                <c:pt idx="38517">
                  <c:v>24078</c:v>
                </c:pt>
                <c:pt idx="38518">
                  <c:v>29349</c:v>
                </c:pt>
                <c:pt idx="38519">
                  <c:v>41459</c:v>
                </c:pt>
                <c:pt idx="38520">
                  <c:v>43357</c:v>
                </c:pt>
                <c:pt idx="38521">
                  <c:v>32294</c:v>
                </c:pt>
                <c:pt idx="38522">
                  <c:v>80342</c:v>
                </c:pt>
                <c:pt idx="38523">
                  <c:v>29436</c:v>
                </c:pt>
                <c:pt idx="38524">
                  <c:v>29536</c:v>
                </c:pt>
                <c:pt idx="38525">
                  <c:v>42297</c:v>
                </c:pt>
                <c:pt idx="38526">
                  <c:v>50618</c:v>
                </c:pt>
                <c:pt idx="38527">
                  <c:v>52237</c:v>
                </c:pt>
                <c:pt idx="38528">
                  <c:v>75558</c:v>
                </c:pt>
                <c:pt idx="38529">
                  <c:v>38288</c:v>
                </c:pt>
                <c:pt idx="38530">
                  <c:v>38034</c:v>
                </c:pt>
                <c:pt idx="38531">
                  <c:v>34200</c:v>
                </c:pt>
                <c:pt idx="38532">
                  <c:v>44841</c:v>
                </c:pt>
                <c:pt idx="38533">
                  <c:v>26363</c:v>
                </c:pt>
                <c:pt idx="38534">
                  <c:v>54020</c:v>
                </c:pt>
                <c:pt idx="38535">
                  <c:v>47005</c:v>
                </c:pt>
                <c:pt idx="38536">
                  <c:v>36474</c:v>
                </c:pt>
                <c:pt idx="38537">
                  <c:v>27922</c:v>
                </c:pt>
                <c:pt idx="38538">
                  <c:v>32703</c:v>
                </c:pt>
                <c:pt idx="38539">
                  <c:v>26636</c:v>
                </c:pt>
                <c:pt idx="38540">
                  <c:v>30708</c:v>
                </c:pt>
                <c:pt idx="38541">
                  <c:v>35928</c:v>
                </c:pt>
                <c:pt idx="38542">
                  <c:v>198636</c:v>
                </c:pt>
                <c:pt idx="38543">
                  <c:v>46454</c:v>
                </c:pt>
                <c:pt idx="38544">
                  <c:v>51576</c:v>
                </c:pt>
                <c:pt idx="38545">
                  <c:v>44772</c:v>
                </c:pt>
                <c:pt idx="38546">
                  <c:v>33804</c:v>
                </c:pt>
                <c:pt idx="38547">
                  <c:v>53096</c:v>
                </c:pt>
                <c:pt idx="38548">
                  <c:v>25432</c:v>
                </c:pt>
                <c:pt idx="38549">
                  <c:v>21865</c:v>
                </c:pt>
                <c:pt idx="38550">
                  <c:v>58337</c:v>
                </c:pt>
                <c:pt idx="38551">
                  <c:v>39892</c:v>
                </c:pt>
                <c:pt idx="38552">
                  <c:v>99190</c:v>
                </c:pt>
                <c:pt idx="38553">
                  <c:v>183852</c:v>
                </c:pt>
                <c:pt idx="38554">
                  <c:v>49336</c:v>
                </c:pt>
                <c:pt idx="38555">
                  <c:v>37916</c:v>
                </c:pt>
                <c:pt idx="38556">
                  <c:v>195826</c:v>
                </c:pt>
                <c:pt idx="38557">
                  <c:v>118287</c:v>
                </c:pt>
                <c:pt idx="38558">
                  <c:v>47623</c:v>
                </c:pt>
                <c:pt idx="38559">
                  <c:v>48559</c:v>
                </c:pt>
                <c:pt idx="38560">
                  <c:v>336266</c:v>
                </c:pt>
                <c:pt idx="38561">
                  <c:v>37691</c:v>
                </c:pt>
                <c:pt idx="38562">
                  <c:v>25460</c:v>
                </c:pt>
                <c:pt idx="38563">
                  <c:v>41611</c:v>
                </c:pt>
                <c:pt idx="38564">
                  <c:v>30635</c:v>
                </c:pt>
                <c:pt idx="38565">
                  <c:v>34228</c:v>
                </c:pt>
                <c:pt idx="38566">
                  <c:v>22097</c:v>
                </c:pt>
                <c:pt idx="38567">
                  <c:v>23439</c:v>
                </c:pt>
                <c:pt idx="38568">
                  <c:v>63873</c:v>
                </c:pt>
                <c:pt idx="38569">
                  <c:v>37039</c:v>
                </c:pt>
                <c:pt idx="38570">
                  <c:v>64355</c:v>
                </c:pt>
                <c:pt idx="38571">
                  <c:v>34799</c:v>
                </c:pt>
                <c:pt idx="38572">
                  <c:v>48334</c:v>
                </c:pt>
                <c:pt idx="38573">
                  <c:v>48949</c:v>
                </c:pt>
                <c:pt idx="38574">
                  <c:v>42817</c:v>
                </c:pt>
                <c:pt idx="38575">
                  <c:v>44417</c:v>
                </c:pt>
                <c:pt idx="38576">
                  <c:v>106727</c:v>
                </c:pt>
                <c:pt idx="38577">
                  <c:v>26438</c:v>
                </c:pt>
                <c:pt idx="38578">
                  <c:v>21653</c:v>
                </c:pt>
                <c:pt idx="38579">
                  <c:v>63133</c:v>
                </c:pt>
                <c:pt idx="38580">
                  <c:v>355046</c:v>
                </c:pt>
                <c:pt idx="38581">
                  <c:v>52327</c:v>
                </c:pt>
                <c:pt idx="38582">
                  <c:v>44459</c:v>
                </c:pt>
                <c:pt idx="38583">
                  <c:v>25362</c:v>
                </c:pt>
                <c:pt idx="38584">
                  <c:v>33098</c:v>
                </c:pt>
                <c:pt idx="38585">
                  <c:v>110151</c:v>
                </c:pt>
                <c:pt idx="38586">
                  <c:v>61492</c:v>
                </c:pt>
                <c:pt idx="38587">
                  <c:v>49842</c:v>
                </c:pt>
                <c:pt idx="38588">
                  <c:v>34070</c:v>
                </c:pt>
                <c:pt idx="38589">
                  <c:v>37740</c:v>
                </c:pt>
                <c:pt idx="38590">
                  <c:v>121380</c:v>
                </c:pt>
                <c:pt idx="38591">
                  <c:v>30549</c:v>
                </c:pt>
                <c:pt idx="38592">
                  <c:v>40895</c:v>
                </c:pt>
                <c:pt idx="38593">
                  <c:v>32797</c:v>
                </c:pt>
                <c:pt idx="38594">
                  <c:v>48522</c:v>
                </c:pt>
                <c:pt idx="38595">
                  <c:v>15000</c:v>
                </c:pt>
                <c:pt idx="38596">
                  <c:v>84594</c:v>
                </c:pt>
                <c:pt idx="38597">
                  <c:v>39285</c:v>
                </c:pt>
                <c:pt idx="38598">
                  <c:v>55160</c:v>
                </c:pt>
                <c:pt idx="38599">
                  <c:v>36076</c:v>
                </c:pt>
                <c:pt idx="38600">
                  <c:v>84738</c:v>
                </c:pt>
                <c:pt idx="38601">
                  <c:v>131281</c:v>
                </c:pt>
                <c:pt idx="38602">
                  <c:v>26553</c:v>
                </c:pt>
                <c:pt idx="38603">
                  <c:v>123046</c:v>
                </c:pt>
                <c:pt idx="38604">
                  <c:v>57929</c:v>
                </c:pt>
                <c:pt idx="38605">
                  <c:v>43394</c:v>
                </c:pt>
                <c:pt idx="38606">
                  <c:v>35685</c:v>
                </c:pt>
                <c:pt idx="38607">
                  <c:v>74137</c:v>
                </c:pt>
                <c:pt idx="38608">
                  <c:v>101023</c:v>
                </c:pt>
                <c:pt idx="38609">
                  <c:v>98713</c:v>
                </c:pt>
                <c:pt idx="38610">
                  <c:v>31252</c:v>
                </c:pt>
                <c:pt idx="38611">
                  <c:v>43558</c:v>
                </c:pt>
                <c:pt idx="38612">
                  <c:v>46293</c:v>
                </c:pt>
                <c:pt idx="38613">
                  <c:v>73133</c:v>
                </c:pt>
                <c:pt idx="38614">
                  <c:v>47771</c:v>
                </c:pt>
                <c:pt idx="38615">
                  <c:v>25670</c:v>
                </c:pt>
                <c:pt idx="38616">
                  <c:v>277558</c:v>
                </c:pt>
                <c:pt idx="38617">
                  <c:v>36265</c:v>
                </c:pt>
                <c:pt idx="38618">
                  <c:v>41722</c:v>
                </c:pt>
                <c:pt idx="38619">
                  <c:v>37737</c:v>
                </c:pt>
                <c:pt idx="38620">
                  <c:v>64468</c:v>
                </c:pt>
                <c:pt idx="38621">
                  <c:v>349668</c:v>
                </c:pt>
                <c:pt idx="38622">
                  <c:v>29842</c:v>
                </c:pt>
                <c:pt idx="38623">
                  <c:v>55728</c:v>
                </c:pt>
                <c:pt idx="38624">
                  <c:v>40346</c:v>
                </c:pt>
                <c:pt idx="38625">
                  <c:v>44562</c:v>
                </c:pt>
                <c:pt idx="38626">
                  <c:v>36421</c:v>
                </c:pt>
                <c:pt idx="38627">
                  <c:v>36725</c:v>
                </c:pt>
                <c:pt idx="38628">
                  <c:v>52810</c:v>
                </c:pt>
                <c:pt idx="38629">
                  <c:v>24954</c:v>
                </c:pt>
                <c:pt idx="38630">
                  <c:v>25817</c:v>
                </c:pt>
                <c:pt idx="38631">
                  <c:v>66703</c:v>
                </c:pt>
                <c:pt idx="38632">
                  <c:v>65603</c:v>
                </c:pt>
                <c:pt idx="38633">
                  <c:v>33732</c:v>
                </c:pt>
                <c:pt idx="38634">
                  <c:v>58643</c:v>
                </c:pt>
                <c:pt idx="38635">
                  <c:v>107553</c:v>
                </c:pt>
                <c:pt idx="38636">
                  <c:v>208187</c:v>
                </c:pt>
                <c:pt idx="38637">
                  <c:v>72493</c:v>
                </c:pt>
                <c:pt idx="38638">
                  <c:v>30477</c:v>
                </c:pt>
                <c:pt idx="38639">
                  <c:v>119150</c:v>
                </c:pt>
                <c:pt idx="38640">
                  <c:v>46565</c:v>
                </c:pt>
                <c:pt idx="38641">
                  <c:v>70206</c:v>
                </c:pt>
                <c:pt idx="38642">
                  <c:v>72747</c:v>
                </c:pt>
                <c:pt idx="38643">
                  <c:v>23531</c:v>
                </c:pt>
                <c:pt idx="38644">
                  <c:v>115849</c:v>
                </c:pt>
                <c:pt idx="38645">
                  <c:v>66887</c:v>
                </c:pt>
                <c:pt idx="38646">
                  <c:v>24609</c:v>
                </c:pt>
                <c:pt idx="38647">
                  <c:v>35990</c:v>
                </c:pt>
                <c:pt idx="38648">
                  <c:v>56807</c:v>
                </c:pt>
                <c:pt idx="38649">
                  <c:v>56371</c:v>
                </c:pt>
                <c:pt idx="38650">
                  <c:v>69928</c:v>
                </c:pt>
                <c:pt idx="38651">
                  <c:v>67488</c:v>
                </c:pt>
                <c:pt idx="38652">
                  <c:v>62547</c:v>
                </c:pt>
                <c:pt idx="38653">
                  <c:v>38985</c:v>
                </c:pt>
                <c:pt idx="38654">
                  <c:v>81399</c:v>
                </c:pt>
                <c:pt idx="38655">
                  <c:v>37324</c:v>
                </c:pt>
                <c:pt idx="38656">
                  <c:v>77482</c:v>
                </c:pt>
                <c:pt idx="38657">
                  <c:v>58389</c:v>
                </c:pt>
                <c:pt idx="38658">
                  <c:v>71430</c:v>
                </c:pt>
                <c:pt idx="38659">
                  <c:v>34557</c:v>
                </c:pt>
                <c:pt idx="38660">
                  <c:v>52784</c:v>
                </c:pt>
                <c:pt idx="38661">
                  <c:v>116291</c:v>
                </c:pt>
                <c:pt idx="38662">
                  <c:v>85422</c:v>
                </c:pt>
                <c:pt idx="38663">
                  <c:v>48079</c:v>
                </c:pt>
                <c:pt idx="38664">
                  <c:v>36133</c:v>
                </c:pt>
                <c:pt idx="38665">
                  <c:v>43269</c:v>
                </c:pt>
                <c:pt idx="38666">
                  <c:v>59503</c:v>
                </c:pt>
                <c:pt idx="38667">
                  <c:v>50533</c:v>
                </c:pt>
                <c:pt idx="38668">
                  <c:v>54064</c:v>
                </c:pt>
                <c:pt idx="38669">
                  <c:v>23221</c:v>
                </c:pt>
                <c:pt idx="38670">
                  <c:v>52581</c:v>
                </c:pt>
                <c:pt idx="38671">
                  <c:v>35216</c:v>
                </c:pt>
                <c:pt idx="38672">
                  <c:v>48913</c:v>
                </c:pt>
                <c:pt idx="38673">
                  <c:v>82092</c:v>
                </c:pt>
                <c:pt idx="38674">
                  <c:v>20750</c:v>
                </c:pt>
                <c:pt idx="38675">
                  <c:v>32655</c:v>
                </c:pt>
                <c:pt idx="38676">
                  <c:v>94524</c:v>
                </c:pt>
                <c:pt idx="38677">
                  <c:v>66581</c:v>
                </c:pt>
                <c:pt idx="38678">
                  <c:v>33757</c:v>
                </c:pt>
                <c:pt idx="38679">
                  <c:v>144172</c:v>
                </c:pt>
                <c:pt idx="38680">
                  <c:v>107570</c:v>
                </c:pt>
                <c:pt idx="38681">
                  <c:v>450829</c:v>
                </c:pt>
                <c:pt idx="38682">
                  <c:v>110382</c:v>
                </c:pt>
                <c:pt idx="38683">
                  <c:v>86641</c:v>
                </c:pt>
                <c:pt idx="38684">
                  <c:v>48518</c:v>
                </c:pt>
                <c:pt idx="38685">
                  <c:v>181548</c:v>
                </c:pt>
                <c:pt idx="38686">
                  <c:v>37580</c:v>
                </c:pt>
                <c:pt idx="38687">
                  <c:v>28786</c:v>
                </c:pt>
                <c:pt idx="38688">
                  <c:v>72365</c:v>
                </c:pt>
                <c:pt idx="38689">
                  <c:v>119152</c:v>
                </c:pt>
                <c:pt idx="38690">
                  <c:v>68647</c:v>
                </c:pt>
                <c:pt idx="38691">
                  <c:v>111743</c:v>
                </c:pt>
                <c:pt idx="38692">
                  <c:v>36792</c:v>
                </c:pt>
                <c:pt idx="38693">
                  <c:v>443568</c:v>
                </c:pt>
                <c:pt idx="38694">
                  <c:v>46428</c:v>
                </c:pt>
                <c:pt idx="38695">
                  <c:v>70380</c:v>
                </c:pt>
                <c:pt idx="38696">
                  <c:v>45855</c:v>
                </c:pt>
                <c:pt idx="38697">
                  <c:v>59506</c:v>
                </c:pt>
                <c:pt idx="38698">
                  <c:v>68491</c:v>
                </c:pt>
                <c:pt idx="38699">
                  <c:v>46162</c:v>
                </c:pt>
                <c:pt idx="38700">
                  <c:v>33549</c:v>
                </c:pt>
                <c:pt idx="38701">
                  <c:v>32294</c:v>
                </c:pt>
                <c:pt idx="38702">
                  <c:v>39482</c:v>
                </c:pt>
                <c:pt idx="38703">
                  <c:v>63186</c:v>
                </c:pt>
                <c:pt idx="38704">
                  <c:v>32749</c:v>
                </c:pt>
                <c:pt idx="38705">
                  <c:v>30761</c:v>
                </c:pt>
                <c:pt idx="38706">
                  <c:v>34758</c:v>
                </c:pt>
                <c:pt idx="38707">
                  <c:v>37210</c:v>
                </c:pt>
                <c:pt idx="38708">
                  <c:v>22031</c:v>
                </c:pt>
                <c:pt idx="38709">
                  <c:v>177178</c:v>
                </c:pt>
                <c:pt idx="38710">
                  <c:v>64260</c:v>
                </c:pt>
                <c:pt idx="38711">
                  <c:v>100697</c:v>
                </c:pt>
                <c:pt idx="38712">
                  <c:v>40110</c:v>
                </c:pt>
                <c:pt idx="38713">
                  <c:v>39597</c:v>
                </c:pt>
                <c:pt idx="38714">
                  <c:v>53103</c:v>
                </c:pt>
                <c:pt idx="38715">
                  <c:v>92221</c:v>
                </c:pt>
                <c:pt idx="38716">
                  <c:v>50423</c:v>
                </c:pt>
                <c:pt idx="38717">
                  <c:v>58795</c:v>
                </c:pt>
                <c:pt idx="38718">
                  <c:v>20833</c:v>
                </c:pt>
                <c:pt idx="38719">
                  <c:v>26967</c:v>
                </c:pt>
                <c:pt idx="38720">
                  <c:v>34011</c:v>
                </c:pt>
                <c:pt idx="38721">
                  <c:v>46346</c:v>
                </c:pt>
                <c:pt idx="38722">
                  <c:v>82996</c:v>
                </c:pt>
                <c:pt idx="38723">
                  <c:v>71043</c:v>
                </c:pt>
                <c:pt idx="38724">
                  <c:v>20162</c:v>
                </c:pt>
                <c:pt idx="38725">
                  <c:v>31936</c:v>
                </c:pt>
                <c:pt idx="38726">
                  <c:v>33991</c:v>
                </c:pt>
                <c:pt idx="38727">
                  <c:v>32728</c:v>
                </c:pt>
                <c:pt idx="38728">
                  <c:v>15000</c:v>
                </c:pt>
                <c:pt idx="38729">
                  <c:v>34910</c:v>
                </c:pt>
                <c:pt idx="38730">
                  <c:v>34967</c:v>
                </c:pt>
                <c:pt idx="38731">
                  <c:v>28464</c:v>
                </c:pt>
                <c:pt idx="38732">
                  <c:v>43063</c:v>
                </c:pt>
                <c:pt idx="38733">
                  <c:v>40246</c:v>
                </c:pt>
                <c:pt idx="38734">
                  <c:v>97706</c:v>
                </c:pt>
                <c:pt idx="38735">
                  <c:v>58637</c:v>
                </c:pt>
                <c:pt idx="38736">
                  <c:v>128889</c:v>
                </c:pt>
                <c:pt idx="38737">
                  <c:v>124710</c:v>
                </c:pt>
                <c:pt idx="38738">
                  <c:v>27428</c:v>
                </c:pt>
                <c:pt idx="38739">
                  <c:v>40098</c:v>
                </c:pt>
                <c:pt idx="38740">
                  <c:v>28325</c:v>
                </c:pt>
                <c:pt idx="38741">
                  <c:v>28342</c:v>
                </c:pt>
                <c:pt idx="38742">
                  <c:v>44594</c:v>
                </c:pt>
                <c:pt idx="38743">
                  <c:v>43644</c:v>
                </c:pt>
                <c:pt idx="38744">
                  <c:v>113241</c:v>
                </c:pt>
                <c:pt idx="38745">
                  <c:v>103795</c:v>
                </c:pt>
                <c:pt idx="38746">
                  <c:v>56552</c:v>
                </c:pt>
                <c:pt idx="38747">
                  <c:v>40193</c:v>
                </c:pt>
                <c:pt idx="38748">
                  <c:v>50312</c:v>
                </c:pt>
                <c:pt idx="38749">
                  <c:v>124636</c:v>
                </c:pt>
                <c:pt idx="38750">
                  <c:v>34025</c:v>
                </c:pt>
                <c:pt idx="38751">
                  <c:v>29899</c:v>
                </c:pt>
                <c:pt idx="38752">
                  <c:v>24081</c:v>
                </c:pt>
                <c:pt idx="38753">
                  <c:v>67786</c:v>
                </c:pt>
                <c:pt idx="38754">
                  <c:v>51767</c:v>
                </c:pt>
                <c:pt idx="38755">
                  <c:v>29785</c:v>
                </c:pt>
                <c:pt idx="38756">
                  <c:v>49102</c:v>
                </c:pt>
                <c:pt idx="38757">
                  <c:v>32649</c:v>
                </c:pt>
                <c:pt idx="38758">
                  <c:v>39118</c:v>
                </c:pt>
                <c:pt idx="38759">
                  <c:v>66339</c:v>
                </c:pt>
                <c:pt idx="38760">
                  <c:v>154621</c:v>
                </c:pt>
                <c:pt idx="38761">
                  <c:v>93850</c:v>
                </c:pt>
                <c:pt idx="38762">
                  <c:v>30154</c:v>
                </c:pt>
                <c:pt idx="38763">
                  <c:v>74330</c:v>
                </c:pt>
                <c:pt idx="38764">
                  <c:v>24143</c:v>
                </c:pt>
                <c:pt idx="38765">
                  <c:v>25242</c:v>
                </c:pt>
                <c:pt idx="38766">
                  <c:v>51480</c:v>
                </c:pt>
                <c:pt idx="38767">
                  <c:v>32579</c:v>
                </c:pt>
                <c:pt idx="38768">
                  <c:v>36182</c:v>
                </c:pt>
                <c:pt idx="38769">
                  <c:v>54242</c:v>
                </c:pt>
                <c:pt idx="38770">
                  <c:v>36757</c:v>
                </c:pt>
                <c:pt idx="38771">
                  <c:v>99285</c:v>
                </c:pt>
                <c:pt idx="38772">
                  <c:v>45806</c:v>
                </c:pt>
                <c:pt idx="38773">
                  <c:v>154002</c:v>
                </c:pt>
                <c:pt idx="38774">
                  <c:v>86519</c:v>
                </c:pt>
                <c:pt idx="38775">
                  <c:v>26539</c:v>
                </c:pt>
                <c:pt idx="38776">
                  <c:v>198787</c:v>
                </c:pt>
                <c:pt idx="38777">
                  <c:v>83857</c:v>
                </c:pt>
                <c:pt idx="38778">
                  <c:v>35547</c:v>
                </c:pt>
                <c:pt idx="38779">
                  <c:v>151465</c:v>
                </c:pt>
                <c:pt idx="38780">
                  <c:v>30318</c:v>
                </c:pt>
                <c:pt idx="38781">
                  <c:v>33826</c:v>
                </c:pt>
                <c:pt idx="38782">
                  <c:v>140936</c:v>
                </c:pt>
                <c:pt idx="38783">
                  <c:v>39235</c:v>
                </c:pt>
                <c:pt idx="38784">
                  <c:v>206779</c:v>
                </c:pt>
                <c:pt idx="38785">
                  <c:v>30634</c:v>
                </c:pt>
                <c:pt idx="38786">
                  <c:v>33893</c:v>
                </c:pt>
                <c:pt idx="38787">
                  <c:v>69164</c:v>
                </c:pt>
                <c:pt idx="38788">
                  <c:v>38981</c:v>
                </c:pt>
                <c:pt idx="38789">
                  <c:v>47076</c:v>
                </c:pt>
                <c:pt idx="38790">
                  <c:v>71361</c:v>
                </c:pt>
                <c:pt idx="38791">
                  <c:v>117105</c:v>
                </c:pt>
                <c:pt idx="38792">
                  <c:v>27519</c:v>
                </c:pt>
                <c:pt idx="38793">
                  <c:v>42117</c:v>
                </c:pt>
                <c:pt idx="38794">
                  <c:v>26815</c:v>
                </c:pt>
                <c:pt idx="38795">
                  <c:v>31392</c:v>
                </c:pt>
                <c:pt idx="38796">
                  <c:v>26763</c:v>
                </c:pt>
                <c:pt idx="38797">
                  <c:v>41782</c:v>
                </c:pt>
                <c:pt idx="38798">
                  <c:v>41992</c:v>
                </c:pt>
                <c:pt idx="38799">
                  <c:v>38057</c:v>
                </c:pt>
                <c:pt idx="38800">
                  <c:v>40571</c:v>
                </c:pt>
                <c:pt idx="38801">
                  <c:v>40544</c:v>
                </c:pt>
                <c:pt idx="38802">
                  <c:v>28484</c:v>
                </c:pt>
                <c:pt idx="38803">
                  <c:v>246745</c:v>
                </c:pt>
                <c:pt idx="38804">
                  <c:v>46545</c:v>
                </c:pt>
                <c:pt idx="38805">
                  <c:v>42723</c:v>
                </c:pt>
                <c:pt idx="38806">
                  <c:v>45232</c:v>
                </c:pt>
                <c:pt idx="38807">
                  <c:v>29153</c:v>
                </c:pt>
                <c:pt idx="38808">
                  <c:v>33839</c:v>
                </c:pt>
                <c:pt idx="38809">
                  <c:v>121637</c:v>
                </c:pt>
                <c:pt idx="38810">
                  <c:v>122017</c:v>
                </c:pt>
                <c:pt idx="38811">
                  <c:v>45513</c:v>
                </c:pt>
                <c:pt idx="38812">
                  <c:v>34841</c:v>
                </c:pt>
                <c:pt idx="38813">
                  <c:v>133463</c:v>
                </c:pt>
                <c:pt idx="38814">
                  <c:v>111755</c:v>
                </c:pt>
                <c:pt idx="38815">
                  <c:v>38880</c:v>
                </c:pt>
                <c:pt idx="38816">
                  <c:v>24078</c:v>
                </c:pt>
                <c:pt idx="38817">
                  <c:v>84261</c:v>
                </c:pt>
                <c:pt idx="38818">
                  <c:v>43093</c:v>
                </c:pt>
                <c:pt idx="38819">
                  <c:v>166162</c:v>
                </c:pt>
                <c:pt idx="38820">
                  <c:v>49980</c:v>
                </c:pt>
                <c:pt idx="38821">
                  <c:v>39388</c:v>
                </c:pt>
                <c:pt idx="38822">
                  <c:v>24637</c:v>
                </c:pt>
                <c:pt idx="38823">
                  <c:v>113189</c:v>
                </c:pt>
                <c:pt idx="38824">
                  <c:v>25716</c:v>
                </c:pt>
                <c:pt idx="38825">
                  <c:v>36203</c:v>
                </c:pt>
                <c:pt idx="38826">
                  <c:v>28180</c:v>
                </c:pt>
                <c:pt idx="38827">
                  <c:v>38429</c:v>
                </c:pt>
                <c:pt idx="38828">
                  <c:v>50362</c:v>
                </c:pt>
                <c:pt idx="38829">
                  <c:v>43430</c:v>
                </c:pt>
                <c:pt idx="38830">
                  <c:v>232080</c:v>
                </c:pt>
                <c:pt idx="38831">
                  <c:v>28987</c:v>
                </c:pt>
                <c:pt idx="38832">
                  <c:v>32312</c:v>
                </c:pt>
                <c:pt idx="38833">
                  <c:v>35413</c:v>
                </c:pt>
                <c:pt idx="38834">
                  <c:v>92902</c:v>
                </c:pt>
                <c:pt idx="38835">
                  <c:v>32366</c:v>
                </c:pt>
                <c:pt idx="38836">
                  <c:v>35548</c:v>
                </c:pt>
                <c:pt idx="38837">
                  <c:v>28114</c:v>
                </c:pt>
                <c:pt idx="38838">
                  <c:v>67697</c:v>
                </c:pt>
                <c:pt idx="38839">
                  <c:v>61966</c:v>
                </c:pt>
                <c:pt idx="38840">
                  <c:v>77753</c:v>
                </c:pt>
                <c:pt idx="38841">
                  <c:v>53437</c:v>
                </c:pt>
                <c:pt idx="38842">
                  <c:v>22058</c:v>
                </c:pt>
                <c:pt idx="38843">
                  <c:v>65300</c:v>
                </c:pt>
                <c:pt idx="38844">
                  <c:v>80350</c:v>
                </c:pt>
                <c:pt idx="38845">
                  <c:v>103604</c:v>
                </c:pt>
                <c:pt idx="38846">
                  <c:v>90097</c:v>
                </c:pt>
                <c:pt idx="38847">
                  <c:v>52798</c:v>
                </c:pt>
                <c:pt idx="38848">
                  <c:v>79639</c:v>
                </c:pt>
                <c:pt idx="38849">
                  <c:v>42747</c:v>
                </c:pt>
                <c:pt idx="38850">
                  <c:v>49512</c:v>
                </c:pt>
                <c:pt idx="38851">
                  <c:v>148793</c:v>
                </c:pt>
                <c:pt idx="38852">
                  <c:v>53162</c:v>
                </c:pt>
                <c:pt idx="38853">
                  <c:v>51434</c:v>
                </c:pt>
                <c:pt idx="38854">
                  <c:v>55609</c:v>
                </c:pt>
                <c:pt idx="38855">
                  <c:v>196894</c:v>
                </c:pt>
                <c:pt idx="38856">
                  <c:v>44889</c:v>
                </c:pt>
                <c:pt idx="38857">
                  <c:v>30747</c:v>
                </c:pt>
                <c:pt idx="38858">
                  <c:v>25603</c:v>
                </c:pt>
                <c:pt idx="38859">
                  <c:v>33901</c:v>
                </c:pt>
                <c:pt idx="38860">
                  <c:v>24671</c:v>
                </c:pt>
                <c:pt idx="38861">
                  <c:v>38370</c:v>
                </c:pt>
                <c:pt idx="38862">
                  <c:v>171281</c:v>
                </c:pt>
                <c:pt idx="38863">
                  <c:v>38231</c:v>
                </c:pt>
                <c:pt idx="38864">
                  <c:v>47691</c:v>
                </c:pt>
                <c:pt idx="38865">
                  <c:v>58262</c:v>
                </c:pt>
                <c:pt idx="38866">
                  <c:v>25943</c:v>
                </c:pt>
                <c:pt idx="38867">
                  <c:v>26466</c:v>
                </c:pt>
                <c:pt idx="38868">
                  <c:v>79281</c:v>
                </c:pt>
                <c:pt idx="38869">
                  <c:v>54410</c:v>
                </c:pt>
                <c:pt idx="38870">
                  <c:v>23117</c:v>
                </c:pt>
                <c:pt idx="38871">
                  <c:v>61277</c:v>
                </c:pt>
                <c:pt idx="38872">
                  <c:v>34084</c:v>
                </c:pt>
                <c:pt idx="38873">
                  <c:v>30789</c:v>
                </c:pt>
                <c:pt idx="38874">
                  <c:v>31562</c:v>
                </c:pt>
                <c:pt idx="38875">
                  <c:v>45868</c:v>
                </c:pt>
                <c:pt idx="38876">
                  <c:v>172242</c:v>
                </c:pt>
                <c:pt idx="38877">
                  <c:v>296962</c:v>
                </c:pt>
                <c:pt idx="38878">
                  <c:v>64046</c:v>
                </c:pt>
                <c:pt idx="38879">
                  <c:v>161227</c:v>
                </c:pt>
                <c:pt idx="38880">
                  <c:v>277388</c:v>
                </c:pt>
                <c:pt idx="38881">
                  <c:v>136539</c:v>
                </c:pt>
                <c:pt idx="38882">
                  <c:v>32065</c:v>
                </c:pt>
                <c:pt idx="38883">
                  <c:v>23765</c:v>
                </c:pt>
                <c:pt idx="38884">
                  <c:v>51780</c:v>
                </c:pt>
                <c:pt idx="38885">
                  <c:v>64060</c:v>
                </c:pt>
                <c:pt idx="38886">
                  <c:v>60032</c:v>
                </c:pt>
                <c:pt idx="38887">
                  <c:v>23868</c:v>
                </c:pt>
                <c:pt idx="38888">
                  <c:v>171605</c:v>
                </c:pt>
                <c:pt idx="38889">
                  <c:v>229494</c:v>
                </c:pt>
                <c:pt idx="38890">
                  <c:v>24062</c:v>
                </c:pt>
                <c:pt idx="38891">
                  <c:v>37925</c:v>
                </c:pt>
                <c:pt idx="38892">
                  <c:v>31674</c:v>
                </c:pt>
                <c:pt idx="38893">
                  <c:v>38749</c:v>
                </c:pt>
                <c:pt idx="38894">
                  <c:v>46818</c:v>
                </c:pt>
                <c:pt idx="38895">
                  <c:v>23775</c:v>
                </c:pt>
                <c:pt idx="38896">
                  <c:v>98115</c:v>
                </c:pt>
                <c:pt idx="38897">
                  <c:v>109639</c:v>
                </c:pt>
                <c:pt idx="38898">
                  <c:v>31953</c:v>
                </c:pt>
                <c:pt idx="38899">
                  <c:v>184775</c:v>
                </c:pt>
                <c:pt idx="38900">
                  <c:v>32368</c:v>
                </c:pt>
                <c:pt idx="38901">
                  <c:v>77971</c:v>
                </c:pt>
                <c:pt idx="38902">
                  <c:v>43592</c:v>
                </c:pt>
                <c:pt idx="38903">
                  <c:v>81243</c:v>
                </c:pt>
                <c:pt idx="38904">
                  <c:v>31952</c:v>
                </c:pt>
                <c:pt idx="38905">
                  <c:v>52930</c:v>
                </c:pt>
                <c:pt idx="38906">
                  <c:v>55831</c:v>
                </c:pt>
                <c:pt idx="38907">
                  <c:v>45699</c:v>
                </c:pt>
                <c:pt idx="38908">
                  <c:v>20987</c:v>
                </c:pt>
                <c:pt idx="38909">
                  <c:v>32872</c:v>
                </c:pt>
                <c:pt idx="38910">
                  <c:v>23433</c:v>
                </c:pt>
                <c:pt idx="38911">
                  <c:v>90928</c:v>
                </c:pt>
                <c:pt idx="38912">
                  <c:v>36741</c:v>
                </c:pt>
                <c:pt idx="38913">
                  <c:v>72716</c:v>
                </c:pt>
                <c:pt idx="38914">
                  <c:v>32006</c:v>
                </c:pt>
                <c:pt idx="38915">
                  <c:v>42621</c:v>
                </c:pt>
                <c:pt idx="38916">
                  <c:v>67897</c:v>
                </c:pt>
                <c:pt idx="38917">
                  <c:v>68036</c:v>
                </c:pt>
                <c:pt idx="38918">
                  <c:v>36477</c:v>
                </c:pt>
                <c:pt idx="38919">
                  <c:v>25214</c:v>
                </c:pt>
                <c:pt idx="38920">
                  <c:v>21091</c:v>
                </c:pt>
                <c:pt idx="38921">
                  <c:v>27665</c:v>
                </c:pt>
                <c:pt idx="38922">
                  <c:v>134933</c:v>
                </c:pt>
                <c:pt idx="38923">
                  <c:v>34778</c:v>
                </c:pt>
                <c:pt idx="38924">
                  <c:v>49617</c:v>
                </c:pt>
                <c:pt idx="38925">
                  <c:v>61713</c:v>
                </c:pt>
                <c:pt idx="38926">
                  <c:v>44662</c:v>
                </c:pt>
                <c:pt idx="38927">
                  <c:v>167064</c:v>
                </c:pt>
                <c:pt idx="38928">
                  <c:v>34684</c:v>
                </c:pt>
                <c:pt idx="38929">
                  <c:v>71273</c:v>
                </c:pt>
                <c:pt idx="38930">
                  <c:v>29373</c:v>
                </c:pt>
                <c:pt idx="38931">
                  <c:v>51500</c:v>
                </c:pt>
                <c:pt idx="38932">
                  <c:v>27859</c:v>
                </c:pt>
                <c:pt idx="38933">
                  <c:v>40940</c:v>
                </c:pt>
                <c:pt idx="38934">
                  <c:v>32435</c:v>
                </c:pt>
                <c:pt idx="38935">
                  <c:v>27103</c:v>
                </c:pt>
                <c:pt idx="38936">
                  <c:v>39712</c:v>
                </c:pt>
                <c:pt idx="38937">
                  <c:v>44238</c:v>
                </c:pt>
                <c:pt idx="38938">
                  <c:v>32840</c:v>
                </c:pt>
                <c:pt idx="38939">
                  <c:v>39128</c:v>
                </c:pt>
                <c:pt idx="38940">
                  <c:v>45707</c:v>
                </c:pt>
                <c:pt idx="38941">
                  <c:v>43760</c:v>
                </c:pt>
                <c:pt idx="38942">
                  <c:v>62053</c:v>
                </c:pt>
                <c:pt idx="38943">
                  <c:v>65114</c:v>
                </c:pt>
                <c:pt idx="38944">
                  <c:v>66025</c:v>
                </c:pt>
                <c:pt idx="38945">
                  <c:v>36132</c:v>
                </c:pt>
                <c:pt idx="38946">
                  <c:v>62289</c:v>
                </c:pt>
                <c:pt idx="38947">
                  <c:v>40521</c:v>
                </c:pt>
                <c:pt idx="38948">
                  <c:v>43365</c:v>
                </c:pt>
                <c:pt idx="38949">
                  <c:v>26069</c:v>
                </c:pt>
                <c:pt idx="38950">
                  <c:v>124474</c:v>
                </c:pt>
                <c:pt idx="38951">
                  <c:v>81450</c:v>
                </c:pt>
                <c:pt idx="38952">
                  <c:v>36836</c:v>
                </c:pt>
                <c:pt idx="38953">
                  <c:v>40262</c:v>
                </c:pt>
                <c:pt idx="38954">
                  <c:v>43466</c:v>
                </c:pt>
                <c:pt idx="38955">
                  <c:v>26847</c:v>
                </c:pt>
                <c:pt idx="38956">
                  <c:v>28160</c:v>
                </c:pt>
                <c:pt idx="38957">
                  <c:v>82371</c:v>
                </c:pt>
                <c:pt idx="38958">
                  <c:v>25461</c:v>
                </c:pt>
                <c:pt idx="38959">
                  <c:v>77896</c:v>
                </c:pt>
                <c:pt idx="38960">
                  <c:v>62263</c:v>
                </c:pt>
                <c:pt idx="38961">
                  <c:v>56980</c:v>
                </c:pt>
                <c:pt idx="38962">
                  <c:v>46482</c:v>
                </c:pt>
                <c:pt idx="38963">
                  <c:v>24284</c:v>
                </c:pt>
                <c:pt idx="38964">
                  <c:v>39486</c:v>
                </c:pt>
                <c:pt idx="38965">
                  <c:v>33697</c:v>
                </c:pt>
                <c:pt idx="38966">
                  <c:v>62298</c:v>
                </c:pt>
                <c:pt idx="38967">
                  <c:v>40769</c:v>
                </c:pt>
                <c:pt idx="38968">
                  <c:v>44057</c:v>
                </c:pt>
                <c:pt idx="38969">
                  <c:v>49977</c:v>
                </c:pt>
                <c:pt idx="38970">
                  <c:v>32069</c:v>
                </c:pt>
                <c:pt idx="38971">
                  <c:v>105896</c:v>
                </c:pt>
                <c:pt idx="38972">
                  <c:v>53666</c:v>
                </c:pt>
                <c:pt idx="38973">
                  <c:v>67157</c:v>
                </c:pt>
                <c:pt idx="38974">
                  <c:v>45078</c:v>
                </c:pt>
                <c:pt idx="38975">
                  <c:v>50868</c:v>
                </c:pt>
                <c:pt idx="38976">
                  <c:v>39951</c:v>
                </c:pt>
                <c:pt idx="38977">
                  <c:v>114480</c:v>
                </c:pt>
                <c:pt idx="38978">
                  <c:v>49332</c:v>
                </c:pt>
                <c:pt idx="38979">
                  <c:v>166130</c:v>
                </c:pt>
                <c:pt idx="38980">
                  <c:v>150346</c:v>
                </c:pt>
                <c:pt idx="38981">
                  <c:v>110000</c:v>
                </c:pt>
                <c:pt idx="38982">
                  <c:v>55866</c:v>
                </c:pt>
                <c:pt idx="38983">
                  <c:v>42060</c:v>
                </c:pt>
                <c:pt idx="38984">
                  <c:v>110166</c:v>
                </c:pt>
                <c:pt idx="38985">
                  <c:v>35866</c:v>
                </c:pt>
                <c:pt idx="38986">
                  <c:v>42867</c:v>
                </c:pt>
                <c:pt idx="38987">
                  <c:v>43464</c:v>
                </c:pt>
                <c:pt idx="38988">
                  <c:v>60942</c:v>
                </c:pt>
                <c:pt idx="38989">
                  <c:v>77235</c:v>
                </c:pt>
                <c:pt idx="38990">
                  <c:v>40874</c:v>
                </c:pt>
                <c:pt idx="38991">
                  <c:v>44913</c:v>
                </c:pt>
                <c:pt idx="38992">
                  <c:v>27273</c:v>
                </c:pt>
                <c:pt idx="38993">
                  <c:v>33594</c:v>
                </c:pt>
                <c:pt idx="38994">
                  <c:v>115436</c:v>
                </c:pt>
                <c:pt idx="38995">
                  <c:v>25721</c:v>
                </c:pt>
                <c:pt idx="38996">
                  <c:v>71602</c:v>
                </c:pt>
                <c:pt idx="38997">
                  <c:v>20023</c:v>
                </c:pt>
                <c:pt idx="38998">
                  <c:v>24365</c:v>
                </c:pt>
                <c:pt idx="38999">
                  <c:v>57084</c:v>
                </c:pt>
                <c:pt idx="39000">
                  <c:v>43593</c:v>
                </c:pt>
                <c:pt idx="39001">
                  <c:v>41840</c:v>
                </c:pt>
                <c:pt idx="39002">
                  <c:v>54273</c:v>
                </c:pt>
                <c:pt idx="39003">
                  <c:v>59586</c:v>
                </c:pt>
                <c:pt idx="39004">
                  <c:v>41519</c:v>
                </c:pt>
                <c:pt idx="39005">
                  <c:v>25209</c:v>
                </c:pt>
                <c:pt idx="39006">
                  <c:v>51929</c:v>
                </c:pt>
                <c:pt idx="39007">
                  <c:v>45742</c:v>
                </c:pt>
                <c:pt idx="39008">
                  <c:v>36142</c:v>
                </c:pt>
                <c:pt idx="39009">
                  <c:v>38276</c:v>
                </c:pt>
                <c:pt idx="39010">
                  <c:v>150962</c:v>
                </c:pt>
                <c:pt idx="39011">
                  <c:v>37787</c:v>
                </c:pt>
                <c:pt idx="39012">
                  <c:v>109181</c:v>
                </c:pt>
                <c:pt idx="39013">
                  <c:v>94035</c:v>
                </c:pt>
                <c:pt idx="39014">
                  <c:v>44301</c:v>
                </c:pt>
                <c:pt idx="39015">
                  <c:v>42963</c:v>
                </c:pt>
                <c:pt idx="39016">
                  <c:v>24205</c:v>
                </c:pt>
                <c:pt idx="39017">
                  <c:v>45105</c:v>
                </c:pt>
                <c:pt idx="39018">
                  <c:v>37737</c:v>
                </c:pt>
                <c:pt idx="39019">
                  <c:v>110160</c:v>
                </c:pt>
                <c:pt idx="39020">
                  <c:v>41096</c:v>
                </c:pt>
                <c:pt idx="39021">
                  <c:v>54059</c:v>
                </c:pt>
                <c:pt idx="39022">
                  <c:v>24605</c:v>
                </c:pt>
                <c:pt idx="39023">
                  <c:v>27658</c:v>
                </c:pt>
                <c:pt idx="39024">
                  <c:v>30717</c:v>
                </c:pt>
                <c:pt idx="39025">
                  <c:v>41790</c:v>
                </c:pt>
                <c:pt idx="39026">
                  <c:v>57771</c:v>
                </c:pt>
                <c:pt idx="39027">
                  <c:v>45909</c:v>
                </c:pt>
                <c:pt idx="39028">
                  <c:v>31313</c:v>
                </c:pt>
                <c:pt idx="39029">
                  <c:v>46760</c:v>
                </c:pt>
                <c:pt idx="39030">
                  <c:v>29589</c:v>
                </c:pt>
                <c:pt idx="39031">
                  <c:v>43382</c:v>
                </c:pt>
                <c:pt idx="39032">
                  <c:v>127906</c:v>
                </c:pt>
                <c:pt idx="39033">
                  <c:v>47902</c:v>
                </c:pt>
                <c:pt idx="39034">
                  <c:v>27302</c:v>
                </c:pt>
                <c:pt idx="39035">
                  <c:v>80355</c:v>
                </c:pt>
                <c:pt idx="39036">
                  <c:v>72826</c:v>
                </c:pt>
                <c:pt idx="39037">
                  <c:v>45929</c:v>
                </c:pt>
                <c:pt idx="39038">
                  <c:v>32338</c:v>
                </c:pt>
                <c:pt idx="39039">
                  <c:v>45263</c:v>
                </c:pt>
                <c:pt idx="39040">
                  <c:v>294491</c:v>
                </c:pt>
                <c:pt idx="39041">
                  <c:v>78286</c:v>
                </c:pt>
                <c:pt idx="39042">
                  <c:v>54187</c:v>
                </c:pt>
                <c:pt idx="39043">
                  <c:v>129631</c:v>
                </c:pt>
                <c:pt idx="39044">
                  <c:v>34834</c:v>
                </c:pt>
                <c:pt idx="39045">
                  <c:v>27535</c:v>
                </c:pt>
                <c:pt idx="39046">
                  <c:v>42977</c:v>
                </c:pt>
                <c:pt idx="39047">
                  <c:v>26937</c:v>
                </c:pt>
                <c:pt idx="39048">
                  <c:v>172262</c:v>
                </c:pt>
                <c:pt idx="39049">
                  <c:v>95781</c:v>
                </c:pt>
                <c:pt idx="39050">
                  <c:v>173834</c:v>
                </c:pt>
                <c:pt idx="39051">
                  <c:v>40668</c:v>
                </c:pt>
                <c:pt idx="39052">
                  <c:v>41359</c:v>
                </c:pt>
                <c:pt idx="39053">
                  <c:v>46986</c:v>
                </c:pt>
                <c:pt idx="39054">
                  <c:v>32077</c:v>
                </c:pt>
                <c:pt idx="39055">
                  <c:v>35271</c:v>
                </c:pt>
                <c:pt idx="39056">
                  <c:v>254837</c:v>
                </c:pt>
                <c:pt idx="39057">
                  <c:v>102900</c:v>
                </c:pt>
                <c:pt idx="39058">
                  <c:v>35651</c:v>
                </c:pt>
                <c:pt idx="39059">
                  <c:v>35637</c:v>
                </c:pt>
                <c:pt idx="39060">
                  <c:v>34498</c:v>
                </c:pt>
                <c:pt idx="39061">
                  <c:v>37331</c:v>
                </c:pt>
                <c:pt idx="39062">
                  <c:v>36993</c:v>
                </c:pt>
                <c:pt idx="39063">
                  <c:v>32713</c:v>
                </c:pt>
                <c:pt idx="39064">
                  <c:v>76360</c:v>
                </c:pt>
                <c:pt idx="39065">
                  <c:v>24116</c:v>
                </c:pt>
                <c:pt idx="39066">
                  <c:v>53793</c:v>
                </c:pt>
                <c:pt idx="39067">
                  <c:v>222844</c:v>
                </c:pt>
                <c:pt idx="39068">
                  <c:v>73545</c:v>
                </c:pt>
                <c:pt idx="39069">
                  <c:v>81784</c:v>
                </c:pt>
                <c:pt idx="39070">
                  <c:v>25472</c:v>
                </c:pt>
                <c:pt idx="39071">
                  <c:v>36033</c:v>
                </c:pt>
                <c:pt idx="39072">
                  <c:v>96918</c:v>
                </c:pt>
                <c:pt idx="39073">
                  <c:v>54118</c:v>
                </c:pt>
                <c:pt idx="39074">
                  <c:v>23415</c:v>
                </c:pt>
                <c:pt idx="39075">
                  <c:v>28428</c:v>
                </c:pt>
                <c:pt idx="39076">
                  <c:v>21538</c:v>
                </c:pt>
                <c:pt idx="39077">
                  <c:v>98446</c:v>
                </c:pt>
                <c:pt idx="39078">
                  <c:v>65919</c:v>
                </c:pt>
                <c:pt idx="39079">
                  <c:v>23769</c:v>
                </c:pt>
                <c:pt idx="39080">
                  <c:v>46519</c:v>
                </c:pt>
                <c:pt idx="39081">
                  <c:v>45947</c:v>
                </c:pt>
                <c:pt idx="39082">
                  <c:v>67860</c:v>
                </c:pt>
                <c:pt idx="39083">
                  <c:v>51067</c:v>
                </c:pt>
                <c:pt idx="39084">
                  <c:v>48853</c:v>
                </c:pt>
                <c:pt idx="39085">
                  <c:v>39322</c:v>
                </c:pt>
                <c:pt idx="39086">
                  <c:v>27999</c:v>
                </c:pt>
                <c:pt idx="39087">
                  <c:v>25822</c:v>
                </c:pt>
                <c:pt idx="39088">
                  <c:v>108821</c:v>
                </c:pt>
                <c:pt idx="39089">
                  <c:v>31530</c:v>
                </c:pt>
                <c:pt idx="39090">
                  <c:v>37363</c:v>
                </c:pt>
                <c:pt idx="39091">
                  <c:v>28706</c:v>
                </c:pt>
                <c:pt idx="39092">
                  <c:v>47534</c:v>
                </c:pt>
                <c:pt idx="39093">
                  <c:v>68090</c:v>
                </c:pt>
                <c:pt idx="39094">
                  <c:v>33967</c:v>
                </c:pt>
                <c:pt idx="39095">
                  <c:v>45371</c:v>
                </c:pt>
                <c:pt idx="39096">
                  <c:v>62442</c:v>
                </c:pt>
                <c:pt idx="39097">
                  <c:v>98943</c:v>
                </c:pt>
                <c:pt idx="39098">
                  <c:v>34622</c:v>
                </c:pt>
                <c:pt idx="39099">
                  <c:v>62484</c:v>
                </c:pt>
                <c:pt idx="39100">
                  <c:v>71410</c:v>
                </c:pt>
                <c:pt idx="39101">
                  <c:v>232565</c:v>
                </c:pt>
                <c:pt idx="39102">
                  <c:v>44909</c:v>
                </c:pt>
                <c:pt idx="39103">
                  <c:v>24941</c:v>
                </c:pt>
                <c:pt idx="39104">
                  <c:v>37089</c:v>
                </c:pt>
                <c:pt idx="39105">
                  <c:v>61476</c:v>
                </c:pt>
                <c:pt idx="39106">
                  <c:v>38892</c:v>
                </c:pt>
                <c:pt idx="39107">
                  <c:v>29601</c:v>
                </c:pt>
                <c:pt idx="39108">
                  <c:v>35689</c:v>
                </c:pt>
                <c:pt idx="39109">
                  <c:v>227841</c:v>
                </c:pt>
                <c:pt idx="39110">
                  <c:v>39678</c:v>
                </c:pt>
                <c:pt idx="39111">
                  <c:v>24025</c:v>
                </c:pt>
                <c:pt idx="39112">
                  <c:v>58452</c:v>
                </c:pt>
                <c:pt idx="39113">
                  <c:v>28237</c:v>
                </c:pt>
                <c:pt idx="39114">
                  <c:v>18732</c:v>
                </c:pt>
                <c:pt idx="39115">
                  <c:v>48935</c:v>
                </c:pt>
                <c:pt idx="39116">
                  <c:v>41366</c:v>
                </c:pt>
                <c:pt idx="39117">
                  <c:v>86012</c:v>
                </c:pt>
                <c:pt idx="39118">
                  <c:v>28778</c:v>
                </c:pt>
                <c:pt idx="39119">
                  <c:v>23296</c:v>
                </c:pt>
                <c:pt idx="39120">
                  <c:v>43785</c:v>
                </c:pt>
                <c:pt idx="39121">
                  <c:v>60217</c:v>
                </c:pt>
                <c:pt idx="39122">
                  <c:v>54812</c:v>
                </c:pt>
                <c:pt idx="39123">
                  <c:v>125430</c:v>
                </c:pt>
                <c:pt idx="39124">
                  <c:v>31752</c:v>
                </c:pt>
                <c:pt idx="39125">
                  <c:v>54711</c:v>
                </c:pt>
                <c:pt idx="39126">
                  <c:v>83650</c:v>
                </c:pt>
                <c:pt idx="39127">
                  <c:v>56549</c:v>
                </c:pt>
                <c:pt idx="39128">
                  <c:v>22959</c:v>
                </c:pt>
                <c:pt idx="39129">
                  <c:v>114237</c:v>
                </c:pt>
                <c:pt idx="39130">
                  <c:v>41542</c:v>
                </c:pt>
                <c:pt idx="39131">
                  <c:v>25032</c:v>
                </c:pt>
                <c:pt idx="39132">
                  <c:v>25331</c:v>
                </c:pt>
                <c:pt idx="39133">
                  <c:v>63412</c:v>
                </c:pt>
                <c:pt idx="39134">
                  <c:v>56425</c:v>
                </c:pt>
                <c:pt idx="39135">
                  <c:v>39217</c:v>
                </c:pt>
                <c:pt idx="39136">
                  <c:v>31138</c:v>
                </c:pt>
                <c:pt idx="39137">
                  <c:v>196048</c:v>
                </c:pt>
                <c:pt idx="39138">
                  <c:v>46583</c:v>
                </c:pt>
                <c:pt idx="39139">
                  <c:v>41490</c:v>
                </c:pt>
                <c:pt idx="39140">
                  <c:v>66527</c:v>
                </c:pt>
                <c:pt idx="39141">
                  <c:v>29748</c:v>
                </c:pt>
                <c:pt idx="39142">
                  <c:v>45131</c:v>
                </c:pt>
                <c:pt idx="39143">
                  <c:v>68560</c:v>
                </c:pt>
                <c:pt idx="39144">
                  <c:v>40735</c:v>
                </c:pt>
                <c:pt idx="39145">
                  <c:v>48275</c:v>
                </c:pt>
                <c:pt idx="39146">
                  <c:v>43469</c:v>
                </c:pt>
                <c:pt idx="39147">
                  <c:v>27891</c:v>
                </c:pt>
                <c:pt idx="39148">
                  <c:v>49373</c:v>
                </c:pt>
                <c:pt idx="39149">
                  <c:v>38650</c:v>
                </c:pt>
                <c:pt idx="39150">
                  <c:v>163206</c:v>
                </c:pt>
                <c:pt idx="39151">
                  <c:v>38792</c:v>
                </c:pt>
                <c:pt idx="39152">
                  <c:v>85449</c:v>
                </c:pt>
                <c:pt idx="39153">
                  <c:v>36010</c:v>
                </c:pt>
                <c:pt idx="39154">
                  <c:v>33983</c:v>
                </c:pt>
                <c:pt idx="39155">
                  <c:v>112920</c:v>
                </c:pt>
                <c:pt idx="39156">
                  <c:v>26679</c:v>
                </c:pt>
                <c:pt idx="39157">
                  <c:v>88137</c:v>
                </c:pt>
                <c:pt idx="39158">
                  <c:v>41788</c:v>
                </c:pt>
                <c:pt idx="39159">
                  <c:v>38326</c:v>
                </c:pt>
                <c:pt idx="39160">
                  <c:v>97234</c:v>
                </c:pt>
                <c:pt idx="39161">
                  <c:v>104497</c:v>
                </c:pt>
                <c:pt idx="39162">
                  <c:v>38220</c:v>
                </c:pt>
                <c:pt idx="39163">
                  <c:v>46545</c:v>
                </c:pt>
                <c:pt idx="39164">
                  <c:v>39989</c:v>
                </c:pt>
                <c:pt idx="39165">
                  <c:v>47113</c:v>
                </c:pt>
                <c:pt idx="39166">
                  <c:v>83652</c:v>
                </c:pt>
                <c:pt idx="39167">
                  <c:v>142122</c:v>
                </c:pt>
                <c:pt idx="39168">
                  <c:v>28233</c:v>
                </c:pt>
                <c:pt idx="39169">
                  <c:v>40486</c:v>
                </c:pt>
                <c:pt idx="39170">
                  <c:v>24579</c:v>
                </c:pt>
                <c:pt idx="39171">
                  <c:v>150673</c:v>
                </c:pt>
                <c:pt idx="39172">
                  <c:v>117818</c:v>
                </c:pt>
                <c:pt idx="39173">
                  <c:v>23056</c:v>
                </c:pt>
                <c:pt idx="39174">
                  <c:v>37903</c:v>
                </c:pt>
                <c:pt idx="39175">
                  <c:v>24187</c:v>
                </c:pt>
                <c:pt idx="39176">
                  <c:v>266219</c:v>
                </c:pt>
                <c:pt idx="39177">
                  <c:v>121818</c:v>
                </c:pt>
                <c:pt idx="39178">
                  <c:v>27574</c:v>
                </c:pt>
                <c:pt idx="39179">
                  <c:v>41983</c:v>
                </c:pt>
                <c:pt idx="39180">
                  <c:v>48858</c:v>
                </c:pt>
                <c:pt idx="39181">
                  <c:v>184321</c:v>
                </c:pt>
                <c:pt idx="39182">
                  <c:v>89171</c:v>
                </c:pt>
                <c:pt idx="39183">
                  <c:v>70839</c:v>
                </c:pt>
                <c:pt idx="39184">
                  <c:v>44501</c:v>
                </c:pt>
                <c:pt idx="39185">
                  <c:v>35320</c:v>
                </c:pt>
                <c:pt idx="39186">
                  <c:v>45108</c:v>
                </c:pt>
                <c:pt idx="39187">
                  <c:v>42660</c:v>
                </c:pt>
                <c:pt idx="39188">
                  <c:v>107455</c:v>
                </c:pt>
                <c:pt idx="39189">
                  <c:v>54156</c:v>
                </c:pt>
                <c:pt idx="39190">
                  <c:v>27712</c:v>
                </c:pt>
                <c:pt idx="39191">
                  <c:v>115280</c:v>
                </c:pt>
                <c:pt idx="39192">
                  <c:v>22651</c:v>
                </c:pt>
                <c:pt idx="39193">
                  <c:v>33274</c:v>
                </c:pt>
                <c:pt idx="39194">
                  <c:v>40318</c:v>
                </c:pt>
                <c:pt idx="39195">
                  <c:v>50516</c:v>
                </c:pt>
                <c:pt idx="39196">
                  <c:v>51978</c:v>
                </c:pt>
                <c:pt idx="39197">
                  <c:v>103148</c:v>
                </c:pt>
                <c:pt idx="39198">
                  <c:v>93743</c:v>
                </c:pt>
                <c:pt idx="39199">
                  <c:v>23001</c:v>
                </c:pt>
                <c:pt idx="39200">
                  <c:v>39650</c:v>
                </c:pt>
                <c:pt idx="39201">
                  <c:v>100104</c:v>
                </c:pt>
                <c:pt idx="39202">
                  <c:v>56788</c:v>
                </c:pt>
                <c:pt idx="39203">
                  <c:v>26755</c:v>
                </c:pt>
                <c:pt idx="39204">
                  <c:v>62267</c:v>
                </c:pt>
                <c:pt idx="39205">
                  <c:v>56847</c:v>
                </c:pt>
                <c:pt idx="39206">
                  <c:v>42198</c:v>
                </c:pt>
                <c:pt idx="39207">
                  <c:v>37233</c:v>
                </c:pt>
                <c:pt idx="39208">
                  <c:v>42483</c:v>
                </c:pt>
                <c:pt idx="39209">
                  <c:v>32630</c:v>
                </c:pt>
                <c:pt idx="39210">
                  <c:v>64860</c:v>
                </c:pt>
                <c:pt idx="39211">
                  <c:v>27142</c:v>
                </c:pt>
                <c:pt idx="39212">
                  <c:v>95758</c:v>
                </c:pt>
                <c:pt idx="39213">
                  <c:v>25979</c:v>
                </c:pt>
                <c:pt idx="39214">
                  <c:v>41545</c:v>
                </c:pt>
                <c:pt idx="39215">
                  <c:v>88055</c:v>
                </c:pt>
                <c:pt idx="39216">
                  <c:v>43813</c:v>
                </c:pt>
                <c:pt idx="39217">
                  <c:v>53302</c:v>
                </c:pt>
                <c:pt idx="39218">
                  <c:v>40243</c:v>
                </c:pt>
                <c:pt idx="39219">
                  <c:v>38126</c:v>
                </c:pt>
                <c:pt idx="39220">
                  <c:v>115392</c:v>
                </c:pt>
                <c:pt idx="39221">
                  <c:v>75035</c:v>
                </c:pt>
                <c:pt idx="39222">
                  <c:v>123701</c:v>
                </c:pt>
                <c:pt idx="39223">
                  <c:v>106381</c:v>
                </c:pt>
                <c:pt idx="39224">
                  <c:v>28565</c:v>
                </c:pt>
                <c:pt idx="39225">
                  <c:v>188412</c:v>
                </c:pt>
                <c:pt idx="39226">
                  <c:v>52538</c:v>
                </c:pt>
                <c:pt idx="39227">
                  <c:v>37055</c:v>
                </c:pt>
                <c:pt idx="39228">
                  <c:v>57582</c:v>
                </c:pt>
                <c:pt idx="39229">
                  <c:v>93181</c:v>
                </c:pt>
                <c:pt idx="39230">
                  <c:v>32675</c:v>
                </c:pt>
                <c:pt idx="39231">
                  <c:v>198916</c:v>
                </c:pt>
                <c:pt idx="39232">
                  <c:v>293506</c:v>
                </c:pt>
                <c:pt idx="39233">
                  <c:v>114055</c:v>
                </c:pt>
                <c:pt idx="39234">
                  <c:v>53312</c:v>
                </c:pt>
                <c:pt idx="39235">
                  <c:v>56660</c:v>
                </c:pt>
                <c:pt idx="39236">
                  <c:v>36825</c:v>
                </c:pt>
                <c:pt idx="39237">
                  <c:v>42584</c:v>
                </c:pt>
                <c:pt idx="39238">
                  <c:v>61904</c:v>
                </c:pt>
                <c:pt idx="39239">
                  <c:v>30488</c:v>
                </c:pt>
                <c:pt idx="39240">
                  <c:v>20464</c:v>
                </c:pt>
                <c:pt idx="39241">
                  <c:v>93706</c:v>
                </c:pt>
                <c:pt idx="39242">
                  <c:v>76923</c:v>
                </c:pt>
                <c:pt idx="39243">
                  <c:v>26160</c:v>
                </c:pt>
                <c:pt idx="39244">
                  <c:v>39519</c:v>
                </c:pt>
                <c:pt idx="39245">
                  <c:v>105582</c:v>
                </c:pt>
                <c:pt idx="39246">
                  <c:v>141075</c:v>
                </c:pt>
                <c:pt idx="39247">
                  <c:v>42170</c:v>
                </c:pt>
                <c:pt idx="39248">
                  <c:v>25757</c:v>
                </c:pt>
                <c:pt idx="39249">
                  <c:v>86682</c:v>
                </c:pt>
                <c:pt idx="39250">
                  <c:v>86399</c:v>
                </c:pt>
                <c:pt idx="39251">
                  <c:v>32391</c:v>
                </c:pt>
                <c:pt idx="39252">
                  <c:v>48281</c:v>
                </c:pt>
                <c:pt idx="39253">
                  <c:v>113215</c:v>
                </c:pt>
                <c:pt idx="39254">
                  <c:v>25771</c:v>
                </c:pt>
                <c:pt idx="39255">
                  <c:v>24190</c:v>
                </c:pt>
                <c:pt idx="39256">
                  <c:v>46926</c:v>
                </c:pt>
                <c:pt idx="39257">
                  <c:v>76686</c:v>
                </c:pt>
                <c:pt idx="39258">
                  <c:v>21675</c:v>
                </c:pt>
                <c:pt idx="39259">
                  <c:v>34396</c:v>
                </c:pt>
                <c:pt idx="39260">
                  <c:v>128152</c:v>
                </c:pt>
                <c:pt idx="39261">
                  <c:v>334040</c:v>
                </c:pt>
                <c:pt idx="39262">
                  <c:v>32933</c:v>
                </c:pt>
                <c:pt idx="39263">
                  <c:v>32421</c:v>
                </c:pt>
                <c:pt idx="39264">
                  <c:v>68272</c:v>
                </c:pt>
                <c:pt idx="39265">
                  <c:v>33578</c:v>
                </c:pt>
                <c:pt idx="39266">
                  <c:v>31048</c:v>
                </c:pt>
                <c:pt idx="39267">
                  <c:v>27094</c:v>
                </c:pt>
                <c:pt idx="39268">
                  <c:v>130505</c:v>
                </c:pt>
                <c:pt idx="39269">
                  <c:v>40262</c:v>
                </c:pt>
                <c:pt idx="39270">
                  <c:v>74740</c:v>
                </c:pt>
                <c:pt idx="39271">
                  <c:v>27705</c:v>
                </c:pt>
                <c:pt idx="39272">
                  <c:v>82234</c:v>
                </c:pt>
                <c:pt idx="39273">
                  <c:v>18818</c:v>
                </c:pt>
                <c:pt idx="39274">
                  <c:v>90343</c:v>
                </c:pt>
                <c:pt idx="39275">
                  <c:v>271541</c:v>
                </c:pt>
                <c:pt idx="39276">
                  <c:v>41054</c:v>
                </c:pt>
                <c:pt idx="39277">
                  <c:v>29956</c:v>
                </c:pt>
                <c:pt idx="39278">
                  <c:v>25664</c:v>
                </c:pt>
                <c:pt idx="39279">
                  <c:v>159625</c:v>
                </c:pt>
                <c:pt idx="39280">
                  <c:v>47568</c:v>
                </c:pt>
                <c:pt idx="39281">
                  <c:v>115605</c:v>
                </c:pt>
                <c:pt idx="39282">
                  <c:v>53052</c:v>
                </c:pt>
                <c:pt idx="39283">
                  <c:v>28433</c:v>
                </c:pt>
                <c:pt idx="39284">
                  <c:v>23304</c:v>
                </c:pt>
                <c:pt idx="39285">
                  <c:v>92312</c:v>
                </c:pt>
                <c:pt idx="39286">
                  <c:v>31012</c:v>
                </c:pt>
                <c:pt idx="39287">
                  <c:v>111847</c:v>
                </c:pt>
                <c:pt idx="39288">
                  <c:v>22659</c:v>
                </c:pt>
                <c:pt idx="39289">
                  <c:v>63408</c:v>
                </c:pt>
                <c:pt idx="39290">
                  <c:v>231560</c:v>
                </c:pt>
                <c:pt idx="39291">
                  <c:v>26906</c:v>
                </c:pt>
                <c:pt idx="39292">
                  <c:v>60112</c:v>
                </c:pt>
                <c:pt idx="39293">
                  <c:v>67967</c:v>
                </c:pt>
                <c:pt idx="39294">
                  <c:v>24344</c:v>
                </c:pt>
                <c:pt idx="39295">
                  <c:v>61927</c:v>
                </c:pt>
                <c:pt idx="39296">
                  <c:v>48745</c:v>
                </c:pt>
                <c:pt idx="39297">
                  <c:v>28914</c:v>
                </c:pt>
                <c:pt idx="39298">
                  <c:v>200548</c:v>
                </c:pt>
                <c:pt idx="39299">
                  <c:v>24775</c:v>
                </c:pt>
                <c:pt idx="39300">
                  <c:v>22525</c:v>
                </c:pt>
                <c:pt idx="39301">
                  <c:v>62676</c:v>
                </c:pt>
                <c:pt idx="39302">
                  <c:v>48973</c:v>
                </c:pt>
                <c:pt idx="39303">
                  <c:v>48060</c:v>
                </c:pt>
                <c:pt idx="39304">
                  <c:v>61243</c:v>
                </c:pt>
                <c:pt idx="39305">
                  <c:v>32878</c:v>
                </c:pt>
                <c:pt idx="39306">
                  <c:v>28812</c:v>
                </c:pt>
                <c:pt idx="39307">
                  <c:v>103520</c:v>
                </c:pt>
                <c:pt idx="39308">
                  <c:v>33715</c:v>
                </c:pt>
                <c:pt idx="39309">
                  <c:v>39387</c:v>
                </c:pt>
                <c:pt idx="39310">
                  <c:v>48523</c:v>
                </c:pt>
                <c:pt idx="39311">
                  <c:v>22589</c:v>
                </c:pt>
                <c:pt idx="39312">
                  <c:v>37496</c:v>
                </c:pt>
                <c:pt idx="39313">
                  <c:v>26718</c:v>
                </c:pt>
                <c:pt idx="39314">
                  <c:v>54046</c:v>
                </c:pt>
                <c:pt idx="39315">
                  <c:v>68227</c:v>
                </c:pt>
                <c:pt idx="39316">
                  <c:v>26132</c:v>
                </c:pt>
                <c:pt idx="39317">
                  <c:v>33400</c:v>
                </c:pt>
                <c:pt idx="39318">
                  <c:v>120074</c:v>
                </c:pt>
                <c:pt idx="39319">
                  <c:v>36186</c:v>
                </c:pt>
                <c:pt idx="39320">
                  <c:v>68588</c:v>
                </c:pt>
                <c:pt idx="39321">
                  <c:v>21685</c:v>
                </c:pt>
                <c:pt idx="39322">
                  <c:v>27962</c:v>
                </c:pt>
                <c:pt idx="39323">
                  <c:v>30843</c:v>
                </c:pt>
                <c:pt idx="39324">
                  <c:v>34807</c:v>
                </c:pt>
                <c:pt idx="39325">
                  <c:v>44865</c:v>
                </c:pt>
                <c:pt idx="39326">
                  <c:v>45138</c:v>
                </c:pt>
                <c:pt idx="39327">
                  <c:v>49867</c:v>
                </c:pt>
                <c:pt idx="39328">
                  <c:v>28001</c:v>
                </c:pt>
                <c:pt idx="39329">
                  <c:v>30297</c:v>
                </c:pt>
                <c:pt idx="39330">
                  <c:v>28326</c:v>
                </c:pt>
                <c:pt idx="39331">
                  <c:v>43375</c:v>
                </c:pt>
                <c:pt idx="39332">
                  <c:v>35459</c:v>
                </c:pt>
                <c:pt idx="39333">
                  <c:v>38044</c:v>
                </c:pt>
                <c:pt idx="39334">
                  <c:v>30999</c:v>
                </c:pt>
                <c:pt idx="39335">
                  <c:v>40505</c:v>
                </c:pt>
                <c:pt idx="39336">
                  <c:v>77331</c:v>
                </c:pt>
                <c:pt idx="39337">
                  <c:v>46727</c:v>
                </c:pt>
                <c:pt idx="39338">
                  <c:v>40031</c:v>
                </c:pt>
                <c:pt idx="39339">
                  <c:v>30191</c:v>
                </c:pt>
                <c:pt idx="39340">
                  <c:v>38456</c:v>
                </c:pt>
                <c:pt idx="39341">
                  <c:v>40876</c:v>
                </c:pt>
                <c:pt idx="39342">
                  <c:v>33596</c:v>
                </c:pt>
                <c:pt idx="39343">
                  <c:v>35804</c:v>
                </c:pt>
                <c:pt idx="39344">
                  <c:v>42487</c:v>
                </c:pt>
                <c:pt idx="39345">
                  <c:v>108866</c:v>
                </c:pt>
                <c:pt idx="39346">
                  <c:v>44020</c:v>
                </c:pt>
                <c:pt idx="39347">
                  <c:v>42266</c:v>
                </c:pt>
                <c:pt idx="39348">
                  <c:v>21960</c:v>
                </c:pt>
                <c:pt idx="39349">
                  <c:v>75549</c:v>
                </c:pt>
                <c:pt idx="39350">
                  <c:v>23198</c:v>
                </c:pt>
                <c:pt idx="39351">
                  <c:v>40824</c:v>
                </c:pt>
                <c:pt idx="39352">
                  <c:v>44300</c:v>
                </c:pt>
                <c:pt idx="39353">
                  <c:v>46735</c:v>
                </c:pt>
                <c:pt idx="39354">
                  <c:v>38708</c:v>
                </c:pt>
                <c:pt idx="39355">
                  <c:v>51717</c:v>
                </c:pt>
                <c:pt idx="39356">
                  <c:v>36509</c:v>
                </c:pt>
                <c:pt idx="39357">
                  <c:v>133528</c:v>
                </c:pt>
                <c:pt idx="39358">
                  <c:v>37696</c:v>
                </c:pt>
                <c:pt idx="39359">
                  <c:v>43927</c:v>
                </c:pt>
                <c:pt idx="39360">
                  <c:v>85686</c:v>
                </c:pt>
                <c:pt idx="39361">
                  <c:v>168515</c:v>
                </c:pt>
                <c:pt idx="39362">
                  <c:v>54813</c:v>
                </c:pt>
                <c:pt idx="39363">
                  <c:v>44819</c:v>
                </c:pt>
                <c:pt idx="39364">
                  <c:v>111037</c:v>
                </c:pt>
                <c:pt idx="39365">
                  <c:v>54555</c:v>
                </c:pt>
                <c:pt idx="39366">
                  <c:v>35755</c:v>
                </c:pt>
                <c:pt idx="39367">
                  <c:v>172248</c:v>
                </c:pt>
                <c:pt idx="39368">
                  <c:v>37245</c:v>
                </c:pt>
                <c:pt idx="39369">
                  <c:v>236624</c:v>
                </c:pt>
                <c:pt idx="39370">
                  <c:v>43094</c:v>
                </c:pt>
                <c:pt idx="39371">
                  <c:v>27680</c:v>
                </c:pt>
                <c:pt idx="39372">
                  <c:v>50891</c:v>
                </c:pt>
                <c:pt idx="39373">
                  <c:v>197008</c:v>
                </c:pt>
                <c:pt idx="39374">
                  <c:v>41584</c:v>
                </c:pt>
                <c:pt idx="39375">
                  <c:v>65855</c:v>
                </c:pt>
                <c:pt idx="39376">
                  <c:v>32853</c:v>
                </c:pt>
                <c:pt idx="39377">
                  <c:v>38652</c:v>
                </c:pt>
                <c:pt idx="39378">
                  <c:v>55471</c:v>
                </c:pt>
                <c:pt idx="39379">
                  <c:v>45939</c:v>
                </c:pt>
                <c:pt idx="39380">
                  <c:v>39153</c:v>
                </c:pt>
                <c:pt idx="39381">
                  <c:v>52673</c:v>
                </c:pt>
                <c:pt idx="39382">
                  <c:v>34858</c:v>
                </c:pt>
                <c:pt idx="39383">
                  <c:v>36859</c:v>
                </c:pt>
                <c:pt idx="39384">
                  <c:v>96024</c:v>
                </c:pt>
                <c:pt idx="39385">
                  <c:v>24021</c:v>
                </c:pt>
                <c:pt idx="39386">
                  <c:v>25705</c:v>
                </c:pt>
                <c:pt idx="39387">
                  <c:v>38887</c:v>
                </c:pt>
                <c:pt idx="39388">
                  <c:v>56000</c:v>
                </c:pt>
                <c:pt idx="39389">
                  <c:v>21330</c:v>
                </c:pt>
                <c:pt idx="39390">
                  <c:v>28242</c:v>
                </c:pt>
                <c:pt idx="39391">
                  <c:v>69132</c:v>
                </c:pt>
                <c:pt idx="39392">
                  <c:v>83673</c:v>
                </c:pt>
                <c:pt idx="39393">
                  <c:v>22825</c:v>
                </c:pt>
                <c:pt idx="39394">
                  <c:v>36468</c:v>
                </c:pt>
                <c:pt idx="39395">
                  <c:v>32263</c:v>
                </c:pt>
                <c:pt idx="39396">
                  <c:v>120240</c:v>
                </c:pt>
                <c:pt idx="39397">
                  <c:v>88622</c:v>
                </c:pt>
                <c:pt idx="39398">
                  <c:v>80465</c:v>
                </c:pt>
                <c:pt idx="39399">
                  <c:v>92510</c:v>
                </c:pt>
                <c:pt idx="39400">
                  <c:v>44322</c:v>
                </c:pt>
                <c:pt idx="39401">
                  <c:v>135740</c:v>
                </c:pt>
                <c:pt idx="39402">
                  <c:v>28933</c:v>
                </c:pt>
                <c:pt idx="39403">
                  <c:v>49342</c:v>
                </c:pt>
                <c:pt idx="39404">
                  <c:v>93486</c:v>
                </c:pt>
                <c:pt idx="39405">
                  <c:v>74980</c:v>
                </c:pt>
                <c:pt idx="39406">
                  <c:v>34256</c:v>
                </c:pt>
                <c:pt idx="39407">
                  <c:v>45178</c:v>
                </c:pt>
                <c:pt idx="39408">
                  <c:v>42358</c:v>
                </c:pt>
                <c:pt idx="39409">
                  <c:v>26428</c:v>
                </c:pt>
                <c:pt idx="39410">
                  <c:v>43461</c:v>
                </c:pt>
                <c:pt idx="39411">
                  <c:v>225393</c:v>
                </c:pt>
                <c:pt idx="39412">
                  <c:v>25888</c:v>
                </c:pt>
                <c:pt idx="39413">
                  <c:v>27186</c:v>
                </c:pt>
                <c:pt idx="39414">
                  <c:v>37345</c:v>
                </c:pt>
                <c:pt idx="39415">
                  <c:v>43703</c:v>
                </c:pt>
                <c:pt idx="39416">
                  <c:v>22752</c:v>
                </c:pt>
                <c:pt idx="39417">
                  <c:v>79496</c:v>
                </c:pt>
                <c:pt idx="39418">
                  <c:v>57534</c:v>
                </c:pt>
                <c:pt idx="39419">
                  <c:v>37413</c:v>
                </c:pt>
                <c:pt idx="39420">
                  <c:v>36009</c:v>
                </c:pt>
                <c:pt idx="39421">
                  <c:v>66457</c:v>
                </c:pt>
                <c:pt idx="39422">
                  <c:v>74643</c:v>
                </c:pt>
                <c:pt idx="39423">
                  <c:v>48081</c:v>
                </c:pt>
                <c:pt idx="39424">
                  <c:v>58290</c:v>
                </c:pt>
                <c:pt idx="39425">
                  <c:v>23686</c:v>
                </c:pt>
                <c:pt idx="39426">
                  <c:v>41595</c:v>
                </c:pt>
                <c:pt idx="39427">
                  <c:v>42404</c:v>
                </c:pt>
                <c:pt idx="39428">
                  <c:v>34511</c:v>
                </c:pt>
                <c:pt idx="39429">
                  <c:v>32722</c:v>
                </c:pt>
                <c:pt idx="39430">
                  <c:v>33465</c:v>
                </c:pt>
                <c:pt idx="39431">
                  <c:v>63543</c:v>
                </c:pt>
                <c:pt idx="39432">
                  <c:v>25044</c:v>
                </c:pt>
                <c:pt idx="39433">
                  <c:v>38008</c:v>
                </c:pt>
                <c:pt idx="39434">
                  <c:v>37252</c:v>
                </c:pt>
                <c:pt idx="39435">
                  <c:v>47491</c:v>
                </c:pt>
                <c:pt idx="39436">
                  <c:v>47066</c:v>
                </c:pt>
                <c:pt idx="39437">
                  <c:v>30263</c:v>
                </c:pt>
                <c:pt idx="39438">
                  <c:v>25925</c:v>
                </c:pt>
                <c:pt idx="39439">
                  <c:v>30372</c:v>
                </c:pt>
                <c:pt idx="39440">
                  <c:v>63245</c:v>
                </c:pt>
                <c:pt idx="39441">
                  <c:v>19870</c:v>
                </c:pt>
                <c:pt idx="39442">
                  <c:v>32695</c:v>
                </c:pt>
                <c:pt idx="39443">
                  <c:v>133948</c:v>
                </c:pt>
                <c:pt idx="39444">
                  <c:v>34934</c:v>
                </c:pt>
                <c:pt idx="39445">
                  <c:v>38881</c:v>
                </c:pt>
                <c:pt idx="39446">
                  <c:v>32460</c:v>
                </c:pt>
                <c:pt idx="39447">
                  <c:v>81836</c:v>
                </c:pt>
                <c:pt idx="39448">
                  <c:v>37837</c:v>
                </c:pt>
                <c:pt idx="39449">
                  <c:v>26004</c:v>
                </c:pt>
                <c:pt idx="39450">
                  <c:v>74100</c:v>
                </c:pt>
                <c:pt idx="39451">
                  <c:v>40764</c:v>
                </c:pt>
                <c:pt idx="39452">
                  <c:v>28770</c:v>
                </c:pt>
                <c:pt idx="39453">
                  <c:v>36752</c:v>
                </c:pt>
                <c:pt idx="39454">
                  <c:v>62633</c:v>
                </c:pt>
                <c:pt idx="39455">
                  <c:v>45118</c:v>
                </c:pt>
                <c:pt idx="39456">
                  <c:v>39998</c:v>
                </c:pt>
                <c:pt idx="39457">
                  <c:v>50231</c:v>
                </c:pt>
                <c:pt idx="39458">
                  <c:v>28069</c:v>
                </c:pt>
                <c:pt idx="39459">
                  <c:v>29131</c:v>
                </c:pt>
                <c:pt idx="39460">
                  <c:v>96842</c:v>
                </c:pt>
                <c:pt idx="39461">
                  <c:v>32678</c:v>
                </c:pt>
                <c:pt idx="39462">
                  <c:v>36962</c:v>
                </c:pt>
                <c:pt idx="39463">
                  <c:v>24788</c:v>
                </c:pt>
                <c:pt idx="39464">
                  <c:v>22144</c:v>
                </c:pt>
                <c:pt idx="39465">
                  <c:v>37402</c:v>
                </c:pt>
                <c:pt idx="39466">
                  <c:v>43748</c:v>
                </c:pt>
                <c:pt idx="39467">
                  <c:v>173660</c:v>
                </c:pt>
                <c:pt idx="39468">
                  <c:v>30640</c:v>
                </c:pt>
                <c:pt idx="39469">
                  <c:v>76945</c:v>
                </c:pt>
                <c:pt idx="39470">
                  <c:v>97411</c:v>
                </c:pt>
                <c:pt idx="39471">
                  <c:v>113003</c:v>
                </c:pt>
                <c:pt idx="39472">
                  <c:v>23689</c:v>
                </c:pt>
                <c:pt idx="39473">
                  <c:v>24268</c:v>
                </c:pt>
                <c:pt idx="39474">
                  <c:v>1076053</c:v>
                </c:pt>
                <c:pt idx="39475">
                  <c:v>135481</c:v>
                </c:pt>
                <c:pt idx="39476">
                  <c:v>44237</c:v>
                </c:pt>
                <c:pt idx="39477">
                  <c:v>25126</c:v>
                </c:pt>
                <c:pt idx="39478">
                  <c:v>26817</c:v>
                </c:pt>
                <c:pt idx="39479">
                  <c:v>42587</c:v>
                </c:pt>
                <c:pt idx="39480">
                  <c:v>33371</c:v>
                </c:pt>
                <c:pt idx="39481">
                  <c:v>75899</c:v>
                </c:pt>
                <c:pt idx="39482">
                  <c:v>50561</c:v>
                </c:pt>
                <c:pt idx="39483">
                  <c:v>53745</c:v>
                </c:pt>
                <c:pt idx="39484">
                  <c:v>34407</c:v>
                </c:pt>
                <c:pt idx="39485">
                  <c:v>42581</c:v>
                </c:pt>
                <c:pt idx="39486">
                  <c:v>27737</c:v>
                </c:pt>
                <c:pt idx="39487">
                  <c:v>22160</c:v>
                </c:pt>
                <c:pt idx="39488">
                  <c:v>35845</c:v>
                </c:pt>
                <c:pt idx="39489">
                  <c:v>108414</c:v>
                </c:pt>
                <c:pt idx="39490">
                  <c:v>26499</c:v>
                </c:pt>
                <c:pt idx="39491">
                  <c:v>46143</c:v>
                </c:pt>
                <c:pt idx="39492">
                  <c:v>88813</c:v>
                </c:pt>
                <c:pt idx="39493">
                  <c:v>48125</c:v>
                </c:pt>
                <c:pt idx="39494">
                  <c:v>115507</c:v>
                </c:pt>
                <c:pt idx="39495">
                  <c:v>26323</c:v>
                </c:pt>
                <c:pt idx="39496">
                  <c:v>42260</c:v>
                </c:pt>
                <c:pt idx="39497">
                  <c:v>36322</c:v>
                </c:pt>
                <c:pt idx="39498">
                  <c:v>36515</c:v>
                </c:pt>
                <c:pt idx="39499">
                  <c:v>38987</c:v>
                </c:pt>
                <c:pt idx="39500">
                  <c:v>314103</c:v>
                </c:pt>
                <c:pt idx="39501">
                  <c:v>61084</c:v>
                </c:pt>
                <c:pt idx="39502">
                  <c:v>125472</c:v>
                </c:pt>
                <c:pt idx="39503">
                  <c:v>43098</c:v>
                </c:pt>
                <c:pt idx="39504">
                  <c:v>91265</c:v>
                </c:pt>
                <c:pt idx="39505">
                  <c:v>30414</c:v>
                </c:pt>
                <c:pt idx="39506">
                  <c:v>49490</c:v>
                </c:pt>
                <c:pt idx="39507">
                  <c:v>22481</c:v>
                </c:pt>
                <c:pt idx="39508">
                  <c:v>40547</c:v>
                </c:pt>
                <c:pt idx="39509">
                  <c:v>29341</c:v>
                </c:pt>
                <c:pt idx="39510">
                  <c:v>33120</c:v>
                </c:pt>
                <c:pt idx="39511">
                  <c:v>22990</c:v>
                </c:pt>
                <c:pt idx="39512">
                  <c:v>70129</c:v>
                </c:pt>
                <c:pt idx="39513">
                  <c:v>29474</c:v>
                </c:pt>
                <c:pt idx="39514">
                  <c:v>34230</c:v>
                </c:pt>
                <c:pt idx="39515">
                  <c:v>35837</c:v>
                </c:pt>
                <c:pt idx="39516">
                  <c:v>36171</c:v>
                </c:pt>
                <c:pt idx="39517">
                  <c:v>37400</c:v>
                </c:pt>
                <c:pt idx="39518">
                  <c:v>22770</c:v>
                </c:pt>
                <c:pt idx="39519">
                  <c:v>32747</c:v>
                </c:pt>
                <c:pt idx="39520">
                  <c:v>46207</c:v>
                </c:pt>
                <c:pt idx="39521">
                  <c:v>21493</c:v>
                </c:pt>
                <c:pt idx="39522">
                  <c:v>44440</c:v>
                </c:pt>
                <c:pt idx="39523">
                  <c:v>29077</c:v>
                </c:pt>
                <c:pt idx="39524">
                  <c:v>52970</c:v>
                </c:pt>
                <c:pt idx="39525">
                  <c:v>109746</c:v>
                </c:pt>
                <c:pt idx="39526">
                  <c:v>144606</c:v>
                </c:pt>
                <c:pt idx="39527">
                  <c:v>45041</c:v>
                </c:pt>
                <c:pt idx="39528">
                  <c:v>45430</c:v>
                </c:pt>
                <c:pt idx="39529">
                  <c:v>23060</c:v>
                </c:pt>
                <c:pt idx="39530">
                  <c:v>28803</c:v>
                </c:pt>
                <c:pt idx="39531">
                  <c:v>48537</c:v>
                </c:pt>
                <c:pt idx="39532">
                  <c:v>55037</c:v>
                </c:pt>
                <c:pt idx="39533">
                  <c:v>65348</c:v>
                </c:pt>
                <c:pt idx="39534">
                  <c:v>57556</c:v>
                </c:pt>
                <c:pt idx="39535">
                  <c:v>45583</c:v>
                </c:pt>
                <c:pt idx="39536">
                  <c:v>63233</c:v>
                </c:pt>
                <c:pt idx="39537">
                  <c:v>29228</c:v>
                </c:pt>
                <c:pt idx="39538">
                  <c:v>73954</c:v>
                </c:pt>
                <c:pt idx="39539">
                  <c:v>59150</c:v>
                </c:pt>
                <c:pt idx="39540">
                  <c:v>34633</c:v>
                </c:pt>
                <c:pt idx="39541">
                  <c:v>69633</c:v>
                </c:pt>
                <c:pt idx="39542">
                  <c:v>24146</c:v>
                </c:pt>
                <c:pt idx="39543">
                  <c:v>30642</c:v>
                </c:pt>
                <c:pt idx="39544">
                  <c:v>128273</c:v>
                </c:pt>
                <c:pt idx="39545">
                  <c:v>28040</c:v>
                </c:pt>
                <c:pt idx="39546">
                  <c:v>32140</c:v>
                </c:pt>
                <c:pt idx="39547">
                  <c:v>50358</c:v>
                </c:pt>
                <c:pt idx="39548">
                  <c:v>71962</c:v>
                </c:pt>
                <c:pt idx="39549">
                  <c:v>62239</c:v>
                </c:pt>
                <c:pt idx="39550">
                  <c:v>27608</c:v>
                </c:pt>
                <c:pt idx="39551">
                  <c:v>32965</c:v>
                </c:pt>
                <c:pt idx="39552">
                  <c:v>172386</c:v>
                </c:pt>
                <c:pt idx="39553">
                  <c:v>54114</c:v>
                </c:pt>
                <c:pt idx="39554">
                  <c:v>36384</c:v>
                </c:pt>
                <c:pt idx="39555">
                  <c:v>24119</c:v>
                </c:pt>
                <c:pt idx="39556">
                  <c:v>37040</c:v>
                </c:pt>
                <c:pt idx="39557">
                  <c:v>35996</c:v>
                </c:pt>
                <c:pt idx="39558">
                  <c:v>24790</c:v>
                </c:pt>
                <c:pt idx="39559">
                  <c:v>28180</c:v>
                </c:pt>
                <c:pt idx="39560">
                  <c:v>31393</c:v>
                </c:pt>
                <c:pt idx="39561">
                  <c:v>23755</c:v>
                </c:pt>
                <c:pt idx="39562">
                  <c:v>24117</c:v>
                </c:pt>
                <c:pt idx="39563">
                  <c:v>20838</c:v>
                </c:pt>
                <c:pt idx="39564">
                  <c:v>37581</c:v>
                </c:pt>
                <c:pt idx="39565">
                  <c:v>31852</c:v>
                </c:pt>
                <c:pt idx="39566">
                  <c:v>132748</c:v>
                </c:pt>
                <c:pt idx="39567">
                  <c:v>153230</c:v>
                </c:pt>
                <c:pt idx="39568">
                  <c:v>40411</c:v>
                </c:pt>
                <c:pt idx="39569">
                  <c:v>53038</c:v>
                </c:pt>
                <c:pt idx="39570">
                  <c:v>26288</c:v>
                </c:pt>
                <c:pt idx="39571">
                  <c:v>25675</c:v>
                </c:pt>
                <c:pt idx="39572">
                  <c:v>58516</c:v>
                </c:pt>
                <c:pt idx="39573">
                  <c:v>34545</c:v>
                </c:pt>
                <c:pt idx="39574">
                  <c:v>31204</c:v>
                </c:pt>
                <c:pt idx="39575">
                  <c:v>36106</c:v>
                </c:pt>
                <c:pt idx="39576">
                  <c:v>31582</c:v>
                </c:pt>
                <c:pt idx="39577">
                  <c:v>30032</c:v>
                </c:pt>
                <c:pt idx="39578">
                  <c:v>231448</c:v>
                </c:pt>
                <c:pt idx="39579">
                  <c:v>38964</c:v>
                </c:pt>
                <c:pt idx="39580">
                  <c:v>38544</c:v>
                </c:pt>
                <c:pt idx="39581">
                  <c:v>60885</c:v>
                </c:pt>
                <c:pt idx="39582">
                  <c:v>24688</c:v>
                </c:pt>
                <c:pt idx="39583">
                  <c:v>35667</c:v>
                </c:pt>
                <c:pt idx="39584">
                  <c:v>42280</c:v>
                </c:pt>
                <c:pt idx="39585">
                  <c:v>67792</c:v>
                </c:pt>
                <c:pt idx="39586">
                  <c:v>41327</c:v>
                </c:pt>
                <c:pt idx="39587">
                  <c:v>61364</c:v>
                </c:pt>
                <c:pt idx="39588">
                  <c:v>81527</c:v>
                </c:pt>
                <c:pt idx="39589">
                  <c:v>69453</c:v>
                </c:pt>
                <c:pt idx="39590">
                  <c:v>25134</c:v>
                </c:pt>
                <c:pt idx="39591">
                  <c:v>25862</c:v>
                </c:pt>
                <c:pt idx="39592">
                  <c:v>153772</c:v>
                </c:pt>
                <c:pt idx="39593">
                  <c:v>85009</c:v>
                </c:pt>
                <c:pt idx="39594">
                  <c:v>23429</c:v>
                </c:pt>
                <c:pt idx="39595">
                  <c:v>60613</c:v>
                </c:pt>
                <c:pt idx="39596">
                  <c:v>35122</c:v>
                </c:pt>
                <c:pt idx="39597">
                  <c:v>32891</c:v>
                </c:pt>
                <c:pt idx="39598">
                  <c:v>49676</c:v>
                </c:pt>
                <c:pt idx="39599">
                  <c:v>43200</c:v>
                </c:pt>
                <c:pt idx="39600">
                  <c:v>50921</c:v>
                </c:pt>
                <c:pt idx="39601">
                  <c:v>120490</c:v>
                </c:pt>
                <c:pt idx="39602">
                  <c:v>49694</c:v>
                </c:pt>
                <c:pt idx="39603">
                  <c:v>118618</c:v>
                </c:pt>
                <c:pt idx="39604">
                  <c:v>27812</c:v>
                </c:pt>
                <c:pt idx="39605">
                  <c:v>36080</c:v>
                </c:pt>
                <c:pt idx="39606">
                  <c:v>30783</c:v>
                </c:pt>
                <c:pt idx="39607">
                  <c:v>28951</c:v>
                </c:pt>
                <c:pt idx="39608">
                  <c:v>155269</c:v>
                </c:pt>
                <c:pt idx="39609">
                  <c:v>89641</c:v>
                </c:pt>
                <c:pt idx="39610">
                  <c:v>124614</c:v>
                </c:pt>
                <c:pt idx="39611">
                  <c:v>40147</c:v>
                </c:pt>
                <c:pt idx="39612">
                  <c:v>130892</c:v>
                </c:pt>
                <c:pt idx="39613">
                  <c:v>94480</c:v>
                </c:pt>
                <c:pt idx="39614">
                  <c:v>37280</c:v>
                </c:pt>
                <c:pt idx="39615">
                  <c:v>45777</c:v>
                </c:pt>
                <c:pt idx="39616">
                  <c:v>26563</c:v>
                </c:pt>
                <c:pt idx="39617">
                  <c:v>24192</c:v>
                </c:pt>
                <c:pt idx="39618">
                  <c:v>46478</c:v>
                </c:pt>
                <c:pt idx="39619">
                  <c:v>27236</c:v>
                </c:pt>
                <c:pt idx="39620">
                  <c:v>130103</c:v>
                </c:pt>
                <c:pt idx="39621">
                  <c:v>45048</c:v>
                </c:pt>
                <c:pt idx="39622">
                  <c:v>30545</c:v>
                </c:pt>
                <c:pt idx="39623">
                  <c:v>39233</c:v>
                </c:pt>
                <c:pt idx="39624">
                  <c:v>24716</c:v>
                </c:pt>
                <c:pt idx="39625">
                  <c:v>58828</c:v>
                </c:pt>
                <c:pt idx="39626">
                  <c:v>46682</c:v>
                </c:pt>
                <c:pt idx="39627">
                  <c:v>55302</c:v>
                </c:pt>
                <c:pt idx="39628">
                  <c:v>22640</c:v>
                </c:pt>
                <c:pt idx="39629">
                  <c:v>64762</c:v>
                </c:pt>
                <c:pt idx="39630">
                  <c:v>69066</c:v>
                </c:pt>
                <c:pt idx="39631">
                  <c:v>43911</c:v>
                </c:pt>
                <c:pt idx="39632">
                  <c:v>40336</c:v>
                </c:pt>
                <c:pt idx="39633">
                  <c:v>21731</c:v>
                </c:pt>
                <c:pt idx="39634">
                  <c:v>213525</c:v>
                </c:pt>
                <c:pt idx="39635">
                  <c:v>34301</c:v>
                </c:pt>
                <c:pt idx="39636">
                  <c:v>45848</c:v>
                </c:pt>
                <c:pt idx="39637">
                  <c:v>81560</c:v>
                </c:pt>
                <c:pt idx="39638">
                  <c:v>45275</c:v>
                </c:pt>
                <c:pt idx="39639">
                  <c:v>39897</c:v>
                </c:pt>
                <c:pt idx="39640">
                  <c:v>331084</c:v>
                </c:pt>
                <c:pt idx="39641">
                  <c:v>47821</c:v>
                </c:pt>
                <c:pt idx="39642">
                  <c:v>24229</c:v>
                </c:pt>
                <c:pt idx="39643">
                  <c:v>29277</c:v>
                </c:pt>
                <c:pt idx="39644">
                  <c:v>20553</c:v>
                </c:pt>
                <c:pt idx="39645">
                  <c:v>291917</c:v>
                </c:pt>
                <c:pt idx="39646">
                  <c:v>36774</c:v>
                </c:pt>
                <c:pt idx="39647">
                  <c:v>110046</c:v>
                </c:pt>
                <c:pt idx="39648">
                  <c:v>31121</c:v>
                </c:pt>
                <c:pt idx="39649">
                  <c:v>51623</c:v>
                </c:pt>
                <c:pt idx="39650">
                  <c:v>208676</c:v>
                </c:pt>
                <c:pt idx="39651">
                  <c:v>43715</c:v>
                </c:pt>
                <c:pt idx="39652">
                  <c:v>45958</c:v>
                </c:pt>
                <c:pt idx="39653">
                  <c:v>162741</c:v>
                </c:pt>
                <c:pt idx="39654">
                  <c:v>35050</c:v>
                </c:pt>
                <c:pt idx="39655">
                  <c:v>35742</c:v>
                </c:pt>
                <c:pt idx="39656">
                  <c:v>20459</c:v>
                </c:pt>
                <c:pt idx="39657">
                  <c:v>34187</c:v>
                </c:pt>
                <c:pt idx="39658">
                  <c:v>35732</c:v>
                </c:pt>
                <c:pt idx="39659">
                  <c:v>26687</c:v>
                </c:pt>
                <c:pt idx="39660">
                  <c:v>56725</c:v>
                </c:pt>
                <c:pt idx="39661">
                  <c:v>69538</c:v>
                </c:pt>
                <c:pt idx="39662">
                  <c:v>45937</c:v>
                </c:pt>
                <c:pt idx="39663">
                  <c:v>213981</c:v>
                </c:pt>
                <c:pt idx="39664">
                  <c:v>26645</c:v>
                </c:pt>
                <c:pt idx="39665">
                  <c:v>34365</c:v>
                </c:pt>
                <c:pt idx="39666">
                  <c:v>40429</c:v>
                </c:pt>
                <c:pt idx="39667">
                  <c:v>59384</c:v>
                </c:pt>
                <c:pt idx="39668">
                  <c:v>411119</c:v>
                </c:pt>
                <c:pt idx="39669">
                  <c:v>25265</c:v>
                </c:pt>
                <c:pt idx="39670">
                  <c:v>44932</c:v>
                </c:pt>
                <c:pt idx="39671">
                  <c:v>24750</c:v>
                </c:pt>
                <c:pt idx="39672">
                  <c:v>76291</c:v>
                </c:pt>
                <c:pt idx="39673">
                  <c:v>27793</c:v>
                </c:pt>
                <c:pt idx="39674">
                  <c:v>56462</c:v>
                </c:pt>
                <c:pt idx="39675">
                  <c:v>46655</c:v>
                </c:pt>
                <c:pt idx="39676">
                  <c:v>27391</c:v>
                </c:pt>
                <c:pt idx="39677">
                  <c:v>34695</c:v>
                </c:pt>
                <c:pt idx="39678">
                  <c:v>32964</c:v>
                </c:pt>
                <c:pt idx="39679">
                  <c:v>32630</c:v>
                </c:pt>
                <c:pt idx="39680">
                  <c:v>22208</c:v>
                </c:pt>
                <c:pt idx="39681">
                  <c:v>107461</c:v>
                </c:pt>
                <c:pt idx="39682">
                  <c:v>168213</c:v>
                </c:pt>
                <c:pt idx="39683">
                  <c:v>65970</c:v>
                </c:pt>
                <c:pt idx="39684">
                  <c:v>93576</c:v>
                </c:pt>
                <c:pt idx="39685">
                  <c:v>44933</c:v>
                </c:pt>
                <c:pt idx="39686">
                  <c:v>24988</c:v>
                </c:pt>
                <c:pt idx="39687">
                  <c:v>102052</c:v>
                </c:pt>
                <c:pt idx="39688">
                  <c:v>47753</c:v>
                </c:pt>
                <c:pt idx="39689">
                  <c:v>27038</c:v>
                </c:pt>
                <c:pt idx="39690">
                  <c:v>38081</c:v>
                </c:pt>
                <c:pt idx="39691">
                  <c:v>53786</c:v>
                </c:pt>
                <c:pt idx="39692">
                  <c:v>34210</c:v>
                </c:pt>
                <c:pt idx="39693">
                  <c:v>35706</c:v>
                </c:pt>
                <c:pt idx="39694">
                  <c:v>29660</c:v>
                </c:pt>
                <c:pt idx="39695">
                  <c:v>25197</c:v>
                </c:pt>
                <c:pt idx="39696">
                  <c:v>29052</c:v>
                </c:pt>
                <c:pt idx="39697">
                  <c:v>29313</c:v>
                </c:pt>
                <c:pt idx="39698">
                  <c:v>235133</c:v>
                </c:pt>
                <c:pt idx="39699">
                  <c:v>27013</c:v>
                </c:pt>
                <c:pt idx="39700">
                  <c:v>142549</c:v>
                </c:pt>
                <c:pt idx="39701">
                  <c:v>33989</c:v>
                </c:pt>
                <c:pt idx="39702">
                  <c:v>18929</c:v>
                </c:pt>
                <c:pt idx="39703">
                  <c:v>43620</c:v>
                </c:pt>
                <c:pt idx="39704">
                  <c:v>53972</c:v>
                </c:pt>
                <c:pt idx="39705">
                  <c:v>79400</c:v>
                </c:pt>
                <c:pt idx="39706">
                  <c:v>36218</c:v>
                </c:pt>
                <c:pt idx="39707">
                  <c:v>24604</c:v>
                </c:pt>
                <c:pt idx="39708">
                  <c:v>56079</c:v>
                </c:pt>
                <c:pt idx="39709">
                  <c:v>45086</c:v>
                </c:pt>
                <c:pt idx="39710">
                  <c:v>84717</c:v>
                </c:pt>
                <c:pt idx="39711">
                  <c:v>42156</c:v>
                </c:pt>
                <c:pt idx="39712">
                  <c:v>48783</c:v>
                </c:pt>
                <c:pt idx="39713">
                  <c:v>46737</c:v>
                </c:pt>
                <c:pt idx="39714">
                  <c:v>26328</c:v>
                </c:pt>
                <c:pt idx="39715">
                  <c:v>34925</c:v>
                </c:pt>
                <c:pt idx="39716">
                  <c:v>86377</c:v>
                </c:pt>
                <c:pt idx="39717">
                  <c:v>74483</c:v>
                </c:pt>
                <c:pt idx="39718">
                  <c:v>47946</c:v>
                </c:pt>
                <c:pt idx="39719">
                  <c:v>164226</c:v>
                </c:pt>
                <c:pt idx="39720">
                  <c:v>19414</c:v>
                </c:pt>
                <c:pt idx="39721">
                  <c:v>43263</c:v>
                </c:pt>
                <c:pt idx="39722">
                  <c:v>33622</c:v>
                </c:pt>
                <c:pt idx="39723">
                  <c:v>30312</c:v>
                </c:pt>
                <c:pt idx="39724">
                  <c:v>27851</c:v>
                </c:pt>
                <c:pt idx="39725">
                  <c:v>59198</c:v>
                </c:pt>
                <c:pt idx="39726">
                  <c:v>45504</c:v>
                </c:pt>
                <c:pt idx="39727">
                  <c:v>21120</c:v>
                </c:pt>
                <c:pt idx="39728">
                  <c:v>55196</c:v>
                </c:pt>
                <c:pt idx="39729">
                  <c:v>137929</c:v>
                </c:pt>
                <c:pt idx="39730">
                  <c:v>36414</c:v>
                </c:pt>
                <c:pt idx="39731">
                  <c:v>42467</c:v>
                </c:pt>
                <c:pt idx="39732">
                  <c:v>40726</c:v>
                </c:pt>
                <c:pt idx="39733">
                  <c:v>44099</c:v>
                </c:pt>
                <c:pt idx="39734">
                  <c:v>24007</c:v>
                </c:pt>
                <c:pt idx="39735">
                  <c:v>41772</c:v>
                </c:pt>
                <c:pt idx="39736">
                  <c:v>31041</c:v>
                </c:pt>
                <c:pt idx="39737">
                  <c:v>44368</c:v>
                </c:pt>
                <c:pt idx="39738">
                  <c:v>166091</c:v>
                </c:pt>
                <c:pt idx="39739">
                  <c:v>82101</c:v>
                </c:pt>
                <c:pt idx="39740">
                  <c:v>45406</c:v>
                </c:pt>
                <c:pt idx="39741">
                  <c:v>210922</c:v>
                </c:pt>
                <c:pt idx="39742">
                  <c:v>79845</c:v>
                </c:pt>
                <c:pt idx="39743">
                  <c:v>38391</c:v>
                </c:pt>
                <c:pt idx="39744">
                  <c:v>48044</c:v>
                </c:pt>
                <c:pt idx="39745">
                  <c:v>31373</c:v>
                </c:pt>
                <c:pt idx="39746">
                  <c:v>149478</c:v>
                </c:pt>
                <c:pt idx="39747">
                  <c:v>32129</c:v>
                </c:pt>
                <c:pt idx="39748">
                  <c:v>43708</c:v>
                </c:pt>
                <c:pt idx="39749">
                  <c:v>54939</c:v>
                </c:pt>
                <c:pt idx="39750">
                  <c:v>39873</c:v>
                </c:pt>
                <c:pt idx="39751">
                  <c:v>32367</c:v>
                </c:pt>
                <c:pt idx="39752">
                  <c:v>36386</c:v>
                </c:pt>
                <c:pt idx="39753">
                  <c:v>145969</c:v>
                </c:pt>
                <c:pt idx="39754">
                  <c:v>44746</c:v>
                </c:pt>
                <c:pt idx="39755">
                  <c:v>52110</c:v>
                </c:pt>
                <c:pt idx="39756">
                  <c:v>109822</c:v>
                </c:pt>
                <c:pt idx="39757">
                  <c:v>34685</c:v>
                </c:pt>
                <c:pt idx="39758">
                  <c:v>39355</c:v>
                </c:pt>
                <c:pt idx="39759">
                  <c:v>99752</c:v>
                </c:pt>
                <c:pt idx="39760">
                  <c:v>47935</c:v>
                </c:pt>
                <c:pt idx="39761">
                  <c:v>70638</c:v>
                </c:pt>
                <c:pt idx="39762">
                  <c:v>52338</c:v>
                </c:pt>
                <c:pt idx="39763">
                  <c:v>82079</c:v>
                </c:pt>
                <c:pt idx="39764">
                  <c:v>25357</c:v>
                </c:pt>
                <c:pt idx="39765">
                  <c:v>71765</c:v>
                </c:pt>
                <c:pt idx="39766">
                  <c:v>57694</c:v>
                </c:pt>
                <c:pt idx="39767">
                  <c:v>35429</c:v>
                </c:pt>
                <c:pt idx="39768">
                  <c:v>88124</c:v>
                </c:pt>
                <c:pt idx="39769">
                  <c:v>64456</c:v>
                </c:pt>
                <c:pt idx="39770">
                  <c:v>20713</c:v>
                </c:pt>
                <c:pt idx="39771">
                  <c:v>39174</c:v>
                </c:pt>
                <c:pt idx="39772">
                  <c:v>30955</c:v>
                </c:pt>
                <c:pt idx="39773">
                  <c:v>108837</c:v>
                </c:pt>
                <c:pt idx="39774">
                  <c:v>45453</c:v>
                </c:pt>
                <c:pt idx="39775">
                  <c:v>41948</c:v>
                </c:pt>
                <c:pt idx="39776">
                  <c:v>38564</c:v>
                </c:pt>
                <c:pt idx="39777">
                  <c:v>44002</c:v>
                </c:pt>
                <c:pt idx="39778">
                  <c:v>32868</c:v>
                </c:pt>
                <c:pt idx="39779">
                  <c:v>46563</c:v>
                </c:pt>
                <c:pt idx="39780">
                  <c:v>85291</c:v>
                </c:pt>
                <c:pt idx="39781">
                  <c:v>50506</c:v>
                </c:pt>
                <c:pt idx="39782">
                  <c:v>53259</c:v>
                </c:pt>
                <c:pt idx="39783">
                  <c:v>50466</c:v>
                </c:pt>
                <c:pt idx="39784">
                  <c:v>53351</c:v>
                </c:pt>
                <c:pt idx="39785">
                  <c:v>23323</c:v>
                </c:pt>
                <c:pt idx="39786">
                  <c:v>28672</c:v>
                </c:pt>
                <c:pt idx="39787">
                  <c:v>402228</c:v>
                </c:pt>
                <c:pt idx="39788">
                  <c:v>30242</c:v>
                </c:pt>
                <c:pt idx="39789">
                  <c:v>28065</c:v>
                </c:pt>
                <c:pt idx="39790">
                  <c:v>32616</c:v>
                </c:pt>
                <c:pt idx="39791">
                  <c:v>53938</c:v>
                </c:pt>
                <c:pt idx="39792">
                  <c:v>33381</c:v>
                </c:pt>
                <c:pt idx="39793">
                  <c:v>23189</c:v>
                </c:pt>
                <c:pt idx="39794">
                  <c:v>19569</c:v>
                </c:pt>
                <c:pt idx="39795">
                  <c:v>277059</c:v>
                </c:pt>
                <c:pt idx="39796">
                  <c:v>23539</c:v>
                </c:pt>
                <c:pt idx="39797">
                  <c:v>92544</c:v>
                </c:pt>
                <c:pt idx="39798">
                  <c:v>71050</c:v>
                </c:pt>
                <c:pt idx="39799">
                  <c:v>45064</c:v>
                </c:pt>
                <c:pt idx="39800">
                  <c:v>95927</c:v>
                </c:pt>
                <c:pt idx="39801">
                  <c:v>114667</c:v>
                </c:pt>
                <c:pt idx="39802">
                  <c:v>21835</c:v>
                </c:pt>
                <c:pt idx="39803">
                  <c:v>34700</c:v>
                </c:pt>
                <c:pt idx="39804">
                  <c:v>41152</c:v>
                </c:pt>
                <c:pt idx="39805">
                  <c:v>67267</c:v>
                </c:pt>
                <c:pt idx="39806">
                  <c:v>97551</c:v>
                </c:pt>
                <c:pt idx="39807">
                  <c:v>35839</c:v>
                </c:pt>
                <c:pt idx="39808">
                  <c:v>86645</c:v>
                </c:pt>
                <c:pt idx="39809">
                  <c:v>33996</c:v>
                </c:pt>
                <c:pt idx="39810">
                  <c:v>54343</c:v>
                </c:pt>
                <c:pt idx="39811">
                  <c:v>54555</c:v>
                </c:pt>
                <c:pt idx="39812">
                  <c:v>45761</c:v>
                </c:pt>
                <c:pt idx="39813">
                  <c:v>56669</c:v>
                </c:pt>
                <c:pt idx="39814">
                  <c:v>26445</c:v>
                </c:pt>
                <c:pt idx="39815">
                  <c:v>59737</c:v>
                </c:pt>
                <c:pt idx="39816">
                  <c:v>38212</c:v>
                </c:pt>
                <c:pt idx="39817">
                  <c:v>100672</c:v>
                </c:pt>
                <c:pt idx="39818">
                  <c:v>118057</c:v>
                </c:pt>
                <c:pt idx="39819">
                  <c:v>23471</c:v>
                </c:pt>
                <c:pt idx="39820">
                  <c:v>107981</c:v>
                </c:pt>
                <c:pt idx="39821">
                  <c:v>47044</c:v>
                </c:pt>
                <c:pt idx="39822">
                  <c:v>39110</c:v>
                </c:pt>
                <c:pt idx="39823">
                  <c:v>44015</c:v>
                </c:pt>
                <c:pt idx="39824">
                  <c:v>20089</c:v>
                </c:pt>
                <c:pt idx="39825">
                  <c:v>26843</c:v>
                </c:pt>
                <c:pt idx="39826">
                  <c:v>102573</c:v>
                </c:pt>
                <c:pt idx="39827">
                  <c:v>30908</c:v>
                </c:pt>
                <c:pt idx="39828">
                  <c:v>19094</c:v>
                </c:pt>
                <c:pt idx="39829">
                  <c:v>97378</c:v>
                </c:pt>
                <c:pt idx="39830">
                  <c:v>43959</c:v>
                </c:pt>
                <c:pt idx="39831">
                  <c:v>54392</c:v>
                </c:pt>
                <c:pt idx="39832">
                  <c:v>45992</c:v>
                </c:pt>
                <c:pt idx="39833">
                  <c:v>26878</c:v>
                </c:pt>
                <c:pt idx="39834">
                  <c:v>34536</c:v>
                </c:pt>
                <c:pt idx="39835">
                  <c:v>33638</c:v>
                </c:pt>
                <c:pt idx="39836">
                  <c:v>35060</c:v>
                </c:pt>
                <c:pt idx="39837">
                  <c:v>237474</c:v>
                </c:pt>
                <c:pt idx="39838">
                  <c:v>33153</c:v>
                </c:pt>
                <c:pt idx="39839">
                  <c:v>51932</c:v>
                </c:pt>
                <c:pt idx="39840">
                  <c:v>42008</c:v>
                </c:pt>
                <c:pt idx="39841">
                  <c:v>55354</c:v>
                </c:pt>
                <c:pt idx="39842">
                  <c:v>40918</c:v>
                </c:pt>
                <c:pt idx="39843">
                  <c:v>37019</c:v>
                </c:pt>
                <c:pt idx="39844">
                  <c:v>139128</c:v>
                </c:pt>
                <c:pt idx="39845">
                  <c:v>133763</c:v>
                </c:pt>
                <c:pt idx="39846">
                  <c:v>26726</c:v>
                </c:pt>
                <c:pt idx="39847">
                  <c:v>53187</c:v>
                </c:pt>
                <c:pt idx="39848">
                  <c:v>66026</c:v>
                </c:pt>
                <c:pt idx="39849">
                  <c:v>142252</c:v>
                </c:pt>
                <c:pt idx="39850">
                  <c:v>75209</c:v>
                </c:pt>
                <c:pt idx="39851">
                  <c:v>42020</c:v>
                </c:pt>
                <c:pt idx="39852">
                  <c:v>136296</c:v>
                </c:pt>
                <c:pt idx="39853">
                  <c:v>47068</c:v>
                </c:pt>
                <c:pt idx="39854">
                  <c:v>83061</c:v>
                </c:pt>
                <c:pt idx="39855">
                  <c:v>42675</c:v>
                </c:pt>
                <c:pt idx="39856">
                  <c:v>38525</c:v>
                </c:pt>
                <c:pt idx="39857">
                  <c:v>25611</c:v>
                </c:pt>
                <c:pt idx="39858">
                  <c:v>104474</c:v>
                </c:pt>
                <c:pt idx="39859">
                  <c:v>67138</c:v>
                </c:pt>
                <c:pt idx="39860">
                  <c:v>95088</c:v>
                </c:pt>
                <c:pt idx="39861">
                  <c:v>37705</c:v>
                </c:pt>
                <c:pt idx="39862">
                  <c:v>50459</c:v>
                </c:pt>
                <c:pt idx="39863">
                  <c:v>49066</c:v>
                </c:pt>
                <c:pt idx="39864">
                  <c:v>31482</c:v>
                </c:pt>
                <c:pt idx="39865">
                  <c:v>66013</c:v>
                </c:pt>
                <c:pt idx="39866">
                  <c:v>47143</c:v>
                </c:pt>
                <c:pt idx="39867">
                  <c:v>91975</c:v>
                </c:pt>
                <c:pt idx="39868">
                  <c:v>29294</c:v>
                </c:pt>
                <c:pt idx="39869">
                  <c:v>30146</c:v>
                </c:pt>
                <c:pt idx="39870">
                  <c:v>64947</c:v>
                </c:pt>
                <c:pt idx="39871">
                  <c:v>100658</c:v>
                </c:pt>
                <c:pt idx="39872">
                  <c:v>27007</c:v>
                </c:pt>
                <c:pt idx="39873">
                  <c:v>39972</c:v>
                </c:pt>
                <c:pt idx="39874">
                  <c:v>127785</c:v>
                </c:pt>
                <c:pt idx="39875">
                  <c:v>50248</c:v>
                </c:pt>
                <c:pt idx="39876">
                  <c:v>27011</c:v>
                </c:pt>
                <c:pt idx="39877">
                  <c:v>29638</c:v>
                </c:pt>
                <c:pt idx="39878">
                  <c:v>66096</c:v>
                </c:pt>
                <c:pt idx="39879">
                  <c:v>395265</c:v>
                </c:pt>
                <c:pt idx="39880">
                  <c:v>90468</c:v>
                </c:pt>
                <c:pt idx="39881">
                  <c:v>155597</c:v>
                </c:pt>
                <c:pt idx="39882">
                  <c:v>59871</c:v>
                </c:pt>
                <c:pt idx="39883">
                  <c:v>61989</c:v>
                </c:pt>
                <c:pt idx="39884">
                  <c:v>65138</c:v>
                </c:pt>
                <c:pt idx="39885">
                  <c:v>76195</c:v>
                </c:pt>
                <c:pt idx="39886">
                  <c:v>24514</c:v>
                </c:pt>
                <c:pt idx="39887">
                  <c:v>31637</c:v>
                </c:pt>
                <c:pt idx="39888">
                  <c:v>49199</c:v>
                </c:pt>
                <c:pt idx="39889">
                  <c:v>41187</c:v>
                </c:pt>
                <c:pt idx="39890">
                  <c:v>56532</c:v>
                </c:pt>
                <c:pt idx="39891">
                  <c:v>47411</c:v>
                </c:pt>
                <c:pt idx="39892">
                  <c:v>24988</c:v>
                </c:pt>
                <c:pt idx="39893">
                  <c:v>54036</c:v>
                </c:pt>
                <c:pt idx="39894">
                  <c:v>60396</c:v>
                </c:pt>
                <c:pt idx="39895">
                  <c:v>92704</c:v>
                </c:pt>
                <c:pt idx="39896">
                  <c:v>36233</c:v>
                </c:pt>
                <c:pt idx="39897">
                  <c:v>33068</c:v>
                </c:pt>
                <c:pt idx="39898">
                  <c:v>39088</c:v>
                </c:pt>
                <c:pt idx="39899">
                  <c:v>43545</c:v>
                </c:pt>
                <c:pt idx="39900">
                  <c:v>37148</c:v>
                </c:pt>
                <c:pt idx="39901">
                  <c:v>183538</c:v>
                </c:pt>
                <c:pt idx="39902">
                  <c:v>148801</c:v>
                </c:pt>
                <c:pt idx="39903">
                  <c:v>51462</c:v>
                </c:pt>
                <c:pt idx="39904">
                  <c:v>27700</c:v>
                </c:pt>
                <c:pt idx="39905">
                  <c:v>42580</c:v>
                </c:pt>
                <c:pt idx="39906">
                  <c:v>121494</c:v>
                </c:pt>
                <c:pt idx="39907">
                  <c:v>25315</c:v>
                </c:pt>
                <c:pt idx="39908">
                  <c:v>52264</c:v>
                </c:pt>
                <c:pt idx="39909">
                  <c:v>39472</c:v>
                </c:pt>
                <c:pt idx="39910">
                  <c:v>46292</c:v>
                </c:pt>
                <c:pt idx="39911">
                  <c:v>32130</c:v>
                </c:pt>
                <c:pt idx="39912">
                  <c:v>195647</c:v>
                </c:pt>
                <c:pt idx="39913">
                  <c:v>29794</c:v>
                </c:pt>
                <c:pt idx="39914">
                  <c:v>39964</c:v>
                </c:pt>
                <c:pt idx="39915">
                  <c:v>172379</c:v>
                </c:pt>
                <c:pt idx="39916">
                  <c:v>27455</c:v>
                </c:pt>
                <c:pt idx="39917">
                  <c:v>65129</c:v>
                </c:pt>
                <c:pt idx="39918">
                  <c:v>24446</c:v>
                </c:pt>
                <c:pt idx="39919">
                  <c:v>23838</c:v>
                </c:pt>
                <c:pt idx="39920">
                  <c:v>79531</c:v>
                </c:pt>
                <c:pt idx="39921">
                  <c:v>69509</c:v>
                </c:pt>
                <c:pt idx="39922">
                  <c:v>39639</c:v>
                </c:pt>
                <c:pt idx="39923">
                  <c:v>42755</c:v>
                </c:pt>
                <c:pt idx="39924">
                  <c:v>42470</c:v>
                </c:pt>
                <c:pt idx="39925">
                  <c:v>94526</c:v>
                </c:pt>
                <c:pt idx="39926">
                  <c:v>47101</c:v>
                </c:pt>
                <c:pt idx="39927">
                  <c:v>47869</c:v>
                </c:pt>
                <c:pt idx="39928">
                  <c:v>156564</c:v>
                </c:pt>
                <c:pt idx="39929">
                  <c:v>30577</c:v>
                </c:pt>
                <c:pt idx="39930">
                  <c:v>71295</c:v>
                </c:pt>
                <c:pt idx="39931">
                  <c:v>41517</c:v>
                </c:pt>
                <c:pt idx="39932">
                  <c:v>27556</c:v>
                </c:pt>
                <c:pt idx="39933">
                  <c:v>23478</c:v>
                </c:pt>
                <c:pt idx="39934">
                  <c:v>50174</c:v>
                </c:pt>
                <c:pt idx="39935">
                  <c:v>61954</c:v>
                </c:pt>
                <c:pt idx="39936">
                  <c:v>50601</c:v>
                </c:pt>
                <c:pt idx="39937">
                  <c:v>203032</c:v>
                </c:pt>
                <c:pt idx="39938">
                  <c:v>47514</c:v>
                </c:pt>
                <c:pt idx="39939">
                  <c:v>58384</c:v>
                </c:pt>
                <c:pt idx="39940">
                  <c:v>42595</c:v>
                </c:pt>
                <c:pt idx="39941">
                  <c:v>35650</c:v>
                </c:pt>
                <c:pt idx="39942">
                  <c:v>69377</c:v>
                </c:pt>
                <c:pt idx="39943">
                  <c:v>108317</c:v>
                </c:pt>
                <c:pt idx="39944">
                  <c:v>84877</c:v>
                </c:pt>
                <c:pt idx="39945">
                  <c:v>171841</c:v>
                </c:pt>
                <c:pt idx="39946">
                  <c:v>64171</c:v>
                </c:pt>
                <c:pt idx="39947">
                  <c:v>75061</c:v>
                </c:pt>
                <c:pt idx="39948">
                  <c:v>67839</c:v>
                </c:pt>
                <c:pt idx="39949">
                  <c:v>108920</c:v>
                </c:pt>
                <c:pt idx="39950">
                  <c:v>41154</c:v>
                </c:pt>
                <c:pt idx="39951">
                  <c:v>37447</c:v>
                </c:pt>
                <c:pt idx="39952">
                  <c:v>42580</c:v>
                </c:pt>
                <c:pt idx="39953">
                  <c:v>48140</c:v>
                </c:pt>
                <c:pt idx="39954">
                  <c:v>25666</c:v>
                </c:pt>
                <c:pt idx="39955">
                  <c:v>92889</c:v>
                </c:pt>
                <c:pt idx="39956">
                  <c:v>47978</c:v>
                </c:pt>
                <c:pt idx="39957">
                  <c:v>40549</c:v>
                </c:pt>
                <c:pt idx="39958">
                  <c:v>28576</c:v>
                </c:pt>
                <c:pt idx="39959">
                  <c:v>33881</c:v>
                </c:pt>
                <c:pt idx="39960">
                  <c:v>56487</c:v>
                </c:pt>
                <c:pt idx="39961">
                  <c:v>32141</c:v>
                </c:pt>
                <c:pt idx="39962">
                  <c:v>39317</c:v>
                </c:pt>
                <c:pt idx="39963">
                  <c:v>38221</c:v>
                </c:pt>
                <c:pt idx="39964">
                  <c:v>37335</c:v>
                </c:pt>
                <c:pt idx="39965">
                  <c:v>72882</c:v>
                </c:pt>
                <c:pt idx="39966">
                  <c:v>22109</c:v>
                </c:pt>
                <c:pt idx="39967">
                  <c:v>23657</c:v>
                </c:pt>
                <c:pt idx="39968">
                  <c:v>22821</c:v>
                </c:pt>
                <c:pt idx="39969">
                  <c:v>27993</c:v>
                </c:pt>
                <c:pt idx="39970">
                  <c:v>52005</c:v>
                </c:pt>
                <c:pt idx="39971">
                  <c:v>85615</c:v>
                </c:pt>
                <c:pt idx="39972">
                  <c:v>39324</c:v>
                </c:pt>
                <c:pt idx="39973">
                  <c:v>64324</c:v>
                </c:pt>
                <c:pt idx="39974">
                  <c:v>42343</c:v>
                </c:pt>
                <c:pt idx="39975">
                  <c:v>26426</c:v>
                </c:pt>
                <c:pt idx="39976">
                  <c:v>33404</c:v>
                </c:pt>
                <c:pt idx="39977">
                  <c:v>38069</c:v>
                </c:pt>
                <c:pt idx="39978">
                  <c:v>39172</c:v>
                </c:pt>
                <c:pt idx="39979">
                  <c:v>27503</c:v>
                </c:pt>
                <c:pt idx="39980">
                  <c:v>76195</c:v>
                </c:pt>
                <c:pt idx="39981">
                  <c:v>41095</c:v>
                </c:pt>
                <c:pt idx="39982">
                  <c:v>36568</c:v>
                </c:pt>
                <c:pt idx="39983">
                  <c:v>68797</c:v>
                </c:pt>
                <c:pt idx="39984">
                  <c:v>36279</c:v>
                </c:pt>
                <c:pt idx="39985">
                  <c:v>44546</c:v>
                </c:pt>
                <c:pt idx="39986">
                  <c:v>65417</c:v>
                </c:pt>
                <c:pt idx="39987">
                  <c:v>49046</c:v>
                </c:pt>
                <c:pt idx="39988">
                  <c:v>15000</c:v>
                </c:pt>
                <c:pt idx="39989">
                  <c:v>74909</c:v>
                </c:pt>
                <c:pt idx="39990">
                  <c:v>115747</c:v>
                </c:pt>
                <c:pt idx="39991">
                  <c:v>68495</c:v>
                </c:pt>
                <c:pt idx="39992">
                  <c:v>33846</c:v>
                </c:pt>
                <c:pt idx="39993">
                  <c:v>66195</c:v>
                </c:pt>
                <c:pt idx="39994">
                  <c:v>43963</c:v>
                </c:pt>
                <c:pt idx="39995">
                  <c:v>101865</c:v>
                </c:pt>
                <c:pt idx="39996">
                  <c:v>36267</c:v>
                </c:pt>
                <c:pt idx="39997">
                  <c:v>23581</c:v>
                </c:pt>
                <c:pt idx="39998">
                  <c:v>71512</c:v>
                </c:pt>
                <c:pt idx="39999">
                  <c:v>233697</c:v>
                </c:pt>
                <c:pt idx="40000">
                  <c:v>29117</c:v>
                </c:pt>
                <c:pt idx="40001">
                  <c:v>77534</c:v>
                </c:pt>
                <c:pt idx="40002">
                  <c:v>42565</c:v>
                </c:pt>
                <c:pt idx="40003">
                  <c:v>34904</c:v>
                </c:pt>
                <c:pt idx="40004">
                  <c:v>30799</c:v>
                </c:pt>
                <c:pt idx="40005">
                  <c:v>24273</c:v>
                </c:pt>
                <c:pt idx="40006">
                  <c:v>261711</c:v>
                </c:pt>
                <c:pt idx="40007">
                  <c:v>133742</c:v>
                </c:pt>
                <c:pt idx="40008">
                  <c:v>26257</c:v>
                </c:pt>
                <c:pt idx="40009">
                  <c:v>21532</c:v>
                </c:pt>
                <c:pt idx="40010">
                  <c:v>75679</c:v>
                </c:pt>
                <c:pt idx="40011">
                  <c:v>220591</c:v>
                </c:pt>
                <c:pt idx="40012">
                  <c:v>32391</c:v>
                </c:pt>
                <c:pt idx="40013">
                  <c:v>53342</c:v>
                </c:pt>
                <c:pt idx="40014">
                  <c:v>33843</c:v>
                </c:pt>
                <c:pt idx="40015">
                  <c:v>30643</c:v>
                </c:pt>
                <c:pt idx="40016">
                  <c:v>89289</c:v>
                </c:pt>
                <c:pt idx="40017">
                  <c:v>33590</c:v>
                </c:pt>
                <c:pt idx="40018">
                  <c:v>50294</c:v>
                </c:pt>
                <c:pt idx="40019">
                  <c:v>29185</c:v>
                </c:pt>
                <c:pt idx="40020">
                  <c:v>49467</c:v>
                </c:pt>
                <c:pt idx="40021">
                  <c:v>96405</c:v>
                </c:pt>
                <c:pt idx="40022">
                  <c:v>89666</c:v>
                </c:pt>
                <c:pt idx="40023">
                  <c:v>206582</c:v>
                </c:pt>
                <c:pt idx="40024">
                  <c:v>31956</c:v>
                </c:pt>
                <c:pt idx="40025">
                  <c:v>39547</c:v>
                </c:pt>
                <c:pt idx="40026">
                  <c:v>49430</c:v>
                </c:pt>
                <c:pt idx="40027">
                  <c:v>52099</c:v>
                </c:pt>
                <c:pt idx="40028">
                  <c:v>102424</c:v>
                </c:pt>
                <c:pt idx="40029">
                  <c:v>49152</c:v>
                </c:pt>
                <c:pt idx="40030">
                  <c:v>32021</c:v>
                </c:pt>
                <c:pt idx="40031">
                  <c:v>49873</c:v>
                </c:pt>
                <c:pt idx="40032">
                  <c:v>76639</c:v>
                </c:pt>
                <c:pt idx="40033">
                  <c:v>46561</c:v>
                </c:pt>
                <c:pt idx="40034">
                  <c:v>34379</c:v>
                </c:pt>
                <c:pt idx="40035">
                  <c:v>66988</c:v>
                </c:pt>
                <c:pt idx="40036">
                  <c:v>27977</c:v>
                </c:pt>
                <c:pt idx="40037">
                  <c:v>24902</c:v>
                </c:pt>
                <c:pt idx="40038">
                  <c:v>108535</c:v>
                </c:pt>
                <c:pt idx="40039">
                  <c:v>47758</c:v>
                </c:pt>
                <c:pt idx="40040">
                  <c:v>68837</c:v>
                </c:pt>
                <c:pt idx="40041">
                  <c:v>57815</c:v>
                </c:pt>
                <c:pt idx="40042">
                  <c:v>24972</c:v>
                </c:pt>
                <c:pt idx="40043">
                  <c:v>59449</c:v>
                </c:pt>
                <c:pt idx="40044">
                  <c:v>40294</c:v>
                </c:pt>
                <c:pt idx="40045">
                  <c:v>47642</c:v>
                </c:pt>
                <c:pt idx="40046">
                  <c:v>26856</c:v>
                </c:pt>
                <c:pt idx="40047">
                  <c:v>47910</c:v>
                </c:pt>
                <c:pt idx="40048">
                  <c:v>33839</c:v>
                </c:pt>
                <c:pt idx="40049">
                  <c:v>43883</c:v>
                </c:pt>
                <c:pt idx="40050">
                  <c:v>37373</c:v>
                </c:pt>
                <c:pt idx="40051">
                  <c:v>150748</c:v>
                </c:pt>
                <c:pt idx="40052">
                  <c:v>144856</c:v>
                </c:pt>
                <c:pt idx="40053">
                  <c:v>48049</c:v>
                </c:pt>
                <c:pt idx="40054">
                  <c:v>48302</c:v>
                </c:pt>
                <c:pt idx="40055">
                  <c:v>38648</c:v>
                </c:pt>
                <c:pt idx="40056">
                  <c:v>115296</c:v>
                </c:pt>
                <c:pt idx="40057">
                  <c:v>85408</c:v>
                </c:pt>
                <c:pt idx="40058">
                  <c:v>83557</c:v>
                </c:pt>
                <c:pt idx="40059">
                  <c:v>41582</c:v>
                </c:pt>
                <c:pt idx="40060">
                  <c:v>58941</c:v>
                </c:pt>
                <c:pt idx="40061">
                  <c:v>34322</c:v>
                </c:pt>
                <c:pt idx="40062">
                  <c:v>123263</c:v>
                </c:pt>
                <c:pt idx="40063">
                  <c:v>41704</c:v>
                </c:pt>
                <c:pt idx="40064">
                  <c:v>39328</c:v>
                </c:pt>
                <c:pt idx="40065">
                  <c:v>46859</c:v>
                </c:pt>
                <c:pt idx="40066">
                  <c:v>37004</c:v>
                </c:pt>
                <c:pt idx="40067">
                  <c:v>33895</c:v>
                </c:pt>
                <c:pt idx="40068">
                  <c:v>89553</c:v>
                </c:pt>
                <c:pt idx="40069">
                  <c:v>120024</c:v>
                </c:pt>
                <c:pt idx="40070">
                  <c:v>99774</c:v>
                </c:pt>
                <c:pt idx="40071">
                  <c:v>46717</c:v>
                </c:pt>
                <c:pt idx="40072">
                  <c:v>61813</c:v>
                </c:pt>
                <c:pt idx="40073">
                  <c:v>58553</c:v>
                </c:pt>
                <c:pt idx="40074">
                  <c:v>75932</c:v>
                </c:pt>
                <c:pt idx="40075">
                  <c:v>50128</c:v>
                </c:pt>
                <c:pt idx="40076">
                  <c:v>49947</c:v>
                </c:pt>
                <c:pt idx="40077">
                  <c:v>25036</c:v>
                </c:pt>
                <c:pt idx="40078">
                  <c:v>30894</c:v>
                </c:pt>
                <c:pt idx="40079">
                  <c:v>110681</c:v>
                </c:pt>
                <c:pt idx="40080">
                  <c:v>15000</c:v>
                </c:pt>
                <c:pt idx="40081">
                  <c:v>59769</c:v>
                </c:pt>
                <c:pt idx="40082">
                  <c:v>154199</c:v>
                </c:pt>
                <c:pt idx="40083">
                  <c:v>59164</c:v>
                </c:pt>
                <c:pt idx="40084">
                  <c:v>43809</c:v>
                </c:pt>
                <c:pt idx="40085">
                  <c:v>54148</c:v>
                </c:pt>
                <c:pt idx="40086">
                  <c:v>51449</c:v>
                </c:pt>
                <c:pt idx="40087">
                  <c:v>226932</c:v>
                </c:pt>
                <c:pt idx="40088">
                  <c:v>59671</c:v>
                </c:pt>
                <c:pt idx="40089">
                  <c:v>67516</c:v>
                </c:pt>
                <c:pt idx="40090">
                  <c:v>71393</c:v>
                </c:pt>
                <c:pt idx="40091">
                  <c:v>38073</c:v>
                </c:pt>
                <c:pt idx="40092">
                  <c:v>88577</c:v>
                </c:pt>
                <c:pt idx="40093">
                  <c:v>65465</c:v>
                </c:pt>
                <c:pt idx="40094">
                  <c:v>53203</c:v>
                </c:pt>
                <c:pt idx="40095">
                  <c:v>21080</c:v>
                </c:pt>
                <c:pt idx="40096">
                  <c:v>33189</c:v>
                </c:pt>
                <c:pt idx="40097">
                  <c:v>29940</c:v>
                </c:pt>
                <c:pt idx="40098">
                  <c:v>28374</c:v>
                </c:pt>
                <c:pt idx="40099">
                  <c:v>23679</c:v>
                </c:pt>
                <c:pt idx="40100">
                  <c:v>49339</c:v>
                </c:pt>
                <c:pt idx="40101">
                  <c:v>38918</c:v>
                </c:pt>
                <c:pt idx="40102">
                  <c:v>23649</c:v>
                </c:pt>
                <c:pt idx="40103">
                  <c:v>41790</c:v>
                </c:pt>
                <c:pt idx="40104">
                  <c:v>41936</c:v>
                </c:pt>
                <c:pt idx="40105">
                  <c:v>24396</c:v>
                </c:pt>
                <c:pt idx="40106">
                  <c:v>32930</c:v>
                </c:pt>
                <c:pt idx="40107">
                  <c:v>119973</c:v>
                </c:pt>
                <c:pt idx="40108">
                  <c:v>37957</c:v>
                </c:pt>
                <c:pt idx="40109">
                  <c:v>32067</c:v>
                </c:pt>
                <c:pt idx="40110">
                  <c:v>121641</c:v>
                </c:pt>
                <c:pt idx="40111">
                  <c:v>24675</c:v>
                </c:pt>
                <c:pt idx="40112">
                  <c:v>51766</c:v>
                </c:pt>
                <c:pt idx="40113">
                  <c:v>37702</c:v>
                </c:pt>
                <c:pt idx="40114">
                  <c:v>107782</c:v>
                </c:pt>
                <c:pt idx="40115">
                  <c:v>26911</c:v>
                </c:pt>
                <c:pt idx="40116">
                  <c:v>48266</c:v>
                </c:pt>
                <c:pt idx="40117">
                  <c:v>79250</c:v>
                </c:pt>
                <c:pt idx="40118">
                  <c:v>50081</c:v>
                </c:pt>
                <c:pt idx="40119">
                  <c:v>40170</c:v>
                </c:pt>
                <c:pt idx="40120">
                  <c:v>27921</c:v>
                </c:pt>
                <c:pt idx="40121">
                  <c:v>55881</c:v>
                </c:pt>
                <c:pt idx="40122">
                  <c:v>56372</c:v>
                </c:pt>
                <c:pt idx="40123">
                  <c:v>74791</c:v>
                </c:pt>
                <c:pt idx="40124">
                  <c:v>31801</c:v>
                </c:pt>
                <c:pt idx="40125">
                  <c:v>36394</c:v>
                </c:pt>
                <c:pt idx="40126">
                  <c:v>62204</c:v>
                </c:pt>
                <c:pt idx="40127">
                  <c:v>69205</c:v>
                </c:pt>
                <c:pt idx="40128">
                  <c:v>67554</c:v>
                </c:pt>
                <c:pt idx="40129">
                  <c:v>48139</c:v>
                </c:pt>
                <c:pt idx="40130">
                  <c:v>49299</c:v>
                </c:pt>
                <c:pt idx="40131">
                  <c:v>110107</c:v>
                </c:pt>
                <c:pt idx="40132">
                  <c:v>100734</c:v>
                </c:pt>
                <c:pt idx="40133">
                  <c:v>48509</c:v>
                </c:pt>
                <c:pt idx="40134">
                  <c:v>67792</c:v>
                </c:pt>
                <c:pt idx="40135">
                  <c:v>35657</c:v>
                </c:pt>
                <c:pt idx="40136">
                  <c:v>22062</c:v>
                </c:pt>
                <c:pt idx="40137">
                  <c:v>96341</c:v>
                </c:pt>
                <c:pt idx="40138">
                  <c:v>68153</c:v>
                </c:pt>
                <c:pt idx="40139">
                  <c:v>133966</c:v>
                </c:pt>
                <c:pt idx="40140">
                  <c:v>84434</c:v>
                </c:pt>
                <c:pt idx="40141">
                  <c:v>157325</c:v>
                </c:pt>
                <c:pt idx="40142">
                  <c:v>45576</c:v>
                </c:pt>
                <c:pt idx="40143">
                  <c:v>20494</c:v>
                </c:pt>
                <c:pt idx="40144">
                  <c:v>35450</c:v>
                </c:pt>
                <c:pt idx="40145">
                  <c:v>46691</c:v>
                </c:pt>
                <c:pt idx="40146">
                  <c:v>30589</c:v>
                </c:pt>
                <c:pt idx="40147">
                  <c:v>31322</c:v>
                </c:pt>
                <c:pt idx="40148">
                  <c:v>30745</c:v>
                </c:pt>
                <c:pt idx="40149">
                  <c:v>31341</c:v>
                </c:pt>
                <c:pt idx="40150">
                  <c:v>42708</c:v>
                </c:pt>
                <c:pt idx="40151">
                  <c:v>45793</c:v>
                </c:pt>
                <c:pt idx="40152">
                  <c:v>60369</c:v>
                </c:pt>
                <c:pt idx="40153">
                  <c:v>30234</c:v>
                </c:pt>
                <c:pt idx="40154">
                  <c:v>55650</c:v>
                </c:pt>
                <c:pt idx="40155">
                  <c:v>41552</c:v>
                </c:pt>
                <c:pt idx="40156">
                  <c:v>76954</c:v>
                </c:pt>
                <c:pt idx="40157">
                  <c:v>21452</c:v>
                </c:pt>
                <c:pt idx="40158">
                  <c:v>32859</c:v>
                </c:pt>
                <c:pt idx="40159">
                  <c:v>117148</c:v>
                </c:pt>
                <c:pt idx="40160">
                  <c:v>46002</c:v>
                </c:pt>
                <c:pt idx="40161">
                  <c:v>43989</c:v>
                </c:pt>
                <c:pt idx="40162">
                  <c:v>22892</c:v>
                </c:pt>
                <c:pt idx="40163">
                  <c:v>24549</c:v>
                </c:pt>
                <c:pt idx="40164">
                  <c:v>27908</c:v>
                </c:pt>
                <c:pt idx="40165">
                  <c:v>31619</c:v>
                </c:pt>
                <c:pt idx="40166">
                  <c:v>220147</c:v>
                </c:pt>
                <c:pt idx="40167">
                  <c:v>52154</c:v>
                </c:pt>
                <c:pt idx="40168">
                  <c:v>44955</c:v>
                </c:pt>
                <c:pt idx="40169">
                  <c:v>48039</c:v>
                </c:pt>
                <c:pt idx="40170">
                  <c:v>40288</c:v>
                </c:pt>
                <c:pt idx="40171">
                  <c:v>50398</c:v>
                </c:pt>
                <c:pt idx="40172">
                  <c:v>29197</c:v>
                </c:pt>
                <c:pt idx="40173">
                  <c:v>54623</c:v>
                </c:pt>
                <c:pt idx="40174">
                  <c:v>40022</c:v>
                </c:pt>
                <c:pt idx="40175">
                  <c:v>46390</c:v>
                </c:pt>
                <c:pt idx="40176">
                  <c:v>50150</c:v>
                </c:pt>
                <c:pt idx="40177">
                  <c:v>23218</c:v>
                </c:pt>
                <c:pt idx="40178">
                  <c:v>170946</c:v>
                </c:pt>
                <c:pt idx="40179">
                  <c:v>78502</c:v>
                </c:pt>
                <c:pt idx="40180">
                  <c:v>26742</c:v>
                </c:pt>
                <c:pt idx="40181">
                  <c:v>68978</c:v>
                </c:pt>
                <c:pt idx="40182">
                  <c:v>31049</c:v>
                </c:pt>
                <c:pt idx="40183">
                  <c:v>36127</c:v>
                </c:pt>
                <c:pt idx="40184">
                  <c:v>41019</c:v>
                </c:pt>
                <c:pt idx="40185">
                  <c:v>53328</c:v>
                </c:pt>
                <c:pt idx="40186">
                  <c:v>193494</c:v>
                </c:pt>
                <c:pt idx="40187">
                  <c:v>70013</c:v>
                </c:pt>
                <c:pt idx="40188">
                  <c:v>66807</c:v>
                </c:pt>
                <c:pt idx="40189">
                  <c:v>22880</c:v>
                </c:pt>
                <c:pt idx="40190">
                  <c:v>40946</c:v>
                </c:pt>
                <c:pt idx="40191">
                  <c:v>25101</c:v>
                </c:pt>
                <c:pt idx="40192">
                  <c:v>46468</c:v>
                </c:pt>
                <c:pt idx="40193">
                  <c:v>38590</c:v>
                </c:pt>
                <c:pt idx="40194">
                  <c:v>104790</c:v>
                </c:pt>
                <c:pt idx="40195">
                  <c:v>32069</c:v>
                </c:pt>
                <c:pt idx="40196">
                  <c:v>35035</c:v>
                </c:pt>
                <c:pt idx="40197">
                  <c:v>33876</c:v>
                </c:pt>
                <c:pt idx="40198">
                  <c:v>19862</c:v>
                </c:pt>
                <c:pt idx="40199">
                  <c:v>26740</c:v>
                </c:pt>
                <c:pt idx="40200">
                  <c:v>91420</c:v>
                </c:pt>
                <c:pt idx="40201">
                  <c:v>35830</c:v>
                </c:pt>
                <c:pt idx="40202">
                  <c:v>41746</c:v>
                </c:pt>
                <c:pt idx="40203">
                  <c:v>118168</c:v>
                </c:pt>
                <c:pt idx="40204">
                  <c:v>50542</c:v>
                </c:pt>
                <c:pt idx="40205">
                  <c:v>77986</c:v>
                </c:pt>
                <c:pt idx="40206">
                  <c:v>21808</c:v>
                </c:pt>
                <c:pt idx="40207">
                  <c:v>35791</c:v>
                </c:pt>
                <c:pt idx="40208">
                  <c:v>136507</c:v>
                </c:pt>
                <c:pt idx="40209">
                  <c:v>42311</c:v>
                </c:pt>
                <c:pt idx="40210">
                  <c:v>66351</c:v>
                </c:pt>
                <c:pt idx="40211">
                  <c:v>83991</c:v>
                </c:pt>
                <c:pt idx="40212">
                  <c:v>27385</c:v>
                </c:pt>
                <c:pt idx="40213">
                  <c:v>32309</c:v>
                </c:pt>
                <c:pt idx="40214">
                  <c:v>46592</c:v>
                </c:pt>
                <c:pt idx="40215">
                  <c:v>36227</c:v>
                </c:pt>
                <c:pt idx="40216">
                  <c:v>147633</c:v>
                </c:pt>
                <c:pt idx="40217">
                  <c:v>144278</c:v>
                </c:pt>
                <c:pt idx="40218">
                  <c:v>30458</c:v>
                </c:pt>
                <c:pt idx="40219">
                  <c:v>23677</c:v>
                </c:pt>
                <c:pt idx="40220">
                  <c:v>206000</c:v>
                </c:pt>
                <c:pt idx="40221">
                  <c:v>56826</c:v>
                </c:pt>
                <c:pt idx="40222">
                  <c:v>32551</c:v>
                </c:pt>
                <c:pt idx="40223">
                  <c:v>38908</c:v>
                </c:pt>
                <c:pt idx="40224">
                  <c:v>49209</c:v>
                </c:pt>
                <c:pt idx="40225">
                  <c:v>44953</c:v>
                </c:pt>
                <c:pt idx="40226">
                  <c:v>262447</c:v>
                </c:pt>
                <c:pt idx="40227">
                  <c:v>42213</c:v>
                </c:pt>
                <c:pt idx="40228">
                  <c:v>30413</c:v>
                </c:pt>
                <c:pt idx="40229">
                  <c:v>28040</c:v>
                </c:pt>
                <c:pt idx="40230">
                  <c:v>43699</c:v>
                </c:pt>
                <c:pt idx="40231">
                  <c:v>130581</c:v>
                </c:pt>
                <c:pt idx="40232">
                  <c:v>36595</c:v>
                </c:pt>
                <c:pt idx="40233">
                  <c:v>41865</c:v>
                </c:pt>
                <c:pt idx="40234">
                  <c:v>25970</c:v>
                </c:pt>
                <c:pt idx="40235">
                  <c:v>39532</c:v>
                </c:pt>
                <c:pt idx="40236">
                  <c:v>73699</c:v>
                </c:pt>
                <c:pt idx="40237">
                  <c:v>28610</c:v>
                </c:pt>
                <c:pt idx="40238">
                  <c:v>37886</c:v>
                </c:pt>
                <c:pt idx="40239">
                  <c:v>113685</c:v>
                </c:pt>
                <c:pt idx="40240">
                  <c:v>46063</c:v>
                </c:pt>
                <c:pt idx="40241">
                  <c:v>80245</c:v>
                </c:pt>
                <c:pt idx="40242">
                  <c:v>25199</c:v>
                </c:pt>
                <c:pt idx="40243">
                  <c:v>73023</c:v>
                </c:pt>
                <c:pt idx="40244">
                  <c:v>26120</c:v>
                </c:pt>
                <c:pt idx="40245">
                  <c:v>125429</c:v>
                </c:pt>
                <c:pt idx="40246">
                  <c:v>131100</c:v>
                </c:pt>
                <c:pt idx="40247">
                  <c:v>25611</c:v>
                </c:pt>
                <c:pt idx="40248">
                  <c:v>26911</c:v>
                </c:pt>
                <c:pt idx="40249">
                  <c:v>34511</c:v>
                </c:pt>
                <c:pt idx="40250">
                  <c:v>27794</c:v>
                </c:pt>
                <c:pt idx="40251">
                  <c:v>42903</c:v>
                </c:pt>
                <c:pt idx="40252">
                  <c:v>82725</c:v>
                </c:pt>
                <c:pt idx="40253">
                  <c:v>37268</c:v>
                </c:pt>
                <c:pt idx="40254">
                  <c:v>43318</c:v>
                </c:pt>
                <c:pt idx="40255">
                  <c:v>31094</c:v>
                </c:pt>
                <c:pt idx="40256">
                  <c:v>32326</c:v>
                </c:pt>
                <c:pt idx="40257">
                  <c:v>26374</c:v>
                </c:pt>
                <c:pt idx="40258">
                  <c:v>24237</c:v>
                </c:pt>
                <c:pt idx="40259">
                  <c:v>85201</c:v>
                </c:pt>
                <c:pt idx="40260">
                  <c:v>47413</c:v>
                </c:pt>
                <c:pt idx="40261">
                  <c:v>29607</c:v>
                </c:pt>
                <c:pt idx="40262">
                  <c:v>49701</c:v>
                </c:pt>
                <c:pt idx="40263">
                  <c:v>165318</c:v>
                </c:pt>
                <c:pt idx="40264">
                  <c:v>154895</c:v>
                </c:pt>
                <c:pt idx="40265">
                  <c:v>137546</c:v>
                </c:pt>
                <c:pt idx="40266">
                  <c:v>23088</c:v>
                </c:pt>
                <c:pt idx="40267">
                  <c:v>43549</c:v>
                </c:pt>
                <c:pt idx="40268">
                  <c:v>20057</c:v>
                </c:pt>
                <c:pt idx="40269">
                  <c:v>39051</c:v>
                </c:pt>
                <c:pt idx="40270">
                  <c:v>67940</c:v>
                </c:pt>
                <c:pt idx="40271">
                  <c:v>53933</c:v>
                </c:pt>
                <c:pt idx="40272">
                  <c:v>48089</c:v>
                </c:pt>
                <c:pt idx="40273">
                  <c:v>50628</c:v>
                </c:pt>
                <c:pt idx="40274">
                  <c:v>44955</c:v>
                </c:pt>
                <c:pt idx="40275">
                  <c:v>160911</c:v>
                </c:pt>
                <c:pt idx="40276">
                  <c:v>115469</c:v>
                </c:pt>
                <c:pt idx="40277">
                  <c:v>30114</c:v>
                </c:pt>
                <c:pt idx="40278">
                  <c:v>34591</c:v>
                </c:pt>
                <c:pt idx="40279">
                  <c:v>28309</c:v>
                </c:pt>
                <c:pt idx="40280">
                  <c:v>39163</c:v>
                </c:pt>
                <c:pt idx="40281">
                  <c:v>62808</c:v>
                </c:pt>
                <c:pt idx="40282">
                  <c:v>74421</c:v>
                </c:pt>
                <c:pt idx="40283">
                  <c:v>206869</c:v>
                </c:pt>
                <c:pt idx="40284">
                  <c:v>28546</c:v>
                </c:pt>
                <c:pt idx="40285">
                  <c:v>58001</c:v>
                </c:pt>
                <c:pt idx="40286">
                  <c:v>281263</c:v>
                </c:pt>
                <c:pt idx="40287">
                  <c:v>33694</c:v>
                </c:pt>
                <c:pt idx="40288">
                  <c:v>44661</c:v>
                </c:pt>
                <c:pt idx="40289">
                  <c:v>43317</c:v>
                </c:pt>
                <c:pt idx="40290">
                  <c:v>32203</c:v>
                </c:pt>
                <c:pt idx="40291">
                  <c:v>118767</c:v>
                </c:pt>
                <c:pt idx="40292">
                  <c:v>33727</c:v>
                </c:pt>
                <c:pt idx="40293">
                  <c:v>35775</c:v>
                </c:pt>
                <c:pt idx="40294">
                  <c:v>29477</c:v>
                </c:pt>
                <c:pt idx="40295">
                  <c:v>33980</c:v>
                </c:pt>
                <c:pt idx="40296">
                  <c:v>376565</c:v>
                </c:pt>
                <c:pt idx="40297">
                  <c:v>132918</c:v>
                </c:pt>
                <c:pt idx="40298">
                  <c:v>43049</c:v>
                </c:pt>
                <c:pt idx="40299">
                  <c:v>29475</c:v>
                </c:pt>
                <c:pt idx="40300">
                  <c:v>35416</c:v>
                </c:pt>
                <c:pt idx="40301">
                  <c:v>35268</c:v>
                </c:pt>
                <c:pt idx="40302">
                  <c:v>37180</c:v>
                </c:pt>
                <c:pt idx="40303">
                  <c:v>49930</c:v>
                </c:pt>
                <c:pt idx="40304">
                  <c:v>29525</c:v>
                </c:pt>
                <c:pt idx="40305">
                  <c:v>51156</c:v>
                </c:pt>
                <c:pt idx="40306">
                  <c:v>28163</c:v>
                </c:pt>
                <c:pt idx="40307">
                  <c:v>47371</c:v>
                </c:pt>
                <c:pt idx="40308">
                  <c:v>29743</c:v>
                </c:pt>
                <c:pt idx="40309">
                  <c:v>36651</c:v>
                </c:pt>
                <c:pt idx="40310">
                  <c:v>29524</c:v>
                </c:pt>
                <c:pt idx="40311">
                  <c:v>47705</c:v>
                </c:pt>
                <c:pt idx="40312">
                  <c:v>27620</c:v>
                </c:pt>
                <c:pt idx="40313">
                  <c:v>27089</c:v>
                </c:pt>
                <c:pt idx="40314">
                  <c:v>30379</c:v>
                </c:pt>
                <c:pt idx="40315">
                  <c:v>67801</c:v>
                </c:pt>
                <c:pt idx="40316">
                  <c:v>26489</c:v>
                </c:pt>
                <c:pt idx="40317">
                  <c:v>84900</c:v>
                </c:pt>
                <c:pt idx="40318">
                  <c:v>33564</c:v>
                </c:pt>
                <c:pt idx="40319">
                  <c:v>277415</c:v>
                </c:pt>
                <c:pt idx="40320">
                  <c:v>290344</c:v>
                </c:pt>
                <c:pt idx="40321">
                  <c:v>60685</c:v>
                </c:pt>
                <c:pt idx="40322">
                  <c:v>134256</c:v>
                </c:pt>
                <c:pt idx="40323">
                  <c:v>60283</c:v>
                </c:pt>
                <c:pt idx="40324">
                  <c:v>26606</c:v>
                </c:pt>
                <c:pt idx="40325">
                  <c:v>60870</c:v>
                </c:pt>
                <c:pt idx="40326">
                  <c:v>22289</c:v>
                </c:pt>
                <c:pt idx="40327">
                  <c:v>39399</c:v>
                </c:pt>
                <c:pt idx="40328">
                  <c:v>36003</c:v>
                </c:pt>
                <c:pt idx="40329">
                  <c:v>41411</c:v>
                </c:pt>
                <c:pt idx="40330">
                  <c:v>107520</c:v>
                </c:pt>
                <c:pt idx="40331">
                  <c:v>73780</c:v>
                </c:pt>
                <c:pt idx="40332">
                  <c:v>41992</c:v>
                </c:pt>
                <c:pt idx="40333">
                  <c:v>25433</c:v>
                </c:pt>
                <c:pt idx="40334">
                  <c:v>39678</c:v>
                </c:pt>
                <c:pt idx="40335">
                  <c:v>48753</c:v>
                </c:pt>
                <c:pt idx="40336">
                  <c:v>15000</c:v>
                </c:pt>
                <c:pt idx="40337">
                  <c:v>41193</c:v>
                </c:pt>
                <c:pt idx="40338">
                  <c:v>168814</c:v>
                </c:pt>
                <c:pt idx="40339">
                  <c:v>22087</c:v>
                </c:pt>
                <c:pt idx="40340">
                  <c:v>46208</c:v>
                </c:pt>
                <c:pt idx="40341">
                  <c:v>37610</c:v>
                </c:pt>
                <c:pt idx="40342">
                  <c:v>39171</c:v>
                </c:pt>
                <c:pt idx="40343">
                  <c:v>28217</c:v>
                </c:pt>
                <c:pt idx="40344">
                  <c:v>24014</c:v>
                </c:pt>
                <c:pt idx="40345">
                  <c:v>55863</c:v>
                </c:pt>
                <c:pt idx="40346">
                  <c:v>76103</c:v>
                </c:pt>
                <c:pt idx="40347">
                  <c:v>48633</c:v>
                </c:pt>
                <c:pt idx="40348">
                  <c:v>19720</c:v>
                </c:pt>
                <c:pt idx="40349">
                  <c:v>39584</c:v>
                </c:pt>
                <c:pt idx="40350">
                  <c:v>240123</c:v>
                </c:pt>
                <c:pt idx="40351">
                  <c:v>83976</c:v>
                </c:pt>
                <c:pt idx="40352">
                  <c:v>140496</c:v>
                </c:pt>
                <c:pt idx="40353">
                  <c:v>38741</c:v>
                </c:pt>
                <c:pt idx="40354">
                  <c:v>27010</c:v>
                </c:pt>
                <c:pt idx="40355">
                  <c:v>232045</c:v>
                </c:pt>
                <c:pt idx="40356">
                  <c:v>53415</c:v>
                </c:pt>
                <c:pt idx="40357">
                  <c:v>74331</c:v>
                </c:pt>
                <c:pt idx="40358">
                  <c:v>111589</c:v>
                </c:pt>
                <c:pt idx="40359">
                  <c:v>208238</c:v>
                </c:pt>
                <c:pt idx="40360">
                  <c:v>124186</c:v>
                </c:pt>
                <c:pt idx="40361">
                  <c:v>60048</c:v>
                </c:pt>
                <c:pt idx="40362">
                  <c:v>27730</c:v>
                </c:pt>
                <c:pt idx="40363">
                  <c:v>56624</c:v>
                </c:pt>
                <c:pt idx="40364">
                  <c:v>25263</c:v>
                </c:pt>
                <c:pt idx="40365">
                  <c:v>38168</c:v>
                </c:pt>
                <c:pt idx="40366">
                  <c:v>55610</c:v>
                </c:pt>
                <c:pt idx="40367">
                  <c:v>47179</c:v>
                </c:pt>
                <c:pt idx="40368">
                  <c:v>20235</c:v>
                </c:pt>
                <c:pt idx="40369">
                  <c:v>114155</c:v>
                </c:pt>
                <c:pt idx="40370">
                  <c:v>135335</c:v>
                </c:pt>
                <c:pt idx="40371">
                  <c:v>34549</c:v>
                </c:pt>
                <c:pt idx="40372">
                  <c:v>67992</c:v>
                </c:pt>
                <c:pt idx="40373">
                  <c:v>46688</c:v>
                </c:pt>
                <c:pt idx="40374">
                  <c:v>133333</c:v>
                </c:pt>
                <c:pt idx="40375">
                  <c:v>62428</c:v>
                </c:pt>
                <c:pt idx="40376">
                  <c:v>30050</c:v>
                </c:pt>
                <c:pt idx="40377">
                  <c:v>44274</c:v>
                </c:pt>
                <c:pt idx="40378">
                  <c:v>93544</c:v>
                </c:pt>
                <c:pt idx="40379">
                  <c:v>39679</c:v>
                </c:pt>
                <c:pt idx="40380">
                  <c:v>38871</c:v>
                </c:pt>
                <c:pt idx="40381">
                  <c:v>62700</c:v>
                </c:pt>
                <c:pt idx="40382">
                  <c:v>29588</c:v>
                </c:pt>
                <c:pt idx="40383">
                  <c:v>50594</c:v>
                </c:pt>
                <c:pt idx="40384">
                  <c:v>77278</c:v>
                </c:pt>
                <c:pt idx="40385">
                  <c:v>46521</c:v>
                </c:pt>
                <c:pt idx="40386">
                  <c:v>53383</c:v>
                </c:pt>
                <c:pt idx="40387">
                  <c:v>55692</c:v>
                </c:pt>
                <c:pt idx="40388">
                  <c:v>396928</c:v>
                </c:pt>
                <c:pt idx="40389">
                  <c:v>44842</c:v>
                </c:pt>
                <c:pt idx="40390">
                  <c:v>38996</c:v>
                </c:pt>
                <c:pt idx="40391">
                  <c:v>78104</c:v>
                </c:pt>
                <c:pt idx="40392">
                  <c:v>72271</c:v>
                </c:pt>
                <c:pt idx="40393">
                  <c:v>50851</c:v>
                </c:pt>
                <c:pt idx="40394">
                  <c:v>43229</c:v>
                </c:pt>
                <c:pt idx="40395">
                  <c:v>65642</c:v>
                </c:pt>
                <c:pt idx="40396">
                  <c:v>45399</c:v>
                </c:pt>
                <c:pt idx="40397">
                  <c:v>62534</c:v>
                </c:pt>
                <c:pt idx="40398">
                  <c:v>36679</c:v>
                </c:pt>
                <c:pt idx="40399">
                  <c:v>61618</c:v>
                </c:pt>
                <c:pt idx="40400">
                  <c:v>55728</c:v>
                </c:pt>
                <c:pt idx="40401">
                  <c:v>172372</c:v>
                </c:pt>
                <c:pt idx="40402">
                  <c:v>59061</c:v>
                </c:pt>
                <c:pt idx="40403">
                  <c:v>51751</c:v>
                </c:pt>
                <c:pt idx="40404">
                  <c:v>44021</c:v>
                </c:pt>
                <c:pt idx="40405">
                  <c:v>34343</c:v>
                </c:pt>
                <c:pt idx="40406">
                  <c:v>38578</c:v>
                </c:pt>
                <c:pt idx="40407">
                  <c:v>68568</c:v>
                </c:pt>
                <c:pt idx="40408">
                  <c:v>30978</c:v>
                </c:pt>
                <c:pt idx="40409">
                  <c:v>35065</c:v>
                </c:pt>
                <c:pt idx="40410">
                  <c:v>24205</c:v>
                </c:pt>
                <c:pt idx="40411">
                  <c:v>42732</c:v>
                </c:pt>
                <c:pt idx="40412">
                  <c:v>31956</c:v>
                </c:pt>
                <c:pt idx="40413">
                  <c:v>36419</c:v>
                </c:pt>
                <c:pt idx="40414">
                  <c:v>127075</c:v>
                </c:pt>
                <c:pt idx="40415">
                  <c:v>65382</c:v>
                </c:pt>
                <c:pt idx="40416">
                  <c:v>36162</c:v>
                </c:pt>
                <c:pt idx="40417">
                  <c:v>26562</c:v>
                </c:pt>
                <c:pt idx="40418">
                  <c:v>39724</c:v>
                </c:pt>
                <c:pt idx="40419">
                  <c:v>46165</c:v>
                </c:pt>
                <c:pt idx="40420">
                  <c:v>224912</c:v>
                </c:pt>
                <c:pt idx="40421">
                  <c:v>25831</c:v>
                </c:pt>
                <c:pt idx="40422">
                  <c:v>46558</c:v>
                </c:pt>
                <c:pt idx="40423">
                  <c:v>38836</c:v>
                </c:pt>
                <c:pt idx="40424">
                  <c:v>38022</c:v>
                </c:pt>
                <c:pt idx="40425">
                  <c:v>57448</c:v>
                </c:pt>
                <c:pt idx="40426">
                  <c:v>23688</c:v>
                </c:pt>
                <c:pt idx="40427">
                  <c:v>41394</c:v>
                </c:pt>
                <c:pt idx="40428">
                  <c:v>71515</c:v>
                </c:pt>
                <c:pt idx="40429">
                  <c:v>56722</c:v>
                </c:pt>
                <c:pt idx="40430">
                  <c:v>52886</c:v>
                </c:pt>
                <c:pt idx="40431">
                  <c:v>36178</c:v>
                </c:pt>
                <c:pt idx="40432">
                  <c:v>36031</c:v>
                </c:pt>
                <c:pt idx="40433">
                  <c:v>169457</c:v>
                </c:pt>
                <c:pt idx="40434">
                  <c:v>52945</c:v>
                </c:pt>
                <c:pt idx="40435">
                  <c:v>78150</c:v>
                </c:pt>
                <c:pt idx="40436">
                  <c:v>25020</c:v>
                </c:pt>
                <c:pt idx="40437">
                  <c:v>43587</c:v>
                </c:pt>
                <c:pt idx="40438">
                  <c:v>33292</c:v>
                </c:pt>
                <c:pt idx="40439">
                  <c:v>28228</c:v>
                </c:pt>
                <c:pt idx="40440">
                  <c:v>42368</c:v>
                </c:pt>
                <c:pt idx="40441">
                  <c:v>44284</c:v>
                </c:pt>
                <c:pt idx="40442">
                  <c:v>97978</c:v>
                </c:pt>
                <c:pt idx="40443">
                  <c:v>165441</c:v>
                </c:pt>
                <c:pt idx="40444">
                  <c:v>37856</c:v>
                </c:pt>
                <c:pt idx="40445">
                  <c:v>43351</c:v>
                </c:pt>
                <c:pt idx="40446">
                  <c:v>94731</c:v>
                </c:pt>
                <c:pt idx="40447">
                  <c:v>53768</c:v>
                </c:pt>
                <c:pt idx="40448">
                  <c:v>222497</c:v>
                </c:pt>
                <c:pt idx="40449">
                  <c:v>56777</c:v>
                </c:pt>
                <c:pt idx="40450">
                  <c:v>27317</c:v>
                </c:pt>
                <c:pt idx="40451">
                  <c:v>40699</c:v>
                </c:pt>
                <c:pt idx="40452">
                  <c:v>133482</c:v>
                </c:pt>
                <c:pt idx="40453">
                  <c:v>32164</c:v>
                </c:pt>
                <c:pt idx="40454">
                  <c:v>114462</c:v>
                </c:pt>
                <c:pt idx="40455">
                  <c:v>39328</c:v>
                </c:pt>
                <c:pt idx="40456">
                  <c:v>27031</c:v>
                </c:pt>
                <c:pt idx="40457">
                  <c:v>93947</c:v>
                </c:pt>
                <c:pt idx="40458">
                  <c:v>26156</c:v>
                </c:pt>
                <c:pt idx="40459">
                  <c:v>44954</c:v>
                </c:pt>
                <c:pt idx="40460">
                  <c:v>38067</c:v>
                </c:pt>
                <c:pt idx="40461">
                  <c:v>40170</c:v>
                </c:pt>
                <c:pt idx="40462">
                  <c:v>58303</c:v>
                </c:pt>
                <c:pt idx="40463">
                  <c:v>30840</c:v>
                </c:pt>
                <c:pt idx="40464">
                  <c:v>224973</c:v>
                </c:pt>
                <c:pt idx="40465">
                  <c:v>69843</c:v>
                </c:pt>
                <c:pt idx="40466">
                  <c:v>42122</c:v>
                </c:pt>
                <c:pt idx="40467">
                  <c:v>48844</c:v>
                </c:pt>
                <c:pt idx="40468">
                  <c:v>44848</c:v>
                </c:pt>
                <c:pt idx="40469">
                  <c:v>75796</c:v>
                </c:pt>
                <c:pt idx="40470">
                  <c:v>32208</c:v>
                </c:pt>
                <c:pt idx="40471">
                  <c:v>44450</c:v>
                </c:pt>
                <c:pt idx="40472">
                  <c:v>28254</c:v>
                </c:pt>
                <c:pt idx="40473">
                  <c:v>64551</c:v>
                </c:pt>
                <c:pt idx="40474">
                  <c:v>27470</c:v>
                </c:pt>
                <c:pt idx="40475">
                  <c:v>72128</c:v>
                </c:pt>
                <c:pt idx="40476">
                  <c:v>38323</c:v>
                </c:pt>
                <c:pt idx="40477">
                  <c:v>65404</c:v>
                </c:pt>
                <c:pt idx="40478">
                  <c:v>39177</c:v>
                </c:pt>
                <c:pt idx="40479">
                  <c:v>83621</c:v>
                </c:pt>
                <c:pt idx="40480">
                  <c:v>42634</c:v>
                </c:pt>
                <c:pt idx="40481">
                  <c:v>39530</c:v>
                </c:pt>
                <c:pt idx="40482">
                  <c:v>239504</c:v>
                </c:pt>
                <c:pt idx="40483">
                  <c:v>28601</c:v>
                </c:pt>
                <c:pt idx="40484">
                  <c:v>24774</c:v>
                </c:pt>
                <c:pt idx="40485">
                  <c:v>23821</c:v>
                </c:pt>
                <c:pt idx="40486">
                  <c:v>42000</c:v>
                </c:pt>
                <c:pt idx="40487">
                  <c:v>104184</c:v>
                </c:pt>
                <c:pt idx="40488">
                  <c:v>100916</c:v>
                </c:pt>
                <c:pt idx="40489">
                  <c:v>36022</c:v>
                </c:pt>
                <c:pt idx="40490">
                  <c:v>30805</c:v>
                </c:pt>
                <c:pt idx="40491">
                  <c:v>40284</c:v>
                </c:pt>
                <c:pt idx="40492">
                  <c:v>73997</c:v>
                </c:pt>
                <c:pt idx="40493">
                  <c:v>32074</c:v>
                </c:pt>
                <c:pt idx="40494">
                  <c:v>40204</c:v>
                </c:pt>
                <c:pt idx="40495">
                  <c:v>34261</c:v>
                </c:pt>
                <c:pt idx="40496">
                  <c:v>38662</c:v>
                </c:pt>
                <c:pt idx="40497">
                  <c:v>75682</c:v>
                </c:pt>
                <c:pt idx="40498">
                  <c:v>23674</c:v>
                </c:pt>
                <c:pt idx="40499">
                  <c:v>26889</c:v>
                </c:pt>
                <c:pt idx="40500">
                  <c:v>104946</c:v>
                </c:pt>
                <c:pt idx="40501">
                  <c:v>22904</c:v>
                </c:pt>
                <c:pt idx="40502">
                  <c:v>260291</c:v>
                </c:pt>
                <c:pt idx="40503">
                  <c:v>26904</c:v>
                </c:pt>
                <c:pt idx="40504">
                  <c:v>25739</c:v>
                </c:pt>
                <c:pt idx="40505">
                  <c:v>20537</c:v>
                </c:pt>
                <c:pt idx="40506">
                  <c:v>29047</c:v>
                </c:pt>
                <c:pt idx="40507">
                  <c:v>77560</c:v>
                </c:pt>
                <c:pt idx="40508">
                  <c:v>50380</c:v>
                </c:pt>
                <c:pt idx="40509">
                  <c:v>54813</c:v>
                </c:pt>
                <c:pt idx="40510">
                  <c:v>101695</c:v>
                </c:pt>
                <c:pt idx="40511">
                  <c:v>28924</c:v>
                </c:pt>
                <c:pt idx="40512">
                  <c:v>28215</c:v>
                </c:pt>
                <c:pt idx="40513">
                  <c:v>204119</c:v>
                </c:pt>
                <c:pt idx="40514">
                  <c:v>26974</c:v>
                </c:pt>
                <c:pt idx="40515">
                  <c:v>25386</c:v>
                </c:pt>
                <c:pt idx="40516">
                  <c:v>37167</c:v>
                </c:pt>
                <c:pt idx="40517">
                  <c:v>30848</c:v>
                </c:pt>
                <c:pt idx="40518">
                  <c:v>126661</c:v>
                </c:pt>
                <c:pt idx="40519">
                  <c:v>56587</c:v>
                </c:pt>
                <c:pt idx="40520">
                  <c:v>58776</c:v>
                </c:pt>
                <c:pt idx="40521">
                  <c:v>24127</c:v>
                </c:pt>
                <c:pt idx="40522">
                  <c:v>45489</c:v>
                </c:pt>
                <c:pt idx="40523">
                  <c:v>122508</c:v>
                </c:pt>
                <c:pt idx="40524">
                  <c:v>30665</c:v>
                </c:pt>
                <c:pt idx="40525">
                  <c:v>31101</c:v>
                </c:pt>
                <c:pt idx="40526">
                  <c:v>43930</c:v>
                </c:pt>
                <c:pt idx="40527">
                  <c:v>35983</c:v>
                </c:pt>
                <c:pt idx="40528">
                  <c:v>55762</c:v>
                </c:pt>
                <c:pt idx="40529">
                  <c:v>62052</c:v>
                </c:pt>
                <c:pt idx="40530">
                  <c:v>82225</c:v>
                </c:pt>
                <c:pt idx="40531">
                  <c:v>47087</c:v>
                </c:pt>
                <c:pt idx="40532">
                  <c:v>122652</c:v>
                </c:pt>
                <c:pt idx="40533">
                  <c:v>46633</c:v>
                </c:pt>
                <c:pt idx="40534">
                  <c:v>36718</c:v>
                </c:pt>
                <c:pt idx="40535">
                  <c:v>52779</c:v>
                </c:pt>
                <c:pt idx="40536">
                  <c:v>26377</c:v>
                </c:pt>
                <c:pt idx="40537">
                  <c:v>30710</c:v>
                </c:pt>
                <c:pt idx="40538">
                  <c:v>25053</c:v>
                </c:pt>
                <c:pt idx="40539">
                  <c:v>35787</c:v>
                </c:pt>
                <c:pt idx="40540">
                  <c:v>22907</c:v>
                </c:pt>
                <c:pt idx="40541">
                  <c:v>25967</c:v>
                </c:pt>
                <c:pt idx="40542">
                  <c:v>35836</c:v>
                </c:pt>
                <c:pt idx="40543">
                  <c:v>64599</c:v>
                </c:pt>
                <c:pt idx="40544">
                  <c:v>75574</c:v>
                </c:pt>
                <c:pt idx="40545">
                  <c:v>43085</c:v>
                </c:pt>
                <c:pt idx="40546">
                  <c:v>65336</c:v>
                </c:pt>
                <c:pt idx="40547">
                  <c:v>61948</c:v>
                </c:pt>
                <c:pt idx="40548">
                  <c:v>47864</c:v>
                </c:pt>
                <c:pt idx="40549">
                  <c:v>248827</c:v>
                </c:pt>
                <c:pt idx="40550">
                  <c:v>87062</c:v>
                </c:pt>
                <c:pt idx="40551">
                  <c:v>64333</c:v>
                </c:pt>
                <c:pt idx="40552">
                  <c:v>28743</c:v>
                </c:pt>
                <c:pt idx="40553">
                  <c:v>30451</c:v>
                </c:pt>
                <c:pt idx="40554">
                  <c:v>148064</c:v>
                </c:pt>
                <c:pt idx="40555">
                  <c:v>37596</c:v>
                </c:pt>
                <c:pt idx="40556">
                  <c:v>70627</c:v>
                </c:pt>
                <c:pt idx="40557">
                  <c:v>92550</c:v>
                </c:pt>
                <c:pt idx="40558">
                  <c:v>39036</c:v>
                </c:pt>
                <c:pt idx="40559">
                  <c:v>83302</c:v>
                </c:pt>
                <c:pt idx="40560">
                  <c:v>226700</c:v>
                </c:pt>
                <c:pt idx="40561">
                  <c:v>36905</c:v>
                </c:pt>
                <c:pt idx="40562">
                  <c:v>30444</c:v>
                </c:pt>
                <c:pt idx="40563">
                  <c:v>60558</c:v>
                </c:pt>
                <c:pt idx="40564">
                  <c:v>33584</c:v>
                </c:pt>
                <c:pt idx="40565">
                  <c:v>49381</c:v>
                </c:pt>
                <c:pt idx="40566">
                  <c:v>30626</c:v>
                </c:pt>
                <c:pt idx="40567">
                  <c:v>36558</c:v>
                </c:pt>
                <c:pt idx="40568">
                  <c:v>160200</c:v>
                </c:pt>
                <c:pt idx="40569">
                  <c:v>47522</c:v>
                </c:pt>
                <c:pt idx="40570">
                  <c:v>39815</c:v>
                </c:pt>
                <c:pt idx="40571">
                  <c:v>25440</c:v>
                </c:pt>
                <c:pt idx="40572">
                  <c:v>71908</c:v>
                </c:pt>
                <c:pt idx="40573">
                  <c:v>44479</c:v>
                </c:pt>
                <c:pt idx="40574">
                  <c:v>120889</c:v>
                </c:pt>
                <c:pt idx="40575">
                  <c:v>50304</c:v>
                </c:pt>
                <c:pt idx="40576">
                  <c:v>39023</c:v>
                </c:pt>
                <c:pt idx="40577">
                  <c:v>85959</c:v>
                </c:pt>
                <c:pt idx="40578">
                  <c:v>68788</c:v>
                </c:pt>
                <c:pt idx="40579">
                  <c:v>36513</c:v>
                </c:pt>
                <c:pt idx="40580">
                  <c:v>24662</c:v>
                </c:pt>
                <c:pt idx="40581">
                  <c:v>40711</c:v>
                </c:pt>
                <c:pt idx="40582">
                  <c:v>65224</c:v>
                </c:pt>
                <c:pt idx="40583">
                  <c:v>111797</c:v>
                </c:pt>
                <c:pt idx="40584">
                  <c:v>39329</c:v>
                </c:pt>
                <c:pt idx="40585">
                  <c:v>26071</c:v>
                </c:pt>
                <c:pt idx="40586">
                  <c:v>55714</c:v>
                </c:pt>
                <c:pt idx="40587">
                  <c:v>41584</c:v>
                </c:pt>
                <c:pt idx="40588">
                  <c:v>162659</c:v>
                </c:pt>
                <c:pt idx="40589">
                  <c:v>127625</c:v>
                </c:pt>
                <c:pt idx="40590">
                  <c:v>75051</c:v>
                </c:pt>
                <c:pt idx="40591">
                  <c:v>54127</c:v>
                </c:pt>
                <c:pt idx="40592">
                  <c:v>69030</c:v>
                </c:pt>
                <c:pt idx="40593">
                  <c:v>54151</c:v>
                </c:pt>
                <c:pt idx="40594">
                  <c:v>28972</c:v>
                </c:pt>
                <c:pt idx="40595">
                  <c:v>32140</c:v>
                </c:pt>
                <c:pt idx="40596">
                  <c:v>111919</c:v>
                </c:pt>
                <c:pt idx="40597">
                  <c:v>32483</c:v>
                </c:pt>
                <c:pt idx="40598">
                  <c:v>26224</c:v>
                </c:pt>
                <c:pt idx="40599">
                  <c:v>23338</c:v>
                </c:pt>
                <c:pt idx="40600">
                  <c:v>43552</c:v>
                </c:pt>
                <c:pt idx="40601">
                  <c:v>39683</c:v>
                </c:pt>
                <c:pt idx="40602">
                  <c:v>59196</c:v>
                </c:pt>
                <c:pt idx="40603">
                  <c:v>97063</c:v>
                </c:pt>
                <c:pt idx="40604">
                  <c:v>54965</c:v>
                </c:pt>
                <c:pt idx="40605">
                  <c:v>43896</c:v>
                </c:pt>
                <c:pt idx="40606">
                  <c:v>41812</c:v>
                </c:pt>
                <c:pt idx="40607">
                  <c:v>33154</c:v>
                </c:pt>
                <c:pt idx="40608">
                  <c:v>62591</c:v>
                </c:pt>
                <c:pt idx="40609">
                  <c:v>53795</c:v>
                </c:pt>
                <c:pt idx="40610">
                  <c:v>41516</c:v>
                </c:pt>
                <c:pt idx="40611">
                  <c:v>24405</c:v>
                </c:pt>
                <c:pt idx="40612">
                  <c:v>59844</c:v>
                </c:pt>
                <c:pt idx="40613">
                  <c:v>29485</c:v>
                </c:pt>
                <c:pt idx="40614">
                  <c:v>15000</c:v>
                </c:pt>
                <c:pt idx="40615">
                  <c:v>76439</c:v>
                </c:pt>
                <c:pt idx="40616">
                  <c:v>34814</c:v>
                </c:pt>
                <c:pt idx="40617">
                  <c:v>43245</c:v>
                </c:pt>
                <c:pt idx="40618">
                  <c:v>26321</c:v>
                </c:pt>
                <c:pt idx="40619">
                  <c:v>18979</c:v>
                </c:pt>
                <c:pt idx="40620">
                  <c:v>40109</c:v>
                </c:pt>
                <c:pt idx="40621">
                  <c:v>34047</c:v>
                </c:pt>
                <c:pt idx="40622">
                  <c:v>36648</c:v>
                </c:pt>
                <c:pt idx="40623">
                  <c:v>38330</c:v>
                </c:pt>
                <c:pt idx="40624">
                  <c:v>36770</c:v>
                </c:pt>
                <c:pt idx="40625">
                  <c:v>37477</c:v>
                </c:pt>
                <c:pt idx="40626">
                  <c:v>33258</c:v>
                </c:pt>
                <c:pt idx="40627">
                  <c:v>72999</c:v>
                </c:pt>
                <c:pt idx="40628">
                  <c:v>23491</c:v>
                </c:pt>
                <c:pt idx="40629">
                  <c:v>42540</c:v>
                </c:pt>
                <c:pt idx="40630">
                  <c:v>33009</c:v>
                </c:pt>
                <c:pt idx="40631">
                  <c:v>36972</c:v>
                </c:pt>
                <c:pt idx="40632">
                  <c:v>107572</c:v>
                </c:pt>
                <c:pt idx="40633">
                  <c:v>65727</c:v>
                </c:pt>
                <c:pt idx="40634">
                  <c:v>99050</c:v>
                </c:pt>
                <c:pt idx="40635">
                  <c:v>199555</c:v>
                </c:pt>
                <c:pt idx="40636">
                  <c:v>35474</c:v>
                </c:pt>
                <c:pt idx="40637">
                  <c:v>127758</c:v>
                </c:pt>
                <c:pt idx="40638">
                  <c:v>31717</c:v>
                </c:pt>
                <c:pt idx="40639">
                  <c:v>38156</c:v>
                </c:pt>
                <c:pt idx="40640">
                  <c:v>107308</c:v>
                </c:pt>
                <c:pt idx="40641">
                  <c:v>66948</c:v>
                </c:pt>
                <c:pt idx="40642">
                  <c:v>33677</c:v>
                </c:pt>
                <c:pt idx="40643">
                  <c:v>37063</c:v>
                </c:pt>
                <c:pt idx="40644">
                  <c:v>33182</c:v>
                </c:pt>
                <c:pt idx="40645">
                  <c:v>32972</c:v>
                </c:pt>
                <c:pt idx="40646">
                  <c:v>90710</c:v>
                </c:pt>
                <c:pt idx="40647">
                  <c:v>28440</c:v>
                </c:pt>
                <c:pt idx="40648">
                  <c:v>31081</c:v>
                </c:pt>
                <c:pt idx="40649">
                  <c:v>118213</c:v>
                </c:pt>
                <c:pt idx="40650">
                  <c:v>31375</c:v>
                </c:pt>
                <c:pt idx="40651">
                  <c:v>32938</c:v>
                </c:pt>
                <c:pt idx="40652">
                  <c:v>141187</c:v>
                </c:pt>
                <c:pt idx="40653">
                  <c:v>46519</c:v>
                </c:pt>
                <c:pt idx="40654">
                  <c:v>28203</c:v>
                </c:pt>
                <c:pt idx="40655">
                  <c:v>26267</c:v>
                </c:pt>
                <c:pt idx="40656">
                  <c:v>64171</c:v>
                </c:pt>
                <c:pt idx="40657">
                  <c:v>140195</c:v>
                </c:pt>
                <c:pt idx="40658">
                  <c:v>25937</c:v>
                </c:pt>
                <c:pt idx="40659">
                  <c:v>25623</c:v>
                </c:pt>
                <c:pt idx="40660">
                  <c:v>46231</c:v>
                </c:pt>
                <c:pt idx="40661">
                  <c:v>35913</c:v>
                </c:pt>
                <c:pt idx="40662">
                  <c:v>48153</c:v>
                </c:pt>
                <c:pt idx="40663">
                  <c:v>149692</c:v>
                </c:pt>
                <c:pt idx="40664">
                  <c:v>40064</c:v>
                </c:pt>
                <c:pt idx="40665">
                  <c:v>42598</c:v>
                </c:pt>
                <c:pt idx="40666">
                  <c:v>25765</c:v>
                </c:pt>
                <c:pt idx="40667">
                  <c:v>62299</c:v>
                </c:pt>
                <c:pt idx="40668">
                  <c:v>100253</c:v>
                </c:pt>
                <c:pt idx="40669">
                  <c:v>82083</c:v>
                </c:pt>
                <c:pt idx="40670">
                  <c:v>26444</c:v>
                </c:pt>
                <c:pt idx="40671">
                  <c:v>83218</c:v>
                </c:pt>
                <c:pt idx="40672">
                  <c:v>28260</c:v>
                </c:pt>
                <c:pt idx="40673">
                  <c:v>89637</c:v>
                </c:pt>
                <c:pt idx="40674">
                  <c:v>53233</c:v>
                </c:pt>
                <c:pt idx="40675">
                  <c:v>48901</c:v>
                </c:pt>
                <c:pt idx="40676">
                  <c:v>135776</c:v>
                </c:pt>
                <c:pt idx="40677">
                  <c:v>30637</c:v>
                </c:pt>
                <c:pt idx="40678">
                  <c:v>54848</c:v>
                </c:pt>
                <c:pt idx="40679">
                  <c:v>46707</c:v>
                </c:pt>
                <c:pt idx="40680">
                  <c:v>57228</c:v>
                </c:pt>
                <c:pt idx="40681">
                  <c:v>55707</c:v>
                </c:pt>
                <c:pt idx="40682">
                  <c:v>36436</c:v>
                </c:pt>
                <c:pt idx="40683">
                  <c:v>57101</c:v>
                </c:pt>
                <c:pt idx="40684">
                  <c:v>28257</c:v>
                </c:pt>
                <c:pt idx="40685">
                  <c:v>51663</c:v>
                </c:pt>
                <c:pt idx="40686">
                  <c:v>184039</c:v>
                </c:pt>
                <c:pt idx="40687">
                  <c:v>24084</c:v>
                </c:pt>
                <c:pt idx="40688">
                  <c:v>30087</c:v>
                </c:pt>
                <c:pt idx="40689">
                  <c:v>42201</c:v>
                </c:pt>
                <c:pt idx="40690">
                  <c:v>23947</c:v>
                </c:pt>
                <c:pt idx="40691">
                  <c:v>81251</c:v>
                </c:pt>
                <c:pt idx="40692">
                  <c:v>39550</c:v>
                </c:pt>
                <c:pt idx="40693">
                  <c:v>93652</c:v>
                </c:pt>
                <c:pt idx="40694">
                  <c:v>47635</c:v>
                </c:pt>
                <c:pt idx="40695">
                  <c:v>60682</c:v>
                </c:pt>
                <c:pt idx="40696">
                  <c:v>31786</c:v>
                </c:pt>
                <c:pt idx="40697">
                  <c:v>19846</c:v>
                </c:pt>
                <c:pt idx="40698">
                  <c:v>24695</c:v>
                </c:pt>
                <c:pt idx="40699">
                  <c:v>89415</c:v>
                </c:pt>
                <c:pt idx="40700">
                  <c:v>25855</c:v>
                </c:pt>
                <c:pt idx="40701">
                  <c:v>33211</c:v>
                </c:pt>
                <c:pt idx="40702">
                  <c:v>153214</c:v>
                </c:pt>
                <c:pt idx="40703">
                  <c:v>35745</c:v>
                </c:pt>
                <c:pt idx="40704">
                  <c:v>32899</c:v>
                </c:pt>
                <c:pt idx="40705">
                  <c:v>43573</c:v>
                </c:pt>
                <c:pt idx="40706">
                  <c:v>65829</c:v>
                </c:pt>
                <c:pt idx="40707">
                  <c:v>51568</c:v>
                </c:pt>
                <c:pt idx="40708">
                  <c:v>48760</c:v>
                </c:pt>
                <c:pt idx="40709">
                  <c:v>58663</c:v>
                </c:pt>
                <c:pt idx="40710">
                  <c:v>162943</c:v>
                </c:pt>
                <c:pt idx="40711">
                  <c:v>30091</c:v>
                </c:pt>
                <c:pt idx="40712">
                  <c:v>72451</c:v>
                </c:pt>
                <c:pt idx="40713">
                  <c:v>31075</c:v>
                </c:pt>
                <c:pt idx="40714">
                  <c:v>133769</c:v>
                </c:pt>
                <c:pt idx="40715">
                  <c:v>31324</c:v>
                </c:pt>
                <c:pt idx="40716">
                  <c:v>21386</c:v>
                </c:pt>
                <c:pt idx="40717">
                  <c:v>58789</c:v>
                </c:pt>
                <c:pt idx="40718">
                  <c:v>40750</c:v>
                </c:pt>
                <c:pt idx="40719">
                  <c:v>44994</c:v>
                </c:pt>
                <c:pt idx="40720">
                  <c:v>31687</c:v>
                </c:pt>
                <c:pt idx="40721">
                  <c:v>171472</c:v>
                </c:pt>
                <c:pt idx="40722">
                  <c:v>41833</c:v>
                </c:pt>
                <c:pt idx="40723">
                  <c:v>29915</c:v>
                </c:pt>
                <c:pt idx="40724">
                  <c:v>30096</c:v>
                </c:pt>
                <c:pt idx="40725">
                  <c:v>74231</c:v>
                </c:pt>
                <c:pt idx="40726">
                  <c:v>124656</c:v>
                </c:pt>
                <c:pt idx="40727">
                  <c:v>109234</c:v>
                </c:pt>
                <c:pt idx="40728">
                  <c:v>59195</c:v>
                </c:pt>
                <c:pt idx="40729">
                  <c:v>240494</c:v>
                </c:pt>
                <c:pt idx="40730">
                  <c:v>140608</c:v>
                </c:pt>
                <c:pt idx="40731">
                  <c:v>40646</c:v>
                </c:pt>
                <c:pt idx="40732">
                  <c:v>26912</c:v>
                </c:pt>
                <c:pt idx="40733">
                  <c:v>30915</c:v>
                </c:pt>
                <c:pt idx="40734">
                  <c:v>61640</c:v>
                </c:pt>
                <c:pt idx="40735">
                  <c:v>37977</c:v>
                </c:pt>
                <c:pt idx="40736">
                  <c:v>60135</c:v>
                </c:pt>
                <c:pt idx="40737">
                  <c:v>62114</c:v>
                </c:pt>
                <c:pt idx="40738">
                  <c:v>93764</c:v>
                </c:pt>
                <c:pt idx="40739">
                  <c:v>50269</c:v>
                </c:pt>
                <c:pt idx="40740">
                  <c:v>38192</c:v>
                </c:pt>
                <c:pt idx="40741">
                  <c:v>50848</c:v>
                </c:pt>
                <c:pt idx="40742">
                  <c:v>38624</c:v>
                </c:pt>
                <c:pt idx="40743">
                  <c:v>91366</c:v>
                </c:pt>
                <c:pt idx="40744">
                  <c:v>56337</c:v>
                </c:pt>
                <c:pt idx="40745">
                  <c:v>41114</c:v>
                </c:pt>
                <c:pt idx="40746">
                  <c:v>75233</c:v>
                </c:pt>
                <c:pt idx="40747">
                  <c:v>22624</c:v>
                </c:pt>
                <c:pt idx="40748">
                  <c:v>50287</c:v>
                </c:pt>
                <c:pt idx="40749">
                  <c:v>15000</c:v>
                </c:pt>
                <c:pt idx="40750">
                  <c:v>81616</c:v>
                </c:pt>
                <c:pt idx="40751">
                  <c:v>110702</c:v>
                </c:pt>
                <c:pt idx="40752">
                  <c:v>49663</c:v>
                </c:pt>
                <c:pt idx="40753">
                  <c:v>171834</c:v>
                </c:pt>
                <c:pt idx="40754">
                  <c:v>34297</c:v>
                </c:pt>
                <c:pt idx="40755">
                  <c:v>80000</c:v>
                </c:pt>
                <c:pt idx="40756">
                  <c:v>326433</c:v>
                </c:pt>
                <c:pt idx="40757">
                  <c:v>183339</c:v>
                </c:pt>
                <c:pt idx="40758">
                  <c:v>25753</c:v>
                </c:pt>
                <c:pt idx="40759">
                  <c:v>59587</c:v>
                </c:pt>
                <c:pt idx="40760">
                  <c:v>42577</c:v>
                </c:pt>
                <c:pt idx="40761">
                  <c:v>28819</c:v>
                </c:pt>
                <c:pt idx="40762">
                  <c:v>52553</c:v>
                </c:pt>
                <c:pt idx="40763">
                  <c:v>110287</c:v>
                </c:pt>
                <c:pt idx="40764">
                  <c:v>32998</c:v>
                </c:pt>
                <c:pt idx="40765">
                  <c:v>26880</c:v>
                </c:pt>
                <c:pt idx="40766">
                  <c:v>55363</c:v>
                </c:pt>
                <c:pt idx="40767">
                  <c:v>36429</c:v>
                </c:pt>
                <c:pt idx="40768">
                  <c:v>89990</c:v>
                </c:pt>
                <c:pt idx="40769">
                  <c:v>68471</c:v>
                </c:pt>
                <c:pt idx="40770">
                  <c:v>103720</c:v>
                </c:pt>
                <c:pt idx="40771">
                  <c:v>137606</c:v>
                </c:pt>
                <c:pt idx="40772">
                  <c:v>39419</c:v>
                </c:pt>
                <c:pt idx="40773">
                  <c:v>45323</c:v>
                </c:pt>
                <c:pt idx="40774">
                  <c:v>35922</c:v>
                </c:pt>
                <c:pt idx="40775">
                  <c:v>45991</c:v>
                </c:pt>
                <c:pt idx="40776">
                  <c:v>147339</c:v>
                </c:pt>
                <c:pt idx="40777">
                  <c:v>39836</c:v>
                </c:pt>
                <c:pt idx="40778">
                  <c:v>41627</c:v>
                </c:pt>
                <c:pt idx="40779">
                  <c:v>31478</c:v>
                </c:pt>
                <c:pt idx="40780">
                  <c:v>24155</c:v>
                </c:pt>
                <c:pt idx="40781">
                  <c:v>87170</c:v>
                </c:pt>
                <c:pt idx="40782">
                  <c:v>51764</c:v>
                </c:pt>
                <c:pt idx="40783">
                  <c:v>28014</c:v>
                </c:pt>
                <c:pt idx="40784">
                  <c:v>46335</c:v>
                </c:pt>
                <c:pt idx="40785">
                  <c:v>184866</c:v>
                </c:pt>
                <c:pt idx="40786">
                  <c:v>37955</c:v>
                </c:pt>
                <c:pt idx="40787">
                  <c:v>44729</c:v>
                </c:pt>
                <c:pt idx="40788">
                  <c:v>35349</c:v>
                </c:pt>
                <c:pt idx="40789">
                  <c:v>49234</c:v>
                </c:pt>
                <c:pt idx="40790">
                  <c:v>59226</c:v>
                </c:pt>
                <c:pt idx="40791">
                  <c:v>29530</c:v>
                </c:pt>
                <c:pt idx="40792">
                  <c:v>44776</c:v>
                </c:pt>
                <c:pt idx="40793">
                  <c:v>34701</c:v>
                </c:pt>
                <c:pt idx="40794">
                  <c:v>80129</c:v>
                </c:pt>
                <c:pt idx="40795">
                  <c:v>144254</c:v>
                </c:pt>
                <c:pt idx="40796">
                  <c:v>29908</c:v>
                </c:pt>
                <c:pt idx="40797">
                  <c:v>31358</c:v>
                </c:pt>
                <c:pt idx="40798">
                  <c:v>46334</c:v>
                </c:pt>
                <c:pt idx="40799">
                  <c:v>31726</c:v>
                </c:pt>
                <c:pt idx="40800">
                  <c:v>34517</c:v>
                </c:pt>
                <c:pt idx="40801">
                  <c:v>30751</c:v>
                </c:pt>
                <c:pt idx="40802">
                  <c:v>105249</c:v>
                </c:pt>
                <c:pt idx="40803">
                  <c:v>127857</c:v>
                </c:pt>
                <c:pt idx="40804">
                  <c:v>34099</c:v>
                </c:pt>
                <c:pt idx="40805">
                  <c:v>23095</c:v>
                </c:pt>
                <c:pt idx="40806">
                  <c:v>72316</c:v>
                </c:pt>
                <c:pt idx="40807">
                  <c:v>149885</c:v>
                </c:pt>
                <c:pt idx="40808">
                  <c:v>43211</c:v>
                </c:pt>
                <c:pt idx="40809">
                  <c:v>98877</c:v>
                </c:pt>
                <c:pt idx="40810">
                  <c:v>56571</c:v>
                </c:pt>
                <c:pt idx="40811">
                  <c:v>23842</c:v>
                </c:pt>
                <c:pt idx="40812">
                  <c:v>83557</c:v>
                </c:pt>
                <c:pt idx="40813">
                  <c:v>43433</c:v>
                </c:pt>
                <c:pt idx="40814">
                  <c:v>311349</c:v>
                </c:pt>
                <c:pt idx="40815">
                  <c:v>166166</c:v>
                </c:pt>
                <c:pt idx="40816">
                  <c:v>48650</c:v>
                </c:pt>
                <c:pt idx="40817">
                  <c:v>28374</c:v>
                </c:pt>
                <c:pt idx="40818">
                  <c:v>43341</c:v>
                </c:pt>
                <c:pt idx="40819">
                  <c:v>41449</c:v>
                </c:pt>
                <c:pt idx="40820">
                  <c:v>62113</c:v>
                </c:pt>
                <c:pt idx="40821">
                  <c:v>120405</c:v>
                </c:pt>
                <c:pt idx="40822">
                  <c:v>33351</c:v>
                </c:pt>
                <c:pt idx="40823">
                  <c:v>45562</c:v>
                </c:pt>
                <c:pt idx="40824">
                  <c:v>46873</c:v>
                </c:pt>
                <c:pt idx="40825">
                  <c:v>47694</c:v>
                </c:pt>
                <c:pt idx="40826">
                  <c:v>62196</c:v>
                </c:pt>
                <c:pt idx="40827">
                  <c:v>26948</c:v>
                </c:pt>
                <c:pt idx="40828">
                  <c:v>26032</c:v>
                </c:pt>
                <c:pt idx="40829">
                  <c:v>37718</c:v>
                </c:pt>
                <c:pt idx="40830">
                  <c:v>23144</c:v>
                </c:pt>
                <c:pt idx="40831">
                  <c:v>26953</c:v>
                </c:pt>
                <c:pt idx="40832">
                  <c:v>22519</c:v>
                </c:pt>
                <c:pt idx="40833">
                  <c:v>26862</c:v>
                </c:pt>
                <c:pt idx="40834">
                  <c:v>35434</c:v>
                </c:pt>
                <c:pt idx="40835">
                  <c:v>43481</c:v>
                </c:pt>
                <c:pt idx="40836">
                  <c:v>56634</c:v>
                </c:pt>
                <c:pt idx="40837">
                  <c:v>49436</c:v>
                </c:pt>
                <c:pt idx="40838">
                  <c:v>97259</c:v>
                </c:pt>
                <c:pt idx="40839">
                  <c:v>28864</c:v>
                </c:pt>
                <c:pt idx="40840">
                  <c:v>41988</c:v>
                </c:pt>
                <c:pt idx="40841">
                  <c:v>179001</c:v>
                </c:pt>
                <c:pt idx="40842">
                  <c:v>38055</c:v>
                </c:pt>
                <c:pt idx="40843">
                  <c:v>73532</c:v>
                </c:pt>
                <c:pt idx="40844">
                  <c:v>39595</c:v>
                </c:pt>
                <c:pt idx="40845">
                  <c:v>32428</c:v>
                </c:pt>
                <c:pt idx="40846">
                  <c:v>34238</c:v>
                </c:pt>
                <c:pt idx="40847">
                  <c:v>142432</c:v>
                </c:pt>
                <c:pt idx="40848">
                  <c:v>57991</c:v>
                </c:pt>
                <c:pt idx="40849">
                  <c:v>27562</c:v>
                </c:pt>
                <c:pt idx="40850">
                  <c:v>27416</c:v>
                </c:pt>
                <c:pt idx="40851">
                  <c:v>42507</c:v>
                </c:pt>
                <c:pt idx="40852">
                  <c:v>183934</c:v>
                </c:pt>
                <c:pt idx="40853">
                  <c:v>46813</c:v>
                </c:pt>
                <c:pt idx="40854">
                  <c:v>40915</c:v>
                </c:pt>
                <c:pt idx="40855">
                  <c:v>42736</c:v>
                </c:pt>
                <c:pt idx="40856">
                  <c:v>50996</c:v>
                </c:pt>
                <c:pt idx="40857">
                  <c:v>41483</c:v>
                </c:pt>
                <c:pt idx="40858">
                  <c:v>24381</c:v>
                </c:pt>
                <c:pt idx="40859">
                  <c:v>25651</c:v>
                </c:pt>
                <c:pt idx="40860">
                  <c:v>36317</c:v>
                </c:pt>
                <c:pt idx="40861">
                  <c:v>42391</c:v>
                </c:pt>
                <c:pt idx="40862">
                  <c:v>35330</c:v>
                </c:pt>
                <c:pt idx="40863">
                  <c:v>108937</c:v>
                </c:pt>
                <c:pt idx="40864">
                  <c:v>31687</c:v>
                </c:pt>
                <c:pt idx="40865">
                  <c:v>109516</c:v>
                </c:pt>
                <c:pt idx="40866">
                  <c:v>39383</c:v>
                </c:pt>
                <c:pt idx="40867">
                  <c:v>107042</c:v>
                </c:pt>
                <c:pt idx="40868">
                  <c:v>26043</c:v>
                </c:pt>
                <c:pt idx="40869">
                  <c:v>46415</c:v>
                </c:pt>
                <c:pt idx="40870">
                  <c:v>115643</c:v>
                </c:pt>
                <c:pt idx="40871">
                  <c:v>76641</c:v>
                </c:pt>
                <c:pt idx="40872">
                  <c:v>52278</c:v>
                </c:pt>
                <c:pt idx="40873">
                  <c:v>50186</c:v>
                </c:pt>
                <c:pt idx="40874">
                  <c:v>96234</c:v>
                </c:pt>
                <c:pt idx="40875">
                  <c:v>67931</c:v>
                </c:pt>
                <c:pt idx="40876">
                  <c:v>36282</c:v>
                </c:pt>
                <c:pt idx="40877">
                  <c:v>40126</c:v>
                </c:pt>
                <c:pt idx="40878">
                  <c:v>23834</c:v>
                </c:pt>
                <c:pt idx="40879">
                  <c:v>53976</c:v>
                </c:pt>
                <c:pt idx="40880">
                  <c:v>46220</c:v>
                </c:pt>
                <c:pt idx="40881">
                  <c:v>37642</c:v>
                </c:pt>
                <c:pt idx="40882">
                  <c:v>36983</c:v>
                </c:pt>
                <c:pt idx="40883">
                  <c:v>78353</c:v>
                </c:pt>
                <c:pt idx="40884">
                  <c:v>35661</c:v>
                </c:pt>
                <c:pt idx="40885">
                  <c:v>127177</c:v>
                </c:pt>
                <c:pt idx="40886">
                  <c:v>94057</c:v>
                </c:pt>
                <c:pt idx="40887">
                  <c:v>57807</c:v>
                </c:pt>
                <c:pt idx="40888">
                  <c:v>71353</c:v>
                </c:pt>
                <c:pt idx="40889">
                  <c:v>32769</c:v>
                </c:pt>
                <c:pt idx="40890">
                  <c:v>52334</c:v>
                </c:pt>
                <c:pt idx="40891">
                  <c:v>40360</c:v>
                </c:pt>
                <c:pt idx="40892">
                  <c:v>41337</c:v>
                </c:pt>
                <c:pt idx="40893">
                  <c:v>87199</c:v>
                </c:pt>
                <c:pt idx="40894">
                  <c:v>38220</c:v>
                </c:pt>
                <c:pt idx="40895">
                  <c:v>65211</c:v>
                </c:pt>
                <c:pt idx="40896">
                  <c:v>83390</c:v>
                </c:pt>
                <c:pt idx="40897">
                  <c:v>27954</c:v>
                </c:pt>
                <c:pt idx="40898">
                  <c:v>44095</c:v>
                </c:pt>
                <c:pt idx="40899">
                  <c:v>42102</c:v>
                </c:pt>
                <c:pt idx="40900">
                  <c:v>36003</c:v>
                </c:pt>
                <c:pt idx="40901">
                  <c:v>30130</c:v>
                </c:pt>
                <c:pt idx="40902">
                  <c:v>45198</c:v>
                </c:pt>
                <c:pt idx="40903">
                  <c:v>40430</c:v>
                </c:pt>
                <c:pt idx="40904">
                  <c:v>24912</c:v>
                </c:pt>
                <c:pt idx="40905">
                  <c:v>52278</c:v>
                </c:pt>
                <c:pt idx="40906">
                  <c:v>26159</c:v>
                </c:pt>
                <c:pt idx="40907">
                  <c:v>38282</c:v>
                </c:pt>
                <c:pt idx="40908">
                  <c:v>35422</c:v>
                </c:pt>
                <c:pt idx="40909">
                  <c:v>34981</c:v>
                </c:pt>
                <c:pt idx="40910">
                  <c:v>133125</c:v>
                </c:pt>
                <c:pt idx="40911">
                  <c:v>54865</c:v>
                </c:pt>
                <c:pt idx="40912">
                  <c:v>148001</c:v>
                </c:pt>
                <c:pt idx="40913">
                  <c:v>115719</c:v>
                </c:pt>
                <c:pt idx="40914">
                  <c:v>25210</c:v>
                </c:pt>
                <c:pt idx="40915">
                  <c:v>36480</c:v>
                </c:pt>
                <c:pt idx="40916">
                  <c:v>55210</c:v>
                </c:pt>
                <c:pt idx="40917">
                  <c:v>109282</c:v>
                </c:pt>
                <c:pt idx="40918">
                  <c:v>29397</c:v>
                </c:pt>
                <c:pt idx="40919">
                  <c:v>22327</c:v>
                </c:pt>
                <c:pt idx="40920">
                  <c:v>40764</c:v>
                </c:pt>
                <c:pt idx="40921">
                  <c:v>54595</c:v>
                </c:pt>
                <c:pt idx="40922">
                  <c:v>143706</c:v>
                </c:pt>
                <c:pt idx="40923">
                  <c:v>31596</c:v>
                </c:pt>
                <c:pt idx="40924">
                  <c:v>26688</c:v>
                </c:pt>
                <c:pt idx="40925">
                  <c:v>139245</c:v>
                </c:pt>
                <c:pt idx="40926">
                  <c:v>39601</c:v>
                </c:pt>
                <c:pt idx="40927">
                  <c:v>260882</c:v>
                </c:pt>
                <c:pt idx="40928">
                  <c:v>26333</c:v>
                </c:pt>
                <c:pt idx="40929">
                  <c:v>84865</c:v>
                </c:pt>
                <c:pt idx="40930">
                  <c:v>32778</c:v>
                </c:pt>
                <c:pt idx="40931">
                  <c:v>96220</c:v>
                </c:pt>
                <c:pt idx="40932">
                  <c:v>32758</c:v>
                </c:pt>
                <c:pt idx="40933">
                  <c:v>24670</c:v>
                </c:pt>
                <c:pt idx="40934">
                  <c:v>42267</c:v>
                </c:pt>
                <c:pt idx="40935">
                  <c:v>31386</c:v>
                </c:pt>
                <c:pt idx="40936">
                  <c:v>46187</c:v>
                </c:pt>
                <c:pt idx="40937">
                  <c:v>49935</c:v>
                </c:pt>
                <c:pt idx="40938">
                  <c:v>244269</c:v>
                </c:pt>
                <c:pt idx="40939">
                  <c:v>36519</c:v>
                </c:pt>
                <c:pt idx="40940">
                  <c:v>91846</c:v>
                </c:pt>
                <c:pt idx="40941">
                  <c:v>63073</c:v>
                </c:pt>
                <c:pt idx="40942">
                  <c:v>42046</c:v>
                </c:pt>
                <c:pt idx="40943">
                  <c:v>125131</c:v>
                </c:pt>
                <c:pt idx="40944">
                  <c:v>24129</c:v>
                </c:pt>
                <c:pt idx="40945">
                  <c:v>30256</c:v>
                </c:pt>
                <c:pt idx="40946">
                  <c:v>67806</c:v>
                </c:pt>
                <c:pt idx="40947">
                  <c:v>42489</c:v>
                </c:pt>
                <c:pt idx="40948">
                  <c:v>46687</c:v>
                </c:pt>
                <c:pt idx="40949">
                  <c:v>109705</c:v>
                </c:pt>
                <c:pt idx="40950">
                  <c:v>36327</c:v>
                </c:pt>
                <c:pt idx="40951">
                  <c:v>26261</c:v>
                </c:pt>
                <c:pt idx="40952">
                  <c:v>38973</c:v>
                </c:pt>
                <c:pt idx="40953">
                  <c:v>45151</c:v>
                </c:pt>
                <c:pt idx="40954">
                  <c:v>35276</c:v>
                </c:pt>
                <c:pt idx="40955">
                  <c:v>35060</c:v>
                </c:pt>
                <c:pt idx="40956">
                  <c:v>48974</c:v>
                </c:pt>
                <c:pt idx="40957">
                  <c:v>30678</c:v>
                </c:pt>
                <c:pt idx="40958">
                  <c:v>34443</c:v>
                </c:pt>
                <c:pt idx="40959">
                  <c:v>49138</c:v>
                </c:pt>
                <c:pt idx="40960">
                  <c:v>42263</c:v>
                </c:pt>
                <c:pt idx="40961">
                  <c:v>32622</c:v>
                </c:pt>
                <c:pt idx="40962">
                  <c:v>39927</c:v>
                </c:pt>
                <c:pt idx="40963">
                  <c:v>38957</c:v>
                </c:pt>
                <c:pt idx="40964">
                  <c:v>33884</c:v>
                </c:pt>
                <c:pt idx="40965">
                  <c:v>32506</c:v>
                </c:pt>
                <c:pt idx="40966">
                  <c:v>50687</c:v>
                </c:pt>
                <c:pt idx="40967">
                  <c:v>65355</c:v>
                </c:pt>
                <c:pt idx="40968">
                  <c:v>94937</c:v>
                </c:pt>
                <c:pt idx="40969">
                  <c:v>28470</c:v>
                </c:pt>
                <c:pt idx="40970">
                  <c:v>32970</c:v>
                </c:pt>
                <c:pt idx="40971">
                  <c:v>60994</c:v>
                </c:pt>
                <c:pt idx="40972">
                  <c:v>74155</c:v>
                </c:pt>
                <c:pt idx="40973">
                  <c:v>23086</c:v>
                </c:pt>
                <c:pt idx="40974">
                  <c:v>28602</c:v>
                </c:pt>
                <c:pt idx="40975">
                  <c:v>119114</c:v>
                </c:pt>
                <c:pt idx="40976">
                  <c:v>40068</c:v>
                </c:pt>
                <c:pt idx="40977">
                  <c:v>47914</c:v>
                </c:pt>
                <c:pt idx="40978">
                  <c:v>173356</c:v>
                </c:pt>
                <c:pt idx="40979">
                  <c:v>119383</c:v>
                </c:pt>
                <c:pt idx="40980">
                  <c:v>46762</c:v>
                </c:pt>
                <c:pt idx="40981">
                  <c:v>22485</c:v>
                </c:pt>
                <c:pt idx="40982">
                  <c:v>22643</c:v>
                </c:pt>
                <c:pt idx="40983">
                  <c:v>144751</c:v>
                </c:pt>
                <c:pt idx="40984">
                  <c:v>68037</c:v>
                </c:pt>
                <c:pt idx="40985">
                  <c:v>34844</c:v>
                </c:pt>
                <c:pt idx="40986">
                  <c:v>52848</c:v>
                </c:pt>
                <c:pt idx="40987">
                  <c:v>56456</c:v>
                </c:pt>
                <c:pt idx="40988">
                  <c:v>50294</c:v>
                </c:pt>
                <c:pt idx="40989">
                  <c:v>27980</c:v>
                </c:pt>
                <c:pt idx="40990">
                  <c:v>29157</c:v>
                </c:pt>
                <c:pt idx="40991">
                  <c:v>60858</c:v>
                </c:pt>
                <c:pt idx="40992">
                  <c:v>31984</c:v>
                </c:pt>
                <c:pt idx="40993">
                  <c:v>30416</c:v>
                </c:pt>
                <c:pt idx="40994">
                  <c:v>25381</c:v>
                </c:pt>
                <c:pt idx="40995">
                  <c:v>241323</c:v>
                </c:pt>
                <c:pt idx="40996">
                  <c:v>49560</c:v>
                </c:pt>
                <c:pt idx="40997">
                  <c:v>48744</c:v>
                </c:pt>
                <c:pt idx="40998">
                  <c:v>183717</c:v>
                </c:pt>
                <c:pt idx="40999">
                  <c:v>62286</c:v>
                </c:pt>
                <c:pt idx="41000">
                  <c:v>39709</c:v>
                </c:pt>
                <c:pt idx="41001">
                  <c:v>32870</c:v>
                </c:pt>
                <c:pt idx="41002">
                  <c:v>54046</c:v>
                </c:pt>
                <c:pt idx="41003">
                  <c:v>163988</c:v>
                </c:pt>
                <c:pt idx="41004">
                  <c:v>49723</c:v>
                </c:pt>
                <c:pt idx="41005">
                  <c:v>30890</c:v>
                </c:pt>
                <c:pt idx="41006">
                  <c:v>41444</c:v>
                </c:pt>
                <c:pt idx="41007">
                  <c:v>30616</c:v>
                </c:pt>
                <c:pt idx="41008">
                  <c:v>26113</c:v>
                </c:pt>
                <c:pt idx="41009">
                  <c:v>43238</c:v>
                </c:pt>
                <c:pt idx="41010">
                  <c:v>59400</c:v>
                </c:pt>
                <c:pt idx="41011">
                  <c:v>51217</c:v>
                </c:pt>
                <c:pt idx="41012">
                  <c:v>80108</c:v>
                </c:pt>
                <c:pt idx="41013">
                  <c:v>370779</c:v>
                </c:pt>
                <c:pt idx="41014">
                  <c:v>56029</c:v>
                </c:pt>
                <c:pt idx="41015">
                  <c:v>63088</c:v>
                </c:pt>
                <c:pt idx="41016">
                  <c:v>71324</c:v>
                </c:pt>
                <c:pt idx="41017">
                  <c:v>29199</c:v>
                </c:pt>
                <c:pt idx="41018">
                  <c:v>32453</c:v>
                </c:pt>
                <c:pt idx="41019">
                  <c:v>124911</c:v>
                </c:pt>
                <c:pt idx="41020">
                  <c:v>37161</c:v>
                </c:pt>
                <c:pt idx="41021">
                  <c:v>57038</c:v>
                </c:pt>
                <c:pt idx="41022">
                  <c:v>47870</c:v>
                </c:pt>
                <c:pt idx="41023">
                  <c:v>37789</c:v>
                </c:pt>
                <c:pt idx="41024">
                  <c:v>42938</c:v>
                </c:pt>
                <c:pt idx="41025">
                  <c:v>27021</c:v>
                </c:pt>
                <c:pt idx="41026">
                  <c:v>36408</c:v>
                </c:pt>
                <c:pt idx="41027">
                  <c:v>25939</c:v>
                </c:pt>
                <c:pt idx="41028">
                  <c:v>130017</c:v>
                </c:pt>
                <c:pt idx="41029">
                  <c:v>115471</c:v>
                </c:pt>
                <c:pt idx="41030">
                  <c:v>51651</c:v>
                </c:pt>
                <c:pt idx="41031">
                  <c:v>30539</c:v>
                </c:pt>
                <c:pt idx="41032">
                  <c:v>33554</c:v>
                </c:pt>
                <c:pt idx="41033">
                  <c:v>34617</c:v>
                </c:pt>
                <c:pt idx="41034">
                  <c:v>43715</c:v>
                </c:pt>
                <c:pt idx="41035">
                  <c:v>49633</c:v>
                </c:pt>
                <c:pt idx="41036">
                  <c:v>58523</c:v>
                </c:pt>
                <c:pt idx="41037">
                  <c:v>42643</c:v>
                </c:pt>
                <c:pt idx="41038">
                  <c:v>57896</c:v>
                </c:pt>
                <c:pt idx="41039">
                  <c:v>44175</c:v>
                </c:pt>
                <c:pt idx="41040">
                  <c:v>35680</c:v>
                </c:pt>
                <c:pt idx="41041">
                  <c:v>24664</c:v>
                </c:pt>
                <c:pt idx="41042">
                  <c:v>74368</c:v>
                </c:pt>
                <c:pt idx="41043">
                  <c:v>24491</c:v>
                </c:pt>
                <c:pt idx="41044">
                  <c:v>38474</c:v>
                </c:pt>
                <c:pt idx="41045">
                  <c:v>39505</c:v>
                </c:pt>
                <c:pt idx="41046">
                  <c:v>35596</c:v>
                </c:pt>
                <c:pt idx="41047">
                  <c:v>206412</c:v>
                </c:pt>
                <c:pt idx="41048">
                  <c:v>26981</c:v>
                </c:pt>
                <c:pt idx="41049">
                  <c:v>34124</c:v>
                </c:pt>
                <c:pt idx="41050">
                  <c:v>47246</c:v>
                </c:pt>
                <c:pt idx="41051">
                  <c:v>116825</c:v>
                </c:pt>
                <c:pt idx="41052">
                  <c:v>90421</c:v>
                </c:pt>
                <c:pt idx="41053">
                  <c:v>37536</c:v>
                </c:pt>
                <c:pt idx="41054">
                  <c:v>70501</c:v>
                </c:pt>
                <c:pt idx="41055">
                  <c:v>24974</c:v>
                </c:pt>
                <c:pt idx="41056">
                  <c:v>49266</c:v>
                </c:pt>
                <c:pt idx="41057">
                  <c:v>52885</c:v>
                </c:pt>
                <c:pt idx="41058">
                  <c:v>63950</c:v>
                </c:pt>
                <c:pt idx="41059">
                  <c:v>24356</c:v>
                </c:pt>
                <c:pt idx="41060">
                  <c:v>23561</c:v>
                </c:pt>
                <c:pt idx="41061">
                  <c:v>38198</c:v>
                </c:pt>
                <c:pt idx="41062">
                  <c:v>40368</c:v>
                </c:pt>
                <c:pt idx="41063">
                  <c:v>23430</c:v>
                </c:pt>
                <c:pt idx="41064">
                  <c:v>85477</c:v>
                </c:pt>
                <c:pt idx="41065">
                  <c:v>23495</c:v>
                </c:pt>
                <c:pt idx="41066">
                  <c:v>15000</c:v>
                </c:pt>
                <c:pt idx="41067">
                  <c:v>30331</c:v>
                </c:pt>
                <c:pt idx="41068">
                  <c:v>148663</c:v>
                </c:pt>
                <c:pt idx="41069">
                  <c:v>65463</c:v>
                </c:pt>
                <c:pt idx="41070">
                  <c:v>35665</c:v>
                </c:pt>
                <c:pt idx="41071">
                  <c:v>129026</c:v>
                </c:pt>
                <c:pt idx="41072">
                  <c:v>28974</c:v>
                </c:pt>
                <c:pt idx="41073">
                  <c:v>42764</c:v>
                </c:pt>
                <c:pt idx="41074">
                  <c:v>39858</c:v>
                </c:pt>
                <c:pt idx="41075">
                  <c:v>22127</c:v>
                </c:pt>
                <c:pt idx="41076">
                  <c:v>28158</c:v>
                </c:pt>
                <c:pt idx="41077">
                  <c:v>110881</c:v>
                </c:pt>
                <c:pt idx="41078">
                  <c:v>30619</c:v>
                </c:pt>
                <c:pt idx="41079">
                  <c:v>64266</c:v>
                </c:pt>
                <c:pt idx="41080">
                  <c:v>69107</c:v>
                </c:pt>
                <c:pt idx="41081">
                  <c:v>30884</c:v>
                </c:pt>
                <c:pt idx="41082">
                  <c:v>66674</c:v>
                </c:pt>
                <c:pt idx="41083">
                  <c:v>41098</c:v>
                </c:pt>
                <c:pt idx="41084">
                  <c:v>21545</c:v>
                </c:pt>
                <c:pt idx="41085">
                  <c:v>80419</c:v>
                </c:pt>
                <c:pt idx="41086">
                  <c:v>79876</c:v>
                </c:pt>
                <c:pt idx="41087">
                  <c:v>32169</c:v>
                </c:pt>
                <c:pt idx="41088">
                  <c:v>138554</c:v>
                </c:pt>
                <c:pt idx="41089">
                  <c:v>28572</c:v>
                </c:pt>
                <c:pt idx="41090">
                  <c:v>31286</c:v>
                </c:pt>
                <c:pt idx="41091">
                  <c:v>50045</c:v>
                </c:pt>
                <c:pt idx="41092">
                  <c:v>54212</c:v>
                </c:pt>
                <c:pt idx="41093">
                  <c:v>67676</c:v>
                </c:pt>
                <c:pt idx="41094">
                  <c:v>48312</c:v>
                </c:pt>
                <c:pt idx="41095">
                  <c:v>25501</c:v>
                </c:pt>
                <c:pt idx="41096">
                  <c:v>35471</c:v>
                </c:pt>
                <c:pt idx="41097">
                  <c:v>82346</c:v>
                </c:pt>
                <c:pt idx="41098">
                  <c:v>98356</c:v>
                </c:pt>
                <c:pt idx="41099">
                  <c:v>30778</c:v>
                </c:pt>
                <c:pt idx="41100">
                  <c:v>25443</c:v>
                </c:pt>
                <c:pt idx="41101">
                  <c:v>34181</c:v>
                </c:pt>
                <c:pt idx="41102">
                  <c:v>41754</c:v>
                </c:pt>
                <c:pt idx="41103">
                  <c:v>38679</c:v>
                </c:pt>
                <c:pt idx="41104">
                  <c:v>35609</c:v>
                </c:pt>
                <c:pt idx="41105">
                  <c:v>48801</c:v>
                </c:pt>
                <c:pt idx="41106">
                  <c:v>55560</c:v>
                </c:pt>
                <c:pt idx="41107">
                  <c:v>26197</c:v>
                </c:pt>
                <c:pt idx="41108">
                  <c:v>28851</c:v>
                </c:pt>
                <c:pt idx="41109">
                  <c:v>150258</c:v>
                </c:pt>
                <c:pt idx="41110">
                  <c:v>38313</c:v>
                </c:pt>
                <c:pt idx="41111">
                  <c:v>35363</c:v>
                </c:pt>
                <c:pt idx="41112">
                  <c:v>24089</c:v>
                </c:pt>
                <c:pt idx="41113">
                  <c:v>27615</c:v>
                </c:pt>
                <c:pt idx="41114">
                  <c:v>47713</c:v>
                </c:pt>
                <c:pt idx="41115">
                  <c:v>26549</c:v>
                </c:pt>
                <c:pt idx="41116">
                  <c:v>23642</c:v>
                </c:pt>
                <c:pt idx="41117">
                  <c:v>199176</c:v>
                </c:pt>
                <c:pt idx="41118">
                  <c:v>61613</c:v>
                </c:pt>
                <c:pt idx="41119">
                  <c:v>37121</c:v>
                </c:pt>
                <c:pt idx="41120">
                  <c:v>207921</c:v>
                </c:pt>
                <c:pt idx="41121">
                  <c:v>28803</c:v>
                </c:pt>
                <c:pt idx="41122">
                  <c:v>41794</c:v>
                </c:pt>
                <c:pt idx="41123">
                  <c:v>102024</c:v>
                </c:pt>
                <c:pt idx="41124">
                  <c:v>36478</c:v>
                </c:pt>
                <c:pt idx="41125">
                  <c:v>35210</c:v>
                </c:pt>
                <c:pt idx="41126">
                  <c:v>149654</c:v>
                </c:pt>
                <c:pt idx="41127">
                  <c:v>27535</c:v>
                </c:pt>
                <c:pt idx="41128">
                  <c:v>92116</c:v>
                </c:pt>
                <c:pt idx="41129">
                  <c:v>106978</c:v>
                </c:pt>
                <c:pt idx="41130">
                  <c:v>44584</c:v>
                </c:pt>
                <c:pt idx="41131">
                  <c:v>41332</c:v>
                </c:pt>
                <c:pt idx="41132">
                  <c:v>301959</c:v>
                </c:pt>
                <c:pt idx="41133">
                  <c:v>33187</c:v>
                </c:pt>
                <c:pt idx="41134">
                  <c:v>37538</c:v>
                </c:pt>
                <c:pt idx="41135">
                  <c:v>116033</c:v>
                </c:pt>
                <c:pt idx="41136">
                  <c:v>33550</c:v>
                </c:pt>
                <c:pt idx="41137">
                  <c:v>41596</c:v>
                </c:pt>
                <c:pt idx="41138">
                  <c:v>27486</c:v>
                </c:pt>
                <c:pt idx="41139">
                  <c:v>108727</c:v>
                </c:pt>
                <c:pt idx="41140">
                  <c:v>27481</c:v>
                </c:pt>
                <c:pt idx="41141">
                  <c:v>29093</c:v>
                </c:pt>
                <c:pt idx="41142">
                  <c:v>36654</c:v>
                </c:pt>
                <c:pt idx="41143">
                  <c:v>23611</c:v>
                </c:pt>
                <c:pt idx="41144">
                  <c:v>36104</c:v>
                </c:pt>
                <c:pt idx="41145">
                  <c:v>34967</c:v>
                </c:pt>
                <c:pt idx="41146">
                  <c:v>73180</c:v>
                </c:pt>
                <c:pt idx="41147">
                  <c:v>189728</c:v>
                </c:pt>
                <c:pt idx="41148">
                  <c:v>32975</c:v>
                </c:pt>
                <c:pt idx="41149">
                  <c:v>47214</c:v>
                </c:pt>
                <c:pt idx="41150">
                  <c:v>223899</c:v>
                </c:pt>
                <c:pt idx="41151">
                  <c:v>49799</c:v>
                </c:pt>
                <c:pt idx="41152">
                  <c:v>33266</c:v>
                </c:pt>
                <c:pt idx="41153">
                  <c:v>36365</c:v>
                </c:pt>
                <c:pt idx="41154">
                  <c:v>22445</c:v>
                </c:pt>
                <c:pt idx="41155">
                  <c:v>24366</c:v>
                </c:pt>
                <c:pt idx="41156">
                  <c:v>80372</c:v>
                </c:pt>
                <c:pt idx="41157">
                  <c:v>390134</c:v>
                </c:pt>
                <c:pt idx="41158">
                  <c:v>49230</c:v>
                </c:pt>
                <c:pt idx="41159">
                  <c:v>44165</c:v>
                </c:pt>
                <c:pt idx="41160">
                  <c:v>97034</c:v>
                </c:pt>
                <c:pt idx="41161">
                  <c:v>49760</c:v>
                </c:pt>
                <c:pt idx="41162">
                  <c:v>45408</c:v>
                </c:pt>
                <c:pt idx="41163">
                  <c:v>27612</c:v>
                </c:pt>
                <c:pt idx="41164">
                  <c:v>36467</c:v>
                </c:pt>
                <c:pt idx="41165">
                  <c:v>62048</c:v>
                </c:pt>
                <c:pt idx="41166">
                  <c:v>115001</c:v>
                </c:pt>
                <c:pt idx="41167">
                  <c:v>28688</c:v>
                </c:pt>
                <c:pt idx="41168">
                  <c:v>47161</c:v>
                </c:pt>
                <c:pt idx="41169">
                  <c:v>42882</c:v>
                </c:pt>
                <c:pt idx="41170">
                  <c:v>24307</c:v>
                </c:pt>
                <c:pt idx="41171">
                  <c:v>77421</c:v>
                </c:pt>
                <c:pt idx="41172">
                  <c:v>32927</c:v>
                </c:pt>
                <c:pt idx="41173">
                  <c:v>39752</c:v>
                </c:pt>
                <c:pt idx="41174">
                  <c:v>15000</c:v>
                </c:pt>
                <c:pt idx="41175">
                  <c:v>37610</c:v>
                </c:pt>
                <c:pt idx="41176">
                  <c:v>49869</c:v>
                </c:pt>
                <c:pt idx="41177">
                  <c:v>37814</c:v>
                </c:pt>
                <c:pt idx="41178">
                  <c:v>31771</c:v>
                </c:pt>
                <c:pt idx="41179">
                  <c:v>37912</c:v>
                </c:pt>
                <c:pt idx="41180">
                  <c:v>29283</c:v>
                </c:pt>
                <c:pt idx="41181">
                  <c:v>86810</c:v>
                </c:pt>
                <c:pt idx="41182">
                  <c:v>83899</c:v>
                </c:pt>
                <c:pt idx="41183">
                  <c:v>34957</c:v>
                </c:pt>
                <c:pt idx="41184">
                  <c:v>81197</c:v>
                </c:pt>
                <c:pt idx="41185">
                  <c:v>39411</c:v>
                </c:pt>
                <c:pt idx="41186">
                  <c:v>80888</c:v>
                </c:pt>
                <c:pt idx="41187">
                  <c:v>40463</c:v>
                </c:pt>
                <c:pt idx="41188">
                  <c:v>47272</c:v>
                </c:pt>
                <c:pt idx="41189">
                  <c:v>36059</c:v>
                </c:pt>
                <c:pt idx="41190">
                  <c:v>32781</c:v>
                </c:pt>
                <c:pt idx="41191">
                  <c:v>36919</c:v>
                </c:pt>
                <c:pt idx="41192">
                  <c:v>36769</c:v>
                </c:pt>
                <c:pt idx="41193">
                  <c:v>46600</c:v>
                </c:pt>
                <c:pt idx="41194">
                  <c:v>84695</c:v>
                </c:pt>
                <c:pt idx="41195">
                  <c:v>44219</c:v>
                </c:pt>
                <c:pt idx="41196">
                  <c:v>28062</c:v>
                </c:pt>
                <c:pt idx="41197">
                  <c:v>87537</c:v>
                </c:pt>
                <c:pt idx="41198">
                  <c:v>24933</c:v>
                </c:pt>
                <c:pt idx="41199">
                  <c:v>40140</c:v>
                </c:pt>
                <c:pt idx="41200">
                  <c:v>40904</c:v>
                </c:pt>
                <c:pt idx="41201">
                  <c:v>50942</c:v>
                </c:pt>
                <c:pt idx="41202">
                  <c:v>45470</c:v>
                </c:pt>
                <c:pt idx="41203">
                  <c:v>33974</c:v>
                </c:pt>
                <c:pt idx="41204">
                  <c:v>41005</c:v>
                </c:pt>
                <c:pt idx="41205">
                  <c:v>25328</c:v>
                </c:pt>
                <c:pt idx="41206">
                  <c:v>26766</c:v>
                </c:pt>
                <c:pt idx="41207">
                  <c:v>145337</c:v>
                </c:pt>
                <c:pt idx="41208">
                  <c:v>29935</c:v>
                </c:pt>
                <c:pt idx="41209">
                  <c:v>96383</c:v>
                </c:pt>
                <c:pt idx="41210">
                  <c:v>47831</c:v>
                </c:pt>
                <c:pt idx="41211">
                  <c:v>263956</c:v>
                </c:pt>
                <c:pt idx="41212">
                  <c:v>30448</c:v>
                </c:pt>
                <c:pt idx="41213">
                  <c:v>212350</c:v>
                </c:pt>
                <c:pt idx="41214">
                  <c:v>60162</c:v>
                </c:pt>
                <c:pt idx="41215">
                  <c:v>58602</c:v>
                </c:pt>
                <c:pt idx="41216">
                  <c:v>42258</c:v>
                </c:pt>
                <c:pt idx="41217">
                  <c:v>188394</c:v>
                </c:pt>
                <c:pt idx="41218">
                  <c:v>147954</c:v>
                </c:pt>
                <c:pt idx="41219">
                  <c:v>51527</c:v>
                </c:pt>
                <c:pt idx="41220">
                  <c:v>41081</c:v>
                </c:pt>
                <c:pt idx="41221">
                  <c:v>26818</c:v>
                </c:pt>
                <c:pt idx="41222">
                  <c:v>88866</c:v>
                </c:pt>
                <c:pt idx="41223">
                  <c:v>32720</c:v>
                </c:pt>
                <c:pt idx="41224">
                  <c:v>24949</c:v>
                </c:pt>
                <c:pt idx="41225">
                  <c:v>137156</c:v>
                </c:pt>
                <c:pt idx="41226">
                  <c:v>47146</c:v>
                </c:pt>
                <c:pt idx="41227">
                  <c:v>77042</c:v>
                </c:pt>
                <c:pt idx="41228">
                  <c:v>34708</c:v>
                </c:pt>
                <c:pt idx="41229">
                  <c:v>52977</c:v>
                </c:pt>
                <c:pt idx="41230">
                  <c:v>28640</c:v>
                </c:pt>
                <c:pt idx="41231">
                  <c:v>26417</c:v>
                </c:pt>
                <c:pt idx="41232">
                  <c:v>30943</c:v>
                </c:pt>
                <c:pt idx="41233">
                  <c:v>23705</c:v>
                </c:pt>
                <c:pt idx="41234">
                  <c:v>25134</c:v>
                </c:pt>
                <c:pt idx="41235">
                  <c:v>37830</c:v>
                </c:pt>
                <c:pt idx="41236">
                  <c:v>62314</c:v>
                </c:pt>
                <c:pt idx="41237">
                  <c:v>33609</c:v>
                </c:pt>
                <c:pt idx="41238">
                  <c:v>29289</c:v>
                </c:pt>
                <c:pt idx="41239">
                  <c:v>25475</c:v>
                </c:pt>
                <c:pt idx="41240">
                  <c:v>37156</c:v>
                </c:pt>
                <c:pt idx="41241">
                  <c:v>28791</c:v>
                </c:pt>
                <c:pt idx="41242">
                  <c:v>24628</c:v>
                </c:pt>
                <c:pt idx="41243">
                  <c:v>57222</c:v>
                </c:pt>
                <c:pt idx="41244">
                  <c:v>37349</c:v>
                </c:pt>
                <c:pt idx="41245">
                  <c:v>44017</c:v>
                </c:pt>
                <c:pt idx="41246">
                  <c:v>46889</c:v>
                </c:pt>
                <c:pt idx="41247">
                  <c:v>37745</c:v>
                </c:pt>
                <c:pt idx="41248">
                  <c:v>38045</c:v>
                </c:pt>
                <c:pt idx="41249">
                  <c:v>31835</c:v>
                </c:pt>
                <c:pt idx="41250">
                  <c:v>75099</c:v>
                </c:pt>
                <c:pt idx="41251">
                  <c:v>36861</c:v>
                </c:pt>
                <c:pt idx="41252">
                  <c:v>25432</c:v>
                </c:pt>
                <c:pt idx="41253">
                  <c:v>28730</c:v>
                </c:pt>
                <c:pt idx="41254">
                  <c:v>76050</c:v>
                </c:pt>
                <c:pt idx="41255">
                  <c:v>47334</c:v>
                </c:pt>
                <c:pt idx="41256">
                  <c:v>20029</c:v>
                </c:pt>
                <c:pt idx="41257">
                  <c:v>23458</c:v>
                </c:pt>
                <c:pt idx="41258">
                  <c:v>47431</c:v>
                </c:pt>
                <c:pt idx="41259">
                  <c:v>67189</c:v>
                </c:pt>
                <c:pt idx="41260">
                  <c:v>31659</c:v>
                </c:pt>
                <c:pt idx="41261">
                  <c:v>75309</c:v>
                </c:pt>
                <c:pt idx="41262">
                  <c:v>52162</c:v>
                </c:pt>
                <c:pt idx="41263">
                  <c:v>88454</c:v>
                </c:pt>
                <c:pt idx="41264">
                  <c:v>43961</c:v>
                </c:pt>
                <c:pt idx="41265">
                  <c:v>222669</c:v>
                </c:pt>
                <c:pt idx="41266">
                  <c:v>38923</c:v>
                </c:pt>
                <c:pt idx="41267">
                  <c:v>45304</c:v>
                </c:pt>
                <c:pt idx="41268">
                  <c:v>43594</c:v>
                </c:pt>
                <c:pt idx="41269">
                  <c:v>42700</c:v>
                </c:pt>
                <c:pt idx="41270">
                  <c:v>52486</c:v>
                </c:pt>
                <c:pt idx="41271">
                  <c:v>54242</c:v>
                </c:pt>
                <c:pt idx="41272">
                  <c:v>37174</c:v>
                </c:pt>
                <c:pt idx="41273">
                  <c:v>34602</c:v>
                </c:pt>
                <c:pt idx="41274">
                  <c:v>35810</c:v>
                </c:pt>
                <c:pt idx="41275">
                  <c:v>32059</c:v>
                </c:pt>
                <c:pt idx="41276">
                  <c:v>64675</c:v>
                </c:pt>
                <c:pt idx="41277">
                  <c:v>39956</c:v>
                </c:pt>
                <c:pt idx="41278">
                  <c:v>44654</c:v>
                </c:pt>
                <c:pt idx="41279">
                  <c:v>20084</c:v>
                </c:pt>
                <c:pt idx="41280">
                  <c:v>27517</c:v>
                </c:pt>
                <c:pt idx="41281">
                  <c:v>23007</c:v>
                </c:pt>
                <c:pt idx="41282">
                  <c:v>34998</c:v>
                </c:pt>
                <c:pt idx="41283">
                  <c:v>39129</c:v>
                </c:pt>
                <c:pt idx="41284">
                  <c:v>64921</c:v>
                </c:pt>
                <c:pt idx="41285">
                  <c:v>93636</c:v>
                </c:pt>
                <c:pt idx="41286">
                  <c:v>30996</c:v>
                </c:pt>
                <c:pt idx="41287">
                  <c:v>60363</c:v>
                </c:pt>
                <c:pt idx="41288">
                  <c:v>59997</c:v>
                </c:pt>
                <c:pt idx="41289">
                  <c:v>36522</c:v>
                </c:pt>
                <c:pt idx="41290">
                  <c:v>44414</c:v>
                </c:pt>
                <c:pt idx="41291">
                  <c:v>29609</c:v>
                </c:pt>
                <c:pt idx="41292">
                  <c:v>102898</c:v>
                </c:pt>
                <c:pt idx="41293">
                  <c:v>25618</c:v>
                </c:pt>
                <c:pt idx="41294">
                  <c:v>166037</c:v>
                </c:pt>
                <c:pt idx="41295">
                  <c:v>46645</c:v>
                </c:pt>
                <c:pt idx="41296">
                  <c:v>26252</c:v>
                </c:pt>
                <c:pt idx="41297">
                  <c:v>26550</c:v>
                </c:pt>
                <c:pt idx="41298">
                  <c:v>24943</c:v>
                </c:pt>
                <c:pt idx="41299">
                  <c:v>129981</c:v>
                </c:pt>
                <c:pt idx="41300">
                  <c:v>29975</c:v>
                </c:pt>
                <c:pt idx="41301">
                  <c:v>75335</c:v>
                </c:pt>
                <c:pt idx="41302">
                  <c:v>26928</c:v>
                </c:pt>
                <c:pt idx="41303">
                  <c:v>31581</c:v>
                </c:pt>
                <c:pt idx="41304">
                  <c:v>27495</c:v>
                </c:pt>
                <c:pt idx="41305">
                  <c:v>42087</c:v>
                </c:pt>
                <c:pt idx="41306">
                  <c:v>51162</c:v>
                </c:pt>
                <c:pt idx="41307">
                  <c:v>96399</c:v>
                </c:pt>
                <c:pt idx="41308">
                  <c:v>257963</c:v>
                </c:pt>
                <c:pt idx="41309">
                  <c:v>45795</c:v>
                </c:pt>
                <c:pt idx="41310">
                  <c:v>32083</c:v>
                </c:pt>
                <c:pt idx="41311">
                  <c:v>39212</c:v>
                </c:pt>
                <c:pt idx="41312">
                  <c:v>35940</c:v>
                </c:pt>
                <c:pt idx="41313">
                  <c:v>91799</c:v>
                </c:pt>
                <c:pt idx="41314">
                  <c:v>198709</c:v>
                </c:pt>
                <c:pt idx="41315">
                  <c:v>24706</c:v>
                </c:pt>
                <c:pt idx="41316">
                  <c:v>20457</c:v>
                </c:pt>
                <c:pt idx="41317">
                  <c:v>47760</c:v>
                </c:pt>
                <c:pt idx="41318">
                  <c:v>34961</c:v>
                </c:pt>
                <c:pt idx="41319">
                  <c:v>43419</c:v>
                </c:pt>
                <c:pt idx="41320">
                  <c:v>69646</c:v>
                </c:pt>
                <c:pt idx="41321">
                  <c:v>83319</c:v>
                </c:pt>
                <c:pt idx="41322">
                  <c:v>171448</c:v>
                </c:pt>
                <c:pt idx="41323">
                  <c:v>29475</c:v>
                </c:pt>
                <c:pt idx="41324">
                  <c:v>52320</c:v>
                </c:pt>
                <c:pt idx="41325">
                  <c:v>59051</c:v>
                </c:pt>
                <c:pt idx="41326">
                  <c:v>228266</c:v>
                </c:pt>
                <c:pt idx="41327">
                  <c:v>56427</c:v>
                </c:pt>
                <c:pt idx="41328">
                  <c:v>24274</c:v>
                </c:pt>
                <c:pt idx="41329">
                  <c:v>28865</c:v>
                </c:pt>
                <c:pt idx="41330">
                  <c:v>57536</c:v>
                </c:pt>
                <c:pt idx="41331">
                  <c:v>102787</c:v>
                </c:pt>
                <c:pt idx="41332">
                  <c:v>72252</c:v>
                </c:pt>
                <c:pt idx="41333">
                  <c:v>51241</c:v>
                </c:pt>
                <c:pt idx="41334">
                  <c:v>29725</c:v>
                </c:pt>
                <c:pt idx="41335">
                  <c:v>46622</c:v>
                </c:pt>
                <c:pt idx="41336">
                  <c:v>91221</c:v>
                </c:pt>
                <c:pt idx="41337">
                  <c:v>65724</c:v>
                </c:pt>
                <c:pt idx="41338">
                  <c:v>24272</c:v>
                </c:pt>
                <c:pt idx="41339">
                  <c:v>29629</c:v>
                </c:pt>
                <c:pt idx="41340">
                  <c:v>122610</c:v>
                </c:pt>
                <c:pt idx="41341">
                  <c:v>77584</c:v>
                </c:pt>
                <c:pt idx="41342">
                  <c:v>27795</c:v>
                </c:pt>
                <c:pt idx="41343">
                  <c:v>26470</c:v>
                </c:pt>
                <c:pt idx="41344">
                  <c:v>24436</c:v>
                </c:pt>
                <c:pt idx="41345">
                  <c:v>85654</c:v>
                </c:pt>
                <c:pt idx="41346">
                  <c:v>88874</c:v>
                </c:pt>
                <c:pt idx="41347">
                  <c:v>47739</c:v>
                </c:pt>
                <c:pt idx="41348">
                  <c:v>80785</c:v>
                </c:pt>
                <c:pt idx="41349">
                  <c:v>32094</c:v>
                </c:pt>
                <c:pt idx="41350">
                  <c:v>35006</c:v>
                </c:pt>
                <c:pt idx="41351">
                  <c:v>38679</c:v>
                </c:pt>
                <c:pt idx="41352">
                  <c:v>51033</c:v>
                </c:pt>
                <c:pt idx="41353">
                  <c:v>94421</c:v>
                </c:pt>
                <c:pt idx="41354">
                  <c:v>56004</c:v>
                </c:pt>
                <c:pt idx="41355">
                  <c:v>33902</c:v>
                </c:pt>
                <c:pt idx="41356">
                  <c:v>34599</c:v>
                </c:pt>
                <c:pt idx="41357">
                  <c:v>33794</c:v>
                </c:pt>
                <c:pt idx="41358">
                  <c:v>52454</c:v>
                </c:pt>
                <c:pt idx="41359">
                  <c:v>70602</c:v>
                </c:pt>
                <c:pt idx="41360">
                  <c:v>23334</c:v>
                </c:pt>
                <c:pt idx="41361">
                  <c:v>22142</c:v>
                </c:pt>
                <c:pt idx="41362">
                  <c:v>29874</c:v>
                </c:pt>
                <c:pt idx="41363">
                  <c:v>41234</c:v>
                </c:pt>
                <c:pt idx="41364">
                  <c:v>170062</c:v>
                </c:pt>
                <c:pt idx="41365">
                  <c:v>37082</c:v>
                </c:pt>
                <c:pt idx="41366">
                  <c:v>55974</c:v>
                </c:pt>
                <c:pt idx="41367">
                  <c:v>162295</c:v>
                </c:pt>
                <c:pt idx="41368">
                  <c:v>34078</c:v>
                </c:pt>
                <c:pt idx="41369">
                  <c:v>32028</c:v>
                </c:pt>
                <c:pt idx="41370">
                  <c:v>41923</c:v>
                </c:pt>
                <c:pt idx="41371">
                  <c:v>34210</c:v>
                </c:pt>
                <c:pt idx="41372">
                  <c:v>51653</c:v>
                </c:pt>
                <c:pt idx="41373">
                  <c:v>34141</c:v>
                </c:pt>
                <c:pt idx="41374">
                  <c:v>41811</c:v>
                </c:pt>
                <c:pt idx="41375">
                  <c:v>43712</c:v>
                </c:pt>
                <c:pt idx="41376">
                  <c:v>81457</c:v>
                </c:pt>
                <c:pt idx="41377">
                  <c:v>49430</c:v>
                </c:pt>
                <c:pt idx="41378">
                  <c:v>40762</c:v>
                </c:pt>
                <c:pt idx="41379">
                  <c:v>67181</c:v>
                </c:pt>
                <c:pt idx="41380">
                  <c:v>44726</c:v>
                </c:pt>
                <c:pt idx="41381">
                  <c:v>41079</c:v>
                </c:pt>
                <c:pt idx="41382">
                  <c:v>82492</c:v>
                </c:pt>
                <c:pt idx="41383">
                  <c:v>30732</c:v>
                </c:pt>
                <c:pt idx="41384">
                  <c:v>23334</c:v>
                </c:pt>
                <c:pt idx="41385">
                  <c:v>122215</c:v>
                </c:pt>
                <c:pt idx="41386">
                  <c:v>46069</c:v>
                </c:pt>
                <c:pt idx="41387">
                  <c:v>27640</c:v>
                </c:pt>
                <c:pt idx="41388">
                  <c:v>133193</c:v>
                </c:pt>
                <c:pt idx="41389">
                  <c:v>29739</c:v>
                </c:pt>
                <c:pt idx="41390">
                  <c:v>46604</c:v>
                </c:pt>
                <c:pt idx="41391">
                  <c:v>114174</c:v>
                </c:pt>
                <c:pt idx="41392">
                  <c:v>87867</c:v>
                </c:pt>
                <c:pt idx="41393">
                  <c:v>26674</c:v>
                </c:pt>
                <c:pt idx="41394">
                  <c:v>44424</c:v>
                </c:pt>
                <c:pt idx="41395">
                  <c:v>30566</c:v>
                </c:pt>
                <c:pt idx="41396">
                  <c:v>46435</c:v>
                </c:pt>
                <c:pt idx="41397">
                  <c:v>34945</c:v>
                </c:pt>
                <c:pt idx="41398">
                  <c:v>30439</c:v>
                </c:pt>
                <c:pt idx="41399">
                  <c:v>25801</c:v>
                </c:pt>
                <c:pt idx="41400">
                  <c:v>77162</c:v>
                </c:pt>
                <c:pt idx="41401">
                  <c:v>106011</c:v>
                </c:pt>
                <c:pt idx="41402">
                  <c:v>97845</c:v>
                </c:pt>
                <c:pt idx="41403">
                  <c:v>56151</c:v>
                </c:pt>
                <c:pt idx="41404">
                  <c:v>35356</c:v>
                </c:pt>
                <c:pt idx="41405">
                  <c:v>38556</c:v>
                </c:pt>
                <c:pt idx="41406">
                  <c:v>75532</c:v>
                </c:pt>
                <c:pt idx="41407">
                  <c:v>23574</c:v>
                </c:pt>
                <c:pt idx="41408">
                  <c:v>56715</c:v>
                </c:pt>
                <c:pt idx="41409">
                  <c:v>43422</c:v>
                </c:pt>
                <c:pt idx="41410">
                  <c:v>43532</c:v>
                </c:pt>
                <c:pt idx="41411">
                  <c:v>37603</c:v>
                </c:pt>
                <c:pt idx="41412">
                  <c:v>57220</c:v>
                </c:pt>
                <c:pt idx="41413">
                  <c:v>27023</c:v>
                </c:pt>
                <c:pt idx="41414">
                  <c:v>42507</c:v>
                </c:pt>
                <c:pt idx="41415">
                  <c:v>70576</c:v>
                </c:pt>
                <c:pt idx="41416">
                  <c:v>41015</c:v>
                </c:pt>
                <c:pt idx="41417">
                  <c:v>282685</c:v>
                </c:pt>
                <c:pt idx="41418">
                  <c:v>90054</c:v>
                </c:pt>
                <c:pt idx="41419">
                  <c:v>32903</c:v>
                </c:pt>
                <c:pt idx="41420">
                  <c:v>81734</c:v>
                </c:pt>
                <c:pt idx="41421">
                  <c:v>45739</c:v>
                </c:pt>
                <c:pt idx="41422">
                  <c:v>42651</c:v>
                </c:pt>
                <c:pt idx="41423">
                  <c:v>169416</c:v>
                </c:pt>
                <c:pt idx="41424">
                  <c:v>43686</c:v>
                </c:pt>
                <c:pt idx="41425">
                  <c:v>47635</c:v>
                </c:pt>
                <c:pt idx="41426">
                  <c:v>26995</c:v>
                </c:pt>
                <c:pt idx="41427">
                  <c:v>133917</c:v>
                </c:pt>
                <c:pt idx="41428">
                  <c:v>43624</c:v>
                </c:pt>
                <c:pt idx="41429">
                  <c:v>22527</c:v>
                </c:pt>
                <c:pt idx="41430">
                  <c:v>50349</c:v>
                </c:pt>
                <c:pt idx="41431">
                  <c:v>50109</c:v>
                </c:pt>
                <c:pt idx="41432">
                  <c:v>105236</c:v>
                </c:pt>
                <c:pt idx="41433">
                  <c:v>52118</c:v>
                </c:pt>
                <c:pt idx="41434">
                  <c:v>62868</c:v>
                </c:pt>
                <c:pt idx="41435">
                  <c:v>22188</c:v>
                </c:pt>
                <c:pt idx="41436">
                  <c:v>42901</c:v>
                </c:pt>
                <c:pt idx="41437">
                  <c:v>36669</c:v>
                </c:pt>
                <c:pt idx="41438">
                  <c:v>85503</c:v>
                </c:pt>
                <c:pt idx="41439">
                  <c:v>32747</c:v>
                </c:pt>
                <c:pt idx="41440">
                  <c:v>73645</c:v>
                </c:pt>
                <c:pt idx="41441">
                  <c:v>36163</c:v>
                </c:pt>
                <c:pt idx="41442">
                  <c:v>41959</c:v>
                </c:pt>
                <c:pt idx="41443">
                  <c:v>29330</c:v>
                </c:pt>
                <c:pt idx="41444">
                  <c:v>38319</c:v>
                </c:pt>
                <c:pt idx="41445">
                  <c:v>196494</c:v>
                </c:pt>
                <c:pt idx="41446">
                  <c:v>118215</c:v>
                </c:pt>
                <c:pt idx="41447">
                  <c:v>23457</c:v>
                </c:pt>
                <c:pt idx="41448">
                  <c:v>41007</c:v>
                </c:pt>
                <c:pt idx="41449">
                  <c:v>40020</c:v>
                </c:pt>
                <c:pt idx="41450">
                  <c:v>29635</c:v>
                </c:pt>
                <c:pt idx="41451">
                  <c:v>200261</c:v>
                </c:pt>
                <c:pt idx="41452">
                  <c:v>68043</c:v>
                </c:pt>
                <c:pt idx="41453">
                  <c:v>50688</c:v>
                </c:pt>
                <c:pt idx="41454">
                  <c:v>36320</c:v>
                </c:pt>
                <c:pt idx="41455">
                  <c:v>58303</c:v>
                </c:pt>
                <c:pt idx="41456">
                  <c:v>32548</c:v>
                </c:pt>
                <c:pt idx="41457">
                  <c:v>107526</c:v>
                </c:pt>
                <c:pt idx="41458">
                  <c:v>24814</c:v>
                </c:pt>
                <c:pt idx="41459">
                  <c:v>44638</c:v>
                </c:pt>
                <c:pt idx="41460">
                  <c:v>29928</c:v>
                </c:pt>
                <c:pt idx="41461">
                  <c:v>70692</c:v>
                </c:pt>
                <c:pt idx="41462">
                  <c:v>102542</c:v>
                </c:pt>
                <c:pt idx="41463">
                  <c:v>66818</c:v>
                </c:pt>
                <c:pt idx="41464">
                  <c:v>74624</c:v>
                </c:pt>
                <c:pt idx="41465">
                  <c:v>48487</c:v>
                </c:pt>
                <c:pt idx="41466">
                  <c:v>95606</c:v>
                </c:pt>
                <c:pt idx="41467">
                  <c:v>61812</c:v>
                </c:pt>
                <c:pt idx="41468">
                  <c:v>40720</c:v>
                </c:pt>
                <c:pt idx="41469">
                  <c:v>126500</c:v>
                </c:pt>
                <c:pt idx="41470">
                  <c:v>32563</c:v>
                </c:pt>
                <c:pt idx="41471">
                  <c:v>26181</c:v>
                </c:pt>
                <c:pt idx="41472">
                  <c:v>55498</c:v>
                </c:pt>
                <c:pt idx="41473">
                  <c:v>33319</c:v>
                </c:pt>
                <c:pt idx="41474">
                  <c:v>281444</c:v>
                </c:pt>
                <c:pt idx="41475">
                  <c:v>38543</c:v>
                </c:pt>
                <c:pt idx="41476">
                  <c:v>73056</c:v>
                </c:pt>
                <c:pt idx="41477">
                  <c:v>53726</c:v>
                </c:pt>
                <c:pt idx="41478">
                  <c:v>26284</c:v>
                </c:pt>
                <c:pt idx="41479">
                  <c:v>50157</c:v>
                </c:pt>
                <c:pt idx="41480">
                  <c:v>28947</c:v>
                </c:pt>
                <c:pt idx="41481">
                  <c:v>109228</c:v>
                </c:pt>
                <c:pt idx="41482">
                  <c:v>32587</c:v>
                </c:pt>
                <c:pt idx="41483">
                  <c:v>25194</c:v>
                </c:pt>
                <c:pt idx="41484">
                  <c:v>26641</c:v>
                </c:pt>
                <c:pt idx="41485">
                  <c:v>23265</c:v>
                </c:pt>
                <c:pt idx="41486">
                  <c:v>185864</c:v>
                </c:pt>
                <c:pt idx="41487">
                  <c:v>62938</c:v>
                </c:pt>
                <c:pt idx="41488">
                  <c:v>45724</c:v>
                </c:pt>
                <c:pt idx="41489">
                  <c:v>123658</c:v>
                </c:pt>
                <c:pt idx="41490">
                  <c:v>43012</c:v>
                </c:pt>
                <c:pt idx="41491">
                  <c:v>27743</c:v>
                </c:pt>
                <c:pt idx="41492">
                  <c:v>24706</c:v>
                </c:pt>
                <c:pt idx="41493">
                  <c:v>269638</c:v>
                </c:pt>
                <c:pt idx="41494">
                  <c:v>40564</c:v>
                </c:pt>
                <c:pt idx="41495">
                  <c:v>43809</c:v>
                </c:pt>
                <c:pt idx="41496">
                  <c:v>166773</c:v>
                </c:pt>
                <c:pt idx="41497">
                  <c:v>99011</c:v>
                </c:pt>
                <c:pt idx="41498">
                  <c:v>36812</c:v>
                </c:pt>
                <c:pt idx="41499">
                  <c:v>36770</c:v>
                </c:pt>
                <c:pt idx="41500">
                  <c:v>29561</c:v>
                </c:pt>
                <c:pt idx="41501">
                  <c:v>20835</c:v>
                </c:pt>
                <c:pt idx="41502">
                  <c:v>38168</c:v>
                </c:pt>
                <c:pt idx="41503">
                  <c:v>104893</c:v>
                </c:pt>
                <c:pt idx="41504">
                  <c:v>37325</c:v>
                </c:pt>
                <c:pt idx="41505">
                  <c:v>101369</c:v>
                </c:pt>
                <c:pt idx="41506">
                  <c:v>25206</c:v>
                </c:pt>
                <c:pt idx="41507">
                  <c:v>53466</c:v>
                </c:pt>
                <c:pt idx="41508">
                  <c:v>46271</c:v>
                </c:pt>
                <c:pt idx="41509">
                  <c:v>53195</c:v>
                </c:pt>
                <c:pt idx="41510">
                  <c:v>34314</c:v>
                </c:pt>
                <c:pt idx="41511">
                  <c:v>36066</c:v>
                </c:pt>
                <c:pt idx="41512">
                  <c:v>146745</c:v>
                </c:pt>
                <c:pt idx="41513">
                  <c:v>189490</c:v>
                </c:pt>
                <c:pt idx="41514">
                  <c:v>53834</c:v>
                </c:pt>
                <c:pt idx="41515">
                  <c:v>56252</c:v>
                </c:pt>
                <c:pt idx="41516">
                  <c:v>36343</c:v>
                </c:pt>
                <c:pt idx="41517">
                  <c:v>25336</c:v>
                </c:pt>
                <c:pt idx="41518">
                  <c:v>24315</c:v>
                </c:pt>
                <c:pt idx="41519">
                  <c:v>134307</c:v>
                </c:pt>
                <c:pt idx="41520">
                  <c:v>22717</c:v>
                </c:pt>
                <c:pt idx="41521">
                  <c:v>34706</c:v>
                </c:pt>
                <c:pt idx="41522">
                  <c:v>39663</c:v>
                </c:pt>
                <c:pt idx="41523">
                  <c:v>67928</c:v>
                </c:pt>
                <c:pt idx="41524">
                  <c:v>112014</c:v>
                </c:pt>
                <c:pt idx="41525">
                  <c:v>32057</c:v>
                </c:pt>
                <c:pt idx="41526">
                  <c:v>38061</c:v>
                </c:pt>
                <c:pt idx="41527">
                  <c:v>25992</c:v>
                </c:pt>
                <c:pt idx="41528">
                  <c:v>136685</c:v>
                </c:pt>
                <c:pt idx="41529">
                  <c:v>49349</c:v>
                </c:pt>
                <c:pt idx="41530">
                  <c:v>66960</c:v>
                </c:pt>
                <c:pt idx="41531">
                  <c:v>251715</c:v>
                </c:pt>
                <c:pt idx="41532">
                  <c:v>35161</c:v>
                </c:pt>
                <c:pt idx="41533">
                  <c:v>66657</c:v>
                </c:pt>
                <c:pt idx="41534">
                  <c:v>43324</c:v>
                </c:pt>
                <c:pt idx="41535">
                  <c:v>30633</c:v>
                </c:pt>
                <c:pt idx="41536">
                  <c:v>59228</c:v>
                </c:pt>
                <c:pt idx="41537">
                  <c:v>101126</c:v>
                </c:pt>
                <c:pt idx="41538">
                  <c:v>43007</c:v>
                </c:pt>
                <c:pt idx="41539">
                  <c:v>42803</c:v>
                </c:pt>
                <c:pt idx="41540">
                  <c:v>30760</c:v>
                </c:pt>
                <c:pt idx="41541">
                  <c:v>27059</c:v>
                </c:pt>
                <c:pt idx="41542">
                  <c:v>186890</c:v>
                </c:pt>
                <c:pt idx="41543">
                  <c:v>32091</c:v>
                </c:pt>
                <c:pt idx="41544">
                  <c:v>36935</c:v>
                </c:pt>
                <c:pt idx="41545">
                  <c:v>59632</c:v>
                </c:pt>
                <c:pt idx="41546">
                  <c:v>61128</c:v>
                </c:pt>
                <c:pt idx="41547">
                  <c:v>21828</c:v>
                </c:pt>
                <c:pt idx="41548">
                  <c:v>24117</c:v>
                </c:pt>
                <c:pt idx="41549">
                  <c:v>27773</c:v>
                </c:pt>
                <c:pt idx="41550">
                  <c:v>35012</c:v>
                </c:pt>
                <c:pt idx="41551">
                  <c:v>80787</c:v>
                </c:pt>
                <c:pt idx="41552">
                  <c:v>27789</c:v>
                </c:pt>
                <c:pt idx="41553">
                  <c:v>29086</c:v>
                </c:pt>
                <c:pt idx="41554">
                  <c:v>40933</c:v>
                </c:pt>
                <c:pt idx="41555">
                  <c:v>488761</c:v>
                </c:pt>
                <c:pt idx="41556">
                  <c:v>25292</c:v>
                </c:pt>
                <c:pt idx="41557">
                  <c:v>58850</c:v>
                </c:pt>
                <c:pt idx="41558">
                  <c:v>44688</c:v>
                </c:pt>
                <c:pt idx="41559">
                  <c:v>300560</c:v>
                </c:pt>
                <c:pt idx="41560">
                  <c:v>92186</c:v>
                </c:pt>
                <c:pt idx="41561">
                  <c:v>26366</c:v>
                </c:pt>
                <c:pt idx="41562">
                  <c:v>92268</c:v>
                </c:pt>
                <c:pt idx="41563">
                  <c:v>56165</c:v>
                </c:pt>
                <c:pt idx="41564">
                  <c:v>80073</c:v>
                </c:pt>
                <c:pt idx="41565">
                  <c:v>52027</c:v>
                </c:pt>
                <c:pt idx="41566">
                  <c:v>80605</c:v>
                </c:pt>
                <c:pt idx="41567">
                  <c:v>44924</c:v>
                </c:pt>
                <c:pt idx="41568">
                  <c:v>31249</c:v>
                </c:pt>
                <c:pt idx="41569">
                  <c:v>70009</c:v>
                </c:pt>
                <c:pt idx="41570">
                  <c:v>92453</c:v>
                </c:pt>
                <c:pt idx="41571">
                  <c:v>60468</c:v>
                </c:pt>
                <c:pt idx="41572">
                  <c:v>27698</c:v>
                </c:pt>
                <c:pt idx="41573">
                  <c:v>90119</c:v>
                </c:pt>
                <c:pt idx="41574">
                  <c:v>31879</c:v>
                </c:pt>
                <c:pt idx="41575">
                  <c:v>28052</c:v>
                </c:pt>
                <c:pt idx="41576">
                  <c:v>26098</c:v>
                </c:pt>
                <c:pt idx="41577">
                  <c:v>88968</c:v>
                </c:pt>
                <c:pt idx="41578">
                  <c:v>29287</c:v>
                </c:pt>
                <c:pt idx="41579">
                  <c:v>37605</c:v>
                </c:pt>
                <c:pt idx="41580">
                  <c:v>49430</c:v>
                </c:pt>
                <c:pt idx="41581">
                  <c:v>26706</c:v>
                </c:pt>
                <c:pt idx="41582">
                  <c:v>25328</c:v>
                </c:pt>
                <c:pt idx="41583">
                  <c:v>26093</c:v>
                </c:pt>
                <c:pt idx="41584">
                  <c:v>113724</c:v>
                </c:pt>
                <c:pt idx="41585">
                  <c:v>64520</c:v>
                </c:pt>
                <c:pt idx="41586">
                  <c:v>200012</c:v>
                </c:pt>
                <c:pt idx="41587">
                  <c:v>36675</c:v>
                </c:pt>
                <c:pt idx="41588">
                  <c:v>37290</c:v>
                </c:pt>
                <c:pt idx="41589">
                  <c:v>44641</c:v>
                </c:pt>
                <c:pt idx="41590">
                  <c:v>43658</c:v>
                </c:pt>
                <c:pt idx="41591">
                  <c:v>71484</c:v>
                </c:pt>
                <c:pt idx="41592">
                  <c:v>24451</c:v>
                </c:pt>
                <c:pt idx="41593">
                  <c:v>101120</c:v>
                </c:pt>
                <c:pt idx="41594">
                  <c:v>35429</c:v>
                </c:pt>
                <c:pt idx="41595">
                  <c:v>24154</c:v>
                </c:pt>
                <c:pt idx="41596">
                  <c:v>130034</c:v>
                </c:pt>
                <c:pt idx="41597">
                  <c:v>35925</c:v>
                </c:pt>
                <c:pt idx="41598">
                  <c:v>46307</c:v>
                </c:pt>
                <c:pt idx="41599">
                  <c:v>57343</c:v>
                </c:pt>
                <c:pt idx="41600">
                  <c:v>43718</c:v>
                </c:pt>
                <c:pt idx="41601">
                  <c:v>33177</c:v>
                </c:pt>
                <c:pt idx="41602">
                  <c:v>32133</c:v>
                </c:pt>
                <c:pt idx="41603">
                  <c:v>22626</c:v>
                </c:pt>
                <c:pt idx="41604">
                  <c:v>32703</c:v>
                </c:pt>
                <c:pt idx="41605">
                  <c:v>89975</c:v>
                </c:pt>
                <c:pt idx="41606">
                  <c:v>37580</c:v>
                </c:pt>
                <c:pt idx="41607">
                  <c:v>31212</c:v>
                </c:pt>
                <c:pt idx="41608">
                  <c:v>42443</c:v>
                </c:pt>
                <c:pt idx="41609">
                  <c:v>37089</c:v>
                </c:pt>
                <c:pt idx="41610">
                  <c:v>101550</c:v>
                </c:pt>
                <c:pt idx="41611">
                  <c:v>77120</c:v>
                </c:pt>
                <c:pt idx="41612">
                  <c:v>33506</c:v>
                </c:pt>
                <c:pt idx="41613">
                  <c:v>24954</c:v>
                </c:pt>
                <c:pt idx="41614">
                  <c:v>27667</c:v>
                </c:pt>
                <c:pt idx="41615">
                  <c:v>26835</c:v>
                </c:pt>
                <c:pt idx="41616">
                  <c:v>39170</c:v>
                </c:pt>
                <c:pt idx="41617">
                  <c:v>47175</c:v>
                </c:pt>
                <c:pt idx="41618">
                  <c:v>113548</c:v>
                </c:pt>
                <c:pt idx="41619">
                  <c:v>27405</c:v>
                </c:pt>
                <c:pt idx="41620">
                  <c:v>28063</c:v>
                </c:pt>
                <c:pt idx="41621">
                  <c:v>28204</c:v>
                </c:pt>
                <c:pt idx="41622">
                  <c:v>80939</c:v>
                </c:pt>
                <c:pt idx="41623">
                  <c:v>116354</c:v>
                </c:pt>
                <c:pt idx="41624">
                  <c:v>53007</c:v>
                </c:pt>
                <c:pt idx="41625">
                  <c:v>41865</c:v>
                </c:pt>
                <c:pt idx="41626">
                  <c:v>30861</c:v>
                </c:pt>
                <c:pt idx="41627">
                  <c:v>36986</c:v>
                </c:pt>
                <c:pt idx="41628">
                  <c:v>48924</c:v>
                </c:pt>
                <c:pt idx="41629">
                  <c:v>30498</c:v>
                </c:pt>
                <c:pt idx="41630">
                  <c:v>74474</c:v>
                </c:pt>
                <c:pt idx="41631">
                  <c:v>54151</c:v>
                </c:pt>
                <c:pt idx="41632">
                  <c:v>36360</c:v>
                </c:pt>
                <c:pt idx="41633">
                  <c:v>49196</c:v>
                </c:pt>
                <c:pt idx="41634">
                  <c:v>47533</c:v>
                </c:pt>
                <c:pt idx="41635">
                  <c:v>90284</c:v>
                </c:pt>
                <c:pt idx="41636">
                  <c:v>29389</c:v>
                </c:pt>
                <c:pt idx="41637">
                  <c:v>48568</c:v>
                </c:pt>
                <c:pt idx="41638">
                  <c:v>55096</c:v>
                </c:pt>
                <c:pt idx="41639">
                  <c:v>41132</c:v>
                </c:pt>
                <c:pt idx="41640">
                  <c:v>44615</c:v>
                </c:pt>
                <c:pt idx="41641">
                  <c:v>40378</c:v>
                </c:pt>
                <c:pt idx="41642">
                  <c:v>21023</c:v>
                </c:pt>
                <c:pt idx="41643">
                  <c:v>38379</c:v>
                </c:pt>
                <c:pt idx="41644">
                  <c:v>139136</c:v>
                </c:pt>
                <c:pt idx="41645">
                  <c:v>41702</c:v>
                </c:pt>
                <c:pt idx="41646">
                  <c:v>35258</c:v>
                </c:pt>
                <c:pt idx="41647">
                  <c:v>28062</c:v>
                </c:pt>
                <c:pt idx="41648">
                  <c:v>57663</c:v>
                </c:pt>
                <c:pt idx="41649">
                  <c:v>31741</c:v>
                </c:pt>
                <c:pt idx="41650">
                  <c:v>92575</c:v>
                </c:pt>
                <c:pt idx="41651">
                  <c:v>90377</c:v>
                </c:pt>
                <c:pt idx="41652">
                  <c:v>24946</c:v>
                </c:pt>
                <c:pt idx="41653">
                  <c:v>42867</c:v>
                </c:pt>
                <c:pt idx="41654">
                  <c:v>31843</c:v>
                </c:pt>
                <c:pt idx="41655">
                  <c:v>30415</c:v>
                </c:pt>
                <c:pt idx="41656">
                  <c:v>25334</c:v>
                </c:pt>
                <c:pt idx="41657">
                  <c:v>48733</c:v>
                </c:pt>
                <c:pt idx="41658">
                  <c:v>25700</c:v>
                </c:pt>
                <c:pt idx="41659">
                  <c:v>45764</c:v>
                </c:pt>
                <c:pt idx="41660">
                  <c:v>24862</c:v>
                </c:pt>
                <c:pt idx="41661">
                  <c:v>25440</c:v>
                </c:pt>
                <c:pt idx="41662">
                  <c:v>94106</c:v>
                </c:pt>
                <c:pt idx="41663">
                  <c:v>47322</c:v>
                </c:pt>
                <c:pt idx="41664">
                  <c:v>96532</c:v>
                </c:pt>
                <c:pt idx="41665">
                  <c:v>141884</c:v>
                </c:pt>
                <c:pt idx="41666">
                  <c:v>25689</c:v>
                </c:pt>
                <c:pt idx="41667">
                  <c:v>143415</c:v>
                </c:pt>
                <c:pt idx="41668">
                  <c:v>40778</c:v>
                </c:pt>
                <c:pt idx="41669">
                  <c:v>26401</c:v>
                </c:pt>
                <c:pt idx="41670">
                  <c:v>25638</c:v>
                </c:pt>
                <c:pt idx="41671">
                  <c:v>38843</c:v>
                </c:pt>
                <c:pt idx="41672">
                  <c:v>50073</c:v>
                </c:pt>
                <c:pt idx="41673">
                  <c:v>38397</c:v>
                </c:pt>
                <c:pt idx="41674">
                  <c:v>74133</c:v>
                </c:pt>
                <c:pt idx="41675">
                  <c:v>104570</c:v>
                </c:pt>
                <c:pt idx="41676">
                  <c:v>38480</c:v>
                </c:pt>
                <c:pt idx="41677">
                  <c:v>39153</c:v>
                </c:pt>
                <c:pt idx="41678">
                  <c:v>33933</c:v>
                </c:pt>
                <c:pt idx="41679">
                  <c:v>28308</c:v>
                </c:pt>
                <c:pt idx="41680">
                  <c:v>127743</c:v>
                </c:pt>
                <c:pt idx="41681">
                  <c:v>27158</c:v>
                </c:pt>
                <c:pt idx="41682">
                  <c:v>39494</c:v>
                </c:pt>
                <c:pt idx="41683">
                  <c:v>31476</c:v>
                </c:pt>
                <c:pt idx="41684">
                  <c:v>48850</c:v>
                </c:pt>
                <c:pt idx="41685">
                  <c:v>23547</c:v>
                </c:pt>
                <c:pt idx="41686">
                  <c:v>108681</c:v>
                </c:pt>
                <c:pt idx="41687">
                  <c:v>101417</c:v>
                </c:pt>
                <c:pt idx="41688">
                  <c:v>136178</c:v>
                </c:pt>
                <c:pt idx="41689">
                  <c:v>25566</c:v>
                </c:pt>
                <c:pt idx="41690">
                  <c:v>24228</c:v>
                </c:pt>
                <c:pt idx="41691">
                  <c:v>45106</c:v>
                </c:pt>
                <c:pt idx="41692">
                  <c:v>59509</c:v>
                </c:pt>
                <c:pt idx="41693">
                  <c:v>54187</c:v>
                </c:pt>
                <c:pt idx="41694">
                  <c:v>246491</c:v>
                </c:pt>
                <c:pt idx="41695">
                  <c:v>27018</c:v>
                </c:pt>
                <c:pt idx="41696">
                  <c:v>60735</c:v>
                </c:pt>
                <c:pt idx="41697">
                  <c:v>50668</c:v>
                </c:pt>
                <c:pt idx="41698">
                  <c:v>36597</c:v>
                </c:pt>
                <c:pt idx="41699">
                  <c:v>33164</c:v>
                </c:pt>
                <c:pt idx="41700">
                  <c:v>105446</c:v>
                </c:pt>
                <c:pt idx="41701">
                  <c:v>27660</c:v>
                </c:pt>
                <c:pt idx="41702">
                  <c:v>49287</c:v>
                </c:pt>
                <c:pt idx="41703">
                  <c:v>74859</c:v>
                </c:pt>
                <c:pt idx="41704">
                  <c:v>25585</c:v>
                </c:pt>
                <c:pt idx="41705">
                  <c:v>138763</c:v>
                </c:pt>
                <c:pt idx="41706">
                  <c:v>30814</c:v>
                </c:pt>
                <c:pt idx="41707">
                  <c:v>26493</c:v>
                </c:pt>
                <c:pt idx="41708">
                  <c:v>25212</c:v>
                </c:pt>
                <c:pt idx="41709">
                  <c:v>60748</c:v>
                </c:pt>
                <c:pt idx="41710">
                  <c:v>36366</c:v>
                </c:pt>
                <c:pt idx="41711">
                  <c:v>67740</c:v>
                </c:pt>
                <c:pt idx="41712">
                  <c:v>261451</c:v>
                </c:pt>
                <c:pt idx="41713">
                  <c:v>33876</c:v>
                </c:pt>
                <c:pt idx="41714">
                  <c:v>342099</c:v>
                </c:pt>
                <c:pt idx="41715">
                  <c:v>22976</c:v>
                </c:pt>
                <c:pt idx="41716">
                  <c:v>31110</c:v>
                </c:pt>
                <c:pt idx="41717">
                  <c:v>33305</c:v>
                </c:pt>
                <c:pt idx="41718">
                  <c:v>53545</c:v>
                </c:pt>
                <c:pt idx="41719">
                  <c:v>37082</c:v>
                </c:pt>
                <c:pt idx="41720">
                  <c:v>34414</c:v>
                </c:pt>
                <c:pt idx="41721">
                  <c:v>27332</c:v>
                </c:pt>
                <c:pt idx="41722">
                  <c:v>46873</c:v>
                </c:pt>
                <c:pt idx="41723">
                  <c:v>33599</c:v>
                </c:pt>
                <c:pt idx="41724">
                  <c:v>50614</c:v>
                </c:pt>
                <c:pt idx="41725">
                  <c:v>51618</c:v>
                </c:pt>
                <c:pt idx="41726">
                  <c:v>28365</c:v>
                </c:pt>
                <c:pt idx="41727">
                  <c:v>67613</c:v>
                </c:pt>
                <c:pt idx="41728">
                  <c:v>75863</c:v>
                </c:pt>
                <c:pt idx="41729">
                  <c:v>68006</c:v>
                </c:pt>
                <c:pt idx="41730">
                  <c:v>37021</c:v>
                </c:pt>
                <c:pt idx="41731">
                  <c:v>177832</c:v>
                </c:pt>
                <c:pt idx="41732">
                  <c:v>28461</c:v>
                </c:pt>
                <c:pt idx="41733">
                  <c:v>39741</c:v>
                </c:pt>
                <c:pt idx="41734">
                  <c:v>29646</c:v>
                </c:pt>
                <c:pt idx="41735">
                  <c:v>143348</c:v>
                </c:pt>
                <c:pt idx="41736">
                  <c:v>52945</c:v>
                </c:pt>
                <c:pt idx="41737">
                  <c:v>28627</c:v>
                </c:pt>
                <c:pt idx="41738">
                  <c:v>68243</c:v>
                </c:pt>
                <c:pt idx="41739">
                  <c:v>43719</c:v>
                </c:pt>
                <c:pt idx="41740">
                  <c:v>56953</c:v>
                </c:pt>
                <c:pt idx="41741">
                  <c:v>39023</c:v>
                </c:pt>
                <c:pt idx="41742">
                  <c:v>63233</c:v>
                </c:pt>
                <c:pt idx="41743">
                  <c:v>126822</c:v>
                </c:pt>
                <c:pt idx="41744">
                  <c:v>40976</c:v>
                </c:pt>
                <c:pt idx="41745">
                  <c:v>95539</c:v>
                </c:pt>
                <c:pt idx="41746">
                  <c:v>41552</c:v>
                </c:pt>
                <c:pt idx="41747">
                  <c:v>55032</c:v>
                </c:pt>
                <c:pt idx="41748">
                  <c:v>40577</c:v>
                </c:pt>
                <c:pt idx="41749">
                  <c:v>49139</c:v>
                </c:pt>
                <c:pt idx="41750">
                  <c:v>65219</c:v>
                </c:pt>
                <c:pt idx="41751">
                  <c:v>325910</c:v>
                </c:pt>
                <c:pt idx="41752">
                  <c:v>79206</c:v>
                </c:pt>
                <c:pt idx="41753">
                  <c:v>305712</c:v>
                </c:pt>
                <c:pt idx="41754">
                  <c:v>78351</c:v>
                </c:pt>
                <c:pt idx="41755">
                  <c:v>60133</c:v>
                </c:pt>
                <c:pt idx="41756">
                  <c:v>42437</c:v>
                </c:pt>
                <c:pt idx="41757">
                  <c:v>23644</c:v>
                </c:pt>
                <c:pt idx="41758">
                  <c:v>93860</c:v>
                </c:pt>
                <c:pt idx="41759">
                  <c:v>36390</c:v>
                </c:pt>
                <c:pt idx="41760">
                  <c:v>40610</c:v>
                </c:pt>
                <c:pt idx="41761">
                  <c:v>43875</c:v>
                </c:pt>
                <c:pt idx="41762">
                  <c:v>49550</c:v>
                </c:pt>
                <c:pt idx="41763">
                  <c:v>50392</c:v>
                </c:pt>
                <c:pt idx="41764">
                  <c:v>35794</c:v>
                </c:pt>
                <c:pt idx="41765">
                  <c:v>49684</c:v>
                </c:pt>
                <c:pt idx="41766">
                  <c:v>58757</c:v>
                </c:pt>
                <c:pt idx="41767">
                  <c:v>45685</c:v>
                </c:pt>
                <c:pt idx="41768">
                  <c:v>51647</c:v>
                </c:pt>
                <c:pt idx="41769">
                  <c:v>42400</c:v>
                </c:pt>
                <c:pt idx="41770">
                  <c:v>28110</c:v>
                </c:pt>
                <c:pt idx="41771">
                  <c:v>44273</c:v>
                </c:pt>
                <c:pt idx="41772">
                  <c:v>33152</c:v>
                </c:pt>
                <c:pt idx="41773">
                  <c:v>87770</c:v>
                </c:pt>
                <c:pt idx="41774">
                  <c:v>34621</c:v>
                </c:pt>
                <c:pt idx="41775">
                  <c:v>50828</c:v>
                </c:pt>
                <c:pt idx="41776">
                  <c:v>514147</c:v>
                </c:pt>
                <c:pt idx="41777">
                  <c:v>31999</c:v>
                </c:pt>
                <c:pt idx="41778">
                  <c:v>28300</c:v>
                </c:pt>
                <c:pt idx="41779">
                  <c:v>23647</c:v>
                </c:pt>
                <c:pt idx="41780">
                  <c:v>31775</c:v>
                </c:pt>
                <c:pt idx="41781">
                  <c:v>181347</c:v>
                </c:pt>
                <c:pt idx="41782">
                  <c:v>36048</c:v>
                </c:pt>
                <c:pt idx="41783">
                  <c:v>117240</c:v>
                </c:pt>
                <c:pt idx="41784">
                  <c:v>25640</c:v>
                </c:pt>
                <c:pt idx="41785">
                  <c:v>39398</c:v>
                </c:pt>
                <c:pt idx="41786">
                  <c:v>44868</c:v>
                </c:pt>
                <c:pt idx="41787">
                  <c:v>41086</c:v>
                </c:pt>
                <c:pt idx="41788">
                  <c:v>53530</c:v>
                </c:pt>
                <c:pt idx="41789">
                  <c:v>38612</c:v>
                </c:pt>
                <c:pt idx="41790">
                  <c:v>25806</c:v>
                </c:pt>
                <c:pt idx="41791">
                  <c:v>99047</c:v>
                </c:pt>
                <c:pt idx="41792">
                  <c:v>28996</c:v>
                </c:pt>
                <c:pt idx="41793">
                  <c:v>43145</c:v>
                </c:pt>
                <c:pt idx="41794">
                  <c:v>24797</c:v>
                </c:pt>
                <c:pt idx="41795">
                  <c:v>109470</c:v>
                </c:pt>
                <c:pt idx="41796">
                  <c:v>35280</c:v>
                </c:pt>
                <c:pt idx="41797">
                  <c:v>34567</c:v>
                </c:pt>
                <c:pt idx="41798">
                  <c:v>31849</c:v>
                </c:pt>
                <c:pt idx="41799">
                  <c:v>25560</c:v>
                </c:pt>
                <c:pt idx="41800">
                  <c:v>51832</c:v>
                </c:pt>
                <c:pt idx="41801">
                  <c:v>53086</c:v>
                </c:pt>
                <c:pt idx="41802">
                  <c:v>41337</c:v>
                </c:pt>
                <c:pt idx="41803">
                  <c:v>101415</c:v>
                </c:pt>
                <c:pt idx="41804">
                  <c:v>24779</c:v>
                </c:pt>
                <c:pt idx="41805">
                  <c:v>50148</c:v>
                </c:pt>
                <c:pt idx="41806">
                  <c:v>50783</c:v>
                </c:pt>
                <c:pt idx="41807">
                  <c:v>108886</c:v>
                </c:pt>
                <c:pt idx="41808">
                  <c:v>32977</c:v>
                </c:pt>
                <c:pt idx="41809">
                  <c:v>29017</c:v>
                </c:pt>
                <c:pt idx="41810">
                  <c:v>59479</c:v>
                </c:pt>
                <c:pt idx="41811">
                  <c:v>34702</c:v>
                </c:pt>
                <c:pt idx="41812">
                  <c:v>22951</c:v>
                </c:pt>
                <c:pt idx="41813">
                  <c:v>150773</c:v>
                </c:pt>
                <c:pt idx="41814">
                  <c:v>56779</c:v>
                </c:pt>
                <c:pt idx="41815">
                  <c:v>193581</c:v>
                </c:pt>
                <c:pt idx="41816">
                  <c:v>98334</c:v>
                </c:pt>
                <c:pt idx="41817">
                  <c:v>34273</c:v>
                </c:pt>
                <c:pt idx="41818">
                  <c:v>45723</c:v>
                </c:pt>
                <c:pt idx="41819">
                  <c:v>81676</c:v>
                </c:pt>
                <c:pt idx="41820">
                  <c:v>32482</c:v>
                </c:pt>
                <c:pt idx="41821">
                  <c:v>22175</c:v>
                </c:pt>
                <c:pt idx="41822">
                  <c:v>54372</c:v>
                </c:pt>
                <c:pt idx="41823">
                  <c:v>34143</c:v>
                </c:pt>
                <c:pt idx="41824">
                  <c:v>77794</c:v>
                </c:pt>
                <c:pt idx="41825">
                  <c:v>55408</c:v>
                </c:pt>
                <c:pt idx="41826">
                  <c:v>43990</c:v>
                </c:pt>
                <c:pt idx="41827">
                  <c:v>39152</c:v>
                </c:pt>
                <c:pt idx="41828">
                  <c:v>125676</c:v>
                </c:pt>
                <c:pt idx="41829">
                  <c:v>166469</c:v>
                </c:pt>
                <c:pt idx="41830">
                  <c:v>45395</c:v>
                </c:pt>
                <c:pt idx="41831">
                  <c:v>54894</c:v>
                </c:pt>
                <c:pt idx="41832">
                  <c:v>73703</c:v>
                </c:pt>
                <c:pt idx="41833">
                  <c:v>87680</c:v>
                </c:pt>
                <c:pt idx="41834">
                  <c:v>37231</c:v>
                </c:pt>
                <c:pt idx="41835">
                  <c:v>26883</c:v>
                </c:pt>
                <c:pt idx="41836">
                  <c:v>26255</c:v>
                </c:pt>
                <c:pt idx="41837">
                  <c:v>53831</c:v>
                </c:pt>
                <c:pt idx="41838">
                  <c:v>30253</c:v>
                </c:pt>
                <c:pt idx="41839">
                  <c:v>40753</c:v>
                </c:pt>
                <c:pt idx="41840">
                  <c:v>38119</c:v>
                </c:pt>
                <c:pt idx="41841">
                  <c:v>61466</c:v>
                </c:pt>
                <c:pt idx="41842">
                  <c:v>34400</c:v>
                </c:pt>
                <c:pt idx="41843">
                  <c:v>35517</c:v>
                </c:pt>
                <c:pt idx="41844">
                  <c:v>34205</c:v>
                </c:pt>
                <c:pt idx="41845">
                  <c:v>48734</c:v>
                </c:pt>
                <c:pt idx="41846">
                  <c:v>32228</c:v>
                </c:pt>
                <c:pt idx="41847">
                  <c:v>43613</c:v>
                </c:pt>
                <c:pt idx="41848">
                  <c:v>22695</c:v>
                </c:pt>
                <c:pt idx="41849">
                  <c:v>94762</c:v>
                </c:pt>
                <c:pt idx="41850">
                  <c:v>103082</c:v>
                </c:pt>
                <c:pt idx="41851">
                  <c:v>51011</c:v>
                </c:pt>
                <c:pt idx="41852">
                  <c:v>20126</c:v>
                </c:pt>
                <c:pt idx="41853">
                  <c:v>29218</c:v>
                </c:pt>
                <c:pt idx="41854">
                  <c:v>34688</c:v>
                </c:pt>
                <c:pt idx="41855">
                  <c:v>70158</c:v>
                </c:pt>
                <c:pt idx="41856">
                  <c:v>116941</c:v>
                </c:pt>
                <c:pt idx="41857">
                  <c:v>62798</c:v>
                </c:pt>
                <c:pt idx="41858">
                  <c:v>24639</c:v>
                </c:pt>
                <c:pt idx="41859">
                  <c:v>238328</c:v>
                </c:pt>
                <c:pt idx="41860">
                  <c:v>32515</c:v>
                </c:pt>
                <c:pt idx="41861">
                  <c:v>100787</c:v>
                </c:pt>
                <c:pt idx="41862">
                  <c:v>23618</c:v>
                </c:pt>
                <c:pt idx="41863">
                  <c:v>96504</c:v>
                </c:pt>
                <c:pt idx="41864">
                  <c:v>44204</c:v>
                </c:pt>
                <c:pt idx="41865">
                  <c:v>76962</c:v>
                </c:pt>
                <c:pt idx="41866">
                  <c:v>41150</c:v>
                </c:pt>
                <c:pt idx="41867">
                  <c:v>118393</c:v>
                </c:pt>
                <c:pt idx="41868">
                  <c:v>47832</c:v>
                </c:pt>
                <c:pt idx="41869">
                  <c:v>70731</c:v>
                </c:pt>
                <c:pt idx="41870">
                  <c:v>22669</c:v>
                </c:pt>
                <c:pt idx="41871">
                  <c:v>54194</c:v>
                </c:pt>
                <c:pt idx="41872">
                  <c:v>40462</c:v>
                </c:pt>
                <c:pt idx="41873">
                  <c:v>25601</c:v>
                </c:pt>
                <c:pt idx="41874">
                  <c:v>170567</c:v>
                </c:pt>
                <c:pt idx="41875">
                  <c:v>47675</c:v>
                </c:pt>
                <c:pt idx="41876">
                  <c:v>78146</c:v>
                </c:pt>
                <c:pt idx="41877">
                  <c:v>30103</c:v>
                </c:pt>
                <c:pt idx="41878">
                  <c:v>50105</c:v>
                </c:pt>
                <c:pt idx="41879">
                  <c:v>49073</c:v>
                </c:pt>
                <c:pt idx="41880">
                  <c:v>26376</c:v>
                </c:pt>
                <c:pt idx="41881">
                  <c:v>83451</c:v>
                </c:pt>
                <c:pt idx="41882">
                  <c:v>86039</c:v>
                </c:pt>
                <c:pt idx="41883">
                  <c:v>26916</c:v>
                </c:pt>
                <c:pt idx="41884">
                  <c:v>41376</c:v>
                </c:pt>
                <c:pt idx="41885">
                  <c:v>40184</c:v>
                </c:pt>
                <c:pt idx="41886">
                  <c:v>36802</c:v>
                </c:pt>
                <c:pt idx="41887">
                  <c:v>34768</c:v>
                </c:pt>
                <c:pt idx="41888">
                  <c:v>23782</c:v>
                </c:pt>
                <c:pt idx="41889">
                  <c:v>77742</c:v>
                </c:pt>
                <c:pt idx="41890">
                  <c:v>54545</c:v>
                </c:pt>
                <c:pt idx="41891">
                  <c:v>163107</c:v>
                </c:pt>
                <c:pt idx="41892">
                  <c:v>36883</c:v>
                </c:pt>
                <c:pt idx="41893">
                  <c:v>210539</c:v>
                </c:pt>
                <c:pt idx="41894">
                  <c:v>41193</c:v>
                </c:pt>
                <c:pt idx="41895">
                  <c:v>60324</c:v>
                </c:pt>
                <c:pt idx="41896">
                  <c:v>41245</c:v>
                </c:pt>
                <c:pt idx="41897">
                  <c:v>47486</c:v>
                </c:pt>
                <c:pt idx="41898">
                  <c:v>99325</c:v>
                </c:pt>
                <c:pt idx="41899">
                  <c:v>131671</c:v>
                </c:pt>
                <c:pt idx="41900">
                  <c:v>29505</c:v>
                </c:pt>
                <c:pt idx="41901">
                  <c:v>32134</c:v>
                </c:pt>
                <c:pt idx="41902">
                  <c:v>40119</c:v>
                </c:pt>
                <c:pt idx="41903">
                  <c:v>36218</c:v>
                </c:pt>
                <c:pt idx="41904">
                  <c:v>42411</c:v>
                </c:pt>
                <c:pt idx="41905">
                  <c:v>26075</c:v>
                </c:pt>
                <c:pt idx="41906">
                  <c:v>33173</c:v>
                </c:pt>
                <c:pt idx="41907">
                  <c:v>43301</c:v>
                </c:pt>
                <c:pt idx="41908">
                  <c:v>79941</c:v>
                </c:pt>
                <c:pt idx="41909">
                  <c:v>27423</c:v>
                </c:pt>
                <c:pt idx="41910">
                  <c:v>31694</c:v>
                </c:pt>
                <c:pt idx="41911">
                  <c:v>38009</c:v>
                </c:pt>
                <c:pt idx="41912">
                  <c:v>68713</c:v>
                </c:pt>
                <c:pt idx="41913">
                  <c:v>37997</c:v>
                </c:pt>
                <c:pt idx="41914">
                  <c:v>34450</c:v>
                </c:pt>
                <c:pt idx="41915">
                  <c:v>66589</c:v>
                </c:pt>
                <c:pt idx="41916">
                  <c:v>51502</c:v>
                </c:pt>
                <c:pt idx="41917">
                  <c:v>337822</c:v>
                </c:pt>
                <c:pt idx="41918">
                  <c:v>52808</c:v>
                </c:pt>
                <c:pt idx="41919">
                  <c:v>73370</c:v>
                </c:pt>
                <c:pt idx="41920">
                  <c:v>35253</c:v>
                </c:pt>
                <c:pt idx="41921">
                  <c:v>26889</c:v>
                </c:pt>
                <c:pt idx="41922">
                  <c:v>136753</c:v>
                </c:pt>
                <c:pt idx="41923">
                  <c:v>28892</c:v>
                </c:pt>
                <c:pt idx="41924">
                  <c:v>51506</c:v>
                </c:pt>
                <c:pt idx="41925">
                  <c:v>36484</c:v>
                </c:pt>
                <c:pt idx="41926">
                  <c:v>55970</c:v>
                </c:pt>
                <c:pt idx="41927">
                  <c:v>77923</c:v>
                </c:pt>
                <c:pt idx="41928">
                  <c:v>170361</c:v>
                </c:pt>
                <c:pt idx="41929">
                  <c:v>29597</c:v>
                </c:pt>
                <c:pt idx="41930">
                  <c:v>33562</c:v>
                </c:pt>
                <c:pt idx="41931">
                  <c:v>45718</c:v>
                </c:pt>
                <c:pt idx="41932">
                  <c:v>37929</c:v>
                </c:pt>
                <c:pt idx="41933">
                  <c:v>34480</c:v>
                </c:pt>
                <c:pt idx="41934">
                  <c:v>38318</c:v>
                </c:pt>
                <c:pt idx="41935">
                  <c:v>117213</c:v>
                </c:pt>
                <c:pt idx="41936">
                  <c:v>106348</c:v>
                </c:pt>
                <c:pt idx="41937">
                  <c:v>23930</c:v>
                </c:pt>
                <c:pt idx="41938">
                  <c:v>39171</c:v>
                </c:pt>
                <c:pt idx="41939">
                  <c:v>43791</c:v>
                </c:pt>
                <c:pt idx="41940">
                  <c:v>29624</c:v>
                </c:pt>
                <c:pt idx="41941">
                  <c:v>60808</c:v>
                </c:pt>
                <c:pt idx="41942">
                  <c:v>179272</c:v>
                </c:pt>
                <c:pt idx="41943">
                  <c:v>250021</c:v>
                </c:pt>
                <c:pt idx="41944">
                  <c:v>48163</c:v>
                </c:pt>
                <c:pt idx="41945">
                  <c:v>42194</c:v>
                </c:pt>
                <c:pt idx="41946">
                  <c:v>36909</c:v>
                </c:pt>
                <c:pt idx="41947">
                  <c:v>135709</c:v>
                </c:pt>
                <c:pt idx="41948">
                  <c:v>27802</c:v>
                </c:pt>
                <c:pt idx="41949">
                  <c:v>23798</c:v>
                </c:pt>
                <c:pt idx="41950">
                  <c:v>25944</c:v>
                </c:pt>
                <c:pt idx="41951">
                  <c:v>70391</c:v>
                </c:pt>
                <c:pt idx="41952">
                  <c:v>54677</c:v>
                </c:pt>
                <c:pt idx="41953">
                  <c:v>42095</c:v>
                </c:pt>
                <c:pt idx="41954">
                  <c:v>34691</c:v>
                </c:pt>
                <c:pt idx="41955">
                  <c:v>50663</c:v>
                </c:pt>
                <c:pt idx="41956">
                  <c:v>33920</c:v>
                </c:pt>
                <c:pt idx="41957">
                  <c:v>23917</c:v>
                </c:pt>
                <c:pt idx="41958">
                  <c:v>100219</c:v>
                </c:pt>
                <c:pt idx="41959">
                  <c:v>20384</c:v>
                </c:pt>
                <c:pt idx="41960">
                  <c:v>135457</c:v>
                </c:pt>
                <c:pt idx="41961">
                  <c:v>65474</c:v>
                </c:pt>
                <c:pt idx="41962">
                  <c:v>39503</c:v>
                </c:pt>
                <c:pt idx="41963">
                  <c:v>228586</c:v>
                </c:pt>
                <c:pt idx="41964">
                  <c:v>27155</c:v>
                </c:pt>
                <c:pt idx="41965">
                  <c:v>70886</c:v>
                </c:pt>
                <c:pt idx="41966">
                  <c:v>31245</c:v>
                </c:pt>
                <c:pt idx="41967">
                  <c:v>36755</c:v>
                </c:pt>
                <c:pt idx="41968">
                  <c:v>39731</c:v>
                </c:pt>
                <c:pt idx="41969">
                  <c:v>32601</c:v>
                </c:pt>
                <c:pt idx="41970">
                  <c:v>35964</c:v>
                </c:pt>
                <c:pt idx="41971">
                  <c:v>62824</c:v>
                </c:pt>
                <c:pt idx="41972">
                  <c:v>31363</c:v>
                </c:pt>
                <c:pt idx="41973">
                  <c:v>60375</c:v>
                </c:pt>
                <c:pt idx="41974">
                  <c:v>24496</c:v>
                </c:pt>
                <c:pt idx="41975">
                  <c:v>37960</c:v>
                </c:pt>
                <c:pt idx="41976">
                  <c:v>116314</c:v>
                </c:pt>
                <c:pt idx="41977">
                  <c:v>50860</c:v>
                </c:pt>
                <c:pt idx="41978">
                  <c:v>49974</c:v>
                </c:pt>
                <c:pt idx="41979">
                  <c:v>31827</c:v>
                </c:pt>
                <c:pt idx="41980">
                  <c:v>43773</c:v>
                </c:pt>
                <c:pt idx="41981">
                  <c:v>64719</c:v>
                </c:pt>
                <c:pt idx="41982">
                  <c:v>28723</c:v>
                </c:pt>
                <c:pt idx="41983">
                  <c:v>100101</c:v>
                </c:pt>
                <c:pt idx="41984">
                  <c:v>56624</c:v>
                </c:pt>
                <c:pt idx="41985">
                  <c:v>20325</c:v>
                </c:pt>
                <c:pt idx="41986">
                  <c:v>168168</c:v>
                </c:pt>
                <c:pt idx="41987">
                  <c:v>46893</c:v>
                </c:pt>
                <c:pt idx="41988">
                  <c:v>60640</c:v>
                </c:pt>
                <c:pt idx="41989">
                  <c:v>61914</c:v>
                </c:pt>
                <c:pt idx="41990">
                  <c:v>25629</c:v>
                </c:pt>
                <c:pt idx="41991">
                  <c:v>30593</c:v>
                </c:pt>
                <c:pt idx="41992">
                  <c:v>37211</c:v>
                </c:pt>
                <c:pt idx="41993">
                  <c:v>74032</c:v>
                </c:pt>
                <c:pt idx="41994">
                  <c:v>85317</c:v>
                </c:pt>
                <c:pt idx="41995">
                  <c:v>37559</c:v>
                </c:pt>
                <c:pt idx="41996">
                  <c:v>34071</c:v>
                </c:pt>
                <c:pt idx="41997">
                  <c:v>42483</c:v>
                </c:pt>
                <c:pt idx="41998">
                  <c:v>22069</c:v>
                </c:pt>
                <c:pt idx="41999">
                  <c:v>36258</c:v>
                </c:pt>
                <c:pt idx="42000">
                  <c:v>62899</c:v>
                </c:pt>
                <c:pt idx="42001">
                  <c:v>113762</c:v>
                </c:pt>
                <c:pt idx="42002">
                  <c:v>48374</c:v>
                </c:pt>
                <c:pt idx="42003">
                  <c:v>43602</c:v>
                </c:pt>
                <c:pt idx="42004">
                  <c:v>56382</c:v>
                </c:pt>
                <c:pt idx="42005">
                  <c:v>119544</c:v>
                </c:pt>
                <c:pt idx="42006">
                  <c:v>61492</c:v>
                </c:pt>
                <c:pt idx="42007">
                  <c:v>219028</c:v>
                </c:pt>
                <c:pt idx="42008">
                  <c:v>33977</c:v>
                </c:pt>
                <c:pt idx="42009">
                  <c:v>70375</c:v>
                </c:pt>
                <c:pt idx="42010">
                  <c:v>49787</c:v>
                </c:pt>
                <c:pt idx="42011">
                  <c:v>35123</c:v>
                </c:pt>
                <c:pt idx="42012">
                  <c:v>80311</c:v>
                </c:pt>
                <c:pt idx="42013">
                  <c:v>33851</c:v>
                </c:pt>
                <c:pt idx="42014">
                  <c:v>29936</c:v>
                </c:pt>
                <c:pt idx="42015">
                  <c:v>32283</c:v>
                </c:pt>
                <c:pt idx="42016">
                  <c:v>26756</c:v>
                </c:pt>
                <c:pt idx="42017">
                  <c:v>37996</c:v>
                </c:pt>
                <c:pt idx="42018">
                  <c:v>49765</c:v>
                </c:pt>
                <c:pt idx="42019">
                  <c:v>39483</c:v>
                </c:pt>
                <c:pt idx="42020">
                  <c:v>68570</c:v>
                </c:pt>
                <c:pt idx="42021">
                  <c:v>35966</c:v>
                </c:pt>
                <c:pt idx="42022">
                  <c:v>27662</c:v>
                </c:pt>
                <c:pt idx="42023">
                  <c:v>21854</c:v>
                </c:pt>
                <c:pt idx="42024">
                  <c:v>52727</c:v>
                </c:pt>
                <c:pt idx="42025">
                  <c:v>59239</c:v>
                </c:pt>
                <c:pt idx="42026">
                  <c:v>29903</c:v>
                </c:pt>
                <c:pt idx="42027">
                  <c:v>29872</c:v>
                </c:pt>
                <c:pt idx="42028">
                  <c:v>84343</c:v>
                </c:pt>
                <c:pt idx="42029">
                  <c:v>54210</c:v>
                </c:pt>
                <c:pt idx="42030">
                  <c:v>25217</c:v>
                </c:pt>
                <c:pt idx="42031">
                  <c:v>49124</c:v>
                </c:pt>
                <c:pt idx="42032">
                  <c:v>46336</c:v>
                </c:pt>
                <c:pt idx="42033">
                  <c:v>40476</c:v>
                </c:pt>
                <c:pt idx="42034">
                  <c:v>24206</c:v>
                </c:pt>
                <c:pt idx="42035">
                  <c:v>55726</c:v>
                </c:pt>
                <c:pt idx="42036">
                  <c:v>36318</c:v>
                </c:pt>
                <c:pt idx="42037">
                  <c:v>24570</c:v>
                </c:pt>
                <c:pt idx="42038">
                  <c:v>28676</c:v>
                </c:pt>
                <c:pt idx="42039">
                  <c:v>30370</c:v>
                </c:pt>
                <c:pt idx="42040">
                  <c:v>27154</c:v>
                </c:pt>
                <c:pt idx="42041">
                  <c:v>68816</c:v>
                </c:pt>
                <c:pt idx="42042">
                  <c:v>42551</c:v>
                </c:pt>
                <c:pt idx="42043">
                  <c:v>22536</c:v>
                </c:pt>
                <c:pt idx="42044">
                  <c:v>36697</c:v>
                </c:pt>
                <c:pt idx="42045">
                  <c:v>40095</c:v>
                </c:pt>
                <c:pt idx="42046">
                  <c:v>37951</c:v>
                </c:pt>
                <c:pt idx="42047">
                  <c:v>114742</c:v>
                </c:pt>
                <c:pt idx="42048">
                  <c:v>46913</c:v>
                </c:pt>
                <c:pt idx="42049">
                  <c:v>45061</c:v>
                </c:pt>
                <c:pt idx="42050">
                  <c:v>43441</c:v>
                </c:pt>
                <c:pt idx="42051">
                  <c:v>163415</c:v>
                </c:pt>
                <c:pt idx="42052">
                  <c:v>37855</c:v>
                </c:pt>
                <c:pt idx="42053">
                  <c:v>32751</c:v>
                </c:pt>
                <c:pt idx="42054">
                  <c:v>65386</c:v>
                </c:pt>
                <c:pt idx="42055">
                  <c:v>29425</c:v>
                </c:pt>
                <c:pt idx="42056">
                  <c:v>336545</c:v>
                </c:pt>
                <c:pt idx="42057">
                  <c:v>46841</c:v>
                </c:pt>
                <c:pt idx="42058">
                  <c:v>54223</c:v>
                </c:pt>
                <c:pt idx="42059">
                  <c:v>45891</c:v>
                </c:pt>
                <c:pt idx="42060">
                  <c:v>31951</c:v>
                </c:pt>
                <c:pt idx="42061">
                  <c:v>41390</c:v>
                </c:pt>
                <c:pt idx="42062">
                  <c:v>130323</c:v>
                </c:pt>
                <c:pt idx="42063">
                  <c:v>20038</c:v>
                </c:pt>
                <c:pt idx="42064">
                  <c:v>70280</c:v>
                </c:pt>
                <c:pt idx="42065">
                  <c:v>33395</c:v>
                </c:pt>
                <c:pt idx="42066">
                  <c:v>35999</c:v>
                </c:pt>
                <c:pt idx="42067">
                  <c:v>22834</c:v>
                </c:pt>
                <c:pt idx="42068">
                  <c:v>36017</c:v>
                </c:pt>
                <c:pt idx="42069">
                  <c:v>65326</c:v>
                </c:pt>
                <c:pt idx="42070">
                  <c:v>37484</c:v>
                </c:pt>
                <c:pt idx="42071">
                  <c:v>92139</c:v>
                </c:pt>
                <c:pt idx="42072">
                  <c:v>21005</c:v>
                </c:pt>
                <c:pt idx="42073">
                  <c:v>54021</c:v>
                </c:pt>
                <c:pt idx="42074">
                  <c:v>132433</c:v>
                </c:pt>
                <c:pt idx="42075">
                  <c:v>53322</c:v>
                </c:pt>
                <c:pt idx="42076">
                  <c:v>189676</c:v>
                </c:pt>
                <c:pt idx="42077">
                  <c:v>27266</c:v>
                </c:pt>
                <c:pt idx="42078">
                  <c:v>47496</c:v>
                </c:pt>
                <c:pt idx="42079">
                  <c:v>25373</c:v>
                </c:pt>
                <c:pt idx="42080">
                  <c:v>45318</c:v>
                </c:pt>
                <c:pt idx="42081">
                  <c:v>96769</c:v>
                </c:pt>
                <c:pt idx="42082">
                  <c:v>86758</c:v>
                </c:pt>
                <c:pt idx="42083">
                  <c:v>27536</c:v>
                </c:pt>
                <c:pt idx="42084">
                  <c:v>118740</c:v>
                </c:pt>
                <c:pt idx="42085">
                  <c:v>38998</c:v>
                </c:pt>
                <c:pt idx="42086">
                  <c:v>83580</c:v>
                </c:pt>
                <c:pt idx="42087">
                  <c:v>56436</c:v>
                </c:pt>
                <c:pt idx="42088">
                  <c:v>21703</c:v>
                </c:pt>
                <c:pt idx="42089">
                  <c:v>70322</c:v>
                </c:pt>
                <c:pt idx="42090">
                  <c:v>101490</c:v>
                </c:pt>
                <c:pt idx="42091">
                  <c:v>43090</c:v>
                </c:pt>
                <c:pt idx="42092">
                  <c:v>41453</c:v>
                </c:pt>
                <c:pt idx="42093">
                  <c:v>29006</c:v>
                </c:pt>
                <c:pt idx="42094">
                  <c:v>35160</c:v>
                </c:pt>
                <c:pt idx="42095">
                  <c:v>80344</c:v>
                </c:pt>
                <c:pt idx="42096">
                  <c:v>43470</c:v>
                </c:pt>
                <c:pt idx="42097">
                  <c:v>30431</c:v>
                </c:pt>
                <c:pt idx="42098">
                  <c:v>53893</c:v>
                </c:pt>
                <c:pt idx="42099">
                  <c:v>65325</c:v>
                </c:pt>
                <c:pt idx="42100">
                  <c:v>47035</c:v>
                </c:pt>
                <c:pt idx="42101">
                  <c:v>23364</c:v>
                </c:pt>
                <c:pt idx="42102">
                  <c:v>32989</c:v>
                </c:pt>
                <c:pt idx="42103">
                  <c:v>32584</c:v>
                </c:pt>
                <c:pt idx="42104">
                  <c:v>35885</c:v>
                </c:pt>
                <c:pt idx="42105">
                  <c:v>45354</c:v>
                </c:pt>
                <c:pt idx="42106">
                  <c:v>43112</c:v>
                </c:pt>
                <c:pt idx="42107">
                  <c:v>27396</c:v>
                </c:pt>
                <c:pt idx="42108">
                  <c:v>40291</c:v>
                </c:pt>
                <c:pt idx="42109">
                  <c:v>38940</c:v>
                </c:pt>
                <c:pt idx="42110">
                  <c:v>40182</c:v>
                </c:pt>
                <c:pt idx="42111">
                  <c:v>39895</c:v>
                </c:pt>
                <c:pt idx="42112">
                  <c:v>203980</c:v>
                </c:pt>
                <c:pt idx="42113">
                  <c:v>41883</c:v>
                </c:pt>
                <c:pt idx="42114">
                  <c:v>61892</c:v>
                </c:pt>
                <c:pt idx="42115">
                  <c:v>24837</c:v>
                </c:pt>
                <c:pt idx="42116">
                  <c:v>32544</c:v>
                </c:pt>
                <c:pt idx="42117">
                  <c:v>21206</c:v>
                </c:pt>
                <c:pt idx="42118">
                  <c:v>133210</c:v>
                </c:pt>
                <c:pt idx="42119">
                  <c:v>34404</c:v>
                </c:pt>
                <c:pt idx="42120">
                  <c:v>62998</c:v>
                </c:pt>
                <c:pt idx="42121">
                  <c:v>27970</c:v>
                </c:pt>
                <c:pt idx="42122">
                  <c:v>19034</c:v>
                </c:pt>
                <c:pt idx="42123">
                  <c:v>72496</c:v>
                </c:pt>
                <c:pt idx="42124">
                  <c:v>176082</c:v>
                </c:pt>
                <c:pt idx="42125">
                  <c:v>55628</c:v>
                </c:pt>
                <c:pt idx="42126">
                  <c:v>26040</c:v>
                </c:pt>
                <c:pt idx="42127">
                  <c:v>106965</c:v>
                </c:pt>
                <c:pt idx="42128">
                  <c:v>31991</c:v>
                </c:pt>
                <c:pt idx="42129">
                  <c:v>44729</c:v>
                </c:pt>
                <c:pt idx="42130">
                  <c:v>30135</c:v>
                </c:pt>
                <c:pt idx="42131">
                  <c:v>26771</c:v>
                </c:pt>
                <c:pt idx="42132">
                  <c:v>95929</c:v>
                </c:pt>
                <c:pt idx="42133">
                  <c:v>40605</c:v>
                </c:pt>
                <c:pt idx="42134">
                  <c:v>29853</c:v>
                </c:pt>
                <c:pt idx="42135">
                  <c:v>36624</c:v>
                </c:pt>
                <c:pt idx="42136">
                  <c:v>145406</c:v>
                </c:pt>
                <c:pt idx="42137">
                  <c:v>30601</c:v>
                </c:pt>
                <c:pt idx="42138">
                  <c:v>39527</c:v>
                </c:pt>
                <c:pt idx="42139">
                  <c:v>27625</c:v>
                </c:pt>
                <c:pt idx="42140">
                  <c:v>115173</c:v>
                </c:pt>
                <c:pt idx="42141">
                  <c:v>35961</c:v>
                </c:pt>
                <c:pt idx="42142">
                  <c:v>71765</c:v>
                </c:pt>
                <c:pt idx="42143">
                  <c:v>66162</c:v>
                </c:pt>
                <c:pt idx="42144">
                  <c:v>88235</c:v>
                </c:pt>
                <c:pt idx="42145">
                  <c:v>236337</c:v>
                </c:pt>
                <c:pt idx="42146">
                  <c:v>25695</c:v>
                </c:pt>
                <c:pt idx="42147">
                  <c:v>26991</c:v>
                </c:pt>
                <c:pt idx="42148">
                  <c:v>57646</c:v>
                </c:pt>
                <c:pt idx="42149">
                  <c:v>37352</c:v>
                </c:pt>
                <c:pt idx="42150">
                  <c:v>40632</c:v>
                </c:pt>
                <c:pt idx="42151">
                  <c:v>123164</c:v>
                </c:pt>
                <c:pt idx="42152">
                  <c:v>26017</c:v>
                </c:pt>
                <c:pt idx="42153">
                  <c:v>84666</c:v>
                </c:pt>
                <c:pt idx="42154">
                  <c:v>53315</c:v>
                </c:pt>
                <c:pt idx="42155">
                  <c:v>70405</c:v>
                </c:pt>
                <c:pt idx="42156">
                  <c:v>20760</c:v>
                </c:pt>
                <c:pt idx="42157">
                  <c:v>62186</c:v>
                </c:pt>
                <c:pt idx="42158">
                  <c:v>64489</c:v>
                </c:pt>
                <c:pt idx="42159">
                  <c:v>138930</c:v>
                </c:pt>
                <c:pt idx="42160">
                  <c:v>39465</c:v>
                </c:pt>
                <c:pt idx="42161">
                  <c:v>46465</c:v>
                </c:pt>
                <c:pt idx="42162">
                  <c:v>52509</c:v>
                </c:pt>
                <c:pt idx="42163">
                  <c:v>41653</c:v>
                </c:pt>
                <c:pt idx="42164">
                  <c:v>51268</c:v>
                </c:pt>
                <c:pt idx="42165">
                  <c:v>131325</c:v>
                </c:pt>
                <c:pt idx="42166">
                  <c:v>41119</c:v>
                </c:pt>
                <c:pt idx="42167">
                  <c:v>43068</c:v>
                </c:pt>
                <c:pt idx="42168">
                  <c:v>55744</c:v>
                </c:pt>
                <c:pt idx="42169">
                  <c:v>26093</c:v>
                </c:pt>
                <c:pt idx="42170">
                  <c:v>35973</c:v>
                </c:pt>
                <c:pt idx="42171">
                  <c:v>27976</c:v>
                </c:pt>
                <c:pt idx="42172">
                  <c:v>30005</c:v>
                </c:pt>
                <c:pt idx="42173">
                  <c:v>45834</c:v>
                </c:pt>
                <c:pt idx="42174">
                  <c:v>26085</c:v>
                </c:pt>
                <c:pt idx="42175">
                  <c:v>34751</c:v>
                </c:pt>
                <c:pt idx="42176">
                  <c:v>40333</c:v>
                </c:pt>
                <c:pt idx="42177">
                  <c:v>43340</c:v>
                </c:pt>
                <c:pt idx="42178">
                  <c:v>54317</c:v>
                </c:pt>
                <c:pt idx="42179">
                  <c:v>150489</c:v>
                </c:pt>
                <c:pt idx="42180">
                  <c:v>42857</c:v>
                </c:pt>
                <c:pt idx="42181">
                  <c:v>26000</c:v>
                </c:pt>
                <c:pt idx="42182">
                  <c:v>67095</c:v>
                </c:pt>
                <c:pt idx="42183">
                  <c:v>35367</c:v>
                </c:pt>
                <c:pt idx="42184">
                  <c:v>40122</c:v>
                </c:pt>
                <c:pt idx="42185">
                  <c:v>72248</c:v>
                </c:pt>
                <c:pt idx="42186">
                  <c:v>49926</c:v>
                </c:pt>
                <c:pt idx="42187">
                  <c:v>40255</c:v>
                </c:pt>
                <c:pt idx="42188">
                  <c:v>33899</c:v>
                </c:pt>
                <c:pt idx="42189">
                  <c:v>24456</c:v>
                </c:pt>
                <c:pt idx="42190">
                  <c:v>22271</c:v>
                </c:pt>
                <c:pt idx="42191">
                  <c:v>100884</c:v>
                </c:pt>
                <c:pt idx="42192">
                  <c:v>33531</c:v>
                </c:pt>
                <c:pt idx="42193">
                  <c:v>24546</c:v>
                </c:pt>
                <c:pt idx="42194">
                  <c:v>48265</c:v>
                </c:pt>
                <c:pt idx="42195">
                  <c:v>100827</c:v>
                </c:pt>
                <c:pt idx="42196">
                  <c:v>67862</c:v>
                </c:pt>
                <c:pt idx="42197">
                  <c:v>43345</c:v>
                </c:pt>
                <c:pt idx="42198">
                  <c:v>46406</c:v>
                </c:pt>
                <c:pt idx="42199">
                  <c:v>224202</c:v>
                </c:pt>
                <c:pt idx="42200">
                  <c:v>37049</c:v>
                </c:pt>
                <c:pt idx="42201">
                  <c:v>37361</c:v>
                </c:pt>
                <c:pt idx="42202">
                  <c:v>28858</c:v>
                </c:pt>
                <c:pt idx="42203">
                  <c:v>29550</c:v>
                </c:pt>
                <c:pt idx="42204">
                  <c:v>34542</c:v>
                </c:pt>
                <c:pt idx="42205">
                  <c:v>61094</c:v>
                </c:pt>
                <c:pt idx="42206">
                  <c:v>42360</c:v>
                </c:pt>
                <c:pt idx="42207">
                  <c:v>101483</c:v>
                </c:pt>
                <c:pt idx="42208">
                  <c:v>79697</c:v>
                </c:pt>
                <c:pt idx="42209">
                  <c:v>53298</c:v>
                </c:pt>
                <c:pt idx="42210">
                  <c:v>300861</c:v>
                </c:pt>
                <c:pt idx="42211">
                  <c:v>93990</c:v>
                </c:pt>
                <c:pt idx="42212">
                  <c:v>103140</c:v>
                </c:pt>
                <c:pt idx="42213">
                  <c:v>42897</c:v>
                </c:pt>
                <c:pt idx="42214">
                  <c:v>37239</c:v>
                </c:pt>
                <c:pt idx="42215">
                  <c:v>29107</c:v>
                </c:pt>
                <c:pt idx="42216">
                  <c:v>26397</c:v>
                </c:pt>
                <c:pt idx="42217">
                  <c:v>155486</c:v>
                </c:pt>
                <c:pt idx="42218">
                  <c:v>44703</c:v>
                </c:pt>
                <c:pt idx="42219">
                  <c:v>79167</c:v>
                </c:pt>
                <c:pt idx="42220">
                  <c:v>150187</c:v>
                </c:pt>
                <c:pt idx="42221">
                  <c:v>37921</c:v>
                </c:pt>
                <c:pt idx="42222">
                  <c:v>24954</c:v>
                </c:pt>
                <c:pt idx="42223">
                  <c:v>36965</c:v>
                </c:pt>
                <c:pt idx="42224">
                  <c:v>134981</c:v>
                </c:pt>
                <c:pt idx="42225">
                  <c:v>34943</c:v>
                </c:pt>
                <c:pt idx="42226">
                  <c:v>46018</c:v>
                </c:pt>
                <c:pt idx="42227">
                  <c:v>28683</c:v>
                </c:pt>
                <c:pt idx="42228">
                  <c:v>30139</c:v>
                </c:pt>
                <c:pt idx="42229">
                  <c:v>34365</c:v>
                </c:pt>
                <c:pt idx="42230">
                  <c:v>124682</c:v>
                </c:pt>
                <c:pt idx="42231">
                  <c:v>50904</c:v>
                </c:pt>
                <c:pt idx="42232">
                  <c:v>20442</c:v>
                </c:pt>
                <c:pt idx="42233">
                  <c:v>15000</c:v>
                </c:pt>
                <c:pt idx="42234">
                  <c:v>32736</c:v>
                </c:pt>
                <c:pt idx="42235">
                  <c:v>41227</c:v>
                </c:pt>
                <c:pt idx="42236">
                  <c:v>37837</c:v>
                </c:pt>
                <c:pt idx="42237">
                  <c:v>195537</c:v>
                </c:pt>
                <c:pt idx="42238">
                  <c:v>46382</c:v>
                </c:pt>
                <c:pt idx="42239">
                  <c:v>46049</c:v>
                </c:pt>
                <c:pt idx="42240">
                  <c:v>64796</c:v>
                </c:pt>
                <c:pt idx="42241">
                  <c:v>31785</c:v>
                </c:pt>
                <c:pt idx="42242">
                  <c:v>56842</c:v>
                </c:pt>
                <c:pt idx="42243">
                  <c:v>27626</c:v>
                </c:pt>
                <c:pt idx="42244">
                  <c:v>39389</c:v>
                </c:pt>
                <c:pt idx="42245">
                  <c:v>101351</c:v>
                </c:pt>
                <c:pt idx="42246">
                  <c:v>49252</c:v>
                </c:pt>
                <c:pt idx="42247">
                  <c:v>69247</c:v>
                </c:pt>
                <c:pt idx="42248">
                  <c:v>37722</c:v>
                </c:pt>
                <c:pt idx="42249">
                  <c:v>77022</c:v>
                </c:pt>
                <c:pt idx="42250">
                  <c:v>59932</c:v>
                </c:pt>
                <c:pt idx="42251">
                  <c:v>41880</c:v>
                </c:pt>
                <c:pt idx="42252">
                  <c:v>38859</c:v>
                </c:pt>
                <c:pt idx="42253">
                  <c:v>28558</c:v>
                </c:pt>
                <c:pt idx="42254">
                  <c:v>52132</c:v>
                </c:pt>
                <c:pt idx="42255">
                  <c:v>217312</c:v>
                </c:pt>
                <c:pt idx="42256">
                  <c:v>27756</c:v>
                </c:pt>
                <c:pt idx="42257">
                  <c:v>44746</c:v>
                </c:pt>
                <c:pt idx="42258">
                  <c:v>39817</c:v>
                </c:pt>
                <c:pt idx="42259">
                  <c:v>36380</c:v>
                </c:pt>
                <c:pt idx="42260">
                  <c:v>136019</c:v>
                </c:pt>
                <c:pt idx="42261">
                  <c:v>52671</c:v>
                </c:pt>
                <c:pt idx="42262">
                  <c:v>51254</c:v>
                </c:pt>
                <c:pt idx="42263">
                  <c:v>27028</c:v>
                </c:pt>
                <c:pt idx="42264">
                  <c:v>24584</c:v>
                </c:pt>
                <c:pt idx="42265">
                  <c:v>150802</c:v>
                </c:pt>
                <c:pt idx="42266">
                  <c:v>36110</c:v>
                </c:pt>
                <c:pt idx="42267">
                  <c:v>39956</c:v>
                </c:pt>
                <c:pt idx="42268">
                  <c:v>74046</c:v>
                </c:pt>
                <c:pt idx="42269">
                  <c:v>40254</c:v>
                </c:pt>
                <c:pt idx="42270">
                  <c:v>43929</c:v>
                </c:pt>
                <c:pt idx="42271">
                  <c:v>89540</c:v>
                </c:pt>
                <c:pt idx="42272">
                  <c:v>36985</c:v>
                </c:pt>
                <c:pt idx="42273">
                  <c:v>36128</c:v>
                </c:pt>
                <c:pt idx="42274">
                  <c:v>68495</c:v>
                </c:pt>
                <c:pt idx="42275">
                  <c:v>54472</c:v>
                </c:pt>
                <c:pt idx="42276">
                  <c:v>31996</c:v>
                </c:pt>
                <c:pt idx="42277">
                  <c:v>58113</c:v>
                </c:pt>
                <c:pt idx="42278">
                  <c:v>34785</c:v>
                </c:pt>
                <c:pt idx="42279">
                  <c:v>54954</c:v>
                </c:pt>
                <c:pt idx="42280">
                  <c:v>49403</c:v>
                </c:pt>
                <c:pt idx="42281">
                  <c:v>49590</c:v>
                </c:pt>
                <c:pt idx="42282">
                  <c:v>43696</c:v>
                </c:pt>
                <c:pt idx="42283">
                  <c:v>31839</c:v>
                </c:pt>
                <c:pt idx="42284">
                  <c:v>37167</c:v>
                </c:pt>
                <c:pt idx="42285">
                  <c:v>110069</c:v>
                </c:pt>
                <c:pt idx="42286">
                  <c:v>35034</c:v>
                </c:pt>
                <c:pt idx="42287">
                  <c:v>67439</c:v>
                </c:pt>
                <c:pt idx="42288">
                  <c:v>39628</c:v>
                </c:pt>
                <c:pt idx="42289">
                  <c:v>55578</c:v>
                </c:pt>
                <c:pt idx="42290">
                  <c:v>41873</c:v>
                </c:pt>
                <c:pt idx="42291">
                  <c:v>51611</c:v>
                </c:pt>
                <c:pt idx="42292">
                  <c:v>47534</c:v>
                </c:pt>
                <c:pt idx="42293">
                  <c:v>21956</c:v>
                </c:pt>
                <c:pt idx="42294">
                  <c:v>43729</c:v>
                </c:pt>
                <c:pt idx="42295">
                  <c:v>35830</c:v>
                </c:pt>
                <c:pt idx="42296">
                  <c:v>45913</c:v>
                </c:pt>
                <c:pt idx="42297">
                  <c:v>24146</c:v>
                </c:pt>
                <c:pt idx="42298">
                  <c:v>41652</c:v>
                </c:pt>
                <c:pt idx="42299">
                  <c:v>35760</c:v>
                </c:pt>
                <c:pt idx="42300">
                  <c:v>52467</c:v>
                </c:pt>
                <c:pt idx="42301">
                  <c:v>41396</c:v>
                </c:pt>
                <c:pt idx="42302">
                  <c:v>72589</c:v>
                </c:pt>
                <c:pt idx="42303">
                  <c:v>32904</c:v>
                </c:pt>
                <c:pt idx="42304">
                  <c:v>28277</c:v>
                </c:pt>
                <c:pt idx="42305">
                  <c:v>24759</c:v>
                </c:pt>
                <c:pt idx="42306">
                  <c:v>42165</c:v>
                </c:pt>
                <c:pt idx="42307">
                  <c:v>48528</c:v>
                </c:pt>
                <c:pt idx="42308">
                  <c:v>56286</c:v>
                </c:pt>
                <c:pt idx="42309">
                  <c:v>30871</c:v>
                </c:pt>
                <c:pt idx="42310">
                  <c:v>27355</c:v>
                </c:pt>
                <c:pt idx="42311">
                  <c:v>51484</c:v>
                </c:pt>
                <c:pt idx="42312">
                  <c:v>55550</c:v>
                </c:pt>
                <c:pt idx="42313">
                  <c:v>56316</c:v>
                </c:pt>
                <c:pt idx="42314">
                  <c:v>195679</c:v>
                </c:pt>
                <c:pt idx="42315">
                  <c:v>44955</c:v>
                </c:pt>
                <c:pt idx="42316">
                  <c:v>42150</c:v>
                </c:pt>
                <c:pt idx="42317">
                  <c:v>61016</c:v>
                </c:pt>
                <c:pt idx="42318">
                  <c:v>40152</c:v>
                </c:pt>
                <c:pt idx="42319">
                  <c:v>22111</c:v>
                </c:pt>
                <c:pt idx="42320">
                  <c:v>39582</c:v>
                </c:pt>
                <c:pt idx="42321">
                  <c:v>49551</c:v>
                </c:pt>
                <c:pt idx="42322">
                  <c:v>137456</c:v>
                </c:pt>
                <c:pt idx="42323">
                  <c:v>41683</c:v>
                </c:pt>
                <c:pt idx="42324">
                  <c:v>84538</c:v>
                </c:pt>
                <c:pt idx="42325">
                  <c:v>26691</c:v>
                </c:pt>
                <c:pt idx="42326">
                  <c:v>52822</c:v>
                </c:pt>
                <c:pt idx="42327">
                  <c:v>25613</c:v>
                </c:pt>
                <c:pt idx="42328">
                  <c:v>37042</c:v>
                </c:pt>
                <c:pt idx="42329">
                  <c:v>29883</c:v>
                </c:pt>
                <c:pt idx="42330">
                  <c:v>39654</c:v>
                </c:pt>
                <c:pt idx="42331">
                  <c:v>126812</c:v>
                </c:pt>
                <c:pt idx="42332">
                  <c:v>47619</c:v>
                </c:pt>
                <c:pt idx="42333">
                  <c:v>49775</c:v>
                </c:pt>
                <c:pt idx="42334">
                  <c:v>86161</c:v>
                </c:pt>
                <c:pt idx="42335">
                  <c:v>49539</c:v>
                </c:pt>
                <c:pt idx="42336">
                  <c:v>26375</c:v>
                </c:pt>
                <c:pt idx="42337">
                  <c:v>40710</c:v>
                </c:pt>
                <c:pt idx="42338">
                  <c:v>43173</c:v>
                </c:pt>
                <c:pt idx="42339">
                  <c:v>54644</c:v>
                </c:pt>
                <c:pt idx="42340">
                  <c:v>67313</c:v>
                </c:pt>
                <c:pt idx="42341">
                  <c:v>33827</c:v>
                </c:pt>
                <c:pt idx="42342">
                  <c:v>29533</c:v>
                </c:pt>
                <c:pt idx="42343">
                  <c:v>25452</c:v>
                </c:pt>
                <c:pt idx="42344">
                  <c:v>24590</c:v>
                </c:pt>
                <c:pt idx="42345">
                  <c:v>63087</c:v>
                </c:pt>
                <c:pt idx="42346">
                  <c:v>68848</c:v>
                </c:pt>
                <c:pt idx="42347">
                  <c:v>21223</c:v>
                </c:pt>
                <c:pt idx="42348">
                  <c:v>27718</c:v>
                </c:pt>
                <c:pt idx="42349">
                  <c:v>52313</c:v>
                </c:pt>
                <c:pt idx="42350">
                  <c:v>40709</c:v>
                </c:pt>
                <c:pt idx="42351">
                  <c:v>146997</c:v>
                </c:pt>
                <c:pt idx="42352">
                  <c:v>57911</c:v>
                </c:pt>
                <c:pt idx="42353">
                  <c:v>62005</c:v>
                </c:pt>
                <c:pt idx="42354">
                  <c:v>51737</c:v>
                </c:pt>
                <c:pt idx="42355">
                  <c:v>257413</c:v>
                </c:pt>
                <c:pt idx="42356">
                  <c:v>48282</c:v>
                </c:pt>
                <c:pt idx="42357">
                  <c:v>45815</c:v>
                </c:pt>
                <c:pt idx="42358">
                  <c:v>26778</c:v>
                </c:pt>
                <c:pt idx="42359">
                  <c:v>35932</c:v>
                </c:pt>
                <c:pt idx="42360">
                  <c:v>46479</c:v>
                </c:pt>
                <c:pt idx="42361">
                  <c:v>37886</c:v>
                </c:pt>
                <c:pt idx="42362">
                  <c:v>27576</c:v>
                </c:pt>
                <c:pt idx="42363">
                  <c:v>35895</c:v>
                </c:pt>
                <c:pt idx="42364">
                  <c:v>100603</c:v>
                </c:pt>
                <c:pt idx="42365">
                  <c:v>22225</c:v>
                </c:pt>
                <c:pt idx="42366">
                  <c:v>78197</c:v>
                </c:pt>
                <c:pt idx="42367">
                  <c:v>47308</c:v>
                </c:pt>
                <c:pt idx="42368">
                  <c:v>25246</c:v>
                </c:pt>
                <c:pt idx="42369">
                  <c:v>55657</c:v>
                </c:pt>
                <c:pt idx="42370">
                  <c:v>25682</c:v>
                </c:pt>
                <c:pt idx="42371">
                  <c:v>74021</c:v>
                </c:pt>
                <c:pt idx="42372">
                  <c:v>112474</c:v>
                </c:pt>
                <c:pt idx="42373">
                  <c:v>92705</c:v>
                </c:pt>
                <c:pt idx="42374">
                  <c:v>82580</c:v>
                </c:pt>
                <c:pt idx="42375">
                  <c:v>139110</c:v>
                </c:pt>
                <c:pt idx="42376">
                  <c:v>28198</c:v>
                </c:pt>
                <c:pt idx="42377">
                  <c:v>93330</c:v>
                </c:pt>
                <c:pt idx="42378">
                  <c:v>34341</c:v>
                </c:pt>
                <c:pt idx="42379">
                  <c:v>19707</c:v>
                </c:pt>
                <c:pt idx="42380">
                  <c:v>52868</c:v>
                </c:pt>
                <c:pt idx="42381">
                  <c:v>25897</c:v>
                </c:pt>
                <c:pt idx="42382">
                  <c:v>85776</c:v>
                </c:pt>
                <c:pt idx="42383">
                  <c:v>48142</c:v>
                </c:pt>
                <c:pt idx="42384">
                  <c:v>51362</c:v>
                </c:pt>
                <c:pt idx="42385">
                  <c:v>35517</c:v>
                </c:pt>
                <c:pt idx="42386">
                  <c:v>35886</c:v>
                </c:pt>
                <c:pt idx="42387">
                  <c:v>47512</c:v>
                </c:pt>
                <c:pt idx="42388">
                  <c:v>25342</c:v>
                </c:pt>
                <c:pt idx="42389">
                  <c:v>35522</c:v>
                </c:pt>
                <c:pt idx="42390">
                  <c:v>38620</c:v>
                </c:pt>
                <c:pt idx="42391">
                  <c:v>87791</c:v>
                </c:pt>
                <c:pt idx="42392">
                  <c:v>63312</c:v>
                </c:pt>
                <c:pt idx="42393">
                  <c:v>50542</c:v>
                </c:pt>
                <c:pt idx="42394">
                  <c:v>56243</c:v>
                </c:pt>
                <c:pt idx="42395">
                  <c:v>34888</c:v>
                </c:pt>
                <c:pt idx="42396">
                  <c:v>26069</c:v>
                </c:pt>
                <c:pt idx="42397">
                  <c:v>25003</c:v>
                </c:pt>
                <c:pt idx="42398">
                  <c:v>26377</c:v>
                </c:pt>
                <c:pt idx="42399">
                  <c:v>26771</c:v>
                </c:pt>
                <c:pt idx="42400">
                  <c:v>70085</c:v>
                </c:pt>
                <c:pt idx="42401">
                  <c:v>26759</c:v>
                </c:pt>
                <c:pt idx="42402">
                  <c:v>36860</c:v>
                </c:pt>
                <c:pt idx="42403">
                  <c:v>43817</c:v>
                </c:pt>
                <c:pt idx="42404">
                  <c:v>48155</c:v>
                </c:pt>
                <c:pt idx="42405">
                  <c:v>51895</c:v>
                </c:pt>
                <c:pt idx="42406">
                  <c:v>29711</c:v>
                </c:pt>
                <c:pt idx="42407">
                  <c:v>94581</c:v>
                </c:pt>
                <c:pt idx="42408">
                  <c:v>90184</c:v>
                </c:pt>
                <c:pt idx="42409">
                  <c:v>54183</c:v>
                </c:pt>
                <c:pt idx="42410">
                  <c:v>49638</c:v>
                </c:pt>
                <c:pt idx="42411">
                  <c:v>26114</c:v>
                </c:pt>
                <c:pt idx="42412">
                  <c:v>81827</c:v>
                </c:pt>
                <c:pt idx="42413">
                  <c:v>28176</c:v>
                </c:pt>
                <c:pt idx="42414">
                  <c:v>43120</c:v>
                </c:pt>
                <c:pt idx="42415">
                  <c:v>101912</c:v>
                </c:pt>
                <c:pt idx="42416">
                  <c:v>164504</c:v>
                </c:pt>
                <c:pt idx="42417">
                  <c:v>24360</c:v>
                </c:pt>
                <c:pt idx="42418">
                  <c:v>57770</c:v>
                </c:pt>
                <c:pt idx="42419">
                  <c:v>75406</c:v>
                </c:pt>
                <c:pt idx="42420">
                  <c:v>281760</c:v>
                </c:pt>
                <c:pt idx="42421">
                  <c:v>40870</c:v>
                </c:pt>
                <c:pt idx="42422">
                  <c:v>79414</c:v>
                </c:pt>
                <c:pt idx="42423">
                  <c:v>25619</c:v>
                </c:pt>
                <c:pt idx="42424">
                  <c:v>67540</c:v>
                </c:pt>
                <c:pt idx="42425">
                  <c:v>170996</c:v>
                </c:pt>
                <c:pt idx="42426">
                  <c:v>52744</c:v>
                </c:pt>
                <c:pt idx="42427">
                  <c:v>124479</c:v>
                </c:pt>
                <c:pt idx="42428">
                  <c:v>51762</c:v>
                </c:pt>
                <c:pt idx="42429">
                  <c:v>27766</c:v>
                </c:pt>
                <c:pt idx="42430">
                  <c:v>39058</c:v>
                </c:pt>
                <c:pt idx="42431">
                  <c:v>28231</c:v>
                </c:pt>
                <c:pt idx="42432">
                  <c:v>52468</c:v>
                </c:pt>
                <c:pt idx="42433">
                  <c:v>47624</c:v>
                </c:pt>
                <c:pt idx="42434">
                  <c:v>24035</c:v>
                </c:pt>
                <c:pt idx="42435">
                  <c:v>34684</c:v>
                </c:pt>
                <c:pt idx="42436">
                  <c:v>157348</c:v>
                </c:pt>
                <c:pt idx="42437">
                  <c:v>51624</c:v>
                </c:pt>
                <c:pt idx="42438">
                  <c:v>28190</c:v>
                </c:pt>
                <c:pt idx="42439">
                  <c:v>47170</c:v>
                </c:pt>
                <c:pt idx="42440">
                  <c:v>66803</c:v>
                </c:pt>
                <c:pt idx="42441">
                  <c:v>59056</c:v>
                </c:pt>
                <c:pt idx="42442">
                  <c:v>67982</c:v>
                </c:pt>
                <c:pt idx="42443">
                  <c:v>33066</c:v>
                </c:pt>
                <c:pt idx="42444">
                  <c:v>86221</c:v>
                </c:pt>
                <c:pt idx="42445">
                  <c:v>35816</c:v>
                </c:pt>
                <c:pt idx="42446">
                  <c:v>42928</c:v>
                </c:pt>
                <c:pt idx="42447">
                  <c:v>55599</c:v>
                </c:pt>
                <c:pt idx="42448">
                  <c:v>158872</c:v>
                </c:pt>
                <c:pt idx="42449">
                  <c:v>25292</c:v>
                </c:pt>
                <c:pt idx="42450">
                  <c:v>87383</c:v>
                </c:pt>
                <c:pt idx="42451">
                  <c:v>41547</c:v>
                </c:pt>
                <c:pt idx="42452">
                  <c:v>35349</c:v>
                </c:pt>
                <c:pt idx="42453">
                  <c:v>60263</c:v>
                </c:pt>
                <c:pt idx="42454">
                  <c:v>41219</c:v>
                </c:pt>
                <c:pt idx="42455">
                  <c:v>39884</c:v>
                </c:pt>
                <c:pt idx="42456">
                  <c:v>78047</c:v>
                </c:pt>
                <c:pt idx="42457">
                  <c:v>64687</c:v>
                </c:pt>
                <c:pt idx="42458">
                  <c:v>23872</c:v>
                </c:pt>
                <c:pt idx="42459">
                  <c:v>39817</c:v>
                </c:pt>
                <c:pt idx="42460">
                  <c:v>46253</c:v>
                </c:pt>
                <c:pt idx="42461">
                  <c:v>24697</c:v>
                </c:pt>
                <c:pt idx="42462">
                  <c:v>35246</c:v>
                </c:pt>
                <c:pt idx="42463">
                  <c:v>51116</c:v>
                </c:pt>
                <c:pt idx="42464">
                  <c:v>42329</c:v>
                </c:pt>
                <c:pt idx="42465">
                  <c:v>48040</c:v>
                </c:pt>
                <c:pt idx="42466">
                  <c:v>23231</c:v>
                </c:pt>
                <c:pt idx="42467">
                  <c:v>32247</c:v>
                </c:pt>
                <c:pt idx="42468">
                  <c:v>91525</c:v>
                </c:pt>
                <c:pt idx="42469">
                  <c:v>68513</c:v>
                </c:pt>
                <c:pt idx="42470">
                  <c:v>46876</c:v>
                </c:pt>
                <c:pt idx="42471">
                  <c:v>48401</c:v>
                </c:pt>
                <c:pt idx="42472">
                  <c:v>77418</c:v>
                </c:pt>
                <c:pt idx="42473">
                  <c:v>37500</c:v>
                </c:pt>
                <c:pt idx="42474">
                  <c:v>37959</c:v>
                </c:pt>
                <c:pt idx="42475">
                  <c:v>48347</c:v>
                </c:pt>
                <c:pt idx="42476">
                  <c:v>40829</c:v>
                </c:pt>
                <c:pt idx="42477">
                  <c:v>94847</c:v>
                </c:pt>
                <c:pt idx="42478">
                  <c:v>56054</c:v>
                </c:pt>
                <c:pt idx="42479">
                  <c:v>24757</c:v>
                </c:pt>
                <c:pt idx="42480">
                  <c:v>41744</c:v>
                </c:pt>
                <c:pt idx="42481">
                  <c:v>76904</c:v>
                </c:pt>
                <c:pt idx="42482">
                  <c:v>25100</c:v>
                </c:pt>
                <c:pt idx="42483">
                  <c:v>65196</c:v>
                </c:pt>
                <c:pt idx="42484">
                  <c:v>24219</c:v>
                </c:pt>
                <c:pt idx="42485">
                  <c:v>92428</c:v>
                </c:pt>
                <c:pt idx="42486">
                  <c:v>77595</c:v>
                </c:pt>
                <c:pt idx="42487">
                  <c:v>30890</c:v>
                </c:pt>
                <c:pt idx="42488">
                  <c:v>37457</c:v>
                </c:pt>
                <c:pt idx="42489">
                  <c:v>23920</c:v>
                </c:pt>
                <c:pt idx="42490">
                  <c:v>99131</c:v>
                </c:pt>
                <c:pt idx="42491">
                  <c:v>40663</c:v>
                </c:pt>
                <c:pt idx="42492">
                  <c:v>36794</c:v>
                </c:pt>
                <c:pt idx="42493">
                  <c:v>42077</c:v>
                </c:pt>
                <c:pt idx="42494">
                  <c:v>55634</c:v>
                </c:pt>
                <c:pt idx="42495">
                  <c:v>21829</c:v>
                </c:pt>
                <c:pt idx="42496">
                  <c:v>70844</c:v>
                </c:pt>
                <c:pt idx="42497">
                  <c:v>47893</c:v>
                </c:pt>
                <c:pt idx="42498">
                  <c:v>48682</c:v>
                </c:pt>
                <c:pt idx="42499">
                  <c:v>46479</c:v>
                </c:pt>
                <c:pt idx="42500">
                  <c:v>73886</c:v>
                </c:pt>
                <c:pt idx="42501">
                  <c:v>171715</c:v>
                </c:pt>
                <c:pt idx="42502">
                  <c:v>38478</c:v>
                </c:pt>
                <c:pt idx="42503">
                  <c:v>41700</c:v>
                </c:pt>
                <c:pt idx="42504">
                  <c:v>326672</c:v>
                </c:pt>
                <c:pt idx="42505">
                  <c:v>41258</c:v>
                </c:pt>
                <c:pt idx="42506">
                  <c:v>120635</c:v>
                </c:pt>
                <c:pt idx="42507">
                  <c:v>34177</c:v>
                </c:pt>
                <c:pt idx="42508">
                  <c:v>22254</c:v>
                </c:pt>
                <c:pt idx="42509">
                  <c:v>20387</c:v>
                </c:pt>
                <c:pt idx="42510">
                  <c:v>92448</c:v>
                </c:pt>
                <c:pt idx="42511">
                  <c:v>121856</c:v>
                </c:pt>
                <c:pt idx="42512">
                  <c:v>267560</c:v>
                </c:pt>
                <c:pt idx="42513">
                  <c:v>33761</c:v>
                </c:pt>
                <c:pt idx="42514">
                  <c:v>25896</c:v>
                </c:pt>
                <c:pt idx="42515">
                  <c:v>60936</c:v>
                </c:pt>
                <c:pt idx="42516">
                  <c:v>26345</c:v>
                </c:pt>
                <c:pt idx="42517">
                  <c:v>101950</c:v>
                </c:pt>
                <c:pt idx="42518">
                  <c:v>45271</c:v>
                </c:pt>
                <c:pt idx="42519">
                  <c:v>30723</c:v>
                </c:pt>
                <c:pt idx="42520">
                  <c:v>38209</c:v>
                </c:pt>
                <c:pt idx="42521">
                  <c:v>42493</c:v>
                </c:pt>
                <c:pt idx="42522">
                  <c:v>36006</c:v>
                </c:pt>
                <c:pt idx="42523">
                  <c:v>43662</c:v>
                </c:pt>
                <c:pt idx="42524">
                  <c:v>49302</c:v>
                </c:pt>
                <c:pt idx="42525">
                  <c:v>23837</c:v>
                </c:pt>
                <c:pt idx="42526">
                  <c:v>36805</c:v>
                </c:pt>
                <c:pt idx="42527">
                  <c:v>38295</c:v>
                </c:pt>
                <c:pt idx="42528">
                  <c:v>32165</c:v>
                </c:pt>
                <c:pt idx="42529">
                  <c:v>26238</c:v>
                </c:pt>
                <c:pt idx="42530">
                  <c:v>112121</c:v>
                </c:pt>
                <c:pt idx="42531">
                  <c:v>47954</c:v>
                </c:pt>
                <c:pt idx="42532">
                  <c:v>46209</c:v>
                </c:pt>
                <c:pt idx="42533">
                  <c:v>33748</c:v>
                </c:pt>
                <c:pt idx="42534">
                  <c:v>28704</c:v>
                </c:pt>
                <c:pt idx="42535">
                  <c:v>28538</c:v>
                </c:pt>
                <c:pt idx="42536">
                  <c:v>72400</c:v>
                </c:pt>
                <c:pt idx="42537">
                  <c:v>29224</c:v>
                </c:pt>
                <c:pt idx="42538">
                  <c:v>27818</c:v>
                </c:pt>
                <c:pt idx="42539">
                  <c:v>35295</c:v>
                </c:pt>
                <c:pt idx="42540">
                  <c:v>39829</c:v>
                </c:pt>
                <c:pt idx="42541">
                  <c:v>76016</c:v>
                </c:pt>
                <c:pt idx="42542">
                  <c:v>25567</c:v>
                </c:pt>
                <c:pt idx="42543">
                  <c:v>112598</c:v>
                </c:pt>
                <c:pt idx="42544">
                  <c:v>31531</c:v>
                </c:pt>
                <c:pt idx="42545">
                  <c:v>143478</c:v>
                </c:pt>
                <c:pt idx="42546">
                  <c:v>31084</c:v>
                </c:pt>
                <c:pt idx="42547">
                  <c:v>64279</c:v>
                </c:pt>
                <c:pt idx="42548">
                  <c:v>36381</c:v>
                </c:pt>
                <c:pt idx="42549">
                  <c:v>53774</c:v>
                </c:pt>
                <c:pt idx="42550">
                  <c:v>36046</c:v>
                </c:pt>
                <c:pt idx="42551">
                  <c:v>43709</c:v>
                </c:pt>
                <c:pt idx="42552">
                  <c:v>43035</c:v>
                </c:pt>
                <c:pt idx="42553">
                  <c:v>81533</c:v>
                </c:pt>
                <c:pt idx="42554">
                  <c:v>34104</c:v>
                </c:pt>
                <c:pt idx="42555">
                  <c:v>71910</c:v>
                </c:pt>
                <c:pt idx="42556">
                  <c:v>29481</c:v>
                </c:pt>
                <c:pt idx="42557">
                  <c:v>41186</c:v>
                </c:pt>
                <c:pt idx="42558">
                  <c:v>33445</c:v>
                </c:pt>
                <c:pt idx="42559">
                  <c:v>336894</c:v>
                </c:pt>
                <c:pt idx="42560">
                  <c:v>159243</c:v>
                </c:pt>
                <c:pt idx="42561">
                  <c:v>40772</c:v>
                </c:pt>
                <c:pt idx="42562">
                  <c:v>107308</c:v>
                </c:pt>
                <c:pt idx="42563">
                  <c:v>28459</c:v>
                </c:pt>
                <c:pt idx="42564">
                  <c:v>35869</c:v>
                </c:pt>
                <c:pt idx="42565">
                  <c:v>30602</c:v>
                </c:pt>
                <c:pt idx="42566">
                  <c:v>50191</c:v>
                </c:pt>
                <c:pt idx="42567">
                  <c:v>35148</c:v>
                </c:pt>
                <c:pt idx="42568">
                  <c:v>42425</c:v>
                </c:pt>
                <c:pt idx="42569">
                  <c:v>52724</c:v>
                </c:pt>
                <c:pt idx="42570">
                  <c:v>102966</c:v>
                </c:pt>
                <c:pt idx="42571">
                  <c:v>38823</c:v>
                </c:pt>
                <c:pt idx="42572">
                  <c:v>48774</c:v>
                </c:pt>
                <c:pt idx="42573">
                  <c:v>44956</c:v>
                </c:pt>
                <c:pt idx="42574">
                  <c:v>48523</c:v>
                </c:pt>
                <c:pt idx="42575">
                  <c:v>59429</c:v>
                </c:pt>
                <c:pt idx="42576">
                  <c:v>71669</c:v>
                </c:pt>
                <c:pt idx="42577">
                  <c:v>65367</c:v>
                </c:pt>
                <c:pt idx="42578">
                  <c:v>44586</c:v>
                </c:pt>
                <c:pt idx="42579">
                  <c:v>36776</c:v>
                </c:pt>
                <c:pt idx="42580">
                  <c:v>45941</c:v>
                </c:pt>
                <c:pt idx="42581">
                  <c:v>48561</c:v>
                </c:pt>
                <c:pt idx="42582">
                  <c:v>44418</c:v>
                </c:pt>
                <c:pt idx="42583">
                  <c:v>36521</c:v>
                </c:pt>
                <c:pt idx="42584">
                  <c:v>38555</c:v>
                </c:pt>
                <c:pt idx="42585">
                  <c:v>55654</c:v>
                </c:pt>
                <c:pt idx="42586">
                  <c:v>36860</c:v>
                </c:pt>
                <c:pt idx="42587">
                  <c:v>45789</c:v>
                </c:pt>
                <c:pt idx="42588">
                  <c:v>23840</c:v>
                </c:pt>
                <c:pt idx="42589">
                  <c:v>26608</c:v>
                </c:pt>
                <c:pt idx="42590">
                  <c:v>34976</c:v>
                </c:pt>
                <c:pt idx="42591">
                  <c:v>67225</c:v>
                </c:pt>
                <c:pt idx="42592">
                  <c:v>103118</c:v>
                </c:pt>
                <c:pt idx="42593">
                  <c:v>48707</c:v>
                </c:pt>
                <c:pt idx="42594">
                  <c:v>105614</c:v>
                </c:pt>
                <c:pt idx="42595">
                  <c:v>34740</c:v>
                </c:pt>
                <c:pt idx="42596">
                  <c:v>56231</c:v>
                </c:pt>
                <c:pt idx="42597">
                  <c:v>45011</c:v>
                </c:pt>
                <c:pt idx="42598">
                  <c:v>35065</c:v>
                </c:pt>
                <c:pt idx="42599">
                  <c:v>22575</c:v>
                </c:pt>
                <c:pt idx="42600">
                  <c:v>39937</c:v>
                </c:pt>
                <c:pt idx="42601">
                  <c:v>33871</c:v>
                </c:pt>
                <c:pt idx="42602">
                  <c:v>36637</c:v>
                </c:pt>
                <c:pt idx="42603">
                  <c:v>24563</c:v>
                </c:pt>
                <c:pt idx="42604">
                  <c:v>34054</c:v>
                </c:pt>
                <c:pt idx="42605">
                  <c:v>49267</c:v>
                </c:pt>
                <c:pt idx="42606">
                  <c:v>76250</c:v>
                </c:pt>
                <c:pt idx="42607">
                  <c:v>29587</c:v>
                </c:pt>
                <c:pt idx="42608">
                  <c:v>37653</c:v>
                </c:pt>
                <c:pt idx="42609">
                  <c:v>34507</c:v>
                </c:pt>
                <c:pt idx="42610">
                  <c:v>83246</c:v>
                </c:pt>
                <c:pt idx="42611">
                  <c:v>151862</c:v>
                </c:pt>
                <c:pt idx="42612">
                  <c:v>42335</c:v>
                </c:pt>
                <c:pt idx="42613">
                  <c:v>25455</c:v>
                </c:pt>
                <c:pt idx="42614">
                  <c:v>50175</c:v>
                </c:pt>
                <c:pt idx="42615">
                  <c:v>36008</c:v>
                </c:pt>
                <c:pt idx="42616">
                  <c:v>33358</c:v>
                </c:pt>
                <c:pt idx="42617">
                  <c:v>37005</c:v>
                </c:pt>
                <c:pt idx="42618">
                  <c:v>29617</c:v>
                </c:pt>
                <c:pt idx="42619">
                  <c:v>29165</c:v>
                </c:pt>
                <c:pt idx="42620">
                  <c:v>64110</c:v>
                </c:pt>
                <c:pt idx="42621">
                  <c:v>22166</c:v>
                </c:pt>
                <c:pt idx="42622">
                  <c:v>20164</c:v>
                </c:pt>
                <c:pt idx="42623">
                  <c:v>52905</c:v>
                </c:pt>
                <c:pt idx="42624">
                  <c:v>23478</c:v>
                </c:pt>
                <c:pt idx="42625">
                  <c:v>71466</c:v>
                </c:pt>
                <c:pt idx="42626">
                  <c:v>25317</c:v>
                </c:pt>
                <c:pt idx="42627">
                  <c:v>88702</c:v>
                </c:pt>
                <c:pt idx="42628">
                  <c:v>142843</c:v>
                </c:pt>
                <c:pt idx="42629">
                  <c:v>45368</c:v>
                </c:pt>
                <c:pt idx="42630">
                  <c:v>41383</c:v>
                </c:pt>
                <c:pt idx="42631">
                  <c:v>30093</c:v>
                </c:pt>
                <c:pt idx="42632">
                  <c:v>106887</c:v>
                </c:pt>
                <c:pt idx="42633">
                  <c:v>59861</c:v>
                </c:pt>
                <c:pt idx="42634">
                  <c:v>106553</c:v>
                </c:pt>
                <c:pt idx="42635">
                  <c:v>32121</c:v>
                </c:pt>
                <c:pt idx="42636">
                  <c:v>85001</c:v>
                </c:pt>
                <c:pt idx="42637">
                  <c:v>28069</c:v>
                </c:pt>
                <c:pt idx="42638">
                  <c:v>69334</c:v>
                </c:pt>
                <c:pt idx="42639">
                  <c:v>94843</c:v>
                </c:pt>
                <c:pt idx="42640">
                  <c:v>35932</c:v>
                </c:pt>
                <c:pt idx="42641">
                  <c:v>46494</c:v>
                </c:pt>
                <c:pt idx="42642">
                  <c:v>42099</c:v>
                </c:pt>
                <c:pt idx="42643">
                  <c:v>37220</c:v>
                </c:pt>
                <c:pt idx="42644">
                  <c:v>104881</c:v>
                </c:pt>
                <c:pt idx="42645">
                  <c:v>82735</c:v>
                </c:pt>
                <c:pt idx="42646">
                  <c:v>44477</c:v>
                </c:pt>
                <c:pt idx="42647">
                  <c:v>35075</c:v>
                </c:pt>
                <c:pt idx="42648">
                  <c:v>31870</c:v>
                </c:pt>
                <c:pt idx="42649">
                  <c:v>39610</c:v>
                </c:pt>
                <c:pt idx="42650">
                  <c:v>64258</c:v>
                </c:pt>
                <c:pt idx="42651">
                  <c:v>50236</c:v>
                </c:pt>
                <c:pt idx="42652">
                  <c:v>50363</c:v>
                </c:pt>
                <c:pt idx="42653">
                  <c:v>69913</c:v>
                </c:pt>
                <c:pt idx="42654">
                  <c:v>59778</c:v>
                </c:pt>
                <c:pt idx="42655">
                  <c:v>308152</c:v>
                </c:pt>
                <c:pt idx="42656">
                  <c:v>40688</c:v>
                </c:pt>
                <c:pt idx="42657">
                  <c:v>37525</c:v>
                </c:pt>
                <c:pt idx="42658">
                  <c:v>30400</c:v>
                </c:pt>
                <c:pt idx="42659">
                  <c:v>23803</c:v>
                </c:pt>
                <c:pt idx="42660">
                  <c:v>35439</c:v>
                </c:pt>
                <c:pt idx="42661">
                  <c:v>43875</c:v>
                </c:pt>
                <c:pt idx="42662">
                  <c:v>46515</c:v>
                </c:pt>
                <c:pt idx="42663">
                  <c:v>47563</c:v>
                </c:pt>
                <c:pt idx="42664">
                  <c:v>45413</c:v>
                </c:pt>
                <c:pt idx="42665">
                  <c:v>24309</c:v>
                </c:pt>
                <c:pt idx="42666">
                  <c:v>67363</c:v>
                </c:pt>
                <c:pt idx="42667">
                  <c:v>188249</c:v>
                </c:pt>
                <c:pt idx="42668">
                  <c:v>183942</c:v>
                </c:pt>
                <c:pt idx="42669">
                  <c:v>41677</c:v>
                </c:pt>
                <c:pt idx="42670">
                  <c:v>133407</c:v>
                </c:pt>
                <c:pt idx="42671">
                  <c:v>28173</c:v>
                </c:pt>
                <c:pt idx="42672">
                  <c:v>23740</c:v>
                </c:pt>
                <c:pt idx="42673">
                  <c:v>32480</c:v>
                </c:pt>
                <c:pt idx="42674">
                  <c:v>33704</c:v>
                </c:pt>
                <c:pt idx="42675">
                  <c:v>93336</c:v>
                </c:pt>
                <c:pt idx="42676">
                  <c:v>192474</c:v>
                </c:pt>
                <c:pt idx="42677">
                  <c:v>36110</c:v>
                </c:pt>
                <c:pt idx="42678">
                  <c:v>33103</c:v>
                </c:pt>
                <c:pt idx="42679">
                  <c:v>41202</c:v>
                </c:pt>
                <c:pt idx="42680">
                  <c:v>38256</c:v>
                </c:pt>
                <c:pt idx="42681">
                  <c:v>38263</c:v>
                </c:pt>
                <c:pt idx="42682">
                  <c:v>76668</c:v>
                </c:pt>
                <c:pt idx="42683">
                  <c:v>72211</c:v>
                </c:pt>
                <c:pt idx="42684">
                  <c:v>34541</c:v>
                </c:pt>
                <c:pt idx="42685">
                  <c:v>66959</c:v>
                </c:pt>
                <c:pt idx="42686">
                  <c:v>66595</c:v>
                </c:pt>
                <c:pt idx="42687">
                  <c:v>24616</c:v>
                </c:pt>
                <c:pt idx="42688">
                  <c:v>50858</c:v>
                </c:pt>
                <c:pt idx="42689">
                  <c:v>22689</c:v>
                </c:pt>
                <c:pt idx="42690">
                  <c:v>62754</c:v>
                </c:pt>
                <c:pt idx="42691">
                  <c:v>23341</c:v>
                </c:pt>
                <c:pt idx="42692">
                  <c:v>71325</c:v>
                </c:pt>
                <c:pt idx="42693">
                  <c:v>151013</c:v>
                </c:pt>
                <c:pt idx="42694">
                  <c:v>111815</c:v>
                </c:pt>
                <c:pt idx="42695">
                  <c:v>71290</c:v>
                </c:pt>
                <c:pt idx="42696">
                  <c:v>45537</c:v>
                </c:pt>
                <c:pt idx="42697">
                  <c:v>27239</c:v>
                </c:pt>
                <c:pt idx="42698">
                  <c:v>57221</c:v>
                </c:pt>
                <c:pt idx="42699">
                  <c:v>20987</c:v>
                </c:pt>
                <c:pt idx="42700">
                  <c:v>53291</c:v>
                </c:pt>
                <c:pt idx="42701">
                  <c:v>26641</c:v>
                </c:pt>
                <c:pt idx="42702">
                  <c:v>39071</c:v>
                </c:pt>
                <c:pt idx="42703">
                  <c:v>22217</c:v>
                </c:pt>
                <c:pt idx="42704">
                  <c:v>101565</c:v>
                </c:pt>
                <c:pt idx="42705">
                  <c:v>30194</c:v>
                </c:pt>
                <c:pt idx="42706">
                  <c:v>45974</c:v>
                </c:pt>
                <c:pt idx="42707">
                  <c:v>133157</c:v>
                </c:pt>
                <c:pt idx="42708">
                  <c:v>89141</c:v>
                </c:pt>
                <c:pt idx="42709">
                  <c:v>53587</c:v>
                </c:pt>
                <c:pt idx="42710">
                  <c:v>39797</c:v>
                </c:pt>
                <c:pt idx="42711">
                  <c:v>44887</c:v>
                </c:pt>
                <c:pt idx="42712">
                  <c:v>35214</c:v>
                </c:pt>
                <c:pt idx="42713">
                  <c:v>57621</c:v>
                </c:pt>
                <c:pt idx="42714">
                  <c:v>45189</c:v>
                </c:pt>
                <c:pt idx="42715">
                  <c:v>39596</c:v>
                </c:pt>
                <c:pt idx="42716">
                  <c:v>31177</c:v>
                </c:pt>
                <c:pt idx="42717">
                  <c:v>49087</c:v>
                </c:pt>
                <c:pt idx="42718">
                  <c:v>44674</c:v>
                </c:pt>
                <c:pt idx="42719">
                  <c:v>33953</c:v>
                </c:pt>
                <c:pt idx="42720">
                  <c:v>58723</c:v>
                </c:pt>
                <c:pt idx="42721">
                  <c:v>26555</c:v>
                </c:pt>
                <c:pt idx="42722">
                  <c:v>24363</c:v>
                </c:pt>
                <c:pt idx="42723">
                  <c:v>26239</c:v>
                </c:pt>
                <c:pt idx="42724">
                  <c:v>102815</c:v>
                </c:pt>
                <c:pt idx="42725">
                  <c:v>56601</c:v>
                </c:pt>
                <c:pt idx="42726">
                  <c:v>40534</c:v>
                </c:pt>
                <c:pt idx="42727">
                  <c:v>33146</c:v>
                </c:pt>
                <c:pt idx="42728">
                  <c:v>54160</c:v>
                </c:pt>
                <c:pt idx="42729">
                  <c:v>26500</c:v>
                </c:pt>
                <c:pt idx="42730">
                  <c:v>104874</c:v>
                </c:pt>
                <c:pt idx="42731">
                  <c:v>70861</c:v>
                </c:pt>
                <c:pt idx="42732">
                  <c:v>45367</c:v>
                </c:pt>
                <c:pt idx="42733">
                  <c:v>37168</c:v>
                </c:pt>
                <c:pt idx="42734">
                  <c:v>30376</c:v>
                </c:pt>
                <c:pt idx="42735">
                  <c:v>85293</c:v>
                </c:pt>
                <c:pt idx="42736">
                  <c:v>52616</c:v>
                </c:pt>
                <c:pt idx="42737">
                  <c:v>32199</c:v>
                </c:pt>
                <c:pt idx="42738">
                  <c:v>58088</c:v>
                </c:pt>
                <c:pt idx="42739">
                  <c:v>96995</c:v>
                </c:pt>
                <c:pt idx="42740">
                  <c:v>48979</c:v>
                </c:pt>
                <c:pt idx="42741">
                  <c:v>30041</c:v>
                </c:pt>
                <c:pt idx="42742">
                  <c:v>29812</c:v>
                </c:pt>
                <c:pt idx="42743">
                  <c:v>23998</c:v>
                </c:pt>
                <c:pt idx="42744">
                  <c:v>62128</c:v>
                </c:pt>
                <c:pt idx="42745">
                  <c:v>75120</c:v>
                </c:pt>
                <c:pt idx="42746">
                  <c:v>79405</c:v>
                </c:pt>
                <c:pt idx="42747">
                  <c:v>40291</c:v>
                </c:pt>
                <c:pt idx="42748">
                  <c:v>45299</c:v>
                </c:pt>
                <c:pt idx="42749">
                  <c:v>30911</c:v>
                </c:pt>
                <c:pt idx="42750">
                  <c:v>378489</c:v>
                </c:pt>
                <c:pt idx="42751">
                  <c:v>40785</c:v>
                </c:pt>
                <c:pt idx="42752">
                  <c:v>93031</c:v>
                </c:pt>
                <c:pt idx="42753">
                  <c:v>58069</c:v>
                </c:pt>
                <c:pt idx="42754">
                  <c:v>32020</c:v>
                </c:pt>
                <c:pt idx="42755">
                  <c:v>31991</c:v>
                </c:pt>
                <c:pt idx="42756">
                  <c:v>25284</c:v>
                </c:pt>
                <c:pt idx="42757">
                  <c:v>34014</c:v>
                </c:pt>
                <c:pt idx="42758">
                  <c:v>45763</c:v>
                </c:pt>
                <c:pt idx="42759">
                  <c:v>25755</c:v>
                </c:pt>
                <c:pt idx="42760">
                  <c:v>35497</c:v>
                </c:pt>
                <c:pt idx="42761">
                  <c:v>24461</c:v>
                </c:pt>
                <c:pt idx="42762">
                  <c:v>201844</c:v>
                </c:pt>
                <c:pt idx="42763">
                  <c:v>32913</c:v>
                </c:pt>
                <c:pt idx="42764">
                  <c:v>101513</c:v>
                </c:pt>
                <c:pt idx="42765">
                  <c:v>54357</c:v>
                </c:pt>
                <c:pt idx="42766">
                  <c:v>66468</c:v>
                </c:pt>
                <c:pt idx="42767">
                  <c:v>46499</c:v>
                </c:pt>
                <c:pt idx="42768">
                  <c:v>33770</c:v>
                </c:pt>
                <c:pt idx="42769">
                  <c:v>103543</c:v>
                </c:pt>
                <c:pt idx="42770">
                  <c:v>47145</c:v>
                </c:pt>
                <c:pt idx="42771">
                  <c:v>40476</c:v>
                </c:pt>
                <c:pt idx="42772">
                  <c:v>28949</c:v>
                </c:pt>
                <c:pt idx="42773">
                  <c:v>35065</c:v>
                </c:pt>
                <c:pt idx="42774">
                  <c:v>32697</c:v>
                </c:pt>
                <c:pt idx="42775">
                  <c:v>86695</c:v>
                </c:pt>
                <c:pt idx="42776">
                  <c:v>26718</c:v>
                </c:pt>
                <c:pt idx="42777">
                  <c:v>20733</c:v>
                </c:pt>
                <c:pt idx="42778">
                  <c:v>49678</c:v>
                </c:pt>
                <c:pt idx="42779">
                  <c:v>25620</c:v>
                </c:pt>
                <c:pt idx="42780">
                  <c:v>44548</c:v>
                </c:pt>
                <c:pt idx="42781">
                  <c:v>74502</c:v>
                </c:pt>
                <c:pt idx="42782">
                  <c:v>32873</c:v>
                </c:pt>
                <c:pt idx="42783">
                  <c:v>21385</c:v>
                </c:pt>
                <c:pt idx="42784">
                  <c:v>96296</c:v>
                </c:pt>
                <c:pt idx="42785">
                  <c:v>45041</c:v>
                </c:pt>
                <c:pt idx="42786">
                  <c:v>90161</c:v>
                </c:pt>
                <c:pt idx="42787">
                  <c:v>24833</c:v>
                </c:pt>
                <c:pt idx="42788">
                  <c:v>104113</c:v>
                </c:pt>
                <c:pt idx="42789">
                  <c:v>50928</c:v>
                </c:pt>
                <c:pt idx="42790">
                  <c:v>96808</c:v>
                </c:pt>
                <c:pt idx="42791">
                  <c:v>44011</c:v>
                </c:pt>
                <c:pt idx="42792">
                  <c:v>26155</c:v>
                </c:pt>
                <c:pt idx="42793">
                  <c:v>59434</c:v>
                </c:pt>
                <c:pt idx="42794">
                  <c:v>107875</c:v>
                </c:pt>
                <c:pt idx="42795">
                  <c:v>48782</c:v>
                </c:pt>
                <c:pt idx="42796">
                  <c:v>49473</c:v>
                </c:pt>
                <c:pt idx="42797">
                  <c:v>31733</c:v>
                </c:pt>
                <c:pt idx="42798">
                  <c:v>74634</c:v>
                </c:pt>
                <c:pt idx="42799">
                  <c:v>39116</c:v>
                </c:pt>
                <c:pt idx="42800">
                  <c:v>117063</c:v>
                </c:pt>
                <c:pt idx="42801">
                  <c:v>63160</c:v>
                </c:pt>
                <c:pt idx="42802">
                  <c:v>107766</c:v>
                </c:pt>
                <c:pt idx="42803">
                  <c:v>25732</c:v>
                </c:pt>
                <c:pt idx="42804">
                  <c:v>69473</c:v>
                </c:pt>
                <c:pt idx="42805">
                  <c:v>38353</c:v>
                </c:pt>
                <c:pt idx="42806">
                  <c:v>158905</c:v>
                </c:pt>
                <c:pt idx="42807">
                  <c:v>50849</c:v>
                </c:pt>
                <c:pt idx="42808">
                  <c:v>79356</c:v>
                </c:pt>
                <c:pt idx="42809">
                  <c:v>38149</c:v>
                </c:pt>
                <c:pt idx="42810">
                  <c:v>51491</c:v>
                </c:pt>
                <c:pt idx="42811">
                  <c:v>38852</c:v>
                </c:pt>
                <c:pt idx="42812">
                  <c:v>114518</c:v>
                </c:pt>
                <c:pt idx="42813">
                  <c:v>91761</c:v>
                </c:pt>
                <c:pt idx="42814">
                  <c:v>83212</c:v>
                </c:pt>
                <c:pt idx="42815">
                  <c:v>31846</c:v>
                </c:pt>
                <c:pt idx="42816">
                  <c:v>39365</c:v>
                </c:pt>
                <c:pt idx="42817">
                  <c:v>38023</c:v>
                </c:pt>
                <c:pt idx="42818">
                  <c:v>26008</c:v>
                </c:pt>
                <c:pt idx="42819">
                  <c:v>28944</c:v>
                </c:pt>
                <c:pt idx="42820">
                  <c:v>29325</c:v>
                </c:pt>
                <c:pt idx="42821">
                  <c:v>68757</c:v>
                </c:pt>
                <c:pt idx="42822">
                  <c:v>42499</c:v>
                </c:pt>
                <c:pt idx="42823">
                  <c:v>36343</c:v>
                </c:pt>
                <c:pt idx="42824">
                  <c:v>41781</c:v>
                </c:pt>
                <c:pt idx="42825">
                  <c:v>75213</c:v>
                </c:pt>
                <c:pt idx="42826">
                  <c:v>33351</c:v>
                </c:pt>
                <c:pt idx="42827">
                  <c:v>53836</c:v>
                </c:pt>
                <c:pt idx="42828">
                  <c:v>189315</c:v>
                </c:pt>
                <c:pt idx="42829">
                  <c:v>24519</c:v>
                </c:pt>
                <c:pt idx="42830">
                  <c:v>73380</c:v>
                </c:pt>
                <c:pt idx="42831">
                  <c:v>156325</c:v>
                </c:pt>
                <c:pt idx="42832">
                  <c:v>197938</c:v>
                </c:pt>
                <c:pt idx="42833">
                  <c:v>40680</c:v>
                </c:pt>
                <c:pt idx="42834">
                  <c:v>29110</c:v>
                </c:pt>
                <c:pt idx="42835">
                  <c:v>33543</c:v>
                </c:pt>
                <c:pt idx="42836">
                  <c:v>150968</c:v>
                </c:pt>
                <c:pt idx="42837">
                  <c:v>119698</c:v>
                </c:pt>
                <c:pt idx="42838">
                  <c:v>60951</c:v>
                </c:pt>
                <c:pt idx="42839">
                  <c:v>46669</c:v>
                </c:pt>
                <c:pt idx="42840">
                  <c:v>34279</c:v>
                </c:pt>
                <c:pt idx="42841">
                  <c:v>56981</c:v>
                </c:pt>
                <c:pt idx="42842">
                  <c:v>19944</c:v>
                </c:pt>
                <c:pt idx="42843">
                  <c:v>106101</c:v>
                </c:pt>
                <c:pt idx="42844">
                  <c:v>105167</c:v>
                </c:pt>
                <c:pt idx="42845">
                  <c:v>25942</c:v>
                </c:pt>
                <c:pt idx="42846">
                  <c:v>25570</c:v>
                </c:pt>
                <c:pt idx="42847">
                  <c:v>41689</c:v>
                </c:pt>
                <c:pt idx="42848">
                  <c:v>32924</c:v>
                </c:pt>
                <c:pt idx="42849">
                  <c:v>106980</c:v>
                </c:pt>
                <c:pt idx="42850">
                  <c:v>156102</c:v>
                </c:pt>
                <c:pt idx="42851">
                  <c:v>26955</c:v>
                </c:pt>
                <c:pt idx="42852">
                  <c:v>28648</c:v>
                </c:pt>
                <c:pt idx="42853">
                  <c:v>22934</c:v>
                </c:pt>
                <c:pt idx="42854">
                  <c:v>65521</c:v>
                </c:pt>
                <c:pt idx="42855">
                  <c:v>23688</c:v>
                </c:pt>
                <c:pt idx="42856">
                  <c:v>94118</c:v>
                </c:pt>
                <c:pt idx="42857">
                  <c:v>27348</c:v>
                </c:pt>
                <c:pt idx="42858">
                  <c:v>22790</c:v>
                </c:pt>
                <c:pt idx="42859">
                  <c:v>59208</c:v>
                </c:pt>
                <c:pt idx="42860">
                  <c:v>22469</c:v>
                </c:pt>
                <c:pt idx="42861">
                  <c:v>29758</c:v>
                </c:pt>
                <c:pt idx="42862">
                  <c:v>50444</c:v>
                </c:pt>
                <c:pt idx="42863">
                  <c:v>124608</c:v>
                </c:pt>
                <c:pt idx="42864">
                  <c:v>24690</c:v>
                </c:pt>
                <c:pt idx="42865">
                  <c:v>39390</c:v>
                </c:pt>
                <c:pt idx="42866">
                  <c:v>30613</c:v>
                </c:pt>
                <c:pt idx="42867">
                  <c:v>27446</c:v>
                </c:pt>
                <c:pt idx="42868">
                  <c:v>131227</c:v>
                </c:pt>
                <c:pt idx="42869">
                  <c:v>37262</c:v>
                </c:pt>
                <c:pt idx="42870">
                  <c:v>40010</c:v>
                </c:pt>
                <c:pt idx="42871">
                  <c:v>39379</c:v>
                </c:pt>
                <c:pt idx="42872">
                  <c:v>20353</c:v>
                </c:pt>
                <c:pt idx="42873">
                  <c:v>25567</c:v>
                </c:pt>
                <c:pt idx="42874">
                  <c:v>39403</c:v>
                </c:pt>
                <c:pt idx="42875">
                  <c:v>52427</c:v>
                </c:pt>
                <c:pt idx="42876">
                  <c:v>25306</c:v>
                </c:pt>
                <c:pt idx="42877">
                  <c:v>34296</c:v>
                </c:pt>
                <c:pt idx="42878">
                  <c:v>52354</c:v>
                </c:pt>
                <c:pt idx="42879">
                  <c:v>101918</c:v>
                </c:pt>
                <c:pt idx="42880">
                  <c:v>42607</c:v>
                </c:pt>
                <c:pt idx="42881">
                  <c:v>27906</c:v>
                </c:pt>
                <c:pt idx="42882">
                  <c:v>35253</c:v>
                </c:pt>
                <c:pt idx="42883">
                  <c:v>37264</c:v>
                </c:pt>
                <c:pt idx="42884">
                  <c:v>27580</c:v>
                </c:pt>
                <c:pt idx="42885">
                  <c:v>24731</c:v>
                </c:pt>
                <c:pt idx="42886">
                  <c:v>37699</c:v>
                </c:pt>
                <c:pt idx="42887">
                  <c:v>137541</c:v>
                </c:pt>
                <c:pt idx="42888">
                  <c:v>30136</c:v>
                </c:pt>
                <c:pt idx="42889">
                  <c:v>55522</c:v>
                </c:pt>
                <c:pt idx="42890">
                  <c:v>28590</c:v>
                </c:pt>
                <c:pt idx="42891">
                  <c:v>33147</c:v>
                </c:pt>
                <c:pt idx="42892">
                  <c:v>23689</c:v>
                </c:pt>
                <c:pt idx="42893">
                  <c:v>118397</c:v>
                </c:pt>
                <c:pt idx="42894">
                  <c:v>292745</c:v>
                </c:pt>
                <c:pt idx="42895">
                  <c:v>37319</c:v>
                </c:pt>
                <c:pt idx="42896">
                  <c:v>46506</c:v>
                </c:pt>
                <c:pt idx="42897">
                  <c:v>27688</c:v>
                </c:pt>
                <c:pt idx="42898">
                  <c:v>38589</c:v>
                </c:pt>
                <c:pt idx="42899">
                  <c:v>66784</c:v>
                </c:pt>
                <c:pt idx="42900">
                  <c:v>44176</c:v>
                </c:pt>
                <c:pt idx="42901">
                  <c:v>24879</c:v>
                </c:pt>
                <c:pt idx="42902">
                  <c:v>48289</c:v>
                </c:pt>
                <c:pt idx="42903">
                  <c:v>30379</c:v>
                </c:pt>
                <c:pt idx="42904">
                  <c:v>112207</c:v>
                </c:pt>
                <c:pt idx="42905">
                  <c:v>31250</c:v>
                </c:pt>
                <c:pt idx="42906">
                  <c:v>89021</c:v>
                </c:pt>
                <c:pt idx="42907">
                  <c:v>61977</c:v>
                </c:pt>
                <c:pt idx="42908">
                  <c:v>59481</c:v>
                </c:pt>
                <c:pt idx="42909">
                  <c:v>46335</c:v>
                </c:pt>
                <c:pt idx="42910">
                  <c:v>231391</c:v>
                </c:pt>
                <c:pt idx="42911">
                  <c:v>108553</c:v>
                </c:pt>
                <c:pt idx="42912">
                  <c:v>25622</c:v>
                </c:pt>
                <c:pt idx="42913">
                  <c:v>24140</c:v>
                </c:pt>
                <c:pt idx="42914">
                  <c:v>83594</c:v>
                </c:pt>
                <c:pt idx="42915">
                  <c:v>29701</c:v>
                </c:pt>
                <c:pt idx="42916">
                  <c:v>35467</c:v>
                </c:pt>
                <c:pt idx="42917">
                  <c:v>27364</c:v>
                </c:pt>
                <c:pt idx="42918">
                  <c:v>40074</c:v>
                </c:pt>
                <c:pt idx="42919">
                  <c:v>476214</c:v>
                </c:pt>
                <c:pt idx="42920">
                  <c:v>28160</c:v>
                </c:pt>
                <c:pt idx="42921">
                  <c:v>43568</c:v>
                </c:pt>
                <c:pt idx="42922">
                  <c:v>68391</c:v>
                </c:pt>
                <c:pt idx="42923">
                  <c:v>45838</c:v>
                </c:pt>
                <c:pt idx="42924">
                  <c:v>34045</c:v>
                </c:pt>
                <c:pt idx="42925">
                  <c:v>36127</c:v>
                </c:pt>
                <c:pt idx="42926">
                  <c:v>35486</c:v>
                </c:pt>
                <c:pt idx="42927">
                  <c:v>37798</c:v>
                </c:pt>
                <c:pt idx="42928">
                  <c:v>49741</c:v>
                </c:pt>
                <c:pt idx="42929">
                  <c:v>35009</c:v>
                </c:pt>
                <c:pt idx="42930">
                  <c:v>84598</c:v>
                </c:pt>
                <c:pt idx="42931">
                  <c:v>41331</c:v>
                </c:pt>
                <c:pt idx="42932">
                  <c:v>56451</c:v>
                </c:pt>
                <c:pt idx="42933">
                  <c:v>33677</c:v>
                </c:pt>
                <c:pt idx="42934">
                  <c:v>45864</c:v>
                </c:pt>
                <c:pt idx="42935">
                  <c:v>100445</c:v>
                </c:pt>
                <c:pt idx="42936">
                  <c:v>26334</c:v>
                </c:pt>
                <c:pt idx="42937">
                  <c:v>35440</c:v>
                </c:pt>
                <c:pt idx="42938">
                  <c:v>37825</c:v>
                </c:pt>
                <c:pt idx="42939">
                  <c:v>187783</c:v>
                </c:pt>
                <c:pt idx="42940">
                  <c:v>45410</c:v>
                </c:pt>
                <c:pt idx="42941">
                  <c:v>37252</c:v>
                </c:pt>
                <c:pt idx="42942">
                  <c:v>26960</c:v>
                </c:pt>
                <c:pt idx="42943">
                  <c:v>77943</c:v>
                </c:pt>
                <c:pt idx="42944">
                  <c:v>53932</c:v>
                </c:pt>
                <c:pt idx="42945">
                  <c:v>128564</c:v>
                </c:pt>
                <c:pt idx="42946">
                  <c:v>69013</c:v>
                </c:pt>
                <c:pt idx="42947">
                  <c:v>38077</c:v>
                </c:pt>
                <c:pt idx="42948">
                  <c:v>24325</c:v>
                </c:pt>
                <c:pt idx="42949">
                  <c:v>48883</c:v>
                </c:pt>
                <c:pt idx="42950">
                  <c:v>72881</c:v>
                </c:pt>
                <c:pt idx="42951">
                  <c:v>46130</c:v>
                </c:pt>
                <c:pt idx="42952">
                  <c:v>37358</c:v>
                </c:pt>
                <c:pt idx="42953">
                  <c:v>112183</c:v>
                </c:pt>
                <c:pt idx="42954">
                  <c:v>41309</c:v>
                </c:pt>
                <c:pt idx="42955">
                  <c:v>45332</c:v>
                </c:pt>
                <c:pt idx="42956">
                  <c:v>39944</c:v>
                </c:pt>
                <c:pt idx="42957">
                  <c:v>35850</c:v>
                </c:pt>
                <c:pt idx="42958">
                  <c:v>41708</c:v>
                </c:pt>
                <c:pt idx="42959">
                  <c:v>29621</c:v>
                </c:pt>
                <c:pt idx="42960">
                  <c:v>47026</c:v>
                </c:pt>
                <c:pt idx="42961">
                  <c:v>37068</c:v>
                </c:pt>
                <c:pt idx="42962">
                  <c:v>100326</c:v>
                </c:pt>
                <c:pt idx="42963">
                  <c:v>41065</c:v>
                </c:pt>
                <c:pt idx="42964">
                  <c:v>261278</c:v>
                </c:pt>
                <c:pt idx="42965">
                  <c:v>53245</c:v>
                </c:pt>
                <c:pt idx="42966">
                  <c:v>84997</c:v>
                </c:pt>
                <c:pt idx="42967">
                  <c:v>63701</c:v>
                </c:pt>
                <c:pt idx="42968">
                  <c:v>38158</c:v>
                </c:pt>
                <c:pt idx="42969">
                  <c:v>50764</c:v>
                </c:pt>
                <c:pt idx="42970">
                  <c:v>112862</c:v>
                </c:pt>
                <c:pt idx="42971">
                  <c:v>28041</c:v>
                </c:pt>
                <c:pt idx="42972">
                  <c:v>98699</c:v>
                </c:pt>
                <c:pt idx="42973">
                  <c:v>38282</c:v>
                </c:pt>
                <c:pt idx="42974">
                  <c:v>66420</c:v>
                </c:pt>
                <c:pt idx="42975">
                  <c:v>101772</c:v>
                </c:pt>
                <c:pt idx="42976">
                  <c:v>29784</c:v>
                </c:pt>
                <c:pt idx="42977">
                  <c:v>34934</c:v>
                </c:pt>
                <c:pt idx="42978">
                  <c:v>137524</c:v>
                </c:pt>
                <c:pt idx="42979">
                  <c:v>74770</c:v>
                </c:pt>
                <c:pt idx="42980">
                  <c:v>68240</c:v>
                </c:pt>
                <c:pt idx="42981">
                  <c:v>31820</c:v>
                </c:pt>
                <c:pt idx="42982">
                  <c:v>65304</c:v>
                </c:pt>
                <c:pt idx="42983">
                  <c:v>210071</c:v>
                </c:pt>
                <c:pt idx="42984">
                  <c:v>58693</c:v>
                </c:pt>
                <c:pt idx="42985">
                  <c:v>146984</c:v>
                </c:pt>
                <c:pt idx="42986">
                  <c:v>50590</c:v>
                </c:pt>
                <c:pt idx="42987">
                  <c:v>49782</c:v>
                </c:pt>
                <c:pt idx="42988">
                  <c:v>56806</c:v>
                </c:pt>
                <c:pt idx="42989">
                  <c:v>91953</c:v>
                </c:pt>
                <c:pt idx="42990">
                  <c:v>29180</c:v>
                </c:pt>
                <c:pt idx="42991">
                  <c:v>70406</c:v>
                </c:pt>
                <c:pt idx="42992">
                  <c:v>170962</c:v>
                </c:pt>
                <c:pt idx="42993">
                  <c:v>43515</c:v>
                </c:pt>
                <c:pt idx="42994">
                  <c:v>111044</c:v>
                </c:pt>
                <c:pt idx="42995">
                  <c:v>49227</c:v>
                </c:pt>
                <c:pt idx="42996">
                  <c:v>103965</c:v>
                </c:pt>
                <c:pt idx="42997">
                  <c:v>33604</c:v>
                </c:pt>
                <c:pt idx="42998">
                  <c:v>47647</c:v>
                </c:pt>
                <c:pt idx="42999">
                  <c:v>128456</c:v>
                </c:pt>
                <c:pt idx="43000">
                  <c:v>50888</c:v>
                </c:pt>
                <c:pt idx="43001">
                  <c:v>25314</c:v>
                </c:pt>
                <c:pt idx="43002">
                  <c:v>45724</c:v>
                </c:pt>
                <c:pt idx="43003">
                  <c:v>46671</c:v>
                </c:pt>
                <c:pt idx="43004">
                  <c:v>25975</c:v>
                </c:pt>
                <c:pt idx="43005">
                  <c:v>24653</c:v>
                </c:pt>
                <c:pt idx="43006">
                  <c:v>72572</c:v>
                </c:pt>
                <c:pt idx="43007">
                  <c:v>47576</c:v>
                </c:pt>
                <c:pt idx="43008">
                  <c:v>38909</c:v>
                </c:pt>
                <c:pt idx="43009">
                  <c:v>36306</c:v>
                </c:pt>
                <c:pt idx="43010">
                  <c:v>41944</c:v>
                </c:pt>
                <c:pt idx="43011">
                  <c:v>49455</c:v>
                </c:pt>
                <c:pt idx="43012">
                  <c:v>37995</c:v>
                </c:pt>
                <c:pt idx="43013">
                  <c:v>32787</c:v>
                </c:pt>
                <c:pt idx="43014">
                  <c:v>51728</c:v>
                </c:pt>
                <c:pt idx="43015">
                  <c:v>34900</c:v>
                </c:pt>
                <c:pt idx="43016">
                  <c:v>35709</c:v>
                </c:pt>
                <c:pt idx="43017">
                  <c:v>62218</c:v>
                </c:pt>
                <c:pt idx="43018">
                  <c:v>27140</c:v>
                </c:pt>
                <c:pt idx="43019">
                  <c:v>43937</c:v>
                </c:pt>
                <c:pt idx="43020">
                  <c:v>40102</c:v>
                </c:pt>
                <c:pt idx="43021">
                  <c:v>37358</c:v>
                </c:pt>
                <c:pt idx="43022">
                  <c:v>134973</c:v>
                </c:pt>
                <c:pt idx="43023">
                  <c:v>54635</c:v>
                </c:pt>
                <c:pt idx="43024">
                  <c:v>41432</c:v>
                </c:pt>
                <c:pt idx="43025">
                  <c:v>69632</c:v>
                </c:pt>
                <c:pt idx="43026">
                  <c:v>35549</c:v>
                </c:pt>
                <c:pt idx="43027">
                  <c:v>46994</c:v>
                </c:pt>
                <c:pt idx="43028">
                  <c:v>149410</c:v>
                </c:pt>
                <c:pt idx="43029">
                  <c:v>141429</c:v>
                </c:pt>
                <c:pt idx="43030">
                  <c:v>232981</c:v>
                </c:pt>
                <c:pt idx="43031">
                  <c:v>64139</c:v>
                </c:pt>
                <c:pt idx="43032">
                  <c:v>29992</c:v>
                </c:pt>
                <c:pt idx="43033">
                  <c:v>56551</c:v>
                </c:pt>
                <c:pt idx="43034">
                  <c:v>81234</c:v>
                </c:pt>
                <c:pt idx="43035">
                  <c:v>28405</c:v>
                </c:pt>
                <c:pt idx="43036">
                  <c:v>54955</c:v>
                </c:pt>
                <c:pt idx="43037">
                  <c:v>101942</c:v>
                </c:pt>
                <c:pt idx="43038">
                  <c:v>62687</c:v>
                </c:pt>
                <c:pt idx="43039">
                  <c:v>25130</c:v>
                </c:pt>
                <c:pt idx="43040">
                  <c:v>35747</c:v>
                </c:pt>
                <c:pt idx="43041">
                  <c:v>29016</c:v>
                </c:pt>
                <c:pt idx="43042">
                  <c:v>44991</c:v>
                </c:pt>
                <c:pt idx="43043">
                  <c:v>55439</c:v>
                </c:pt>
                <c:pt idx="43044">
                  <c:v>41101</c:v>
                </c:pt>
                <c:pt idx="43045">
                  <c:v>67502</c:v>
                </c:pt>
                <c:pt idx="43046">
                  <c:v>85461</c:v>
                </c:pt>
                <c:pt idx="43047">
                  <c:v>34594</c:v>
                </c:pt>
                <c:pt idx="43048">
                  <c:v>179186</c:v>
                </c:pt>
                <c:pt idx="43049">
                  <c:v>24609</c:v>
                </c:pt>
                <c:pt idx="43050">
                  <c:v>25875</c:v>
                </c:pt>
                <c:pt idx="43051">
                  <c:v>52729</c:v>
                </c:pt>
                <c:pt idx="43052">
                  <c:v>26215</c:v>
                </c:pt>
                <c:pt idx="43053">
                  <c:v>312221</c:v>
                </c:pt>
                <c:pt idx="43054">
                  <c:v>40500</c:v>
                </c:pt>
                <c:pt idx="43055">
                  <c:v>55536</c:v>
                </c:pt>
                <c:pt idx="43056">
                  <c:v>55156</c:v>
                </c:pt>
                <c:pt idx="43057">
                  <c:v>91219</c:v>
                </c:pt>
                <c:pt idx="43058">
                  <c:v>32332</c:v>
                </c:pt>
                <c:pt idx="43059">
                  <c:v>50982</c:v>
                </c:pt>
                <c:pt idx="43060">
                  <c:v>74189</c:v>
                </c:pt>
                <c:pt idx="43061">
                  <c:v>30375</c:v>
                </c:pt>
                <c:pt idx="43062">
                  <c:v>43393</c:v>
                </c:pt>
                <c:pt idx="43063">
                  <c:v>32328</c:v>
                </c:pt>
                <c:pt idx="43064">
                  <c:v>38950</c:v>
                </c:pt>
                <c:pt idx="43065">
                  <c:v>130757</c:v>
                </c:pt>
                <c:pt idx="43066">
                  <c:v>30148</c:v>
                </c:pt>
                <c:pt idx="43067">
                  <c:v>27055</c:v>
                </c:pt>
                <c:pt idx="43068">
                  <c:v>47931</c:v>
                </c:pt>
                <c:pt idx="43069">
                  <c:v>42789</c:v>
                </c:pt>
                <c:pt idx="43070">
                  <c:v>25195</c:v>
                </c:pt>
                <c:pt idx="43071">
                  <c:v>53857</c:v>
                </c:pt>
                <c:pt idx="43072">
                  <c:v>133720</c:v>
                </c:pt>
                <c:pt idx="43073">
                  <c:v>29302</c:v>
                </c:pt>
                <c:pt idx="43074">
                  <c:v>134996</c:v>
                </c:pt>
                <c:pt idx="43075">
                  <c:v>133726</c:v>
                </c:pt>
                <c:pt idx="43076">
                  <c:v>117337</c:v>
                </c:pt>
                <c:pt idx="43077">
                  <c:v>48345</c:v>
                </c:pt>
                <c:pt idx="43078">
                  <c:v>50221</c:v>
                </c:pt>
                <c:pt idx="43079">
                  <c:v>86781</c:v>
                </c:pt>
                <c:pt idx="43080">
                  <c:v>59818</c:v>
                </c:pt>
                <c:pt idx="43081">
                  <c:v>22449</c:v>
                </c:pt>
                <c:pt idx="43082">
                  <c:v>32963</c:v>
                </c:pt>
                <c:pt idx="43083">
                  <c:v>39032</c:v>
                </c:pt>
                <c:pt idx="43084">
                  <c:v>46452</c:v>
                </c:pt>
                <c:pt idx="43085">
                  <c:v>51770</c:v>
                </c:pt>
                <c:pt idx="43086">
                  <c:v>31122</c:v>
                </c:pt>
                <c:pt idx="43087">
                  <c:v>25285</c:v>
                </c:pt>
                <c:pt idx="43088">
                  <c:v>30800</c:v>
                </c:pt>
                <c:pt idx="43089">
                  <c:v>48530</c:v>
                </c:pt>
                <c:pt idx="43090">
                  <c:v>33475</c:v>
                </c:pt>
                <c:pt idx="43091">
                  <c:v>28707</c:v>
                </c:pt>
                <c:pt idx="43092">
                  <c:v>82121</c:v>
                </c:pt>
                <c:pt idx="43093">
                  <c:v>50280</c:v>
                </c:pt>
                <c:pt idx="43094">
                  <c:v>42707</c:v>
                </c:pt>
                <c:pt idx="43095">
                  <c:v>146534</c:v>
                </c:pt>
                <c:pt idx="43096">
                  <c:v>63952</c:v>
                </c:pt>
                <c:pt idx="43097">
                  <c:v>123067</c:v>
                </c:pt>
                <c:pt idx="43098">
                  <c:v>94183</c:v>
                </c:pt>
                <c:pt idx="43099">
                  <c:v>282372</c:v>
                </c:pt>
                <c:pt idx="43100">
                  <c:v>60942</c:v>
                </c:pt>
                <c:pt idx="43101">
                  <c:v>35208</c:v>
                </c:pt>
                <c:pt idx="43102">
                  <c:v>45716</c:v>
                </c:pt>
                <c:pt idx="43103">
                  <c:v>25543</c:v>
                </c:pt>
                <c:pt idx="43104">
                  <c:v>202889</c:v>
                </c:pt>
                <c:pt idx="43105">
                  <c:v>224155</c:v>
                </c:pt>
                <c:pt idx="43106">
                  <c:v>25870</c:v>
                </c:pt>
                <c:pt idx="43107">
                  <c:v>300188</c:v>
                </c:pt>
                <c:pt idx="43108">
                  <c:v>34415</c:v>
                </c:pt>
                <c:pt idx="43109">
                  <c:v>38062</c:v>
                </c:pt>
                <c:pt idx="43110">
                  <c:v>42219</c:v>
                </c:pt>
                <c:pt idx="43111">
                  <c:v>58787</c:v>
                </c:pt>
                <c:pt idx="43112">
                  <c:v>64131</c:v>
                </c:pt>
                <c:pt idx="43113">
                  <c:v>27967</c:v>
                </c:pt>
                <c:pt idx="43114">
                  <c:v>47842</c:v>
                </c:pt>
                <c:pt idx="43115">
                  <c:v>67114</c:v>
                </c:pt>
                <c:pt idx="43116">
                  <c:v>37562</c:v>
                </c:pt>
                <c:pt idx="43117">
                  <c:v>54937</c:v>
                </c:pt>
                <c:pt idx="43118">
                  <c:v>60412</c:v>
                </c:pt>
                <c:pt idx="43119">
                  <c:v>48142</c:v>
                </c:pt>
                <c:pt idx="43120">
                  <c:v>30588</c:v>
                </c:pt>
                <c:pt idx="43121">
                  <c:v>38760</c:v>
                </c:pt>
                <c:pt idx="43122">
                  <c:v>42788</c:v>
                </c:pt>
                <c:pt idx="43123">
                  <c:v>25055</c:v>
                </c:pt>
                <c:pt idx="43124">
                  <c:v>115076</c:v>
                </c:pt>
                <c:pt idx="43125">
                  <c:v>48671</c:v>
                </c:pt>
                <c:pt idx="43126">
                  <c:v>200064</c:v>
                </c:pt>
                <c:pt idx="43127">
                  <c:v>100740</c:v>
                </c:pt>
                <c:pt idx="43128">
                  <c:v>23086</c:v>
                </c:pt>
                <c:pt idx="43129">
                  <c:v>21155</c:v>
                </c:pt>
                <c:pt idx="43130">
                  <c:v>138781</c:v>
                </c:pt>
                <c:pt idx="43131">
                  <c:v>58109</c:v>
                </c:pt>
                <c:pt idx="43132">
                  <c:v>56367</c:v>
                </c:pt>
                <c:pt idx="43133">
                  <c:v>95313</c:v>
                </c:pt>
                <c:pt idx="43134">
                  <c:v>101832</c:v>
                </c:pt>
                <c:pt idx="43135">
                  <c:v>33255</c:v>
                </c:pt>
                <c:pt idx="43136">
                  <c:v>161410</c:v>
                </c:pt>
                <c:pt idx="43137">
                  <c:v>80674</c:v>
                </c:pt>
                <c:pt idx="43138">
                  <c:v>26792</c:v>
                </c:pt>
                <c:pt idx="43139">
                  <c:v>66134</c:v>
                </c:pt>
                <c:pt idx="43140">
                  <c:v>45817</c:v>
                </c:pt>
                <c:pt idx="43141">
                  <c:v>28347</c:v>
                </c:pt>
                <c:pt idx="43142">
                  <c:v>31176</c:v>
                </c:pt>
                <c:pt idx="43143">
                  <c:v>34440</c:v>
                </c:pt>
                <c:pt idx="43144">
                  <c:v>118331</c:v>
                </c:pt>
                <c:pt idx="43145">
                  <c:v>28519</c:v>
                </c:pt>
                <c:pt idx="43146">
                  <c:v>45265</c:v>
                </c:pt>
                <c:pt idx="43147">
                  <c:v>38805</c:v>
                </c:pt>
                <c:pt idx="43148">
                  <c:v>65830</c:v>
                </c:pt>
                <c:pt idx="43149">
                  <c:v>37329</c:v>
                </c:pt>
                <c:pt idx="43150">
                  <c:v>37130</c:v>
                </c:pt>
                <c:pt idx="43151">
                  <c:v>25072</c:v>
                </c:pt>
                <c:pt idx="43152">
                  <c:v>70936</c:v>
                </c:pt>
                <c:pt idx="43153">
                  <c:v>45997</c:v>
                </c:pt>
                <c:pt idx="43154">
                  <c:v>49489</c:v>
                </c:pt>
                <c:pt idx="43155">
                  <c:v>50954</c:v>
                </c:pt>
                <c:pt idx="43156">
                  <c:v>34408</c:v>
                </c:pt>
                <c:pt idx="43157">
                  <c:v>42126</c:v>
                </c:pt>
                <c:pt idx="43158">
                  <c:v>35926</c:v>
                </c:pt>
                <c:pt idx="43159">
                  <c:v>96470</c:v>
                </c:pt>
                <c:pt idx="43160">
                  <c:v>104951</c:v>
                </c:pt>
                <c:pt idx="43161">
                  <c:v>96503</c:v>
                </c:pt>
                <c:pt idx="43162">
                  <c:v>259632</c:v>
                </c:pt>
                <c:pt idx="43163">
                  <c:v>215686</c:v>
                </c:pt>
                <c:pt idx="43164">
                  <c:v>43945</c:v>
                </c:pt>
                <c:pt idx="43165">
                  <c:v>24170</c:v>
                </c:pt>
                <c:pt idx="43166">
                  <c:v>35855</c:v>
                </c:pt>
                <c:pt idx="43167">
                  <c:v>36292</c:v>
                </c:pt>
                <c:pt idx="43168">
                  <c:v>42373</c:v>
                </c:pt>
                <c:pt idx="43169">
                  <c:v>277038</c:v>
                </c:pt>
                <c:pt idx="43170">
                  <c:v>44500</c:v>
                </c:pt>
                <c:pt idx="43171">
                  <c:v>23010</c:v>
                </c:pt>
                <c:pt idx="43172">
                  <c:v>199345</c:v>
                </c:pt>
                <c:pt idx="43173">
                  <c:v>44447</c:v>
                </c:pt>
                <c:pt idx="43174">
                  <c:v>80948</c:v>
                </c:pt>
                <c:pt idx="43175">
                  <c:v>23011</c:v>
                </c:pt>
                <c:pt idx="43176">
                  <c:v>27975</c:v>
                </c:pt>
                <c:pt idx="43177">
                  <c:v>59213</c:v>
                </c:pt>
                <c:pt idx="43178">
                  <c:v>27785</c:v>
                </c:pt>
                <c:pt idx="43179">
                  <c:v>149322</c:v>
                </c:pt>
                <c:pt idx="43180">
                  <c:v>76764</c:v>
                </c:pt>
                <c:pt idx="43181">
                  <c:v>61754</c:v>
                </c:pt>
                <c:pt idx="43182">
                  <c:v>45676</c:v>
                </c:pt>
                <c:pt idx="43183">
                  <c:v>50855</c:v>
                </c:pt>
                <c:pt idx="43184">
                  <c:v>37459</c:v>
                </c:pt>
                <c:pt idx="43185">
                  <c:v>102960</c:v>
                </c:pt>
                <c:pt idx="43186">
                  <c:v>92541</c:v>
                </c:pt>
                <c:pt idx="43187">
                  <c:v>33947</c:v>
                </c:pt>
                <c:pt idx="43188">
                  <c:v>73376</c:v>
                </c:pt>
                <c:pt idx="43189">
                  <c:v>126984</c:v>
                </c:pt>
                <c:pt idx="43190">
                  <c:v>48018</c:v>
                </c:pt>
                <c:pt idx="43191">
                  <c:v>197547</c:v>
                </c:pt>
                <c:pt idx="43192">
                  <c:v>41795</c:v>
                </c:pt>
                <c:pt idx="43193">
                  <c:v>35977</c:v>
                </c:pt>
                <c:pt idx="43194">
                  <c:v>77680</c:v>
                </c:pt>
                <c:pt idx="43195">
                  <c:v>24350</c:v>
                </c:pt>
                <c:pt idx="43196">
                  <c:v>51348</c:v>
                </c:pt>
                <c:pt idx="43197">
                  <c:v>32866</c:v>
                </c:pt>
                <c:pt idx="43198">
                  <c:v>189086</c:v>
                </c:pt>
                <c:pt idx="43199">
                  <c:v>172955</c:v>
                </c:pt>
                <c:pt idx="43200">
                  <c:v>41222</c:v>
                </c:pt>
                <c:pt idx="43201">
                  <c:v>55866</c:v>
                </c:pt>
                <c:pt idx="43202">
                  <c:v>32778</c:v>
                </c:pt>
                <c:pt idx="43203">
                  <c:v>88676</c:v>
                </c:pt>
                <c:pt idx="43204">
                  <c:v>88559</c:v>
                </c:pt>
                <c:pt idx="43205">
                  <c:v>85439</c:v>
                </c:pt>
                <c:pt idx="43206">
                  <c:v>56459</c:v>
                </c:pt>
                <c:pt idx="43207">
                  <c:v>82200</c:v>
                </c:pt>
                <c:pt idx="43208">
                  <c:v>38044</c:v>
                </c:pt>
                <c:pt idx="43209">
                  <c:v>26053</c:v>
                </c:pt>
                <c:pt idx="43210">
                  <c:v>24973</c:v>
                </c:pt>
                <c:pt idx="43211">
                  <c:v>44716</c:v>
                </c:pt>
                <c:pt idx="43212">
                  <c:v>28926</c:v>
                </c:pt>
                <c:pt idx="43213">
                  <c:v>130598</c:v>
                </c:pt>
                <c:pt idx="43214">
                  <c:v>55195</c:v>
                </c:pt>
                <c:pt idx="43215">
                  <c:v>43676</c:v>
                </c:pt>
                <c:pt idx="43216">
                  <c:v>72745</c:v>
                </c:pt>
                <c:pt idx="43217">
                  <c:v>26447</c:v>
                </c:pt>
                <c:pt idx="43218">
                  <c:v>39409</c:v>
                </c:pt>
                <c:pt idx="43219">
                  <c:v>38872</c:v>
                </c:pt>
                <c:pt idx="43220">
                  <c:v>34392</c:v>
                </c:pt>
                <c:pt idx="43221">
                  <c:v>46014</c:v>
                </c:pt>
                <c:pt idx="43222">
                  <c:v>24109</c:v>
                </c:pt>
                <c:pt idx="43223">
                  <c:v>93576</c:v>
                </c:pt>
                <c:pt idx="43224">
                  <c:v>28202</c:v>
                </c:pt>
                <c:pt idx="43225">
                  <c:v>49993</c:v>
                </c:pt>
                <c:pt idx="43226">
                  <c:v>42239</c:v>
                </c:pt>
                <c:pt idx="43227">
                  <c:v>56715</c:v>
                </c:pt>
                <c:pt idx="43228">
                  <c:v>26924</c:v>
                </c:pt>
                <c:pt idx="43229">
                  <c:v>95082</c:v>
                </c:pt>
                <c:pt idx="43230">
                  <c:v>115204</c:v>
                </c:pt>
                <c:pt idx="43231">
                  <c:v>111941</c:v>
                </c:pt>
                <c:pt idx="43232">
                  <c:v>40144</c:v>
                </c:pt>
                <c:pt idx="43233">
                  <c:v>159302</c:v>
                </c:pt>
                <c:pt idx="43234">
                  <c:v>279709</c:v>
                </c:pt>
                <c:pt idx="43235">
                  <c:v>116515</c:v>
                </c:pt>
                <c:pt idx="43236">
                  <c:v>28261</c:v>
                </c:pt>
                <c:pt idx="43237">
                  <c:v>49705</c:v>
                </c:pt>
                <c:pt idx="43238">
                  <c:v>45706</c:v>
                </c:pt>
                <c:pt idx="43239">
                  <c:v>79347</c:v>
                </c:pt>
                <c:pt idx="43240">
                  <c:v>155236</c:v>
                </c:pt>
                <c:pt idx="43241">
                  <c:v>27370</c:v>
                </c:pt>
                <c:pt idx="43242">
                  <c:v>117828</c:v>
                </c:pt>
                <c:pt idx="43243">
                  <c:v>123797</c:v>
                </c:pt>
                <c:pt idx="43244">
                  <c:v>58819</c:v>
                </c:pt>
                <c:pt idx="43245">
                  <c:v>48120</c:v>
                </c:pt>
                <c:pt idx="43246">
                  <c:v>74734</c:v>
                </c:pt>
                <c:pt idx="43247">
                  <c:v>57944</c:v>
                </c:pt>
                <c:pt idx="43248">
                  <c:v>57330</c:v>
                </c:pt>
                <c:pt idx="43249">
                  <c:v>35762</c:v>
                </c:pt>
                <c:pt idx="43250">
                  <c:v>132266</c:v>
                </c:pt>
                <c:pt idx="43251">
                  <c:v>164870</c:v>
                </c:pt>
                <c:pt idx="43252">
                  <c:v>142139</c:v>
                </c:pt>
                <c:pt idx="43253">
                  <c:v>54915</c:v>
                </c:pt>
                <c:pt idx="43254">
                  <c:v>25739</c:v>
                </c:pt>
                <c:pt idx="43255">
                  <c:v>65597</c:v>
                </c:pt>
                <c:pt idx="43256">
                  <c:v>172716</c:v>
                </c:pt>
                <c:pt idx="43257">
                  <c:v>44726</c:v>
                </c:pt>
                <c:pt idx="43258">
                  <c:v>74908</c:v>
                </c:pt>
                <c:pt idx="43259">
                  <c:v>52450</c:v>
                </c:pt>
                <c:pt idx="43260">
                  <c:v>251774</c:v>
                </c:pt>
                <c:pt idx="43261">
                  <c:v>81981</c:v>
                </c:pt>
                <c:pt idx="43262">
                  <c:v>84288</c:v>
                </c:pt>
                <c:pt idx="43263">
                  <c:v>15000</c:v>
                </c:pt>
                <c:pt idx="43264">
                  <c:v>25373</c:v>
                </c:pt>
                <c:pt idx="43265">
                  <c:v>51719</c:v>
                </c:pt>
                <c:pt idx="43266">
                  <c:v>69056</c:v>
                </c:pt>
                <c:pt idx="43267">
                  <c:v>50909</c:v>
                </c:pt>
                <c:pt idx="43268">
                  <c:v>56318</c:v>
                </c:pt>
                <c:pt idx="43269">
                  <c:v>40643</c:v>
                </c:pt>
                <c:pt idx="43270">
                  <c:v>156671</c:v>
                </c:pt>
                <c:pt idx="43271">
                  <c:v>26161</c:v>
                </c:pt>
                <c:pt idx="43272">
                  <c:v>32336</c:v>
                </c:pt>
                <c:pt idx="43273">
                  <c:v>31103</c:v>
                </c:pt>
                <c:pt idx="43274">
                  <c:v>53362</c:v>
                </c:pt>
                <c:pt idx="43275">
                  <c:v>88029</c:v>
                </c:pt>
                <c:pt idx="43276">
                  <c:v>28795</c:v>
                </c:pt>
                <c:pt idx="43277">
                  <c:v>41668</c:v>
                </c:pt>
                <c:pt idx="43278">
                  <c:v>27680</c:v>
                </c:pt>
                <c:pt idx="43279">
                  <c:v>25964</c:v>
                </c:pt>
                <c:pt idx="43280">
                  <c:v>135368</c:v>
                </c:pt>
                <c:pt idx="43281">
                  <c:v>63410</c:v>
                </c:pt>
                <c:pt idx="43282">
                  <c:v>42163</c:v>
                </c:pt>
                <c:pt idx="43283">
                  <c:v>96218</c:v>
                </c:pt>
                <c:pt idx="43284">
                  <c:v>139932</c:v>
                </c:pt>
                <c:pt idx="43285">
                  <c:v>45917</c:v>
                </c:pt>
                <c:pt idx="43286">
                  <c:v>87082</c:v>
                </c:pt>
                <c:pt idx="43287">
                  <c:v>39652</c:v>
                </c:pt>
                <c:pt idx="43288">
                  <c:v>47660</c:v>
                </c:pt>
                <c:pt idx="43289">
                  <c:v>40325</c:v>
                </c:pt>
                <c:pt idx="43290">
                  <c:v>33105</c:v>
                </c:pt>
                <c:pt idx="43291">
                  <c:v>37112</c:v>
                </c:pt>
                <c:pt idx="43292">
                  <c:v>157669</c:v>
                </c:pt>
                <c:pt idx="43293">
                  <c:v>55963</c:v>
                </c:pt>
                <c:pt idx="43294">
                  <c:v>43914</c:v>
                </c:pt>
                <c:pt idx="43295">
                  <c:v>41106</c:v>
                </c:pt>
                <c:pt idx="43296">
                  <c:v>37953</c:v>
                </c:pt>
                <c:pt idx="43297">
                  <c:v>40084</c:v>
                </c:pt>
                <c:pt idx="43298">
                  <c:v>25638</c:v>
                </c:pt>
                <c:pt idx="43299">
                  <c:v>42941</c:v>
                </c:pt>
                <c:pt idx="43300">
                  <c:v>26290</c:v>
                </c:pt>
                <c:pt idx="43301">
                  <c:v>33662</c:v>
                </c:pt>
                <c:pt idx="43302">
                  <c:v>28665</c:v>
                </c:pt>
                <c:pt idx="43303">
                  <c:v>97448</c:v>
                </c:pt>
                <c:pt idx="43304">
                  <c:v>33983</c:v>
                </c:pt>
                <c:pt idx="43305">
                  <c:v>29367</c:v>
                </c:pt>
                <c:pt idx="43306">
                  <c:v>29907</c:v>
                </c:pt>
                <c:pt idx="43307">
                  <c:v>87917</c:v>
                </c:pt>
                <c:pt idx="43308">
                  <c:v>27933</c:v>
                </c:pt>
                <c:pt idx="43309">
                  <c:v>104963</c:v>
                </c:pt>
                <c:pt idx="43310">
                  <c:v>55064</c:v>
                </c:pt>
                <c:pt idx="43311">
                  <c:v>44573</c:v>
                </c:pt>
                <c:pt idx="43312">
                  <c:v>35978</c:v>
                </c:pt>
                <c:pt idx="43313">
                  <c:v>47637</c:v>
                </c:pt>
                <c:pt idx="43314">
                  <c:v>154518</c:v>
                </c:pt>
                <c:pt idx="43315">
                  <c:v>35729</c:v>
                </c:pt>
                <c:pt idx="43316">
                  <c:v>133607</c:v>
                </c:pt>
                <c:pt idx="43317">
                  <c:v>92790</c:v>
                </c:pt>
                <c:pt idx="43318">
                  <c:v>28253</c:v>
                </c:pt>
                <c:pt idx="43319">
                  <c:v>28931</c:v>
                </c:pt>
                <c:pt idx="43320">
                  <c:v>51470</c:v>
                </c:pt>
                <c:pt idx="43321">
                  <c:v>27203</c:v>
                </c:pt>
                <c:pt idx="43322">
                  <c:v>64436</c:v>
                </c:pt>
                <c:pt idx="43323">
                  <c:v>172421</c:v>
                </c:pt>
                <c:pt idx="43324">
                  <c:v>37809</c:v>
                </c:pt>
                <c:pt idx="43325">
                  <c:v>75732</c:v>
                </c:pt>
                <c:pt idx="43326">
                  <c:v>23104</c:v>
                </c:pt>
                <c:pt idx="43327">
                  <c:v>70519</c:v>
                </c:pt>
                <c:pt idx="43328">
                  <c:v>66269</c:v>
                </c:pt>
                <c:pt idx="43329">
                  <c:v>48975</c:v>
                </c:pt>
                <c:pt idx="43330">
                  <c:v>35874</c:v>
                </c:pt>
                <c:pt idx="43331">
                  <c:v>104806</c:v>
                </c:pt>
                <c:pt idx="43332">
                  <c:v>19849</c:v>
                </c:pt>
                <c:pt idx="43333">
                  <c:v>46751</c:v>
                </c:pt>
                <c:pt idx="43334">
                  <c:v>145025</c:v>
                </c:pt>
                <c:pt idx="43335">
                  <c:v>232127</c:v>
                </c:pt>
                <c:pt idx="43336">
                  <c:v>79118</c:v>
                </c:pt>
                <c:pt idx="43337">
                  <c:v>27452</c:v>
                </c:pt>
                <c:pt idx="43338">
                  <c:v>24519</c:v>
                </c:pt>
                <c:pt idx="43339">
                  <c:v>93327</c:v>
                </c:pt>
                <c:pt idx="43340">
                  <c:v>41642</c:v>
                </c:pt>
                <c:pt idx="43341">
                  <c:v>59891</c:v>
                </c:pt>
                <c:pt idx="43342">
                  <c:v>44926</c:v>
                </c:pt>
                <c:pt idx="43343">
                  <c:v>108820</c:v>
                </c:pt>
                <c:pt idx="43344">
                  <c:v>23519</c:v>
                </c:pt>
                <c:pt idx="43345">
                  <c:v>104383</c:v>
                </c:pt>
                <c:pt idx="43346">
                  <c:v>72616</c:v>
                </c:pt>
                <c:pt idx="43347">
                  <c:v>45811</c:v>
                </c:pt>
                <c:pt idx="43348">
                  <c:v>36699</c:v>
                </c:pt>
                <c:pt idx="43349">
                  <c:v>27477</c:v>
                </c:pt>
                <c:pt idx="43350">
                  <c:v>40451</c:v>
                </c:pt>
                <c:pt idx="43351">
                  <c:v>347260</c:v>
                </c:pt>
                <c:pt idx="43352">
                  <c:v>54100</c:v>
                </c:pt>
                <c:pt idx="43353">
                  <c:v>135769</c:v>
                </c:pt>
                <c:pt idx="43354">
                  <c:v>43444</c:v>
                </c:pt>
                <c:pt idx="43355">
                  <c:v>28552</c:v>
                </c:pt>
                <c:pt idx="43356">
                  <c:v>54645</c:v>
                </c:pt>
                <c:pt idx="43357">
                  <c:v>40400</c:v>
                </c:pt>
                <c:pt idx="43358">
                  <c:v>22417</c:v>
                </c:pt>
                <c:pt idx="43359">
                  <c:v>27562</c:v>
                </c:pt>
                <c:pt idx="43360">
                  <c:v>106185</c:v>
                </c:pt>
                <c:pt idx="43361">
                  <c:v>31386</c:v>
                </c:pt>
                <c:pt idx="43362">
                  <c:v>56527</c:v>
                </c:pt>
                <c:pt idx="43363">
                  <c:v>92362</c:v>
                </c:pt>
                <c:pt idx="43364">
                  <c:v>126419</c:v>
                </c:pt>
                <c:pt idx="43365">
                  <c:v>54618</c:v>
                </c:pt>
                <c:pt idx="43366">
                  <c:v>54283</c:v>
                </c:pt>
                <c:pt idx="43367">
                  <c:v>45219</c:v>
                </c:pt>
                <c:pt idx="43368">
                  <c:v>40122</c:v>
                </c:pt>
                <c:pt idx="43369">
                  <c:v>50745</c:v>
                </c:pt>
                <c:pt idx="43370">
                  <c:v>150915</c:v>
                </c:pt>
                <c:pt idx="43371">
                  <c:v>43075</c:v>
                </c:pt>
                <c:pt idx="43372">
                  <c:v>35715</c:v>
                </c:pt>
                <c:pt idx="43373">
                  <c:v>44153</c:v>
                </c:pt>
                <c:pt idx="43374">
                  <c:v>90633</c:v>
                </c:pt>
                <c:pt idx="43375">
                  <c:v>60692</c:v>
                </c:pt>
                <c:pt idx="43376">
                  <c:v>33003</c:v>
                </c:pt>
                <c:pt idx="43377">
                  <c:v>24171</c:v>
                </c:pt>
                <c:pt idx="43378">
                  <c:v>143285</c:v>
                </c:pt>
                <c:pt idx="43379">
                  <c:v>41376</c:v>
                </c:pt>
                <c:pt idx="43380">
                  <c:v>95900</c:v>
                </c:pt>
                <c:pt idx="43381">
                  <c:v>143124</c:v>
                </c:pt>
                <c:pt idx="43382">
                  <c:v>46138</c:v>
                </c:pt>
                <c:pt idx="43383">
                  <c:v>32387</c:v>
                </c:pt>
                <c:pt idx="43384">
                  <c:v>55208</c:v>
                </c:pt>
                <c:pt idx="43385">
                  <c:v>46685</c:v>
                </c:pt>
                <c:pt idx="43386">
                  <c:v>37765</c:v>
                </c:pt>
                <c:pt idx="43387">
                  <c:v>104192</c:v>
                </c:pt>
                <c:pt idx="43388">
                  <c:v>30486</c:v>
                </c:pt>
                <c:pt idx="43389">
                  <c:v>85756</c:v>
                </c:pt>
                <c:pt idx="43390">
                  <c:v>73100</c:v>
                </c:pt>
                <c:pt idx="43391">
                  <c:v>33618</c:v>
                </c:pt>
                <c:pt idx="43392">
                  <c:v>27036</c:v>
                </c:pt>
                <c:pt idx="43393">
                  <c:v>26093</c:v>
                </c:pt>
                <c:pt idx="43394">
                  <c:v>67575</c:v>
                </c:pt>
                <c:pt idx="43395">
                  <c:v>64918</c:v>
                </c:pt>
                <c:pt idx="43396">
                  <c:v>27296</c:v>
                </c:pt>
                <c:pt idx="43397">
                  <c:v>57224</c:v>
                </c:pt>
                <c:pt idx="43398">
                  <c:v>28228</c:v>
                </c:pt>
                <c:pt idx="43399">
                  <c:v>78357</c:v>
                </c:pt>
                <c:pt idx="43400">
                  <c:v>26601</c:v>
                </c:pt>
                <c:pt idx="43401">
                  <c:v>41261</c:v>
                </c:pt>
                <c:pt idx="43402">
                  <c:v>37465</c:v>
                </c:pt>
                <c:pt idx="43403">
                  <c:v>107934</c:v>
                </c:pt>
                <c:pt idx="43404">
                  <c:v>32522</c:v>
                </c:pt>
                <c:pt idx="43405">
                  <c:v>44936</c:v>
                </c:pt>
                <c:pt idx="43406">
                  <c:v>41681</c:v>
                </c:pt>
                <c:pt idx="43407">
                  <c:v>33078</c:v>
                </c:pt>
                <c:pt idx="43408">
                  <c:v>40905</c:v>
                </c:pt>
                <c:pt idx="43409">
                  <c:v>40678</c:v>
                </c:pt>
                <c:pt idx="43410">
                  <c:v>25388</c:v>
                </c:pt>
                <c:pt idx="43411">
                  <c:v>23067</c:v>
                </c:pt>
                <c:pt idx="43412">
                  <c:v>26981</c:v>
                </c:pt>
                <c:pt idx="43413">
                  <c:v>53468</c:v>
                </c:pt>
                <c:pt idx="43414">
                  <c:v>53368</c:v>
                </c:pt>
                <c:pt idx="43415">
                  <c:v>45746</c:v>
                </c:pt>
                <c:pt idx="43416">
                  <c:v>30094</c:v>
                </c:pt>
                <c:pt idx="43417">
                  <c:v>57233</c:v>
                </c:pt>
                <c:pt idx="43418">
                  <c:v>44180</c:v>
                </c:pt>
                <c:pt idx="43419">
                  <c:v>28409</c:v>
                </c:pt>
                <c:pt idx="43420">
                  <c:v>29875</c:v>
                </c:pt>
                <c:pt idx="43421">
                  <c:v>66559</c:v>
                </c:pt>
                <c:pt idx="43422">
                  <c:v>94027</c:v>
                </c:pt>
                <c:pt idx="43423">
                  <c:v>121374</c:v>
                </c:pt>
                <c:pt idx="43424">
                  <c:v>157562</c:v>
                </c:pt>
                <c:pt idx="43425">
                  <c:v>47707</c:v>
                </c:pt>
                <c:pt idx="43426">
                  <c:v>35312</c:v>
                </c:pt>
                <c:pt idx="43427">
                  <c:v>47195</c:v>
                </c:pt>
                <c:pt idx="43428">
                  <c:v>33415</c:v>
                </c:pt>
                <c:pt idx="43429">
                  <c:v>37484</c:v>
                </c:pt>
                <c:pt idx="43430">
                  <c:v>229122</c:v>
                </c:pt>
                <c:pt idx="43431">
                  <c:v>34384</c:v>
                </c:pt>
                <c:pt idx="43432">
                  <c:v>54614</c:v>
                </c:pt>
                <c:pt idx="43433">
                  <c:v>68579</c:v>
                </c:pt>
                <c:pt idx="43434">
                  <c:v>38025</c:v>
                </c:pt>
                <c:pt idx="43435">
                  <c:v>85512</c:v>
                </c:pt>
                <c:pt idx="43436">
                  <c:v>35970</c:v>
                </c:pt>
                <c:pt idx="43437">
                  <c:v>25685</c:v>
                </c:pt>
                <c:pt idx="43438">
                  <c:v>46368</c:v>
                </c:pt>
                <c:pt idx="43439">
                  <c:v>42259</c:v>
                </c:pt>
                <c:pt idx="43440">
                  <c:v>32960</c:v>
                </c:pt>
                <c:pt idx="43441">
                  <c:v>30035</c:v>
                </c:pt>
                <c:pt idx="43442">
                  <c:v>38491</c:v>
                </c:pt>
                <c:pt idx="43443">
                  <c:v>29231</c:v>
                </c:pt>
                <c:pt idx="43444">
                  <c:v>27355</c:v>
                </c:pt>
                <c:pt idx="43445">
                  <c:v>46338</c:v>
                </c:pt>
                <c:pt idx="43446">
                  <c:v>28063</c:v>
                </c:pt>
                <c:pt idx="43447">
                  <c:v>71121</c:v>
                </c:pt>
                <c:pt idx="43448">
                  <c:v>55818</c:v>
                </c:pt>
                <c:pt idx="43449">
                  <c:v>42599</c:v>
                </c:pt>
                <c:pt idx="43450">
                  <c:v>67475</c:v>
                </c:pt>
                <c:pt idx="43451">
                  <c:v>29937</c:v>
                </c:pt>
                <c:pt idx="43452">
                  <c:v>153496</c:v>
                </c:pt>
                <c:pt idx="43453">
                  <c:v>44277</c:v>
                </c:pt>
                <c:pt idx="43454">
                  <c:v>41832</c:v>
                </c:pt>
                <c:pt idx="43455">
                  <c:v>130774</c:v>
                </c:pt>
                <c:pt idx="43456">
                  <c:v>54091</c:v>
                </c:pt>
                <c:pt idx="43457">
                  <c:v>28918</c:v>
                </c:pt>
                <c:pt idx="43458">
                  <c:v>45477</c:v>
                </c:pt>
                <c:pt idx="43459">
                  <c:v>27949</c:v>
                </c:pt>
                <c:pt idx="43460">
                  <c:v>43491</c:v>
                </c:pt>
                <c:pt idx="43461">
                  <c:v>47597</c:v>
                </c:pt>
                <c:pt idx="43462">
                  <c:v>56468</c:v>
                </c:pt>
                <c:pt idx="43463">
                  <c:v>40356</c:v>
                </c:pt>
                <c:pt idx="43464">
                  <c:v>68418</c:v>
                </c:pt>
                <c:pt idx="43465">
                  <c:v>31398</c:v>
                </c:pt>
                <c:pt idx="43466">
                  <c:v>31475</c:v>
                </c:pt>
                <c:pt idx="43467">
                  <c:v>44023</c:v>
                </c:pt>
                <c:pt idx="43468">
                  <c:v>67285</c:v>
                </c:pt>
                <c:pt idx="43469">
                  <c:v>41800</c:v>
                </c:pt>
                <c:pt idx="43470">
                  <c:v>37610</c:v>
                </c:pt>
                <c:pt idx="43471">
                  <c:v>40664</c:v>
                </c:pt>
                <c:pt idx="43472">
                  <c:v>33433</c:v>
                </c:pt>
                <c:pt idx="43473">
                  <c:v>91888</c:v>
                </c:pt>
                <c:pt idx="43474">
                  <c:v>37824</c:v>
                </c:pt>
                <c:pt idx="43475">
                  <c:v>102762</c:v>
                </c:pt>
                <c:pt idx="43476">
                  <c:v>24703</c:v>
                </c:pt>
                <c:pt idx="43477">
                  <c:v>20423</c:v>
                </c:pt>
                <c:pt idx="43478">
                  <c:v>32834</c:v>
                </c:pt>
                <c:pt idx="43479">
                  <c:v>63019</c:v>
                </c:pt>
                <c:pt idx="43480">
                  <c:v>213802</c:v>
                </c:pt>
                <c:pt idx="43481">
                  <c:v>32830</c:v>
                </c:pt>
                <c:pt idx="43482">
                  <c:v>23856</c:v>
                </c:pt>
                <c:pt idx="43483">
                  <c:v>86106</c:v>
                </c:pt>
                <c:pt idx="43484">
                  <c:v>42633</c:v>
                </c:pt>
                <c:pt idx="43485">
                  <c:v>39836</c:v>
                </c:pt>
                <c:pt idx="43486">
                  <c:v>39533</c:v>
                </c:pt>
                <c:pt idx="43487">
                  <c:v>33122</c:v>
                </c:pt>
                <c:pt idx="43488">
                  <c:v>37721</c:v>
                </c:pt>
                <c:pt idx="43489">
                  <c:v>396074</c:v>
                </c:pt>
                <c:pt idx="43490">
                  <c:v>44736</c:v>
                </c:pt>
                <c:pt idx="43491">
                  <c:v>83013</c:v>
                </c:pt>
                <c:pt idx="43492">
                  <c:v>38598</c:v>
                </c:pt>
                <c:pt idx="43493">
                  <c:v>43459</c:v>
                </c:pt>
                <c:pt idx="43494">
                  <c:v>23514</c:v>
                </c:pt>
                <c:pt idx="43495">
                  <c:v>47212</c:v>
                </c:pt>
                <c:pt idx="43496">
                  <c:v>49073</c:v>
                </c:pt>
                <c:pt idx="43497">
                  <c:v>26291</c:v>
                </c:pt>
                <c:pt idx="43498">
                  <c:v>22164</c:v>
                </c:pt>
                <c:pt idx="43499">
                  <c:v>21950</c:v>
                </c:pt>
                <c:pt idx="43500">
                  <c:v>55710</c:v>
                </c:pt>
                <c:pt idx="43501">
                  <c:v>31719</c:v>
                </c:pt>
                <c:pt idx="43502">
                  <c:v>107411</c:v>
                </c:pt>
                <c:pt idx="43503">
                  <c:v>56011</c:v>
                </c:pt>
                <c:pt idx="43504">
                  <c:v>39207</c:v>
                </c:pt>
                <c:pt idx="43505">
                  <c:v>29541</c:v>
                </c:pt>
                <c:pt idx="43506">
                  <c:v>45913</c:v>
                </c:pt>
                <c:pt idx="43507">
                  <c:v>60148</c:v>
                </c:pt>
                <c:pt idx="43508">
                  <c:v>70490</c:v>
                </c:pt>
                <c:pt idx="43509">
                  <c:v>58417</c:v>
                </c:pt>
                <c:pt idx="43510">
                  <c:v>41081</c:v>
                </c:pt>
                <c:pt idx="43511">
                  <c:v>35974</c:v>
                </c:pt>
                <c:pt idx="43512">
                  <c:v>32127</c:v>
                </c:pt>
                <c:pt idx="43513">
                  <c:v>59827</c:v>
                </c:pt>
                <c:pt idx="43514">
                  <c:v>83894</c:v>
                </c:pt>
                <c:pt idx="43515">
                  <c:v>81487</c:v>
                </c:pt>
                <c:pt idx="43516">
                  <c:v>94509</c:v>
                </c:pt>
                <c:pt idx="43517">
                  <c:v>58055</c:v>
                </c:pt>
                <c:pt idx="43518">
                  <c:v>43014</c:v>
                </c:pt>
                <c:pt idx="43519">
                  <c:v>99663</c:v>
                </c:pt>
                <c:pt idx="43520">
                  <c:v>85831</c:v>
                </c:pt>
                <c:pt idx="43521">
                  <c:v>38969</c:v>
                </c:pt>
                <c:pt idx="43522">
                  <c:v>23160</c:v>
                </c:pt>
                <c:pt idx="43523">
                  <c:v>29706</c:v>
                </c:pt>
                <c:pt idx="43524">
                  <c:v>74419</c:v>
                </c:pt>
                <c:pt idx="43525">
                  <c:v>37468</c:v>
                </c:pt>
                <c:pt idx="43526">
                  <c:v>68233</c:v>
                </c:pt>
                <c:pt idx="43527">
                  <c:v>58655</c:v>
                </c:pt>
                <c:pt idx="43528">
                  <c:v>43670</c:v>
                </c:pt>
                <c:pt idx="43529">
                  <c:v>23289</c:v>
                </c:pt>
                <c:pt idx="43530">
                  <c:v>65141</c:v>
                </c:pt>
                <c:pt idx="43531">
                  <c:v>353403</c:v>
                </c:pt>
                <c:pt idx="43532">
                  <c:v>102416</c:v>
                </c:pt>
                <c:pt idx="43533">
                  <c:v>51413</c:v>
                </c:pt>
                <c:pt idx="43534">
                  <c:v>38478</c:v>
                </c:pt>
                <c:pt idx="43535">
                  <c:v>209024</c:v>
                </c:pt>
                <c:pt idx="43536">
                  <c:v>34152</c:v>
                </c:pt>
                <c:pt idx="43537">
                  <c:v>46921</c:v>
                </c:pt>
                <c:pt idx="43538">
                  <c:v>153743</c:v>
                </c:pt>
                <c:pt idx="43539">
                  <c:v>62654</c:v>
                </c:pt>
                <c:pt idx="43540">
                  <c:v>34265</c:v>
                </c:pt>
                <c:pt idx="43541">
                  <c:v>84895</c:v>
                </c:pt>
                <c:pt idx="43542">
                  <c:v>26702</c:v>
                </c:pt>
                <c:pt idx="43543">
                  <c:v>52889</c:v>
                </c:pt>
                <c:pt idx="43544">
                  <c:v>41660</c:v>
                </c:pt>
                <c:pt idx="43545">
                  <c:v>64163</c:v>
                </c:pt>
                <c:pt idx="43546">
                  <c:v>40577</c:v>
                </c:pt>
                <c:pt idx="43547">
                  <c:v>305649</c:v>
                </c:pt>
                <c:pt idx="43548">
                  <c:v>68606</c:v>
                </c:pt>
                <c:pt idx="43549">
                  <c:v>73478</c:v>
                </c:pt>
                <c:pt idx="43550">
                  <c:v>124601</c:v>
                </c:pt>
                <c:pt idx="43551">
                  <c:v>40440</c:v>
                </c:pt>
                <c:pt idx="43552">
                  <c:v>22569</c:v>
                </c:pt>
                <c:pt idx="43553">
                  <c:v>95886</c:v>
                </c:pt>
                <c:pt idx="43554">
                  <c:v>59677</c:v>
                </c:pt>
                <c:pt idx="43555">
                  <c:v>22242</c:v>
                </c:pt>
                <c:pt idx="43556">
                  <c:v>188816</c:v>
                </c:pt>
                <c:pt idx="43557">
                  <c:v>29830</c:v>
                </c:pt>
                <c:pt idx="43558">
                  <c:v>28123</c:v>
                </c:pt>
                <c:pt idx="43559">
                  <c:v>50356</c:v>
                </c:pt>
                <c:pt idx="43560">
                  <c:v>27081</c:v>
                </c:pt>
                <c:pt idx="43561">
                  <c:v>118053</c:v>
                </c:pt>
                <c:pt idx="43562">
                  <c:v>66130</c:v>
                </c:pt>
                <c:pt idx="43563">
                  <c:v>33541</c:v>
                </c:pt>
                <c:pt idx="43564">
                  <c:v>125108</c:v>
                </c:pt>
                <c:pt idx="43565">
                  <c:v>77118</c:v>
                </c:pt>
                <c:pt idx="43566">
                  <c:v>40470</c:v>
                </c:pt>
                <c:pt idx="43567">
                  <c:v>38153</c:v>
                </c:pt>
                <c:pt idx="43568">
                  <c:v>53137</c:v>
                </c:pt>
                <c:pt idx="43569">
                  <c:v>24297</c:v>
                </c:pt>
                <c:pt idx="43570">
                  <c:v>61465</c:v>
                </c:pt>
                <c:pt idx="43571">
                  <c:v>38952</c:v>
                </c:pt>
                <c:pt idx="43572">
                  <c:v>54555</c:v>
                </c:pt>
                <c:pt idx="43573">
                  <c:v>30576</c:v>
                </c:pt>
                <c:pt idx="43574">
                  <c:v>24970</c:v>
                </c:pt>
                <c:pt idx="43575">
                  <c:v>77654</c:v>
                </c:pt>
                <c:pt idx="43576">
                  <c:v>198016</c:v>
                </c:pt>
                <c:pt idx="43577">
                  <c:v>21050</c:v>
                </c:pt>
                <c:pt idx="43578">
                  <c:v>51245</c:v>
                </c:pt>
                <c:pt idx="43579">
                  <c:v>43556</c:v>
                </c:pt>
                <c:pt idx="43580">
                  <c:v>152367</c:v>
                </c:pt>
                <c:pt idx="43581">
                  <c:v>52932</c:v>
                </c:pt>
                <c:pt idx="43582">
                  <c:v>45254</c:v>
                </c:pt>
                <c:pt idx="43583">
                  <c:v>38374</c:v>
                </c:pt>
                <c:pt idx="43584">
                  <c:v>34708</c:v>
                </c:pt>
                <c:pt idx="43585">
                  <c:v>31266</c:v>
                </c:pt>
                <c:pt idx="43586">
                  <c:v>31090</c:v>
                </c:pt>
                <c:pt idx="43587">
                  <c:v>41961</c:v>
                </c:pt>
                <c:pt idx="43588">
                  <c:v>22364</c:v>
                </c:pt>
                <c:pt idx="43589">
                  <c:v>118617</c:v>
                </c:pt>
                <c:pt idx="43590">
                  <c:v>24362</c:v>
                </c:pt>
                <c:pt idx="43591">
                  <c:v>245851</c:v>
                </c:pt>
                <c:pt idx="43592">
                  <c:v>47128</c:v>
                </c:pt>
                <c:pt idx="43593">
                  <c:v>39277</c:v>
                </c:pt>
                <c:pt idx="43594">
                  <c:v>37237</c:v>
                </c:pt>
                <c:pt idx="43595">
                  <c:v>41394</c:v>
                </c:pt>
                <c:pt idx="43596">
                  <c:v>30981</c:v>
                </c:pt>
                <c:pt idx="43597">
                  <c:v>42732</c:v>
                </c:pt>
                <c:pt idx="43598">
                  <c:v>53611</c:v>
                </c:pt>
                <c:pt idx="43599">
                  <c:v>44811</c:v>
                </c:pt>
                <c:pt idx="43600">
                  <c:v>64573</c:v>
                </c:pt>
                <c:pt idx="43601">
                  <c:v>93682</c:v>
                </c:pt>
                <c:pt idx="43602">
                  <c:v>20751</c:v>
                </c:pt>
                <c:pt idx="43603">
                  <c:v>35407</c:v>
                </c:pt>
                <c:pt idx="43604">
                  <c:v>68818</c:v>
                </c:pt>
                <c:pt idx="43605">
                  <c:v>39582</c:v>
                </c:pt>
                <c:pt idx="43606">
                  <c:v>111921</c:v>
                </c:pt>
                <c:pt idx="43607">
                  <c:v>103005</c:v>
                </c:pt>
                <c:pt idx="43608">
                  <c:v>27185</c:v>
                </c:pt>
                <c:pt idx="43609">
                  <c:v>22516</c:v>
                </c:pt>
                <c:pt idx="43610">
                  <c:v>77267</c:v>
                </c:pt>
                <c:pt idx="43611">
                  <c:v>36635</c:v>
                </c:pt>
                <c:pt idx="43612">
                  <c:v>46447</c:v>
                </c:pt>
                <c:pt idx="43613">
                  <c:v>40014</c:v>
                </c:pt>
                <c:pt idx="43614">
                  <c:v>52182</c:v>
                </c:pt>
                <c:pt idx="43615">
                  <c:v>32547</c:v>
                </c:pt>
                <c:pt idx="43616">
                  <c:v>45137</c:v>
                </c:pt>
                <c:pt idx="43617">
                  <c:v>106405</c:v>
                </c:pt>
                <c:pt idx="43618">
                  <c:v>79024</c:v>
                </c:pt>
                <c:pt idx="43619">
                  <c:v>29244</c:v>
                </c:pt>
                <c:pt idx="43620">
                  <c:v>85787</c:v>
                </c:pt>
                <c:pt idx="43621">
                  <c:v>89251</c:v>
                </c:pt>
                <c:pt idx="43622">
                  <c:v>47837</c:v>
                </c:pt>
                <c:pt idx="43623">
                  <c:v>70668</c:v>
                </c:pt>
                <c:pt idx="43624">
                  <c:v>28219</c:v>
                </c:pt>
                <c:pt idx="43625">
                  <c:v>28257</c:v>
                </c:pt>
                <c:pt idx="43626">
                  <c:v>176147</c:v>
                </c:pt>
                <c:pt idx="43627">
                  <c:v>54429</c:v>
                </c:pt>
                <c:pt idx="43628">
                  <c:v>84695</c:v>
                </c:pt>
                <c:pt idx="43629">
                  <c:v>38308</c:v>
                </c:pt>
                <c:pt idx="43630">
                  <c:v>27911</c:v>
                </c:pt>
                <c:pt idx="43631">
                  <c:v>182419</c:v>
                </c:pt>
                <c:pt idx="43632">
                  <c:v>41452</c:v>
                </c:pt>
                <c:pt idx="43633">
                  <c:v>25603</c:v>
                </c:pt>
                <c:pt idx="43634">
                  <c:v>34066</c:v>
                </c:pt>
                <c:pt idx="43635">
                  <c:v>54710</c:v>
                </c:pt>
                <c:pt idx="43636">
                  <c:v>218530</c:v>
                </c:pt>
                <c:pt idx="43637">
                  <c:v>105111</c:v>
                </c:pt>
                <c:pt idx="43638">
                  <c:v>41849</c:v>
                </c:pt>
                <c:pt idx="43639">
                  <c:v>43502</c:v>
                </c:pt>
                <c:pt idx="43640">
                  <c:v>56497</c:v>
                </c:pt>
                <c:pt idx="43641">
                  <c:v>43576</c:v>
                </c:pt>
                <c:pt idx="43642">
                  <c:v>84690</c:v>
                </c:pt>
                <c:pt idx="43643">
                  <c:v>41550</c:v>
                </c:pt>
                <c:pt idx="43644">
                  <c:v>38211</c:v>
                </c:pt>
                <c:pt idx="43645">
                  <c:v>37049</c:v>
                </c:pt>
                <c:pt idx="43646">
                  <c:v>30538</c:v>
                </c:pt>
                <c:pt idx="43647">
                  <c:v>61478</c:v>
                </c:pt>
                <c:pt idx="43648">
                  <c:v>45560</c:v>
                </c:pt>
                <c:pt idx="43649">
                  <c:v>170404</c:v>
                </c:pt>
                <c:pt idx="43650">
                  <c:v>45477</c:v>
                </c:pt>
                <c:pt idx="43651">
                  <c:v>27113</c:v>
                </c:pt>
                <c:pt idx="43652">
                  <c:v>74491</c:v>
                </c:pt>
                <c:pt idx="43653">
                  <c:v>35086</c:v>
                </c:pt>
                <c:pt idx="43654">
                  <c:v>68576</c:v>
                </c:pt>
                <c:pt idx="43655">
                  <c:v>24876</c:v>
                </c:pt>
                <c:pt idx="43656">
                  <c:v>88633</c:v>
                </c:pt>
                <c:pt idx="43657">
                  <c:v>37756</c:v>
                </c:pt>
                <c:pt idx="43658">
                  <c:v>40359</c:v>
                </c:pt>
                <c:pt idx="43659">
                  <c:v>40819</c:v>
                </c:pt>
                <c:pt idx="43660">
                  <c:v>169028</c:v>
                </c:pt>
                <c:pt idx="43661">
                  <c:v>30275</c:v>
                </c:pt>
                <c:pt idx="43662">
                  <c:v>27840</c:v>
                </c:pt>
                <c:pt idx="43663">
                  <c:v>27790</c:v>
                </c:pt>
                <c:pt idx="43664">
                  <c:v>35607</c:v>
                </c:pt>
                <c:pt idx="43665">
                  <c:v>26491</c:v>
                </c:pt>
                <c:pt idx="43666">
                  <c:v>29513</c:v>
                </c:pt>
                <c:pt idx="43667">
                  <c:v>33740</c:v>
                </c:pt>
                <c:pt idx="43668">
                  <c:v>54409</c:v>
                </c:pt>
                <c:pt idx="43669">
                  <c:v>31418</c:v>
                </c:pt>
                <c:pt idx="43670">
                  <c:v>21792</c:v>
                </c:pt>
                <c:pt idx="43671">
                  <c:v>46000</c:v>
                </c:pt>
                <c:pt idx="43672">
                  <c:v>74226</c:v>
                </c:pt>
                <c:pt idx="43673">
                  <c:v>42970</c:v>
                </c:pt>
                <c:pt idx="43674">
                  <c:v>114312</c:v>
                </c:pt>
                <c:pt idx="43675">
                  <c:v>56480</c:v>
                </c:pt>
                <c:pt idx="43676">
                  <c:v>29877</c:v>
                </c:pt>
                <c:pt idx="43677">
                  <c:v>29544</c:v>
                </c:pt>
                <c:pt idx="43678">
                  <c:v>70140</c:v>
                </c:pt>
                <c:pt idx="43679">
                  <c:v>52110</c:v>
                </c:pt>
                <c:pt idx="43680">
                  <c:v>89909</c:v>
                </c:pt>
                <c:pt idx="43681">
                  <c:v>84690</c:v>
                </c:pt>
                <c:pt idx="43682">
                  <c:v>26771</c:v>
                </c:pt>
                <c:pt idx="43683">
                  <c:v>23957</c:v>
                </c:pt>
                <c:pt idx="43684">
                  <c:v>117076</c:v>
                </c:pt>
                <c:pt idx="43685">
                  <c:v>65267</c:v>
                </c:pt>
                <c:pt idx="43686">
                  <c:v>102808</c:v>
                </c:pt>
                <c:pt idx="43687">
                  <c:v>27422</c:v>
                </c:pt>
                <c:pt idx="43688">
                  <c:v>77587</c:v>
                </c:pt>
                <c:pt idx="43689">
                  <c:v>57069</c:v>
                </c:pt>
                <c:pt idx="43690">
                  <c:v>75935</c:v>
                </c:pt>
                <c:pt idx="43691">
                  <c:v>100492</c:v>
                </c:pt>
                <c:pt idx="43692">
                  <c:v>70124</c:v>
                </c:pt>
                <c:pt idx="43693">
                  <c:v>31589</c:v>
                </c:pt>
                <c:pt idx="43694">
                  <c:v>43708</c:v>
                </c:pt>
                <c:pt idx="43695">
                  <c:v>44235</c:v>
                </c:pt>
                <c:pt idx="43696">
                  <c:v>29775</c:v>
                </c:pt>
                <c:pt idx="43697">
                  <c:v>39835</c:v>
                </c:pt>
                <c:pt idx="43698">
                  <c:v>31255</c:v>
                </c:pt>
                <c:pt idx="43699">
                  <c:v>26780</c:v>
                </c:pt>
                <c:pt idx="43700">
                  <c:v>37740</c:v>
                </c:pt>
                <c:pt idx="43701">
                  <c:v>37667</c:v>
                </c:pt>
                <c:pt idx="43702">
                  <c:v>77406</c:v>
                </c:pt>
                <c:pt idx="43703">
                  <c:v>76133</c:v>
                </c:pt>
                <c:pt idx="43704">
                  <c:v>97439</c:v>
                </c:pt>
                <c:pt idx="43705">
                  <c:v>36549</c:v>
                </c:pt>
                <c:pt idx="43706">
                  <c:v>24499</c:v>
                </c:pt>
                <c:pt idx="43707">
                  <c:v>41285</c:v>
                </c:pt>
                <c:pt idx="43708">
                  <c:v>193987</c:v>
                </c:pt>
                <c:pt idx="43709">
                  <c:v>27240</c:v>
                </c:pt>
                <c:pt idx="43710">
                  <c:v>47355</c:v>
                </c:pt>
                <c:pt idx="43711">
                  <c:v>164378</c:v>
                </c:pt>
                <c:pt idx="43712">
                  <c:v>215932</c:v>
                </c:pt>
                <c:pt idx="43713">
                  <c:v>32107</c:v>
                </c:pt>
                <c:pt idx="43714">
                  <c:v>34113</c:v>
                </c:pt>
                <c:pt idx="43715">
                  <c:v>38157</c:v>
                </c:pt>
                <c:pt idx="43716">
                  <c:v>47949</c:v>
                </c:pt>
                <c:pt idx="43717">
                  <c:v>164300</c:v>
                </c:pt>
                <c:pt idx="43718">
                  <c:v>33560</c:v>
                </c:pt>
                <c:pt idx="43719">
                  <c:v>255526</c:v>
                </c:pt>
                <c:pt idx="43720">
                  <c:v>34916</c:v>
                </c:pt>
                <c:pt idx="43721">
                  <c:v>67302</c:v>
                </c:pt>
                <c:pt idx="43722">
                  <c:v>118944</c:v>
                </c:pt>
                <c:pt idx="43723">
                  <c:v>112857</c:v>
                </c:pt>
                <c:pt idx="43724">
                  <c:v>39549</c:v>
                </c:pt>
                <c:pt idx="43725">
                  <c:v>63257</c:v>
                </c:pt>
                <c:pt idx="43726">
                  <c:v>24943</c:v>
                </c:pt>
                <c:pt idx="43727">
                  <c:v>24427</c:v>
                </c:pt>
                <c:pt idx="43728">
                  <c:v>42119</c:v>
                </c:pt>
                <c:pt idx="43729">
                  <c:v>23088</c:v>
                </c:pt>
                <c:pt idx="43730">
                  <c:v>40906</c:v>
                </c:pt>
                <c:pt idx="43731">
                  <c:v>69311</c:v>
                </c:pt>
                <c:pt idx="43732">
                  <c:v>23821</c:v>
                </c:pt>
                <c:pt idx="43733">
                  <c:v>137765</c:v>
                </c:pt>
                <c:pt idx="43734">
                  <c:v>96754</c:v>
                </c:pt>
                <c:pt idx="43735">
                  <c:v>72684</c:v>
                </c:pt>
                <c:pt idx="43736">
                  <c:v>33850</c:v>
                </c:pt>
                <c:pt idx="43737">
                  <c:v>125682</c:v>
                </c:pt>
                <c:pt idx="43738">
                  <c:v>30334</c:v>
                </c:pt>
                <c:pt idx="43739">
                  <c:v>116436</c:v>
                </c:pt>
                <c:pt idx="43740">
                  <c:v>43372</c:v>
                </c:pt>
                <c:pt idx="43741">
                  <c:v>24734</c:v>
                </c:pt>
                <c:pt idx="43742">
                  <c:v>37853</c:v>
                </c:pt>
                <c:pt idx="43743">
                  <c:v>28322</c:v>
                </c:pt>
                <c:pt idx="43744">
                  <c:v>24202</c:v>
                </c:pt>
                <c:pt idx="43745">
                  <c:v>30421</c:v>
                </c:pt>
                <c:pt idx="43746">
                  <c:v>195549</c:v>
                </c:pt>
                <c:pt idx="43747">
                  <c:v>62579</c:v>
                </c:pt>
                <c:pt idx="43748">
                  <c:v>80671</c:v>
                </c:pt>
                <c:pt idx="43749">
                  <c:v>47693</c:v>
                </c:pt>
                <c:pt idx="43750">
                  <c:v>88544</c:v>
                </c:pt>
                <c:pt idx="43751">
                  <c:v>53342</c:v>
                </c:pt>
                <c:pt idx="43752">
                  <c:v>125485</c:v>
                </c:pt>
                <c:pt idx="43753">
                  <c:v>31811</c:v>
                </c:pt>
                <c:pt idx="43754">
                  <c:v>125089</c:v>
                </c:pt>
                <c:pt idx="43755">
                  <c:v>23951</c:v>
                </c:pt>
                <c:pt idx="43756">
                  <c:v>37637</c:v>
                </c:pt>
                <c:pt idx="43757">
                  <c:v>37532</c:v>
                </c:pt>
                <c:pt idx="43758">
                  <c:v>37086</c:v>
                </c:pt>
                <c:pt idx="43759">
                  <c:v>37887</c:v>
                </c:pt>
                <c:pt idx="43760">
                  <c:v>110749</c:v>
                </c:pt>
                <c:pt idx="43761">
                  <c:v>35504</c:v>
                </c:pt>
                <c:pt idx="43762">
                  <c:v>38940</c:v>
                </c:pt>
                <c:pt idx="43763">
                  <c:v>28701</c:v>
                </c:pt>
                <c:pt idx="43764">
                  <c:v>50629</c:v>
                </c:pt>
                <c:pt idx="43765">
                  <c:v>25228</c:v>
                </c:pt>
                <c:pt idx="43766">
                  <c:v>88597</c:v>
                </c:pt>
                <c:pt idx="43767">
                  <c:v>79744</c:v>
                </c:pt>
                <c:pt idx="43768">
                  <c:v>29705</c:v>
                </c:pt>
                <c:pt idx="43769">
                  <c:v>51838</c:v>
                </c:pt>
                <c:pt idx="43770">
                  <c:v>35842</c:v>
                </c:pt>
                <c:pt idx="43771">
                  <c:v>39171</c:v>
                </c:pt>
                <c:pt idx="43772">
                  <c:v>59539</c:v>
                </c:pt>
                <c:pt idx="43773">
                  <c:v>31732</c:v>
                </c:pt>
                <c:pt idx="43774">
                  <c:v>57813</c:v>
                </c:pt>
                <c:pt idx="43775">
                  <c:v>82364</c:v>
                </c:pt>
                <c:pt idx="43776">
                  <c:v>49508</c:v>
                </c:pt>
                <c:pt idx="43777">
                  <c:v>104155</c:v>
                </c:pt>
                <c:pt idx="43778">
                  <c:v>26026</c:v>
                </c:pt>
                <c:pt idx="43779">
                  <c:v>42310</c:v>
                </c:pt>
                <c:pt idx="43780">
                  <c:v>51677</c:v>
                </c:pt>
                <c:pt idx="43781">
                  <c:v>49020</c:v>
                </c:pt>
                <c:pt idx="43782">
                  <c:v>58863</c:v>
                </c:pt>
                <c:pt idx="43783">
                  <c:v>30140</c:v>
                </c:pt>
                <c:pt idx="43784">
                  <c:v>45175</c:v>
                </c:pt>
                <c:pt idx="43785">
                  <c:v>51351</c:v>
                </c:pt>
                <c:pt idx="43786">
                  <c:v>31399</c:v>
                </c:pt>
                <c:pt idx="43787">
                  <c:v>21631</c:v>
                </c:pt>
                <c:pt idx="43788">
                  <c:v>40007</c:v>
                </c:pt>
                <c:pt idx="43789">
                  <c:v>52157</c:v>
                </c:pt>
                <c:pt idx="43790">
                  <c:v>79361</c:v>
                </c:pt>
                <c:pt idx="43791">
                  <c:v>25953</c:v>
                </c:pt>
                <c:pt idx="43792">
                  <c:v>45913</c:v>
                </c:pt>
                <c:pt idx="43793">
                  <c:v>62898</c:v>
                </c:pt>
                <c:pt idx="43794">
                  <c:v>40390</c:v>
                </c:pt>
                <c:pt idx="43795">
                  <c:v>40319</c:v>
                </c:pt>
                <c:pt idx="43796">
                  <c:v>38961</c:v>
                </c:pt>
                <c:pt idx="43797">
                  <c:v>116180</c:v>
                </c:pt>
                <c:pt idx="43798">
                  <c:v>28591</c:v>
                </c:pt>
                <c:pt idx="43799">
                  <c:v>60353</c:v>
                </c:pt>
                <c:pt idx="43800">
                  <c:v>16272</c:v>
                </c:pt>
                <c:pt idx="43801">
                  <c:v>27069</c:v>
                </c:pt>
                <c:pt idx="43802">
                  <c:v>119516</c:v>
                </c:pt>
                <c:pt idx="43803">
                  <c:v>110400</c:v>
                </c:pt>
                <c:pt idx="43804">
                  <c:v>43270</c:v>
                </c:pt>
                <c:pt idx="43805">
                  <c:v>73462</c:v>
                </c:pt>
                <c:pt idx="43806">
                  <c:v>114516</c:v>
                </c:pt>
                <c:pt idx="43807">
                  <c:v>106285</c:v>
                </c:pt>
                <c:pt idx="43808">
                  <c:v>35292</c:v>
                </c:pt>
                <c:pt idx="43809">
                  <c:v>90289</c:v>
                </c:pt>
                <c:pt idx="43810">
                  <c:v>35507</c:v>
                </c:pt>
                <c:pt idx="43811">
                  <c:v>68339</c:v>
                </c:pt>
                <c:pt idx="43812">
                  <c:v>48337</c:v>
                </c:pt>
                <c:pt idx="43813">
                  <c:v>112694</c:v>
                </c:pt>
                <c:pt idx="43814">
                  <c:v>99597</c:v>
                </c:pt>
                <c:pt idx="43815">
                  <c:v>41278</c:v>
                </c:pt>
                <c:pt idx="43816">
                  <c:v>38504</c:v>
                </c:pt>
                <c:pt idx="43817">
                  <c:v>35362</c:v>
                </c:pt>
                <c:pt idx="43818">
                  <c:v>130709</c:v>
                </c:pt>
                <c:pt idx="43819">
                  <c:v>39214</c:v>
                </c:pt>
                <c:pt idx="43820">
                  <c:v>44448</c:v>
                </c:pt>
                <c:pt idx="43821">
                  <c:v>24070</c:v>
                </c:pt>
                <c:pt idx="43822">
                  <c:v>27028</c:v>
                </c:pt>
                <c:pt idx="43823">
                  <c:v>27990</c:v>
                </c:pt>
                <c:pt idx="43824">
                  <c:v>62592</c:v>
                </c:pt>
                <c:pt idx="43825">
                  <c:v>19991</c:v>
                </c:pt>
                <c:pt idx="43826">
                  <c:v>102042</c:v>
                </c:pt>
                <c:pt idx="43827">
                  <c:v>34270</c:v>
                </c:pt>
                <c:pt idx="43828">
                  <c:v>37050</c:v>
                </c:pt>
                <c:pt idx="43829">
                  <c:v>129814</c:v>
                </c:pt>
                <c:pt idx="43830">
                  <c:v>84690</c:v>
                </c:pt>
                <c:pt idx="43831">
                  <c:v>37021</c:v>
                </c:pt>
                <c:pt idx="43832">
                  <c:v>27619</c:v>
                </c:pt>
                <c:pt idx="43833">
                  <c:v>155425</c:v>
                </c:pt>
                <c:pt idx="43834">
                  <c:v>24597</c:v>
                </c:pt>
                <c:pt idx="43835">
                  <c:v>58084</c:v>
                </c:pt>
                <c:pt idx="43836">
                  <c:v>127853</c:v>
                </c:pt>
                <c:pt idx="43837">
                  <c:v>69717</c:v>
                </c:pt>
                <c:pt idx="43838">
                  <c:v>23568</c:v>
                </c:pt>
                <c:pt idx="43839">
                  <c:v>41282</c:v>
                </c:pt>
                <c:pt idx="43840">
                  <c:v>232872</c:v>
                </c:pt>
                <c:pt idx="43841">
                  <c:v>63054</c:v>
                </c:pt>
                <c:pt idx="43842">
                  <c:v>34039</c:v>
                </c:pt>
                <c:pt idx="43843">
                  <c:v>39933</c:v>
                </c:pt>
                <c:pt idx="43844">
                  <c:v>45988</c:v>
                </c:pt>
                <c:pt idx="43845">
                  <c:v>24546</c:v>
                </c:pt>
                <c:pt idx="43846">
                  <c:v>25207</c:v>
                </c:pt>
                <c:pt idx="43847">
                  <c:v>65516</c:v>
                </c:pt>
                <c:pt idx="43848">
                  <c:v>150573</c:v>
                </c:pt>
                <c:pt idx="43849">
                  <c:v>47066</c:v>
                </c:pt>
                <c:pt idx="43850">
                  <c:v>21365</c:v>
                </c:pt>
                <c:pt idx="43851">
                  <c:v>48486</c:v>
                </c:pt>
                <c:pt idx="43852">
                  <c:v>71386</c:v>
                </c:pt>
                <c:pt idx="43853">
                  <c:v>53159</c:v>
                </c:pt>
                <c:pt idx="43854">
                  <c:v>33702</c:v>
                </c:pt>
                <c:pt idx="43855">
                  <c:v>96858</c:v>
                </c:pt>
                <c:pt idx="43856">
                  <c:v>39062</c:v>
                </c:pt>
                <c:pt idx="43857">
                  <c:v>28291</c:v>
                </c:pt>
                <c:pt idx="43858">
                  <c:v>38044</c:v>
                </c:pt>
                <c:pt idx="43859">
                  <c:v>37782</c:v>
                </c:pt>
                <c:pt idx="43860">
                  <c:v>49037</c:v>
                </c:pt>
                <c:pt idx="43861">
                  <c:v>31042</c:v>
                </c:pt>
                <c:pt idx="43862">
                  <c:v>46170</c:v>
                </c:pt>
                <c:pt idx="43863">
                  <c:v>37188</c:v>
                </c:pt>
                <c:pt idx="43864">
                  <c:v>30299</c:v>
                </c:pt>
                <c:pt idx="43865">
                  <c:v>83685</c:v>
                </c:pt>
                <c:pt idx="43866">
                  <c:v>46382</c:v>
                </c:pt>
                <c:pt idx="43867">
                  <c:v>32997</c:v>
                </c:pt>
                <c:pt idx="43868">
                  <c:v>40487</c:v>
                </c:pt>
                <c:pt idx="43869">
                  <c:v>231610</c:v>
                </c:pt>
                <c:pt idx="43870">
                  <c:v>65028</c:v>
                </c:pt>
                <c:pt idx="43871">
                  <c:v>28998</c:v>
                </c:pt>
                <c:pt idx="43872">
                  <c:v>50591</c:v>
                </c:pt>
                <c:pt idx="43873">
                  <c:v>37710</c:v>
                </c:pt>
                <c:pt idx="43874">
                  <c:v>42624</c:v>
                </c:pt>
                <c:pt idx="43875">
                  <c:v>172259</c:v>
                </c:pt>
                <c:pt idx="43876">
                  <c:v>35760</c:v>
                </c:pt>
                <c:pt idx="43877">
                  <c:v>44731</c:v>
                </c:pt>
                <c:pt idx="43878">
                  <c:v>58476</c:v>
                </c:pt>
                <c:pt idx="43879">
                  <c:v>25016</c:v>
                </c:pt>
                <c:pt idx="43880">
                  <c:v>26212</c:v>
                </c:pt>
                <c:pt idx="43881">
                  <c:v>190246</c:v>
                </c:pt>
                <c:pt idx="43882">
                  <c:v>41574</c:v>
                </c:pt>
                <c:pt idx="43883">
                  <c:v>29688</c:v>
                </c:pt>
                <c:pt idx="43884">
                  <c:v>55690</c:v>
                </c:pt>
                <c:pt idx="43885">
                  <c:v>27913</c:v>
                </c:pt>
                <c:pt idx="43886">
                  <c:v>33301</c:v>
                </c:pt>
                <c:pt idx="43887">
                  <c:v>314880</c:v>
                </c:pt>
                <c:pt idx="43888">
                  <c:v>40749</c:v>
                </c:pt>
                <c:pt idx="43889">
                  <c:v>46538</c:v>
                </c:pt>
                <c:pt idx="43890">
                  <c:v>57949</c:v>
                </c:pt>
                <c:pt idx="43891">
                  <c:v>34591</c:v>
                </c:pt>
                <c:pt idx="43892">
                  <c:v>102822</c:v>
                </c:pt>
                <c:pt idx="43893">
                  <c:v>26230</c:v>
                </c:pt>
                <c:pt idx="43894">
                  <c:v>74594</c:v>
                </c:pt>
                <c:pt idx="43895">
                  <c:v>37329</c:v>
                </c:pt>
                <c:pt idx="43896">
                  <c:v>33906</c:v>
                </c:pt>
                <c:pt idx="43897">
                  <c:v>57017</c:v>
                </c:pt>
                <c:pt idx="43898">
                  <c:v>94831</c:v>
                </c:pt>
                <c:pt idx="43899">
                  <c:v>44314</c:v>
                </c:pt>
                <c:pt idx="43900">
                  <c:v>25431</c:v>
                </c:pt>
                <c:pt idx="43901">
                  <c:v>48063</c:v>
                </c:pt>
                <c:pt idx="43902">
                  <c:v>26386</c:v>
                </c:pt>
                <c:pt idx="43903">
                  <c:v>66210</c:v>
                </c:pt>
                <c:pt idx="43904">
                  <c:v>25152</c:v>
                </c:pt>
                <c:pt idx="43905">
                  <c:v>25839</c:v>
                </c:pt>
                <c:pt idx="43906">
                  <c:v>68403</c:v>
                </c:pt>
                <c:pt idx="43907">
                  <c:v>51356</c:v>
                </c:pt>
                <c:pt idx="43908">
                  <c:v>45208</c:v>
                </c:pt>
                <c:pt idx="43909">
                  <c:v>30646</c:v>
                </c:pt>
                <c:pt idx="43910">
                  <c:v>118704</c:v>
                </c:pt>
                <c:pt idx="43911">
                  <c:v>42913</c:v>
                </c:pt>
                <c:pt idx="43912">
                  <c:v>74559</c:v>
                </c:pt>
                <c:pt idx="43913">
                  <c:v>28007</c:v>
                </c:pt>
                <c:pt idx="43914">
                  <c:v>66297</c:v>
                </c:pt>
                <c:pt idx="43915">
                  <c:v>47862</c:v>
                </c:pt>
                <c:pt idx="43916">
                  <c:v>218074</c:v>
                </c:pt>
                <c:pt idx="43917">
                  <c:v>22032</c:v>
                </c:pt>
                <c:pt idx="43918">
                  <c:v>117440</c:v>
                </c:pt>
                <c:pt idx="43919">
                  <c:v>71023</c:v>
                </c:pt>
                <c:pt idx="43920">
                  <c:v>26324</c:v>
                </c:pt>
                <c:pt idx="43921">
                  <c:v>67119</c:v>
                </c:pt>
                <c:pt idx="43922">
                  <c:v>29015</c:v>
                </c:pt>
                <c:pt idx="43923">
                  <c:v>39666</c:v>
                </c:pt>
                <c:pt idx="43924">
                  <c:v>38069</c:v>
                </c:pt>
                <c:pt idx="43925">
                  <c:v>330817</c:v>
                </c:pt>
                <c:pt idx="43926">
                  <c:v>25141</c:v>
                </c:pt>
                <c:pt idx="43927">
                  <c:v>47002</c:v>
                </c:pt>
                <c:pt idx="43928">
                  <c:v>93453</c:v>
                </c:pt>
                <c:pt idx="43929">
                  <c:v>125082</c:v>
                </c:pt>
                <c:pt idx="43930">
                  <c:v>56665</c:v>
                </c:pt>
                <c:pt idx="43931">
                  <c:v>73369</c:v>
                </c:pt>
                <c:pt idx="43932">
                  <c:v>22895</c:v>
                </c:pt>
                <c:pt idx="43933">
                  <c:v>44034</c:v>
                </c:pt>
                <c:pt idx="43934">
                  <c:v>74458</c:v>
                </c:pt>
                <c:pt idx="43935">
                  <c:v>37872</c:v>
                </c:pt>
                <c:pt idx="43936">
                  <c:v>238337</c:v>
                </c:pt>
                <c:pt idx="43937">
                  <c:v>192878</c:v>
                </c:pt>
                <c:pt idx="43938">
                  <c:v>59268</c:v>
                </c:pt>
                <c:pt idx="43939">
                  <c:v>47440</c:v>
                </c:pt>
                <c:pt idx="43940">
                  <c:v>36983</c:v>
                </c:pt>
                <c:pt idx="43941">
                  <c:v>58728</c:v>
                </c:pt>
                <c:pt idx="43942">
                  <c:v>44295</c:v>
                </c:pt>
                <c:pt idx="43943">
                  <c:v>80236</c:v>
                </c:pt>
                <c:pt idx="43944">
                  <c:v>29532</c:v>
                </c:pt>
                <c:pt idx="43945">
                  <c:v>32535</c:v>
                </c:pt>
                <c:pt idx="43946">
                  <c:v>38930</c:v>
                </c:pt>
                <c:pt idx="43947">
                  <c:v>138060</c:v>
                </c:pt>
                <c:pt idx="43948">
                  <c:v>181883</c:v>
                </c:pt>
                <c:pt idx="43949">
                  <c:v>46445</c:v>
                </c:pt>
                <c:pt idx="43950">
                  <c:v>54758</c:v>
                </c:pt>
                <c:pt idx="43951">
                  <c:v>37416</c:v>
                </c:pt>
                <c:pt idx="43952">
                  <c:v>29535</c:v>
                </c:pt>
                <c:pt idx="43953">
                  <c:v>40837</c:v>
                </c:pt>
                <c:pt idx="43954">
                  <c:v>42246</c:v>
                </c:pt>
                <c:pt idx="43955">
                  <c:v>21212</c:v>
                </c:pt>
                <c:pt idx="43956">
                  <c:v>39021</c:v>
                </c:pt>
                <c:pt idx="43957">
                  <c:v>62259</c:v>
                </c:pt>
                <c:pt idx="43958">
                  <c:v>24570</c:v>
                </c:pt>
                <c:pt idx="43959">
                  <c:v>35908</c:v>
                </c:pt>
                <c:pt idx="43960">
                  <c:v>83259</c:v>
                </c:pt>
                <c:pt idx="43961">
                  <c:v>31328</c:v>
                </c:pt>
                <c:pt idx="43962">
                  <c:v>41360</c:v>
                </c:pt>
                <c:pt idx="43963">
                  <c:v>82658</c:v>
                </c:pt>
                <c:pt idx="43964">
                  <c:v>49582</c:v>
                </c:pt>
                <c:pt idx="43965">
                  <c:v>39024</c:v>
                </c:pt>
                <c:pt idx="43966">
                  <c:v>31232</c:v>
                </c:pt>
                <c:pt idx="43967">
                  <c:v>25891</c:v>
                </c:pt>
                <c:pt idx="43968">
                  <c:v>35628</c:v>
                </c:pt>
                <c:pt idx="43969">
                  <c:v>84469</c:v>
                </c:pt>
                <c:pt idx="43970">
                  <c:v>48796</c:v>
                </c:pt>
                <c:pt idx="43971">
                  <c:v>37361</c:v>
                </c:pt>
                <c:pt idx="43972">
                  <c:v>49296</c:v>
                </c:pt>
                <c:pt idx="43973">
                  <c:v>214931</c:v>
                </c:pt>
                <c:pt idx="43974">
                  <c:v>28286</c:v>
                </c:pt>
                <c:pt idx="43975">
                  <c:v>44972</c:v>
                </c:pt>
                <c:pt idx="43976">
                  <c:v>43604</c:v>
                </c:pt>
                <c:pt idx="43977">
                  <c:v>38413</c:v>
                </c:pt>
                <c:pt idx="43978">
                  <c:v>69967</c:v>
                </c:pt>
                <c:pt idx="43979">
                  <c:v>68176</c:v>
                </c:pt>
                <c:pt idx="43980">
                  <c:v>155072</c:v>
                </c:pt>
                <c:pt idx="43981">
                  <c:v>38967</c:v>
                </c:pt>
                <c:pt idx="43982">
                  <c:v>105652</c:v>
                </c:pt>
                <c:pt idx="43983">
                  <c:v>45684</c:v>
                </c:pt>
                <c:pt idx="43984">
                  <c:v>44853</c:v>
                </c:pt>
                <c:pt idx="43985">
                  <c:v>159014</c:v>
                </c:pt>
                <c:pt idx="43986">
                  <c:v>37597</c:v>
                </c:pt>
                <c:pt idx="43987">
                  <c:v>26029</c:v>
                </c:pt>
                <c:pt idx="43988">
                  <c:v>40208</c:v>
                </c:pt>
                <c:pt idx="43989">
                  <c:v>98506</c:v>
                </c:pt>
                <c:pt idx="43990">
                  <c:v>49530</c:v>
                </c:pt>
                <c:pt idx="43991">
                  <c:v>69145</c:v>
                </c:pt>
                <c:pt idx="43992">
                  <c:v>93602</c:v>
                </c:pt>
                <c:pt idx="43993">
                  <c:v>42257</c:v>
                </c:pt>
                <c:pt idx="43994">
                  <c:v>43663</c:v>
                </c:pt>
                <c:pt idx="43995">
                  <c:v>26592</c:v>
                </c:pt>
                <c:pt idx="43996">
                  <c:v>41275</c:v>
                </c:pt>
                <c:pt idx="43997">
                  <c:v>33090</c:v>
                </c:pt>
                <c:pt idx="43998">
                  <c:v>27406</c:v>
                </c:pt>
                <c:pt idx="43999">
                  <c:v>23378</c:v>
                </c:pt>
                <c:pt idx="44000">
                  <c:v>86013</c:v>
                </c:pt>
                <c:pt idx="44001">
                  <c:v>40233</c:v>
                </c:pt>
                <c:pt idx="44002">
                  <c:v>61295</c:v>
                </c:pt>
                <c:pt idx="44003">
                  <c:v>35988</c:v>
                </c:pt>
                <c:pt idx="44004">
                  <c:v>170773</c:v>
                </c:pt>
                <c:pt idx="44005">
                  <c:v>43769</c:v>
                </c:pt>
                <c:pt idx="44006">
                  <c:v>56058</c:v>
                </c:pt>
                <c:pt idx="44007">
                  <c:v>49625</c:v>
                </c:pt>
                <c:pt idx="44008">
                  <c:v>63900</c:v>
                </c:pt>
                <c:pt idx="44009">
                  <c:v>162599</c:v>
                </c:pt>
                <c:pt idx="44010">
                  <c:v>49195</c:v>
                </c:pt>
                <c:pt idx="44011">
                  <c:v>52379</c:v>
                </c:pt>
                <c:pt idx="44012">
                  <c:v>46347</c:v>
                </c:pt>
                <c:pt idx="44013">
                  <c:v>38648</c:v>
                </c:pt>
                <c:pt idx="44014">
                  <c:v>65057</c:v>
                </c:pt>
                <c:pt idx="44015">
                  <c:v>30766</c:v>
                </c:pt>
                <c:pt idx="44016">
                  <c:v>23129</c:v>
                </c:pt>
                <c:pt idx="44017">
                  <c:v>25863</c:v>
                </c:pt>
                <c:pt idx="44018">
                  <c:v>39680</c:v>
                </c:pt>
                <c:pt idx="44019">
                  <c:v>69802</c:v>
                </c:pt>
                <c:pt idx="44020">
                  <c:v>28166</c:v>
                </c:pt>
                <c:pt idx="44021">
                  <c:v>26784</c:v>
                </c:pt>
                <c:pt idx="44022">
                  <c:v>38731</c:v>
                </c:pt>
                <c:pt idx="44023">
                  <c:v>110326</c:v>
                </c:pt>
                <c:pt idx="44024">
                  <c:v>41723</c:v>
                </c:pt>
                <c:pt idx="44025">
                  <c:v>28058</c:v>
                </c:pt>
                <c:pt idx="44026">
                  <c:v>50102</c:v>
                </c:pt>
                <c:pt idx="44027">
                  <c:v>24748</c:v>
                </c:pt>
                <c:pt idx="44028">
                  <c:v>98066</c:v>
                </c:pt>
                <c:pt idx="44029">
                  <c:v>37462</c:v>
                </c:pt>
                <c:pt idx="44030">
                  <c:v>75078</c:v>
                </c:pt>
                <c:pt idx="44031">
                  <c:v>38366</c:v>
                </c:pt>
                <c:pt idx="44032">
                  <c:v>44859</c:v>
                </c:pt>
                <c:pt idx="44033">
                  <c:v>102850</c:v>
                </c:pt>
                <c:pt idx="44034">
                  <c:v>228426</c:v>
                </c:pt>
                <c:pt idx="44035">
                  <c:v>63521</c:v>
                </c:pt>
                <c:pt idx="44036">
                  <c:v>29206</c:v>
                </c:pt>
                <c:pt idx="44037">
                  <c:v>45085</c:v>
                </c:pt>
                <c:pt idx="44038">
                  <c:v>45188</c:v>
                </c:pt>
                <c:pt idx="44039">
                  <c:v>27219</c:v>
                </c:pt>
                <c:pt idx="44040">
                  <c:v>42120</c:v>
                </c:pt>
                <c:pt idx="44041">
                  <c:v>74450</c:v>
                </c:pt>
                <c:pt idx="44042">
                  <c:v>32659</c:v>
                </c:pt>
                <c:pt idx="44043">
                  <c:v>26659</c:v>
                </c:pt>
                <c:pt idx="44044">
                  <c:v>36959</c:v>
                </c:pt>
                <c:pt idx="44045">
                  <c:v>47438</c:v>
                </c:pt>
                <c:pt idx="44046">
                  <c:v>36228</c:v>
                </c:pt>
                <c:pt idx="44047">
                  <c:v>23029</c:v>
                </c:pt>
                <c:pt idx="44048">
                  <c:v>38853</c:v>
                </c:pt>
                <c:pt idx="44049">
                  <c:v>51923</c:v>
                </c:pt>
                <c:pt idx="44050">
                  <c:v>44460</c:v>
                </c:pt>
                <c:pt idx="44051">
                  <c:v>25258</c:v>
                </c:pt>
                <c:pt idx="44052">
                  <c:v>31344</c:v>
                </c:pt>
                <c:pt idx="44053">
                  <c:v>120265</c:v>
                </c:pt>
                <c:pt idx="44054">
                  <c:v>52410</c:v>
                </c:pt>
                <c:pt idx="44055">
                  <c:v>27530</c:v>
                </c:pt>
                <c:pt idx="44056">
                  <c:v>98026</c:v>
                </c:pt>
                <c:pt idx="44057">
                  <c:v>47831</c:v>
                </c:pt>
                <c:pt idx="44058">
                  <c:v>98170</c:v>
                </c:pt>
                <c:pt idx="44059">
                  <c:v>35125</c:v>
                </c:pt>
                <c:pt idx="44060">
                  <c:v>36110</c:v>
                </c:pt>
                <c:pt idx="44061">
                  <c:v>105071</c:v>
                </c:pt>
                <c:pt idx="44062">
                  <c:v>61289</c:v>
                </c:pt>
                <c:pt idx="44063">
                  <c:v>67220</c:v>
                </c:pt>
                <c:pt idx="44064">
                  <c:v>458885</c:v>
                </c:pt>
                <c:pt idx="44065">
                  <c:v>54759</c:v>
                </c:pt>
                <c:pt idx="44066">
                  <c:v>34200</c:v>
                </c:pt>
                <c:pt idx="44067">
                  <c:v>86878</c:v>
                </c:pt>
                <c:pt idx="44068">
                  <c:v>52033</c:v>
                </c:pt>
                <c:pt idx="44069">
                  <c:v>41533</c:v>
                </c:pt>
                <c:pt idx="44070">
                  <c:v>70406</c:v>
                </c:pt>
                <c:pt idx="44071">
                  <c:v>45555</c:v>
                </c:pt>
                <c:pt idx="44072">
                  <c:v>101654</c:v>
                </c:pt>
                <c:pt idx="44073">
                  <c:v>48063</c:v>
                </c:pt>
                <c:pt idx="44074">
                  <c:v>62809</c:v>
                </c:pt>
                <c:pt idx="44075">
                  <c:v>64978</c:v>
                </c:pt>
                <c:pt idx="44076">
                  <c:v>25471</c:v>
                </c:pt>
                <c:pt idx="44077">
                  <c:v>40931</c:v>
                </c:pt>
                <c:pt idx="44078">
                  <c:v>39224</c:v>
                </c:pt>
                <c:pt idx="44079">
                  <c:v>49833</c:v>
                </c:pt>
                <c:pt idx="44080">
                  <c:v>30591</c:v>
                </c:pt>
                <c:pt idx="44081">
                  <c:v>40106</c:v>
                </c:pt>
                <c:pt idx="44082">
                  <c:v>199416</c:v>
                </c:pt>
                <c:pt idx="44083">
                  <c:v>34652</c:v>
                </c:pt>
                <c:pt idx="44084">
                  <c:v>32741</c:v>
                </c:pt>
                <c:pt idx="44085">
                  <c:v>55894</c:v>
                </c:pt>
                <c:pt idx="44086">
                  <c:v>39560</c:v>
                </c:pt>
                <c:pt idx="44087">
                  <c:v>32861</c:v>
                </c:pt>
                <c:pt idx="44088">
                  <c:v>35484</c:v>
                </c:pt>
                <c:pt idx="44089">
                  <c:v>48648</c:v>
                </c:pt>
                <c:pt idx="44090">
                  <c:v>21281</c:v>
                </c:pt>
                <c:pt idx="44091">
                  <c:v>25661</c:v>
                </c:pt>
                <c:pt idx="44092">
                  <c:v>44011</c:v>
                </c:pt>
                <c:pt idx="44093">
                  <c:v>26899</c:v>
                </c:pt>
                <c:pt idx="44094">
                  <c:v>40557</c:v>
                </c:pt>
                <c:pt idx="44095">
                  <c:v>51191</c:v>
                </c:pt>
                <c:pt idx="44096">
                  <c:v>27737</c:v>
                </c:pt>
                <c:pt idx="44097">
                  <c:v>73029</c:v>
                </c:pt>
                <c:pt idx="44098">
                  <c:v>68013</c:v>
                </c:pt>
                <c:pt idx="44099">
                  <c:v>61130</c:v>
                </c:pt>
                <c:pt idx="44100">
                  <c:v>316048</c:v>
                </c:pt>
                <c:pt idx="44101">
                  <c:v>212683</c:v>
                </c:pt>
                <c:pt idx="44102">
                  <c:v>23236</c:v>
                </c:pt>
                <c:pt idx="44103">
                  <c:v>41690</c:v>
                </c:pt>
                <c:pt idx="44104">
                  <c:v>90240</c:v>
                </c:pt>
                <c:pt idx="44105">
                  <c:v>33646</c:v>
                </c:pt>
                <c:pt idx="44106">
                  <c:v>45658</c:v>
                </c:pt>
                <c:pt idx="44107">
                  <c:v>37537</c:v>
                </c:pt>
                <c:pt idx="44108">
                  <c:v>25432</c:v>
                </c:pt>
                <c:pt idx="44109">
                  <c:v>34243</c:v>
                </c:pt>
                <c:pt idx="44110">
                  <c:v>36856</c:v>
                </c:pt>
                <c:pt idx="44111">
                  <c:v>32812</c:v>
                </c:pt>
                <c:pt idx="44112">
                  <c:v>45219</c:v>
                </c:pt>
                <c:pt idx="44113">
                  <c:v>52756</c:v>
                </c:pt>
                <c:pt idx="44114">
                  <c:v>39003</c:v>
                </c:pt>
                <c:pt idx="44115">
                  <c:v>24996</c:v>
                </c:pt>
                <c:pt idx="44116">
                  <c:v>26374</c:v>
                </c:pt>
                <c:pt idx="44117">
                  <c:v>90225</c:v>
                </c:pt>
                <c:pt idx="44118">
                  <c:v>24568</c:v>
                </c:pt>
                <c:pt idx="44119">
                  <c:v>73998</c:v>
                </c:pt>
                <c:pt idx="44120">
                  <c:v>31650</c:v>
                </c:pt>
                <c:pt idx="44121">
                  <c:v>30800</c:v>
                </c:pt>
                <c:pt idx="44122">
                  <c:v>74928</c:v>
                </c:pt>
                <c:pt idx="44123">
                  <c:v>28885</c:v>
                </c:pt>
                <c:pt idx="44124">
                  <c:v>40779</c:v>
                </c:pt>
                <c:pt idx="44125">
                  <c:v>34902</c:v>
                </c:pt>
                <c:pt idx="44126">
                  <c:v>39222</c:v>
                </c:pt>
                <c:pt idx="44127">
                  <c:v>33282</c:v>
                </c:pt>
                <c:pt idx="44128">
                  <c:v>32801</c:v>
                </c:pt>
                <c:pt idx="44129">
                  <c:v>110431</c:v>
                </c:pt>
                <c:pt idx="44130">
                  <c:v>45369</c:v>
                </c:pt>
                <c:pt idx="44131">
                  <c:v>37094</c:v>
                </c:pt>
                <c:pt idx="44132">
                  <c:v>35391</c:v>
                </c:pt>
                <c:pt idx="44133">
                  <c:v>34351</c:v>
                </c:pt>
                <c:pt idx="44134">
                  <c:v>47482</c:v>
                </c:pt>
                <c:pt idx="44135">
                  <c:v>78109</c:v>
                </c:pt>
                <c:pt idx="44136">
                  <c:v>38582</c:v>
                </c:pt>
                <c:pt idx="44137">
                  <c:v>34970</c:v>
                </c:pt>
                <c:pt idx="44138">
                  <c:v>33927</c:v>
                </c:pt>
                <c:pt idx="44139">
                  <c:v>36519</c:v>
                </c:pt>
                <c:pt idx="44140">
                  <c:v>33524</c:v>
                </c:pt>
                <c:pt idx="44141">
                  <c:v>69452</c:v>
                </c:pt>
                <c:pt idx="44142">
                  <c:v>57929</c:v>
                </c:pt>
                <c:pt idx="44143">
                  <c:v>20411</c:v>
                </c:pt>
                <c:pt idx="44144">
                  <c:v>42023</c:v>
                </c:pt>
                <c:pt idx="44145">
                  <c:v>100858</c:v>
                </c:pt>
                <c:pt idx="44146">
                  <c:v>83531</c:v>
                </c:pt>
                <c:pt idx="44147">
                  <c:v>37550</c:v>
                </c:pt>
                <c:pt idx="44148">
                  <c:v>76360</c:v>
                </c:pt>
                <c:pt idx="44149">
                  <c:v>48539</c:v>
                </c:pt>
                <c:pt idx="44150">
                  <c:v>74610</c:v>
                </c:pt>
                <c:pt idx="44151">
                  <c:v>34470</c:v>
                </c:pt>
                <c:pt idx="44152">
                  <c:v>32536</c:v>
                </c:pt>
                <c:pt idx="44153">
                  <c:v>26291</c:v>
                </c:pt>
                <c:pt idx="44154">
                  <c:v>171938</c:v>
                </c:pt>
                <c:pt idx="44155">
                  <c:v>43325</c:v>
                </c:pt>
                <c:pt idx="44156">
                  <c:v>38450</c:v>
                </c:pt>
                <c:pt idx="44157">
                  <c:v>105270</c:v>
                </c:pt>
                <c:pt idx="44158">
                  <c:v>46261</c:v>
                </c:pt>
                <c:pt idx="44159">
                  <c:v>64727</c:v>
                </c:pt>
                <c:pt idx="44160">
                  <c:v>206937</c:v>
                </c:pt>
                <c:pt idx="44161">
                  <c:v>23821</c:v>
                </c:pt>
                <c:pt idx="44162">
                  <c:v>36474</c:v>
                </c:pt>
                <c:pt idx="44163">
                  <c:v>25231</c:v>
                </c:pt>
                <c:pt idx="44164">
                  <c:v>33004</c:v>
                </c:pt>
                <c:pt idx="44165">
                  <c:v>28545</c:v>
                </c:pt>
                <c:pt idx="44166">
                  <c:v>31837</c:v>
                </c:pt>
                <c:pt idx="44167">
                  <c:v>39357</c:v>
                </c:pt>
                <c:pt idx="44168">
                  <c:v>86468</c:v>
                </c:pt>
                <c:pt idx="44169">
                  <c:v>32463</c:v>
                </c:pt>
                <c:pt idx="44170">
                  <c:v>24635</c:v>
                </c:pt>
                <c:pt idx="44171">
                  <c:v>28132</c:v>
                </c:pt>
                <c:pt idx="44172">
                  <c:v>36509</c:v>
                </c:pt>
                <c:pt idx="44173">
                  <c:v>42541</c:v>
                </c:pt>
                <c:pt idx="44174">
                  <c:v>60505</c:v>
                </c:pt>
                <c:pt idx="44175">
                  <c:v>39501</c:v>
                </c:pt>
                <c:pt idx="44176">
                  <c:v>25437</c:v>
                </c:pt>
                <c:pt idx="44177">
                  <c:v>53168</c:v>
                </c:pt>
                <c:pt idx="44178">
                  <c:v>40756</c:v>
                </c:pt>
                <c:pt idx="44179">
                  <c:v>48481</c:v>
                </c:pt>
                <c:pt idx="44180">
                  <c:v>47683</c:v>
                </c:pt>
                <c:pt idx="44181">
                  <c:v>46328</c:v>
                </c:pt>
                <c:pt idx="44182">
                  <c:v>189340</c:v>
                </c:pt>
                <c:pt idx="44183">
                  <c:v>62231</c:v>
                </c:pt>
                <c:pt idx="44184">
                  <c:v>39517</c:v>
                </c:pt>
                <c:pt idx="44185">
                  <c:v>111310</c:v>
                </c:pt>
                <c:pt idx="44186">
                  <c:v>39336</c:v>
                </c:pt>
                <c:pt idx="44187">
                  <c:v>29231</c:v>
                </c:pt>
                <c:pt idx="44188">
                  <c:v>52201</c:v>
                </c:pt>
                <c:pt idx="44189">
                  <c:v>29262</c:v>
                </c:pt>
                <c:pt idx="44190">
                  <c:v>258710</c:v>
                </c:pt>
                <c:pt idx="44191">
                  <c:v>22040</c:v>
                </c:pt>
                <c:pt idx="44192">
                  <c:v>26939</c:v>
                </c:pt>
                <c:pt idx="44193">
                  <c:v>31817</c:v>
                </c:pt>
                <c:pt idx="44194">
                  <c:v>35419</c:v>
                </c:pt>
                <c:pt idx="44195">
                  <c:v>40145</c:v>
                </c:pt>
                <c:pt idx="44196">
                  <c:v>34021</c:v>
                </c:pt>
                <c:pt idx="44197">
                  <c:v>65892</c:v>
                </c:pt>
                <c:pt idx="44198">
                  <c:v>46309</c:v>
                </c:pt>
                <c:pt idx="44199">
                  <c:v>35846</c:v>
                </c:pt>
                <c:pt idx="44200">
                  <c:v>185398</c:v>
                </c:pt>
                <c:pt idx="44201">
                  <c:v>30207</c:v>
                </c:pt>
                <c:pt idx="44202">
                  <c:v>36474</c:v>
                </c:pt>
                <c:pt idx="44203">
                  <c:v>57251</c:v>
                </c:pt>
                <c:pt idx="44204">
                  <c:v>38923</c:v>
                </c:pt>
                <c:pt idx="44205">
                  <c:v>24247</c:v>
                </c:pt>
                <c:pt idx="44206">
                  <c:v>24907</c:v>
                </c:pt>
                <c:pt idx="44207">
                  <c:v>42585</c:v>
                </c:pt>
                <c:pt idx="44208">
                  <c:v>67828</c:v>
                </c:pt>
                <c:pt idx="44209">
                  <c:v>42520</c:v>
                </c:pt>
                <c:pt idx="44210">
                  <c:v>54616</c:v>
                </c:pt>
                <c:pt idx="44211">
                  <c:v>43460</c:v>
                </c:pt>
                <c:pt idx="44212">
                  <c:v>41023</c:v>
                </c:pt>
                <c:pt idx="44213">
                  <c:v>29315</c:v>
                </c:pt>
                <c:pt idx="44214">
                  <c:v>47571</c:v>
                </c:pt>
                <c:pt idx="44215">
                  <c:v>39811</c:v>
                </c:pt>
                <c:pt idx="44216">
                  <c:v>35275</c:v>
                </c:pt>
                <c:pt idx="44217">
                  <c:v>20695</c:v>
                </c:pt>
                <c:pt idx="44218">
                  <c:v>46813</c:v>
                </c:pt>
                <c:pt idx="44219">
                  <c:v>40063</c:v>
                </c:pt>
                <c:pt idx="44220">
                  <c:v>71426</c:v>
                </c:pt>
                <c:pt idx="44221">
                  <c:v>23174</c:v>
                </c:pt>
                <c:pt idx="44222">
                  <c:v>37115</c:v>
                </c:pt>
                <c:pt idx="44223">
                  <c:v>25402</c:v>
                </c:pt>
                <c:pt idx="44224">
                  <c:v>52564</c:v>
                </c:pt>
                <c:pt idx="44225">
                  <c:v>35749</c:v>
                </c:pt>
                <c:pt idx="44226">
                  <c:v>54007</c:v>
                </c:pt>
                <c:pt idx="44227">
                  <c:v>41739</c:v>
                </c:pt>
                <c:pt idx="44228">
                  <c:v>63021</c:v>
                </c:pt>
                <c:pt idx="44229">
                  <c:v>43823</c:v>
                </c:pt>
                <c:pt idx="44230">
                  <c:v>27075</c:v>
                </c:pt>
                <c:pt idx="44231">
                  <c:v>129521</c:v>
                </c:pt>
                <c:pt idx="44232">
                  <c:v>33336</c:v>
                </c:pt>
                <c:pt idx="44233">
                  <c:v>21754</c:v>
                </c:pt>
                <c:pt idx="44234">
                  <c:v>41369</c:v>
                </c:pt>
                <c:pt idx="44235">
                  <c:v>50373</c:v>
                </c:pt>
                <c:pt idx="44236">
                  <c:v>23509</c:v>
                </c:pt>
                <c:pt idx="44237">
                  <c:v>49531</c:v>
                </c:pt>
                <c:pt idx="44238">
                  <c:v>48473</c:v>
                </c:pt>
                <c:pt idx="44239">
                  <c:v>60959</c:v>
                </c:pt>
                <c:pt idx="44240">
                  <c:v>42627</c:v>
                </c:pt>
                <c:pt idx="44241">
                  <c:v>75932</c:v>
                </c:pt>
                <c:pt idx="44242">
                  <c:v>74041</c:v>
                </c:pt>
                <c:pt idx="44243">
                  <c:v>39649</c:v>
                </c:pt>
                <c:pt idx="44244">
                  <c:v>27231</c:v>
                </c:pt>
                <c:pt idx="44245">
                  <c:v>55830</c:v>
                </c:pt>
                <c:pt idx="44246">
                  <c:v>200785</c:v>
                </c:pt>
                <c:pt idx="44247">
                  <c:v>135248</c:v>
                </c:pt>
                <c:pt idx="44248">
                  <c:v>222586</c:v>
                </c:pt>
                <c:pt idx="44249">
                  <c:v>22306</c:v>
                </c:pt>
                <c:pt idx="44250">
                  <c:v>33534</c:v>
                </c:pt>
                <c:pt idx="44251">
                  <c:v>21860</c:v>
                </c:pt>
                <c:pt idx="44252">
                  <c:v>25302</c:v>
                </c:pt>
                <c:pt idx="44253">
                  <c:v>45241</c:v>
                </c:pt>
                <c:pt idx="44254">
                  <c:v>33441</c:v>
                </c:pt>
                <c:pt idx="44255">
                  <c:v>26381</c:v>
                </c:pt>
                <c:pt idx="44256">
                  <c:v>24253</c:v>
                </c:pt>
                <c:pt idx="44257">
                  <c:v>52285</c:v>
                </c:pt>
                <c:pt idx="44258">
                  <c:v>154432</c:v>
                </c:pt>
                <c:pt idx="44259">
                  <c:v>22667</c:v>
                </c:pt>
                <c:pt idx="44260">
                  <c:v>104893</c:v>
                </c:pt>
                <c:pt idx="44261">
                  <c:v>38032</c:v>
                </c:pt>
                <c:pt idx="44262">
                  <c:v>56902</c:v>
                </c:pt>
                <c:pt idx="44263">
                  <c:v>23722</c:v>
                </c:pt>
                <c:pt idx="44264">
                  <c:v>69956</c:v>
                </c:pt>
                <c:pt idx="44265">
                  <c:v>32638</c:v>
                </c:pt>
                <c:pt idx="44266">
                  <c:v>15000</c:v>
                </c:pt>
                <c:pt idx="44267">
                  <c:v>69798</c:v>
                </c:pt>
                <c:pt idx="44268">
                  <c:v>23900</c:v>
                </c:pt>
                <c:pt idx="44269">
                  <c:v>39822</c:v>
                </c:pt>
                <c:pt idx="44270">
                  <c:v>70248</c:v>
                </c:pt>
                <c:pt idx="44271">
                  <c:v>21343</c:v>
                </c:pt>
                <c:pt idx="44272">
                  <c:v>89424</c:v>
                </c:pt>
                <c:pt idx="44273">
                  <c:v>34709</c:v>
                </c:pt>
                <c:pt idx="44274">
                  <c:v>65253</c:v>
                </c:pt>
                <c:pt idx="44275">
                  <c:v>210462</c:v>
                </c:pt>
                <c:pt idx="44276">
                  <c:v>50997</c:v>
                </c:pt>
                <c:pt idx="44277">
                  <c:v>49779</c:v>
                </c:pt>
                <c:pt idx="44278">
                  <c:v>101733</c:v>
                </c:pt>
                <c:pt idx="44279">
                  <c:v>60347</c:v>
                </c:pt>
                <c:pt idx="44280">
                  <c:v>99567</c:v>
                </c:pt>
                <c:pt idx="44281">
                  <c:v>55694</c:v>
                </c:pt>
                <c:pt idx="44282">
                  <c:v>42386</c:v>
                </c:pt>
                <c:pt idx="44283">
                  <c:v>90713</c:v>
                </c:pt>
                <c:pt idx="44284">
                  <c:v>22725</c:v>
                </c:pt>
                <c:pt idx="44285">
                  <c:v>32871</c:v>
                </c:pt>
                <c:pt idx="44286">
                  <c:v>31706</c:v>
                </c:pt>
                <c:pt idx="44287">
                  <c:v>34864</c:v>
                </c:pt>
                <c:pt idx="44288">
                  <c:v>73114</c:v>
                </c:pt>
                <c:pt idx="44289">
                  <c:v>41332</c:v>
                </c:pt>
                <c:pt idx="44290">
                  <c:v>35698</c:v>
                </c:pt>
                <c:pt idx="44291">
                  <c:v>35479</c:v>
                </c:pt>
                <c:pt idx="44292">
                  <c:v>32406</c:v>
                </c:pt>
                <c:pt idx="44293">
                  <c:v>31373</c:v>
                </c:pt>
                <c:pt idx="44294">
                  <c:v>71179</c:v>
                </c:pt>
                <c:pt idx="44295">
                  <c:v>56518</c:v>
                </c:pt>
                <c:pt idx="44296">
                  <c:v>31209</c:v>
                </c:pt>
                <c:pt idx="44297">
                  <c:v>26894</c:v>
                </c:pt>
                <c:pt idx="44298">
                  <c:v>29226</c:v>
                </c:pt>
                <c:pt idx="44299">
                  <c:v>54281</c:v>
                </c:pt>
                <c:pt idx="44300">
                  <c:v>65997</c:v>
                </c:pt>
                <c:pt idx="44301">
                  <c:v>32339</c:v>
                </c:pt>
                <c:pt idx="44302">
                  <c:v>57047</c:v>
                </c:pt>
                <c:pt idx="44303">
                  <c:v>40640</c:v>
                </c:pt>
                <c:pt idx="44304">
                  <c:v>154228</c:v>
                </c:pt>
                <c:pt idx="44305">
                  <c:v>312951</c:v>
                </c:pt>
                <c:pt idx="44306">
                  <c:v>94498</c:v>
                </c:pt>
                <c:pt idx="44307">
                  <c:v>157221</c:v>
                </c:pt>
                <c:pt idx="44308">
                  <c:v>45281</c:v>
                </c:pt>
                <c:pt idx="44309">
                  <c:v>28460</c:v>
                </c:pt>
                <c:pt idx="44310">
                  <c:v>32100</c:v>
                </c:pt>
                <c:pt idx="44311">
                  <c:v>57666</c:v>
                </c:pt>
                <c:pt idx="44312">
                  <c:v>42992</c:v>
                </c:pt>
                <c:pt idx="44313">
                  <c:v>29898</c:v>
                </c:pt>
                <c:pt idx="44314">
                  <c:v>70451</c:v>
                </c:pt>
                <c:pt idx="44315">
                  <c:v>43240</c:v>
                </c:pt>
                <c:pt idx="44316">
                  <c:v>31277</c:v>
                </c:pt>
                <c:pt idx="44317">
                  <c:v>44168</c:v>
                </c:pt>
                <c:pt idx="44318">
                  <c:v>24292</c:v>
                </c:pt>
                <c:pt idx="44319">
                  <c:v>87282</c:v>
                </c:pt>
                <c:pt idx="44320">
                  <c:v>66904</c:v>
                </c:pt>
                <c:pt idx="44321">
                  <c:v>25161</c:v>
                </c:pt>
                <c:pt idx="44322">
                  <c:v>22831</c:v>
                </c:pt>
                <c:pt idx="44323">
                  <c:v>50084</c:v>
                </c:pt>
                <c:pt idx="44324">
                  <c:v>68912</c:v>
                </c:pt>
                <c:pt idx="44325">
                  <c:v>32864</c:v>
                </c:pt>
                <c:pt idx="44326">
                  <c:v>60886</c:v>
                </c:pt>
                <c:pt idx="44327">
                  <c:v>44301</c:v>
                </c:pt>
                <c:pt idx="44328">
                  <c:v>43119</c:v>
                </c:pt>
                <c:pt idx="44329">
                  <c:v>133412</c:v>
                </c:pt>
                <c:pt idx="44330">
                  <c:v>24757</c:v>
                </c:pt>
                <c:pt idx="44331">
                  <c:v>77495</c:v>
                </c:pt>
                <c:pt idx="44332">
                  <c:v>33340</c:v>
                </c:pt>
                <c:pt idx="44333">
                  <c:v>82300</c:v>
                </c:pt>
                <c:pt idx="44334">
                  <c:v>41544</c:v>
                </c:pt>
                <c:pt idx="44335">
                  <c:v>72000</c:v>
                </c:pt>
                <c:pt idx="44336">
                  <c:v>90329</c:v>
                </c:pt>
                <c:pt idx="44337">
                  <c:v>90518</c:v>
                </c:pt>
                <c:pt idx="44338">
                  <c:v>48304</c:v>
                </c:pt>
                <c:pt idx="44339">
                  <c:v>88366</c:v>
                </c:pt>
                <c:pt idx="44340">
                  <c:v>43670</c:v>
                </c:pt>
                <c:pt idx="44341">
                  <c:v>40117</c:v>
                </c:pt>
                <c:pt idx="44342">
                  <c:v>35413</c:v>
                </c:pt>
                <c:pt idx="44343">
                  <c:v>25063</c:v>
                </c:pt>
                <c:pt idx="44344">
                  <c:v>25178</c:v>
                </c:pt>
                <c:pt idx="44345">
                  <c:v>31991</c:v>
                </c:pt>
                <c:pt idx="44346">
                  <c:v>38147</c:v>
                </c:pt>
                <c:pt idx="44347">
                  <c:v>32710</c:v>
                </c:pt>
                <c:pt idx="44348">
                  <c:v>41033</c:v>
                </c:pt>
                <c:pt idx="44349">
                  <c:v>35295</c:v>
                </c:pt>
                <c:pt idx="44350">
                  <c:v>33599</c:v>
                </c:pt>
                <c:pt idx="44351">
                  <c:v>47446</c:v>
                </c:pt>
                <c:pt idx="44352">
                  <c:v>26599</c:v>
                </c:pt>
                <c:pt idx="44353">
                  <c:v>30601</c:v>
                </c:pt>
                <c:pt idx="44354">
                  <c:v>27645</c:v>
                </c:pt>
                <c:pt idx="44355">
                  <c:v>39098</c:v>
                </c:pt>
                <c:pt idx="44356">
                  <c:v>159369</c:v>
                </c:pt>
                <c:pt idx="44357">
                  <c:v>73199</c:v>
                </c:pt>
                <c:pt idx="44358">
                  <c:v>26187</c:v>
                </c:pt>
                <c:pt idx="44359">
                  <c:v>48182</c:v>
                </c:pt>
                <c:pt idx="44360">
                  <c:v>33985</c:v>
                </c:pt>
                <c:pt idx="44361">
                  <c:v>25777</c:v>
                </c:pt>
                <c:pt idx="44362">
                  <c:v>43752</c:v>
                </c:pt>
                <c:pt idx="44363">
                  <c:v>28278</c:v>
                </c:pt>
                <c:pt idx="44364">
                  <c:v>41356</c:v>
                </c:pt>
                <c:pt idx="44365">
                  <c:v>349166</c:v>
                </c:pt>
                <c:pt idx="44366">
                  <c:v>81465</c:v>
                </c:pt>
                <c:pt idx="44367">
                  <c:v>37690</c:v>
                </c:pt>
                <c:pt idx="44368">
                  <c:v>39937</c:v>
                </c:pt>
                <c:pt idx="44369">
                  <c:v>43836</c:v>
                </c:pt>
                <c:pt idx="44370">
                  <c:v>22481</c:v>
                </c:pt>
                <c:pt idx="44371">
                  <c:v>34421</c:v>
                </c:pt>
                <c:pt idx="44372">
                  <c:v>146058</c:v>
                </c:pt>
                <c:pt idx="44373">
                  <c:v>44552</c:v>
                </c:pt>
                <c:pt idx="44374">
                  <c:v>56850</c:v>
                </c:pt>
                <c:pt idx="44375">
                  <c:v>37495</c:v>
                </c:pt>
                <c:pt idx="44376">
                  <c:v>39019</c:v>
                </c:pt>
                <c:pt idx="44377">
                  <c:v>69080</c:v>
                </c:pt>
                <c:pt idx="44378">
                  <c:v>100928</c:v>
                </c:pt>
                <c:pt idx="44379">
                  <c:v>45258</c:v>
                </c:pt>
                <c:pt idx="44380">
                  <c:v>53423</c:v>
                </c:pt>
                <c:pt idx="44381">
                  <c:v>78516</c:v>
                </c:pt>
                <c:pt idx="44382">
                  <c:v>33415</c:v>
                </c:pt>
                <c:pt idx="44383">
                  <c:v>38926</c:v>
                </c:pt>
                <c:pt idx="44384">
                  <c:v>33057</c:v>
                </c:pt>
                <c:pt idx="44385">
                  <c:v>41783</c:v>
                </c:pt>
                <c:pt idx="44386">
                  <c:v>23616</c:v>
                </c:pt>
                <c:pt idx="44387">
                  <c:v>34347</c:v>
                </c:pt>
                <c:pt idx="44388">
                  <c:v>92407</c:v>
                </c:pt>
                <c:pt idx="44389">
                  <c:v>61025</c:v>
                </c:pt>
                <c:pt idx="44390">
                  <c:v>91822</c:v>
                </c:pt>
                <c:pt idx="44391">
                  <c:v>166157</c:v>
                </c:pt>
                <c:pt idx="44392">
                  <c:v>42786</c:v>
                </c:pt>
                <c:pt idx="44393">
                  <c:v>31655</c:v>
                </c:pt>
                <c:pt idx="44394">
                  <c:v>65361</c:v>
                </c:pt>
                <c:pt idx="44395">
                  <c:v>47535</c:v>
                </c:pt>
                <c:pt idx="44396">
                  <c:v>48081</c:v>
                </c:pt>
                <c:pt idx="44397">
                  <c:v>79839</c:v>
                </c:pt>
                <c:pt idx="44398">
                  <c:v>94119</c:v>
                </c:pt>
                <c:pt idx="44399">
                  <c:v>245283</c:v>
                </c:pt>
                <c:pt idx="44400">
                  <c:v>39834</c:v>
                </c:pt>
                <c:pt idx="44401">
                  <c:v>26537</c:v>
                </c:pt>
                <c:pt idx="44402">
                  <c:v>49963</c:v>
                </c:pt>
                <c:pt idx="44403">
                  <c:v>47770</c:v>
                </c:pt>
                <c:pt idx="44404">
                  <c:v>36448</c:v>
                </c:pt>
                <c:pt idx="44405">
                  <c:v>60031</c:v>
                </c:pt>
                <c:pt idx="44406">
                  <c:v>87876</c:v>
                </c:pt>
                <c:pt idx="44407">
                  <c:v>39469</c:v>
                </c:pt>
                <c:pt idx="44408">
                  <c:v>139243</c:v>
                </c:pt>
                <c:pt idx="44409">
                  <c:v>50340</c:v>
                </c:pt>
                <c:pt idx="44410">
                  <c:v>50796</c:v>
                </c:pt>
                <c:pt idx="44411">
                  <c:v>78472</c:v>
                </c:pt>
                <c:pt idx="44412">
                  <c:v>36623</c:v>
                </c:pt>
                <c:pt idx="44413">
                  <c:v>53970</c:v>
                </c:pt>
                <c:pt idx="44414">
                  <c:v>30084</c:v>
                </c:pt>
                <c:pt idx="44415">
                  <c:v>133307</c:v>
                </c:pt>
                <c:pt idx="44416">
                  <c:v>32522</c:v>
                </c:pt>
                <c:pt idx="44417">
                  <c:v>66167</c:v>
                </c:pt>
                <c:pt idx="44418">
                  <c:v>74017</c:v>
                </c:pt>
                <c:pt idx="44419">
                  <c:v>23429</c:v>
                </c:pt>
                <c:pt idx="44420">
                  <c:v>23759</c:v>
                </c:pt>
                <c:pt idx="44421">
                  <c:v>43389</c:v>
                </c:pt>
                <c:pt idx="44422">
                  <c:v>43236</c:v>
                </c:pt>
                <c:pt idx="44423">
                  <c:v>37300</c:v>
                </c:pt>
                <c:pt idx="44424">
                  <c:v>20762</c:v>
                </c:pt>
                <c:pt idx="44425">
                  <c:v>35040</c:v>
                </c:pt>
                <c:pt idx="44426">
                  <c:v>83029</c:v>
                </c:pt>
                <c:pt idx="44427">
                  <c:v>132260</c:v>
                </c:pt>
                <c:pt idx="44428">
                  <c:v>41084</c:v>
                </c:pt>
                <c:pt idx="44429">
                  <c:v>36247</c:v>
                </c:pt>
                <c:pt idx="44430">
                  <c:v>45623</c:v>
                </c:pt>
                <c:pt idx="44431">
                  <c:v>23991</c:v>
                </c:pt>
                <c:pt idx="44432">
                  <c:v>42772</c:v>
                </c:pt>
                <c:pt idx="44433">
                  <c:v>47259</c:v>
                </c:pt>
                <c:pt idx="44434">
                  <c:v>97393</c:v>
                </c:pt>
                <c:pt idx="44435">
                  <c:v>45877</c:v>
                </c:pt>
                <c:pt idx="44436">
                  <c:v>272538</c:v>
                </c:pt>
                <c:pt idx="44437">
                  <c:v>62936</c:v>
                </c:pt>
                <c:pt idx="44438">
                  <c:v>37144</c:v>
                </c:pt>
                <c:pt idx="44439">
                  <c:v>51963</c:v>
                </c:pt>
                <c:pt idx="44440">
                  <c:v>216968</c:v>
                </c:pt>
                <c:pt idx="44441">
                  <c:v>44513</c:v>
                </c:pt>
                <c:pt idx="44442">
                  <c:v>51102</c:v>
                </c:pt>
                <c:pt idx="44443">
                  <c:v>22070</c:v>
                </c:pt>
                <c:pt idx="44444">
                  <c:v>28311</c:v>
                </c:pt>
                <c:pt idx="44445">
                  <c:v>38040</c:v>
                </c:pt>
                <c:pt idx="44446">
                  <c:v>41942</c:v>
                </c:pt>
                <c:pt idx="44447">
                  <c:v>46731</c:v>
                </c:pt>
                <c:pt idx="44448">
                  <c:v>168207</c:v>
                </c:pt>
                <c:pt idx="44449">
                  <c:v>120162</c:v>
                </c:pt>
                <c:pt idx="44450">
                  <c:v>71501</c:v>
                </c:pt>
                <c:pt idx="44451">
                  <c:v>26515</c:v>
                </c:pt>
                <c:pt idx="44452">
                  <c:v>59260</c:v>
                </c:pt>
                <c:pt idx="44453">
                  <c:v>27832</c:v>
                </c:pt>
                <c:pt idx="44454">
                  <c:v>32049</c:v>
                </c:pt>
                <c:pt idx="44455">
                  <c:v>43243</c:v>
                </c:pt>
                <c:pt idx="44456">
                  <c:v>33640</c:v>
                </c:pt>
                <c:pt idx="44457">
                  <c:v>50159</c:v>
                </c:pt>
                <c:pt idx="44458">
                  <c:v>112876</c:v>
                </c:pt>
                <c:pt idx="44459">
                  <c:v>153548</c:v>
                </c:pt>
                <c:pt idx="44460">
                  <c:v>33421</c:v>
                </c:pt>
                <c:pt idx="44461">
                  <c:v>97837</c:v>
                </c:pt>
                <c:pt idx="44462">
                  <c:v>53081</c:v>
                </c:pt>
                <c:pt idx="44463">
                  <c:v>27444</c:v>
                </c:pt>
                <c:pt idx="44464">
                  <c:v>167041</c:v>
                </c:pt>
                <c:pt idx="44465">
                  <c:v>34392</c:v>
                </c:pt>
                <c:pt idx="44466">
                  <c:v>86490</c:v>
                </c:pt>
                <c:pt idx="44467">
                  <c:v>31390</c:v>
                </c:pt>
                <c:pt idx="44468">
                  <c:v>41794</c:v>
                </c:pt>
                <c:pt idx="44469">
                  <c:v>64951</c:v>
                </c:pt>
                <c:pt idx="44470">
                  <c:v>34024</c:v>
                </c:pt>
                <c:pt idx="44471">
                  <c:v>40859</c:v>
                </c:pt>
                <c:pt idx="44472">
                  <c:v>31924</c:v>
                </c:pt>
                <c:pt idx="44473">
                  <c:v>37982</c:v>
                </c:pt>
                <c:pt idx="44474">
                  <c:v>45247</c:v>
                </c:pt>
                <c:pt idx="44475">
                  <c:v>69125</c:v>
                </c:pt>
                <c:pt idx="44476">
                  <c:v>37005</c:v>
                </c:pt>
                <c:pt idx="44477">
                  <c:v>53777</c:v>
                </c:pt>
                <c:pt idx="44478">
                  <c:v>25189</c:v>
                </c:pt>
                <c:pt idx="44479">
                  <c:v>65230</c:v>
                </c:pt>
                <c:pt idx="44480">
                  <c:v>76689</c:v>
                </c:pt>
                <c:pt idx="44481">
                  <c:v>498751</c:v>
                </c:pt>
                <c:pt idx="44482">
                  <c:v>42951</c:v>
                </c:pt>
                <c:pt idx="44483">
                  <c:v>31818</c:v>
                </c:pt>
                <c:pt idx="44484">
                  <c:v>33512</c:v>
                </c:pt>
                <c:pt idx="44485">
                  <c:v>42159</c:v>
                </c:pt>
                <c:pt idx="44486">
                  <c:v>52994</c:v>
                </c:pt>
                <c:pt idx="44487">
                  <c:v>42476</c:v>
                </c:pt>
                <c:pt idx="44488">
                  <c:v>35998</c:v>
                </c:pt>
                <c:pt idx="44489">
                  <c:v>117428</c:v>
                </c:pt>
                <c:pt idx="44490">
                  <c:v>48373</c:v>
                </c:pt>
                <c:pt idx="44491">
                  <c:v>28489</c:v>
                </c:pt>
                <c:pt idx="44492">
                  <c:v>35417</c:v>
                </c:pt>
                <c:pt idx="44493">
                  <c:v>62370</c:v>
                </c:pt>
                <c:pt idx="44494">
                  <c:v>56907</c:v>
                </c:pt>
                <c:pt idx="44495">
                  <c:v>63772</c:v>
                </c:pt>
                <c:pt idx="44496">
                  <c:v>50207</c:v>
                </c:pt>
                <c:pt idx="44497">
                  <c:v>42862</c:v>
                </c:pt>
                <c:pt idx="44498">
                  <c:v>27776</c:v>
                </c:pt>
                <c:pt idx="44499">
                  <c:v>203161</c:v>
                </c:pt>
                <c:pt idx="44500">
                  <c:v>48097</c:v>
                </c:pt>
                <c:pt idx="44501">
                  <c:v>45713</c:v>
                </c:pt>
                <c:pt idx="44502">
                  <c:v>40744</c:v>
                </c:pt>
                <c:pt idx="44503">
                  <c:v>102058</c:v>
                </c:pt>
                <c:pt idx="44504">
                  <c:v>31698</c:v>
                </c:pt>
                <c:pt idx="44505">
                  <c:v>65214</c:v>
                </c:pt>
                <c:pt idx="44506">
                  <c:v>36773</c:v>
                </c:pt>
                <c:pt idx="44507">
                  <c:v>44458</c:v>
                </c:pt>
                <c:pt idx="44508">
                  <c:v>35040</c:v>
                </c:pt>
                <c:pt idx="44509">
                  <c:v>54742</c:v>
                </c:pt>
                <c:pt idx="44510">
                  <c:v>31128</c:v>
                </c:pt>
                <c:pt idx="44511">
                  <c:v>251517</c:v>
                </c:pt>
                <c:pt idx="44512">
                  <c:v>92853</c:v>
                </c:pt>
                <c:pt idx="44513">
                  <c:v>89168</c:v>
                </c:pt>
                <c:pt idx="44514">
                  <c:v>73946</c:v>
                </c:pt>
                <c:pt idx="44515">
                  <c:v>50872</c:v>
                </c:pt>
                <c:pt idx="44516">
                  <c:v>92121</c:v>
                </c:pt>
                <c:pt idx="44517">
                  <c:v>75820</c:v>
                </c:pt>
                <c:pt idx="44518">
                  <c:v>48808</c:v>
                </c:pt>
                <c:pt idx="44519">
                  <c:v>36623</c:v>
                </c:pt>
                <c:pt idx="44520">
                  <c:v>21170</c:v>
                </c:pt>
                <c:pt idx="44521">
                  <c:v>39066</c:v>
                </c:pt>
                <c:pt idx="44522">
                  <c:v>54148</c:v>
                </c:pt>
                <c:pt idx="44523">
                  <c:v>65514</c:v>
                </c:pt>
                <c:pt idx="44524">
                  <c:v>97331</c:v>
                </c:pt>
                <c:pt idx="44525">
                  <c:v>47134</c:v>
                </c:pt>
                <c:pt idx="44526">
                  <c:v>34802</c:v>
                </c:pt>
                <c:pt idx="44527">
                  <c:v>33966</c:v>
                </c:pt>
                <c:pt idx="44528">
                  <c:v>37659</c:v>
                </c:pt>
                <c:pt idx="44529">
                  <c:v>154941</c:v>
                </c:pt>
                <c:pt idx="44530">
                  <c:v>42934</c:v>
                </c:pt>
                <c:pt idx="44531">
                  <c:v>94183</c:v>
                </c:pt>
                <c:pt idx="44532">
                  <c:v>36171</c:v>
                </c:pt>
                <c:pt idx="44533">
                  <c:v>35399</c:v>
                </c:pt>
                <c:pt idx="44534">
                  <c:v>38471</c:v>
                </c:pt>
                <c:pt idx="44535">
                  <c:v>26733</c:v>
                </c:pt>
                <c:pt idx="44536">
                  <c:v>51255</c:v>
                </c:pt>
                <c:pt idx="44537">
                  <c:v>75257</c:v>
                </c:pt>
                <c:pt idx="44538">
                  <c:v>29197</c:v>
                </c:pt>
                <c:pt idx="44539">
                  <c:v>33416</c:v>
                </c:pt>
                <c:pt idx="44540">
                  <c:v>40503</c:v>
                </c:pt>
                <c:pt idx="44541">
                  <c:v>115644</c:v>
                </c:pt>
                <c:pt idx="44542">
                  <c:v>23970</c:v>
                </c:pt>
                <c:pt idx="44543">
                  <c:v>31842</c:v>
                </c:pt>
                <c:pt idx="44544">
                  <c:v>79855</c:v>
                </c:pt>
                <c:pt idx="44545">
                  <c:v>26227</c:v>
                </c:pt>
                <c:pt idx="44546">
                  <c:v>33468</c:v>
                </c:pt>
                <c:pt idx="44547">
                  <c:v>48386</c:v>
                </c:pt>
                <c:pt idx="44548">
                  <c:v>64809</c:v>
                </c:pt>
                <c:pt idx="44549">
                  <c:v>44171</c:v>
                </c:pt>
                <c:pt idx="44550">
                  <c:v>92523</c:v>
                </c:pt>
                <c:pt idx="44551">
                  <c:v>24360</c:v>
                </c:pt>
                <c:pt idx="44552">
                  <c:v>43838</c:v>
                </c:pt>
                <c:pt idx="44553">
                  <c:v>23645</c:v>
                </c:pt>
                <c:pt idx="44554">
                  <c:v>44772</c:v>
                </c:pt>
                <c:pt idx="44555">
                  <c:v>111738</c:v>
                </c:pt>
                <c:pt idx="44556">
                  <c:v>58909</c:v>
                </c:pt>
                <c:pt idx="44557">
                  <c:v>39838</c:v>
                </c:pt>
                <c:pt idx="44558">
                  <c:v>47138</c:v>
                </c:pt>
                <c:pt idx="44559">
                  <c:v>26396</c:v>
                </c:pt>
                <c:pt idx="44560">
                  <c:v>36153</c:v>
                </c:pt>
                <c:pt idx="44561">
                  <c:v>26364</c:v>
                </c:pt>
                <c:pt idx="44562">
                  <c:v>44448</c:v>
                </c:pt>
                <c:pt idx="44563">
                  <c:v>34260</c:v>
                </c:pt>
                <c:pt idx="44564">
                  <c:v>92807</c:v>
                </c:pt>
                <c:pt idx="44565">
                  <c:v>45750</c:v>
                </c:pt>
                <c:pt idx="44566">
                  <c:v>39526</c:v>
                </c:pt>
                <c:pt idx="44567">
                  <c:v>32362</c:v>
                </c:pt>
                <c:pt idx="44568">
                  <c:v>46026</c:v>
                </c:pt>
                <c:pt idx="44569">
                  <c:v>24391</c:v>
                </c:pt>
                <c:pt idx="44570">
                  <c:v>27601</c:v>
                </c:pt>
                <c:pt idx="44571">
                  <c:v>80985</c:v>
                </c:pt>
                <c:pt idx="44572">
                  <c:v>27718</c:v>
                </c:pt>
                <c:pt idx="44573">
                  <c:v>28175</c:v>
                </c:pt>
                <c:pt idx="44574">
                  <c:v>37949</c:v>
                </c:pt>
                <c:pt idx="44575">
                  <c:v>62801</c:v>
                </c:pt>
                <c:pt idx="44576">
                  <c:v>71181</c:v>
                </c:pt>
                <c:pt idx="44577">
                  <c:v>27902</c:v>
                </c:pt>
                <c:pt idx="44578">
                  <c:v>45587</c:v>
                </c:pt>
                <c:pt idx="44579">
                  <c:v>81217</c:v>
                </c:pt>
                <c:pt idx="44580">
                  <c:v>31879</c:v>
                </c:pt>
                <c:pt idx="44581">
                  <c:v>29110</c:v>
                </c:pt>
                <c:pt idx="44582">
                  <c:v>82899</c:v>
                </c:pt>
                <c:pt idx="44583">
                  <c:v>60999</c:v>
                </c:pt>
                <c:pt idx="44584">
                  <c:v>62502</c:v>
                </c:pt>
                <c:pt idx="44585">
                  <c:v>40338</c:v>
                </c:pt>
                <c:pt idx="44586">
                  <c:v>21740</c:v>
                </c:pt>
                <c:pt idx="44587">
                  <c:v>17886</c:v>
                </c:pt>
                <c:pt idx="44588">
                  <c:v>58849</c:v>
                </c:pt>
                <c:pt idx="44589">
                  <c:v>24057</c:v>
                </c:pt>
                <c:pt idx="44590">
                  <c:v>97166</c:v>
                </c:pt>
                <c:pt idx="44591">
                  <c:v>41735</c:v>
                </c:pt>
                <c:pt idx="44592">
                  <c:v>30782</c:v>
                </c:pt>
                <c:pt idx="44593">
                  <c:v>168202</c:v>
                </c:pt>
                <c:pt idx="44594">
                  <c:v>45831</c:v>
                </c:pt>
                <c:pt idx="44595">
                  <c:v>41133</c:v>
                </c:pt>
                <c:pt idx="44596">
                  <c:v>273334</c:v>
                </c:pt>
                <c:pt idx="44597">
                  <c:v>55561</c:v>
                </c:pt>
                <c:pt idx="44598">
                  <c:v>56512</c:v>
                </c:pt>
                <c:pt idx="44599">
                  <c:v>32202</c:v>
                </c:pt>
                <c:pt idx="44600">
                  <c:v>49764</c:v>
                </c:pt>
                <c:pt idx="44601">
                  <c:v>105445</c:v>
                </c:pt>
                <c:pt idx="44602">
                  <c:v>43784</c:v>
                </c:pt>
                <c:pt idx="44603">
                  <c:v>50968</c:v>
                </c:pt>
                <c:pt idx="44604">
                  <c:v>32213</c:v>
                </c:pt>
                <c:pt idx="44605">
                  <c:v>271324</c:v>
                </c:pt>
                <c:pt idx="44606">
                  <c:v>72374</c:v>
                </c:pt>
                <c:pt idx="44607">
                  <c:v>48441</c:v>
                </c:pt>
                <c:pt idx="44608">
                  <c:v>79672</c:v>
                </c:pt>
                <c:pt idx="44609">
                  <c:v>92097</c:v>
                </c:pt>
                <c:pt idx="44610">
                  <c:v>24309</c:v>
                </c:pt>
                <c:pt idx="44611">
                  <c:v>40266</c:v>
                </c:pt>
                <c:pt idx="44612">
                  <c:v>51848</c:v>
                </c:pt>
                <c:pt idx="44613">
                  <c:v>183075</c:v>
                </c:pt>
                <c:pt idx="44614">
                  <c:v>93680</c:v>
                </c:pt>
                <c:pt idx="44615">
                  <c:v>50963</c:v>
                </c:pt>
                <c:pt idx="44616">
                  <c:v>31776</c:v>
                </c:pt>
                <c:pt idx="44617">
                  <c:v>32763</c:v>
                </c:pt>
                <c:pt idx="44618">
                  <c:v>38543</c:v>
                </c:pt>
                <c:pt idx="44619">
                  <c:v>23005</c:v>
                </c:pt>
                <c:pt idx="44620">
                  <c:v>56316</c:v>
                </c:pt>
                <c:pt idx="44621">
                  <c:v>22047</c:v>
                </c:pt>
                <c:pt idx="44622">
                  <c:v>34124</c:v>
                </c:pt>
                <c:pt idx="44623">
                  <c:v>25118</c:v>
                </c:pt>
                <c:pt idx="44624">
                  <c:v>37444</c:v>
                </c:pt>
                <c:pt idx="44625">
                  <c:v>41067</c:v>
                </c:pt>
                <c:pt idx="44626">
                  <c:v>33098</c:v>
                </c:pt>
                <c:pt idx="44627">
                  <c:v>24604</c:v>
                </c:pt>
                <c:pt idx="44628">
                  <c:v>44233</c:v>
                </c:pt>
                <c:pt idx="44629">
                  <c:v>160388</c:v>
                </c:pt>
                <c:pt idx="44630">
                  <c:v>32072</c:v>
                </c:pt>
                <c:pt idx="44631">
                  <c:v>328382</c:v>
                </c:pt>
                <c:pt idx="44632">
                  <c:v>30638</c:v>
                </c:pt>
                <c:pt idx="44633">
                  <c:v>40587</c:v>
                </c:pt>
                <c:pt idx="44634">
                  <c:v>42669</c:v>
                </c:pt>
                <c:pt idx="44635">
                  <c:v>34957</c:v>
                </c:pt>
                <c:pt idx="44636">
                  <c:v>42199</c:v>
                </c:pt>
                <c:pt idx="44637">
                  <c:v>185876</c:v>
                </c:pt>
                <c:pt idx="44638">
                  <c:v>45160</c:v>
                </c:pt>
                <c:pt idx="44639">
                  <c:v>28066</c:v>
                </c:pt>
                <c:pt idx="44640">
                  <c:v>34692</c:v>
                </c:pt>
                <c:pt idx="44641">
                  <c:v>48241</c:v>
                </c:pt>
                <c:pt idx="44642">
                  <c:v>166975</c:v>
                </c:pt>
                <c:pt idx="44643">
                  <c:v>22892</c:v>
                </c:pt>
                <c:pt idx="44644">
                  <c:v>42930</c:v>
                </c:pt>
                <c:pt idx="44645">
                  <c:v>198535</c:v>
                </c:pt>
                <c:pt idx="44646">
                  <c:v>32168</c:v>
                </c:pt>
                <c:pt idx="44647">
                  <c:v>86921</c:v>
                </c:pt>
                <c:pt idx="44648">
                  <c:v>40979</c:v>
                </c:pt>
                <c:pt idx="44649">
                  <c:v>34374</c:v>
                </c:pt>
                <c:pt idx="44650">
                  <c:v>37633</c:v>
                </c:pt>
                <c:pt idx="44651">
                  <c:v>22689</c:v>
                </c:pt>
                <c:pt idx="44652">
                  <c:v>28560</c:v>
                </c:pt>
                <c:pt idx="44653">
                  <c:v>74573</c:v>
                </c:pt>
                <c:pt idx="44654">
                  <c:v>28085</c:v>
                </c:pt>
                <c:pt idx="44655">
                  <c:v>70714</c:v>
                </c:pt>
                <c:pt idx="44656">
                  <c:v>278427</c:v>
                </c:pt>
                <c:pt idx="44657">
                  <c:v>45171</c:v>
                </c:pt>
                <c:pt idx="44658">
                  <c:v>45749</c:v>
                </c:pt>
                <c:pt idx="44659">
                  <c:v>34570</c:v>
                </c:pt>
                <c:pt idx="44660">
                  <c:v>62360</c:v>
                </c:pt>
                <c:pt idx="44661">
                  <c:v>41841</c:v>
                </c:pt>
                <c:pt idx="44662">
                  <c:v>26561</c:v>
                </c:pt>
                <c:pt idx="44663">
                  <c:v>38486</c:v>
                </c:pt>
                <c:pt idx="44664">
                  <c:v>25863</c:v>
                </c:pt>
                <c:pt idx="44665">
                  <c:v>141214</c:v>
                </c:pt>
                <c:pt idx="44666">
                  <c:v>41668</c:v>
                </c:pt>
                <c:pt idx="44667">
                  <c:v>27831</c:v>
                </c:pt>
                <c:pt idx="44668">
                  <c:v>30357</c:v>
                </c:pt>
                <c:pt idx="44669">
                  <c:v>38552</c:v>
                </c:pt>
                <c:pt idx="44670">
                  <c:v>28984</c:v>
                </c:pt>
                <c:pt idx="44671">
                  <c:v>15000</c:v>
                </c:pt>
                <c:pt idx="44672">
                  <c:v>39054</c:v>
                </c:pt>
                <c:pt idx="44673">
                  <c:v>62642</c:v>
                </c:pt>
                <c:pt idx="44674">
                  <c:v>71956</c:v>
                </c:pt>
                <c:pt idx="44675">
                  <c:v>26944</c:v>
                </c:pt>
                <c:pt idx="44676">
                  <c:v>139366</c:v>
                </c:pt>
                <c:pt idx="44677">
                  <c:v>35906</c:v>
                </c:pt>
                <c:pt idx="44678">
                  <c:v>79411</c:v>
                </c:pt>
                <c:pt idx="44679">
                  <c:v>65609</c:v>
                </c:pt>
                <c:pt idx="44680">
                  <c:v>59740</c:v>
                </c:pt>
                <c:pt idx="44681">
                  <c:v>35043</c:v>
                </c:pt>
                <c:pt idx="44682">
                  <c:v>106261</c:v>
                </c:pt>
                <c:pt idx="44683">
                  <c:v>31095</c:v>
                </c:pt>
                <c:pt idx="44684">
                  <c:v>34480</c:v>
                </c:pt>
                <c:pt idx="44685">
                  <c:v>163677</c:v>
                </c:pt>
                <c:pt idx="44686">
                  <c:v>64573</c:v>
                </c:pt>
                <c:pt idx="44687">
                  <c:v>69358</c:v>
                </c:pt>
                <c:pt idx="44688">
                  <c:v>46212</c:v>
                </c:pt>
                <c:pt idx="44689">
                  <c:v>29906</c:v>
                </c:pt>
                <c:pt idx="44690">
                  <c:v>67084</c:v>
                </c:pt>
                <c:pt idx="44691">
                  <c:v>50803</c:v>
                </c:pt>
                <c:pt idx="44692">
                  <c:v>36940</c:v>
                </c:pt>
                <c:pt idx="44693">
                  <c:v>57413</c:v>
                </c:pt>
                <c:pt idx="44694">
                  <c:v>44102</c:v>
                </c:pt>
                <c:pt idx="44695">
                  <c:v>46936</c:v>
                </c:pt>
                <c:pt idx="44696">
                  <c:v>141598</c:v>
                </c:pt>
                <c:pt idx="44697">
                  <c:v>31901</c:v>
                </c:pt>
                <c:pt idx="44698">
                  <c:v>83825</c:v>
                </c:pt>
                <c:pt idx="44699">
                  <c:v>29325</c:v>
                </c:pt>
                <c:pt idx="44700">
                  <c:v>33006</c:v>
                </c:pt>
                <c:pt idx="44701">
                  <c:v>31786</c:v>
                </c:pt>
                <c:pt idx="44702">
                  <c:v>65461</c:v>
                </c:pt>
                <c:pt idx="44703">
                  <c:v>241729</c:v>
                </c:pt>
                <c:pt idx="44704">
                  <c:v>30273</c:v>
                </c:pt>
                <c:pt idx="44705">
                  <c:v>62940</c:v>
                </c:pt>
                <c:pt idx="44706">
                  <c:v>74326</c:v>
                </c:pt>
                <c:pt idx="44707">
                  <c:v>25755</c:v>
                </c:pt>
                <c:pt idx="44708">
                  <c:v>92182</c:v>
                </c:pt>
                <c:pt idx="44709">
                  <c:v>79244</c:v>
                </c:pt>
                <c:pt idx="44710">
                  <c:v>22305</c:v>
                </c:pt>
                <c:pt idx="44711">
                  <c:v>35121</c:v>
                </c:pt>
                <c:pt idx="44712">
                  <c:v>30431</c:v>
                </c:pt>
                <c:pt idx="44713">
                  <c:v>46230</c:v>
                </c:pt>
                <c:pt idx="44714">
                  <c:v>50565</c:v>
                </c:pt>
                <c:pt idx="44715">
                  <c:v>39105</c:v>
                </c:pt>
                <c:pt idx="44716">
                  <c:v>22008</c:v>
                </c:pt>
                <c:pt idx="44717">
                  <c:v>25412</c:v>
                </c:pt>
                <c:pt idx="44718">
                  <c:v>29667</c:v>
                </c:pt>
                <c:pt idx="44719">
                  <c:v>32108</c:v>
                </c:pt>
                <c:pt idx="44720">
                  <c:v>46640</c:v>
                </c:pt>
                <c:pt idx="44721">
                  <c:v>39369</c:v>
                </c:pt>
                <c:pt idx="44722">
                  <c:v>24245</c:v>
                </c:pt>
                <c:pt idx="44723">
                  <c:v>23737</c:v>
                </c:pt>
                <c:pt idx="44724">
                  <c:v>78145</c:v>
                </c:pt>
                <c:pt idx="44725">
                  <c:v>32968</c:v>
                </c:pt>
                <c:pt idx="44726">
                  <c:v>109374</c:v>
                </c:pt>
                <c:pt idx="44727">
                  <c:v>24084</c:v>
                </c:pt>
                <c:pt idx="44728">
                  <c:v>38224</c:v>
                </c:pt>
                <c:pt idx="44729">
                  <c:v>50097</c:v>
                </c:pt>
                <c:pt idx="44730">
                  <c:v>46189</c:v>
                </c:pt>
                <c:pt idx="44731">
                  <c:v>40809</c:v>
                </c:pt>
                <c:pt idx="44732">
                  <c:v>25425</c:v>
                </c:pt>
                <c:pt idx="44733">
                  <c:v>47659</c:v>
                </c:pt>
                <c:pt idx="44734">
                  <c:v>27471</c:v>
                </c:pt>
                <c:pt idx="44735">
                  <c:v>33107</c:v>
                </c:pt>
                <c:pt idx="44736">
                  <c:v>113977</c:v>
                </c:pt>
                <c:pt idx="44737">
                  <c:v>25392</c:v>
                </c:pt>
                <c:pt idx="44738">
                  <c:v>44167</c:v>
                </c:pt>
                <c:pt idx="44739">
                  <c:v>50476</c:v>
                </c:pt>
                <c:pt idx="44740">
                  <c:v>23014</c:v>
                </c:pt>
                <c:pt idx="44741">
                  <c:v>31115</c:v>
                </c:pt>
                <c:pt idx="44742">
                  <c:v>22849</c:v>
                </c:pt>
                <c:pt idx="44743">
                  <c:v>24262</c:v>
                </c:pt>
                <c:pt idx="44744">
                  <c:v>30045</c:v>
                </c:pt>
                <c:pt idx="44745">
                  <c:v>21573</c:v>
                </c:pt>
                <c:pt idx="44746">
                  <c:v>68558</c:v>
                </c:pt>
                <c:pt idx="44747">
                  <c:v>46817</c:v>
                </c:pt>
                <c:pt idx="44748">
                  <c:v>47911</c:v>
                </c:pt>
                <c:pt idx="44749">
                  <c:v>52821</c:v>
                </c:pt>
                <c:pt idx="44750">
                  <c:v>134169</c:v>
                </c:pt>
                <c:pt idx="44751">
                  <c:v>40742</c:v>
                </c:pt>
                <c:pt idx="44752">
                  <c:v>27001</c:v>
                </c:pt>
                <c:pt idx="44753">
                  <c:v>110165</c:v>
                </c:pt>
                <c:pt idx="44754">
                  <c:v>34143</c:v>
                </c:pt>
                <c:pt idx="44755">
                  <c:v>45131</c:v>
                </c:pt>
                <c:pt idx="44756">
                  <c:v>77807</c:v>
                </c:pt>
                <c:pt idx="44757">
                  <c:v>54292</c:v>
                </c:pt>
                <c:pt idx="44758">
                  <c:v>36457</c:v>
                </c:pt>
                <c:pt idx="44759">
                  <c:v>41119</c:v>
                </c:pt>
                <c:pt idx="44760">
                  <c:v>290749</c:v>
                </c:pt>
                <c:pt idx="44761">
                  <c:v>127066</c:v>
                </c:pt>
                <c:pt idx="44762">
                  <c:v>45938</c:v>
                </c:pt>
                <c:pt idx="44763">
                  <c:v>66822</c:v>
                </c:pt>
                <c:pt idx="44764">
                  <c:v>44958</c:v>
                </c:pt>
                <c:pt idx="44765">
                  <c:v>42702</c:v>
                </c:pt>
                <c:pt idx="44766">
                  <c:v>35475</c:v>
                </c:pt>
                <c:pt idx="44767">
                  <c:v>52889</c:v>
                </c:pt>
                <c:pt idx="44768">
                  <c:v>28139</c:v>
                </c:pt>
                <c:pt idx="44769">
                  <c:v>44868</c:v>
                </c:pt>
                <c:pt idx="44770">
                  <c:v>120099</c:v>
                </c:pt>
                <c:pt idx="44771">
                  <c:v>36496</c:v>
                </c:pt>
                <c:pt idx="44772">
                  <c:v>42019</c:v>
                </c:pt>
                <c:pt idx="44773">
                  <c:v>29257</c:v>
                </c:pt>
                <c:pt idx="44774">
                  <c:v>26838</c:v>
                </c:pt>
                <c:pt idx="44775">
                  <c:v>68282</c:v>
                </c:pt>
                <c:pt idx="44776">
                  <c:v>57042</c:v>
                </c:pt>
                <c:pt idx="44777">
                  <c:v>59867</c:v>
                </c:pt>
                <c:pt idx="44778">
                  <c:v>24506</c:v>
                </c:pt>
                <c:pt idx="44779">
                  <c:v>38462</c:v>
                </c:pt>
                <c:pt idx="44780">
                  <c:v>52440</c:v>
                </c:pt>
                <c:pt idx="44781">
                  <c:v>45385</c:v>
                </c:pt>
                <c:pt idx="44782">
                  <c:v>36380</c:v>
                </c:pt>
                <c:pt idx="44783">
                  <c:v>42261</c:v>
                </c:pt>
                <c:pt idx="44784">
                  <c:v>40920</c:v>
                </c:pt>
                <c:pt idx="44785">
                  <c:v>190193</c:v>
                </c:pt>
                <c:pt idx="44786">
                  <c:v>36325</c:v>
                </c:pt>
                <c:pt idx="44787">
                  <c:v>24310</c:v>
                </c:pt>
                <c:pt idx="44788">
                  <c:v>96609</c:v>
                </c:pt>
                <c:pt idx="44789">
                  <c:v>59378</c:v>
                </c:pt>
                <c:pt idx="44790">
                  <c:v>31893</c:v>
                </c:pt>
                <c:pt idx="44791">
                  <c:v>37885</c:v>
                </c:pt>
                <c:pt idx="44792">
                  <c:v>37505</c:v>
                </c:pt>
                <c:pt idx="44793">
                  <c:v>44215</c:v>
                </c:pt>
                <c:pt idx="44794">
                  <c:v>36974</c:v>
                </c:pt>
                <c:pt idx="44795">
                  <c:v>34290</c:v>
                </c:pt>
                <c:pt idx="44796">
                  <c:v>39126</c:v>
                </c:pt>
                <c:pt idx="44797">
                  <c:v>133616</c:v>
                </c:pt>
                <c:pt idx="44798">
                  <c:v>50356</c:v>
                </c:pt>
                <c:pt idx="44799">
                  <c:v>31884</c:v>
                </c:pt>
                <c:pt idx="44800">
                  <c:v>42981</c:v>
                </c:pt>
                <c:pt idx="44801">
                  <c:v>32589</c:v>
                </c:pt>
                <c:pt idx="44802">
                  <c:v>45440</c:v>
                </c:pt>
                <c:pt idx="44803">
                  <c:v>27876</c:v>
                </c:pt>
                <c:pt idx="44804">
                  <c:v>75236</c:v>
                </c:pt>
                <c:pt idx="44805">
                  <c:v>124142</c:v>
                </c:pt>
                <c:pt idx="44806">
                  <c:v>39829</c:v>
                </c:pt>
                <c:pt idx="44807">
                  <c:v>30898</c:v>
                </c:pt>
                <c:pt idx="44808">
                  <c:v>68296</c:v>
                </c:pt>
                <c:pt idx="44809">
                  <c:v>61598</c:v>
                </c:pt>
                <c:pt idx="44810">
                  <c:v>36527</c:v>
                </c:pt>
                <c:pt idx="44811">
                  <c:v>46852</c:v>
                </c:pt>
                <c:pt idx="44812">
                  <c:v>70998</c:v>
                </c:pt>
                <c:pt idx="44813">
                  <c:v>43057</c:v>
                </c:pt>
                <c:pt idx="44814">
                  <c:v>110710</c:v>
                </c:pt>
                <c:pt idx="44815">
                  <c:v>28258</c:v>
                </c:pt>
                <c:pt idx="44816">
                  <c:v>87401</c:v>
                </c:pt>
                <c:pt idx="44817">
                  <c:v>131465</c:v>
                </c:pt>
                <c:pt idx="44818">
                  <c:v>103426</c:v>
                </c:pt>
                <c:pt idx="44819">
                  <c:v>33102</c:v>
                </c:pt>
                <c:pt idx="44820">
                  <c:v>106106</c:v>
                </c:pt>
                <c:pt idx="44821">
                  <c:v>38181</c:v>
                </c:pt>
                <c:pt idx="44822">
                  <c:v>40059</c:v>
                </c:pt>
                <c:pt idx="44823">
                  <c:v>30283</c:v>
                </c:pt>
                <c:pt idx="44824">
                  <c:v>36365</c:v>
                </c:pt>
                <c:pt idx="44825">
                  <c:v>32308</c:v>
                </c:pt>
                <c:pt idx="44826">
                  <c:v>29341</c:v>
                </c:pt>
                <c:pt idx="44827">
                  <c:v>28401</c:v>
                </c:pt>
                <c:pt idx="44828">
                  <c:v>105523</c:v>
                </c:pt>
                <c:pt idx="44829">
                  <c:v>48385</c:v>
                </c:pt>
                <c:pt idx="44830">
                  <c:v>33674</c:v>
                </c:pt>
                <c:pt idx="44831">
                  <c:v>52989</c:v>
                </c:pt>
                <c:pt idx="44832">
                  <c:v>49893</c:v>
                </c:pt>
                <c:pt idx="44833">
                  <c:v>26336</c:v>
                </c:pt>
                <c:pt idx="44834">
                  <c:v>48332</c:v>
                </c:pt>
                <c:pt idx="44835">
                  <c:v>28510</c:v>
                </c:pt>
                <c:pt idx="44836">
                  <c:v>41875</c:v>
                </c:pt>
                <c:pt idx="44837">
                  <c:v>25307</c:v>
                </c:pt>
                <c:pt idx="44838">
                  <c:v>45355</c:v>
                </c:pt>
                <c:pt idx="44839">
                  <c:v>142392</c:v>
                </c:pt>
                <c:pt idx="44840">
                  <c:v>38056</c:v>
                </c:pt>
                <c:pt idx="44841">
                  <c:v>54672</c:v>
                </c:pt>
                <c:pt idx="44842">
                  <c:v>95138</c:v>
                </c:pt>
                <c:pt idx="44843">
                  <c:v>42030</c:v>
                </c:pt>
                <c:pt idx="44844">
                  <c:v>38464</c:v>
                </c:pt>
                <c:pt idx="44845">
                  <c:v>40532</c:v>
                </c:pt>
                <c:pt idx="44846">
                  <c:v>126128</c:v>
                </c:pt>
                <c:pt idx="44847">
                  <c:v>78233</c:v>
                </c:pt>
                <c:pt idx="44848">
                  <c:v>254805</c:v>
                </c:pt>
                <c:pt idx="44849">
                  <c:v>37064</c:v>
                </c:pt>
                <c:pt idx="44850">
                  <c:v>93381</c:v>
                </c:pt>
                <c:pt idx="44851">
                  <c:v>22263</c:v>
                </c:pt>
                <c:pt idx="44852">
                  <c:v>30951</c:v>
                </c:pt>
                <c:pt idx="44853">
                  <c:v>41050</c:v>
                </c:pt>
                <c:pt idx="44854">
                  <c:v>87855</c:v>
                </c:pt>
                <c:pt idx="44855">
                  <c:v>48272</c:v>
                </c:pt>
                <c:pt idx="44856">
                  <c:v>51015</c:v>
                </c:pt>
                <c:pt idx="44857">
                  <c:v>29016</c:v>
                </c:pt>
                <c:pt idx="44858">
                  <c:v>29518</c:v>
                </c:pt>
                <c:pt idx="44859">
                  <c:v>32769</c:v>
                </c:pt>
                <c:pt idx="44860">
                  <c:v>23577</c:v>
                </c:pt>
                <c:pt idx="44861">
                  <c:v>82001</c:v>
                </c:pt>
                <c:pt idx="44862">
                  <c:v>45933</c:v>
                </c:pt>
                <c:pt idx="44863">
                  <c:v>32898</c:v>
                </c:pt>
                <c:pt idx="44864">
                  <c:v>126116</c:v>
                </c:pt>
                <c:pt idx="44865">
                  <c:v>52776</c:v>
                </c:pt>
                <c:pt idx="44866">
                  <c:v>32208</c:v>
                </c:pt>
                <c:pt idx="44867">
                  <c:v>36834</c:v>
                </c:pt>
                <c:pt idx="44868">
                  <c:v>94468</c:v>
                </c:pt>
                <c:pt idx="44869">
                  <c:v>42909</c:v>
                </c:pt>
                <c:pt idx="44870">
                  <c:v>24233</c:v>
                </c:pt>
                <c:pt idx="44871">
                  <c:v>29288</c:v>
                </c:pt>
                <c:pt idx="44872">
                  <c:v>145884</c:v>
                </c:pt>
                <c:pt idx="44873">
                  <c:v>33394</c:v>
                </c:pt>
                <c:pt idx="44874">
                  <c:v>267527</c:v>
                </c:pt>
                <c:pt idx="44875">
                  <c:v>37470</c:v>
                </c:pt>
                <c:pt idx="44876">
                  <c:v>54534</c:v>
                </c:pt>
                <c:pt idx="44877">
                  <c:v>103145</c:v>
                </c:pt>
                <c:pt idx="44878">
                  <c:v>58941</c:v>
                </c:pt>
                <c:pt idx="44879">
                  <c:v>51019</c:v>
                </c:pt>
                <c:pt idx="44880">
                  <c:v>64366</c:v>
                </c:pt>
                <c:pt idx="44881">
                  <c:v>28812</c:v>
                </c:pt>
                <c:pt idx="44882">
                  <c:v>24250</c:v>
                </c:pt>
                <c:pt idx="44883">
                  <c:v>46072</c:v>
                </c:pt>
                <c:pt idx="44884">
                  <c:v>104339</c:v>
                </c:pt>
                <c:pt idx="44885">
                  <c:v>26559</c:v>
                </c:pt>
                <c:pt idx="44886">
                  <c:v>53316</c:v>
                </c:pt>
                <c:pt idx="44887">
                  <c:v>80376</c:v>
                </c:pt>
                <c:pt idx="44888">
                  <c:v>211241</c:v>
                </c:pt>
                <c:pt idx="44889">
                  <c:v>34685</c:v>
                </c:pt>
                <c:pt idx="44890">
                  <c:v>27656</c:v>
                </c:pt>
                <c:pt idx="44891">
                  <c:v>49194</c:v>
                </c:pt>
                <c:pt idx="44892">
                  <c:v>36994</c:v>
                </c:pt>
                <c:pt idx="44893">
                  <c:v>44744</c:v>
                </c:pt>
                <c:pt idx="44894">
                  <c:v>36411</c:v>
                </c:pt>
                <c:pt idx="44895">
                  <c:v>25388</c:v>
                </c:pt>
                <c:pt idx="44896">
                  <c:v>36330</c:v>
                </c:pt>
                <c:pt idx="44897">
                  <c:v>67646</c:v>
                </c:pt>
                <c:pt idx="44898">
                  <c:v>28876</c:v>
                </c:pt>
                <c:pt idx="44899">
                  <c:v>47251</c:v>
                </c:pt>
                <c:pt idx="44900">
                  <c:v>56208</c:v>
                </c:pt>
                <c:pt idx="44901">
                  <c:v>28492</c:v>
                </c:pt>
                <c:pt idx="44902">
                  <c:v>37929</c:v>
                </c:pt>
                <c:pt idx="44903">
                  <c:v>27073</c:v>
                </c:pt>
                <c:pt idx="44904">
                  <c:v>52466</c:v>
                </c:pt>
                <c:pt idx="44905">
                  <c:v>72713</c:v>
                </c:pt>
                <c:pt idx="44906">
                  <c:v>86567</c:v>
                </c:pt>
                <c:pt idx="44907">
                  <c:v>49892</c:v>
                </c:pt>
                <c:pt idx="44908">
                  <c:v>45894</c:v>
                </c:pt>
                <c:pt idx="44909">
                  <c:v>232196</c:v>
                </c:pt>
                <c:pt idx="44910">
                  <c:v>172802</c:v>
                </c:pt>
                <c:pt idx="44911">
                  <c:v>272331</c:v>
                </c:pt>
                <c:pt idx="44912">
                  <c:v>33837</c:v>
                </c:pt>
                <c:pt idx="44913">
                  <c:v>137360</c:v>
                </c:pt>
                <c:pt idx="44914">
                  <c:v>24809</c:v>
                </c:pt>
                <c:pt idx="44915">
                  <c:v>44707</c:v>
                </c:pt>
                <c:pt idx="44916">
                  <c:v>28508</c:v>
                </c:pt>
                <c:pt idx="44917">
                  <c:v>129691</c:v>
                </c:pt>
                <c:pt idx="44918">
                  <c:v>106667</c:v>
                </c:pt>
                <c:pt idx="44919">
                  <c:v>35763</c:v>
                </c:pt>
                <c:pt idx="44920">
                  <c:v>29353</c:v>
                </c:pt>
                <c:pt idx="44921">
                  <c:v>92144</c:v>
                </c:pt>
                <c:pt idx="44922">
                  <c:v>40587</c:v>
                </c:pt>
                <c:pt idx="44923">
                  <c:v>69004</c:v>
                </c:pt>
                <c:pt idx="44924">
                  <c:v>98674</c:v>
                </c:pt>
                <c:pt idx="44925">
                  <c:v>61605</c:v>
                </c:pt>
                <c:pt idx="44926">
                  <c:v>50326</c:v>
                </c:pt>
                <c:pt idx="44927">
                  <c:v>25398</c:v>
                </c:pt>
                <c:pt idx="44928">
                  <c:v>31354</c:v>
                </c:pt>
                <c:pt idx="44929">
                  <c:v>48577</c:v>
                </c:pt>
                <c:pt idx="44930">
                  <c:v>45489</c:v>
                </c:pt>
                <c:pt idx="44931">
                  <c:v>95454</c:v>
                </c:pt>
                <c:pt idx="44932">
                  <c:v>47297</c:v>
                </c:pt>
                <c:pt idx="44933">
                  <c:v>51144</c:v>
                </c:pt>
                <c:pt idx="44934">
                  <c:v>97611</c:v>
                </c:pt>
                <c:pt idx="44935">
                  <c:v>56296</c:v>
                </c:pt>
                <c:pt idx="44936">
                  <c:v>26251</c:v>
                </c:pt>
                <c:pt idx="44937">
                  <c:v>24738</c:v>
                </c:pt>
                <c:pt idx="44938">
                  <c:v>34897</c:v>
                </c:pt>
                <c:pt idx="44939">
                  <c:v>46972</c:v>
                </c:pt>
                <c:pt idx="44940">
                  <c:v>154659</c:v>
                </c:pt>
                <c:pt idx="44941">
                  <c:v>103866</c:v>
                </c:pt>
                <c:pt idx="44942">
                  <c:v>54679</c:v>
                </c:pt>
                <c:pt idx="44943">
                  <c:v>62258</c:v>
                </c:pt>
                <c:pt idx="44944">
                  <c:v>36373</c:v>
                </c:pt>
                <c:pt idx="44945">
                  <c:v>65172</c:v>
                </c:pt>
                <c:pt idx="44946">
                  <c:v>22401</c:v>
                </c:pt>
                <c:pt idx="44947">
                  <c:v>46431</c:v>
                </c:pt>
                <c:pt idx="44948">
                  <c:v>63092</c:v>
                </c:pt>
                <c:pt idx="44949">
                  <c:v>94322</c:v>
                </c:pt>
                <c:pt idx="44950">
                  <c:v>31848</c:v>
                </c:pt>
                <c:pt idx="44951">
                  <c:v>34108</c:v>
                </c:pt>
                <c:pt idx="44952">
                  <c:v>47075</c:v>
                </c:pt>
                <c:pt idx="44953">
                  <c:v>42872</c:v>
                </c:pt>
                <c:pt idx="44954">
                  <c:v>37814</c:v>
                </c:pt>
                <c:pt idx="44955">
                  <c:v>40803</c:v>
                </c:pt>
                <c:pt idx="44956">
                  <c:v>338869</c:v>
                </c:pt>
                <c:pt idx="44957">
                  <c:v>26478</c:v>
                </c:pt>
                <c:pt idx="44958">
                  <c:v>29774</c:v>
                </c:pt>
                <c:pt idx="44959">
                  <c:v>30041</c:v>
                </c:pt>
                <c:pt idx="44960">
                  <c:v>37874</c:v>
                </c:pt>
                <c:pt idx="44961">
                  <c:v>42300</c:v>
                </c:pt>
                <c:pt idx="44962">
                  <c:v>100740</c:v>
                </c:pt>
                <c:pt idx="44963">
                  <c:v>29435</c:v>
                </c:pt>
                <c:pt idx="44964">
                  <c:v>32497</c:v>
                </c:pt>
                <c:pt idx="44965">
                  <c:v>47652</c:v>
                </c:pt>
                <c:pt idx="44966">
                  <c:v>174771</c:v>
                </c:pt>
                <c:pt idx="44967">
                  <c:v>52191</c:v>
                </c:pt>
                <c:pt idx="44968">
                  <c:v>162552</c:v>
                </c:pt>
                <c:pt idx="44969">
                  <c:v>66702</c:v>
                </c:pt>
                <c:pt idx="44970">
                  <c:v>57582</c:v>
                </c:pt>
                <c:pt idx="44971">
                  <c:v>185056</c:v>
                </c:pt>
                <c:pt idx="44972">
                  <c:v>44626</c:v>
                </c:pt>
                <c:pt idx="44973">
                  <c:v>117584</c:v>
                </c:pt>
                <c:pt idx="44974">
                  <c:v>129093</c:v>
                </c:pt>
                <c:pt idx="44975">
                  <c:v>98645</c:v>
                </c:pt>
                <c:pt idx="44976">
                  <c:v>59679</c:v>
                </c:pt>
                <c:pt idx="44977">
                  <c:v>56734</c:v>
                </c:pt>
                <c:pt idx="44978">
                  <c:v>293188</c:v>
                </c:pt>
                <c:pt idx="44979">
                  <c:v>105722</c:v>
                </c:pt>
                <c:pt idx="44980">
                  <c:v>44124</c:v>
                </c:pt>
                <c:pt idx="44981">
                  <c:v>77732</c:v>
                </c:pt>
                <c:pt idx="44982">
                  <c:v>44883</c:v>
                </c:pt>
                <c:pt idx="44983">
                  <c:v>68101</c:v>
                </c:pt>
                <c:pt idx="44984">
                  <c:v>27444</c:v>
                </c:pt>
                <c:pt idx="44985">
                  <c:v>38204</c:v>
                </c:pt>
                <c:pt idx="44986">
                  <c:v>110455</c:v>
                </c:pt>
                <c:pt idx="44987">
                  <c:v>58054</c:v>
                </c:pt>
                <c:pt idx="44988">
                  <c:v>121651</c:v>
                </c:pt>
                <c:pt idx="44989">
                  <c:v>31447</c:v>
                </c:pt>
                <c:pt idx="44990">
                  <c:v>97080</c:v>
                </c:pt>
                <c:pt idx="44991">
                  <c:v>32189</c:v>
                </c:pt>
                <c:pt idx="44992">
                  <c:v>26078</c:v>
                </c:pt>
                <c:pt idx="44993">
                  <c:v>65657</c:v>
                </c:pt>
                <c:pt idx="44994">
                  <c:v>45911</c:v>
                </c:pt>
                <c:pt idx="44995">
                  <c:v>40078</c:v>
                </c:pt>
                <c:pt idx="44996">
                  <c:v>45506</c:v>
                </c:pt>
                <c:pt idx="44997">
                  <c:v>151585</c:v>
                </c:pt>
                <c:pt idx="44998">
                  <c:v>30578</c:v>
                </c:pt>
                <c:pt idx="44999">
                  <c:v>44685</c:v>
                </c:pt>
                <c:pt idx="45000">
                  <c:v>36505</c:v>
                </c:pt>
                <c:pt idx="45001">
                  <c:v>22100</c:v>
                </c:pt>
                <c:pt idx="45002">
                  <c:v>34441</c:v>
                </c:pt>
                <c:pt idx="45003">
                  <c:v>45975</c:v>
                </c:pt>
                <c:pt idx="45004">
                  <c:v>27181</c:v>
                </c:pt>
                <c:pt idx="45005">
                  <c:v>57350</c:v>
                </c:pt>
                <c:pt idx="45006">
                  <c:v>39794</c:v>
                </c:pt>
                <c:pt idx="45007">
                  <c:v>34032</c:v>
                </c:pt>
                <c:pt idx="45008">
                  <c:v>257172</c:v>
                </c:pt>
                <c:pt idx="45009">
                  <c:v>60333</c:v>
                </c:pt>
                <c:pt idx="45010">
                  <c:v>144435</c:v>
                </c:pt>
                <c:pt idx="45011">
                  <c:v>75162</c:v>
                </c:pt>
                <c:pt idx="45012">
                  <c:v>35860</c:v>
                </c:pt>
                <c:pt idx="45013">
                  <c:v>22017</c:v>
                </c:pt>
                <c:pt idx="45014">
                  <c:v>40808</c:v>
                </c:pt>
                <c:pt idx="45015">
                  <c:v>132536</c:v>
                </c:pt>
                <c:pt idx="45016">
                  <c:v>54414</c:v>
                </c:pt>
                <c:pt idx="45017">
                  <c:v>27709</c:v>
                </c:pt>
                <c:pt idx="45018">
                  <c:v>46700</c:v>
                </c:pt>
                <c:pt idx="45019">
                  <c:v>47763</c:v>
                </c:pt>
                <c:pt idx="45020">
                  <c:v>35822</c:v>
                </c:pt>
                <c:pt idx="45021">
                  <c:v>65996</c:v>
                </c:pt>
                <c:pt idx="45022">
                  <c:v>29322</c:v>
                </c:pt>
                <c:pt idx="45023">
                  <c:v>39224</c:v>
                </c:pt>
                <c:pt idx="45024">
                  <c:v>34322</c:v>
                </c:pt>
                <c:pt idx="45025">
                  <c:v>38434</c:v>
                </c:pt>
                <c:pt idx="45026">
                  <c:v>74259</c:v>
                </c:pt>
                <c:pt idx="45027">
                  <c:v>35124</c:v>
                </c:pt>
                <c:pt idx="45028">
                  <c:v>30796</c:v>
                </c:pt>
                <c:pt idx="45029">
                  <c:v>28619</c:v>
                </c:pt>
                <c:pt idx="45030">
                  <c:v>31610</c:v>
                </c:pt>
                <c:pt idx="45031">
                  <c:v>72405</c:v>
                </c:pt>
                <c:pt idx="45032">
                  <c:v>47076</c:v>
                </c:pt>
                <c:pt idx="45033">
                  <c:v>45987</c:v>
                </c:pt>
                <c:pt idx="45034">
                  <c:v>35936</c:v>
                </c:pt>
                <c:pt idx="45035">
                  <c:v>36065</c:v>
                </c:pt>
                <c:pt idx="45036">
                  <c:v>46856</c:v>
                </c:pt>
                <c:pt idx="45037">
                  <c:v>40255</c:v>
                </c:pt>
                <c:pt idx="45038">
                  <c:v>38889</c:v>
                </c:pt>
                <c:pt idx="45039">
                  <c:v>48993</c:v>
                </c:pt>
                <c:pt idx="45040">
                  <c:v>58835</c:v>
                </c:pt>
                <c:pt idx="45041">
                  <c:v>97523</c:v>
                </c:pt>
                <c:pt idx="45042">
                  <c:v>39235</c:v>
                </c:pt>
                <c:pt idx="45043">
                  <c:v>73522</c:v>
                </c:pt>
                <c:pt idx="45044">
                  <c:v>26860</c:v>
                </c:pt>
                <c:pt idx="45045">
                  <c:v>40002</c:v>
                </c:pt>
                <c:pt idx="45046">
                  <c:v>101468</c:v>
                </c:pt>
                <c:pt idx="45047">
                  <c:v>153541</c:v>
                </c:pt>
                <c:pt idx="45048">
                  <c:v>42404</c:v>
                </c:pt>
                <c:pt idx="45049">
                  <c:v>50467</c:v>
                </c:pt>
                <c:pt idx="45050">
                  <c:v>40050</c:v>
                </c:pt>
                <c:pt idx="45051">
                  <c:v>33939</c:v>
                </c:pt>
                <c:pt idx="45052">
                  <c:v>46561</c:v>
                </c:pt>
                <c:pt idx="45053">
                  <c:v>62625</c:v>
                </c:pt>
                <c:pt idx="45054">
                  <c:v>48457</c:v>
                </c:pt>
                <c:pt idx="45055">
                  <c:v>22591</c:v>
                </c:pt>
                <c:pt idx="45056">
                  <c:v>25211</c:v>
                </c:pt>
                <c:pt idx="45057">
                  <c:v>37038</c:v>
                </c:pt>
                <c:pt idx="45058">
                  <c:v>61251</c:v>
                </c:pt>
                <c:pt idx="45059">
                  <c:v>31052</c:v>
                </c:pt>
                <c:pt idx="45060">
                  <c:v>39097</c:v>
                </c:pt>
                <c:pt idx="45061">
                  <c:v>22902</c:v>
                </c:pt>
                <c:pt idx="45062">
                  <c:v>27171</c:v>
                </c:pt>
                <c:pt idx="45063">
                  <c:v>41038</c:v>
                </c:pt>
                <c:pt idx="45064">
                  <c:v>45920</c:v>
                </c:pt>
                <c:pt idx="45065">
                  <c:v>46676</c:v>
                </c:pt>
                <c:pt idx="45066">
                  <c:v>29857</c:v>
                </c:pt>
                <c:pt idx="45067">
                  <c:v>31059</c:v>
                </c:pt>
                <c:pt idx="45068">
                  <c:v>64632</c:v>
                </c:pt>
                <c:pt idx="45069">
                  <c:v>46700</c:v>
                </c:pt>
                <c:pt idx="45070">
                  <c:v>28205</c:v>
                </c:pt>
                <c:pt idx="45071">
                  <c:v>114089</c:v>
                </c:pt>
                <c:pt idx="45072">
                  <c:v>32759</c:v>
                </c:pt>
                <c:pt idx="45073">
                  <c:v>44811</c:v>
                </c:pt>
                <c:pt idx="45074">
                  <c:v>89027</c:v>
                </c:pt>
                <c:pt idx="45075">
                  <c:v>33325</c:v>
                </c:pt>
                <c:pt idx="45076">
                  <c:v>63916</c:v>
                </c:pt>
                <c:pt idx="45077">
                  <c:v>48833</c:v>
                </c:pt>
                <c:pt idx="45078">
                  <c:v>24974</c:v>
                </c:pt>
                <c:pt idx="45079">
                  <c:v>35924</c:v>
                </c:pt>
                <c:pt idx="45080">
                  <c:v>57227</c:v>
                </c:pt>
                <c:pt idx="45081">
                  <c:v>52738</c:v>
                </c:pt>
                <c:pt idx="45082">
                  <c:v>31286</c:v>
                </c:pt>
                <c:pt idx="45083">
                  <c:v>89401</c:v>
                </c:pt>
                <c:pt idx="45084">
                  <c:v>40344</c:v>
                </c:pt>
                <c:pt idx="45085">
                  <c:v>32959</c:v>
                </c:pt>
                <c:pt idx="45086">
                  <c:v>41600</c:v>
                </c:pt>
                <c:pt idx="45087">
                  <c:v>25665</c:v>
                </c:pt>
                <c:pt idx="45088">
                  <c:v>23036</c:v>
                </c:pt>
                <c:pt idx="45089">
                  <c:v>31584</c:v>
                </c:pt>
                <c:pt idx="45090">
                  <c:v>74250</c:v>
                </c:pt>
                <c:pt idx="45091">
                  <c:v>42604</c:v>
                </c:pt>
                <c:pt idx="45092">
                  <c:v>31496</c:v>
                </c:pt>
                <c:pt idx="45093">
                  <c:v>39413</c:v>
                </c:pt>
                <c:pt idx="45094">
                  <c:v>45683</c:v>
                </c:pt>
                <c:pt idx="45095">
                  <c:v>119811</c:v>
                </c:pt>
                <c:pt idx="45096">
                  <c:v>26391</c:v>
                </c:pt>
                <c:pt idx="45097">
                  <c:v>44619</c:v>
                </c:pt>
                <c:pt idx="45098">
                  <c:v>36416</c:v>
                </c:pt>
                <c:pt idx="45099">
                  <c:v>30595</c:v>
                </c:pt>
                <c:pt idx="45100">
                  <c:v>43483</c:v>
                </c:pt>
                <c:pt idx="45101">
                  <c:v>82510</c:v>
                </c:pt>
                <c:pt idx="45102">
                  <c:v>29492</c:v>
                </c:pt>
                <c:pt idx="45103">
                  <c:v>41116</c:v>
                </c:pt>
                <c:pt idx="45104">
                  <c:v>65791</c:v>
                </c:pt>
                <c:pt idx="45105">
                  <c:v>89916</c:v>
                </c:pt>
                <c:pt idx="45106">
                  <c:v>50002</c:v>
                </c:pt>
                <c:pt idx="45107">
                  <c:v>98603</c:v>
                </c:pt>
                <c:pt idx="45108">
                  <c:v>42939</c:v>
                </c:pt>
                <c:pt idx="45109">
                  <c:v>183776</c:v>
                </c:pt>
                <c:pt idx="45110">
                  <c:v>61053</c:v>
                </c:pt>
                <c:pt idx="45111">
                  <c:v>28323</c:v>
                </c:pt>
                <c:pt idx="45112">
                  <c:v>139185</c:v>
                </c:pt>
                <c:pt idx="45113">
                  <c:v>57255</c:v>
                </c:pt>
                <c:pt idx="45114">
                  <c:v>66617</c:v>
                </c:pt>
                <c:pt idx="45115">
                  <c:v>40024</c:v>
                </c:pt>
                <c:pt idx="45116">
                  <c:v>31123</c:v>
                </c:pt>
                <c:pt idx="45117">
                  <c:v>53806</c:v>
                </c:pt>
                <c:pt idx="45118">
                  <c:v>65570</c:v>
                </c:pt>
                <c:pt idx="45119">
                  <c:v>23286</c:v>
                </c:pt>
                <c:pt idx="45120">
                  <c:v>32911</c:v>
                </c:pt>
                <c:pt idx="45121">
                  <c:v>75679</c:v>
                </c:pt>
                <c:pt idx="45122">
                  <c:v>35022</c:v>
                </c:pt>
                <c:pt idx="45123">
                  <c:v>31169</c:v>
                </c:pt>
                <c:pt idx="45124">
                  <c:v>50507</c:v>
                </c:pt>
                <c:pt idx="45125">
                  <c:v>38587</c:v>
                </c:pt>
                <c:pt idx="45126">
                  <c:v>31370</c:v>
                </c:pt>
                <c:pt idx="45127">
                  <c:v>23627</c:v>
                </c:pt>
                <c:pt idx="45128">
                  <c:v>29413</c:v>
                </c:pt>
                <c:pt idx="45129">
                  <c:v>36536</c:v>
                </c:pt>
                <c:pt idx="45130">
                  <c:v>36758</c:v>
                </c:pt>
                <c:pt idx="45131">
                  <c:v>68586</c:v>
                </c:pt>
                <c:pt idx="45132">
                  <c:v>40048</c:v>
                </c:pt>
                <c:pt idx="45133">
                  <c:v>22685</c:v>
                </c:pt>
                <c:pt idx="45134">
                  <c:v>37060</c:v>
                </c:pt>
                <c:pt idx="45135">
                  <c:v>41525</c:v>
                </c:pt>
                <c:pt idx="45136">
                  <c:v>26061</c:v>
                </c:pt>
                <c:pt idx="45137">
                  <c:v>29570</c:v>
                </c:pt>
                <c:pt idx="45138">
                  <c:v>34105</c:v>
                </c:pt>
                <c:pt idx="45139">
                  <c:v>337614</c:v>
                </c:pt>
                <c:pt idx="45140">
                  <c:v>201996</c:v>
                </c:pt>
                <c:pt idx="45141">
                  <c:v>89976</c:v>
                </c:pt>
                <c:pt idx="45142">
                  <c:v>45694</c:v>
                </c:pt>
                <c:pt idx="45143">
                  <c:v>42677</c:v>
                </c:pt>
                <c:pt idx="45144">
                  <c:v>72844</c:v>
                </c:pt>
                <c:pt idx="45145">
                  <c:v>39751</c:v>
                </c:pt>
                <c:pt idx="45146">
                  <c:v>36325</c:v>
                </c:pt>
                <c:pt idx="45147">
                  <c:v>23972</c:v>
                </c:pt>
                <c:pt idx="45148">
                  <c:v>39018</c:v>
                </c:pt>
                <c:pt idx="45149">
                  <c:v>47981</c:v>
                </c:pt>
                <c:pt idx="45150">
                  <c:v>34780</c:v>
                </c:pt>
                <c:pt idx="45151">
                  <c:v>26229</c:v>
                </c:pt>
                <c:pt idx="45152">
                  <c:v>30521</c:v>
                </c:pt>
                <c:pt idx="45153">
                  <c:v>34433</c:v>
                </c:pt>
                <c:pt idx="45154">
                  <c:v>26151</c:v>
                </c:pt>
                <c:pt idx="45155">
                  <c:v>87007</c:v>
                </c:pt>
                <c:pt idx="45156">
                  <c:v>43530</c:v>
                </c:pt>
                <c:pt idx="45157">
                  <c:v>95042</c:v>
                </c:pt>
                <c:pt idx="45158">
                  <c:v>111269</c:v>
                </c:pt>
                <c:pt idx="45159">
                  <c:v>97714</c:v>
                </c:pt>
                <c:pt idx="45160">
                  <c:v>36704</c:v>
                </c:pt>
                <c:pt idx="45161">
                  <c:v>139925</c:v>
                </c:pt>
                <c:pt idx="45162">
                  <c:v>38222</c:v>
                </c:pt>
                <c:pt idx="45163">
                  <c:v>37349</c:v>
                </c:pt>
                <c:pt idx="45164">
                  <c:v>58947</c:v>
                </c:pt>
                <c:pt idx="45165">
                  <c:v>49453</c:v>
                </c:pt>
                <c:pt idx="45166">
                  <c:v>75007</c:v>
                </c:pt>
                <c:pt idx="45167">
                  <c:v>41810</c:v>
                </c:pt>
                <c:pt idx="45168">
                  <c:v>30250</c:v>
                </c:pt>
                <c:pt idx="45169">
                  <c:v>40601</c:v>
                </c:pt>
                <c:pt idx="45170">
                  <c:v>73165</c:v>
                </c:pt>
                <c:pt idx="45171">
                  <c:v>30126</c:v>
                </c:pt>
                <c:pt idx="45172">
                  <c:v>41661</c:v>
                </c:pt>
                <c:pt idx="45173">
                  <c:v>72606</c:v>
                </c:pt>
                <c:pt idx="45174">
                  <c:v>36583</c:v>
                </c:pt>
                <c:pt idx="45175">
                  <c:v>68957</c:v>
                </c:pt>
                <c:pt idx="45176">
                  <c:v>27404</c:v>
                </c:pt>
                <c:pt idx="45177">
                  <c:v>42305</c:v>
                </c:pt>
                <c:pt idx="45178">
                  <c:v>172582</c:v>
                </c:pt>
                <c:pt idx="45179">
                  <c:v>27786</c:v>
                </c:pt>
                <c:pt idx="45180">
                  <c:v>30677</c:v>
                </c:pt>
                <c:pt idx="45181">
                  <c:v>33007</c:v>
                </c:pt>
                <c:pt idx="45182">
                  <c:v>38941</c:v>
                </c:pt>
                <c:pt idx="45183">
                  <c:v>244172</c:v>
                </c:pt>
                <c:pt idx="45184">
                  <c:v>30102</c:v>
                </c:pt>
                <c:pt idx="45185">
                  <c:v>44646</c:v>
                </c:pt>
                <c:pt idx="45186">
                  <c:v>52132</c:v>
                </c:pt>
                <c:pt idx="45187">
                  <c:v>30175</c:v>
                </c:pt>
                <c:pt idx="45188">
                  <c:v>89894</c:v>
                </c:pt>
                <c:pt idx="45189">
                  <c:v>22935</c:v>
                </c:pt>
                <c:pt idx="45190">
                  <c:v>108104</c:v>
                </c:pt>
                <c:pt idx="45191">
                  <c:v>50406</c:v>
                </c:pt>
                <c:pt idx="45192">
                  <c:v>31540</c:v>
                </c:pt>
                <c:pt idx="45193">
                  <c:v>40616</c:v>
                </c:pt>
                <c:pt idx="45194">
                  <c:v>38909</c:v>
                </c:pt>
                <c:pt idx="45195">
                  <c:v>31988</c:v>
                </c:pt>
                <c:pt idx="45196">
                  <c:v>38099</c:v>
                </c:pt>
                <c:pt idx="45197">
                  <c:v>46547</c:v>
                </c:pt>
                <c:pt idx="45198">
                  <c:v>36975</c:v>
                </c:pt>
                <c:pt idx="45199">
                  <c:v>39374</c:v>
                </c:pt>
                <c:pt idx="45200">
                  <c:v>96453</c:v>
                </c:pt>
                <c:pt idx="45201">
                  <c:v>40430</c:v>
                </c:pt>
                <c:pt idx="45202">
                  <c:v>155303</c:v>
                </c:pt>
                <c:pt idx="45203">
                  <c:v>46260</c:v>
                </c:pt>
                <c:pt idx="45204">
                  <c:v>41128</c:v>
                </c:pt>
                <c:pt idx="45205">
                  <c:v>30439</c:v>
                </c:pt>
                <c:pt idx="45206">
                  <c:v>42756</c:v>
                </c:pt>
                <c:pt idx="45207">
                  <c:v>52979</c:v>
                </c:pt>
                <c:pt idx="45208">
                  <c:v>23788</c:v>
                </c:pt>
                <c:pt idx="45209">
                  <c:v>37470</c:v>
                </c:pt>
                <c:pt idx="45210">
                  <c:v>78068</c:v>
                </c:pt>
                <c:pt idx="45211">
                  <c:v>25206</c:v>
                </c:pt>
                <c:pt idx="45212">
                  <c:v>28079</c:v>
                </c:pt>
                <c:pt idx="45213">
                  <c:v>44360</c:v>
                </c:pt>
                <c:pt idx="45214">
                  <c:v>180741</c:v>
                </c:pt>
                <c:pt idx="45215">
                  <c:v>46367</c:v>
                </c:pt>
                <c:pt idx="45216">
                  <c:v>43156</c:v>
                </c:pt>
                <c:pt idx="45217">
                  <c:v>70523</c:v>
                </c:pt>
                <c:pt idx="45218">
                  <c:v>43194</c:v>
                </c:pt>
                <c:pt idx="45219">
                  <c:v>27341</c:v>
                </c:pt>
                <c:pt idx="45220">
                  <c:v>40877</c:v>
                </c:pt>
                <c:pt idx="45221">
                  <c:v>182092</c:v>
                </c:pt>
                <c:pt idx="45222">
                  <c:v>36009</c:v>
                </c:pt>
                <c:pt idx="45223">
                  <c:v>31856</c:v>
                </c:pt>
                <c:pt idx="45224">
                  <c:v>61948</c:v>
                </c:pt>
                <c:pt idx="45225">
                  <c:v>104928</c:v>
                </c:pt>
                <c:pt idx="45226">
                  <c:v>82529</c:v>
                </c:pt>
                <c:pt idx="45227">
                  <c:v>72585</c:v>
                </c:pt>
                <c:pt idx="45228">
                  <c:v>96387</c:v>
                </c:pt>
                <c:pt idx="45229">
                  <c:v>23769</c:v>
                </c:pt>
                <c:pt idx="45230">
                  <c:v>34871</c:v>
                </c:pt>
                <c:pt idx="45231">
                  <c:v>36887</c:v>
                </c:pt>
                <c:pt idx="45232">
                  <c:v>162360</c:v>
                </c:pt>
                <c:pt idx="45233">
                  <c:v>28480</c:v>
                </c:pt>
                <c:pt idx="45234">
                  <c:v>102472</c:v>
                </c:pt>
                <c:pt idx="45235">
                  <c:v>44555</c:v>
                </c:pt>
                <c:pt idx="45236">
                  <c:v>31905</c:v>
                </c:pt>
                <c:pt idx="45237">
                  <c:v>63914</c:v>
                </c:pt>
                <c:pt idx="45238">
                  <c:v>43945</c:v>
                </c:pt>
                <c:pt idx="45239">
                  <c:v>145862</c:v>
                </c:pt>
                <c:pt idx="45240">
                  <c:v>84766</c:v>
                </c:pt>
                <c:pt idx="45241">
                  <c:v>99860</c:v>
                </c:pt>
                <c:pt idx="45242">
                  <c:v>35637</c:v>
                </c:pt>
                <c:pt idx="45243">
                  <c:v>41774</c:v>
                </c:pt>
                <c:pt idx="45244">
                  <c:v>105378</c:v>
                </c:pt>
                <c:pt idx="45245">
                  <c:v>34346</c:v>
                </c:pt>
                <c:pt idx="45246">
                  <c:v>58004</c:v>
                </c:pt>
                <c:pt idx="45247">
                  <c:v>36558</c:v>
                </c:pt>
                <c:pt idx="45248">
                  <c:v>38956</c:v>
                </c:pt>
                <c:pt idx="45249">
                  <c:v>39210</c:v>
                </c:pt>
                <c:pt idx="45250">
                  <c:v>132678</c:v>
                </c:pt>
                <c:pt idx="45251">
                  <c:v>27817</c:v>
                </c:pt>
                <c:pt idx="45252">
                  <c:v>115260</c:v>
                </c:pt>
                <c:pt idx="45253">
                  <c:v>42299</c:v>
                </c:pt>
                <c:pt idx="45254">
                  <c:v>59971</c:v>
                </c:pt>
                <c:pt idx="45255">
                  <c:v>23572</c:v>
                </c:pt>
                <c:pt idx="45256">
                  <c:v>47671</c:v>
                </c:pt>
                <c:pt idx="45257">
                  <c:v>53804</c:v>
                </c:pt>
                <c:pt idx="45258">
                  <c:v>371033</c:v>
                </c:pt>
                <c:pt idx="45259">
                  <c:v>76526</c:v>
                </c:pt>
                <c:pt idx="45260">
                  <c:v>29860</c:v>
                </c:pt>
                <c:pt idx="45261">
                  <c:v>36990</c:v>
                </c:pt>
                <c:pt idx="45262">
                  <c:v>24830</c:v>
                </c:pt>
                <c:pt idx="45263">
                  <c:v>33201</c:v>
                </c:pt>
                <c:pt idx="45264">
                  <c:v>37976</c:v>
                </c:pt>
                <c:pt idx="45265">
                  <c:v>38353</c:v>
                </c:pt>
                <c:pt idx="45266">
                  <c:v>47496</c:v>
                </c:pt>
                <c:pt idx="45267">
                  <c:v>89109</c:v>
                </c:pt>
                <c:pt idx="45268">
                  <c:v>35900</c:v>
                </c:pt>
                <c:pt idx="45269">
                  <c:v>67681</c:v>
                </c:pt>
                <c:pt idx="45270">
                  <c:v>37546</c:v>
                </c:pt>
                <c:pt idx="45271">
                  <c:v>49420</c:v>
                </c:pt>
                <c:pt idx="45272">
                  <c:v>18434</c:v>
                </c:pt>
                <c:pt idx="45273">
                  <c:v>41198</c:v>
                </c:pt>
                <c:pt idx="45274">
                  <c:v>31850</c:v>
                </c:pt>
                <c:pt idx="45275">
                  <c:v>133021</c:v>
                </c:pt>
                <c:pt idx="45276">
                  <c:v>27303</c:v>
                </c:pt>
                <c:pt idx="45277">
                  <c:v>34978</c:v>
                </c:pt>
                <c:pt idx="45278">
                  <c:v>34557</c:v>
                </c:pt>
                <c:pt idx="45279">
                  <c:v>124765</c:v>
                </c:pt>
                <c:pt idx="45280">
                  <c:v>88673</c:v>
                </c:pt>
                <c:pt idx="45281">
                  <c:v>45026</c:v>
                </c:pt>
                <c:pt idx="45282">
                  <c:v>129883</c:v>
                </c:pt>
                <c:pt idx="45283">
                  <c:v>27439</c:v>
                </c:pt>
                <c:pt idx="45284">
                  <c:v>34900</c:v>
                </c:pt>
                <c:pt idx="45285">
                  <c:v>172673</c:v>
                </c:pt>
                <c:pt idx="45286">
                  <c:v>44920</c:v>
                </c:pt>
                <c:pt idx="45287">
                  <c:v>27822</c:v>
                </c:pt>
                <c:pt idx="45288">
                  <c:v>30910</c:v>
                </c:pt>
                <c:pt idx="45289">
                  <c:v>28642</c:v>
                </c:pt>
                <c:pt idx="45290">
                  <c:v>45019</c:v>
                </c:pt>
                <c:pt idx="45291">
                  <c:v>27794</c:v>
                </c:pt>
                <c:pt idx="45292">
                  <c:v>64773</c:v>
                </c:pt>
                <c:pt idx="45293">
                  <c:v>90805</c:v>
                </c:pt>
                <c:pt idx="45294">
                  <c:v>60366</c:v>
                </c:pt>
                <c:pt idx="45295">
                  <c:v>49125</c:v>
                </c:pt>
                <c:pt idx="45296">
                  <c:v>69855</c:v>
                </c:pt>
                <c:pt idx="45297">
                  <c:v>40138</c:v>
                </c:pt>
                <c:pt idx="45298">
                  <c:v>39459</c:v>
                </c:pt>
                <c:pt idx="45299">
                  <c:v>63542</c:v>
                </c:pt>
                <c:pt idx="45300">
                  <c:v>38965</c:v>
                </c:pt>
                <c:pt idx="45301">
                  <c:v>57938</c:v>
                </c:pt>
                <c:pt idx="45302">
                  <c:v>27571</c:v>
                </c:pt>
                <c:pt idx="45303">
                  <c:v>33789</c:v>
                </c:pt>
                <c:pt idx="45304">
                  <c:v>21397</c:v>
                </c:pt>
                <c:pt idx="45305">
                  <c:v>38099</c:v>
                </c:pt>
                <c:pt idx="45306">
                  <c:v>118575</c:v>
                </c:pt>
                <c:pt idx="45307">
                  <c:v>26877</c:v>
                </c:pt>
                <c:pt idx="45308">
                  <c:v>27511</c:v>
                </c:pt>
                <c:pt idx="45309">
                  <c:v>31704</c:v>
                </c:pt>
                <c:pt idx="45310">
                  <c:v>23080</c:v>
                </c:pt>
                <c:pt idx="45311">
                  <c:v>25485</c:v>
                </c:pt>
                <c:pt idx="45312">
                  <c:v>86331</c:v>
                </c:pt>
                <c:pt idx="45313">
                  <c:v>29222</c:v>
                </c:pt>
                <c:pt idx="45314">
                  <c:v>52770</c:v>
                </c:pt>
                <c:pt idx="45315">
                  <c:v>47648</c:v>
                </c:pt>
                <c:pt idx="45316">
                  <c:v>30692</c:v>
                </c:pt>
                <c:pt idx="45317">
                  <c:v>21920</c:v>
                </c:pt>
                <c:pt idx="45318">
                  <c:v>22467</c:v>
                </c:pt>
                <c:pt idx="45319">
                  <c:v>358957</c:v>
                </c:pt>
                <c:pt idx="45320">
                  <c:v>35455</c:v>
                </c:pt>
                <c:pt idx="45321">
                  <c:v>44159</c:v>
                </c:pt>
                <c:pt idx="45322">
                  <c:v>33945</c:v>
                </c:pt>
                <c:pt idx="45323">
                  <c:v>32615</c:v>
                </c:pt>
                <c:pt idx="45324">
                  <c:v>24732</c:v>
                </c:pt>
                <c:pt idx="45325">
                  <c:v>31180</c:v>
                </c:pt>
                <c:pt idx="45326">
                  <c:v>49863</c:v>
                </c:pt>
                <c:pt idx="45327">
                  <c:v>151944</c:v>
                </c:pt>
                <c:pt idx="45328">
                  <c:v>27843</c:v>
                </c:pt>
                <c:pt idx="45329">
                  <c:v>41034</c:v>
                </c:pt>
                <c:pt idx="45330">
                  <c:v>60349</c:v>
                </c:pt>
                <c:pt idx="45331">
                  <c:v>31049</c:v>
                </c:pt>
                <c:pt idx="45332">
                  <c:v>41992</c:v>
                </c:pt>
                <c:pt idx="45333">
                  <c:v>19820</c:v>
                </c:pt>
                <c:pt idx="45334">
                  <c:v>44250</c:v>
                </c:pt>
                <c:pt idx="45335">
                  <c:v>44843</c:v>
                </c:pt>
                <c:pt idx="45336">
                  <c:v>53387</c:v>
                </c:pt>
                <c:pt idx="45337">
                  <c:v>26885</c:v>
                </c:pt>
                <c:pt idx="45338">
                  <c:v>56058</c:v>
                </c:pt>
                <c:pt idx="45339">
                  <c:v>73221</c:v>
                </c:pt>
                <c:pt idx="45340">
                  <c:v>114170</c:v>
                </c:pt>
                <c:pt idx="45341">
                  <c:v>62407</c:v>
                </c:pt>
                <c:pt idx="45342">
                  <c:v>45147</c:v>
                </c:pt>
                <c:pt idx="45343">
                  <c:v>26242</c:v>
                </c:pt>
                <c:pt idx="45344">
                  <c:v>58199</c:v>
                </c:pt>
                <c:pt idx="45345">
                  <c:v>92636</c:v>
                </c:pt>
                <c:pt idx="45346">
                  <c:v>30766</c:v>
                </c:pt>
                <c:pt idx="45347">
                  <c:v>88163</c:v>
                </c:pt>
                <c:pt idx="45348">
                  <c:v>70015</c:v>
                </c:pt>
                <c:pt idx="45349">
                  <c:v>30348</c:v>
                </c:pt>
                <c:pt idx="45350">
                  <c:v>28744</c:v>
                </c:pt>
                <c:pt idx="45351">
                  <c:v>67561</c:v>
                </c:pt>
                <c:pt idx="45352">
                  <c:v>214087</c:v>
                </c:pt>
                <c:pt idx="45353">
                  <c:v>143536</c:v>
                </c:pt>
                <c:pt idx="45354">
                  <c:v>34198</c:v>
                </c:pt>
                <c:pt idx="45355">
                  <c:v>25751</c:v>
                </c:pt>
                <c:pt idx="45356">
                  <c:v>72206</c:v>
                </c:pt>
                <c:pt idx="45357">
                  <c:v>32109</c:v>
                </c:pt>
                <c:pt idx="45358">
                  <c:v>29237</c:v>
                </c:pt>
                <c:pt idx="45359">
                  <c:v>39478</c:v>
                </c:pt>
                <c:pt idx="45360">
                  <c:v>89787</c:v>
                </c:pt>
                <c:pt idx="45361">
                  <c:v>33647</c:v>
                </c:pt>
                <c:pt idx="45362">
                  <c:v>26114</c:v>
                </c:pt>
                <c:pt idx="45363">
                  <c:v>42447</c:v>
                </c:pt>
                <c:pt idx="45364">
                  <c:v>37471</c:v>
                </c:pt>
                <c:pt idx="45365">
                  <c:v>52061</c:v>
                </c:pt>
                <c:pt idx="45366">
                  <c:v>29813</c:v>
                </c:pt>
                <c:pt idx="45367">
                  <c:v>37116</c:v>
                </c:pt>
                <c:pt idx="45368">
                  <c:v>72933</c:v>
                </c:pt>
                <c:pt idx="45369">
                  <c:v>66811</c:v>
                </c:pt>
                <c:pt idx="45370">
                  <c:v>56468</c:v>
                </c:pt>
                <c:pt idx="45371">
                  <c:v>35528</c:v>
                </c:pt>
                <c:pt idx="45372">
                  <c:v>90859</c:v>
                </c:pt>
                <c:pt idx="45373">
                  <c:v>36898</c:v>
                </c:pt>
                <c:pt idx="45374">
                  <c:v>33438</c:v>
                </c:pt>
                <c:pt idx="45375">
                  <c:v>106687</c:v>
                </c:pt>
                <c:pt idx="45376">
                  <c:v>29607</c:v>
                </c:pt>
                <c:pt idx="45377">
                  <c:v>28536</c:v>
                </c:pt>
                <c:pt idx="45378">
                  <c:v>50158</c:v>
                </c:pt>
                <c:pt idx="45379">
                  <c:v>184992</c:v>
                </c:pt>
                <c:pt idx="45380">
                  <c:v>26527</c:v>
                </c:pt>
                <c:pt idx="45381">
                  <c:v>41276</c:v>
                </c:pt>
                <c:pt idx="45382">
                  <c:v>238699</c:v>
                </c:pt>
                <c:pt idx="45383">
                  <c:v>50190</c:v>
                </c:pt>
                <c:pt idx="45384">
                  <c:v>91989</c:v>
                </c:pt>
                <c:pt idx="45385">
                  <c:v>46776</c:v>
                </c:pt>
                <c:pt idx="45386">
                  <c:v>257584</c:v>
                </c:pt>
                <c:pt idx="45387">
                  <c:v>31235</c:v>
                </c:pt>
                <c:pt idx="45388">
                  <c:v>147372</c:v>
                </c:pt>
                <c:pt idx="45389">
                  <c:v>69201</c:v>
                </c:pt>
                <c:pt idx="45390">
                  <c:v>133519</c:v>
                </c:pt>
                <c:pt idx="45391">
                  <c:v>75525</c:v>
                </c:pt>
                <c:pt idx="45392">
                  <c:v>47564</c:v>
                </c:pt>
                <c:pt idx="45393">
                  <c:v>54630</c:v>
                </c:pt>
                <c:pt idx="45394">
                  <c:v>27816</c:v>
                </c:pt>
                <c:pt idx="45395">
                  <c:v>80579</c:v>
                </c:pt>
                <c:pt idx="45396">
                  <c:v>27376</c:v>
                </c:pt>
                <c:pt idx="45397">
                  <c:v>34856</c:v>
                </c:pt>
                <c:pt idx="45398">
                  <c:v>91568</c:v>
                </c:pt>
                <c:pt idx="45399">
                  <c:v>29022</c:v>
                </c:pt>
                <c:pt idx="45400">
                  <c:v>113349</c:v>
                </c:pt>
                <c:pt idx="45401">
                  <c:v>39292</c:v>
                </c:pt>
                <c:pt idx="45402">
                  <c:v>50007</c:v>
                </c:pt>
                <c:pt idx="45403">
                  <c:v>28771</c:v>
                </c:pt>
                <c:pt idx="45404">
                  <c:v>48412</c:v>
                </c:pt>
                <c:pt idx="45405">
                  <c:v>74400</c:v>
                </c:pt>
                <c:pt idx="45406">
                  <c:v>122591</c:v>
                </c:pt>
                <c:pt idx="45407">
                  <c:v>38077</c:v>
                </c:pt>
                <c:pt idx="45408">
                  <c:v>22111</c:v>
                </c:pt>
                <c:pt idx="45409">
                  <c:v>81557</c:v>
                </c:pt>
                <c:pt idx="45410">
                  <c:v>40655</c:v>
                </c:pt>
                <c:pt idx="45411">
                  <c:v>147188</c:v>
                </c:pt>
                <c:pt idx="45412">
                  <c:v>39441</c:v>
                </c:pt>
                <c:pt idx="45413">
                  <c:v>68435</c:v>
                </c:pt>
                <c:pt idx="45414">
                  <c:v>113777</c:v>
                </c:pt>
                <c:pt idx="45415">
                  <c:v>34908</c:v>
                </c:pt>
                <c:pt idx="45416">
                  <c:v>43089</c:v>
                </c:pt>
                <c:pt idx="45417">
                  <c:v>23450</c:v>
                </c:pt>
                <c:pt idx="45418">
                  <c:v>29465</c:v>
                </c:pt>
                <c:pt idx="45419">
                  <c:v>42785</c:v>
                </c:pt>
                <c:pt idx="45420">
                  <c:v>88343</c:v>
                </c:pt>
                <c:pt idx="45421">
                  <c:v>26286</c:v>
                </c:pt>
                <c:pt idx="45422">
                  <c:v>120356</c:v>
                </c:pt>
                <c:pt idx="45423">
                  <c:v>27177</c:v>
                </c:pt>
                <c:pt idx="45424">
                  <c:v>175574</c:v>
                </c:pt>
                <c:pt idx="45425">
                  <c:v>165300</c:v>
                </c:pt>
                <c:pt idx="45426">
                  <c:v>149862</c:v>
                </c:pt>
                <c:pt idx="45427">
                  <c:v>37604</c:v>
                </c:pt>
                <c:pt idx="45428">
                  <c:v>116616</c:v>
                </c:pt>
                <c:pt idx="45429">
                  <c:v>37913</c:v>
                </c:pt>
                <c:pt idx="45430">
                  <c:v>27279</c:v>
                </c:pt>
                <c:pt idx="45431">
                  <c:v>57872</c:v>
                </c:pt>
                <c:pt idx="45432">
                  <c:v>47249</c:v>
                </c:pt>
                <c:pt idx="45433">
                  <c:v>162471</c:v>
                </c:pt>
                <c:pt idx="45434">
                  <c:v>56327</c:v>
                </c:pt>
                <c:pt idx="45435">
                  <c:v>47252</c:v>
                </c:pt>
                <c:pt idx="45436">
                  <c:v>42253</c:v>
                </c:pt>
                <c:pt idx="45437">
                  <c:v>64985</c:v>
                </c:pt>
                <c:pt idx="45438">
                  <c:v>41343</c:v>
                </c:pt>
                <c:pt idx="45439">
                  <c:v>33164</c:v>
                </c:pt>
                <c:pt idx="45440">
                  <c:v>36667</c:v>
                </c:pt>
                <c:pt idx="45441">
                  <c:v>46691</c:v>
                </c:pt>
                <c:pt idx="45442">
                  <c:v>57660</c:v>
                </c:pt>
                <c:pt idx="45443">
                  <c:v>39577</c:v>
                </c:pt>
                <c:pt idx="45444">
                  <c:v>24127</c:v>
                </c:pt>
                <c:pt idx="45445">
                  <c:v>38810</c:v>
                </c:pt>
                <c:pt idx="45446">
                  <c:v>84615</c:v>
                </c:pt>
                <c:pt idx="45447">
                  <c:v>129099</c:v>
                </c:pt>
                <c:pt idx="45448">
                  <c:v>76714</c:v>
                </c:pt>
                <c:pt idx="45449">
                  <c:v>101513</c:v>
                </c:pt>
                <c:pt idx="45450">
                  <c:v>44274</c:v>
                </c:pt>
                <c:pt idx="45451">
                  <c:v>36424</c:v>
                </c:pt>
                <c:pt idx="45452">
                  <c:v>39293</c:v>
                </c:pt>
                <c:pt idx="45453">
                  <c:v>198297</c:v>
                </c:pt>
                <c:pt idx="45454">
                  <c:v>38077</c:v>
                </c:pt>
                <c:pt idx="45455">
                  <c:v>23977</c:v>
                </c:pt>
                <c:pt idx="45456">
                  <c:v>133681</c:v>
                </c:pt>
                <c:pt idx="45457">
                  <c:v>22216</c:v>
                </c:pt>
                <c:pt idx="45458">
                  <c:v>35249</c:v>
                </c:pt>
                <c:pt idx="45459">
                  <c:v>45984</c:v>
                </c:pt>
                <c:pt idx="45460">
                  <c:v>41090</c:v>
                </c:pt>
                <c:pt idx="45461">
                  <c:v>53297</c:v>
                </c:pt>
                <c:pt idx="45462">
                  <c:v>97874</c:v>
                </c:pt>
                <c:pt idx="45463">
                  <c:v>28130</c:v>
                </c:pt>
                <c:pt idx="45464">
                  <c:v>18973</c:v>
                </c:pt>
                <c:pt idx="45465">
                  <c:v>89944</c:v>
                </c:pt>
                <c:pt idx="45466">
                  <c:v>150727</c:v>
                </c:pt>
                <c:pt idx="45467">
                  <c:v>97171</c:v>
                </c:pt>
                <c:pt idx="45468">
                  <c:v>31481</c:v>
                </c:pt>
                <c:pt idx="45469">
                  <c:v>33162</c:v>
                </c:pt>
                <c:pt idx="45470">
                  <c:v>63704</c:v>
                </c:pt>
                <c:pt idx="45471">
                  <c:v>50326</c:v>
                </c:pt>
                <c:pt idx="45472">
                  <c:v>56856</c:v>
                </c:pt>
                <c:pt idx="45473">
                  <c:v>33040</c:v>
                </c:pt>
                <c:pt idx="45474">
                  <c:v>29507</c:v>
                </c:pt>
                <c:pt idx="45475">
                  <c:v>289087</c:v>
                </c:pt>
                <c:pt idx="45476">
                  <c:v>176314</c:v>
                </c:pt>
                <c:pt idx="45477">
                  <c:v>27099</c:v>
                </c:pt>
                <c:pt idx="45478">
                  <c:v>138114</c:v>
                </c:pt>
                <c:pt idx="45479">
                  <c:v>28735</c:v>
                </c:pt>
                <c:pt idx="45480">
                  <c:v>30751</c:v>
                </c:pt>
                <c:pt idx="45481">
                  <c:v>126844</c:v>
                </c:pt>
                <c:pt idx="45482">
                  <c:v>43759</c:v>
                </c:pt>
                <c:pt idx="45483">
                  <c:v>61812</c:v>
                </c:pt>
                <c:pt idx="45484">
                  <c:v>20120</c:v>
                </c:pt>
                <c:pt idx="45485">
                  <c:v>29857</c:v>
                </c:pt>
                <c:pt idx="45486">
                  <c:v>28131</c:v>
                </c:pt>
                <c:pt idx="45487">
                  <c:v>96203</c:v>
                </c:pt>
                <c:pt idx="45488">
                  <c:v>59321</c:v>
                </c:pt>
                <c:pt idx="45489">
                  <c:v>70527</c:v>
                </c:pt>
                <c:pt idx="45490">
                  <c:v>68550</c:v>
                </c:pt>
                <c:pt idx="45491">
                  <c:v>28384</c:v>
                </c:pt>
                <c:pt idx="45492">
                  <c:v>22230</c:v>
                </c:pt>
                <c:pt idx="45493">
                  <c:v>53679</c:v>
                </c:pt>
                <c:pt idx="45494">
                  <c:v>95091</c:v>
                </c:pt>
                <c:pt idx="45495">
                  <c:v>103983</c:v>
                </c:pt>
                <c:pt idx="45496">
                  <c:v>44056</c:v>
                </c:pt>
                <c:pt idx="45497">
                  <c:v>37685</c:v>
                </c:pt>
                <c:pt idx="45498">
                  <c:v>27757</c:v>
                </c:pt>
                <c:pt idx="45499">
                  <c:v>88012</c:v>
                </c:pt>
                <c:pt idx="45500">
                  <c:v>33442</c:v>
                </c:pt>
                <c:pt idx="45501">
                  <c:v>26563</c:v>
                </c:pt>
                <c:pt idx="45502">
                  <c:v>41146</c:v>
                </c:pt>
                <c:pt idx="45503">
                  <c:v>37422</c:v>
                </c:pt>
                <c:pt idx="45504">
                  <c:v>33359</c:v>
                </c:pt>
                <c:pt idx="45505">
                  <c:v>25342</c:v>
                </c:pt>
                <c:pt idx="45506">
                  <c:v>26797</c:v>
                </c:pt>
                <c:pt idx="45507">
                  <c:v>36880</c:v>
                </c:pt>
                <c:pt idx="45508">
                  <c:v>36708</c:v>
                </c:pt>
                <c:pt idx="45509">
                  <c:v>41965</c:v>
                </c:pt>
                <c:pt idx="45510">
                  <c:v>45414</c:v>
                </c:pt>
                <c:pt idx="45511">
                  <c:v>36264</c:v>
                </c:pt>
                <c:pt idx="45512">
                  <c:v>41801</c:v>
                </c:pt>
                <c:pt idx="45513">
                  <c:v>46344</c:v>
                </c:pt>
                <c:pt idx="45514">
                  <c:v>36146</c:v>
                </c:pt>
                <c:pt idx="45515">
                  <c:v>38884</c:v>
                </c:pt>
                <c:pt idx="45516">
                  <c:v>38130</c:v>
                </c:pt>
                <c:pt idx="45517">
                  <c:v>55585</c:v>
                </c:pt>
                <c:pt idx="45518">
                  <c:v>41198</c:v>
                </c:pt>
                <c:pt idx="45519">
                  <c:v>64360</c:v>
                </c:pt>
                <c:pt idx="45520">
                  <c:v>20229</c:v>
                </c:pt>
                <c:pt idx="45521">
                  <c:v>89038</c:v>
                </c:pt>
                <c:pt idx="45522">
                  <c:v>44558</c:v>
                </c:pt>
                <c:pt idx="45523">
                  <c:v>128799</c:v>
                </c:pt>
                <c:pt idx="45524">
                  <c:v>28706</c:v>
                </c:pt>
                <c:pt idx="45525">
                  <c:v>38715</c:v>
                </c:pt>
                <c:pt idx="45526">
                  <c:v>83835</c:v>
                </c:pt>
                <c:pt idx="45527">
                  <c:v>88333</c:v>
                </c:pt>
                <c:pt idx="45528">
                  <c:v>44083</c:v>
                </c:pt>
                <c:pt idx="45529">
                  <c:v>34082</c:v>
                </c:pt>
                <c:pt idx="45530">
                  <c:v>277482</c:v>
                </c:pt>
                <c:pt idx="45531">
                  <c:v>49310</c:v>
                </c:pt>
                <c:pt idx="45532">
                  <c:v>28424</c:v>
                </c:pt>
                <c:pt idx="45533">
                  <c:v>44579</c:v>
                </c:pt>
                <c:pt idx="45534">
                  <c:v>57960</c:v>
                </c:pt>
                <c:pt idx="45535">
                  <c:v>49232</c:v>
                </c:pt>
                <c:pt idx="45536">
                  <c:v>44117</c:v>
                </c:pt>
                <c:pt idx="45537">
                  <c:v>61171</c:v>
                </c:pt>
                <c:pt idx="45538">
                  <c:v>63864</c:v>
                </c:pt>
                <c:pt idx="45539">
                  <c:v>73153</c:v>
                </c:pt>
                <c:pt idx="45540">
                  <c:v>30939</c:v>
                </c:pt>
                <c:pt idx="45541">
                  <c:v>40947</c:v>
                </c:pt>
                <c:pt idx="45542">
                  <c:v>34541</c:v>
                </c:pt>
                <c:pt idx="45543">
                  <c:v>68456</c:v>
                </c:pt>
                <c:pt idx="45544">
                  <c:v>34354</c:v>
                </c:pt>
                <c:pt idx="45545">
                  <c:v>166567</c:v>
                </c:pt>
                <c:pt idx="45546">
                  <c:v>49894</c:v>
                </c:pt>
                <c:pt idx="45547">
                  <c:v>61100</c:v>
                </c:pt>
                <c:pt idx="45548">
                  <c:v>23337</c:v>
                </c:pt>
                <c:pt idx="45549">
                  <c:v>38134</c:v>
                </c:pt>
                <c:pt idx="45550">
                  <c:v>29470</c:v>
                </c:pt>
                <c:pt idx="45551">
                  <c:v>35490</c:v>
                </c:pt>
                <c:pt idx="45552">
                  <c:v>71999</c:v>
                </c:pt>
                <c:pt idx="45553">
                  <c:v>32700</c:v>
                </c:pt>
                <c:pt idx="45554">
                  <c:v>24760</c:v>
                </c:pt>
                <c:pt idx="45555">
                  <c:v>40957</c:v>
                </c:pt>
                <c:pt idx="45556">
                  <c:v>121033</c:v>
                </c:pt>
                <c:pt idx="45557">
                  <c:v>45203</c:v>
                </c:pt>
                <c:pt idx="45558">
                  <c:v>76208</c:v>
                </c:pt>
                <c:pt idx="45559">
                  <c:v>23898</c:v>
                </c:pt>
                <c:pt idx="45560">
                  <c:v>37752</c:v>
                </c:pt>
                <c:pt idx="45561">
                  <c:v>43769</c:v>
                </c:pt>
                <c:pt idx="45562">
                  <c:v>29681</c:v>
                </c:pt>
                <c:pt idx="45563">
                  <c:v>53997</c:v>
                </c:pt>
                <c:pt idx="45564">
                  <c:v>94335</c:v>
                </c:pt>
                <c:pt idx="45565">
                  <c:v>35039</c:v>
                </c:pt>
                <c:pt idx="45566">
                  <c:v>91914</c:v>
                </c:pt>
                <c:pt idx="45567">
                  <c:v>24856</c:v>
                </c:pt>
                <c:pt idx="45568">
                  <c:v>46637</c:v>
                </c:pt>
                <c:pt idx="45569">
                  <c:v>23550</c:v>
                </c:pt>
                <c:pt idx="45570">
                  <c:v>37217</c:v>
                </c:pt>
                <c:pt idx="45571">
                  <c:v>35744</c:v>
                </c:pt>
                <c:pt idx="45572">
                  <c:v>43451</c:v>
                </c:pt>
                <c:pt idx="45573">
                  <c:v>36775</c:v>
                </c:pt>
                <c:pt idx="45574">
                  <c:v>41134</c:v>
                </c:pt>
                <c:pt idx="45575">
                  <c:v>49506</c:v>
                </c:pt>
                <c:pt idx="45576">
                  <c:v>51342</c:v>
                </c:pt>
                <c:pt idx="45577">
                  <c:v>55535</c:v>
                </c:pt>
                <c:pt idx="45578">
                  <c:v>26253</c:v>
                </c:pt>
                <c:pt idx="45579">
                  <c:v>123358</c:v>
                </c:pt>
                <c:pt idx="45580">
                  <c:v>95461</c:v>
                </c:pt>
                <c:pt idx="45581">
                  <c:v>43361</c:v>
                </c:pt>
                <c:pt idx="45582">
                  <c:v>166024</c:v>
                </c:pt>
                <c:pt idx="45583">
                  <c:v>96516</c:v>
                </c:pt>
                <c:pt idx="45584">
                  <c:v>84750</c:v>
                </c:pt>
                <c:pt idx="45585">
                  <c:v>36624</c:v>
                </c:pt>
                <c:pt idx="45586">
                  <c:v>44559</c:v>
                </c:pt>
                <c:pt idx="45587">
                  <c:v>35515</c:v>
                </c:pt>
                <c:pt idx="45588">
                  <c:v>22773</c:v>
                </c:pt>
                <c:pt idx="45589">
                  <c:v>17571</c:v>
                </c:pt>
                <c:pt idx="45590">
                  <c:v>50133</c:v>
                </c:pt>
                <c:pt idx="45591">
                  <c:v>29050</c:v>
                </c:pt>
                <c:pt idx="45592">
                  <c:v>38560</c:v>
                </c:pt>
                <c:pt idx="45593">
                  <c:v>24793</c:v>
                </c:pt>
                <c:pt idx="45594">
                  <c:v>26926</c:v>
                </c:pt>
                <c:pt idx="45595">
                  <c:v>45705</c:v>
                </c:pt>
                <c:pt idx="45596">
                  <c:v>27638</c:v>
                </c:pt>
                <c:pt idx="45597">
                  <c:v>126753</c:v>
                </c:pt>
                <c:pt idx="45598">
                  <c:v>58047</c:v>
                </c:pt>
                <c:pt idx="45599">
                  <c:v>55102</c:v>
                </c:pt>
                <c:pt idx="45600">
                  <c:v>119708</c:v>
                </c:pt>
                <c:pt idx="45601">
                  <c:v>28718</c:v>
                </c:pt>
                <c:pt idx="45602">
                  <c:v>88806</c:v>
                </c:pt>
                <c:pt idx="45603">
                  <c:v>66044</c:v>
                </c:pt>
                <c:pt idx="45604">
                  <c:v>47422</c:v>
                </c:pt>
                <c:pt idx="45605">
                  <c:v>37114</c:v>
                </c:pt>
                <c:pt idx="45606">
                  <c:v>90994</c:v>
                </c:pt>
                <c:pt idx="45607">
                  <c:v>35524</c:v>
                </c:pt>
                <c:pt idx="45608">
                  <c:v>27624</c:v>
                </c:pt>
                <c:pt idx="45609">
                  <c:v>46247</c:v>
                </c:pt>
                <c:pt idx="45610">
                  <c:v>39419</c:v>
                </c:pt>
                <c:pt idx="45611">
                  <c:v>46313</c:v>
                </c:pt>
                <c:pt idx="45612">
                  <c:v>148907</c:v>
                </c:pt>
                <c:pt idx="45613">
                  <c:v>42754</c:v>
                </c:pt>
                <c:pt idx="45614">
                  <c:v>38051</c:v>
                </c:pt>
                <c:pt idx="45615">
                  <c:v>40562</c:v>
                </c:pt>
                <c:pt idx="45616">
                  <c:v>37358</c:v>
                </c:pt>
                <c:pt idx="45617">
                  <c:v>59661</c:v>
                </c:pt>
                <c:pt idx="45618">
                  <c:v>24860</c:v>
                </c:pt>
                <c:pt idx="45619">
                  <c:v>39471</c:v>
                </c:pt>
                <c:pt idx="45620">
                  <c:v>44642</c:v>
                </c:pt>
                <c:pt idx="45621">
                  <c:v>44201</c:v>
                </c:pt>
                <c:pt idx="45622">
                  <c:v>97935</c:v>
                </c:pt>
                <c:pt idx="45623">
                  <c:v>87214</c:v>
                </c:pt>
                <c:pt idx="45624">
                  <c:v>34599</c:v>
                </c:pt>
                <c:pt idx="45625">
                  <c:v>144174</c:v>
                </c:pt>
                <c:pt idx="45626">
                  <c:v>37751</c:v>
                </c:pt>
                <c:pt idx="45627">
                  <c:v>39997</c:v>
                </c:pt>
                <c:pt idx="45628">
                  <c:v>122511</c:v>
                </c:pt>
                <c:pt idx="45629">
                  <c:v>97409</c:v>
                </c:pt>
                <c:pt idx="45630">
                  <c:v>83639</c:v>
                </c:pt>
                <c:pt idx="45631">
                  <c:v>42234</c:v>
                </c:pt>
                <c:pt idx="45632">
                  <c:v>44781</c:v>
                </c:pt>
                <c:pt idx="45633">
                  <c:v>94924</c:v>
                </c:pt>
                <c:pt idx="45634">
                  <c:v>34947</c:v>
                </c:pt>
                <c:pt idx="45635">
                  <c:v>302216</c:v>
                </c:pt>
                <c:pt idx="45636">
                  <c:v>32489</c:v>
                </c:pt>
                <c:pt idx="45637">
                  <c:v>99097</c:v>
                </c:pt>
                <c:pt idx="45638">
                  <c:v>25232</c:v>
                </c:pt>
                <c:pt idx="45639">
                  <c:v>26037</c:v>
                </c:pt>
                <c:pt idx="45640">
                  <c:v>30421</c:v>
                </c:pt>
                <c:pt idx="45641">
                  <c:v>43099</c:v>
                </c:pt>
                <c:pt idx="45642">
                  <c:v>338066</c:v>
                </c:pt>
                <c:pt idx="45643">
                  <c:v>34763</c:v>
                </c:pt>
                <c:pt idx="45644">
                  <c:v>59709</c:v>
                </c:pt>
                <c:pt idx="45645">
                  <c:v>81476</c:v>
                </c:pt>
                <c:pt idx="45646">
                  <c:v>35023</c:v>
                </c:pt>
                <c:pt idx="45647">
                  <c:v>37008</c:v>
                </c:pt>
                <c:pt idx="45648">
                  <c:v>496468</c:v>
                </c:pt>
                <c:pt idx="45649">
                  <c:v>40187</c:v>
                </c:pt>
                <c:pt idx="45650">
                  <c:v>24034</c:v>
                </c:pt>
                <c:pt idx="45651">
                  <c:v>68964</c:v>
                </c:pt>
                <c:pt idx="45652">
                  <c:v>129862</c:v>
                </c:pt>
                <c:pt idx="45653">
                  <c:v>123854</c:v>
                </c:pt>
                <c:pt idx="45654">
                  <c:v>271549</c:v>
                </c:pt>
                <c:pt idx="45655">
                  <c:v>119192</c:v>
                </c:pt>
                <c:pt idx="45656">
                  <c:v>50002</c:v>
                </c:pt>
                <c:pt idx="45657">
                  <c:v>42746</c:v>
                </c:pt>
                <c:pt idx="45658">
                  <c:v>20999</c:v>
                </c:pt>
                <c:pt idx="45659">
                  <c:v>33682</c:v>
                </c:pt>
                <c:pt idx="45660">
                  <c:v>28671</c:v>
                </c:pt>
                <c:pt idx="45661">
                  <c:v>24151</c:v>
                </c:pt>
                <c:pt idx="45662">
                  <c:v>28546</c:v>
                </c:pt>
                <c:pt idx="45663">
                  <c:v>40774</c:v>
                </c:pt>
                <c:pt idx="45664">
                  <c:v>132042</c:v>
                </c:pt>
                <c:pt idx="45665">
                  <c:v>82173</c:v>
                </c:pt>
                <c:pt idx="45666">
                  <c:v>55241</c:v>
                </c:pt>
                <c:pt idx="45667">
                  <c:v>27875</c:v>
                </c:pt>
                <c:pt idx="45668">
                  <c:v>115190</c:v>
                </c:pt>
                <c:pt idx="45669">
                  <c:v>71822</c:v>
                </c:pt>
                <c:pt idx="45670">
                  <c:v>46822</c:v>
                </c:pt>
                <c:pt idx="45671">
                  <c:v>64675</c:v>
                </c:pt>
                <c:pt idx="45672">
                  <c:v>94999</c:v>
                </c:pt>
                <c:pt idx="45673">
                  <c:v>37798</c:v>
                </c:pt>
                <c:pt idx="45674">
                  <c:v>64094</c:v>
                </c:pt>
                <c:pt idx="45675">
                  <c:v>25181</c:v>
                </c:pt>
                <c:pt idx="45676">
                  <c:v>104485</c:v>
                </c:pt>
                <c:pt idx="45677">
                  <c:v>37318</c:v>
                </c:pt>
                <c:pt idx="45678">
                  <c:v>32208</c:v>
                </c:pt>
                <c:pt idx="45679">
                  <c:v>37538</c:v>
                </c:pt>
                <c:pt idx="45680">
                  <c:v>32401</c:v>
                </c:pt>
                <c:pt idx="45681">
                  <c:v>114165</c:v>
                </c:pt>
                <c:pt idx="45682">
                  <c:v>23020</c:v>
                </c:pt>
                <c:pt idx="45683">
                  <c:v>48863</c:v>
                </c:pt>
                <c:pt idx="45684">
                  <c:v>115529</c:v>
                </c:pt>
                <c:pt idx="45685">
                  <c:v>25372</c:v>
                </c:pt>
                <c:pt idx="45686">
                  <c:v>39456</c:v>
                </c:pt>
                <c:pt idx="45687">
                  <c:v>59910</c:v>
                </c:pt>
                <c:pt idx="45688">
                  <c:v>40924</c:v>
                </c:pt>
                <c:pt idx="45689">
                  <c:v>33669</c:v>
                </c:pt>
                <c:pt idx="45690">
                  <c:v>24165</c:v>
                </c:pt>
                <c:pt idx="45691">
                  <c:v>43780</c:v>
                </c:pt>
                <c:pt idx="45692">
                  <c:v>23212</c:v>
                </c:pt>
                <c:pt idx="45693">
                  <c:v>29453</c:v>
                </c:pt>
                <c:pt idx="45694">
                  <c:v>22795</c:v>
                </c:pt>
                <c:pt idx="45695">
                  <c:v>48529</c:v>
                </c:pt>
                <c:pt idx="45696">
                  <c:v>41540</c:v>
                </c:pt>
                <c:pt idx="45697">
                  <c:v>44021</c:v>
                </c:pt>
                <c:pt idx="45698">
                  <c:v>73833</c:v>
                </c:pt>
                <c:pt idx="45699">
                  <c:v>43008</c:v>
                </c:pt>
                <c:pt idx="45700">
                  <c:v>43546</c:v>
                </c:pt>
                <c:pt idx="45701">
                  <c:v>150764</c:v>
                </c:pt>
                <c:pt idx="45702">
                  <c:v>38247</c:v>
                </c:pt>
                <c:pt idx="45703">
                  <c:v>25481</c:v>
                </c:pt>
                <c:pt idx="45704">
                  <c:v>32432</c:v>
                </c:pt>
                <c:pt idx="45705">
                  <c:v>53832</c:v>
                </c:pt>
                <c:pt idx="45706">
                  <c:v>175782</c:v>
                </c:pt>
                <c:pt idx="45707">
                  <c:v>48995</c:v>
                </c:pt>
                <c:pt idx="45708">
                  <c:v>31345</c:v>
                </c:pt>
                <c:pt idx="45709">
                  <c:v>50668</c:v>
                </c:pt>
                <c:pt idx="45710">
                  <c:v>32685</c:v>
                </c:pt>
                <c:pt idx="45711">
                  <c:v>51216</c:v>
                </c:pt>
                <c:pt idx="45712">
                  <c:v>38572</c:v>
                </c:pt>
                <c:pt idx="45713">
                  <c:v>36749</c:v>
                </c:pt>
                <c:pt idx="45714">
                  <c:v>23494</c:v>
                </c:pt>
                <c:pt idx="45715">
                  <c:v>32689</c:v>
                </c:pt>
                <c:pt idx="45716">
                  <c:v>27585</c:v>
                </c:pt>
                <c:pt idx="45717">
                  <c:v>77496</c:v>
                </c:pt>
                <c:pt idx="45718">
                  <c:v>51218</c:v>
                </c:pt>
                <c:pt idx="45719">
                  <c:v>53287</c:v>
                </c:pt>
                <c:pt idx="45720">
                  <c:v>100041</c:v>
                </c:pt>
                <c:pt idx="45721">
                  <c:v>27000</c:v>
                </c:pt>
                <c:pt idx="45722">
                  <c:v>43541</c:v>
                </c:pt>
                <c:pt idx="45723">
                  <c:v>198670</c:v>
                </c:pt>
                <c:pt idx="45724">
                  <c:v>202501</c:v>
                </c:pt>
                <c:pt idx="45725">
                  <c:v>77223</c:v>
                </c:pt>
                <c:pt idx="45726">
                  <c:v>93835</c:v>
                </c:pt>
                <c:pt idx="45727">
                  <c:v>65587</c:v>
                </c:pt>
                <c:pt idx="45728">
                  <c:v>106546</c:v>
                </c:pt>
                <c:pt idx="45729">
                  <c:v>35833</c:v>
                </c:pt>
                <c:pt idx="45730">
                  <c:v>32930</c:v>
                </c:pt>
                <c:pt idx="45731">
                  <c:v>41575</c:v>
                </c:pt>
                <c:pt idx="45732">
                  <c:v>47656</c:v>
                </c:pt>
                <c:pt idx="45733">
                  <c:v>129606</c:v>
                </c:pt>
                <c:pt idx="45734">
                  <c:v>40897</c:v>
                </c:pt>
                <c:pt idx="45735">
                  <c:v>25768</c:v>
                </c:pt>
                <c:pt idx="45736">
                  <c:v>29178</c:v>
                </c:pt>
                <c:pt idx="45737">
                  <c:v>23864</c:v>
                </c:pt>
                <c:pt idx="45738">
                  <c:v>24295</c:v>
                </c:pt>
                <c:pt idx="45739">
                  <c:v>77893</c:v>
                </c:pt>
                <c:pt idx="45740">
                  <c:v>44405</c:v>
                </c:pt>
                <c:pt idx="45741">
                  <c:v>148479</c:v>
                </c:pt>
                <c:pt idx="45742">
                  <c:v>36905</c:v>
                </c:pt>
                <c:pt idx="45743">
                  <c:v>36494</c:v>
                </c:pt>
                <c:pt idx="45744">
                  <c:v>113145</c:v>
                </c:pt>
                <c:pt idx="45745">
                  <c:v>49485</c:v>
                </c:pt>
                <c:pt idx="45746">
                  <c:v>163765</c:v>
                </c:pt>
                <c:pt idx="45747">
                  <c:v>44024</c:v>
                </c:pt>
                <c:pt idx="45748">
                  <c:v>44143</c:v>
                </c:pt>
                <c:pt idx="45749">
                  <c:v>65097</c:v>
                </c:pt>
                <c:pt idx="45750">
                  <c:v>64536</c:v>
                </c:pt>
                <c:pt idx="45751">
                  <c:v>32290</c:v>
                </c:pt>
                <c:pt idx="45752">
                  <c:v>78749</c:v>
                </c:pt>
                <c:pt idx="45753">
                  <c:v>105121</c:v>
                </c:pt>
                <c:pt idx="45754">
                  <c:v>28211</c:v>
                </c:pt>
                <c:pt idx="45755">
                  <c:v>40352</c:v>
                </c:pt>
                <c:pt idx="45756">
                  <c:v>40617</c:v>
                </c:pt>
                <c:pt idx="45757">
                  <c:v>44461</c:v>
                </c:pt>
                <c:pt idx="45758">
                  <c:v>61378</c:v>
                </c:pt>
                <c:pt idx="45759">
                  <c:v>38448</c:v>
                </c:pt>
                <c:pt idx="45760">
                  <c:v>44776</c:v>
                </c:pt>
                <c:pt idx="45761">
                  <c:v>34868</c:v>
                </c:pt>
                <c:pt idx="45762">
                  <c:v>38981</c:v>
                </c:pt>
                <c:pt idx="45763">
                  <c:v>21440</c:v>
                </c:pt>
                <c:pt idx="45764">
                  <c:v>54431</c:v>
                </c:pt>
                <c:pt idx="45765">
                  <c:v>43340</c:v>
                </c:pt>
                <c:pt idx="45766">
                  <c:v>96974</c:v>
                </c:pt>
                <c:pt idx="45767">
                  <c:v>35887</c:v>
                </c:pt>
                <c:pt idx="45768">
                  <c:v>38011</c:v>
                </c:pt>
                <c:pt idx="45769">
                  <c:v>130742</c:v>
                </c:pt>
                <c:pt idx="45770">
                  <c:v>24738</c:v>
                </c:pt>
                <c:pt idx="45771">
                  <c:v>62984</c:v>
                </c:pt>
                <c:pt idx="45772">
                  <c:v>49095</c:v>
                </c:pt>
                <c:pt idx="45773">
                  <c:v>40395</c:v>
                </c:pt>
                <c:pt idx="45774">
                  <c:v>81206</c:v>
                </c:pt>
                <c:pt idx="45775">
                  <c:v>41617</c:v>
                </c:pt>
                <c:pt idx="45776">
                  <c:v>26252</c:v>
                </c:pt>
                <c:pt idx="45777">
                  <c:v>31511</c:v>
                </c:pt>
                <c:pt idx="45778">
                  <c:v>34548</c:v>
                </c:pt>
                <c:pt idx="45779">
                  <c:v>30395</c:v>
                </c:pt>
                <c:pt idx="45780">
                  <c:v>120222</c:v>
                </c:pt>
                <c:pt idx="45781">
                  <c:v>29413</c:v>
                </c:pt>
                <c:pt idx="45782">
                  <c:v>30337</c:v>
                </c:pt>
                <c:pt idx="45783">
                  <c:v>97056</c:v>
                </c:pt>
                <c:pt idx="45784">
                  <c:v>24391</c:v>
                </c:pt>
                <c:pt idx="45785">
                  <c:v>30268</c:v>
                </c:pt>
                <c:pt idx="45786">
                  <c:v>49080</c:v>
                </c:pt>
                <c:pt idx="45787">
                  <c:v>61274</c:v>
                </c:pt>
                <c:pt idx="45788">
                  <c:v>26940</c:v>
                </c:pt>
                <c:pt idx="45789">
                  <c:v>27253</c:v>
                </c:pt>
                <c:pt idx="45790">
                  <c:v>61870</c:v>
                </c:pt>
                <c:pt idx="45791">
                  <c:v>108997</c:v>
                </c:pt>
                <c:pt idx="45792">
                  <c:v>155032</c:v>
                </c:pt>
                <c:pt idx="45793">
                  <c:v>210333</c:v>
                </c:pt>
                <c:pt idx="45794">
                  <c:v>62212</c:v>
                </c:pt>
                <c:pt idx="45795">
                  <c:v>34903</c:v>
                </c:pt>
                <c:pt idx="45796">
                  <c:v>24392</c:v>
                </c:pt>
                <c:pt idx="45797">
                  <c:v>140784</c:v>
                </c:pt>
                <c:pt idx="45798">
                  <c:v>45083</c:v>
                </c:pt>
                <c:pt idx="45799">
                  <c:v>28938</c:v>
                </c:pt>
                <c:pt idx="45800">
                  <c:v>97246</c:v>
                </c:pt>
                <c:pt idx="45801">
                  <c:v>59504</c:v>
                </c:pt>
                <c:pt idx="45802">
                  <c:v>38072</c:v>
                </c:pt>
                <c:pt idx="45803">
                  <c:v>66871</c:v>
                </c:pt>
                <c:pt idx="45804">
                  <c:v>68187</c:v>
                </c:pt>
                <c:pt idx="45805">
                  <c:v>33591</c:v>
                </c:pt>
                <c:pt idx="45806">
                  <c:v>24877</c:v>
                </c:pt>
                <c:pt idx="45807">
                  <c:v>25344</c:v>
                </c:pt>
                <c:pt idx="45808">
                  <c:v>121557</c:v>
                </c:pt>
                <c:pt idx="45809">
                  <c:v>51153</c:v>
                </c:pt>
                <c:pt idx="45810">
                  <c:v>80692</c:v>
                </c:pt>
                <c:pt idx="45811">
                  <c:v>60141</c:v>
                </c:pt>
                <c:pt idx="45812">
                  <c:v>125283</c:v>
                </c:pt>
                <c:pt idx="45813">
                  <c:v>22935</c:v>
                </c:pt>
                <c:pt idx="45814">
                  <c:v>29809</c:v>
                </c:pt>
                <c:pt idx="45815">
                  <c:v>153907</c:v>
                </c:pt>
                <c:pt idx="45816">
                  <c:v>57209</c:v>
                </c:pt>
                <c:pt idx="45817">
                  <c:v>31744</c:v>
                </c:pt>
                <c:pt idx="45818">
                  <c:v>66914</c:v>
                </c:pt>
                <c:pt idx="45819">
                  <c:v>82063</c:v>
                </c:pt>
                <c:pt idx="45820">
                  <c:v>29447</c:v>
                </c:pt>
                <c:pt idx="45821">
                  <c:v>40624</c:v>
                </c:pt>
                <c:pt idx="45822">
                  <c:v>99512</c:v>
                </c:pt>
                <c:pt idx="45823">
                  <c:v>122226</c:v>
                </c:pt>
                <c:pt idx="45824">
                  <c:v>82243</c:v>
                </c:pt>
                <c:pt idx="45825">
                  <c:v>100024</c:v>
                </c:pt>
                <c:pt idx="45826">
                  <c:v>89234</c:v>
                </c:pt>
                <c:pt idx="45827">
                  <c:v>24652</c:v>
                </c:pt>
                <c:pt idx="45828">
                  <c:v>55132</c:v>
                </c:pt>
                <c:pt idx="45829">
                  <c:v>57745</c:v>
                </c:pt>
                <c:pt idx="45830">
                  <c:v>18228</c:v>
                </c:pt>
                <c:pt idx="45831">
                  <c:v>81457</c:v>
                </c:pt>
                <c:pt idx="45832">
                  <c:v>43171</c:v>
                </c:pt>
                <c:pt idx="45833">
                  <c:v>36911</c:v>
                </c:pt>
                <c:pt idx="45834">
                  <c:v>40639</c:v>
                </c:pt>
                <c:pt idx="45835">
                  <c:v>38129</c:v>
                </c:pt>
                <c:pt idx="45836">
                  <c:v>45423</c:v>
                </c:pt>
                <c:pt idx="45837">
                  <c:v>118241</c:v>
                </c:pt>
                <c:pt idx="45838">
                  <c:v>74107</c:v>
                </c:pt>
                <c:pt idx="45839">
                  <c:v>49454</c:v>
                </c:pt>
                <c:pt idx="45840">
                  <c:v>49063</c:v>
                </c:pt>
                <c:pt idx="45841">
                  <c:v>84432</c:v>
                </c:pt>
                <c:pt idx="45842">
                  <c:v>36013</c:v>
                </c:pt>
                <c:pt idx="45843">
                  <c:v>38629</c:v>
                </c:pt>
                <c:pt idx="45844">
                  <c:v>20259</c:v>
                </c:pt>
                <c:pt idx="45845">
                  <c:v>79702</c:v>
                </c:pt>
                <c:pt idx="45846">
                  <c:v>102834</c:v>
                </c:pt>
                <c:pt idx="45847">
                  <c:v>40998</c:v>
                </c:pt>
                <c:pt idx="45848">
                  <c:v>42004</c:v>
                </c:pt>
                <c:pt idx="45849">
                  <c:v>110069</c:v>
                </c:pt>
                <c:pt idx="45850">
                  <c:v>68119</c:v>
                </c:pt>
                <c:pt idx="45851">
                  <c:v>76323</c:v>
                </c:pt>
                <c:pt idx="45852">
                  <c:v>25151</c:v>
                </c:pt>
                <c:pt idx="45853">
                  <c:v>37575</c:v>
                </c:pt>
                <c:pt idx="45854">
                  <c:v>138621</c:v>
                </c:pt>
                <c:pt idx="45855">
                  <c:v>42197</c:v>
                </c:pt>
                <c:pt idx="45856">
                  <c:v>83117</c:v>
                </c:pt>
                <c:pt idx="45857">
                  <c:v>34890</c:v>
                </c:pt>
                <c:pt idx="45858">
                  <c:v>37167</c:v>
                </c:pt>
                <c:pt idx="45859">
                  <c:v>43960</c:v>
                </c:pt>
                <c:pt idx="45860">
                  <c:v>37016</c:v>
                </c:pt>
                <c:pt idx="45861">
                  <c:v>63887</c:v>
                </c:pt>
                <c:pt idx="45862">
                  <c:v>143957</c:v>
                </c:pt>
                <c:pt idx="45863">
                  <c:v>23312</c:v>
                </c:pt>
                <c:pt idx="45864">
                  <c:v>66216</c:v>
                </c:pt>
                <c:pt idx="45865">
                  <c:v>27824</c:v>
                </c:pt>
                <c:pt idx="45866">
                  <c:v>45620</c:v>
                </c:pt>
                <c:pt idx="45867">
                  <c:v>42842</c:v>
                </c:pt>
                <c:pt idx="45868">
                  <c:v>29856</c:v>
                </c:pt>
                <c:pt idx="45869">
                  <c:v>52780</c:v>
                </c:pt>
                <c:pt idx="45870">
                  <c:v>39750</c:v>
                </c:pt>
                <c:pt idx="45871">
                  <c:v>41574</c:v>
                </c:pt>
                <c:pt idx="45872">
                  <c:v>29816</c:v>
                </c:pt>
                <c:pt idx="45873">
                  <c:v>104319</c:v>
                </c:pt>
                <c:pt idx="45874">
                  <c:v>34025</c:v>
                </c:pt>
                <c:pt idx="45875">
                  <c:v>59980</c:v>
                </c:pt>
                <c:pt idx="45876">
                  <c:v>32059</c:v>
                </c:pt>
                <c:pt idx="45877">
                  <c:v>53142</c:v>
                </c:pt>
                <c:pt idx="45878">
                  <c:v>38917</c:v>
                </c:pt>
                <c:pt idx="45879">
                  <c:v>21745</c:v>
                </c:pt>
                <c:pt idx="45880">
                  <c:v>37560</c:v>
                </c:pt>
                <c:pt idx="45881">
                  <c:v>81891</c:v>
                </c:pt>
                <c:pt idx="45882">
                  <c:v>23105</c:v>
                </c:pt>
                <c:pt idx="45883">
                  <c:v>27622</c:v>
                </c:pt>
                <c:pt idx="45884">
                  <c:v>32960</c:v>
                </c:pt>
                <c:pt idx="45885">
                  <c:v>34010</c:v>
                </c:pt>
                <c:pt idx="45886">
                  <c:v>28810</c:v>
                </c:pt>
                <c:pt idx="45887">
                  <c:v>83177</c:v>
                </c:pt>
                <c:pt idx="45888">
                  <c:v>31992</c:v>
                </c:pt>
                <c:pt idx="45889">
                  <c:v>51693</c:v>
                </c:pt>
                <c:pt idx="45890">
                  <c:v>38221</c:v>
                </c:pt>
                <c:pt idx="45891">
                  <c:v>42111</c:v>
                </c:pt>
                <c:pt idx="45892">
                  <c:v>62655</c:v>
                </c:pt>
                <c:pt idx="45893">
                  <c:v>32353</c:v>
                </c:pt>
                <c:pt idx="45894">
                  <c:v>33339</c:v>
                </c:pt>
                <c:pt idx="45895">
                  <c:v>110664</c:v>
                </c:pt>
                <c:pt idx="45896">
                  <c:v>37338</c:v>
                </c:pt>
                <c:pt idx="45897">
                  <c:v>37259</c:v>
                </c:pt>
                <c:pt idx="45898">
                  <c:v>121040</c:v>
                </c:pt>
                <c:pt idx="45899">
                  <c:v>42122</c:v>
                </c:pt>
                <c:pt idx="45900">
                  <c:v>48636</c:v>
                </c:pt>
                <c:pt idx="45901">
                  <c:v>72049</c:v>
                </c:pt>
                <c:pt idx="45902">
                  <c:v>42543</c:v>
                </c:pt>
                <c:pt idx="45903">
                  <c:v>29149</c:v>
                </c:pt>
                <c:pt idx="45904">
                  <c:v>43575</c:v>
                </c:pt>
                <c:pt idx="45905">
                  <c:v>136152</c:v>
                </c:pt>
                <c:pt idx="45906">
                  <c:v>93050</c:v>
                </c:pt>
                <c:pt idx="45907">
                  <c:v>33697</c:v>
                </c:pt>
                <c:pt idx="45908">
                  <c:v>257700</c:v>
                </c:pt>
                <c:pt idx="45909">
                  <c:v>30898</c:v>
                </c:pt>
                <c:pt idx="45910">
                  <c:v>57822</c:v>
                </c:pt>
                <c:pt idx="45911">
                  <c:v>31169</c:v>
                </c:pt>
                <c:pt idx="45912">
                  <c:v>56785</c:v>
                </c:pt>
                <c:pt idx="45913">
                  <c:v>40212</c:v>
                </c:pt>
                <c:pt idx="45914">
                  <c:v>144840</c:v>
                </c:pt>
                <c:pt idx="45915">
                  <c:v>50919</c:v>
                </c:pt>
                <c:pt idx="45916">
                  <c:v>50672</c:v>
                </c:pt>
                <c:pt idx="45917">
                  <c:v>63013</c:v>
                </c:pt>
                <c:pt idx="45918">
                  <c:v>189777</c:v>
                </c:pt>
                <c:pt idx="45919">
                  <c:v>99478</c:v>
                </c:pt>
                <c:pt idx="45920">
                  <c:v>112700</c:v>
                </c:pt>
                <c:pt idx="45921">
                  <c:v>24566</c:v>
                </c:pt>
                <c:pt idx="45922">
                  <c:v>38596</c:v>
                </c:pt>
                <c:pt idx="45923">
                  <c:v>27442</c:v>
                </c:pt>
                <c:pt idx="45924">
                  <c:v>46259</c:v>
                </c:pt>
                <c:pt idx="45925">
                  <c:v>51747</c:v>
                </c:pt>
                <c:pt idx="45926">
                  <c:v>33263</c:v>
                </c:pt>
                <c:pt idx="45927">
                  <c:v>32127</c:v>
                </c:pt>
                <c:pt idx="45928">
                  <c:v>26514</c:v>
                </c:pt>
                <c:pt idx="45929">
                  <c:v>52294</c:v>
                </c:pt>
                <c:pt idx="45930">
                  <c:v>37605</c:v>
                </c:pt>
                <c:pt idx="45931">
                  <c:v>45535</c:v>
                </c:pt>
                <c:pt idx="45932">
                  <c:v>81546</c:v>
                </c:pt>
                <c:pt idx="45933">
                  <c:v>95300</c:v>
                </c:pt>
                <c:pt idx="45934">
                  <c:v>58686</c:v>
                </c:pt>
                <c:pt idx="45935">
                  <c:v>33927</c:v>
                </c:pt>
                <c:pt idx="45936">
                  <c:v>25116</c:v>
                </c:pt>
                <c:pt idx="45937">
                  <c:v>37898</c:v>
                </c:pt>
                <c:pt idx="45938">
                  <c:v>25751</c:v>
                </c:pt>
                <c:pt idx="45939">
                  <c:v>33954</c:v>
                </c:pt>
                <c:pt idx="45940">
                  <c:v>50507</c:v>
                </c:pt>
                <c:pt idx="45941">
                  <c:v>31081</c:v>
                </c:pt>
                <c:pt idx="45942">
                  <c:v>26913</c:v>
                </c:pt>
                <c:pt idx="45943">
                  <c:v>31057</c:v>
                </c:pt>
                <c:pt idx="45944">
                  <c:v>60744</c:v>
                </c:pt>
                <c:pt idx="45945">
                  <c:v>38261</c:v>
                </c:pt>
                <c:pt idx="45946">
                  <c:v>26378</c:v>
                </c:pt>
                <c:pt idx="45947">
                  <c:v>66582</c:v>
                </c:pt>
                <c:pt idx="45948">
                  <c:v>52917</c:v>
                </c:pt>
                <c:pt idx="45949">
                  <c:v>48335</c:v>
                </c:pt>
                <c:pt idx="45950">
                  <c:v>100756</c:v>
                </c:pt>
                <c:pt idx="45951">
                  <c:v>115672</c:v>
                </c:pt>
                <c:pt idx="45952">
                  <c:v>25166</c:v>
                </c:pt>
                <c:pt idx="45953">
                  <c:v>51937</c:v>
                </c:pt>
                <c:pt idx="45954">
                  <c:v>36299</c:v>
                </c:pt>
                <c:pt idx="45955">
                  <c:v>26279</c:v>
                </c:pt>
                <c:pt idx="45956">
                  <c:v>128214</c:v>
                </c:pt>
                <c:pt idx="45957">
                  <c:v>28497</c:v>
                </c:pt>
                <c:pt idx="45958">
                  <c:v>215272</c:v>
                </c:pt>
                <c:pt idx="45959">
                  <c:v>37896</c:v>
                </c:pt>
                <c:pt idx="45960">
                  <c:v>49817</c:v>
                </c:pt>
                <c:pt idx="45961">
                  <c:v>212487</c:v>
                </c:pt>
                <c:pt idx="45962">
                  <c:v>64383</c:v>
                </c:pt>
                <c:pt idx="45963">
                  <c:v>32776</c:v>
                </c:pt>
                <c:pt idx="45964">
                  <c:v>45435</c:v>
                </c:pt>
                <c:pt idx="45965">
                  <c:v>78950</c:v>
                </c:pt>
                <c:pt idx="45966">
                  <c:v>67373</c:v>
                </c:pt>
                <c:pt idx="45967">
                  <c:v>83977</c:v>
                </c:pt>
                <c:pt idx="45968">
                  <c:v>58296</c:v>
                </c:pt>
                <c:pt idx="45969">
                  <c:v>254478</c:v>
                </c:pt>
                <c:pt idx="45970">
                  <c:v>32104</c:v>
                </c:pt>
                <c:pt idx="45971">
                  <c:v>34172</c:v>
                </c:pt>
                <c:pt idx="45972">
                  <c:v>109170</c:v>
                </c:pt>
                <c:pt idx="45973">
                  <c:v>63723</c:v>
                </c:pt>
                <c:pt idx="45974">
                  <c:v>63698</c:v>
                </c:pt>
                <c:pt idx="45975">
                  <c:v>52092</c:v>
                </c:pt>
                <c:pt idx="45976">
                  <c:v>40657</c:v>
                </c:pt>
                <c:pt idx="45977">
                  <c:v>85773</c:v>
                </c:pt>
                <c:pt idx="45978">
                  <c:v>29822</c:v>
                </c:pt>
                <c:pt idx="45979">
                  <c:v>98329</c:v>
                </c:pt>
                <c:pt idx="45980">
                  <c:v>74621</c:v>
                </c:pt>
                <c:pt idx="45981">
                  <c:v>35744</c:v>
                </c:pt>
                <c:pt idx="45982">
                  <c:v>30231</c:v>
                </c:pt>
                <c:pt idx="45983">
                  <c:v>150186</c:v>
                </c:pt>
                <c:pt idx="45984">
                  <c:v>30075</c:v>
                </c:pt>
                <c:pt idx="45985">
                  <c:v>59438</c:v>
                </c:pt>
                <c:pt idx="45986">
                  <c:v>25863</c:v>
                </c:pt>
                <c:pt idx="45987">
                  <c:v>52857</c:v>
                </c:pt>
                <c:pt idx="45988">
                  <c:v>24931</c:v>
                </c:pt>
                <c:pt idx="45989">
                  <c:v>24970</c:v>
                </c:pt>
                <c:pt idx="45990">
                  <c:v>49712</c:v>
                </c:pt>
                <c:pt idx="45991">
                  <c:v>109335</c:v>
                </c:pt>
                <c:pt idx="45992">
                  <c:v>38893</c:v>
                </c:pt>
                <c:pt idx="45993">
                  <c:v>28334</c:v>
                </c:pt>
                <c:pt idx="45994">
                  <c:v>46270</c:v>
                </c:pt>
                <c:pt idx="45995">
                  <c:v>131642</c:v>
                </c:pt>
                <c:pt idx="45996">
                  <c:v>29533</c:v>
                </c:pt>
                <c:pt idx="45997">
                  <c:v>31787</c:v>
                </c:pt>
                <c:pt idx="45998">
                  <c:v>45484</c:v>
                </c:pt>
                <c:pt idx="45999">
                  <c:v>44096</c:v>
                </c:pt>
                <c:pt idx="46000">
                  <c:v>87605</c:v>
                </c:pt>
                <c:pt idx="46001">
                  <c:v>56592</c:v>
                </c:pt>
                <c:pt idx="46002">
                  <c:v>27587</c:v>
                </c:pt>
                <c:pt idx="46003">
                  <c:v>29566</c:v>
                </c:pt>
                <c:pt idx="46004">
                  <c:v>38035</c:v>
                </c:pt>
                <c:pt idx="46005">
                  <c:v>48106</c:v>
                </c:pt>
                <c:pt idx="46006">
                  <c:v>97387</c:v>
                </c:pt>
                <c:pt idx="46007">
                  <c:v>25773</c:v>
                </c:pt>
                <c:pt idx="46008">
                  <c:v>63354</c:v>
                </c:pt>
                <c:pt idx="46009">
                  <c:v>53164</c:v>
                </c:pt>
                <c:pt idx="46010">
                  <c:v>64784</c:v>
                </c:pt>
                <c:pt idx="46011">
                  <c:v>88433</c:v>
                </c:pt>
                <c:pt idx="46012">
                  <c:v>38754</c:v>
                </c:pt>
                <c:pt idx="46013">
                  <c:v>54396</c:v>
                </c:pt>
                <c:pt idx="46014">
                  <c:v>73504</c:v>
                </c:pt>
                <c:pt idx="46015">
                  <c:v>23057</c:v>
                </c:pt>
                <c:pt idx="46016">
                  <c:v>57516</c:v>
                </c:pt>
                <c:pt idx="46017">
                  <c:v>44670</c:v>
                </c:pt>
                <c:pt idx="46018">
                  <c:v>72449</c:v>
                </c:pt>
                <c:pt idx="46019">
                  <c:v>47305</c:v>
                </c:pt>
                <c:pt idx="46020">
                  <c:v>62211</c:v>
                </c:pt>
                <c:pt idx="46021">
                  <c:v>104106</c:v>
                </c:pt>
                <c:pt idx="46022">
                  <c:v>48733</c:v>
                </c:pt>
                <c:pt idx="46023">
                  <c:v>50865</c:v>
                </c:pt>
                <c:pt idx="46024">
                  <c:v>52712</c:v>
                </c:pt>
                <c:pt idx="46025">
                  <c:v>36991</c:v>
                </c:pt>
                <c:pt idx="46026">
                  <c:v>31550</c:v>
                </c:pt>
                <c:pt idx="46027">
                  <c:v>29252</c:v>
                </c:pt>
                <c:pt idx="46028">
                  <c:v>50980</c:v>
                </c:pt>
                <c:pt idx="46029">
                  <c:v>34867</c:v>
                </c:pt>
                <c:pt idx="46030">
                  <c:v>25106</c:v>
                </c:pt>
                <c:pt idx="46031">
                  <c:v>47815</c:v>
                </c:pt>
                <c:pt idx="46032">
                  <c:v>103680</c:v>
                </c:pt>
                <c:pt idx="46033">
                  <c:v>56760</c:v>
                </c:pt>
                <c:pt idx="46034">
                  <c:v>149952</c:v>
                </c:pt>
                <c:pt idx="46035">
                  <c:v>27998</c:v>
                </c:pt>
                <c:pt idx="46036">
                  <c:v>57718</c:v>
                </c:pt>
                <c:pt idx="46037">
                  <c:v>70370</c:v>
                </c:pt>
                <c:pt idx="46038">
                  <c:v>53186</c:v>
                </c:pt>
                <c:pt idx="46039">
                  <c:v>61928</c:v>
                </c:pt>
                <c:pt idx="46040">
                  <c:v>41372</c:v>
                </c:pt>
                <c:pt idx="46041">
                  <c:v>42125</c:v>
                </c:pt>
                <c:pt idx="46042">
                  <c:v>49411</c:v>
                </c:pt>
                <c:pt idx="46043">
                  <c:v>96892</c:v>
                </c:pt>
                <c:pt idx="46044">
                  <c:v>37109</c:v>
                </c:pt>
                <c:pt idx="46045">
                  <c:v>31721</c:v>
                </c:pt>
                <c:pt idx="46046">
                  <c:v>179554</c:v>
                </c:pt>
                <c:pt idx="46047">
                  <c:v>102685</c:v>
                </c:pt>
                <c:pt idx="46048">
                  <c:v>29630</c:v>
                </c:pt>
                <c:pt idx="46049">
                  <c:v>29529</c:v>
                </c:pt>
                <c:pt idx="46050">
                  <c:v>46171</c:v>
                </c:pt>
                <c:pt idx="46051">
                  <c:v>43249</c:v>
                </c:pt>
                <c:pt idx="46052">
                  <c:v>36136</c:v>
                </c:pt>
                <c:pt idx="46053">
                  <c:v>197402</c:v>
                </c:pt>
                <c:pt idx="46054">
                  <c:v>22442</c:v>
                </c:pt>
                <c:pt idx="46055">
                  <c:v>44033</c:v>
                </c:pt>
                <c:pt idx="46056">
                  <c:v>31308</c:v>
                </c:pt>
                <c:pt idx="46057">
                  <c:v>85248</c:v>
                </c:pt>
                <c:pt idx="46058">
                  <c:v>41427</c:v>
                </c:pt>
                <c:pt idx="46059">
                  <c:v>39375</c:v>
                </c:pt>
                <c:pt idx="46060">
                  <c:v>62849</c:v>
                </c:pt>
                <c:pt idx="46061">
                  <c:v>48101</c:v>
                </c:pt>
                <c:pt idx="46062">
                  <c:v>46821</c:v>
                </c:pt>
                <c:pt idx="46063">
                  <c:v>35426</c:v>
                </c:pt>
                <c:pt idx="46064">
                  <c:v>65013</c:v>
                </c:pt>
                <c:pt idx="46065">
                  <c:v>38890</c:v>
                </c:pt>
                <c:pt idx="46066">
                  <c:v>36129</c:v>
                </c:pt>
                <c:pt idx="46067">
                  <c:v>350845</c:v>
                </c:pt>
                <c:pt idx="46068">
                  <c:v>43822</c:v>
                </c:pt>
                <c:pt idx="46069">
                  <c:v>39435</c:v>
                </c:pt>
                <c:pt idx="46070">
                  <c:v>31525</c:v>
                </c:pt>
                <c:pt idx="46071">
                  <c:v>45617</c:v>
                </c:pt>
                <c:pt idx="46072">
                  <c:v>27865</c:v>
                </c:pt>
                <c:pt idx="46073">
                  <c:v>90007</c:v>
                </c:pt>
                <c:pt idx="46074">
                  <c:v>43917</c:v>
                </c:pt>
                <c:pt idx="46075">
                  <c:v>94057</c:v>
                </c:pt>
                <c:pt idx="46076">
                  <c:v>214771</c:v>
                </c:pt>
                <c:pt idx="46077">
                  <c:v>49966</c:v>
                </c:pt>
                <c:pt idx="46078">
                  <c:v>49022</c:v>
                </c:pt>
                <c:pt idx="46079">
                  <c:v>114955</c:v>
                </c:pt>
                <c:pt idx="46080">
                  <c:v>56828</c:v>
                </c:pt>
                <c:pt idx="46081">
                  <c:v>197851</c:v>
                </c:pt>
                <c:pt idx="46082">
                  <c:v>65076</c:v>
                </c:pt>
                <c:pt idx="46083">
                  <c:v>75751</c:v>
                </c:pt>
                <c:pt idx="46084">
                  <c:v>42580</c:v>
                </c:pt>
                <c:pt idx="46085">
                  <c:v>59440</c:v>
                </c:pt>
                <c:pt idx="46086">
                  <c:v>35879</c:v>
                </c:pt>
                <c:pt idx="46087">
                  <c:v>25854</c:v>
                </c:pt>
                <c:pt idx="46088">
                  <c:v>97939</c:v>
                </c:pt>
                <c:pt idx="46089">
                  <c:v>30770</c:v>
                </c:pt>
                <c:pt idx="46090">
                  <c:v>75833</c:v>
                </c:pt>
                <c:pt idx="46091">
                  <c:v>24533</c:v>
                </c:pt>
                <c:pt idx="46092">
                  <c:v>24344</c:v>
                </c:pt>
                <c:pt idx="46093">
                  <c:v>30928</c:v>
                </c:pt>
                <c:pt idx="46094">
                  <c:v>36835</c:v>
                </c:pt>
                <c:pt idx="46095">
                  <c:v>60681</c:v>
                </c:pt>
                <c:pt idx="46096">
                  <c:v>28494</c:v>
                </c:pt>
                <c:pt idx="46097">
                  <c:v>36530</c:v>
                </c:pt>
                <c:pt idx="46098">
                  <c:v>35431</c:v>
                </c:pt>
                <c:pt idx="46099">
                  <c:v>38991</c:v>
                </c:pt>
                <c:pt idx="46100">
                  <c:v>54336</c:v>
                </c:pt>
                <c:pt idx="46101">
                  <c:v>64613</c:v>
                </c:pt>
                <c:pt idx="46102">
                  <c:v>31843</c:v>
                </c:pt>
                <c:pt idx="46103">
                  <c:v>188399</c:v>
                </c:pt>
                <c:pt idx="46104">
                  <c:v>45731</c:v>
                </c:pt>
                <c:pt idx="46105">
                  <c:v>31178</c:v>
                </c:pt>
                <c:pt idx="46106">
                  <c:v>382414</c:v>
                </c:pt>
                <c:pt idx="46107">
                  <c:v>33112</c:v>
                </c:pt>
                <c:pt idx="46108">
                  <c:v>26213</c:v>
                </c:pt>
                <c:pt idx="46109">
                  <c:v>48912</c:v>
                </c:pt>
                <c:pt idx="46110">
                  <c:v>58297</c:v>
                </c:pt>
                <c:pt idx="46111">
                  <c:v>186659</c:v>
                </c:pt>
                <c:pt idx="46112">
                  <c:v>258082</c:v>
                </c:pt>
                <c:pt idx="46113">
                  <c:v>110164</c:v>
                </c:pt>
                <c:pt idx="46114">
                  <c:v>32326</c:v>
                </c:pt>
                <c:pt idx="46115">
                  <c:v>41704</c:v>
                </c:pt>
                <c:pt idx="46116">
                  <c:v>42021</c:v>
                </c:pt>
                <c:pt idx="46117">
                  <c:v>72228</c:v>
                </c:pt>
                <c:pt idx="46118">
                  <c:v>44587</c:v>
                </c:pt>
                <c:pt idx="46119">
                  <c:v>28414</c:v>
                </c:pt>
                <c:pt idx="46120">
                  <c:v>110801</c:v>
                </c:pt>
                <c:pt idx="46121">
                  <c:v>111080</c:v>
                </c:pt>
                <c:pt idx="46122">
                  <c:v>142990</c:v>
                </c:pt>
                <c:pt idx="46123">
                  <c:v>183078</c:v>
                </c:pt>
                <c:pt idx="46124">
                  <c:v>38389</c:v>
                </c:pt>
                <c:pt idx="46125">
                  <c:v>153413</c:v>
                </c:pt>
                <c:pt idx="46126">
                  <c:v>20615</c:v>
                </c:pt>
                <c:pt idx="46127">
                  <c:v>28316</c:v>
                </c:pt>
                <c:pt idx="46128">
                  <c:v>116981</c:v>
                </c:pt>
                <c:pt idx="46129">
                  <c:v>21395</c:v>
                </c:pt>
                <c:pt idx="46130">
                  <c:v>108518</c:v>
                </c:pt>
                <c:pt idx="46131">
                  <c:v>35658</c:v>
                </c:pt>
                <c:pt idx="46132">
                  <c:v>64982</c:v>
                </c:pt>
                <c:pt idx="46133">
                  <c:v>25183</c:v>
                </c:pt>
                <c:pt idx="46134">
                  <c:v>22049</c:v>
                </c:pt>
                <c:pt idx="46135">
                  <c:v>31160</c:v>
                </c:pt>
                <c:pt idx="46136">
                  <c:v>33988</c:v>
                </c:pt>
                <c:pt idx="46137">
                  <c:v>31662</c:v>
                </c:pt>
                <c:pt idx="46138">
                  <c:v>25433</c:v>
                </c:pt>
                <c:pt idx="46139">
                  <c:v>28993</c:v>
                </c:pt>
                <c:pt idx="46140">
                  <c:v>39730</c:v>
                </c:pt>
                <c:pt idx="46141">
                  <c:v>46174</c:v>
                </c:pt>
                <c:pt idx="46142">
                  <c:v>76356</c:v>
                </c:pt>
                <c:pt idx="46143">
                  <c:v>54803</c:v>
                </c:pt>
                <c:pt idx="46144">
                  <c:v>33721</c:v>
                </c:pt>
                <c:pt idx="46145">
                  <c:v>52032</c:v>
                </c:pt>
                <c:pt idx="46146">
                  <c:v>23787</c:v>
                </c:pt>
                <c:pt idx="46147">
                  <c:v>72313</c:v>
                </c:pt>
                <c:pt idx="46148">
                  <c:v>43350</c:v>
                </c:pt>
                <c:pt idx="46149">
                  <c:v>31984</c:v>
                </c:pt>
                <c:pt idx="46150">
                  <c:v>31246</c:v>
                </c:pt>
                <c:pt idx="46151">
                  <c:v>26706</c:v>
                </c:pt>
                <c:pt idx="46152">
                  <c:v>23925</c:v>
                </c:pt>
                <c:pt idx="46153">
                  <c:v>34664</c:v>
                </c:pt>
                <c:pt idx="46154">
                  <c:v>77430</c:v>
                </c:pt>
                <c:pt idx="46155">
                  <c:v>30708</c:v>
                </c:pt>
                <c:pt idx="46156">
                  <c:v>45914</c:v>
                </c:pt>
                <c:pt idx="46157">
                  <c:v>40489</c:v>
                </c:pt>
                <c:pt idx="46158">
                  <c:v>105533</c:v>
                </c:pt>
                <c:pt idx="46159">
                  <c:v>76026</c:v>
                </c:pt>
                <c:pt idx="46160">
                  <c:v>41913</c:v>
                </c:pt>
                <c:pt idx="46161">
                  <c:v>15951</c:v>
                </c:pt>
                <c:pt idx="46162">
                  <c:v>47727</c:v>
                </c:pt>
                <c:pt idx="46163">
                  <c:v>35711</c:v>
                </c:pt>
                <c:pt idx="46164">
                  <c:v>85076</c:v>
                </c:pt>
                <c:pt idx="46165">
                  <c:v>23196</c:v>
                </c:pt>
                <c:pt idx="46166">
                  <c:v>33989</c:v>
                </c:pt>
                <c:pt idx="46167">
                  <c:v>25681</c:v>
                </c:pt>
                <c:pt idx="46168">
                  <c:v>45504</c:v>
                </c:pt>
                <c:pt idx="46169">
                  <c:v>73054</c:v>
                </c:pt>
                <c:pt idx="46170">
                  <c:v>27483</c:v>
                </c:pt>
                <c:pt idx="46171">
                  <c:v>50865</c:v>
                </c:pt>
                <c:pt idx="46172">
                  <c:v>33222</c:v>
                </c:pt>
                <c:pt idx="46173">
                  <c:v>45424</c:v>
                </c:pt>
                <c:pt idx="46174">
                  <c:v>41822</c:v>
                </c:pt>
                <c:pt idx="46175">
                  <c:v>36135</c:v>
                </c:pt>
                <c:pt idx="46176">
                  <c:v>48654</c:v>
                </c:pt>
                <c:pt idx="46177">
                  <c:v>50927</c:v>
                </c:pt>
                <c:pt idx="46178">
                  <c:v>99999</c:v>
                </c:pt>
                <c:pt idx="46179">
                  <c:v>64544</c:v>
                </c:pt>
                <c:pt idx="46180">
                  <c:v>36755</c:v>
                </c:pt>
                <c:pt idx="46181">
                  <c:v>39916</c:v>
                </c:pt>
                <c:pt idx="46182">
                  <c:v>28732</c:v>
                </c:pt>
                <c:pt idx="46183">
                  <c:v>28768</c:v>
                </c:pt>
                <c:pt idx="46184">
                  <c:v>30410</c:v>
                </c:pt>
                <c:pt idx="46185">
                  <c:v>39144</c:v>
                </c:pt>
                <c:pt idx="46186">
                  <c:v>87991</c:v>
                </c:pt>
                <c:pt idx="46187">
                  <c:v>29899</c:v>
                </c:pt>
                <c:pt idx="46188">
                  <c:v>28099</c:v>
                </c:pt>
                <c:pt idx="46189">
                  <c:v>47448</c:v>
                </c:pt>
                <c:pt idx="46190">
                  <c:v>43864</c:v>
                </c:pt>
                <c:pt idx="46191">
                  <c:v>95217</c:v>
                </c:pt>
                <c:pt idx="46192">
                  <c:v>24246</c:v>
                </c:pt>
                <c:pt idx="46193">
                  <c:v>42580</c:v>
                </c:pt>
                <c:pt idx="46194">
                  <c:v>60148</c:v>
                </c:pt>
                <c:pt idx="46195">
                  <c:v>90245</c:v>
                </c:pt>
                <c:pt idx="46196">
                  <c:v>312032</c:v>
                </c:pt>
                <c:pt idx="46197">
                  <c:v>69227</c:v>
                </c:pt>
                <c:pt idx="46198">
                  <c:v>24291</c:v>
                </c:pt>
                <c:pt idx="46199">
                  <c:v>25012</c:v>
                </c:pt>
                <c:pt idx="46200">
                  <c:v>44254</c:v>
                </c:pt>
                <c:pt idx="46201">
                  <c:v>90260</c:v>
                </c:pt>
                <c:pt idx="46202">
                  <c:v>29517</c:v>
                </c:pt>
                <c:pt idx="46203">
                  <c:v>42246</c:v>
                </c:pt>
                <c:pt idx="46204">
                  <c:v>45696</c:v>
                </c:pt>
                <c:pt idx="46205">
                  <c:v>78697</c:v>
                </c:pt>
                <c:pt idx="46206">
                  <c:v>24072</c:v>
                </c:pt>
                <c:pt idx="46207">
                  <c:v>63253</c:v>
                </c:pt>
                <c:pt idx="46208">
                  <c:v>127384</c:v>
                </c:pt>
                <c:pt idx="46209">
                  <c:v>42600</c:v>
                </c:pt>
                <c:pt idx="46210">
                  <c:v>27577</c:v>
                </c:pt>
                <c:pt idx="46211">
                  <c:v>25268</c:v>
                </c:pt>
                <c:pt idx="46212">
                  <c:v>30896</c:v>
                </c:pt>
                <c:pt idx="46213">
                  <c:v>45132</c:v>
                </c:pt>
                <c:pt idx="46214">
                  <c:v>62468</c:v>
                </c:pt>
                <c:pt idx="46215">
                  <c:v>93691</c:v>
                </c:pt>
                <c:pt idx="46216">
                  <c:v>53713</c:v>
                </c:pt>
                <c:pt idx="46217">
                  <c:v>24851</c:v>
                </c:pt>
                <c:pt idx="46218">
                  <c:v>25360</c:v>
                </c:pt>
                <c:pt idx="46219">
                  <c:v>121181</c:v>
                </c:pt>
                <c:pt idx="46220">
                  <c:v>45113</c:v>
                </c:pt>
                <c:pt idx="46221">
                  <c:v>153850</c:v>
                </c:pt>
                <c:pt idx="46222">
                  <c:v>47989</c:v>
                </c:pt>
                <c:pt idx="46223">
                  <c:v>107768</c:v>
                </c:pt>
                <c:pt idx="46224">
                  <c:v>53861</c:v>
                </c:pt>
                <c:pt idx="46225">
                  <c:v>224442</c:v>
                </c:pt>
                <c:pt idx="46226">
                  <c:v>93533</c:v>
                </c:pt>
                <c:pt idx="46227">
                  <c:v>43710</c:v>
                </c:pt>
                <c:pt idx="46228">
                  <c:v>37103</c:v>
                </c:pt>
                <c:pt idx="46229">
                  <c:v>25847</c:v>
                </c:pt>
                <c:pt idx="46230">
                  <c:v>35792</c:v>
                </c:pt>
                <c:pt idx="46231">
                  <c:v>38306</c:v>
                </c:pt>
                <c:pt idx="46232">
                  <c:v>28831</c:v>
                </c:pt>
                <c:pt idx="46233">
                  <c:v>66358</c:v>
                </c:pt>
                <c:pt idx="46234">
                  <c:v>44194</c:v>
                </c:pt>
                <c:pt idx="46235">
                  <c:v>41213</c:v>
                </c:pt>
                <c:pt idx="46236">
                  <c:v>30152</c:v>
                </c:pt>
                <c:pt idx="46237">
                  <c:v>43713</c:v>
                </c:pt>
                <c:pt idx="46238">
                  <c:v>34529</c:v>
                </c:pt>
                <c:pt idx="46239">
                  <c:v>28993</c:v>
                </c:pt>
                <c:pt idx="46240">
                  <c:v>35921</c:v>
                </c:pt>
                <c:pt idx="46241">
                  <c:v>27667</c:v>
                </c:pt>
                <c:pt idx="46242">
                  <c:v>34572</c:v>
                </c:pt>
                <c:pt idx="46243">
                  <c:v>20411</c:v>
                </c:pt>
                <c:pt idx="46244">
                  <c:v>62429</c:v>
                </c:pt>
                <c:pt idx="46245">
                  <c:v>26222</c:v>
                </c:pt>
                <c:pt idx="46246">
                  <c:v>33077</c:v>
                </c:pt>
                <c:pt idx="46247">
                  <c:v>34896</c:v>
                </c:pt>
                <c:pt idx="46248">
                  <c:v>87477</c:v>
                </c:pt>
                <c:pt idx="46249">
                  <c:v>46215</c:v>
                </c:pt>
                <c:pt idx="46250">
                  <c:v>23004</c:v>
                </c:pt>
                <c:pt idx="46251">
                  <c:v>153457</c:v>
                </c:pt>
                <c:pt idx="46252">
                  <c:v>41130</c:v>
                </c:pt>
                <c:pt idx="46253">
                  <c:v>64984</c:v>
                </c:pt>
                <c:pt idx="46254">
                  <c:v>67724</c:v>
                </c:pt>
                <c:pt idx="46255">
                  <c:v>44259</c:v>
                </c:pt>
                <c:pt idx="46256">
                  <c:v>32938</c:v>
                </c:pt>
                <c:pt idx="46257">
                  <c:v>46555</c:v>
                </c:pt>
                <c:pt idx="46258">
                  <c:v>49065</c:v>
                </c:pt>
                <c:pt idx="46259">
                  <c:v>54209</c:v>
                </c:pt>
                <c:pt idx="46260">
                  <c:v>41650</c:v>
                </c:pt>
                <c:pt idx="46261">
                  <c:v>81783</c:v>
                </c:pt>
                <c:pt idx="46262">
                  <c:v>34548</c:v>
                </c:pt>
                <c:pt idx="46263">
                  <c:v>84195</c:v>
                </c:pt>
                <c:pt idx="46264">
                  <c:v>94763</c:v>
                </c:pt>
                <c:pt idx="46265">
                  <c:v>45608</c:v>
                </c:pt>
                <c:pt idx="46266">
                  <c:v>28816</c:v>
                </c:pt>
                <c:pt idx="46267">
                  <c:v>216768</c:v>
                </c:pt>
                <c:pt idx="46268">
                  <c:v>230103</c:v>
                </c:pt>
                <c:pt idx="46269">
                  <c:v>82483</c:v>
                </c:pt>
                <c:pt idx="46270">
                  <c:v>86517</c:v>
                </c:pt>
                <c:pt idx="46271">
                  <c:v>27125</c:v>
                </c:pt>
                <c:pt idx="46272">
                  <c:v>29457</c:v>
                </c:pt>
                <c:pt idx="46273">
                  <c:v>42031</c:v>
                </c:pt>
                <c:pt idx="46274">
                  <c:v>46563</c:v>
                </c:pt>
                <c:pt idx="46275">
                  <c:v>88294</c:v>
                </c:pt>
                <c:pt idx="46276">
                  <c:v>34643</c:v>
                </c:pt>
                <c:pt idx="46277">
                  <c:v>31415</c:v>
                </c:pt>
                <c:pt idx="46278">
                  <c:v>44701</c:v>
                </c:pt>
                <c:pt idx="46279">
                  <c:v>65567</c:v>
                </c:pt>
                <c:pt idx="46280">
                  <c:v>80501</c:v>
                </c:pt>
                <c:pt idx="46281">
                  <c:v>29970</c:v>
                </c:pt>
                <c:pt idx="46282">
                  <c:v>26280</c:v>
                </c:pt>
                <c:pt idx="46283">
                  <c:v>56308</c:v>
                </c:pt>
                <c:pt idx="46284">
                  <c:v>89160</c:v>
                </c:pt>
                <c:pt idx="46285">
                  <c:v>40542</c:v>
                </c:pt>
                <c:pt idx="46286">
                  <c:v>48434</c:v>
                </c:pt>
                <c:pt idx="46287">
                  <c:v>28640</c:v>
                </c:pt>
                <c:pt idx="46288">
                  <c:v>55828</c:v>
                </c:pt>
                <c:pt idx="46289">
                  <c:v>36923</c:v>
                </c:pt>
                <c:pt idx="46290">
                  <c:v>91341</c:v>
                </c:pt>
                <c:pt idx="46291">
                  <c:v>40397</c:v>
                </c:pt>
                <c:pt idx="46292">
                  <c:v>32756</c:v>
                </c:pt>
                <c:pt idx="46293">
                  <c:v>49295</c:v>
                </c:pt>
                <c:pt idx="46294">
                  <c:v>29496</c:v>
                </c:pt>
                <c:pt idx="46295">
                  <c:v>137281</c:v>
                </c:pt>
                <c:pt idx="46296">
                  <c:v>30571</c:v>
                </c:pt>
                <c:pt idx="46297">
                  <c:v>36967</c:v>
                </c:pt>
                <c:pt idx="46298">
                  <c:v>150795</c:v>
                </c:pt>
                <c:pt idx="46299">
                  <c:v>43564</c:v>
                </c:pt>
                <c:pt idx="46300">
                  <c:v>61611</c:v>
                </c:pt>
                <c:pt idx="46301">
                  <c:v>57893</c:v>
                </c:pt>
                <c:pt idx="46302">
                  <c:v>45809</c:v>
                </c:pt>
                <c:pt idx="46303">
                  <c:v>70716</c:v>
                </c:pt>
                <c:pt idx="46304">
                  <c:v>42969</c:v>
                </c:pt>
                <c:pt idx="46305">
                  <c:v>44809</c:v>
                </c:pt>
                <c:pt idx="46306">
                  <c:v>28627</c:v>
                </c:pt>
                <c:pt idx="46307">
                  <c:v>42182</c:v>
                </c:pt>
                <c:pt idx="46308">
                  <c:v>28703</c:v>
                </c:pt>
                <c:pt idx="46309">
                  <c:v>27837</c:v>
                </c:pt>
                <c:pt idx="46310">
                  <c:v>31943</c:v>
                </c:pt>
                <c:pt idx="46311">
                  <c:v>23730</c:v>
                </c:pt>
                <c:pt idx="46312">
                  <c:v>50240</c:v>
                </c:pt>
                <c:pt idx="46313">
                  <c:v>29124</c:v>
                </c:pt>
                <c:pt idx="46314">
                  <c:v>44544</c:v>
                </c:pt>
                <c:pt idx="46315">
                  <c:v>25243</c:v>
                </c:pt>
                <c:pt idx="46316">
                  <c:v>193009</c:v>
                </c:pt>
                <c:pt idx="46317">
                  <c:v>35386</c:v>
                </c:pt>
                <c:pt idx="46318">
                  <c:v>53119</c:v>
                </c:pt>
                <c:pt idx="46319">
                  <c:v>26036</c:v>
                </c:pt>
                <c:pt idx="46320">
                  <c:v>23454</c:v>
                </c:pt>
                <c:pt idx="46321">
                  <c:v>43883</c:v>
                </c:pt>
                <c:pt idx="46322">
                  <c:v>34372</c:v>
                </c:pt>
                <c:pt idx="46323">
                  <c:v>44437</c:v>
                </c:pt>
                <c:pt idx="46324">
                  <c:v>22628</c:v>
                </c:pt>
                <c:pt idx="46325">
                  <c:v>93186</c:v>
                </c:pt>
                <c:pt idx="46326">
                  <c:v>26157</c:v>
                </c:pt>
                <c:pt idx="46327">
                  <c:v>190764</c:v>
                </c:pt>
                <c:pt idx="46328">
                  <c:v>71647</c:v>
                </c:pt>
                <c:pt idx="46329">
                  <c:v>117843</c:v>
                </c:pt>
                <c:pt idx="46330">
                  <c:v>110252</c:v>
                </c:pt>
                <c:pt idx="46331">
                  <c:v>32938</c:v>
                </c:pt>
                <c:pt idx="46332">
                  <c:v>31043</c:v>
                </c:pt>
                <c:pt idx="46333">
                  <c:v>28306</c:v>
                </c:pt>
                <c:pt idx="46334">
                  <c:v>62898</c:v>
                </c:pt>
                <c:pt idx="46335">
                  <c:v>59407</c:v>
                </c:pt>
                <c:pt idx="46336">
                  <c:v>38416</c:v>
                </c:pt>
                <c:pt idx="46337">
                  <c:v>175185</c:v>
                </c:pt>
                <c:pt idx="46338">
                  <c:v>54910</c:v>
                </c:pt>
                <c:pt idx="46339">
                  <c:v>47625</c:v>
                </c:pt>
                <c:pt idx="46340">
                  <c:v>69345</c:v>
                </c:pt>
                <c:pt idx="46341">
                  <c:v>121824</c:v>
                </c:pt>
                <c:pt idx="46342">
                  <c:v>135169</c:v>
                </c:pt>
                <c:pt idx="46343">
                  <c:v>66800</c:v>
                </c:pt>
                <c:pt idx="46344">
                  <c:v>49494</c:v>
                </c:pt>
                <c:pt idx="46345">
                  <c:v>21608</c:v>
                </c:pt>
                <c:pt idx="46346">
                  <c:v>47459</c:v>
                </c:pt>
                <c:pt idx="46347">
                  <c:v>30779</c:v>
                </c:pt>
                <c:pt idx="46348">
                  <c:v>38840</c:v>
                </c:pt>
                <c:pt idx="46349">
                  <c:v>46921</c:v>
                </c:pt>
                <c:pt idx="46350">
                  <c:v>69893</c:v>
                </c:pt>
                <c:pt idx="46351">
                  <c:v>31843</c:v>
                </c:pt>
                <c:pt idx="46352">
                  <c:v>121040</c:v>
                </c:pt>
                <c:pt idx="46353">
                  <c:v>51311</c:v>
                </c:pt>
                <c:pt idx="46354">
                  <c:v>43224</c:v>
                </c:pt>
                <c:pt idx="46355">
                  <c:v>81497</c:v>
                </c:pt>
                <c:pt idx="46356">
                  <c:v>62993</c:v>
                </c:pt>
                <c:pt idx="46357">
                  <c:v>94680</c:v>
                </c:pt>
                <c:pt idx="46358">
                  <c:v>36705</c:v>
                </c:pt>
                <c:pt idx="46359">
                  <c:v>41657</c:v>
                </c:pt>
                <c:pt idx="46360">
                  <c:v>36222</c:v>
                </c:pt>
                <c:pt idx="46361">
                  <c:v>44572</c:v>
                </c:pt>
                <c:pt idx="46362">
                  <c:v>44453</c:v>
                </c:pt>
                <c:pt idx="46363">
                  <c:v>99496</c:v>
                </c:pt>
                <c:pt idx="46364">
                  <c:v>90154</c:v>
                </c:pt>
                <c:pt idx="46365">
                  <c:v>231476</c:v>
                </c:pt>
                <c:pt idx="46366">
                  <c:v>34235</c:v>
                </c:pt>
                <c:pt idx="46367">
                  <c:v>25945</c:v>
                </c:pt>
                <c:pt idx="46368">
                  <c:v>23651</c:v>
                </c:pt>
                <c:pt idx="46369">
                  <c:v>34772</c:v>
                </c:pt>
                <c:pt idx="46370">
                  <c:v>40904</c:v>
                </c:pt>
                <c:pt idx="46371">
                  <c:v>40158</c:v>
                </c:pt>
                <c:pt idx="46372">
                  <c:v>15000</c:v>
                </c:pt>
                <c:pt idx="46373">
                  <c:v>91733</c:v>
                </c:pt>
                <c:pt idx="46374">
                  <c:v>28137</c:v>
                </c:pt>
                <c:pt idx="46375">
                  <c:v>22884</c:v>
                </c:pt>
                <c:pt idx="46376">
                  <c:v>26932</c:v>
                </c:pt>
                <c:pt idx="46377">
                  <c:v>45545</c:v>
                </c:pt>
                <c:pt idx="46378">
                  <c:v>44519</c:v>
                </c:pt>
                <c:pt idx="46379">
                  <c:v>35649</c:v>
                </c:pt>
                <c:pt idx="46380">
                  <c:v>34540</c:v>
                </c:pt>
                <c:pt idx="46381">
                  <c:v>32274</c:v>
                </c:pt>
                <c:pt idx="46382">
                  <c:v>42848</c:v>
                </c:pt>
                <c:pt idx="46383">
                  <c:v>41176</c:v>
                </c:pt>
                <c:pt idx="46384">
                  <c:v>62088</c:v>
                </c:pt>
                <c:pt idx="46385">
                  <c:v>65997</c:v>
                </c:pt>
                <c:pt idx="46386">
                  <c:v>37019</c:v>
                </c:pt>
                <c:pt idx="46387">
                  <c:v>50461</c:v>
                </c:pt>
                <c:pt idx="46388">
                  <c:v>94848</c:v>
                </c:pt>
                <c:pt idx="46389">
                  <c:v>38035</c:v>
                </c:pt>
                <c:pt idx="46390">
                  <c:v>76176</c:v>
                </c:pt>
                <c:pt idx="46391">
                  <c:v>107233</c:v>
                </c:pt>
                <c:pt idx="46392">
                  <c:v>24462</c:v>
                </c:pt>
                <c:pt idx="46393">
                  <c:v>38803</c:v>
                </c:pt>
                <c:pt idx="46394">
                  <c:v>92906</c:v>
                </c:pt>
                <c:pt idx="46395">
                  <c:v>25057</c:v>
                </c:pt>
                <c:pt idx="46396">
                  <c:v>52352</c:v>
                </c:pt>
                <c:pt idx="46397">
                  <c:v>23356</c:v>
                </c:pt>
                <c:pt idx="46398">
                  <c:v>104001</c:v>
                </c:pt>
                <c:pt idx="46399">
                  <c:v>40803</c:v>
                </c:pt>
                <c:pt idx="46400">
                  <c:v>43430</c:v>
                </c:pt>
                <c:pt idx="46401">
                  <c:v>35779</c:v>
                </c:pt>
                <c:pt idx="46402">
                  <c:v>101345</c:v>
                </c:pt>
                <c:pt idx="46403">
                  <c:v>47680</c:v>
                </c:pt>
                <c:pt idx="46404">
                  <c:v>54165</c:v>
                </c:pt>
                <c:pt idx="46405">
                  <c:v>35279</c:v>
                </c:pt>
                <c:pt idx="46406">
                  <c:v>34226</c:v>
                </c:pt>
                <c:pt idx="46407">
                  <c:v>83177</c:v>
                </c:pt>
                <c:pt idx="46408">
                  <c:v>44954</c:v>
                </c:pt>
                <c:pt idx="46409">
                  <c:v>27168</c:v>
                </c:pt>
                <c:pt idx="46410">
                  <c:v>37451</c:v>
                </c:pt>
                <c:pt idx="46411">
                  <c:v>100765</c:v>
                </c:pt>
                <c:pt idx="46412">
                  <c:v>36029</c:v>
                </c:pt>
                <c:pt idx="46413">
                  <c:v>34864</c:v>
                </c:pt>
                <c:pt idx="46414">
                  <c:v>31297</c:v>
                </c:pt>
                <c:pt idx="46415">
                  <c:v>46560</c:v>
                </c:pt>
                <c:pt idx="46416">
                  <c:v>35903</c:v>
                </c:pt>
                <c:pt idx="46417">
                  <c:v>22685</c:v>
                </c:pt>
                <c:pt idx="46418">
                  <c:v>58555</c:v>
                </c:pt>
                <c:pt idx="46419">
                  <c:v>52962</c:v>
                </c:pt>
                <c:pt idx="46420">
                  <c:v>32279</c:v>
                </c:pt>
                <c:pt idx="46421">
                  <c:v>64555</c:v>
                </c:pt>
                <c:pt idx="46422">
                  <c:v>49453</c:v>
                </c:pt>
                <c:pt idx="46423">
                  <c:v>43373</c:v>
                </c:pt>
                <c:pt idx="46424">
                  <c:v>126728</c:v>
                </c:pt>
                <c:pt idx="46425">
                  <c:v>34144</c:v>
                </c:pt>
                <c:pt idx="46426">
                  <c:v>104110</c:v>
                </c:pt>
                <c:pt idx="46427">
                  <c:v>56783</c:v>
                </c:pt>
                <c:pt idx="46428">
                  <c:v>25860</c:v>
                </c:pt>
                <c:pt idx="46429">
                  <c:v>54059</c:v>
                </c:pt>
                <c:pt idx="46430">
                  <c:v>49691</c:v>
                </c:pt>
                <c:pt idx="46431">
                  <c:v>288456</c:v>
                </c:pt>
                <c:pt idx="46432">
                  <c:v>26180</c:v>
                </c:pt>
                <c:pt idx="46433">
                  <c:v>64485</c:v>
                </c:pt>
                <c:pt idx="46434">
                  <c:v>169556</c:v>
                </c:pt>
                <c:pt idx="46435">
                  <c:v>59741</c:v>
                </c:pt>
                <c:pt idx="46436">
                  <c:v>36483</c:v>
                </c:pt>
                <c:pt idx="46437">
                  <c:v>69186</c:v>
                </c:pt>
                <c:pt idx="46438">
                  <c:v>103829</c:v>
                </c:pt>
                <c:pt idx="46439">
                  <c:v>51599</c:v>
                </c:pt>
                <c:pt idx="46440">
                  <c:v>35319</c:v>
                </c:pt>
                <c:pt idx="46441">
                  <c:v>30168</c:v>
                </c:pt>
                <c:pt idx="46442">
                  <c:v>29121</c:v>
                </c:pt>
                <c:pt idx="46443">
                  <c:v>65334</c:v>
                </c:pt>
                <c:pt idx="46444">
                  <c:v>31427</c:v>
                </c:pt>
                <c:pt idx="46445">
                  <c:v>139312</c:v>
                </c:pt>
                <c:pt idx="46446">
                  <c:v>66342</c:v>
                </c:pt>
                <c:pt idx="46447">
                  <c:v>62409</c:v>
                </c:pt>
                <c:pt idx="46448">
                  <c:v>139885</c:v>
                </c:pt>
                <c:pt idx="46449">
                  <c:v>26643</c:v>
                </c:pt>
                <c:pt idx="46450">
                  <c:v>42069</c:v>
                </c:pt>
                <c:pt idx="46451">
                  <c:v>36657</c:v>
                </c:pt>
                <c:pt idx="46452">
                  <c:v>64796</c:v>
                </c:pt>
                <c:pt idx="46453">
                  <c:v>54294</c:v>
                </c:pt>
                <c:pt idx="46454">
                  <c:v>135242</c:v>
                </c:pt>
                <c:pt idx="46455">
                  <c:v>27913</c:v>
                </c:pt>
                <c:pt idx="46456">
                  <c:v>39388</c:v>
                </c:pt>
                <c:pt idx="46457">
                  <c:v>41520</c:v>
                </c:pt>
                <c:pt idx="46458">
                  <c:v>36662</c:v>
                </c:pt>
                <c:pt idx="46459">
                  <c:v>57357</c:v>
                </c:pt>
                <c:pt idx="46460">
                  <c:v>54302</c:v>
                </c:pt>
                <c:pt idx="46461">
                  <c:v>66876</c:v>
                </c:pt>
                <c:pt idx="46462">
                  <c:v>97551</c:v>
                </c:pt>
                <c:pt idx="46463">
                  <c:v>46726</c:v>
                </c:pt>
                <c:pt idx="46464">
                  <c:v>27396</c:v>
                </c:pt>
                <c:pt idx="46465">
                  <c:v>33945</c:v>
                </c:pt>
                <c:pt idx="46466">
                  <c:v>77358</c:v>
                </c:pt>
                <c:pt idx="46467">
                  <c:v>87338</c:v>
                </c:pt>
                <c:pt idx="46468">
                  <c:v>144931</c:v>
                </c:pt>
                <c:pt idx="46469">
                  <c:v>37147</c:v>
                </c:pt>
                <c:pt idx="46470">
                  <c:v>129879</c:v>
                </c:pt>
                <c:pt idx="46471">
                  <c:v>114283</c:v>
                </c:pt>
                <c:pt idx="46472">
                  <c:v>33798</c:v>
                </c:pt>
                <c:pt idx="46473">
                  <c:v>45469</c:v>
                </c:pt>
                <c:pt idx="46474">
                  <c:v>28418</c:v>
                </c:pt>
                <c:pt idx="46475">
                  <c:v>34321</c:v>
                </c:pt>
                <c:pt idx="46476">
                  <c:v>22856</c:v>
                </c:pt>
                <c:pt idx="46477">
                  <c:v>34322</c:v>
                </c:pt>
                <c:pt idx="46478">
                  <c:v>86454</c:v>
                </c:pt>
                <c:pt idx="46479">
                  <c:v>63545</c:v>
                </c:pt>
                <c:pt idx="46480">
                  <c:v>33079</c:v>
                </c:pt>
                <c:pt idx="46481">
                  <c:v>48603</c:v>
                </c:pt>
                <c:pt idx="46482">
                  <c:v>63372</c:v>
                </c:pt>
                <c:pt idx="46483">
                  <c:v>62788</c:v>
                </c:pt>
                <c:pt idx="46484">
                  <c:v>74245</c:v>
                </c:pt>
                <c:pt idx="46485">
                  <c:v>28448</c:v>
                </c:pt>
                <c:pt idx="46486">
                  <c:v>27755</c:v>
                </c:pt>
                <c:pt idx="46487">
                  <c:v>70251</c:v>
                </c:pt>
                <c:pt idx="46488">
                  <c:v>24813</c:v>
                </c:pt>
                <c:pt idx="46489">
                  <c:v>35719</c:v>
                </c:pt>
                <c:pt idx="46490">
                  <c:v>76733</c:v>
                </c:pt>
                <c:pt idx="46491">
                  <c:v>42250</c:v>
                </c:pt>
                <c:pt idx="46492">
                  <c:v>71221</c:v>
                </c:pt>
                <c:pt idx="46493">
                  <c:v>129966</c:v>
                </c:pt>
                <c:pt idx="46494">
                  <c:v>33409</c:v>
                </c:pt>
                <c:pt idx="46495">
                  <c:v>38002</c:v>
                </c:pt>
                <c:pt idx="46496">
                  <c:v>37596</c:v>
                </c:pt>
                <c:pt idx="46497">
                  <c:v>28399</c:v>
                </c:pt>
                <c:pt idx="46498">
                  <c:v>35310</c:v>
                </c:pt>
                <c:pt idx="46499">
                  <c:v>40346</c:v>
                </c:pt>
                <c:pt idx="46500">
                  <c:v>27154</c:v>
                </c:pt>
                <c:pt idx="46501">
                  <c:v>38998</c:v>
                </c:pt>
                <c:pt idx="46502">
                  <c:v>40377</c:v>
                </c:pt>
                <c:pt idx="46503">
                  <c:v>41618</c:v>
                </c:pt>
                <c:pt idx="46504">
                  <c:v>52704</c:v>
                </c:pt>
                <c:pt idx="46505">
                  <c:v>111259</c:v>
                </c:pt>
                <c:pt idx="46506">
                  <c:v>47771</c:v>
                </c:pt>
                <c:pt idx="46507">
                  <c:v>61161</c:v>
                </c:pt>
                <c:pt idx="46508">
                  <c:v>40737</c:v>
                </c:pt>
                <c:pt idx="46509">
                  <c:v>42295</c:v>
                </c:pt>
                <c:pt idx="46510">
                  <c:v>21912</c:v>
                </c:pt>
                <c:pt idx="46511">
                  <c:v>41397</c:v>
                </c:pt>
                <c:pt idx="46512">
                  <c:v>33261</c:v>
                </c:pt>
                <c:pt idx="46513">
                  <c:v>29289</c:v>
                </c:pt>
                <c:pt idx="46514">
                  <c:v>59364</c:v>
                </c:pt>
                <c:pt idx="46515">
                  <c:v>49072</c:v>
                </c:pt>
                <c:pt idx="46516">
                  <c:v>22461</c:v>
                </c:pt>
                <c:pt idx="46517">
                  <c:v>57056</c:v>
                </c:pt>
                <c:pt idx="46518">
                  <c:v>22943</c:v>
                </c:pt>
                <c:pt idx="46519">
                  <c:v>37592</c:v>
                </c:pt>
                <c:pt idx="46520">
                  <c:v>270459</c:v>
                </c:pt>
                <c:pt idx="46521">
                  <c:v>23521</c:v>
                </c:pt>
                <c:pt idx="46522">
                  <c:v>30678</c:v>
                </c:pt>
                <c:pt idx="46523">
                  <c:v>296624</c:v>
                </c:pt>
                <c:pt idx="46524">
                  <c:v>36621</c:v>
                </c:pt>
                <c:pt idx="46525">
                  <c:v>31149</c:v>
                </c:pt>
                <c:pt idx="46526">
                  <c:v>25949</c:v>
                </c:pt>
                <c:pt idx="46527">
                  <c:v>45732</c:v>
                </c:pt>
                <c:pt idx="46528">
                  <c:v>28613</c:v>
                </c:pt>
                <c:pt idx="46529">
                  <c:v>29979</c:v>
                </c:pt>
                <c:pt idx="46530">
                  <c:v>42152</c:v>
                </c:pt>
                <c:pt idx="46531">
                  <c:v>25457</c:v>
                </c:pt>
                <c:pt idx="46532">
                  <c:v>44901</c:v>
                </c:pt>
                <c:pt idx="46533">
                  <c:v>43721</c:v>
                </c:pt>
                <c:pt idx="46534">
                  <c:v>42294</c:v>
                </c:pt>
                <c:pt idx="46535">
                  <c:v>120160</c:v>
                </c:pt>
                <c:pt idx="46536">
                  <c:v>45078</c:v>
                </c:pt>
                <c:pt idx="46537">
                  <c:v>29927</c:v>
                </c:pt>
                <c:pt idx="46538">
                  <c:v>31889</c:v>
                </c:pt>
                <c:pt idx="46539">
                  <c:v>46353</c:v>
                </c:pt>
                <c:pt idx="46540">
                  <c:v>53745</c:v>
                </c:pt>
                <c:pt idx="46541">
                  <c:v>23077</c:v>
                </c:pt>
                <c:pt idx="46542">
                  <c:v>92554</c:v>
                </c:pt>
                <c:pt idx="46543">
                  <c:v>52511</c:v>
                </c:pt>
                <c:pt idx="46544">
                  <c:v>43064</c:v>
                </c:pt>
                <c:pt idx="46545">
                  <c:v>38690</c:v>
                </c:pt>
                <c:pt idx="46546">
                  <c:v>108691</c:v>
                </c:pt>
                <c:pt idx="46547">
                  <c:v>57356</c:v>
                </c:pt>
                <c:pt idx="46548">
                  <c:v>24439</c:v>
                </c:pt>
                <c:pt idx="46549">
                  <c:v>60740</c:v>
                </c:pt>
                <c:pt idx="46550">
                  <c:v>49730</c:v>
                </c:pt>
                <c:pt idx="46551">
                  <c:v>36145</c:v>
                </c:pt>
                <c:pt idx="46552">
                  <c:v>36736</c:v>
                </c:pt>
                <c:pt idx="46553">
                  <c:v>77833</c:v>
                </c:pt>
                <c:pt idx="46554">
                  <c:v>35967</c:v>
                </c:pt>
                <c:pt idx="46555">
                  <c:v>29168</c:v>
                </c:pt>
                <c:pt idx="46556">
                  <c:v>34611</c:v>
                </c:pt>
                <c:pt idx="46557">
                  <c:v>121852</c:v>
                </c:pt>
                <c:pt idx="46558">
                  <c:v>44171</c:v>
                </c:pt>
                <c:pt idx="46559">
                  <c:v>44972</c:v>
                </c:pt>
                <c:pt idx="46560">
                  <c:v>35609</c:v>
                </c:pt>
                <c:pt idx="46561">
                  <c:v>47445</c:v>
                </c:pt>
                <c:pt idx="46562">
                  <c:v>31500</c:v>
                </c:pt>
                <c:pt idx="46563">
                  <c:v>41845</c:v>
                </c:pt>
                <c:pt idx="46564">
                  <c:v>38392</c:v>
                </c:pt>
                <c:pt idx="46565">
                  <c:v>153461</c:v>
                </c:pt>
                <c:pt idx="46566">
                  <c:v>33526</c:v>
                </c:pt>
                <c:pt idx="46567">
                  <c:v>71235</c:v>
                </c:pt>
                <c:pt idx="46568">
                  <c:v>59379</c:v>
                </c:pt>
                <c:pt idx="46569">
                  <c:v>69774</c:v>
                </c:pt>
                <c:pt idx="46570">
                  <c:v>32391</c:v>
                </c:pt>
                <c:pt idx="46571">
                  <c:v>24758</c:v>
                </c:pt>
                <c:pt idx="46572">
                  <c:v>35942</c:v>
                </c:pt>
                <c:pt idx="46573">
                  <c:v>23389</c:v>
                </c:pt>
                <c:pt idx="46574">
                  <c:v>99344</c:v>
                </c:pt>
                <c:pt idx="46575">
                  <c:v>31184</c:v>
                </c:pt>
                <c:pt idx="46576">
                  <c:v>32552</c:v>
                </c:pt>
                <c:pt idx="46577">
                  <c:v>80801</c:v>
                </c:pt>
                <c:pt idx="46578">
                  <c:v>48542</c:v>
                </c:pt>
                <c:pt idx="46579">
                  <c:v>69220</c:v>
                </c:pt>
                <c:pt idx="46580">
                  <c:v>36647</c:v>
                </c:pt>
                <c:pt idx="46581">
                  <c:v>63365</c:v>
                </c:pt>
                <c:pt idx="46582">
                  <c:v>41827</c:v>
                </c:pt>
                <c:pt idx="46583">
                  <c:v>42605</c:v>
                </c:pt>
                <c:pt idx="46584">
                  <c:v>107430</c:v>
                </c:pt>
                <c:pt idx="46585">
                  <c:v>56925</c:v>
                </c:pt>
                <c:pt idx="46586">
                  <c:v>115121</c:v>
                </c:pt>
                <c:pt idx="46587">
                  <c:v>42603</c:v>
                </c:pt>
                <c:pt idx="46588">
                  <c:v>23787</c:v>
                </c:pt>
                <c:pt idx="46589">
                  <c:v>58158</c:v>
                </c:pt>
                <c:pt idx="46590">
                  <c:v>48332</c:v>
                </c:pt>
                <c:pt idx="46591">
                  <c:v>24370</c:v>
                </c:pt>
                <c:pt idx="46592">
                  <c:v>36131</c:v>
                </c:pt>
                <c:pt idx="46593">
                  <c:v>45818</c:v>
                </c:pt>
                <c:pt idx="46594">
                  <c:v>57004</c:v>
                </c:pt>
                <c:pt idx="46595">
                  <c:v>221882</c:v>
                </c:pt>
                <c:pt idx="46596">
                  <c:v>84113</c:v>
                </c:pt>
                <c:pt idx="46597">
                  <c:v>25751</c:v>
                </c:pt>
                <c:pt idx="46598">
                  <c:v>46317</c:v>
                </c:pt>
                <c:pt idx="46599">
                  <c:v>37533</c:v>
                </c:pt>
                <c:pt idx="46600">
                  <c:v>96994</c:v>
                </c:pt>
                <c:pt idx="46601">
                  <c:v>89221</c:v>
                </c:pt>
                <c:pt idx="46602">
                  <c:v>44824</c:v>
                </c:pt>
                <c:pt idx="46603">
                  <c:v>35481</c:v>
                </c:pt>
                <c:pt idx="46604">
                  <c:v>37318</c:v>
                </c:pt>
                <c:pt idx="46605">
                  <c:v>47135</c:v>
                </c:pt>
                <c:pt idx="46606">
                  <c:v>103548</c:v>
                </c:pt>
                <c:pt idx="46607">
                  <c:v>29337</c:v>
                </c:pt>
                <c:pt idx="46608">
                  <c:v>24862</c:v>
                </c:pt>
                <c:pt idx="46609">
                  <c:v>75189</c:v>
                </c:pt>
                <c:pt idx="46610">
                  <c:v>71720</c:v>
                </c:pt>
                <c:pt idx="46611">
                  <c:v>40061</c:v>
                </c:pt>
                <c:pt idx="46612">
                  <c:v>90154</c:v>
                </c:pt>
                <c:pt idx="46613">
                  <c:v>62086</c:v>
                </c:pt>
                <c:pt idx="46614">
                  <c:v>46294</c:v>
                </c:pt>
                <c:pt idx="46615">
                  <c:v>74282</c:v>
                </c:pt>
                <c:pt idx="46616">
                  <c:v>31046</c:v>
                </c:pt>
                <c:pt idx="46617">
                  <c:v>35314</c:v>
                </c:pt>
                <c:pt idx="46618">
                  <c:v>134269</c:v>
                </c:pt>
                <c:pt idx="46619">
                  <c:v>96025</c:v>
                </c:pt>
                <c:pt idx="46620">
                  <c:v>27167</c:v>
                </c:pt>
                <c:pt idx="46621">
                  <c:v>25402</c:v>
                </c:pt>
                <c:pt idx="46622">
                  <c:v>30821</c:v>
                </c:pt>
                <c:pt idx="46623">
                  <c:v>44768</c:v>
                </c:pt>
                <c:pt idx="46624">
                  <c:v>44034</c:v>
                </c:pt>
                <c:pt idx="46625">
                  <c:v>29881</c:v>
                </c:pt>
                <c:pt idx="46626">
                  <c:v>93192</c:v>
                </c:pt>
                <c:pt idx="46627">
                  <c:v>27091</c:v>
                </c:pt>
                <c:pt idx="46628">
                  <c:v>207262</c:v>
                </c:pt>
                <c:pt idx="46629">
                  <c:v>46787</c:v>
                </c:pt>
                <c:pt idx="46630">
                  <c:v>52912</c:v>
                </c:pt>
                <c:pt idx="46631">
                  <c:v>41042</c:v>
                </c:pt>
                <c:pt idx="46632">
                  <c:v>30018</c:v>
                </c:pt>
                <c:pt idx="46633">
                  <c:v>33929</c:v>
                </c:pt>
                <c:pt idx="46634">
                  <c:v>40333</c:v>
                </c:pt>
                <c:pt idx="46635">
                  <c:v>58637</c:v>
                </c:pt>
                <c:pt idx="46636">
                  <c:v>158864</c:v>
                </c:pt>
                <c:pt idx="46637">
                  <c:v>56189</c:v>
                </c:pt>
                <c:pt idx="46638">
                  <c:v>23631</c:v>
                </c:pt>
                <c:pt idx="46639">
                  <c:v>65319</c:v>
                </c:pt>
                <c:pt idx="46640">
                  <c:v>94831</c:v>
                </c:pt>
                <c:pt idx="46641">
                  <c:v>130984</c:v>
                </c:pt>
                <c:pt idx="46642">
                  <c:v>33178</c:v>
                </c:pt>
                <c:pt idx="46643">
                  <c:v>47119</c:v>
                </c:pt>
                <c:pt idx="46644">
                  <c:v>78355</c:v>
                </c:pt>
                <c:pt idx="46645">
                  <c:v>141102</c:v>
                </c:pt>
                <c:pt idx="46646">
                  <c:v>32572</c:v>
                </c:pt>
                <c:pt idx="46647">
                  <c:v>78774</c:v>
                </c:pt>
                <c:pt idx="46648">
                  <c:v>23923</c:v>
                </c:pt>
                <c:pt idx="46649">
                  <c:v>45673</c:v>
                </c:pt>
                <c:pt idx="46650">
                  <c:v>22554</c:v>
                </c:pt>
                <c:pt idx="46651">
                  <c:v>85010</c:v>
                </c:pt>
                <c:pt idx="46652">
                  <c:v>75571</c:v>
                </c:pt>
                <c:pt idx="46653">
                  <c:v>27596</c:v>
                </c:pt>
                <c:pt idx="46654">
                  <c:v>41851</c:v>
                </c:pt>
                <c:pt idx="46655">
                  <c:v>28879</c:v>
                </c:pt>
                <c:pt idx="46656">
                  <c:v>153764</c:v>
                </c:pt>
                <c:pt idx="46657">
                  <c:v>79027</c:v>
                </c:pt>
                <c:pt idx="46658">
                  <c:v>24267</c:v>
                </c:pt>
                <c:pt idx="46659">
                  <c:v>290661</c:v>
                </c:pt>
                <c:pt idx="46660">
                  <c:v>29824</c:v>
                </c:pt>
                <c:pt idx="46661">
                  <c:v>116616</c:v>
                </c:pt>
                <c:pt idx="46662">
                  <c:v>55651</c:v>
                </c:pt>
                <c:pt idx="46663">
                  <c:v>44318</c:v>
                </c:pt>
                <c:pt idx="46664">
                  <c:v>47964</c:v>
                </c:pt>
                <c:pt idx="46665">
                  <c:v>115257</c:v>
                </c:pt>
                <c:pt idx="46666">
                  <c:v>26746</c:v>
                </c:pt>
                <c:pt idx="46667">
                  <c:v>252424</c:v>
                </c:pt>
                <c:pt idx="46668">
                  <c:v>174033</c:v>
                </c:pt>
                <c:pt idx="46669">
                  <c:v>58356</c:v>
                </c:pt>
                <c:pt idx="46670">
                  <c:v>25942</c:v>
                </c:pt>
                <c:pt idx="46671">
                  <c:v>193069</c:v>
                </c:pt>
                <c:pt idx="46672">
                  <c:v>53597</c:v>
                </c:pt>
                <c:pt idx="46673">
                  <c:v>152374</c:v>
                </c:pt>
                <c:pt idx="46674">
                  <c:v>69599</c:v>
                </c:pt>
                <c:pt idx="46675">
                  <c:v>44490</c:v>
                </c:pt>
                <c:pt idx="46676">
                  <c:v>145587</c:v>
                </c:pt>
                <c:pt idx="46677">
                  <c:v>25073</c:v>
                </c:pt>
                <c:pt idx="46678">
                  <c:v>29048</c:v>
                </c:pt>
                <c:pt idx="46679">
                  <c:v>35867</c:v>
                </c:pt>
                <c:pt idx="46680">
                  <c:v>30429</c:v>
                </c:pt>
                <c:pt idx="46681">
                  <c:v>67102</c:v>
                </c:pt>
                <c:pt idx="46682">
                  <c:v>50370</c:v>
                </c:pt>
                <c:pt idx="46683">
                  <c:v>27806</c:v>
                </c:pt>
                <c:pt idx="46684">
                  <c:v>156814</c:v>
                </c:pt>
                <c:pt idx="46685">
                  <c:v>48927</c:v>
                </c:pt>
                <c:pt idx="46686">
                  <c:v>28820</c:v>
                </c:pt>
                <c:pt idx="46687">
                  <c:v>123764</c:v>
                </c:pt>
                <c:pt idx="46688">
                  <c:v>27211</c:v>
                </c:pt>
                <c:pt idx="46689">
                  <c:v>31691</c:v>
                </c:pt>
                <c:pt idx="46690">
                  <c:v>36020</c:v>
                </c:pt>
                <c:pt idx="46691">
                  <c:v>84786</c:v>
                </c:pt>
                <c:pt idx="46692">
                  <c:v>41741</c:v>
                </c:pt>
                <c:pt idx="46693">
                  <c:v>43354</c:v>
                </c:pt>
                <c:pt idx="46694">
                  <c:v>28216</c:v>
                </c:pt>
                <c:pt idx="46695">
                  <c:v>32357</c:v>
                </c:pt>
                <c:pt idx="46696">
                  <c:v>70855</c:v>
                </c:pt>
                <c:pt idx="46697">
                  <c:v>22977</c:v>
                </c:pt>
                <c:pt idx="46698">
                  <c:v>122458</c:v>
                </c:pt>
                <c:pt idx="46699">
                  <c:v>34913</c:v>
                </c:pt>
                <c:pt idx="46700">
                  <c:v>62678</c:v>
                </c:pt>
                <c:pt idx="46701">
                  <c:v>32988</c:v>
                </c:pt>
                <c:pt idx="46702">
                  <c:v>24246</c:v>
                </c:pt>
                <c:pt idx="46703">
                  <c:v>35914</c:v>
                </c:pt>
                <c:pt idx="46704">
                  <c:v>39796</c:v>
                </c:pt>
                <c:pt idx="46705">
                  <c:v>73188</c:v>
                </c:pt>
                <c:pt idx="46706">
                  <c:v>24651</c:v>
                </c:pt>
                <c:pt idx="46707">
                  <c:v>49639</c:v>
                </c:pt>
                <c:pt idx="46708">
                  <c:v>39569</c:v>
                </c:pt>
                <c:pt idx="46709">
                  <c:v>26630</c:v>
                </c:pt>
                <c:pt idx="46710">
                  <c:v>22652</c:v>
                </c:pt>
                <c:pt idx="46711">
                  <c:v>29384</c:v>
                </c:pt>
                <c:pt idx="46712">
                  <c:v>51749</c:v>
                </c:pt>
                <c:pt idx="46713">
                  <c:v>31816</c:v>
                </c:pt>
                <c:pt idx="46714">
                  <c:v>44958</c:v>
                </c:pt>
                <c:pt idx="46715">
                  <c:v>24164</c:v>
                </c:pt>
                <c:pt idx="46716">
                  <c:v>38396</c:v>
                </c:pt>
                <c:pt idx="46717">
                  <c:v>29031</c:v>
                </c:pt>
                <c:pt idx="46718">
                  <c:v>114772</c:v>
                </c:pt>
                <c:pt idx="46719">
                  <c:v>29377</c:v>
                </c:pt>
                <c:pt idx="46720">
                  <c:v>25273</c:v>
                </c:pt>
                <c:pt idx="46721">
                  <c:v>84741</c:v>
                </c:pt>
                <c:pt idx="46722">
                  <c:v>82033</c:v>
                </c:pt>
                <c:pt idx="46723">
                  <c:v>34266</c:v>
                </c:pt>
                <c:pt idx="46724">
                  <c:v>24286</c:v>
                </c:pt>
                <c:pt idx="46725">
                  <c:v>34827</c:v>
                </c:pt>
                <c:pt idx="46726">
                  <c:v>30103</c:v>
                </c:pt>
                <c:pt idx="46727">
                  <c:v>28703</c:v>
                </c:pt>
                <c:pt idx="46728">
                  <c:v>43852</c:v>
                </c:pt>
                <c:pt idx="46729">
                  <c:v>26421</c:v>
                </c:pt>
                <c:pt idx="46730">
                  <c:v>63334</c:v>
                </c:pt>
                <c:pt idx="46731">
                  <c:v>43801</c:v>
                </c:pt>
                <c:pt idx="46732">
                  <c:v>21502</c:v>
                </c:pt>
                <c:pt idx="46733">
                  <c:v>51530</c:v>
                </c:pt>
                <c:pt idx="46734">
                  <c:v>27275</c:v>
                </c:pt>
                <c:pt idx="46735">
                  <c:v>63116</c:v>
                </c:pt>
                <c:pt idx="46736">
                  <c:v>23675</c:v>
                </c:pt>
                <c:pt idx="46737">
                  <c:v>24213</c:v>
                </c:pt>
                <c:pt idx="46738">
                  <c:v>57582</c:v>
                </c:pt>
                <c:pt idx="46739">
                  <c:v>49177</c:v>
                </c:pt>
                <c:pt idx="46740">
                  <c:v>47262</c:v>
                </c:pt>
                <c:pt idx="46741">
                  <c:v>64733</c:v>
                </c:pt>
                <c:pt idx="46742">
                  <c:v>297985</c:v>
                </c:pt>
                <c:pt idx="46743">
                  <c:v>38988</c:v>
                </c:pt>
                <c:pt idx="46744">
                  <c:v>39331</c:v>
                </c:pt>
                <c:pt idx="46745">
                  <c:v>40106</c:v>
                </c:pt>
                <c:pt idx="46746">
                  <c:v>44681</c:v>
                </c:pt>
                <c:pt idx="46747">
                  <c:v>47078</c:v>
                </c:pt>
                <c:pt idx="46748">
                  <c:v>83126</c:v>
                </c:pt>
                <c:pt idx="46749">
                  <c:v>54809</c:v>
                </c:pt>
                <c:pt idx="46750">
                  <c:v>36252</c:v>
                </c:pt>
                <c:pt idx="46751">
                  <c:v>34834</c:v>
                </c:pt>
                <c:pt idx="46752">
                  <c:v>30849</c:v>
                </c:pt>
                <c:pt idx="46753">
                  <c:v>40580</c:v>
                </c:pt>
                <c:pt idx="46754">
                  <c:v>37867</c:v>
                </c:pt>
                <c:pt idx="46755">
                  <c:v>19043</c:v>
                </c:pt>
                <c:pt idx="46756">
                  <c:v>23239</c:v>
                </c:pt>
                <c:pt idx="46757">
                  <c:v>83207</c:v>
                </c:pt>
                <c:pt idx="46758">
                  <c:v>30872</c:v>
                </c:pt>
                <c:pt idx="46759">
                  <c:v>46547</c:v>
                </c:pt>
                <c:pt idx="46760">
                  <c:v>32991</c:v>
                </c:pt>
                <c:pt idx="46761">
                  <c:v>42755</c:v>
                </c:pt>
                <c:pt idx="46762">
                  <c:v>31242</c:v>
                </c:pt>
                <c:pt idx="46763">
                  <c:v>50374</c:v>
                </c:pt>
                <c:pt idx="46764">
                  <c:v>55382</c:v>
                </c:pt>
                <c:pt idx="46765">
                  <c:v>172052</c:v>
                </c:pt>
                <c:pt idx="46766">
                  <c:v>39119</c:v>
                </c:pt>
                <c:pt idx="46767">
                  <c:v>27995</c:v>
                </c:pt>
                <c:pt idx="46768">
                  <c:v>20739</c:v>
                </c:pt>
                <c:pt idx="46769">
                  <c:v>35938</c:v>
                </c:pt>
                <c:pt idx="46770">
                  <c:v>27455</c:v>
                </c:pt>
                <c:pt idx="46771">
                  <c:v>44640</c:v>
                </c:pt>
                <c:pt idx="46772">
                  <c:v>24131</c:v>
                </c:pt>
                <c:pt idx="46773">
                  <c:v>27502</c:v>
                </c:pt>
                <c:pt idx="46774">
                  <c:v>43797</c:v>
                </c:pt>
                <c:pt idx="46775">
                  <c:v>46046</c:v>
                </c:pt>
                <c:pt idx="46776">
                  <c:v>50470</c:v>
                </c:pt>
                <c:pt idx="46777">
                  <c:v>93258</c:v>
                </c:pt>
                <c:pt idx="46778">
                  <c:v>38397</c:v>
                </c:pt>
                <c:pt idx="46779">
                  <c:v>62940</c:v>
                </c:pt>
                <c:pt idx="46780">
                  <c:v>86119</c:v>
                </c:pt>
                <c:pt idx="46781">
                  <c:v>23231</c:v>
                </c:pt>
                <c:pt idx="46782">
                  <c:v>44046</c:v>
                </c:pt>
                <c:pt idx="46783">
                  <c:v>85000</c:v>
                </c:pt>
                <c:pt idx="46784">
                  <c:v>66668</c:v>
                </c:pt>
                <c:pt idx="46785">
                  <c:v>25181</c:v>
                </c:pt>
                <c:pt idx="46786">
                  <c:v>176405</c:v>
                </c:pt>
                <c:pt idx="46787">
                  <c:v>29515</c:v>
                </c:pt>
                <c:pt idx="46788">
                  <c:v>104053</c:v>
                </c:pt>
                <c:pt idx="46789">
                  <c:v>179013</c:v>
                </c:pt>
                <c:pt idx="46790">
                  <c:v>30719</c:v>
                </c:pt>
                <c:pt idx="46791">
                  <c:v>23837</c:v>
                </c:pt>
                <c:pt idx="46792">
                  <c:v>23647</c:v>
                </c:pt>
                <c:pt idx="46793">
                  <c:v>29312</c:v>
                </c:pt>
                <c:pt idx="46794">
                  <c:v>66135</c:v>
                </c:pt>
                <c:pt idx="46795">
                  <c:v>42283</c:v>
                </c:pt>
                <c:pt idx="46796">
                  <c:v>120240</c:v>
                </c:pt>
                <c:pt idx="46797">
                  <c:v>87243</c:v>
                </c:pt>
                <c:pt idx="46798">
                  <c:v>66681</c:v>
                </c:pt>
                <c:pt idx="46799">
                  <c:v>73502</c:v>
                </c:pt>
                <c:pt idx="46800">
                  <c:v>47194</c:v>
                </c:pt>
                <c:pt idx="46801">
                  <c:v>34926</c:v>
                </c:pt>
                <c:pt idx="46802">
                  <c:v>26833</c:v>
                </c:pt>
                <c:pt idx="46803">
                  <c:v>70031</c:v>
                </c:pt>
                <c:pt idx="46804">
                  <c:v>64656</c:v>
                </c:pt>
                <c:pt idx="46805">
                  <c:v>26045</c:v>
                </c:pt>
                <c:pt idx="46806">
                  <c:v>60046</c:v>
                </c:pt>
                <c:pt idx="46807">
                  <c:v>169392</c:v>
                </c:pt>
                <c:pt idx="46808">
                  <c:v>119770</c:v>
                </c:pt>
                <c:pt idx="46809">
                  <c:v>104467</c:v>
                </c:pt>
                <c:pt idx="46810">
                  <c:v>24791</c:v>
                </c:pt>
                <c:pt idx="46811">
                  <c:v>69971</c:v>
                </c:pt>
                <c:pt idx="46812">
                  <c:v>41767</c:v>
                </c:pt>
                <c:pt idx="46813">
                  <c:v>45478</c:v>
                </c:pt>
                <c:pt idx="46814">
                  <c:v>85342</c:v>
                </c:pt>
                <c:pt idx="46815">
                  <c:v>28226</c:v>
                </c:pt>
                <c:pt idx="46816">
                  <c:v>125735</c:v>
                </c:pt>
                <c:pt idx="46817">
                  <c:v>77266</c:v>
                </c:pt>
                <c:pt idx="46818">
                  <c:v>48886</c:v>
                </c:pt>
                <c:pt idx="46819">
                  <c:v>80172</c:v>
                </c:pt>
                <c:pt idx="46820">
                  <c:v>30996</c:v>
                </c:pt>
                <c:pt idx="46821">
                  <c:v>45965</c:v>
                </c:pt>
                <c:pt idx="46822">
                  <c:v>63352</c:v>
                </c:pt>
                <c:pt idx="46823">
                  <c:v>50274</c:v>
                </c:pt>
                <c:pt idx="46824">
                  <c:v>59834</c:v>
                </c:pt>
                <c:pt idx="46825">
                  <c:v>113751</c:v>
                </c:pt>
                <c:pt idx="46826">
                  <c:v>50017</c:v>
                </c:pt>
                <c:pt idx="46827">
                  <c:v>15000</c:v>
                </c:pt>
                <c:pt idx="46828">
                  <c:v>46571</c:v>
                </c:pt>
                <c:pt idx="46829">
                  <c:v>32815</c:v>
                </c:pt>
                <c:pt idx="46830">
                  <c:v>25790</c:v>
                </c:pt>
                <c:pt idx="46831">
                  <c:v>30480</c:v>
                </c:pt>
                <c:pt idx="46832">
                  <c:v>48370</c:v>
                </c:pt>
                <c:pt idx="46833">
                  <c:v>49557</c:v>
                </c:pt>
                <c:pt idx="46834">
                  <c:v>33139</c:v>
                </c:pt>
                <c:pt idx="46835">
                  <c:v>35017</c:v>
                </c:pt>
                <c:pt idx="46836">
                  <c:v>58926</c:v>
                </c:pt>
                <c:pt idx="46837">
                  <c:v>43400</c:v>
                </c:pt>
                <c:pt idx="46838">
                  <c:v>224150</c:v>
                </c:pt>
                <c:pt idx="46839">
                  <c:v>117525</c:v>
                </c:pt>
                <c:pt idx="46840">
                  <c:v>54601</c:v>
                </c:pt>
                <c:pt idx="46841">
                  <c:v>48499</c:v>
                </c:pt>
                <c:pt idx="46842">
                  <c:v>74002</c:v>
                </c:pt>
                <c:pt idx="46843">
                  <c:v>33134</c:v>
                </c:pt>
                <c:pt idx="46844">
                  <c:v>61509</c:v>
                </c:pt>
                <c:pt idx="46845">
                  <c:v>328436</c:v>
                </c:pt>
                <c:pt idx="46846">
                  <c:v>75584</c:v>
                </c:pt>
                <c:pt idx="46847">
                  <c:v>28124</c:v>
                </c:pt>
                <c:pt idx="46848">
                  <c:v>32556</c:v>
                </c:pt>
                <c:pt idx="46849">
                  <c:v>24150</c:v>
                </c:pt>
                <c:pt idx="46850">
                  <c:v>33384</c:v>
                </c:pt>
                <c:pt idx="46851">
                  <c:v>22882</c:v>
                </c:pt>
                <c:pt idx="46852">
                  <c:v>42325</c:v>
                </c:pt>
                <c:pt idx="46853">
                  <c:v>25565</c:v>
                </c:pt>
                <c:pt idx="46854">
                  <c:v>192948</c:v>
                </c:pt>
                <c:pt idx="46855">
                  <c:v>44193</c:v>
                </c:pt>
                <c:pt idx="46856">
                  <c:v>25086</c:v>
                </c:pt>
                <c:pt idx="46857">
                  <c:v>26014</c:v>
                </c:pt>
                <c:pt idx="46858">
                  <c:v>22098</c:v>
                </c:pt>
                <c:pt idx="46859">
                  <c:v>91111</c:v>
                </c:pt>
                <c:pt idx="46860">
                  <c:v>77852</c:v>
                </c:pt>
                <c:pt idx="46861">
                  <c:v>31212</c:v>
                </c:pt>
                <c:pt idx="46862">
                  <c:v>26453</c:v>
                </c:pt>
                <c:pt idx="46863">
                  <c:v>108058</c:v>
                </c:pt>
                <c:pt idx="46864">
                  <c:v>65698</c:v>
                </c:pt>
                <c:pt idx="46865">
                  <c:v>69280</c:v>
                </c:pt>
                <c:pt idx="46866">
                  <c:v>113744</c:v>
                </c:pt>
                <c:pt idx="46867">
                  <c:v>34439</c:v>
                </c:pt>
                <c:pt idx="46868">
                  <c:v>65872</c:v>
                </c:pt>
                <c:pt idx="46869">
                  <c:v>36251</c:v>
                </c:pt>
                <c:pt idx="46870">
                  <c:v>68388</c:v>
                </c:pt>
                <c:pt idx="46871">
                  <c:v>31419</c:v>
                </c:pt>
                <c:pt idx="46872">
                  <c:v>46942</c:v>
                </c:pt>
                <c:pt idx="46873">
                  <c:v>26415</c:v>
                </c:pt>
                <c:pt idx="46874">
                  <c:v>76966</c:v>
                </c:pt>
                <c:pt idx="46875">
                  <c:v>142131</c:v>
                </c:pt>
                <c:pt idx="46876">
                  <c:v>39308</c:v>
                </c:pt>
                <c:pt idx="46877">
                  <c:v>45478</c:v>
                </c:pt>
                <c:pt idx="46878">
                  <c:v>150152</c:v>
                </c:pt>
                <c:pt idx="46879">
                  <c:v>84308</c:v>
                </c:pt>
                <c:pt idx="46880">
                  <c:v>38248</c:v>
                </c:pt>
                <c:pt idx="46881">
                  <c:v>26915</c:v>
                </c:pt>
                <c:pt idx="46882">
                  <c:v>53567</c:v>
                </c:pt>
                <c:pt idx="46883">
                  <c:v>38354</c:v>
                </c:pt>
                <c:pt idx="46884">
                  <c:v>31460</c:v>
                </c:pt>
                <c:pt idx="46885">
                  <c:v>66464</c:v>
                </c:pt>
                <c:pt idx="46886">
                  <c:v>37472</c:v>
                </c:pt>
                <c:pt idx="46887">
                  <c:v>32263</c:v>
                </c:pt>
                <c:pt idx="46888">
                  <c:v>47185</c:v>
                </c:pt>
                <c:pt idx="46889">
                  <c:v>35809</c:v>
                </c:pt>
                <c:pt idx="46890">
                  <c:v>44615</c:v>
                </c:pt>
                <c:pt idx="46891">
                  <c:v>23338</c:v>
                </c:pt>
                <c:pt idx="46892">
                  <c:v>34564</c:v>
                </c:pt>
                <c:pt idx="46893">
                  <c:v>128438</c:v>
                </c:pt>
                <c:pt idx="46894">
                  <c:v>24809</c:v>
                </c:pt>
                <c:pt idx="46895">
                  <c:v>28901</c:v>
                </c:pt>
                <c:pt idx="46896">
                  <c:v>30020</c:v>
                </c:pt>
                <c:pt idx="46897">
                  <c:v>47908</c:v>
                </c:pt>
                <c:pt idx="46898">
                  <c:v>34211</c:v>
                </c:pt>
                <c:pt idx="46899">
                  <c:v>51769</c:v>
                </c:pt>
                <c:pt idx="46900">
                  <c:v>28015</c:v>
                </c:pt>
                <c:pt idx="46901">
                  <c:v>35557</c:v>
                </c:pt>
                <c:pt idx="46902">
                  <c:v>24571</c:v>
                </c:pt>
                <c:pt idx="46903">
                  <c:v>86290</c:v>
                </c:pt>
                <c:pt idx="46904">
                  <c:v>27081</c:v>
                </c:pt>
                <c:pt idx="46905">
                  <c:v>114434</c:v>
                </c:pt>
                <c:pt idx="46906">
                  <c:v>27337</c:v>
                </c:pt>
                <c:pt idx="46907">
                  <c:v>198864</c:v>
                </c:pt>
                <c:pt idx="46908">
                  <c:v>35452</c:v>
                </c:pt>
                <c:pt idx="46909">
                  <c:v>33569</c:v>
                </c:pt>
                <c:pt idx="46910">
                  <c:v>24952</c:v>
                </c:pt>
                <c:pt idx="46911">
                  <c:v>154024</c:v>
                </c:pt>
                <c:pt idx="46912">
                  <c:v>38487</c:v>
                </c:pt>
                <c:pt idx="46913">
                  <c:v>32904</c:v>
                </c:pt>
                <c:pt idx="46914">
                  <c:v>32814</c:v>
                </c:pt>
                <c:pt idx="46915">
                  <c:v>23965</c:v>
                </c:pt>
                <c:pt idx="46916">
                  <c:v>19408</c:v>
                </c:pt>
                <c:pt idx="46917">
                  <c:v>178988</c:v>
                </c:pt>
                <c:pt idx="46918">
                  <c:v>101634</c:v>
                </c:pt>
                <c:pt idx="46919">
                  <c:v>54257</c:v>
                </c:pt>
                <c:pt idx="46920">
                  <c:v>40391</c:v>
                </c:pt>
                <c:pt idx="46921">
                  <c:v>32138</c:v>
                </c:pt>
                <c:pt idx="46922">
                  <c:v>137589</c:v>
                </c:pt>
                <c:pt idx="46923">
                  <c:v>20156</c:v>
                </c:pt>
                <c:pt idx="46924">
                  <c:v>39207</c:v>
                </c:pt>
                <c:pt idx="46925">
                  <c:v>199745</c:v>
                </c:pt>
                <c:pt idx="46926">
                  <c:v>131655</c:v>
                </c:pt>
                <c:pt idx="46927">
                  <c:v>181771</c:v>
                </c:pt>
                <c:pt idx="46928">
                  <c:v>39682</c:v>
                </c:pt>
                <c:pt idx="46929">
                  <c:v>40328</c:v>
                </c:pt>
                <c:pt idx="46930">
                  <c:v>85061</c:v>
                </c:pt>
                <c:pt idx="46931">
                  <c:v>36200</c:v>
                </c:pt>
                <c:pt idx="46932">
                  <c:v>25373</c:v>
                </c:pt>
                <c:pt idx="46933">
                  <c:v>47130</c:v>
                </c:pt>
                <c:pt idx="46934">
                  <c:v>52206</c:v>
                </c:pt>
                <c:pt idx="46935">
                  <c:v>34118</c:v>
                </c:pt>
                <c:pt idx="46936">
                  <c:v>37920</c:v>
                </c:pt>
                <c:pt idx="46937">
                  <c:v>35185</c:v>
                </c:pt>
                <c:pt idx="46938">
                  <c:v>56921</c:v>
                </c:pt>
                <c:pt idx="46939">
                  <c:v>120392</c:v>
                </c:pt>
                <c:pt idx="46940">
                  <c:v>58183</c:v>
                </c:pt>
                <c:pt idx="46941">
                  <c:v>50720</c:v>
                </c:pt>
                <c:pt idx="46942">
                  <c:v>39846</c:v>
                </c:pt>
                <c:pt idx="46943">
                  <c:v>145844</c:v>
                </c:pt>
                <c:pt idx="46944">
                  <c:v>54464</c:v>
                </c:pt>
                <c:pt idx="46945">
                  <c:v>44210</c:v>
                </c:pt>
                <c:pt idx="46946">
                  <c:v>48680</c:v>
                </c:pt>
                <c:pt idx="46947">
                  <c:v>46657</c:v>
                </c:pt>
                <c:pt idx="46948">
                  <c:v>73073</c:v>
                </c:pt>
                <c:pt idx="46949">
                  <c:v>131163</c:v>
                </c:pt>
                <c:pt idx="46950">
                  <c:v>112448</c:v>
                </c:pt>
                <c:pt idx="46951">
                  <c:v>56121</c:v>
                </c:pt>
                <c:pt idx="46952">
                  <c:v>190293</c:v>
                </c:pt>
                <c:pt idx="46953">
                  <c:v>29271</c:v>
                </c:pt>
                <c:pt idx="46954">
                  <c:v>105448</c:v>
                </c:pt>
                <c:pt idx="46955">
                  <c:v>108851</c:v>
                </c:pt>
                <c:pt idx="46956">
                  <c:v>92385</c:v>
                </c:pt>
                <c:pt idx="46957">
                  <c:v>27341</c:v>
                </c:pt>
                <c:pt idx="46958">
                  <c:v>50262</c:v>
                </c:pt>
                <c:pt idx="46959">
                  <c:v>37941</c:v>
                </c:pt>
                <c:pt idx="46960">
                  <c:v>22738</c:v>
                </c:pt>
                <c:pt idx="46961">
                  <c:v>42684</c:v>
                </c:pt>
                <c:pt idx="46962">
                  <c:v>91258</c:v>
                </c:pt>
                <c:pt idx="46963">
                  <c:v>29742</c:v>
                </c:pt>
                <c:pt idx="46964">
                  <c:v>49950</c:v>
                </c:pt>
                <c:pt idx="46965">
                  <c:v>35983</c:v>
                </c:pt>
                <c:pt idx="46966">
                  <c:v>45154</c:v>
                </c:pt>
                <c:pt idx="46967">
                  <c:v>25794</c:v>
                </c:pt>
                <c:pt idx="46968">
                  <c:v>79191</c:v>
                </c:pt>
                <c:pt idx="46969">
                  <c:v>27299</c:v>
                </c:pt>
                <c:pt idx="46970">
                  <c:v>75204</c:v>
                </c:pt>
                <c:pt idx="46971">
                  <c:v>137170</c:v>
                </c:pt>
                <c:pt idx="46972">
                  <c:v>81651</c:v>
                </c:pt>
                <c:pt idx="46973">
                  <c:v>36042</c:v>
                </c:pt>
                <c:pt idx="46974">
                  <c:v>63631</c:v>
                </c:pt>
                <c:pt idx="46975">
                  <c:v>41099</c:v>
                </c:pt>
                <c:pt idx="46976">
                  <c:v>37104</c:v>
                </c:pt>
                <c:pt idx="46977">
                  <c:v>39699</c:v>
                </c:pt>
                <c:pt idx="46978">
                  <c:v>56552</c:v>
                </c:pt>
                <c:pt idx="46979">
                  <c:v>91684</c:v>
                </c:pt>
                <c:pt idx="46980">
                  <c:v>28343</c:v>
                </c:pt>
                <c:pt idx="46981">
                  <c:v>52247</c:v>
                </c:pt>
                <c:pt idx="46982">
                  <c:v>70502</c:v>
                </c:pt>
                <c:pt idx="46983">
                  <c:v>28839</c:v>
                </c:pt>
                <c:pt idx="46984">
                  <c:v>36231</c:v>
                </c:pt>
                <c:pt idx="46985">
                  <c:v>42104</c:v>
                </c:pt>
                <c:pt idx="46986">
                  <c:v>109735</c:v>
                </c:pt>
                <c:pt idx="46987">
                  <c:v>26002</c:v>
                </c:pt>
                <c:pt idx="46988">
                  <c:v>82948</c:v>
                </c:pt>
                <c:pt idx="46989">
                  <c:v>34268</c:v>
                </c:pt>
                <c:pt idx="46990">
                  <c:v>44401</c:v>
                </c:pt>
                <c:pt idx="46991">
                  <c:v>36667</c:v>
                </c:pt>
                <c:pt idx="46992">
                  <c:v>32223</c:v>
                </c:pt>
                <c:pt idx="46993">
                  <c:v>52363</c:v>
                </c:pt>
                <c:pt idx="46994">
                  <c:v>43233</c:v>
                </c:pt>
                <c:pt idx="46995">
                  <c:v>53307</c:v>
                </c:pt>
                <c:pt idx="46996">
                  <c:v>44501</c:v>
                </c:pt>
                <c:pt idx="46997">
                  <c:v>25605</c:v>
                </c:pt>
                <c:pt idx="46998">
                  <c:v>98281</c:v>
                </c:pt>
                <c:pt idx="46999">
                  <c:v>47220</c:v>
                </c:pt>
                <c:pt idx="47000">
                  <c:v>35546</c:v>
                </c:pt>
                <c:pt idx="47001">
                  <c:v>43612</c:v>
                </c:pt>
                <c:pt idx="47002">
                  <c:v>51107</c:v>
                </c:pt>
                <c:pt idx="47003">
                  <c:v>71387</c:v>
                </c:pt>
                <c:pt idx="47004">
                  <c:v>27598</c:v>
                </c:pt>
                <c:pt idx="47005">
                  <c:v>54369</c:v>
                </c:pt>
                <c:pt idx="47006">
                  <c:v>49584</c:v>
                </c:pt>
                <c:pt idx="47007">
                  <c:v>43655</c:v>
                </c:pt>
                <c:pt idx="47008">
                  <c:v>31252</c:v>
                </c:pt>
                <c:pt idx="47009">
                  <c:v>83561</c:v>
                </c:pt>
                <c:pt idx="47010">
                  <c:v>207003</c:v>
                </c:pt>
                <c:pt idx="47011">
                  <c:v>153846</c:v>
                </c:pt>
                <c:pt idx="47012">
                  <c:v>29514</c:v>
                </c:pt>
                <c:pt idx="47013">
                  <c:v>25013</c:v>
                </c:pt>
                <c:pt idx="47014">
                  <c:v>24442</c:v>
                </c:pt>
                <c:pt idx="47015">
                  <c:v>136124</c:v>
                </c:pt>
                <c:pt idx="47016">
                  <c:v>67012</c:v>
                </c:pt>
                <c:pt idx="47017">
                  <c:v>55827</c:v>
                </c:pt>
                <c:pt idx="47018">
                  <c:v>43380</c:v>
                </c:pt>
                <c:pt idx="47019">
                  <c:v>22192</c:v>
                </c:pt>
                <c:pt idx="47020">
                  <c:v>94506</c:v>
                </c:pt>
                <c:pt idx="47021">
                  <c:v>42747</c:v>
                </c:pt>
                <c:pt idx="47022">
                  <c:v>49538</c:v>
                </c:pt>
                <c:pt idx="47023">
                  <c:v>76640</c:v>
                </c:pt>
                <c:pt idx="47024">
                  <c:v>425942</c:v>
                </c:pt>
                <c:pt idx="47025">
                  <c:v>84852</c:v>
                </c:pt>
                <c:pt idx="47026">
                  <c:v>24753</c:v>
                </c:pt>
                <c:pt idx="47027">
                  <c:v>106833</c:v>
                </c:pt>
                <c:pt idx="47028">
                  <c:v>37030</c:v>
                </c:pt>
                <c:pt idx="47029">
                  <c:v>39520</c:v>
                </c:pt>
                <c:pt idx="47030">
                  <c:v>33379</c:v>
                </c:pt>
                <c:pt idx="47031">
                  <c:v>43418</c:v>
                </c:pt>
                <c:pt idx="47032">
                  <c:v>42597</c:v>
                </c:pt>
                <c:pt idx="47033">
                  <c:v>23846</c:v>
                </c:pt>
                <c:pt idx="47034">
                  <c:v>60694</c:v>
                </c:pt>
                <c:pt idx="47035">
                  <c:v>34513</c:v>
                </c:pt>
                <c:pt idx="47036">
                  <c:v>49020</c:v>
                </c:pt>
                <c:pt idx="47037">
                  <c:v>145137</c:v>
                </c:pt>
                <c:pt idx="47038">
                  <c:v>38708</c:v>
                </c:pt>
                <c:pt idx="47039">
                  <c:v>132808</c:v>
                </c:pt>
                <c:pt idx="47040">
                  <c:v>49011</c:v>
                </c:pt>
                <c:pt idx="47041">
                  <c:v>79732</c:v>
                </c:pt>
                <c:pt idx="47042">
                  <c:v>33704</c:v>
                </c:pt>
                <c:pt idx="47043">
                  <c:v>37462</c:v>
                </c:pt>
                <c:pt idx="47044">
                  <c:v>42785</c:v>
                </c:pt>
                <c:pt idx="47045">
                  <c:v>36342</c:v>
                </c:pt>
                <c:pt idx="47046">
                  <c:v>37975</c:v>
                </c:pt>
                <c:pt idx="47047">
                  <c:v>32864</c:v>
                </c:pt>
                <c:pt idx="47048">
                  <c:v>96857</c:v>
                </c:pt>
                <c:pt idx="47049">
                  <c:v>26988</c:v>
                </c:pt>
                <c:pt idx="47050">
                  <c:v>52215</c:v>
                </c:pt>
                <c:pt idx="47051">
                  <c:v>27051</c:v>
                </c:pt>
                <c:pt idx="47052">
                  <c:v>70166</c:v>
                </c:pt>
                <c:pt idx="47053">
                  <c:v>28516</c:v>
                </c:pt>
                <c:pt idx="47054">
                  <c:v>49876</c:v>
                </c:pt>
                <c:pt idx="47055">
                  <c:v>347747</c:v>
                </c:pt>
                <c:pt idx="47056">
                  <c:v>36203</c:v>
                </c:pt>
                <c:pt idx="47057">
                  <c:v>50245</c:v>
                </c:pt>
                <c:pt idx="47058">
                  <c:v>49565</c:v>
                </c:pt>
                <c:pt idx="47059">
                  <c:v>32818</c:v>
                </c:pt>
                <c:pt idx="47060">
                  <c:v>40744</c:v>
                </c:pt>
                <c:pt idx="47061">
                  <c:v>46051</c:v>
                </c:pt>
                <c:pt idx="47062">
                  <c:v>41579</c:v>
                </c:pt>
                <c:pt idx="47063">
                  <c:v>107193</c:v>
                </c:pt>
                <c:pt idx="47064">
                  <c:v>229646</c:v>
                </c:pt>
                <c:pt idx="47065">
                  <c:v>58503</c:v>
                </c:pt>
                <c:pt idx="47066">
                  <c:v>89190</c:v>
                </c:pt>
                <c:pt idx="47067">
                  <c:v>33474</c:v>
                </c:pt>
                <c:pt idx="47068">
                  <c:v>67145</c:v>
                </c:pt>
                <c:pt idx="47069">
                  <c:v>27867</c:v>
                </c:pt>
                <c:pt idx="47070">
                  <c:v>27114</c:v>
                </c:pt>
                <c:pt idx="47071">
                  <c:v>29744</c:v>
                </c:pt>
                <c:pt idx="47072">
                  <c:v>41139</c:v>
                </c:pt>
                <c:pt idx="47073">
                  <c:v>164076</c:v>
                </c:pt>
                <c:pt idx="47074">
                  <c:v>36234</c:v>
                </c:pt>
                <c:pt idx="47075">
                  <c:v>59137</c:v>
                </c:pt>
                <c:pt idx="47076">
                  <c:v>241737</c:v>
                </c:pt>
                <c:pt idx="47077">
                  <c:v>25199</c:v>
                </c:pt>
                <c:pt idx="47078">
                  <c:v>35891</c:v>
                </c:pt>
                <c:pt idx="47079">
                  <c:v>39051</c:v>
                </c:pt>
                <c:pt idx="47080">
                  <c:v>49827</c:v>
                </c:pt>
                <c:pt idx="47081">
                  <c:v>54214</c:v>
                </c:pt>
                <c:pt idx="47082">
                  <c:v>33465</c:v>
                </c:pt>
                <c:pt idx="47083">
                  <c:v>35419</c:v>
                </c:pt>
                <c:pt idx="47084">
                  <c:v>28966</c:v>
                </c:pt>
                <c:pt idx="47085">
                  <c:v>37585</c:v>
                </c:pt>
                <c:pt idx="47086">
                  <c:v>26965</c:v>
                </c:pt>
                <c:pt idx="47087">
                  <c:v>58373</c:v>
                </c:pt>
                <c:pt idx="47088">
                  <c:v>48068</c:v>
                </c:pt>
                <c:pt idx="47089">
                  <c:v>75179</c:v>
                </c:pt>
                <c:pt idx="47090">
                  <c:v>34044</c:v>
                </c:pt>
                <c:pt idx="47091">
                  <c:v>45189</c:v>
                </c:pt>
                <c:pt idx="47092">
                  <c:v>34309</c:v>
                </c:pt>
                <c:pt idx="47093">
                  <c:v>88846</c:v>
                </c:pt>
                <c:pt idx="47094">
                  <c:v>202808</c:v>
                </c:pt>
                <c:pt idx="47095">
                  <c:v>36514</c:v>
                </c:pt>
                <c:pt idx="47096">
                  <c:v>29534</c:v>
                </c:pt>
                <c:pt idx="47097">
                  <c:v>98660</c:v>
                </c:pt>
                <c:pt idx="47098">
                  <c:v>94814</c:v>
                </c:pt>
                <c:pt idx="47099">
                  <c:v>51307</c:v>
                </c:pt>
                <c:pt idx="47100">
                  <c:v>54222</c:v>
                </c:pt>
                <c:pt idx="47101">
                  <c:v>44982</c:v>
                </c:pt>
                <c:pt idx="47102">
                  <c:v>167013</c:v>
                </c:pt>
                <c:pt idx="47103">
                  <c:v>32945</c:v>
                </c:pt>
                <c:pt idx="47104">
                  <c:v>350624</c:v>
                </c:pt>
                <c:pt idx="47105">
                  <c:v>102100</c:v>
                </c:pt>
                <c:pt idx="47106">
                  <c:v>44209</c:v>
                </c:pt>
                <c:pt idx="47107">
                  <c:v>255013</c:v>
                </c:pt>
                <c:pt idx="47108">
                  <c:v>29782</c:v>
                </c:pt>
                <c:pt idx="47109">
                  <c:v>60405</c:v>
                </c:pt>
                <c:pt idx="47110">
                  <c:v>46673</c:v>
                </c:pt>
                <c:pt idx="47111">
                  <c:v>69829</c:v>
                </c:pt>
                <c:pt idx="47112">
                  <c:v>32936</c:v>
                </c:pt>
                <c:pt idx="47113">
                  <c:v>28615</c:v>
                </c:pt>
                <c:pt idx="47114">
                  <c:v>49765</c:v>
                </c:pt>
                <c:pt idx="47115">
                  <c:v>79757</c:v>
                </c:pt>
                <c:pt idx="47116">
                  <c:v>126450</c:v>
                </c:pt>
                <c:pt idx="47117">
                  <c:v>60050</c:v>
                </c:pt>
                <c:pt idx="47118">
                  <c:v>38493</c:v>
                </c:pt>
                <c:pt idx="47119">
                  <c:v>22897</c:v>
                </c:pt>
                <c:pt idx="47120">
                  <c:v>33338</c:v>
                </c:pt>
                <c:pt idx="47121">
                  <c:v>41324</c:v>
                </c:pt>
                <c:pt idx="47122">
                  <c:v>38199</c:v>
                </c:pt>
                <c:pt idx="47123">
                  <c:v>126905</c:v>
                </c:pt>
                <c:pt idx="47124">
                  <c:v>74723</c:v>
                </c:pt>
                <c:pt idx="47125">
                  <c:v>40643</c:v>
                </c:pt>
                <c:pt idx="47126">
                  <c:v>29105</c:v>
                </c:pt>
                <c:pt idx="47127">
                  <c:v>189380</c:v>
                </c:pt>
                <c:pt idx="47128">
                  <c:v>26377</c:v>
                </c:pt>
                <c:pt idx="47129">
                  <c:v>37503</c:v>
                </c:pt>
                <c:pt idx="47130">
                  <c:v>36925</c:v>
                </c:pt>
                <c:pt idx="47131">
                  <c:v>38993</c:v>
                </c:pt>
                <c:pt idx="47132">
                  <c:v>227696</c:v>
                </c:pt>
                <c:pt idx="47133">
                  <c:v>44223</c:v>
                </c:pt>
                <c:pt idx="47134">
                  <c:v>48219</c:v>
                </c:pt>
                <c:pt idx="47135">
                  <c:v>82646</c:v>
                </c:pt>
                <c:pt idx="47136">
                  <c:v>37582</c:v>
                </c:pt>
                <c:pt idx="47137">
                  <c:v>52156</c:v>
                </c:pt>
                <c:pt idx="47138">
                  <c:v>151142</c:v>
                </c:pt>
                <c:pt idx="47139">
                  <c:v>39862</c:v>
                </c:pt>
                <c:pt idx="47140">
                  <c:v>24891</c:v>
                </c:pt>
                <c:pt idx="47141">
                  <c:v>60884</c:v>
                </c:pt>
                <c:pt idx="47142">
                  <c:v>40360</c:v>
                </c:pt>
                <c:pt idx="47143">
                  <c:v>90956</c:v>
                </c:pt>
                <c:pt idx="47144">
                  <c:v>42494</c:v>
                </c:pt>
                <c:pt idx="47145">
                  <c:v>36388</c:v>
                </c:pt>
                <c:pt idx="47146">
                  <c:v>354962</c:v>
                </c:pt>
                <c:pt idx="47147">
                  <c:v>135380</c:v>
                </c:pt>
                <c:pt idx="47148">
                  <c:v>157908</c:v>
                </c:pt>
                <c:pt idx="47149">
                  <c:v>51109</c:v>
                </c:pt>
                <c:pt idx="47150">
                  <c:v>40453</c:v>
                </c:pt>
                <c:pt idx="47151">
                  <c:v>61201</c:v>
                </c:pt>
                <c:pt idx="47152">
                  <c:v>29340</c:v>
                </c:pt>
                <c:pt idx="47153">
                  <c:v>141353</c:v>
                </c:pt>
                <c:pt idx="47154">
                  <c:v>33023</c:v>
                </c:pt>
                <c:pt idx="47155">
                  <c:v>99454</c:v>
                </c:pt>
                <c:pt idx="47156">
                  <c:v>48671</c:v>
                </c:pt>
                <c:pt idx="47157">
                  <c:v>26882</c:v>
                </c:pt>
                <c:pt idx="47158">
                  <c:v>54288</c:v>
                </c:pt>
                <c:pt idx="47159">
                  <c:v>42066</c:v>
                </c:pt>
                <c:pt idx="47160">
                  <c:v>22694</c:v>
                </c:pt>
                <c:pt idx="47161">
                  <c:v>46135</c:v>
                </c:pt>
                <c:pt idx="47162">
                  <c:v>34404</c:v>
                </c:pt>
                <c:pt idx="47163">
                  <c:v>105375</c:v>
                </c:pt>
                <c:pt idx="47164">
                  <c:v>37578</c:v>
                </c:pt>
                <c:pt idx="47165">
                  <c:v>110416</c:v>
                </c:pt>
                <c:pt idx="47166">
                  <c:v>80659</c:v>
                </c:pt>
                <c:pt idx="47167">
                  <c:v>27277</c:v>
                </c:pt>
                <c:pt idx="47168">
                  <c:v>30685</c:v>
                </c:pt>
                <c:pt idx="47169">
                  <c:v>41014</c:v>
                </c:pt>
                <c:pt idx="47170">
                  <c:v>41646</c:v>
                </c:pt>
                <c:pt idx="47171">
                  <c:v>38505</c:v>
                </c:pt>
                <c:pt idx="47172">
                  <c:v>33366</c:v>
                </c:pt>
                <c:pt idx="47173">
                  <c:v>26787</c:v>
                </c:pt>
                <c:pt idx="47174">
                  <c:v>25204</c:v>
                </c:pt>
                <c:pt idx="47175">
                  <c:v>35668</c:v>
                </c:pt>
                <c:pt idx="47176">
                  <c:v>24306</c:v>
                </c:pt>
                <c:pt idx="47177">
                  <c:v>22900</c:v>
                </c:pt>
                <c:pt idx="47178">
                  <c:v>37188</c:v>
                </c:pt>
                <c:pt idx="47179">
                  <c:v>42167</c:v>
                </c:pt>
                <c:pt idx="47180">
                  <c:v>35280</c:v>
                </c:pt>
                <c:pt idx="47181">
                  <c:v>72646</c:v>
                </c:pt>
                <c:pt idx="47182">
                  <c:v>36054</c:v>
                </c:pt>
                <c:pt idx="47183">
                  <c:v>188486</c:v>
                </c:pt>
                <c:pt idx="47184">
                  <c:v>47905</c:v>
                </c:pt>
                <c:pt idx="47185">
                  <c:v>92864</c:v>
                </c:pt>
                <c:pt idx="47186">
                  <c:v>39780</c:v>
                </c:pt>
                <c:pt idx="47187">
                  <c:v>38260</c:v>
                </c:pt>
                <c:pt idx="47188">
                  <c:v>38175</c:v>
                </c:pt>
                <c:pt idx="47189">
                  <c:v>50161</c:v>
                </c:pt>
                <c:pt idx="47190">
                  <c:v>31345</c:v>
                </c:pt>
                <c:pt idx="47191">
                  <c:v>65889</c:v>
                </c:pt>
                <c:pt idx="47192">
                  <c:v>89052</c:v>
                </c:pt>
                <c:pt idx="47193">
                  <c:v>56375</c:v>
                </c:pt>
                <c:pt idx="47194">
                  <c:v>33908</c:v>
                </c:pt>
                <c:pt idx="47195">
                  <c:v>31355</c:v>
                </c:pt>
                <c:pt idx="47196">
                  <c:v>26250</c:v>
                </c:pt>
                <c:pt idx="47197">
                  <c:v>22960</c:v>
                </c:pt>
                <c:pt idx="47198">
                  <c:v>101027</c:v>
                </c:pt>
                <c:pt idx="47199">
                  <c:v>91752</c:v>
                </c:pt>
                <c:pt idx="47200">
                  <c:v>240273</c:v>
                </c:pt>
                <c:pt idx="47201">
                  <c:v>185262</c:v>
                </c:pt>
                <c:pt idx="47202">
                  <c:v>23189</c:v>
                </c:pt>
                <c:pt idx="47203">
                  <c:v>37667</c:v>
                </c:pt>
                <c:pt idx="47204">
                  <c:v>53986</c:v>
                </c:pt>
                <c:pt idx="47205">
                  <c:v>32382</c:v>
                </c:pt>
                <c:pt idx="47206">
                  <c:v>27740</c:v>
                </c:pt>
                <c:pt idx="47207">
                  <c:v>23279</c:v>
                </c:pt>
                <c:pt idx="47208">
                  <c:v>134223</c:v>
                </c:pt>
                <c:pt idx="47209">
                  <c:v>36350</c:v>
                </c:pt>
                <c:pt idx="47210">
                  <c:v>115632</c:v>
                </c:pt>
                <c:pt idx="47211">
                  <c:v>206420</c:v>
                </c:pt>
                <c:pt idx="47212">
                  <c:v>114264</c:v>
                </c:pt>
                <c:pt idx="47213">
                  <c:v>384025</c:v>
                </c:pt>
                <c:pt idx="47214">
                  <c:v>37464</c:v>
                </c:pt>
                <c:pt idx="47215">
                  <c:v>30715</c:v>
                </c:pt>
                <c:pt idx="47216">
                  <c:v>214599</c:v>
                </c:pt>
                <c:pt idx="47217">
                  <c:v>81563</c:v>
                </c:pt>
                <c:pt idx="47218">
                  <c:v>30550</c:v>
                </c:pt>
                <c:pt idx="47219">
                  <c:v>32998</c:v>
                </c:pt>
                <c:pt idx="47220">
                  <c:v>24155</c:v>
                </c:pt>
                <c:pt idx="47221">
                  <c:v>35122</c:v>
                </c:pt>
                <c:pt idx="47222">
                  <c:v>109358</c:v>
                </c:pt>
                <c:pt idx="47223">
                  <c:v>22523</c:v>
                </c:pt>
                <c:pt idx="47224">
                  <c:v>23196</c:v>
                </c:pt>
                <c:pt idx="47225">
                  <c:v>53073</c:v>
                </c:pt>
                <c:pt idx="47226">
                  <c:v>35516</c:v>
                </c:pt>
                <c:pt idx="47227">
                  <c:v>44417</c:v>
                </c:pt>
                <c:pt idx="47228">
                  <c:v>30244</c:v>
                </c:pt>
                <c:pt idx="47229">
                  <c:v>24073</c:v>
                </c:pt>
                <c:pt idx="47230">
                  <c:v>38571</c:v>
                </c:pt>
                <c:pt idx="47231">
                  <c:v>62444</c:v>
                </c:pt>
                <c:pt idx="47232">
                  <c:v>21351</c:v>
                </c:pt>
                <c:pt idx="47233">
                  <c:v>31254</c:v>
                </c:pt>
                <c:pt idx="47234">
                  <c:v>25663</c:v>
                </c:pt>
                <c:pt idx="47235">
                  <c:v>32100</c:v>
                </c:pt>
                <c:pt idx="47236">
                  <c:v>125521</c:v>
                </c:pt>
                <c:pt idx="47237">
                  <c:v>56838</c:v>
                </c:pt>
                <c:pt idx="47238">
                  <c:v>108513</c:v>
                </c:pt>
                <c:pt idx="47239">
                  <c:v>35997</c:v>
                </c:pt>
                <c:pt idx="47240">
                  <c:v>24891</c:v>
                </c:pt>
                <c:pt idx="47241">
                  <c:v>35243</c:v>
                </c:pt>
                <c:pt idx="47242">
                  <c:v>33690</c:v>
                </c:pt>
                <c:pt idx="47243">
                  <c:v>22929</c:v>
                </c:pt>
                <c:pt idx="47244">
                  <c:v>24501</c:v>
                </c:pt>
                <c:pt idx="47245">
                  <c:v>72589</c:v>
                </c:pt>
                <c:pt idx="47246">
                  <c:v>37932</c:v>
                </c:pt>
                <c:pt idx="47247">
                  <c:v>47995</c:v>
                </c:pt>
                <c:pt idx="47248">
                  <c:v>29615</c:v>
                </c:pt>
                <c:pt idx="47249">
                  <c:v>46841</c:v>
                </c:pt>
                <c:pt idx="47250">
                  <c:v>41514</c:v>
                </c:pt>
                <c:pt idx="47251">
                  <c:v>47338</c:v>
                </c:pt>
                <c:pt idx="47252">
                  <c:v>35717</c:v>
                </c:pt>
                <c:pt idx="47253">
                  <c:v>48258</c:v>
                </c:pt>
                <c:pt idx="47254">
                  <c:v>71487</c:v>
                </c:pt>
                <c:pt idx="47255">
                  <c:v>41633</c:v>
                </c:pt>
                <c:pt idx="47256">
                  <c:v>34879</c:v>
                </c:pt>
                <c:pt idx="47257">
                  <c:v>41689</c:v>
                </c:pt>
                <c:pt idx="47258">
                  <c:v>263830</c:v>
                </c:pt>
                <c:pt idx="47259">
                  <c:v>28931</c:v>
                </c:pt>
                <c:pt idx="47260">
                  <c:v>117144</c:v>
                </c:pt>
                <c:pt idx="47261">
                  <c:v>43563</c:v>
                </c:pt>
                <c:pt idx="47262">
                  <c:v>30766</c:v>
                </c:pt>
                <c:pt idx="47263">
                  <c:v>61607</c:v>
                </c:pt>
                <c:pt idx="47264">
                  <c:v>35252</c:v>
                </c:pt>
                <c:pt idx="47265">
                  <c:v>70241</c:v>
                </c:pt>
                <c:pt idx="47266">
                  <c:v>35290</c:v>
                </c:pt>
                <c:pt idx="47267">
                  <c:v>48774</c:v>
                </c:pt>
                <c:pt idx="47268">
                  <c:v>35254</c:v>
                </c:pt>
                <c:pt idx="47269">
                  <c:v>109888</c:v>
                </c:pt>
                <c:pt idx="47270">
                  <c:v>42433</c:v>
                </c:pt>
                <c:pt idx="47271">
                  <c:v>43836</c:v>
                </c:pt>
                <c:pt idx="47272">
                  <c:v>97844</c:v>
                </c:pt>
                <c:pt idx="47273">
                  <c:v>33926</c:v>
                </c:pt>
                <c:pt idx="47274">
                  <c:v>74647</c:v>
                </c:pt>
                <c:pt idx="47275">
                  <c:v>29578</c:v>
                </c:pt>
                <c:pt idx="47276">
                  <c:v>32404</c:v>
                </c:pt>
                <c:pt idx="47277">
                  <c:v>99051</c:v>
                </c:pt>
                <c:pt idx="47278">
                  <c:v>40817</c:v>
                </c:pt>
                <c:pt idx="47279">
                  <c:v>98087</c:v>
                </c:pt>
                <c:pt idx="47280">
                  <c:v>101352</c:v>
                </c:pt>
                <c:pt idx="47281">
                  <c:v>33304</c:v>
                </c:pt>
                <c:pt idx="47282">
                  <c:v>27105</c:v>
                </c:pt>
                <c:pt idx="47283">
                  <c:v>161893</c:v>
                </c:pt>
                <c:pt idx="47284">
                  <c:v>27050</c:v>
                </c:pt>
                <c:pt idx="47285">
                  <c:v>156130</c:v>
                </c:pt>
                <c:pt idx="47286">
                  <c:v>57937</c:v>
                </c:pt>
                <c:pt idx="47287">
                  <c:v>39488</c:v>
                </c:pt>
                <c:pt idx="47288">
                  <c:v>36307</c:v>
                </c:pt>
                <c:pt idx="47289">
                  <c:v>171711</c:v>
                </c:pt>
                <c:pt idx="47290">
                  <c:v>42337</c:v>
                </c:pt>
                <c:pt idx="47291">
                  <c:v>31862</c:v>
                </c:pt>
                <c:pt idx="47292">
                  <c:v>47014</c:v>
                </c:pt>
                <c:pt idx="47293">
                  <c:v>21011</c:v>
                </c:pt>
                <c:pt idx="47294">
                  <c:v>22029</c:v>
                </c:pt>
                <c:pt idx="47295">
                  <c:v>334614</c:v>
                </c:pt>
                <c:pt idx="47296">
                  <c:v>26516</c:v>
                </c:pt>
                <c:pt idx="47297">
                  <c:v>107290</c:v>
                </c:pt>
                <c:pt idx="47298">
                  <c:v>61684</c:v>
                </c:pt>
                <c:pt idx="47299">
                  <c:v>110658</c:v>
                </c:pt>
                <c:pt idx="47300">
                  <c:v>45792</c:v>
                </c:pt>
                <c:pt idx="47301">
                  <c:v>41089</c:v>
                </c:pt>
                <c:pt idx="47302">
                  <c:v>23146</c:v>
                </c:pt>
                <c:pt idx="47303">
                  <c:v>40706</c:v>
                </c:pt>
                <c:pt idx="47304">
                  <c:v>45541</c:v>
                </c:pt>
                <c:pt idx="47305">
                  <c:v>143894</c:v>
                </c:pt>
                <c:pt idx="47306">
                  <c:v>167368</c:v>
                </c:pt>
                <c:pt idx="47307">
                  <c:v>36419</c:v>
                </c:pt>
                <c:pt idx="47308">
                  <c:v>35628</c:v>
                </c:pt>
                <c:pt idx="47309">
                  <c:v>31316</c:v>
                </c:pt>
                <c:pt idx="47310">
                  <c:v>68915</c:v>
                </c:pt>
                <c:pt idx="47311">
                  <c:v>80480</c:v>
                </c:pt>
                <c:pt idx="47312">
                  <c:v>26926</c:v>
                </c:pt>
                <c:pt idx="47313">
                  <c:v>57203</c:v>
                </c:pt>
                <c:pt idx="47314">
                  <c:v>61331</c:v>
                </c:pt>
                <c:pt idx="47315">
                  <c:v>45086</c:v>
                </c:pt>
                <c:pt idx="47316">
                  <c:v>23564</c:v>
                </c:pt>
                <c:pt idx="47317">
                  <c:v>101449</c:v>
                </c:pt>
                <c:pt idx="47318">
                  <c:v>53507</c:v>
                </c:pt>
                <c:pt idx="47319">
                  <c:v>57278</c:v>
                </c:pt>
                <c:pt idx="47320">
                  <c:v>24909</c:v>
                </c:pt>
                <c:pt idx="47321">
                  <c:v>38860</c:v>
                </c:pt>
                <c:pt idx="47322">
                  <c:v>88143</c:v>
                </c:pt>
                <c:pt idx="47323">
                  <c:v>48787</c:v>
                </c:pt>
                <c:pt idx="47324">
                  <c:v>25229</c:v>
                </c:pt>
                <c:pt idx="47325">
                  <c:v>34639</c:v>
                </c:pt>
                <c:pt idx="47326">
                  <c:v>45416</c:v>
                </c:pt>
                <c:pt idx="47327">
                  <c:v>35392</c:v>
                </c:pt>
                <c:pt idx="47328">
                  <c:v>30285</c:v>
                </c:pt>
                <c:pt idx="47329">
                  <c:v>41431</c:v>
                </c:pt>
                <c:pt idx="47330">
                  <c:v>38630</c:v>
                </c:pt>
                <c:pt idx="47331">
                  <c:v>28494</c:v>
                </c:pt>
                <c:pt idx="47332">
                  <c:v>51081</c:v>
                </c:pt>
                <c:pt idx="47333">
                  <c:v>41674</c:v>
                </c:pt>
                <c:pt idx="47334">
                  <c:v>184783</c:v>
                </c:pt>
                <c:pt idx="47335">
                  <c:v>30378</c:v>
                </c:pt>
                <c:pt idx="47336">
                  <c:v>25412</c:v>
                </c:pt>
                <c:pt idx="47337">
                  <c:v>24508</c:v>
                </c:pt>
                <c:pt idx="47338">
                  <c:v>37856</c:v>
                </c:pt>
                <c:pt idx="47339">
                  <c:v>146807</c:v>
                </c:pt>
                <c:pt idx="47340">
                  <c:v>27727</c:v>
                </c:pt>
                <c:pt idx="47341">
                  <c:v>28796</c:v>
                </c:pt>
                <c:pt idx="47342">
                  <c:v>110104</c:v>
                </c:pt>
                <c:pt idx="47343">
                  <c:v>36071</c:v>
                </c:pt>
                <c:pt idx="47344">
                  <c:v>109582</c:v>
                </c:pt>
                <c:pt idx="47345">
                  <c:v>27874</c:v>
                </c:pt>
                <c:pt idx="47346">
                  <c:v>26559</c:v>
                </c:pt>
                <c:pt idx="47347">
                  <c:v>32014</c:v>
                </c:pt>
                <c:pt idx="47348">
                  <c:v>86527</c:v>
                </c:pt>
                <c:pt idx="47349">
                  <c:v>29372</c:v>
                </c:pt>
                <c:pt idx="47350">
                  <c:v>59029</c:v>
                </c:pt>
                <c:pt idx="47351">
                  <c:v>37124</c:v>
                </c:pt>
                <c:pt idx="47352">
                  <c:v>29305</c:v>
                </c:pt>
                <c:pt idx="47353">
                  <c:v>41042</c:v>
                </c:pt>
                <c:pt idx="47354">
                  <c:v>39406</c:v>
                </c:pt>
                <c:pt idx="47355">
                  <c:v>55993</c:v>
                </c:pt>
                <c:pt idx="47356">
                  <c:v>243650</c:v>
                </c:pt>
                <c:pt idx="47357">
                  <c:v>34329</c:v>
                </c:pt>
                <c:pt idx="47358">
                  <c:v>41543</c:v>
                </c:pt>
                <c:pt idx="47359">
                  <c:v>93626</c:v>
                </c:pt>
                <c:pt idx="47360">
                  <c:v>42798</c:v>
                </c:pt>
                <c:pt idx="47361">
                  <c:v>86177</c:v>
                </c:pt>
                <c:pt idx="47362">
                  <c:v>224066</c:v>
                </c:pt>
                <c:pt idx="47363">
                  <c:v>31140</c:v>
                </c:pt>
                <c:pt idx="47364">
                  <c:v>57354</c:v>
                </c:pt>
                <c:pt idx="47365">
                  <c:v>24301</c:v>
                </c:pt>
                <c:pt idx="47366">
                  <c:v>40028</c:v>
                </c:pt>
                <c:pt idx="47367">
                  <c:v>26867</c:v>
                </c:pt>
                <c:pt idx="47368">
                  <c:v>55028</c:v>
                </c:pt>
                <c:pt idx="47369">
                  <c:v>41290</c:v>
                </c:pt>
                <c:pt idx="47370">
                  <c:v>60936</c:v>
                </c:pt>
                <c:pt idx="47371">
                  <c:v>43847</c:v>
                </c:pt>
                <c:pt idx="47372">
                  <c:v>79795</c:v>
                </c:pt>
                <c:pt idx="47373">
                  <c:v>41958</c:v>
                </c:pt>
                <c:pt idx="47374">
                  <c:v>20750</c:v>
                </c:pt>
                <c:pt idx="47375">
                  <c:v>63484</c:v>
                </c:pt>
                <c:pt idx="47376">
                  <c:v>35529</c:v>
                </c:pt>
                <c:pt idx="47377">
                  <c:v>31134</c:v>
                </c:pt>
                <c:pt idx="47378">
                  <c:v>72045</c:v>
                </c:pt>
                <c:pt idx="47379">
                  <c:v>138565</c:v>
                </c:pt>
                <c:pt idx="47380">
                  <c:v>33712</c:v>
                </c:pt>
                <c:pt idx="47381">
                  <c:v>48869</c:v>
                </c:pt>
                <c:pt idx="47382">
                  <c:v>34171</c:v>
                </c:pt>
                <c:pt idx="47383">
                  <c:v>111948</c:v>
                </c:pt>
                <c:pt idx="47384">
                  <c:v>32407</c:v>
                </c:pt>
                <c:pt idx="47385">
                  <c:v>25385</c:v>
                </c:pt>
                <c:pt idx="47386">
                  <c:v>133172</c:v>
                </c:pt>
                <c:pt idx="47387">
                  <c:v>37201</c:v>
                </c:pt>
                <c:pt idx="47388">
                  <c:v>45446</c:v>
                </c:pt>
                <c:pt idx="47389">
                  <c:v>36294</c:v>
                </c:pt>
                <c:pt idx="47390">
                  <c:v>65533</c:v>
                </c:pt>
                <c:pt idx="47391">
                  <c:v>29245</c:v>
                </c:pt>
                <c:pt idx="47392">
                  <c:v>38247</c:v>
                </c:pt>
                <c:pt idx="47393">
                  <c:v>50986</c:v>
                </c:pt>
                <c:pt idx="47394">
                  <c:v>44525</c:v>
                </c:pt>
                <c:pt idx="47395">
                  <c:v>60739</c:v>
                </c:pt>
                <c:pt idx="47396">
                  <c:v>28175</c:v>
                </c:pt>
                <c:pt idx="47397">
                  <c:v>116881</c:v>
                </c:pt>
                <c:pt idx="47398">
                  <c:v>227118</c:v>
                </c:pt>
                <c:pt idx="47399">
                  <c:v>44916</c:v>
                </c:pt>
                <c:pt idx="47400">
                  <c:v>116528</c:v>
                </c:pt>
                <c:pt idx="47401">
                  <c:v>40104</c:v>
                </c:pt>
                <c:pt idx="47402">
                  <c:v>33526</c:v>
                </c:pt>
                <c:pt idx="47403">
                  <c:v>39901</c:v>
                </c:pt>
                <c:pt idx="47404">
                  <c:v>38417</c:v>
                </c:pt>
                <c:pt idx="47405">
                  <c:v>40116</c:v>
                </c:pt>
                <c:pt idx="47406">
                  <c:v>21023</c:v>
                </c:pt>
                <c:pt idx="47407">
                  <c:v>62793</c:v>
                </c:pt>
                <c:pt idx="47408">
                  <c:v>47974</c:v>
                </c:pt>
                <c:pt idx="47409">
                  <c:v>43745</c:v>
                </c:pt>
                <c:pt idx="47410">
                  <c:v>40304</c:v>
                </c:pt>
                <c:pt idx="47411">
                  <c:v>33328</c:v>
                </c:pt>
                <c:pt idx="47412">
                  <c:v>55969</c:v>
                </c:pt>
                <c:pt idx="47413">
                  <c:v>83805</c:v>
                </c:pt>
                <c:pt idx="47414">
                  <c:v>76051</c:v>
                </c:pt>
                <c:pt idx="47415">
                  <c:v>180514</c:v>
                </c:pt>
                <c:pt idx="47416">
                  <c:v>25837</c:v>
                </c:pt>
                <c:pt idx="47417">
                  <c:v>39290</c:v>
                </c:pt>
                <c:pt idx="47418">
                  <c:v>72994</c:v>
                </c:pt>
                <c:pt idx="47419">
                  <c:v>56331</c:v>
                </c:pt>
                <c:pt idx="47420">
                  <c:v>38852</c:v>
                </c:pt>
                <c:pt idx="47421">
                  <c:v>102506</c:v>
                </c:pt>
                <c:pt idx="47422">
                  <c:v>47498</c:v>
                </c:pt>
                <c:pt idx="47423">
                  <c:v>42582</c:v>
                </c:pt>
                <c:pt idx="47424">
                  <c:v>50725</c:v>
                </c:pt>
                <c:pt idx="47425">
                  <c:v>63893</c:v>
                </c:pt>
                <c:pt idx="47426">
                  <c:v>86715</c:v>
                </c:pt>
                <c:pt idx="47427">
                  <c:v>27941</c:v>
                </c:pt>
                <c:pt idx="47428">
                  <c:v>164476</c:v>
                </c:pt>
                <c:pt idx="47429">
                  <c:v>53329</c:v>
                </c:pt>
                <c:pt idx="47430">
                  <c:v>186570</c:v>
                </c:pt>
                <c:pt idx="47431">
                  <c:v>44946</c:v>
                </c:pt>
                <c:pt idx="47432">
                  <c:v>32192</c:v>
                </c:pt>
                <c:pt idx="47433">
                  <c:v>21921</c:v>
                </c:pt>
                <c:pt idx="47434">
                  <c:v>460713</c:v>
                </c:pt>
                <c:pt idx="47435">
                  <c:v>34434</c:v>
                </c:pt>
                <c:pt idx="47436">
                  <c:v>25734</c:v>
                </c:pt>
                <c:pt idx="47437">
                  <c:v>21521</c:v>
                </c:pt>
                <c:pt idx="47438">
                  <c:v>39579</c:v>
                </c:pt>
                <c:pt idx="47439">
                  <c:v>78341</c:v>
                </c:pt>
                <c:pt idx="47440">
                  <c:v>84060</c:v>
                </c:pt>
                <c:pt idx="47441">
                  <c:v>119305</c:v>
                </c:pt>
                <c:pt idx="47442">
                  <c:v>65538</c:v>
                </c:pt>
                <c:pt idx="47443">
                  <c:v>36047</c:v>
                </c:pt>
                <c:pt idx="47444">
                  <c:v>106005</c:v>
                </c:pt>
                <c:pt idx="47445">
                  <c:v>69155</c:v>
                </c:pt>
                <c:pt idx="47446">
                  <c:v>58956</c:v>
                </c:pt>
                <c:pt idx="47447">
                  <c:v>25305</c:v>
                </c:pt>
                <c:pt idx="47448">
                  <c:v>52069</c:v>
                </c:pt>
                <c:pt idx="47449">
                  <c:v>66920</c:v>
                </c:pt>
                <c:pt idx="47450">
                  <c:v>289975</c:v>
                </c:pt>
                <c:pt idx="47451">
                  <c:v>38898</c:v>
                </c:pt>
                <c:pt idx="47452">
                  <c:v>239130</c:v>
                </c:pt>
                <c:pt idx="47453">
                  <c:v>30248</c:v>
                </c:pt>
                <c:pt idx="47454">
                  <c:v>39423</c:v>
                </c:pt>
                <c:pt idx="47455">
                  <c:v>68079</c:v>
                </c:pt>
                <c:pt idx="47456">
                  <c:v>36103</c:v>
                </c:pt>
                <c:pt idx="47457">
                  <c:v>96775</c:v>
                </c:pt>
                <c:pt idx="47458">
                  <c:v>46944</c:v>
                </c:pt>
                <c:pt idx="47459">
                  <c:v>65347</c:v>
                </c:pt>
                <c:pt idx="47460">
                  <c:v>44977</c:v>
                </c:pt>
                <c:pt idx="47461">
                  <c:v>38615</c:v>
                </c:pt>
                <c:pt idx="47462">
                  <c:v>62739</c:v>
                </c:pt>
                <c:pt idx="47463">
                  <c:v>25527</c:v>
                </c:pt>
                <c:pt idx="47464">
                  <c:v>47700</c:v>
                </c:pt>
                <c:pt idx="47465">
                  <c:v>44423</c:v>
                </c:pt>
                <c:pt idx="47466">
                  <c:v>34314</c:v>
                </c:pt>
                <c:pt idx="47467">
                  <c:v>30557</c:v>
                </c:pt>
                <c:pt idx="47468">
                  <c:v>74570</c:v>
                </c:pt>
                <c:pt idx="47469">
                  <c:v>35970</c:v>
                </c:pt>
                <c:pt idx="47470">
                  <c:v>38654</c:v>
                </c:pt>
                <c:pt idx="47471">
                  <c:v>124447</c:v>
                </c:pt>
                <c:pt idx="47472">
                  <c:v>65306</c:v>
                </c:pt>
                <c:pt idx="47473">
                  <c:v>119614</c:v>
                </c:pt>
                <c:pt idx="47474">
                  <c:v>83850</c:v>
                </c:pt>
                <c:pt idx="47475">
                  <c:v>49969</c:v>
                </c:pt>
                <c:pt idx="47476">
                  <c:v>44430</c:v>
                </c:pt>
                <c:pt idx="47477">
                  <c:v>112669</c:v>
                </c:pt>
                <c:pt idx="47478">
                  <c:v>61815</c:v>
                </c:pt>
                <c:pt idx="47479">
                  <c:v>111541</c:v>
                </c:pt>
                <c:pt idx="47480">
                  <c:v>28139</c:v>
                </c:pt>
                <c:pt idx="47481">
                  <c:v>85345</c:v>
                </c:pt>
                <c:pt idx="47482">
                  <c:v>113295</c:v>
                </c:pt>
                <c:pt idx="47483">
                  <c:v>25313</c:v>
                </c:pt>
                <c:pt idx="47484">
                  <c:v>37188</c:v>
                </c:pt>
                <c:pt idx="47485">
                  <c:v>72607</c:v>
                </c:pt>
                <c:pt idx="47486">
                  <c:v>45729</c:v>
                </c:pt>
                <c:pt idx="47487">
                  <c:v>88295</c:v>
                </c:pt>
                <c:pt idx="47488">
                  <c:v>55097</c:v>
                </c:pt>
                <c:pt idx="47489">
                  <c:v>27569</c:v>
                </c:pt>
                <c:pt idx="47490">
                  <c:v>25567</c:v>
                </c:pt>
                <c:pt idx="47491">
                  <c:v>58471</c:v>
                </c:pt>
                <c:pt idx="47492">
                  <c:v>49473</c:v>
                </c:pt>
                <c:pt idx="47493">
                  <c:v>39357</c:v>
                </c:pt>
                <c:pt idx="47494">
                  <c:v>35600</c:v>
                </c:pt>
                <c:pt idx="47495">
                  <c:v>25954</c:v>
                </c:pt>
                <c:pt idx="47496">
                  <c:v>46754</c:v>
                </c:pt>
                <c:pt idx="47497">
                  <c:v>34214</c:v>
                </c:pt>
                <c:pt idx="47498">
                  <c:v>27537</c:v>
                </c:pt>
                <c:pt idx="47499">
                  <c:v>81949</c:v>
                </c:pt>
                <c:pt idx="47500">
                  <c:v>39206</c:v>
                </c:pt>
                <c:pt idx="47501">
                  <c:v>114700</c:v>
                </c:pt>
                <c:pt idx="47502">
                  <c:v>123183</c:v>
                </c:pt>
                <c:pt idx="47503">
                  <c:v>25865</c:v>
                </c:pt>
                <c:pt idx="47504">
                  <c:v>38639</c:v>
                </c:pt>
                <c:pt idx="47505">
                  <c:v>60921</c:v>
                </c:pt>
                <c:pt idx="47506">
                  <c:v>43665</c:v>
                </c:pt>
                <c:pt idx="47507">
                  <c:v>205145</c:v>
                </c:pt>
                <c:pt idx="47508">
                  <c:v>37645</c:v>
                </c:pt>
                <c:pt idx="47509">
                  <c:v>27202</c:v>
                </c:pt>
                <c:pt idx="47510">
                  <c:v>87425</c:v>
                </c:pt>
                <c:pt idx="47511">
                  <c:v>24635</c:v>
                </c:pt>
                <c:pt idx="47512">
                  <c:v>48180</c:v>
                </c:pt>
                <c:pt idx="47513">
                  <c:v>47519</c:v>
                </c:pt>
                <c:pt idx="47514">
                  <c:v>247595</c:v>
                </c:pt>
                <c:pt idx="47515">
                  <c:v>42941</c:v>
                </c:pt>
                <c:pt idx="47516">
                  <c:v>113914</c:v>
                </c:pt>
                <c:pt idx="47517">
                  <c:v>67110</c:v>
                </c:pt>
                <c:pt idx="47518">
                  <c:v>77763</c:v>
                </c:pt>
                <c:pt idx="47519">
                  <c:v>23556</c:v>
                </c:pt>
                <c:pt idx="47520">
                  <c:v>39803</c:v>
                </c:pt>
                <c:pt idx="47521">
                  <c:v>39919</c:v>
                </c:pt>
                <c:pt idx="47522">
                  <c:v>32362</c:v>
                </c:pt>
                <c:pt idx="47523">
                  <c:v>31987</c:v>
                </c:pt>
                <c:pt idx="47524">
                  <c:v>39500</c:v>
                </c:pt>
                <c:pt idx="47525">
                  <c:v>46071</c:v>
                </c:pt>
                <c:pt idx="47526">
                  <c:v>43719</c:v>
                </c:pt>
                <c:pt idx="47527">
                  <c:v>37014</c:v>
                </c:pt>
                <c:pt idx="47528">
                  <c:v>77730</c:v>
                </c:pt>
                <c:pt idx="47529">
                  <c:v>30353</c:v>
                </c:pt>
                <c:pt idx="47530">
                  <c:v>34212</c:v>
                </c:pt>
                <c:pt idx="47531">
                  <c:v>26394</c:v>
                </c:pt>
                <c:pt idx="47532">
                  <c:v>30030</c:v>
                </c:pt>
                <c:pt idx="47533">
                  <c:v>74233</c:v>
                </c:pt>
                <c:pt idx="47534">
                  <c:v>158782</c:v>
                </c:pt>
                <c:pt idx="47535">
                  <c:v>24429</c:v>
                </c:pt>
                <c:pt idx="47536">
                  <c:v>42205</c:v>
                </c:pt>
                <c:pt idx="47537">
                  <c:v>30832</c:v>
                </c:pt>
                <c:pt idx="47538">
                  <c:v>95775</c:v>
                </c:pt>
                <c:pt idx="47539">
                  <c:v>62418</c:v>
                </c:pt>
                <c:pt idx="47540">
                  <c:v>135462</c:v>
                </c:pt>
                <c:pt idx="47541">
                  <c:v>22476</c:v>
                </c:pt>
                <c:pt idx="47542">
                  <c:v>135647</c:v>
                </c:pt>
                <c:pt idx="47543">
                  <c:v>264464</c:v>
                </c:pt>
                <c:pt idx="47544">
                  <c:v>43651</c:v>
                </c:pt>
                <c:pt idx="47545">
                  <c:v>62930</c:v>
                </c:pt>
                <c:pt idx="47546">
                  <c:v>30816</c:v>
                </c:pt>
                <c:pt idx="47547">
                  <c:v>65870</c:v>
                </c:pt>
                <c:pt idx="47548">
                  <c:v>23349</c:v>
                </c:pt>
                <c:pt idx="47549">
                  <c:v>23069</c:v>
                </c:pt>
                <c:pt idx="47550">
                  <c:v>28424</c:v>
                </c:pt>
                <c:pt idx="47551">
                  <c:v>88616</c:v>
                </c:pt>
                <c:pt idx="47552">
                  <c:v>34650</c:v>
                </c:pt>
                <c:pt idx="47553">
                  <c:v>46108</c:v>
                </c:pt>
                <c:pt idx="47554">
                  <c:v>65575</c:v>
                </c:pt>
                <c:pt idx="47555">
                  <c:v>29550</c:v>
                </c:pt>
                <c:pt idx="47556">
                  <c:v>26377</c:v>
                </c:pt>
                <c:pt idx="47557">
                  <c:v>24135</c:v>
                </c:pt>
                <c:pt idx="47558">
                  <c:v>25342</c:v>
                </c:pt>
                <c:pt idx="47559">
                  <c:v>96041</c:v>
                </c:pt>
                <c:pt idx="47560">
                  <c:v>31683</c:v>
                </c:pt>
                <c:pt idx="47561">
                  <c:v>35898</c:v>
                </c:pt>
                <c:pt idx="47562">
                  <c:v>58705</c:v>
                </c:pt>
                <c:pt idx="47563">
                  <c:v>56983</c:v>
                </c:pt>
                <c:pt idx="47564">
                  <c:v>21302</c:v>
                </c:pt>
                <c:pt idx="47565">
                  <c:v>60403</c:v>
                </c:pt>
                <c:pt idx="47566">
                  <c:v>25382</c:v>
                </c:pt>
                <c:pt idx="47567">
                  <c:v>53776</c:v>
                </c:pt>
                <c:pt idx="47568">
                  <c:v>39782</c:v>
                </c:pt>
                <c:pt idx="47569">
                  <c:v>86115</c:v>
                </c:pt>
                <c:pt idx="47570">
                  <c:v>29765</c:v>
                </c:pt>
                <c:pt idx="47571">
                  <c:v>43072</c:v>
                </c:pt>
                <c:pt idx="47572">
                  <c:v>34240</c:v>
                </c:pt>
                <c:pt idx="47573">
                  <c:v>29588</c:v>
                </c:pt>
                <c:pt idx="47574">
                  <c:v>31091</c:v>
                </c:pt>
                <c:pt idx="47575">
                  <c:v>31005</c:v>
                </c:pt>
                <c:pt idx="47576">
                  <c:v>117351</c:v>
                </c:pt>
                <c:pt idx="47577">
                  <c:v>36418</c:v>
                </c:pt>
                <c:pt idx="47578">
                  <c:v>26843</c:v>
                </c:pt>
                <c:pt idx="47579">
                  <c:v>22244</c:v>
                </c:pt>
                <c:pt idx="47580">
                  <c:v>43838</c:v>
                </c:pt>
                <c:pt idx="47581">
                  <c:v>23277</c:v>
                </c:pt>
                <c:pt idx="47582">
                  <c:v>65577</c:v>
                </c:pt>
                <c:pt idx="47583">
                  <c:v>43952</c:v>
                </c:pt>
                <c:pt idx="47584">
                  <c:v>35156</c:v>
                </c:pt>
                <c:pt idx="47585">
                  <c:v>40618</c:v>
                </c:pt>
                <c:pt idx="47586">
                  <c:v>30246</c:v>
                </c:pt>
                <c:pt idx="47587">
                  <c:v>48189</c:v>
                </c:pt>
                <c:pt idx="47588">
                  <c:v>185844</c:v>
                </c:pt>
                <c:pt idx="47589">
                  <c:v>46151</c:v>
                </c:pt>
                <c:pt idx="47590">
                  <c:v>38751</c:v>
                </c:pt>
                <c:pt idx="47591">
                  <c:v>27016</c:v>
                </c:pt>
                <c:pt idx="47592">
                  <c:v>94759</c:v>
                </c:pt>
                <c:pt idx="47593">
                  <c:v>30469</c:v>
                </c:pt>
                <c:pt idx="47594">
                  <c:v>77764</c:v>
                </c:pt>
                <c:pt idx="47595">
                  <c:v>93356</c:v>
                </c:pt>
                <c:pt idx="47596">
                  <c:v>110973</c:v>
                </c:pt>
                <c:pt idx="47597">
                  <c:v>26881</c:v>
                </c:pt>
                <c:pt idx="47598">
                  <c:v>46916</c:v>
                </c:pt>
                <c:pt idx="47599">
                  <c:v>79484</c:v>
                </c:pt>
                <c:pt idx="47600">
                  <c:v>162210</c:v>
                </c:pt>
                <c:pt idx="47601">
                  <c:v>38814</c:v>
                </c:pt>
                <c:pt idx="47602">
                  <c:v>44448</c:v>
                </c:pt>
                <c:pt idx="47603">
                  <c:v>46757</c:v>
                </c:pt>
                <c:pt idx="47604">
                  <c:v>182209</c:v>
                </c:pt>
                <c:pt idx="47605">
                  <c:v>26883</c:v>
                </c:pt>
                <c:pt idx="47606">
                  <c:v>37393</c:v>
                </c:pt>
                <c:pt idx="47607">
                  <c:v>41241</c:v>
                </c:pt>
                <c:pt idx="47608">
                  <c:v>48479</c:v>
                </c:pt>
                <c:pt idx="47609">
                  <c:v>23649</c:v>
                </c:pt>
                <c:pt idx="47610">
                  <c:v>50938</c:v>
                </c:pt>
                <c:pt idx="47611">
                  <c:v>21116</c:v>
                </c:pt>
                <c:pt idx="47612">
                  <c:v>32494</c:v>
                </c:pt>
                <c:pt idx="47613">
                  <c:v>116047</c:v>
                </c:pt>
                <c:pt idx="47614">
                  <c:v>33497</c:v>
                </c:pt>
                <c:pt idx="47615">
                  <c:v>46988</c:v>
                </c:pt>
                <c:pt idx="47616">
                  <c:v>46827</c:v>
                </c:pt>
                <c:pt idx="47617">
                  <c:v>63482</c:v>
                </c:pt>
                <c:pt idx="47618">
                  <c:v>52357</c:v>
                </c:pt>
                <c:pt idx="47619">
                  <c:v>63332</c:v>
                </c:pt>
                <c:pt idx="47620">
                  <c:v>175465</c:v>
                </c:pt>
                <c:pt idx="47621">
                  <c:v>77776</c:v>
                </c:pt>
                <c:pt idx="47622">
                  <c:v>69466</c:v>
                </c:pt>
                <c:pt idx="47623">
                  <c:v>54035</c:v>
                </c:pt>
                <c:pt idx="47624">
                  <c:v>31140</c:v>
                </c:pt>
                <c:pt idx="47625">
                  <c:v>69881</c:v>
                </c:pt>
                <c:pt idx="47626">
                  <c:v>43533</c:v>
                </c:pt>
                <c:pt idx="47627">
                  <c:v>32564</c:v>
                </c:pt>
                <c:pt idx="47628">
                  <c:v>42907</c:v>
                </c:pt>
                <c:pt idx="47629">
                  <c:v>24716</c:v>
                </c:pt>
                <c:pt idx="47630">
                  <c:v>53383</c:v>
                </c:pt>
                <c:pt idx="47631">
                  <c:v>25455</c:v>
                </c:pt>
                <c:pt idx="47632">
                  <c:v>44624</c:v>
                </c:pt>
                <c:pt idx="47633">
                  <c:v>121056</c:v>
                </c:pt>
                <c:pt idx="47634">
                  <c:v>111863</c:v>
                </c:pt>
                <c:pt idx="47635">
                  <c:v>52748</c:v>
                </c:pt>
                <c:pt idx="47636">
                  <c:v>70951</c:v>
                </c:pt>
                <c:pt idx="47637">
                  <c:v>24892</c:v>
                </c:pt>
                <c:pt idx="47638">
                  <c:v>42102</c:v>
                </c:pt>
                <c:pt idx="47639">
                  <c:v>32246</c:v>
                </c:pt>
                <c:pt idx="47640">
                  <c:v>31037</c:v>
                </c:pt>
                <c:pt idx="47641">
                  <c:v>54706</c:v>
                </c:pt>
                <c:pt idx="47642">
                  <c:v>27703</c:v>
                </c:pt>
                <c:pt idx="47643">
                  <c:v>61567</c:v>
                </c:pt>
                <c:pt idx="47644">
                  <c:v>28280</c:v>
                </c:pt>
                <c:pt idx="47645">
                  <c:v>55511</c:v>
                </c:pt>
                <c:pt idx="47646">
                  <c:v>32129</c:v>
                </c:pt>
                <c:pt idx="47647">
                  <c:v>143885</c:v>
                </c:pt>
                <c:pt idx="47648">
                  <c:v>52483</c:v>
                </c:pt>
                <c:pt idx="47649">
                  <c:v>41454</c:v>
                </c:pt>
                <c:pt idx="47650">
                  <c:v>241454</c:v>
                </c:pt>
                <c:pt idx="47651">
                  <c:v>34858</c:v>
                </c:pt>
                <c:pt idx="47652">
                  <c:v>24748</c:v>
                </c:pt>
                <c:pt idx="47653">
                  <c:v>27729</c:v>
                </c:pt>
                <c:pt idx="47654">
                  <c:v>56850</c:v>
                </c:pt>
                <c:pt idx="47655">
                  <c:v>42653</c:v>
                </c:pt>
                <c:pt idx="47656">
                  <c:v>42976</c:v>
                </c:pt>
                <c:pt idx="47657">
                  <c:v>27375</c:v>
                </c:pt>
                <c:pt idx="47658">
                  <c:v>37010</c:v>
                </c:pt>
                <c:pt idx="47659">
                  <c:v>41822</c:v>
                </c:pt>
                <c:pt idx="47660">
                  <c:v>77507</c:v>
                </c:pt>
                <c:pt idx="47661">
                  <c:v>25467</c:v>
                </c:pt>
                <c:pt idx="47662">
                  <c:v>29200</c:v>
                </c:pt>
                <c:pt idx="47663">
                  <c:v>45520</c:v>
                </c:pt>
                <c:pt idx="47664">
                  <c:v>176600</c:v>
                </c:pt>
                <c:pt idx="47665">
                  <c:v>53446</c:v>
                </c:pt>
                <c:pt idx="47666">
                  <c:v>33712</c:v>
                </c:pt>
                <c:pt idx="47667">
                  <c:v>48747</c:v>
                </c:pt>
                <c:pt idx="47668">
                  <c:v>182188</c:v>
                </c:pt>
                <c:pt idx="47669">
                  <c:v>26449</c:v>
                </c:pt>
                <c:pt idx="47670">
                  <c:v>38497</c:v>
                </c:pt>
                <c:pt idx="47671">
                  <c:v>38996</c:v>
                </c:pt>
                <c:pt idx="47672">
                  <c:v>108077</c:v>
                </c:pt>
                <c:pt idx="47673">
                  <c:v>111895</c:v>
                </c:pt>
                <c:pt idx="47674">
                  <c:v>36968</c:v>
                </c:pt>
                <c:pt idx="47675">
                  <c:v>66367</c:v>
                </c:pt>
                <c:pt idx="47676">
                  <c:v>51797</c:v>
                </c:pt>
                <c:pt idx="47677">
                  <c:v>33959</c:v>
                </c:pt>
                <c:pt idx="47678">
                  <c:v>39233</c:v>
                </c:pt>
                <c:pt idx="47679">
                  <c:v>53626</c:v>
                </c:pt>
                <c:pt idx="47680">
                  <c:v>60886</c:v>
                </c:pt>
                <c:pt idx="47681">
                  <c:v>141332</c:v>
                </c:pt>
                <c:pt idx="47682">
                  <c:v>44960</c:v>
                </c:pt>
                <c:pt idx="47683">
                  <c:v>33726</c:v>
                </c:pt>
                <c:pt idx="47684">
                  <c:v>45663</c:v>
                </c:pt>
                <c:pt idx="47685">
                  <c:v>25951</c:v>
                </c:pt>
                <c:pt idx="47686">
                  <c:v>45818</c:v>
                </c:pt>
                <c:pt idx="47687">
                  <c:v>26075</c:v>
                </c:pt>
                <c:pt idx="47688">
                  <c:v>24673</c:v>
                </c:pt>
                <c:pt idx="47689">
                  <c:v>47262</c:v>
                </c:pt>
                <c:pt idx="47690">
                  <c:v>85182</c:v>
                </c:pt>
                <c:pt idx="47691">
                  <c:v>38672</c:v>
                </c:pt>
                <c:pt idx="47692">
                  <c:v>28821</c:v>
                </c:pt>
                <c:pt idx="47693">
                  <c:v>67903</c:v>
                </c:pt>
                <c:pt idx="47694">
                  <c:v>114518</c:v>
                </c:pt>
                <c:pt idx="47695">
                  <c:v>35174</c:v>
                </c:pt>
                <c:pt idx="47696">
                  <c:v>22762</c:v>
                </c:pt>
                <c:pt idx="47697">
                  <c:v>43451</c:v>
                </c:pt>
                <c:pt idx="47698">
                  <c:v>30894</c:v>
                </c:pt>
                <c:pt idx="47699">
                  <c:v>53604</c:v>
                </c:pt>
                <c:pt idx="47700">
                  <c:v>38680</c:v>
                </c:pt>
                <c:pt idx="47701">
                  <c:v>66740</c:v>
                </c:pt>
                <c:pt idx="47702">
                  <c:v>119470</c:v>
                </c:pt>
                <c:pt idx="47703">
                  <c:v>67567</c:v>
                </c:pt>
                <c:pt idx="47704">
                  <c:v>55490</c:v>
                </c:pt>
                <c:pt idx="47705">
                  <c:v>93824</c:v>
                </c:pt>
                <c:pt idx="47706">
                  <c:v>24544</c:v>
                </c:pt>
                <c:pt idx="47707">
                  <c:v>25437</c:v>
                </c:pt>
                <c:pt idx="47708">
                  <c:v>40915</c:v>
                </c:pt>
                <c:pt idx="47709">
                  <c:v>41672</c:v>
                </c:pt>
                <c:pt idx="47710">
                  <c:v>97332</c:v>
                </c:pt>
                <c:pt idx="47711">
                  <c:v>51598</c:v>
                </c:pt>
                <c:pt idx="47712">
                  <c:v>33444</c:v>
                </c:pt>
                <c:pt idx="47713">
                  <c:v>44277</c:v>
                </c:pt>
                <c:pt idx="47714">
                  <c:v>33508</c:v>
                </c:pt>
                <c:pt idx="47715">
                  <c:v>101425</c:v>
                </c:pt>
                <c:pt idx="47716">
                  <c:v>395298</c:v>
                </c:pt>
                <c:pt idx="47717">
                  <c:v>62711</c:v>
                </c:pt>
                <c:pt idx="47718">
                  <c:v>32139</c:v>
                </c:pt>
                <c:pt idx="47719">
                  <c:v>33647</c:v>
                </c:pt>
                <c:pt idx="47720">
                  <c:v>50522</c:v>
                </c:pt>
                <c:pt idx="47721">
                  <c:v>24153</c:v>
                </c:pt>
                <c:pt idx="47722">
                  <c:v>24186</c:v>
                </c:pt>
                <c:pt idx="47723">
                  <c:v>193433</c:v>
                </c:pt>
                <c:pt idx="47724">
                  <c:v>38196</c:v>
                </c:pt>
                <c:pt idx="47725">
                  <c:v>37008</c:v>
                </c:pt>
                <c:pt idx="47726">
                  <c:v>31832</c:v>
                </c:pt>
                <c:pt idx="47727">
                  <c:v>24966</c:v>
                </c:pt>
                <c:pt idx="47728">
                  <c:v>34256</c:v>
                </c:pt>
                <c:pt idx="47729">
                  <c:v>49687</c:v>
                </c:pt>
                <c:pt idx="47730">
                  <c:v>35861</c:v>
                </c:pt>
                <c:pt idx="47731">
                  <c:v>37628</c:v>
                </c:pt>
                <c:pt idx="47732">
                  <c:v>29875</c:v>
                </c:pt>
                <c:pt idx="47733">
                  <c:v>37854</c:v>
                </c:pt>
                <c:pt idx="47734">
                  <c:v>42168</c:v>
                </c:pt>
                <c:pt idx="47735">
                  <c:v>27763</c:v>
                </c:pt>
                <c:pt idx="47736">
                  <c:v>29509</c:v>
                </c:pt>
                <c:pt idx="47737">
                  <c:v>28538</c:v>
                </c:pt>
                <c:pt idx="47738">
                  <c:v>24752</c:v>
                </c:pt>
                <c:pt idx="47739">
                  <c:v>39972</c:v>
                </c:pt>
                <c:pt idx="47740">
                  <c:v>30973</c:v>
                </c:pt>
                <c:pt idx="47741">
                  <c:v>79654</c:v>
                </c:pt>
                <c:pt idx="47742">
                  <c:v>96107</c:v>
                </c:pt>
                <c:pt idx="47743">
                  <c:v>67977</c:v>
                </c:pt>
                <c:pt idx="47744">
                  <c:v>45024</c:v>
                </c:pt>
                <c:pt idx="47745">
                  <c:v>27140</c:v>
                </c:pt>
                <c:pt idx="47746">
                  <c:v>49239</c:v>
                </c:pt>
                <c:pt idx="47747">
                  <c:v>36978</c:v>
                </c:pt>
                <c:pt idx="47748">
                  <c:v>56285</c:v>
                </c:pt>
                <c:pt idx="47749">
                  <c:v>51807</c:v>
                </c:pt>
                <c:pt idx="47750">
                  <c:v>44668</c:v>
                </c:pt>
                <c:pt idx="47751">
                  <c:v>44174</c:v>
                </c:pt>
                <c:pt idx="47752">
                  <c:v>120963</c:v>
                </c:pt>
                <c:pt idx="47753">
                  <c:v>31456</c:v>
                </c:pt>
                <c:pt idx="47754">
                  <c:v>27701</c:v>
                </c:pt>
                <c:pt idx="47755">
                  <c:v>104829</c:v>
                </c:pt>
                <c:pt idx="47756">
                  <c:v>36682</c:v>
                </c:pt>
                <c:pt idx="47757">
                  <c:v>89050</c:v>
                </c:pt>
                <c:pt idx="47758">
                  <c:v>44193</c:v>
                </c:pt>
                <c:pt idx="47759">
                  <c:v>62212</c:v>
                </c:pt>
                <c:pt idx="47760">
                  <c:v>43816</c:v>
                </c:pt>
                <c:pt idx="47761">
                  <c:v>34321</c:v>
                </c:pt>
                <c:pt idx="47762">
                  <c:v>42705</c:v>
                </c:pt>
                <c:pt idx="47763">
                  <c:v>49189</c:v>
                </c:pt>
                <c:pt idx="47764">
                  <c:v>31565</c:v>
                </c:pt>
                <c:pt idx="47765">
                  <c:v>40499</c:v>
                </c:pt>
                <c:pt idx="47766">
                  <c:v>26025</c:v>
                </c:pt>
                <c:pt idx="47767">
                  <c:v>42073</c:v>
                </c:pt>
                <c:pt idx="47768">
                  <c:v>45182</c:v>
                </c:pt>
                <c:pt idx="47769">
                  <c:v>144356</c:v>
                </c:pt>
                <c:pt idx="47770">
                  <c:v>117880</c:v>
                </c:pt>
                <c:pt idx="47771">
                  <c:v>59092</c:v>
                </c:pt>
                <c:pt idx="47772">
                  <c:v>31249</c:v>
                </c:pt>
                <c:pt idx="47773">
                  <c:v>26839</c:v>
                </c:pt>
                <c:pt idx="47774">
                  <c:v>37353</c:v>
                </c:pt>
                <c:pt idx="47775">
                  <c:v>49005</c:v>
                </c:pt>
                <c:pt idx="47776">
                  <c:v>33325</c:v>
                </c:pt>
                <c:pt idx="47777">
                  <c:v>35491</c:v>
                </c:pt>
                <c:pt idx="47778">
                  <c:v>34701</c:v>
                </c:pt>
                <c:pt idx="47779">
                  <c:v>146096</c:v>
                </c:pt>
                <c:pt idx="47780">
                  <c:v>100367</c:v>
                </c:pt>
                <c:pt idx="47781">
                  <c:v>29503</c:v>
                </c:pt>
                <c:pt idx="47782">
                  <c:v>93938</c:v>
                </c:pt>
                <c:pt idx="47783">
                  <c:v>39482</c:v>
                </c:pt>
                <c:pt idx="47784">
                  <c:v>43750</c:v>
                </c:pt>
                <c:pt idx="47785">
                  <c:v>53003</c:v>
                </c:pt>
                <c:pt idx="47786">
                  <c:v>152140</c:v>
                </c:pt>
                <c:pt idx="47787">
                  <c:v>37129</c:v>
                </c:pt>
                <c:pt idx="47788">
                  <c:v>34364</c:v>
                </c:pt>
                <c:pt idx="47789">
                  <c:v>29119</c:v>
                </c:pt>
                <c:pt idx="47790">
                  <c:v>45630</c:v>
                </c:pt>
                <c:pt idx="47791">
                  <c:v>42463</c:v>
                </c:pt>
                <c:pt idx="47792">
                  <c:v>56074</c:v>
                </c:pt>
                <c:pt idx="47793">
                  <c:v>36489</c:v>
                </c:pt>
                <c:pt idx="47794">
                  <c:v>39780</c:v>
                </c:pt>
                <c:pt idx="47795">
                  <c:v>54242</c:v>
                </c:pt>
                <c:pt idx="47796">
                  <c:v>130722</c:v>
                </c:pt>
                <c:pt idx="47797">
                  <c:v>64011</c:v>
                </c:pt>
                <c:pt idx="47798">
                  <c:v>64363</c:v>
                </c:pt>
                <c:pt idx="47799">
                  <c:v>52824</c:v>
                </c:pt>
                <c:pt idx="47800">
                  <c:v>96668</c:v>
                </c:pt>
                <c:pt idx="47801">
                  <c:v>33763</c:v>
                </c:pt>
                <c:pt idx="47802">
                  <c:v>60625</c:v>
                </c:pt>
                <c:pt idx="47803">
                  <c:v>35070</c:v>
                </c:pt>
                <c:pt idx="47804">
                  <c:v>141326</c:v>
                </c:pt>
                <c:pt idx="47805">
                  <c:v>45669</c:v>
                </c:pt>
                <c:pt idx="47806">
                  <c:v>25568</c:v>
                </c:pt>
                <c:pt idx="47807">
                  <c:v>137360</c:v>
                </c:pt>
                <c:pt idx="47808">
                  <c:v>24962</c:v>
                </c:pt>
                <c:pt idx="47809">
                  <c:v>41871</c:v>
                </c:pt>
                <c:pt idx="47810">
                  <c:v>34072</c:v>
                </c:pt>
                <c:pt idx="47811">
                  <c:v>25373</c:v>
                </c:pt>
                <c:pt idx="47812">
                  <c:v>48569</c:v>
                </c:pt>
                <c:pt idx="47813">
                  <c:v>136513</c:v>
                </c:pt>
                <c:pt idx="47814">
                  <c:v>33586</c:v>
                </c:pt>
                <c:pt idx="47815">
                  <c:v>33250</c:v>
                </c:pt>
                <c:pt idx="47816">
                  <c:v>28980</c:v>
                </c:pt>
                <c:pt idx="47817">
                  <c:v>117807</c:v>
                </c:pt>
                <c:pt idx="47818">
                  <c:v>34634</c:v>
                </c:pt>
                <c:pt idx="47819">
                  <c:v>41291</c:v>
                </c:pt>
                <c:pt idx="47820">
                  <c:v>112044</c:v>
                </c:pt>
                <c:pt idx="47821">
                  <c:v>114919</c:v>
                </c:pt>
                <c:pt idx="47822">
                  <c:v>32994</c:v>
                </c:pt>
                <c:pt idx="47823">
                  <c:v>67984</c:v>
                </c:pt>
                <c:pt idx="47824">
                  <c:v>60561</c:v>
                </c:pt>
                <c:pt idx="47825">
                  <c:v>120936</c:v>
                </c:pt>
                <c:pt idx="47826">
                  <c:v>31914</c:v>
                </c:pt>
                <c:pt idx="47827">
                  <c:v>104572</c:v>
                </c:pt>
                <c:pt idx="47828">
                  <c:v>32144</c:v>
                </c:pt>
                <c:pt idx="47829">
                  <c:v>79109</c:v>
                </c:pt>
                <c:pt idx="47830">
                  <c:v>39019</c:v>
                </c:pt>
                <c:pt idx="47831">
                  <c:v>31789</c:v>
                </c:pt>
                <c:pt idx="47832">
                  <c:v>30772</c:v>
                </c:pt>
                <c:pt idx="47833">
                  <c:v>58993</c:v>
                </c:pt>
                <c:pt idx="47834">
                  <c:v>29633</c:v>
                </c:pt>
                <c:pt idx="47835">
                  <c:v>33781</c:v>
                </c:pt>
                <c:pt idx="47836">
                  <c:v>91690</c:v>
                </c:pt>
                <c:pt idx="47837">
                  <c:v>24893</c:v>
                </c:pt>
                <c:pt idx="47838">
                  <c:v>114308</c:v>
                </c:pt>
                <c:pt idx="47839">
                  <c:v>47864</c:v>
                </c:pt>
                <c:pt idx="47840">
                  <c:v>30927</c:v>
                </c:pt>
                <c:pt idx="47841">
                  <c:v>41146</c:v>
                </c:pt>
                <c:pt idx="47842">
                  <c:v>35911</c:v>
                </c:pt>
                <c:pt idx="47843">
                  <c:v>45206</c:v>
                </c:pt>
                <c:pt idx="47844">
                  <c:v>46899</c:v>
                </c:pt>
                <c:pt idx="47845">
                  <c:v>30374</c:v>
                </c:pt>
                <c:pt idx="47846">
                  <c:v>25491</c:v>
                </c:pt>
                <c:pt idx="47847">
                  <c:v>39998</c:v>
                </c:pt>
                <c:pt idx="47848">
                  <c:v>97253</c:v>
                </c:pt>
                <c:pt idx="47849">
                  <c:v>89628</c:v>
                </c:pt>
                <c:pt idx="47850">
                  <c:v>67278</c:v>
                </c:pt>
                <c:pt idx="47851">
                  <c:v>84763</c:v>
                </c:pt>
                <c:pt idx="47852">
                  <c:v>50119</c:v>
                </c:pt>
                <c:pt idx="47853">
                  <c:v>69411</c:v>
                </c:pt>
                <c:pt idx="47854">
                  <c:v>141720</c:v>
                </c:pt>
                <c:pt idx="47855">
                  <c:v>162425</c:v>
                </c:pt>
                <c:pt idx="47856">
                  <c:v>105161</c:v>
                </c:pt>
                <c:pt idx="47857">
                  <c:v>49997</c:v>
                </c:pt>
                <c:pt idx="47858">
                  <c:v>31826</c:v>
                </c:pt>
                <c:pt idx="47859">
                  <c:v>52153</c:v>
                </c:pt>
                <c:pt idx="47860">
                  <c:v>179082</c:v>
                </c:pt>
                <c:pt idx="47861">
                  <c:v>78262</c:v>
                </c:pt>
                <c:pt idx="47862">
                  <c:v>37046</c:v>
                </c:pt>
                <c:pt idx="47863">
                  <c:v>84515</c:v>
                </c:pt>
                <c:pt idx="47864">
                  <c:v>33441</c:v>
                </c:pt>
                <c:pt idx="47865">
                  <c:v>69579</c:v>
                </c:pt>
                <c:pt idx="47866">
                  <c:v>45081</c:v>
                </c:pt>
                <c:pt idx="47867">
                  <c:v>45522</c:v>
                </c:pt>
                <c:pt idx="47868">
                  <c:v>41499</c:v>
                </c:pt>
                <c:pt idx="47869">
                  <c:v>22724</c:v>
                </c:pt>
                <c:pt idx="47870">
                  <c:v>33012</c:v>
                </c:pt>
                <c:pt idx="47871">
                  <c:v>30189</c:v>
                </c:pt>
                <c:pt idx="47872">
                  <c:v>36465</c:v>
                </c:pt>
                <c:pt idx="47873">
                  <c:v>41631</c:v>
                </c:pt>
                <c:pt idx="47874">
                  <c:v>46932</c:v>
                </c:pt>
                <c:pt idx="47875">
                  <c:v>54827</c:v>
                </c:pt>
                <c:pt idx="47876">
                  <c:v>38345</c:v>
                </c:pt>
                <c:pt idx="47877">
                  <c:v>118068</c:v>
                </c:pt>
                <c:pt idx="47878">
                  <c:v>39115</c:v>
                </c:pt>
                <c:pt idx="47879">
                  <c:v>77699</c:v>
                </c:pt>
                <c:pt idx="47880">
                  <c:v>84807</c:v>
                </c:pt>
                <c:pt idx="47881">
                  <c:v>55515</c:v>
                </c:pt>
                <c:pt idx="47882">
                  <c:v>175040</c:v>
                </c:pt>
                <c:pt idx="47883">
                  <c:v>38718</c:v>
                </c:pt>
                <c:pt idx="47884">
                  <c:v>41562</c:v>
                </c:pt>
                <c:pt idx="47885">
                  <c:v>27113</c:v>
                </c:pt>
                <c:pt idx="47886">
                  <c:v>34072</c:v>
                </c:pt>
                <c:pt idx="47887">
                  <c:v>23576</c:v>
                </c:pt>
                <c:pt idx="47888">
                  <c:v>47396</c:v>
                </c:pt>
                <c:pt idx="47889">
                  <c:v>27538</c:v>
                </c:pt>
                <c:pt idx="47890">
                  <c:v>26241</c:v>
                </c:pt>
                <c:pt idx="47891">
                  <c:v>21420</c:v>
                </c:pt>
                <c:pt idx="47892">
                  <c:v>32017</c:v>
                </c:pt>
                <c:pt idx="47893">
                  <c:v>99437</c:v>
                </c:pt>
                <c:pt idx="47894">
                  <c:v>39566</c:v>
                </c:pt>
                <c:pt idx="47895">
                  <c:v>162939</c:v>
                </c:pt>
                <c:pt idx="47896">
                  <c:v>23583</c:v>
                </c:pt>
                <c:pt idx="47897">
                  <c:v>34543</c:v>
                </c:pt>
                <c:pt idx="47898">
                  <c:v>191010</c:v>
                </c:pt>
                <c:pt idx="47899">
                  <c:v>206347</c:v>
                </c:pt>
                <c:pt idx="47900">
                  <c:v>42801</c:v>
                </c:pt>
                <c:pt idx="47901">
                  <c:v>93189</c:v>
                </c:pt>
                <c:pt idx="47902">
                  <c:v>44927</c:v>
                </c:pt>
                <c:pt idx="47903">
                  <c:v>32253</c:v>
                </c:pt>
                <c:pt idx="47904">
                  <c:v>26513</c:v>
                </c:pt>
                <c:pt idx="47905">
                  <c:v>63151</c:v>
                </c:pt>
                <c:pt idx="47906">
                  <c:v>42901</c:v>
                </c:pt>
                <c:pt idx="47907">
                  <c:v>77985</c:v>
                </c:pt>
                <c:pt idx="47908">
                  <c:v>29719</c:v>
                </c:pt>
                <c:pt idx="47909">
                  <c:v>99398</c:v>
                </c:pt>
                <c:pt idx="47910">
                  <c:v>67252</c:v>
                </c:pt>
                <c:pt idx="47911">
                  <c:v>38507</c:v>
                </c:pt>
                <c:pt idx="47912">
                  <c:v>93411</c:v>
                </c:pt>
                <c:pt idx="47913">
                  <c:v>41716</c:v>
                </c:pt>
                <c:pt idx="47914">
                  <c:v>51009</c:v>
                </c:pt>
                <c:pt idx="47915">
                  <c:v>53214</c:v>
                </c:pt>
                <c:pt idx="47916">
                  <c:v>374910</c:v>
                </c:pt>
                <c:pt idx="47917">
                  <c:v>31512</c:v>
                </c:pt>
                <c:pt idx="47918">
                  <c:v>46093</c:v>
                </c:pt>
                <c:pt idx="47919">
                  <c:v>35353</c:v>
                </c:pt>
                <c:pt idx="47920">
                  <c:v>64314</c:v>
                </c:pt>
                <c:pt idx="47921">
                  <c:v>132527</c:v>
                </c:pt>
                <c:pt idx="47922">
                  <c:v>26346</c:v>
                </c:pt>
                <c:pt idx="47923">
                  <c:v>120270</c:v>
                </c:pt>
                <c:pt idx="47924">
                  <c:v>29901</c:v>
                </c:pt>
                <c:pt idx="47925">
                  <c:v>107915</c:v>
                </c:pt>
                <c:pt idx="47926">
                  <c:v>70173</c:v>
                </c:pt>
                <c:pt idx="47927">
                  <c:v>23686</c:v>
                </c:pt>
                <c:pt idx="47928">
                  <c:v>37325</c:v>
                </c:pt>
                <c:pt idx="47929">
                  <c:v>45327</c:v>
                </c:pt>
                <c:pt idx="47930">
                  <c:v>48050</c:v>
                </c:pt>
                <c:pt idx="47931">
                  <c:v>35600</c:v>
                </c:pt>
                <c:pt idx="47932">
                  <c:v>47745</c:v>
                </c:pt>
                <c:pt idx="47933">
                  <c:v>29033</c:v>
                </c:pt>
                <c:pt idx="47934">
                  <c:v>39494</c:v>
                </c:pt>
                <c:pt idx="47935">
                  <c:v>40001</c:v>
                </c:pt>
                <c:pt idx="47936">
                  <c:v>39797</c:v>
                </c:pt>
                <c:pt idx="47937">
                  <c:v>35588</c:v>
                </c:pt>
                <c:pt idx="47938">
                  <c:v>46428</c:v>
                </c:pt>
                <c:pt idx="47939">
                  <c:v>20884</c:v>
                </c:pt>
                <c:pt idx="47940">
                  <c:v>91649</c:v>
                </c:pt>
                <c:pt idx="47941">
                  <c:v>49146</c:v>
                </c:pt>
                <c:pt idx="47942">
                  <c:v>95412</c:v>
                </c:pt>
                <c:pt idx="47943">
                  <c:v>35665</c:v>
                </c:pt>
                <c:pt idx="47944">
                  <c:v>100632</c:v>
                </c:pt>
                <c:pt idx="47945">
                  <c:v>55277</c:v>
                </c:pt>
                <c:pt idx="47946">
                  <c:v>21886</c:v>
                </c:pt>
                <c:pt idx="47947">
                  <c:v>105776</c:v>
                </c:pt>
                <c:pt idx="47948">
                  <c:v>52974</c:v>
                </c:pt>
                <c:pt idx="47949">
                  <c:v>174562</c:v>
                </c:pt>
                <c:pt idx="47950">
                  <c:v>70415</c:v>
                </c:pt>
                <c:pt idx="47951">
                  <c:v>63849</c:v>
                </c:pt>
                <c:pt idx="47952">
                  <c:v>69383</c:v>
                </c:pt>
                <c:pt idx="47953">
                  <c:v>64072</c:v>
                </c:pt>
                <c:pt idx="47954">
                  <c:v>27889</c:v>
                </c:pt>
                <c:pt idx="47955">
                  <c:v>88596</c:v>
                </c:pt>
                <c:pt idx="47956">
                  <c:v>93037</c:v>
                </c:pt>
                <c:pt idx="47957">
                  <c:v>45055</c:v>
                </c:pt>
                <c:pt idx="47958">
                  <c:v>39071</c:v>
                </c:pt>
                <c:pt idx="47959">
                  <c:v>40166</c:v>
                </c:pt>
                <c:pt idx="47960">
                  <c:v>25536</c:v>
                </c:pt>
                <c:pt idx="47961">
                  <c:v>34402</c:v>
                </c:pt>
                <c:pt idx="47962">
                  <c:v>118429</c:v>
                </c:pt>
                <c:pt idx="47963">
                  <c:v>147717</c:v>
                </c:pt>
                <c:pt idx="47964">
                  <c:v>28105</c:v>
                </c:pt>
                <c:pt idx="47965">
                  <c:v>53501</c:v>
                </c:pt>
                <c:pt idx="47966">
                  <c:v>73161</c:v>
                </c:pt>
                <c:pt idx="47967">
                  <c:v>62870</c:v>
                </c:pt>
                <c:pt idx="47968">
                  <c:v>32853</c:v>
                </c:pt>
                <c:pt idx="47969">
                  <c:v>150584</c:v>
                </c:pt>
                <c:pt idx="47970">
                  <c:v>109273</c:v>
                </c:pt>
                <c:pt idx="47971">
                  <c:v>90602</c:v>
                </c:pt>
                <c:pt idx="47972">
                  <c:v>51928</c:v>
                </c:pt>
                <c:pt idx="47973">
                  <c:v>100978</c:v>
                </c:pt>
                <c:pt idx="47974">
                  <c:v>39158</c:v>
                </c:pt>
                <c:pt idx="47975">
                  <c:v>41591</c:v>
                </c:pt>
                <c:pt idx="47976">
                  <c:v>35393</c:v>
                </c:pt>
                <c:pt idx="47977">
                  <c:v>52139</c:v>
                </c:pt>
                <c:pt idx="47978">
                  <c:v>60642</c:v>
                </c:pt>
                <c:pt idx="47979">
                  <c:v>23266</c:v>
                </c:pt>
                <c:pt idx="47980">
                  <c:v>24166</c:v>
                </c:pt>
                <c:pt idx="47981">
                  <c:v>26013</c:v>
                </c:pt>
                <c:pt idx="47982">
                  <c:v>42927</c:v>
                </c:pt>
                <c:pt idx="47983">
                  <c:v>31829</c:v>
                </c:pt>
                <c:pt idx="47984">
                  <c:v>39846</c:v>
                </c:pt>
                <c:pt idx="47985">
                  <c:v>24903</c:v>
                </c:pt>
                <c:pt idx="47986">
                  <c:v>86224</c:v>
                </c:pt>
                <c:pt idx="47987">
                  <c:v>64397</c:v>
                </c:pt>
                <c:pt idx="47988">
                  <c:v>88005</c:v>
                </c:pt>
                <c:pt idx="47989">
                  <c:v>43003</c:v>
                </c:pt>
                <c:pt idx="47990">
                  <c:v>85429</c:v>
                </c:pt>
                <c:pt idx="47991">
                  <c:v>85817</c:v>
                </c:pt>
                <c:pt idx="47992">
                  <c:v>174884</c:v>
                </c:pt>
                <c:pt idx="47993">
                  <c:v>50786</c:v>
                </c:pt>
                <c:pt idx="47994">
                  <c:v>304748</c:v>
                </c:pt>
                <c:pt idx="47995">
                  <c:v>124352</c:v>
                </c:pt>
                <c:pt idx="47996">
                  <c:v>25851</c:v>
                </c:pt>
                <c:pt idx="47997">
                  <c:v>35246</c:v>
                </c:pt>
                <c:pt idx="47998">
                  <c:v>38605</c:v>
                </c:pt>
                <c:pt idx="47999">
                  <c:v>85287</c:v>
                </c:pt>
                <c:pt idx="48000">
                  <c:v>66780</c:v>
                </c:pt>
                <c:pt idx="48001">
                  <c:v>24732</c:v>
                </c:pt>
                <c:pt idx="48002">
                  <c:v>34817</c:v>
                </c:pt>
                <c:pt idx="48003">
                  <c:v>85380</c:v>
                </c:pt>
                <c:pt idx="48004">
                  <c:v>22207</c:v>
                </c:pt>
                <c:pt idx="48005">
                  <c:v>55516</c:v>
                </c:pt>
                <c:pt idx="48006">
                  <c:v>32704</c:v>
                </c:pt>
                <c:pt idx="48007">
                  <c:v>218792</c:v>
                </c:pt>
                <c:pt idx="48008">
                  <c:v>256156</c:v>
                </c:pt>
                <c:pt idx="48009">
                  <c:v>49011</c:v>
                </c:pt>
                <c:pt idx="48010">
                  <c:v>35862</c:v>
                </c:pt>
                <c:pt idx="48011">
                  <c:v>24068</c:v>
                </c:pt>
                <c:pt idx="48012">
                  <c:v>111894</c:v>
                </c:pt>
                <c:pt idx="48013">
                  <c:v>92661</c:v>
                </c:pt>
                <c:pt idx="48014">
                  <c:v>52573</c:v>
                </c:pt>
                <c:pt idx="48015">
                  <c:v>112977</c:v>
                </c:pt>
                <c:pt idx="48016">
                  <c:v>22583</c:v>
                </c:pt>
                <c:pt idx="48017">
                  <c:v>68506</c:v>
                </c:pt>
                <c:pt idx="48018">
                  <c:v>53780</c:v>
                </c:pt>
                <c:pt idx="48019">
                  <c:v>40346</c:v>
                </c:pt>
                <c:pt idx="48020">
                  <c:v>19771</c:v>
                </c:pt>
                <c:pt idx="48021">
                  <c:v>54410</c:v>
                </c:pt>
                <c:pt idx="48022">
                  <c:v>30975</c:v>
                </c:pt>
                <c:pt idx="48023">
                  <c:v>61223</c:v>
                </c:pt>
                <c:pt idx="48024">
                  <c:v>33258</c:v>
                </c:pt>
                <c:pt idx="48025">
                  <c:v>46793</c:v>
                </c:pt>
                <c:pt idx="48026">
                  <c:v>25286</c:v>
                </c:pt>
                <c:pt idx="48027">
                  <c:v>30481</c:v>
                </c:pt>
                <c:pt idx="48028">
                  <c:v>39325</c:v>
                </c:pt>
                <c:pt idx="48029">
                  <c:v>36296</c:v>
                </c:pt>
                <c:pt idx="48030">
                  <c:v>40151</c:v>
                </c:pt>
                <c:pt idx="48031">
                  <c:v>66422</c:v>
                </c:pt>
                <c:pt idx="48032">
                  <c:v>67499</c:v>
                </c:pt>
                <c:pt idx="48033">
                  <c:v>40674</c:v>
                </c:pt>
                <c:pt idx="48034">
                  <c:v>24729</c:v>
                </c:pt>
                <c:pt idx="48035">
                  <c:v>33302</c:v>
                </c:pt>
                <c:pt idx="48036">
                  <c:v>55725</c:v>
                </c:pt>
                <c:pt idx="48037">
                  <c:v>32502</c:v>
                </c:pt>
                <c:pt idx="48038">
                  <c:v>52542</c:v>
                </c:pt>
                <c:pt idx="48039">
                  <c:v>25836</c:v>
                </c:pt>
                <c:pt idx="48040">
                  <c:v>92856</c:v>
                </c:pt>
                <c:pt idx="48041">
                  <c:v>75628</c:v>
                </c:pt>
                <c:pt idx="48042">
                  <c:v>33784</c:v>
                </c:pt>
                <c:pt idx="48043">
                  <c:v>38705</c:v>
                </c:pt>
                <c:pt idx="48044">
                  <c:v>106053</c:v>
                </c:pt>
                <c:pt idx="48045">
                  <c:v>33816</c:v>
                </c:pt>
                <c:pt idx="48046">
                  <c:v>56809</c:v>
                </c:pt>
                <c:pt idx="48047">
                  <c:v>35843</c:v>
                </c:pt>
                <c:pt idx="48048">
                  <c:v>25502</c:v>
                </c:pt>
                <c:pt idx="48049">
                  <c:v>32179</c:v>
                </c:pt>
                <c:pt idx="48050">
                  <c:v>25213</c:v>
                </c:pt>
                <c:pt idx="48051">
                  <c:v>59370</c:v>
                </c:pt>
                <c:pt idx="48052">
                  <c:v>47118</c:v>
                </c:pt>
                <c:pt idx="48053">
                  <c:v>32832</c:v>
                </c:pt>
                <c:pt idx="48054">
                  <c:v>24911</c:v>
                </c:pt>
                <c:pt idx="48055">
                  <c:v>26103</c:v>
                </c:pt>
                <c:pt idx="48056">
                  <c:v>36096</c:v>
                </c:pt>
                <c:pt idx="48057">
                  <c:v>58240</c:v>
                </c:pt>
                <c:pt idx="48058">
                  <c:v>45787</c:v>
                </c:pt>
                <c:pt idx="48059">
                  <c:v>41094</c:v>
                </c:pt>
                <c:pt idx="48060">
                  <c:v>41699</c:v>
                </c:pt>
                <c:pt idx="48061">
                  <c:v>44684</c:v>
                </c:pt>
                <c:pt idx="48062">
                  <c:v>46141</c:v>
                </c:pt>
                <c:pt idx="48063">
                  <c:v>24717</c:v>
                </c:pt>
                <c:pt idx="48064">
                  <c:v>41263</c:v>
                </c:pt>
                <c:pt idx="48065">
                  <c:v>38140</c:v>
                </c:pt>
                <c:pt idx="48066">
                  <c:v>55815</c:v>
                </c:pt>
                <c:pt idx="48067">
                  <c:v>55048</c:v>
                </c:pt>
                <c:pt idx="48068">
                  <c:v>68158</c:v>
                </c:pt>
                <c:pt idx="48069">
                  <c:v>79133</c:v>
                </c:pt>
                <c:pt idx="48070">
                  <c:v>100324</c:v>
                </c:pt>
                <c:pt idx="48071">
                  <c:v>57257</c:v>
                </c:pt>
                <c:pt idx="48072">
                  <c:v>63064</c:v>
                </c:pt>
                <c:pt idx="48073">
                  <c:v>39156</c:v>
                </c:pt>
                <c:pt idx="48074">
                  <c:v>42988</c:v>
                </c:pt>
                <c:pt idx="48075">
                  <c:v>110687</c:v>
                </c:pt>
                <c:pt idx="48076">
                  <c:v>61816</c:v>
                </c:pt>
                <c:pt idx="48077">
                  <c:v>58219</c:v>
                </c:pt>
                <c:pt idx="48078">
                  <c:v>25031</c:v>
                </c:pt>
                <c:pt idx="48079">
                  <c:v>44012</c:v>
                </c:pt>
                <c:pt idx="48080">
                  <c:v>34339</c:v>
                </c:pt>
                <c:pt idx="48081">
                  <c:v>146588</c:v>
                </c:pt>
                <c:pt idx="48082">
                  <c:v>38789</c:v>
                </c:pt>
                <c:pt idx="48083">
                  <c:v>61446</c:v>
                </c:pt>
                <c:pt idx="48084">
                  <c:v>68082</c:v>
                </c:pt>
                <c:pt idx="48085">
                  <c:v>126202</c:v>
                </c:pt>
                <c:pt idx="48086">
                  <c:v>160579</c:v>
                </c:pt>
                <c:pt idx="48087">
                  <c:v>48404</c:v>
                </c:pt>
                <c:pt idx="48088">
                  <c:v>38766</c:v>
                </c:pt>
                <c:pt idx="48089">
                  <c:v>27321</c:v>
                </c:pt>
                <c:pt idx="48090">
                  <c:v>36209</c:v>
                </c:pt>
                <c:pt idx="48091">
                  <c:v>49278</c:v>
                </c:pt>
                <c:pt idx="48092">
                  <c:v>24132</c:v>
                </c:pt>
                <c:pt idx="48093">
                  <c:v>50709</c:v>
                </c:pt>
                <c:pt idx="48094">
                  <c:v>42112</c:v>
                </c:pt>
                <c:pt idx="48095">
                  <c:v>48615</c:v>
                </c:pt>
                <c:pt idx="48096">
                  <c:v>28277</c:v>
                </c:pt>
                <c:pt idx="48097">
                  <c:v>32653</c:v>
                </c:pt>
                <c:pt idx="48098">
                  <c:v>91249</c:v>
                </c:pt>
                <c:pt idx="48099">
                  <c:v>25365</c:v>
                </c:pt>
                <c:pt idx="48100">
                  <c:v>39020</c:v>
                </c:pt>
                <c:pt idx="48101">
                  <c:v>34430</c:v>
                </c:pt>
                <c:pt idx="48102">
                  <c:v>40880</c:v>
                </c:pt>
                <c:pt idx="48103">
                  <c:v>66274</c:v>
                </c:pt>
                <c:pt idx="48104">
                  <c:v>51981</c:v>
                </c:pt>
                <c:pt idx="48105">
                  <c:v>92960</c:v>
                </c:pt>
                <c:pt idx="48106">
                  <c:v>33466</c:v>
                </c:pt>
                <c:pt idx="48107">
                  <c:v>42671</c:v>
                </c:pt>
                <c:pt idx="48108">
                  <c:v>32456</c:v>
                </c:pt>
                <c:pt idx="48109">
                  <c:v>25259</c:v>
                </c:pt>
                <c:pt idx="48110">
                  <c:v>50254</c:v>
                </c:pt>
                <c:pt idx="48111">
                  <c:v>58273</c:v>
                </c:pt>
                <c:pt idx="48112">
                  <c:v>58298</c:v>
                </c:pt>
                <c:pt idx="48113">
                  <c:v>82980</c:v>
                </c:pt>
                <c:pt idx="48114">
                  <c:v>43298</c:v>
                </c:pt>
                <c:pt idx="48115">
                  <c:v>46894</c:v>
                </c:pt>
                <c:pt idx="48116">
                  <c:v>76914</c:v>
                </c:pt>
                <c:pt idx="48117">
                  <c:v>46524</c:v>
                </c:pt>
                <c:pt idx="48118">
                  <c:v>107480</c:v>
                </c:pt>
                <c:pt idx="48119">
                  <c:v>35613</c:v>
                </c:pt>
                <c:pt idx="48120">
                  <c:v>24115</c:v>
                </c:pt>
                <c:pt idx="48121">
                  <c:v>42725</c:v>
                </c:pt>
                <c:pt idx="48122">
                  <c:v>105736</c:v>
                </c:pt>
                <c:pt idx="48123">
                  <c:v>40100</c:v>
                </c:pt>
                <c:pt idx="48124">
                  <c:v>29471</c:v>
                </c:pt>
                <c:pt idx="48125">
                  <c:v>229129</c:v>
                </c:pt>
                <c:pt idx="48126">
                  <c:v>78596</c:v>
                </c:pt>
                <c:pt idx="48127">
                  <c:v>26600</c:v>
                </c:pt>
                <c:pt idx="48128">
                  <c:v>33246</c:v>
                </c:pt>
                <c:pt idx="48129">
                  <c:v>43529</c:v>
                </c:pt>
                <c:pt idx="48130">
                  <c:v>64971</c:v>
                </c:pt>
                <c:pt idx="48131">
                  <c:v>43438</c:v>
                </c:pt>
                <c:pt idx="48132">
                  <c:v>24941</c:v>
                </c:pt>
                <c:pt idx="48133">
                  <c:v>51076</c:v>
                </c:pt>
                <c:pt idx="48134">
                  <c:v>103588</c:v>
                </c:pt>
                <c:pt idx="48135">
                  <c:v>89902</c:v>
                </c:pt>
                <c:pt idx="48136">
                  <c:v>35858</c:v>
                </c:pt>
                <c:pt idx="48137">
                  <c:v>28207</c:v>
                </c:pt>
                <c:pt idx="48138">
                  <c:v>38567</c:v>
                </c:pt>
                <c:pt idx="48139">
                  <c:v>32428</c:v>
                </c:pt>
                <c:pt idx="48140">
                  <c:v>43894</c:v>
                </c:pt>
                <c:pt idx="48141">
                  <c:v>25745</c:v>
                </c:pt>
                <c:pt idx="48142">
                  <c:v>71679</c:v>
                </c:pt>
                <c:pt idx="48143">
                  <c:v>40166</c:v>
                </c:pt>
                <c:pt idx="48144">
                  <c:v>101586</c:v>
                </c:pt>
                <c:pt idx="48145">
                  <c:v>91961</c:v>
                </c:pt>
                <c:pt idx="48146">
                  <c:v>43465</c:v>
                </c:pt>
                <c:pt idx="48147">
                  <c:v>28831</c:v>
                </c:pt>
                <c:pt idx="48148">
                  <c:v>87761</c:v>
                </c:pt>
                <c:pt idx="48149">
                  <c:v>62426</c:v>
                </c:pt>
                <c:pt idx="48150">
                  <c:v>53703</c:v>
                </c:pt>
                <c:pt idx="48151">
                  <c:v>34616</c:v>
                </c:pt>
                <c:pt idx="48152">
                  <c:v>57827</c:v>
                </c:pt>
                <c:pt idx="48153">
                  <c:v>32455</c:v>
                </c:pt>
                <c:pt idx="48154">
                  <c:v>51204</c:v>
                </c:pt>
                <c:pt idx="48155">
                  <c:v>326838</c:v>
                </c:pt>
                <c:pt idx="48156">
                  <c:v>41581</c:v>
                </c:pt>
                <c:pt idx="48157">
                  <c:v>158493</c:v>
                </c:pt>
                <c:pt idx="48158">
                  <c:v>40297</c:v>
                </c:pt>
                <c:pt idx="48159">
                  <c:v>30521</c:v>
                </c:pt>
                <c:pt idx="48160">
                  <c:v>90129</c:v>
                </c:pt>
                <c:pt idx="48161">
                  <c:v>61978</c:v>
                </c:pt>
                <c:pt idx="48162">
                  <c:v>37972</c:v>
                </c:pt>
                <c:pt idx="48163">
                  <c:v>73006</c:v>
                </c:pt>
                <c:pt idx="48164">
                  <c:v>36750</c:v>
                </c:pt>
                <c:pt idx="48165">
                  <c:v>26501</c:v>
                </c:pt>
                <c:pt idx="48166">
                  <c:v>42538</c:v>
                </c:pt>
                <c:pt idx="48167">
                  <c:v>83756</c:v>
                </c:pt>
                <c:pt idx="48168">
                  <c:v>42064</c:v>
                </c:pt>
                <c:pt idx="48169">
                  <c:v>24169</c:v>
                </c:pt>
                <c:pt idx="48170">
                  <c:v>79030</c:v>
                </c:pt>
                <c:pt idx="48171">
                  <c:v>48514</c:v>
                </c:pt>
                <c:pt idx="48172">
                  <c:v>56695</c:v>
                </c:pt>
                <c:pt idx="48173">
                  <c:v>49624</c:v>
                </c:pt>
                <c:pt idx="48174">
                  <c:v>145320</c:v>
                </c:pt>
                <c:pt idx="48175">
                  <c:v>28488</c:v>
                </c:pt>
                <c:pt idx="48176">
                  <c:v>47934</c:v>
                </c:pt>
                <c:pt idx="48177">
                  <c:v>22230</c:v>
                </c:pt>
                <c:pt idx="48178">
                  <c:v>103983</c:v>
                </c:pt>
                <c:pt idx="48179">
                  <c:v>36388</c:v>
                </c:pt>
                <c:pt idx="48180">
                  <c:v>203116</c:v>
                </c:pt>
                <c:pt idx="48181">
                  <c:v>35123</c:v>
                </c:pt>
                <c:pt idx="48182">
                  <c:v>45873</c:v>
                </c:pt>
                <c:pt idx="48183">
                  <c:v>43360</c:v>
                </c:pt>
                <c:pt idx="48184">
                  <c:v>30518</c:v>
                </c:pt>
                <c:pt idx="48185">
                  <c:v>81720</c:v>
                </c:pt>
                <c:pt idx="48186">
                  <c:v>30824</c:v>
                </c:pt>
                <c:pt idx="48187">
                  <c:v>28703</c:v>
                </c:pt>
                <c:pt idx="48188">
                  <c:v>81932</c:v>
                </c:pt>
                <c:pt idx="48189">
                  <c:v>49901</c:v>
                </c:pt>
                <c:pt idx="48190">
                  <c:v>106398</c:v>
                </c:pt>
                <c:pt idx="48191">
                  <c:v>104590</c:v>
                </c:pt>
                <c:pt idx="48192">
                  <c:v>111295</c:v>
                </c:pt>
                <c:pt idx="48193">
                  <c:v>141603</c:v>
                </c:pt>
                <c:pt idx="48194">
                  <c:v>38395</c:v>
                </c:pt>
                <c:pt idx="48195">
                  <c:v>254388</c:v>
                </c:pt>
                <c:pt idx="48196">
                  <c:v>46624</c:v>
                </c:pt>
                <c:pt idx="48197">
                  <c:v>30564</c:v>
                </c:pt>
                <c:pt idx="48198">
                  <c:v>35023</c:v>
                </c:pt>
                <c:pt idx="48199">
                  <c:v>44533</c:v>
                </c:pt>
                <c:pt idx="48200">
                  <c:v>40453</c:v>
                </c:pt>
                <c:pt idx="48201">
                  <c:v>43070</c:v>
                </c:pt>
                <c:pt idx="48202">
                  <c:v>30898</c:v>
                </c:pt>
                <c:pt idx="48203">
                  <c:v>69570</c:v>
                </c:pt>
                <c:pt idx="48204">
                  <c:v>173364</c:v>
                </c:pt>
                <c:pt idx="48205">
                  <c:v>26812</c:v>
                </c:pt>
                <c:pt idx="48206">
                  <c:v>37787</c:v>
                </c:pt>
                <c:pt idx="48207">
                  <c:v>34268</c:v>
                </c:pt>
                <c:pt idx="48208">
                  <c:v>43029</c:v>
                </c:pt>
                <c:pt idx="48209">
                  <c:v>42982</c:v>
                </c:pt>
                <c:pt idx="48210">
                  <c:v>44582</c:v>
                </c:pt>
                <c:pt idx="48211">
                  <c:v>22829</c:v>
                </c:pt>
                <c:pt idx="48212">
                  <c:v>124540</c:v>
                </c:pt>
                <c:pt idx="48213">
                  <c:v>23482</c:v>
                </c:pt>
                <c:pt idx="48214">
                  <c:v>38500</c:v>
                </c:pt>
                <c:pt idx="48215">
                  <c:v>20257</c:v>
                </c:pt>
                <c:pt idx="48216">
                  <c:v>25614</c:v>
                </c:pt>
                <c:pt idx="48217">
                  <c:v>25131</c:v>
                </c:pt>
                <c:pt idx="48218">
                  <c:v>48902</c:v>
                </c:pt>
                <c:pt idx="48219">
                  <c:v>37674</c:v>
                </c:pt>
                <c:pt idx="48220">
                  <c:v>36349</c:v>
                </c:pt>
                <c:pt idx="48221">
                  <c:v>53648</c:v>
                </c:pt>
                <c:pt idx="48222">
                  <c:v>44285</c:v>
                </c:pt>
                <c:pt idx="48223">
                  <c:v>54896</c:v>
                </c:pt>
                <c:pt idx="48224">
                  <c:v>46588</c:v>
                </c:pt>
                <c:pt idx="48225">
                  <c:v>30357</c:v>
                </c:pt>
                <c:pt idx="48226">
                  <c:v>36475</c:v>
                </c:pt>
                <c:pt idx="48227">
                  <c:v>104819</c:v>
                </c:pt>
                <c:pt idx="48228">
                  <c:v>115868</c:v>
                </c:pt>
                <c:pt idx="48229">
                  <c:v>26654</c:v>
                </c:pt>
                <c:pt idx="48230">
                  <c:v>34038</c:v>
                </c:pt>
                <c:pt idx="48231">
                  <c:v>34027</c:v>
                </c:pt>
                <c:pt idx="48232">
                  <c:v>37851</c:v>
                </c:pt>
                <c:pt idx="48233">
                  <c:v>32384</c:v>
                </c:pt>
                <c:pt idx="48234">
                  <c:v>93233</c:v>
                </c:pt>
                <c:pt idx="48235">
                  <c:v>101263</c:v>
                </c:pt>
                <c:pt idx="48236">
                  <c:v>126093</c:v>
                </c:pt>
                <c:pt idx="48237">
                  <c:v>30524</c:v>
                </c:pt>
                <c:pt idx="48238">
                  <c:v>264122</c:v>
                </c:pt>
                <c:pt idx="48239">
                  <c:v>57325</c:v>
                </c:pt>
                <c:pt idx="48240">
                  <c:v>38207</c:v>
                </c:pt>
                <c:pt idx="48241">
                  <c:v>59488</c:v>
                </c:pt>
                <c:pt idx="48242">
                  <c:v>33608</c:v>
                </c:pt>
                <c:pt idx="48243">
                  <c:v>37356</c:v>
                </c:pt>
                <c:pt idx="48244">
                  <c:v>33571</c:v>
                </c:pt>
                <c:pt idx="48245">
                  <c:v>21989</c:v>
                </c:pt>
                <c:pt idx="48246">
                  <c:v>137272</c:v>
                </c:pt>
                <c:pt idx="48247">
                  <c:v>66434</c:v>
                </c:pt>
                <c:pt idx="48248">
                  <c:v>26386</c:v>
                </c:pt>
                <c:pt idx="48249">
                  <c:v>63434</c:v>
                </c:pt>
                <c:pt idx="48250">
                  <c:v>57444</c:v>
                </c:pt>
                <c:pt idx="48251">
                  <c:v>28795</c:v>
                </c:pt>
                <c:pt idx="48252">
                  <c:v>37948</c:v>
                </c:pt>
                <c:pt idx="48253">
                  <c:v>23296</c:v>
                </c:pt>
                <c:pt idx="48254">
                  <c:v>70075</c:v>
                </c:pt>
                <c:pt idx="48255">
                  <c:v>31943</c:v>
                </c:pt>
                <c:pt idx="48256">
                  <c:v>41754</c:v>
                </c:pt>
                <c:pt idx="48257">
                  <c:v>38423</c:v>
                </c:pt>
                <c:pt idx="48258">
                  <c:v>24505</c:v>
                </c:pt>
                <c:pt idx="48259">
                  <c:v>26397</c:v>
                </c:pt>
                <c:pt idx="48260">
                  <c:v>26348</c:v>
                </c:pt>
                <c:pt idx="48261">
                  <c:v>26307</c:v>
                </c:pt>
                <c:pt idx="48262">
                  <c:v>30049</c:v>
                </c:pt>
                <c:pt idx="48263">
                  <c:v>94914</c:v>
                </c:pt>
                <c:pt idx="48264">
                  <c:v>57269</c:v>
                </c:pt>
                <c:pt idx="48265">
                  <c:v>53442</c:v>
                </c:pt>
                <c:pt idx="48266">
                  <c:v>61433</c:v>
                </c:pt>
                <c:pt idx="48267">
                  <c:v>62095</c:v>
                </c:pt>
                <c:pt idx="48268">
                  <c:v>44685</c:v>
                </c:pt>
                <c:pt idx="48269">
                  <c:v>61297</c:v>
                </c:pt>
                <c:pt idx="48270">
                  <c:v>174287</c:v>
                </c:pt>
                <c:pt idx="48271">
                  <c:v>122593</c:v>
                </c:pt>
                <c:pt idx="48272">
                  <c:v>38902</c:v>
                </c:pt>
                <c:pt idx="48273">
                  <c:v>37200</c:v>
                </c:pt>
                <c:pt idx="48274">
                  <c:v>51501</c:v>
                </c:pt>
                <c:pt idx="48275">
                  <c:v>22275</c:v>
                </c:pt>
                <c:pt idx="48276">
                  <c:v>29247</c:v>
                </c:pt>
                <c:pt idx="48277">
                  <c:v>127464</c:v>
                </c:pt>
                <c:pt idx="48278">
                  <c:v>36115</c:v>
                </c:pt>
                <c:pt idx="48279">
                  <c:v>32105</c:v>
                </c:pt>
                <c:pt idx="48280">
                  <c:v>33783</c:v>
                </c:pt>
                <c:pt idx="48281">
                  <c:v>42563</c:v>
                </c:pt>
                <c:pt idx="48282">
                  <c:v>50933</c:v>
                </c:pt>
                <c:pt idx="48283">
                  <c:v>54062</c:v>
                </c:pt>
                <c:pt idx="48284">
                  <c:v>192155</c:v>
                </c:pt>
                <c:pt idx="48285">
                  <c:v>24074</c:v>
                </c:pt>
                <c:pt idx="48286">
                  <c:v>161123</c:v>
                </c:pt>
                <c:pt idx="48287">
                  <c:v>109542</c:v>
                </c:pt>
                <c:pt idx="48288">
                  <c:v>50982</c:v>
                </c:pt>
                <c:pt idx="48289">
                  <c:v>30030</c:v>
                </c:pt>
                <c:pt idx="48290">
                  <c:v>21390</c:v>
                </c:pt>
                <c:pt idx="48291">
                  <c:v>70334</c:v>
                </c:pt>
                <c:pt idx="48292">
                  <c:v>69184</c:v>
                </c:pt>
                <c:pt idx="48293">
                  <c:v>75782</c:v>
                </c:pt>
                <c:pt idx="48294">
                  <c:v>48679</c:v>
                </c:pt>
                <c:pt idx="48295">
                  <c:v>33955</c:v>
                </c:pt>
                <c:pt idx="48296">
                  <c:v>48789</c:v>
                </c:pt>
                <c:pt idx="48297">
                  <c:v>150596</c:v>
                </c:pt>
                <c:pt idx="48298">
                  <c:v>179645</c:v>
                </c:pt>
                <c:pt idx="48299">
                  <c:v>20235</c:v>
                </c:pt>
                <c:pt idx="48300">
                  <c:v>47226</c:v>
                </c:pt>
                <c:pt idx="48301">
                  <c:v>97345</c:v>
                </c:pt>
                <c:pt idx="48302">
                  <c:v>26418</c:v>
                </c:pt>
                <c:pt idx="48303">
                  <c:v>42396</c:v>
                </c:pt>
                <c:pt idx="48304">
                  <c:v>30914</c:v>
                </c:pt>
                <c:pt idx="48305">
                  <c:v>55454</c:v>
                </c:pt>
                <c:pt idx="48306">
                  <c:v>23508</c:v>
                </c:pt>
                <c:pt idx="48307">
                  <c:v>52457</c:v>
                </c:pt>
                <c:pt idx="48308">
                  <c:v>39166</c:v>
                </c:pt>
                <c:pt idx="48309">
                  <c:v>85012</c:v>
                </c:pt>
                <c:pt idx="48310">
                  <c:v>54192</c:v>
                </c:pt>
                <c:pt idx="48311">
                  <c:v>41811</c:v>
                </c:pt>
                <c:pt idx="48312">
                  <c:v>42152</c:v>
                </c:pt>
                <c:pt idx="48313">
                  <c:v>137832</c:v>
                </c:pt>
                <c:pt idx="48314">
                  <c:v>70023</c:v>
                </c:pt>
                <c:pt idx="48315">
                  <c:v>25731</c:v>
                </c:pt>
                <c:pt idx="48316">
                  <c:v>84352</c:v>
                </c:pt>
                <c:pt idx="48317">
                  <c:v>41671</c:v>
                </c:pt>
                <c:pt idx="48318">
                  <c:v>139863</c:v>
                </c:pt>
                <c:pt idx="48319">
                  <c:v>157001</c:v>
                </c:pt>
                <c:pt idx="48320">
                  <c:v>48041</c:v>
                </c:pt>
                <c:pt idx="48321">
                  <c:v>158450</c:v>
                </c:pt>
                <c:pt idx="48322">
                  <c:v>36270</c:v>
                </c:pt>
                <c:pt idx="48323">
                  <c:v>34442</c:v>
                </c:pt>
                <c:pt idx="48324">
                  <c:v>27685</c:v>
                </c:pt>
                <c:pt idx="48325">
                  <c:v>22022</c:v>
                </c:pt>
                <c:pt idx="48326">
                  <c:v>42972</c:v>
                </c:pt>
                <c:pt idx="48327">
                  <c:v>131093</c:v>
                </c:pt>
                <c:pt idx="48328">
                  <c:v>33085</c:v>
                </c:pt>
                <c:pt idx="48329">
                  <c:v>41026</c:v>
                </c:pt>
                <c:pt idx="48330">
                  <c:v>86356</c:v>
                </c:pt>
                <c:pt idx="48331">
                  <c:v>39790</c:v>
                </c:pt>
                <c:pt idx="48332">
                  <c:v>44893</c:v>
                </c:pt>
                <c:pt idx="48333">
                  <c:v>35725</c:v>
                </c:pt>
                <c:pt idx="48334">
                  <c:v>49436</c:v>
                </c:pt>
                <c:pt idx="48335">
                  <c:v>49067</c:v>
                </c:pt>
                <c:pt idx="48336">
                  <c:v>66810</c:v>
                </c:pt>
                <c:pt idx="48337">
                  <c:v>26463</c:v>
                </c:pt>
                <c:pt idx="48338">
                  <c:v>122614</c:v>
                </c:pt>
                <c:pt idx="48339">
                  <c:v>58345</c:v>
                </c:pt>
                <c:pt idx="48340">
                  <c:v>95995</c:v>
                </c:pt>
                <c:pt idx="48341">
                  <c:v>103528</c:v>
                </c:pt>
                <c:pt idx="48342">
                  <c:v>60881</c:v>
                </c:pt>
                <c:pt idx="48343">
                  <c:v>47665</c:v>
                </c:pt>
                <c:pt idx="48344">
                  <c:v>54248</c:v>
                </c:pt>
                <c:pt idx="48345">
                  <c:v>63453</c:v>
                </c:pt>
                <c:pt idx="48346">
                  <c:v>37551</c:v>
                </c:pt>
                <c:pt idx="48347">
                  <c:v>31569</c:v>
                </c:pt>
                <c:pt idx="48348">
                  <c:v>42589</c:v>
                </c:pt>
                <c:pt idx="48349">
                  <c:v>28062</c:v>
                </c:pt>
                <c:pt idx="48350">
                  <c:v>32018</c:v>
                </c:pt>
                <c:pt idx="48351">
                  <c:v>32625</c:v>
                </c:pt>
                <c:pt idx="48352">
                  <c:v>73575</c:v>
                </c:pt>
                <c:pt idx="48353">
                  <c:v>238792</c:v>
                </c:pt>
                <c:pt idx="48354">
                  <c:v>103315</c:v>
                </c:pt>
                <c:pt idx="48355">
                  <c:v>24074</c:v>
                </c:pt>
                <c:pt idx="48356">
                  <c:v>42271</c:v>
                </c:pt>
                <c:pt idx="48357">
                  <c:v>115128</c:v>
                </c:pt>
                <c:pt idx="48358">
                  <c:v>26541</c:v>
                </c:pt>
                <c:pt idx="48359">
                  <c:v>43434</c:v>
                </c:pt>
                <c:pt idx="48360">
                  <c:v>32061</c:v>
                </c:pt>
                <c:pt idx="48361">
                  <c:v>36421</c:v>
                </c:pt>
                <c:pt idx="48362">
                  <c:v>25288</c:v>
                </c:pt>
                <c:pt idx="48363">
                  <c:v>42517</c:v>
                </c:pt>
                <c:pt idx="48364">
                  <c:v>41930</c:v>
                </c:pt>
                <c:pt idx="48365">
                  <c:v>48815</c:v>
                </c:pt>
                <c:pt idx="48366">
                  <c:v>80224</c:v>
                </c:pt>
                <c:pt idx="48367">
                  <c:v>32059</c:v>
                </c:pt>
                <c:pt idx="48368">
                  <c:v>33613</c:v>
                </c:pt>
                <c:pt idx="48369">
                  <c:v>79383</c:v>
                </c:pt>
                <c:pt idx="48370">
                  <c:v>156714</c:v>
                </c:pt>
                <c:pt idx="48371">
                  <c:v>43204</c:v>
                </c:pt>
                <c:pt idx="48372">
                  <c:v>35400</c:v>
                </c:pt>
                <c:pt idx="48373">
                  <c:v>24972</c:v>
                </c:pt>
                <c:pt idx="48374">
                  <c:v>20310</c:v>
                </c:pt>
                <c:pt idx="48375">
                  <c:v>53032</c:v>
                </c:pt>
                <c:pt idx="48376">
                  <c:v>22890</c:v>
                </c:pt>
                <c:pt idx="48377">
                  <c:v>30836</c:v>
                </c:pt>
                <c:pt idx="48378">
                  <c:v>47663</c:v>
                </c:pt>
                <c:pt idx="48379">
                  <c:v>35199</c:v>
                </c:pt>
                <c:pt idx="48380">
                  <c:v>22782</c:v>
                </c:pt>
                <c:pt idx="48381">
                  <c:v>24407</c:v>
                </c:pt>
                <c:pt idx="48382">
                  <c:v>26174</c:v>
                </c:pt>
                <c:pt idx="48383">
                  <c:v>27326</c:v>
                </c:pt>
                <c:pt idx="48384">
                  <c:v>37541</c:v>
                </c:pt>
                <c:pt idx="48385">
                  <c:v>35364</c:v>
                </c:pt>
                <c:pt idx="48386">
                  <c:v>48148</c:v>
                </c:pt>
                <c:pt idx="48387">
                  <c:v>37380</c:v>
                </c:pt>
                <c:pt idx="48388">
                  <c:v>27338</c:v>
                </c:pt>
                <c:pt idx="48389">
                  <c:v>153264</c:v>
                </c:pt>
                <c:pt idx="48390">
                  <c:v>58819</c:v>
                </c:pt>
                <c:pt idx="48391">
                  <c:v>46286</c:v>
                </c:pt>
                <c:pt idx="48392">
                  <c:v>44903</c:v>
                </c:pt>
                <c:pt idx="48393">
                  <c:v>23409</c:v>
                </c:pt>
                <c:pt idx="48394">
                  <c:v>24335</c:v>
                </c:pt>
                <c:pt idx="48395">
                  <c:v>107728</c:v>
                </c:pt>
                <c:pt idx="48396">
                  <c:v>100188</c:v>
                </c:pt>
                <c:pt idx="48397">
                  <c:v>33448</c:v>
                </c:pt>
                <c:pt idx="48398">
                  <c:v>23739</c:v>
                </c:pt>
                <c:pt idx="48399">
                  <c:v>52887</c:v>
                </c:pt>
                <c:pt idx="48400">
                  <c:v>91327</c:v>
                </c:pt>
                <c:pt idx="48401">
                  <c:v>38219</c:v>
                </c:pt>
                <c:pt idx="48402">
                  <c:v>26031</c:v>
                </c:pt>
                <c:pt idx="48403">
                  <c:v>56379</c:v>
                </c:pt>
                <c:pt idx="48404">
                  <c:v>46575</c:v>
                </c:pt>
                <c:pt idx="48405">
                  <c:v>82299</c:v>
                </c:pt>
                <c:pt idx="48406">
                  <c:v>21397</c:v>
                </c:pt>
                <c:pt idx="48407">
                  <c:v>57005</c:v>
                </c:pt>
                <c:pt idx="48408">
                  <c:v>38630</c:v>
                </c:pt>
                <c:pt idx="48409">
                  <c:v>63677</c:v>
                </c:pt>
                <c:pt idx="48410">
                  <c:v>33058</c:v>
                </c:pt>
                <c:pt idx="48411">
                  <c:v>151944</c:v>
                </c:pt>
                <c:pt idx="48412">
                  <c:v>85097</c:v>
                </c:pt>
                <c:pt idx="48413">
                  <c:v>39932</c:v>
                </c:pt>
                <c:pt idx="48414">
                  <c:v>33361</c:v>
                </c:pt>
                <c:pt idx="48415">
                  <c:v>114973</c:v>
                </c:pt>
                <c:pt idx="48416">
                  <c:v>46223</c:v>
                </c:pt>
                <c:pt idx="48417">
                  <c:v>34103</c:v>
                </c:pt>
                <c:pt idx="48418">
                  <c:v>34728</c:v>
                </c:pt>
                <c:pt idx="48419">
                  <c:v>34528</c:v>
                </c:pt>
                <c:pt idx="48420">
                  <c:v>37440</c:v>
                </c:pt>
                <c:pt idx="48421">
                  <c:v>57372</c:v>
                </c:pt>
                <c:pt idx="48422">
                  <c:v>91210</c:v>
                </c:pt>
                <c:pt idx="48423">
                  <c:v>40232</c:v>
                </c:pt>
                <c:pt idx="48424">
                  <c:v>33527</c:v>
                </c:pt>
                <c:pt idx="48425">
                  <c:v>85524</c:v>
                </c:pt>
                <c:pt idx="48426">
                  <c:v>24836</c:v>
                </c:pt>
                <c:pt idx="48427">
                  <c:v>82931</c:v>
                </c:pt>
                <c:pt idx="48428">
                  <c:v>57821</c:v>
                </c:pt>
                <c:pt idx="48429">
                  <c:v>25286</c:v>
                </c:pt>
                <c:pt idx="48430">
                  <c:v>138954</c:v>
                </c:pt>
                <c:pt idx="48431">
                  <c:v>38017</c:v>
                </c:pt>
                <c:pt idx="48432">
                  <c:v>64422</c:v>
                </c:pt>
                <c:pt idx="48433">
                  <c:v>44036</c:v>
                </c:pt>
                <c:pt idx="48434">
                  <c:v>18326</c:v>
                </c:pt>
                <c:pt idx="48435">
                  <c:v>87250</c:v>
                </c:pt>
                <c:pt idx="48436">
                  <c:v>43691</c:v>
                </c:pt>
                <c:pt idx="48437">
                  <c:v>26167</c:v>
                </c:pt>
                <c:pt idx="48438">
                  <c:v>26915</c:v>
                </c:pt>
                <c:pt idx="48439">
                  <c:v>35485</c:v>
                </c:pt>
                <c:pt idx="48440">
                  <c:v>15000</c:v>
                </c:pt>
                <c:pt idx="48441">
                  <c:v>76809</c:v>
                </c:pt>
                <c:pt idx="48442">
                  <c:v>40761</c:v>
                </c:pt>
                <c:pt idx="48443">
                  <c:v>37711</c:v>
                </c:pt>
                <c:pt idx="48444">
                  <c:v>38249</c:v>
                </c:pt>
                <c:pt idx="48445">
                  <c:v>84078</c:v>
                </c:pt>
                <c:pt idx="48446">
                  <c:v>165340</c:v>
                </c:pt>
                <c:pt idx="48447">
                  <c:v>26023</c:v>
                </c:pt>
                <c:pt idx="48448">
                  <c:v>142559</c:v>
                </c:pt>
                <c:pt idx="48449">
                  <c:v>31405</c:v>
                </c:pt>
                <c:pt idx="48450">
                  <c:v>36255</c:v>
                </c:pt>
                <c:pt idx="48451">
                  <c:v>42403</c:v>
                </c:pt>
                <c:pt idx="48452">
                  <c:v>168692</c:v>
                </c:pt>
                <c:pt idx="48453">
                  <c:v>31317</c:v>
                </c:pt>
                <c:pt idx="48454">
                  <c:v>49362</c:v>
                </c:pt>
                <c:pt idx="48455">
                  <c:v>33165</c:v>
                </c:pt>
                <c:pt idx="48456">
                  <c:v>152383</c:v>
                </c:pt>
                <c:pt idx="48457">
                  <c:v>26580</c:v>
                </c:pt>
                <c:pt idx="48458">
                  <c:v>21881</c:v>
                </c:pt>
                <c:pt idx="48459">
                  <c:v>166818</c:v>
                </c:pt>
                <c:pt idx="48460">
                  <c:v>88529</c:v>
                </c:pt>
                <c:pt idx="48461">
                  <c:v>57155</c:v>
                </c:pt>
                <c:pt idx="48462">
                  <c:v>52168</c:v>
                </c:pt>
                <c:pt idx="48463">
                  <c:v>23926</c:v>
                </c:pt>
                <c:pt idx="48464">
                  <c:v>127393</c:v>
                </c:pt>
                <c:pt idx="48465">
                  <c:v>53341</c:v>
                </c:pt>
                <c:pt idx="48466">
                  <c:v>62893</c:v>
                </c:pt>
                <c:pt idx="48467">
                  <c:v>31653</c:v>
                </c:pt>
                <c:pt idx="48468">
                  <c:v>47853</c:v>
                </c:pt>
                <c:pt idx="48469">
                  <c:v>113155</c:v>
                </c:pt>
                <c:pt idx="48470">
                  <c:v>35817</c:v>
                </c:pt>
                <c:pt idx="48471">
                  <c:v>27348</c:v>
                </c:pt>
                <c:pt idx="48472">
                  <c:v>49177</c:v>
                </c:pt>
                <c:pt idx="48473">
                  <c:v>47302</c:v>
                </c:pt>
                <c:pt idx="48474">
                  <c:v>139115</c:v>
                </c:pt>
                <c:pt idx="48475">
                  <c:v>37078</c:v>
                </c:pt>
                <c:pt idx="48476">
                  <c:v>77313</c:v>
                </c:pt>
                <c:pt idx="48477">
                  <c:v>224902</c:v>
                </c:pt>
                <c:pt idx="48478">
                  <c:v>44089</c:v>
                </c:pt>
                <c:pt idx="48479">
                  <c:v>63364</c:v>
                </c:pt>
                <c:pt idx="48480">
                  <c:v>49668</c:v>
                </c:pt>
                <c:pt idx="48481">
                  <c:v>146208</c:v>
                </c:pt>
                <c:pt idx="48482">
                  <c:v>40644</c:v>
                </c:pt>
                <c:pt idx="48483">
                  <c:v>40772</c:v>
                </c:pt>
                <c:pt idx="48484">
                  <c:v>28364</c:v>
                </c:pt>
                <c:pt idx="48485">
                  <c:v>34486</c:v>
                </c:pt>
                <c:pt idx="48486">
                  <c:v>48151</c:v>
                </c:pt>
                <c:pt idx="48487">
                  <c:v>38983</c:v>
                </c:pt>
                <c:pt idx="48488">
                  <c:v>33993</c:v>
                </c:pt>
                <c:pt idx="48489">
                  <c:v>202455</c:v>
                </c:pt>
                <c:pt idx="48490">
                  <c:v>54550</c:v>
                </c:pt>
                <c:pt idx="48491">
                  <c:v>52684</c:v>
                </c:pt>
                <c:pt idx="48492">
                  <c:v>34517</c:v>
                </c:pt>
                <c:pt idx="48493">
                  <c:v>33658</c:v>
                </c:pt>
                <c:pt idx="48494">
                  <c:v>26584</c:v>
                </c:pt>
                <c:pt idx="48495">
                  <c:v>34848</c:v>
                </c:pt>
                <c:pt idx="48496">
                  <c:v>39953</c:v>
                </c:pt>
                <c:pt idx="48497">
                  <c:v>31201</c:v>
                </c:pt>
                <c:pt idx="48498">
                  <c:v>47337</c:v>
                </c:pt>
                <c:pt idx="48499">
                  <c:v>22161</c:v>
                </c:pt>
                <c:pt idx="48500">
                  <c:v>44687</c:v>
                </c:pt>
                <c:pt idx="48501">
                  <c:v>31882</c:v>
                </c:pt>
                <c:pt idx="48502">
                  <c:v>40909</c:v>
                </c:pt>
                <c:pt idx="48503">
                  <c:v>37463</c:v>
                </c:pt>
                <c:pt idx="48504">
                  <c:v>31683</c:v>
                </c:pt>
                <c:pt idx="48505">
                  <c:v>29477</c:v>
                </c:pt>
                <c:pt idx="48506">
                  <c:v>31302</c:v>
                </c:pt>
                <c:pt idx="48507">
                  <c:v>42830</c:v>
                </c:pt>
                <c:pt idx="48508">
                  <c:v>31245</c:v>
                </c:pt>
                <c:pt idx="48509">
                  <c:v>47988</c:v>
                </c:pt>
                <c:pt idx="48510">
                  <c:v>251929</c:v>
                </c:pt>
                <c:pt idx="48511">
                  <c:v>116329</c:v>
                </c:pt>
                <c:pt idx="48512">
                  <c:v>32215</c:v>
                </c:pt>
                <c:pt idx="48513">
                  <c:v>33837</c:v>
                </c:pt>
                <c:pt idx="48514">
                  <c:v>40110</c:v>
                </c:pt>
                <c:pt idx="48515">
                  <c:v>122876</c:v>
                </c:pt>
                <c:pt idx="48516">
                  <c:v>44594</c:v>
                </c:pt>
                <c:pt idx="48517">
                  <c:v>43379</c:v>
                </c:pt>
                <c:pt idx="48518">
                  <c:v>105061</c:v>
                </c:pt>
                <c:pt idx="48519">
                  <c:v>30479</c:v>
                </c:pt>
                <c:pt idx="48520">
                  <c:v>35601</c:v>
                </c:pt>
                <c:pt idx="48521">
                  <c:v>153050</c:v>
                </c:pt>
                <c:pt idx="48522">
                  <c:v>296296</c:v>
                </c:pt>
                <c:pt idx="48523">
                  <c:v>130589</c:v>
                </c:pt>
                <c:pt idx="48524">
                  <c:v>46076</c:v>
                </c:pt>
                <c:pt idx="48525">
                  <c:v>25832</c:v>
                </c:pt>
                <c:pt idx="48526">
                  <c:v>41884</c:v>
                </c:pt>
                <c:pt idx="48527">
                  <c:v>132380</c:v>
                </c:pt>
                <c:pt idx="48528">
                  <c:v>21610</c:v>
                </c:pt>
                <c:pt idx="48529">
                  <c:v>34683</c:v>
                </c:pt>
                <c:pt idx="48530">
                  <c:v>41076</c:v>
                </c:pt>
                <c:pt idx="48531">
                  <c:v>38003</c:v>
                </c:pt>
                <c:pt idx="48532">
                  <c:v>52473</c:v>
                </c:pt>
                <c:pt idx="48533">
                  <c:v>30618</c:v>
                </c:pt>
                <c:pt idx="48534">
                  <c:v>20134</c:v>
                </c:pt>
                <c:pt idx="48535">
                  <c:v>51242</c:v>
                </c:pt>
                <c:pt idx="48536">
                  <c:v>24390</c:v>
                </c:pt>
                <c:pt idx="48537">
                  <c:v>36161</c:v>
                </c:pt>
                <c:pt idx="48538">
                  <c:v>46249</c:v>
                </c:pt>
                <c:pt idx="48539">
                  <c:v>243747</c:v>
                </c:pt>
                <c:pt idx="48540">
                  <c:v>51024</c:v>
                </c:pt>
                <c:pt idx="48541">
                  <c:v>35695</c:v>
                </c:pt>
                <c:pt idx="48542">
                  <c:v>22985</c:v>
                </c:pt>
                <c:pt idx="48543">
                  <c:v>25080</c:v>
                </c:pt>
                <c:pt idx="48544">
                  <c:v>26816</c:v>
                </c:pt>
                <c:pt idx="48545">
                  <c:v>42430</c:v>
                </c:pt>
                <c:pt idx="48546">
                  <c:v>115400</c:v>
                </c:pt>
                <c:pt idx="48547">
                  <c:v>46549</c:v>
                </c:pt>
                <c:pt idx="48548">
                  <c:v>42335</c:v>
                </c:pt>
                <c:pt idx="48549">
                  <c:v>200977</c:v>
                </c:pt>
                <c:pt idx="48550">
                  <c:v>97247</c:v>
                </c:pt>
                <c:pt idx="48551">
                  <c:v>38938</c:v>
                </c:pt>
                <c:pt idx="48552">
                  <c:v>60245</c:v>
                </c:pt>
                <c:pt idx="48553">
                  <c:v>33449</c:v>
                </c:pt>
                <c:pt idx="48554">
                  <c:v>41678</c:v>
                </c:pt>
                <c:pt idx="48555">
                  <c:v>68100</c:v>
                </c:pt>
                <c:pt idx="48556">
                  <c:v>38620</c:v>
                </c:pt>
                <c:pt idx="48557">
                  <c:v>46260</c:v>
                </c:pt>
                <c:pt idx="48558">
                  <c:v>91158</c:v>
                </c:pt>
                <c:pt idx="48559">
                  <c:v>54077</c:v>
                </c:pt>
                <c:pt idx="48560">
                  <c:v>38269</c:v>
                </c:pt>
                <c:pt idx="48561">
                  <c:v>48311</c:v>
                </c:pt>
                <c:pt idx="48562">
                  <c:v>50788</c:v>
                </c:pt>
                <c:pt idx="48563">
                  <c:v>38223</c:v>
                </c:pt>
                <c:pt idx="48564">
                  <c:v>31723</c:v>
                </c:pt>
                <c:pt idx="48565">
                  <c:v>62109</c:v>
                </c:pt>
                <c:pt idx="48566">
                  <c:v>46490</c:v>
                </c:pt>
                <c:pt idx="48567">
                  <c:v>25592</c:v>
                </c:pt>
                <c:pt idx="48568">
                  <c:v>32823</c:v>
                </c:pt>
                <c:pt idx="48569">
                  <c:v>49196</c:v>
                </c:pt>
                <c:pt idx="48570">
                  <c:v>84106</c:v>
                </c:pt>
                <c:pt idx="48571">
                  <c:v>79893</c:v>
                </c:pt>
                <c:pt idx="48572">
                  <c:v>46730</c:v>
                </c:pt>
                <c:pt idx="48573">
                  <c:v>41558</c:v>
                </c:pt>
                <c:pt idx="48574">
                  <c:v>33085</c:v>
                </c:pt>
                <c:pt idx="48575">
                  <c:v>22849</c:v>
                </c:pt>
                <c:pt idx="48576">
                  <c:v>27405</c:v>
                </c:pt>
                <c:pt idx="48577">
                  <c:v>31440</c:v>
                </c:pt>
                <c:pt idx="48578">
                  <c:v>34988</c:v>
                </c:pt>
                <c:pt idx="48579">
                  <c:v>208590</c:v>
                </c:pt>
                <c:pt idx="48580">
                  <c:v>36270</c:v>
                </c:pt>
                <c:pt idx="48581">
                  <c:v>93674</c:v>
                </c:pt>
                <c:pt idx="48582">
                  <c:v>49510</c:v>
                </c:pt>
                <c:pt idx="48583">
                  <c:v>56255</c:v>
                </c:pt>
                <c:pt idx="48584">
                  <c:v>66075</c:v>
                </c:pt>
                <c:pt idx="48585">
                  <c:v>43918</c:v>
                </c:pt>
                <c:pt idx="48586">
                  <c:v>48172</c:v>
                </c:pt>
                <c:pt idx="48587">
                  <c:v>46640</c:v>
                </c:pt>
                <c:pt idx="48588">
                  <c:v>32369</c:v>
                </c:pt>
                <c:pt idx="48589">
                  <c:v>115933</c:v>
                </c:pt>
                <c:pt idx="48590">
                  <c:v>42757</c:v>
                </c:pt>
                <c:pt idx="48591">
                  <c:v>52254</c:v>
                </c:pt>
                <c:pt idx="48592">
                  <c:v>33647</c:v>
                </c:pt>
                <c:pt idx="48593">
                  <c:v>309458</c:v>
                </c:pt>
                <c:pt idx="48594">
                  <c:v>86001</c:v>
                </c:pt>
                <c:pt idx="48595">
                  <c:v>30757</c:v>
                </c:pt>
                <c:pt idx="48596">
                  <c:v>38205</c:v>
                </c:pt>
                <c:pt idx="48597">
                  <c:v>64553</c:v>
                </c:pt>
                <c:pt idx="48598">
                  <c:v>29872</c:v>
                </c:pt>
                <c:pt idx="48599">
                  <c:v>22049</c:v>
                </c:pt>
                <c:pt idx="48600">
                  <c:v>38148</c:v>
                </c:pt>
                <c:pt idx="48601">
                  <c:v>50889</c:v>
                </c:pt>
                <c:pt idx="48602">
                  <c:v>51633</c:v>
                </c:pt>
                <c:pt idx="48603">
                  <c:v>100336</c:v>
                </c:pt>
                <c:pt idx="48604">
                  <c:v>28253</c:v>
                </c:pt>
                <c:pt idx="48605">
                  <c:v>48937</c:v>
                </c:pt>
                <c:pt idx="48606">
                  <c:v>27037</c:v>
                </c:pt>
                <c:pt idx="48607">
                  <c:v>47196</c:v>
                </c:pt>
                <c:pt idx="48608">
                  <c:v>26603</c:v>
                </c:pt>
                <c:pt idx="48609">
                  <c:v>113847</c:v>
                </c:pt>
                <c:pt idx="48610">
                  <c:v>199197</c:v>
                </c:pt>
                <c:pt idx="48611">
                  <c:v>125299</c:v>
                </c:pt>
                <c:pt idx="48612">
                  <c:v>68227</c:v>
                </c:pt>
                <c:pt idx="48613">
                  <c:v>38612</c:v>
                </c:pt>
                <c:pt idx="48614">
                  <c:v>60583</c:v>
                </c:pt>
                <c:pt idx="48615">
                  <c:v>41754</c:v>
                </c:pt>
                <c:pt idx="48616">
                  <c:v>37091</c:v>
                </c:pt>
                <c:pt idx="48617">
                  <c:v>41828</c:v>
                </c:pt>
                <c:pt idx="48618">
                  <c:v>32833</c:v>
                </c:pt>
                <c:pt idx="48619">
                  <c:v>34563</c:v>
                </c:pt>
                <c:pt idx="48620">
                  <c:v>33214</c:v>
                </c:pt>
                <c:pt idx="48621">
                  <c:v>42730</c:v>
                </c:pt>
                <c:pt idx="48622">
                  <c:v>26420</c:v>
                </c:pt>
                <c:pt idx="48623">
                  <c:v>23477</c:v>
                </c:pt>
                <c:pt idx="48624">
                  <c:v>22398</c:v>
                </c:pt>
                <c:pt idx="48625">
                  <c:v>146962</c:v>
                </c:pt>
                <c:pt idx="48626">
                  <c:v>43546</c:v>
                </c:pt>
                <c:pt idx="48627">
                  <c:v>117622</c:v>
                </c:pt>
                <c:pt idx="48628">
                  <c:v>53344</c:v>
                </c:pt>
                <c:pt idx="48629">
                  <c:v>44875</c:v>
                </c:pt>
                <c:pt idx="48630">
                  <c:v>34815</c:v>
                </c:pt>
                <c:pt idx="48631">
                  <c:v>147796</c:v>
                </c:pt>
                <c:pt idx="48632">
                  <c:v>126635</c:v>
                </c:pt>
                <c:pt idx="48633">
                  <c:v>38151</c:v>
                </c:pt>
                <c:pt idx="48634">
                  <c:v>24025</c:v>
                </c:pt>
                <c:pt idx="48635">
                  <c:v>43766</c:v>
                </c:pt>
                <c:pt idx="48636">
                  <c:v>22375</c:v>
                </c:pt>
                <c:pt idx="48637">
                  <c:v>47615</c:v>
                </c:pt>
                <c:pt idx="48638">
                  <c:v>28166</c:v>
                </c:pt>
                <c:pt idx="48639">
                  <c:v>43754</c:v>
                </c:pt>
                <c:pt idx="48640">
                  <c:v>36909</c:v>
                </c:pt>
                <c:pt idx="48641">
                  <c:v>34141</c:v>
                </c:pt>
                <c:pt idx="48642">
                  <c:v>44930</c:v>
                </c:pt>
                <c:pt idx="48643">
                  <c:v>35583</c:v>
                </c:pt>
                <c:pt idx="48644">
                  <c:v>119924</c:v>
                </c:pt>
                <c:pt idx="48645">
                  <c:v>29422</c:v>
                </c:pt>
                <c:pt idx="48646">
                  <c:v>53377</c:v>
                </c:pt>
                <c:pt idx="48647">
                  <c:v>54570</c:v>
                </c:pt>
                <c:pt idx="48648">
                  <c:v>38679</c:v>
                </c:pt>
                <c:pt idx="48649">
                  <c:v>18011</c:v>
                </c:pt>
                <c:pt idx="48650">
                  <c:v>62828</c:v>
                </c:pt>
                <c:pt idx="48651">
                  <c:v>78442</c:v>
                </c:pt>
                <c:pt idx="48652">
                  <c:v>74048</c:v>
                </c:pt>
                <c:pt idx="48653">
                  <c:v>53608</c:v>
                </c:pt>
                <c:pt idx="48654">
                  <c:v>44515</c:v>
                </c:pt>
                <c:pt idx="48655">
                  <c:v>26556</c:v>
                </c:pt>
                <c:pt idx="48656">
                  <c:v>56837</c:v>
                </c:pt>
                <c:pt idx="48657">
                  <c:v>328820</c:v>
                </c:pt>
                <c:pt idx="48658">
                  <c:v>190397</c:v>
                </c:pt>
                <c:pt idx="48659">
                  <c:v>34969</c:v>
                </c:pt>
                <c:pt idx="48660">
                  <c:v>26426</c:v>
                </c:pt>
                <c:pt idx="48661">
                  <c:v>77235</c:v>
                </c:pt>
                <c:pt idx="48662">
                  <c:v>68438</c:v>
                </c:pt>
                <c:pt idx="48663">
                  <c:v>36059</c:v>
                </c:pt>
                <c:pt idx="48664">
                  <c:v>33194</c:v>
                </c:pt>
                <c:pt idx="48665">
                  <c:v>203409</c:v>
                </c:pt>
                <c:pt idx="48666">
                  <c:v>22783</c:v>
                </c:pt>
                <c:pt idx="48667">
                  <c:v>26467</c:v>
                </c:pt>
                <c:pt idx="48668">
                  <c:v>41142</c:v>
                </c:pt>
                <c:pt idx="48669">
                  <c:v>106187</c:v>
                </c:pt>
                <c:pt idx="48670">
                  <c:v>43905</c:v>
                </c:pt>
                <c:pt idx="48671">
                  <c:v>61467</c:v>
                </c:pt>
                <c:pt idx="48672">
                  <c:v>23578</c:v>
                </c:pt>
                <c:pt idx="48673">
                  <c:v>182125</c:v>
                </c:pt>
                <c:pt idx="48674">
                  <c:v>111190</c:v>
                </c:pt>
                <c:pt idx="48675">
                  <c:v>428669</c:v>
                </c:pt>
                <c:pt idx="48676">
                  <c:v>173528</c:v>
                </c:pt>
                <c:pt idx="48677">
                  <c:v>27595</c:v>
                </c:pt>
                <c:pt idx="48678">
                  <c:v>24643</c:v>
                </c:pt>
                <c:pt idx="48679">
                  <c:v>61305</c:v>
                </c:pt>
                <c:pt idx="48680">
                  <c:v>197992</c:v>
                </c:pt>
                <c:pt idx="48681">
                  <c:v>61677</c:v>
                </c:pt>
                <c:pt idx="48682">
                  <c:v>63968</c:v>
                </c:pt>
                <c:pt idx="48683">
                  <c:v>68189</c:v>
                </c:pt>
                <c:pt idx="48684">
                  <c:v>113787</c:v>
                </c:pt>
                <c:pt idx="48685">
                  <c:v>57115</c:v>
                </c:pt>
                <c:pt idx="48686">
                  <c:v>173386</c:v>
                </c:pt>
                <c:pt idx="48687">
                  <c:v>32464</c:v>
                </c:pt>
                <c:pt idx="48688">
                  <c:v>73866</c:v>
                </c:pt>
                <c:pt idx="48689">
                  <c:v>36724</c:v>
                </c:pt>
                <c:pt idx="48690">
                  <c:v>36856</c:v>
                </c:pt>
                <c:pt idx="48691">
                  <c:v>272504</c:v>
                </c:pt>
                <c:pt idx="48692">
                  <c:v>122953</c:v>
                </c:pt>
                <c:pt idx="48693">
                  <c:v>33382</c:v>
                </c:pt>
                <c:pt idx="48694">
                  <c:v>39233</c:v>
                </c:pt>
                <c:pt idx="48695">
                  <c:v>63895</c:v>
                </c:pt>
                <c:pt idx="48696">
                  <c:v>38905</c:v>
                </c:pt>
                <c:pt idx="48697">
                  <c:v>49300</c:v>
                </c:pt>
                <c:pt idx="48698">
                  <c:v>41366</c:v>
                </c:pt>
                <c:pt idx="48699">
                  <c:v>41639</c:v>
                </c:pt>
                <c:pt idx="48700">
                  <c:v>48883</c:v>
                </c:pt>
                <c:pt idx="48701">
                  <c:v>32708</c:v>
                </c:pt>
                <c:pt idx="48702">
                  <c:v>124636</c:v>
                </c:pt>
                <c:pt idx="48703">
                  <c:v>25219</c:v>
                </c:pt>
                <c:pt idx="48704">
                  <c:v>44004</c:v>
                </c:pt>
                <c:pt idx="48705">
                  <c:v>55611</c:v>
                </c:pt>
                <c:pt idx="48706">
                  <c:v>23415</c:v>
                </c:pt>
                <c:pt idx="48707">
                  <c:v>47985</c:v>
                </c:pt>
                <c:pt idx="48708">
                  <c:v>29965</c:v>
                </c:pt>
                <c:pt idx="48709">
                  <c:v>152944</c:v>
                </c:pt>
                <c:pt idx="48710">
                  <c:v>38115</c:v>
                </c:pt>
                <c:pt idx="48711">
                  <c:v>167621</c:v>
                </c:pt>
                <c:pt idx="48712">
                  <c:v>27349</c:v>
                </c:pt>
                <c:pt idx="48713">
                  <c:v>23677</c:v>
                </c:pt>
                <c:pt idx="48714">
                  <c:v>29691</c:v>
                </c:pt>
                <c:pt idx="48715">
                  <c:v>49762</c:v>
                </c:pt>
                <c:pt idx="48716">
                  <c:v>45278</c:v>
                </c:pt>
                <c:pt idx="48717">
                  <c:v>90979</c:v>
                </c:pt>
                <c:pt idx="48718">
                  <c:v>36991</c:v>
                </c:pt>
                <c:pt idx="48719">
                  <c:v>59968</c:v>
                </c:pt>
                <c:pt idx="48720">
                  <c:v>57941</c:v>
                </c:pt>
                <c:pt idx="48721">
                  <c:v>44029</c:v>
                </c:pt>
                <c:pt idx="48722">
                  <c:v>55417</c:v>
                </c:pt>
                <c:pt idx="48723">
                  <c:v>55263</c:v>
                </c:pt>
                <c:pt idx="48724">
                  <c:v>122172</c:v>
                </c:pt>
                <c:pt idx="48725">
                  <c:v>45427</c:v>
                </c:pt>
                <c:pt idx="48726">
                  <c:v>23468</c:v>
                </c:pt>
                <c:pt idx="48727">
                  <c:v>48997</c:v>
                </c:pt>
                <c:pt idx="48728">
                  <c:v>60118</c:v>
                </c:pt>
                <c:pt idx="48729">
                  <c:v>31876</c:v>
                </c:pt>
                <c:pt idx="48730">
                  <c:v>62054</c:v>
                </c:pt>
                <c:pt idx="48731">
                  <c:v>33406</c:v>
                </c:pt>
                <c:pt idx="48732">
                  <c:v>45904</c:v>
                </c:pt>
                <c:pt idx="48733">
                  <c:v>59962</c:v>
                </c:pt>
                <c:pt idx="48734">
                  <c:v>26581</c:v>
                </c:pt>
                <c:pt idx="48735">
                  <c:v>166644</c:v>
                </c:pt>
                <c:pt idx="48736">
                  <c:v>56484</c:v>
                </c:pt>
                <c:pt idx="48737">
                  <c:v>23552</c:v>
                </c:pt>
                <c:pt idx="48738">
                  <c:v>41057</c:v>
                </c:pt>
                <c:pt idx="48739">
                  <c:v>53364</c:v>
                </c:pt>
                <c:pt idx="48740">
                  <c:v>45223</c:v>
                </c:pt>
                <c:pt idx="48741">
                  <c:v>160364</c:v>
                </c:pt>
                <c:pt idx="48742">
                  <c:v>36762</c:v>
                </c:pt>
                <c:pt idx="48743">
                  <c:v>38315</c:v>
                </c:pt>
                <c:pt idx="48744">
                  <c:v>24150</c:v>
                </c:pt>
                <c:pt idx="48745">
                  <c:v>51373</c:v>
                </c:pt>
                <c:pt idx="48746">
                  <c:v>23004</c:v>
                </c:pt>
                <c:pt idx="48747">
                  <c:v>131666</c:v>
                </c:pt>
                <c:pt idx="48748">
                  <c:v>152531</c:v>
                </c:pt>
                <c:pt idx="48749">
                  <c:v>32220</c:v>
                </c:pt>
                <c:pt idx="48750">
                  <c:v>101098</c:v>
                </c:pt>
                <c:pt idx="48751">
                  <c:v>55572</c:v>
                </c:pt>
                <c:pt idx="48752">
                  <c:v>42316</c:v>
                </c:pt>
                <c:pt idx="48753">
                  <c:v>30077</c:v>
                </c:pt>
                <c:pt idx="48754">
                  <c:v>30668</c:v>
                </c:pt>
                <c:pt idx="48755">
                  <c:v>50858</c:v>
                </c:pt>
                <c:pt idx="48756">
                  <c:v>126606</c:v>
                </c:pt>
                <c:pt idx="48757">
                  <c:v>38138</c:v>
                </c:pt>
                <c:pt idx="48758">
                  <c:v>98413</c:v>
                </c:pt>
                <c:pt idx="48759">
                  <c:v>38012</c:v>
                </c:pt>
                <c:pt idx="48760">
                  <c:v>26188</c:v>
                </c:pt>
                <c:pt idx="48761">
                  <c:v>105888</c:v>
                </c:pt>
                <c:pt idx="48762">
                  <c:v>41614</c:v>
                </c:pt>
                <c:pt idx="48763">
                  <c:v>50030</c:v>
                </c:pt>
                <c:pt idx="48764">
                  <c:v>29700</c:v>
                </c:pt>
                <c:pt idx="48765">
                  <c:v>271826</c:v>
                </c:pt>
                <c:pt idx="48766">
                  <c:v>204439</c:v>
                </c:pt>
                <c:pt idx="48767">
                  <c:v>45244</c:v>
                </c:pt>
                <c:pt idx="48768">
                  <c:v>34294</c:v>
                </c:pt>
                <c:pt idx="48769">
                  <c:v>41580</c:v>
                </c:pt>
                <c:pt idx="48770">
                  <c:v>31061</c:v>
                </c:pt>
                <c:pt idx="48771">
                  <c:v>48695</c:v>
                </c:pt>
                <c:pt idx="48772">
                  <c:v>42762</c:v>
                </c:pt>
                <c:pt idx="48773">
                  <c:v>96084</c:v>
                </c:pt>
                <c:pt idx="48774">
                  <c:v>72634</c:v>
                </c:pt>
                <c:pt idx="48775">
                  <c:v>45148</c:v>
                </c:pt>
                <c:pt idx="48776">
                  <c:v>39756</c:v>
                </c:pt>
                <c:pt idx="48777">
                  <c:v>32595</c:v>
                </c:pt>
                <c:pt idx="48778">
                  <c:v>32893</c:v>
                </c:pt>
                <c:pt idx="48779">
                  <c:v>38484</c:v>
                </c:pt>
                <c:pt idx="48780">
                  <c:v>40811</c:v>
                </c:pt>
                <c:pt idx="48781">
                  <c:v>39221</c:v>
                </c:pt>
                <c:pt idx="48782">
                  <c:v>35206</c:v>
                </c:pt>
                <c:pt idx="48783">
                  <c:v>23770</c:v>
                </c:pt>
                <c:pt idx="48784">
                  <c:v>46394</c:v>
                </c:pt>
                <c:pt idx="48785">
                  <c:v>37167</c:v>
                </c:pt>
                <c:pt idx="48786">
                  <c:v>161772</c:v>
                </c:pt>
                <c:pt idx="48787">
                  <c:v>33360</c:v>
                </c:pt>
                <c:pt idx="48788">
                  <c:v>77196</c:v>
                </c:pt>
                <c:pt idx="48789">
                  <c:v>62022</c:v>
                </c:pt>
                <c:pt idx="48790">
                  <c:v>50685</c:v>
                </c:pt>
                <c:pt idx="48791">
                  <c:v>45014</c:v>
                </c:pt>
                <c:pt idx="48792">
                  <c:v>38398</c:v>
                </c:pt>
                <c:pt idx="48793">
                  <c:v>75186</c:v>
                </c:pt>
                <c:pt idx="48794">
                  <c:v>36869</c:v>
                </c:pt>
                <c:pt idx="48795">
                  <c:v>123717</c:v>
                </c:pt>
                <c:pt idx="48796">
                  <c:v>48908</c:v>
                </c:pt>
                <c:pt idx="48797">
                  <c:v>62201</c:v>
                </c:pt>
                <c:pt idx="48798">
                  <c:v>74355</c:v>
                </c:pt>
                <c:pt idx="48799">
                  <c:v>88644</c:v>
                </c:pt>
                <c:pt idx="48800">
                  <c:v>26019</c:v>
                </c:pt>
                <c:pt idx="48801">
                  <c:v>50944</c:v>
                </c:pt>
                <c:pt idx="48802">
                  <c:v>51907</c:v>
                </c:pt>
                <c:pt idx="48803">
                  <c:v>61798</c:v>
                </c:pt>
                <c:pt idx="48804">
                  <c:v>40745</c:v>
                </c:pt>
                <c:pt idx="48805">
                  <c:v>48330</c:v>
                </c:pt>
                <c:pt idx="48806">
                  <c:v>47207</c:v>
                </c:pt>
                <c:pt idx="48807">
                  <c:v>22780</c:v>
                </c:pt>
                <c:pt idx="48808">
                  <c:v>30717</c:v>
                </c:pt>
                <c:pt idx="48809">
                  <c:v>27094</c:v>
                </c:pt>
                <c:pt idx="48810">
                  <c:v>28855</c:v>
                </c:pt>
                <c:pt idx="48811">
                  <c:v>60548</c:v>
                </c:pt>
                <c:pt idx="48812">
                  <c:v>27792</c:v>
                </c:pt>
                <c:pt idx="48813">
                  <c:v>81954</c:v>
                </c:pt>
                <c:pt idx="48814">
                  <c:v>36385</c:v>
                </c:pt>
                <c:pt idx="48815">
                  <c:v>43782</c:v>
                </c:pt>
                <c:pt idx="48816">
                  <c:v>39579</c:v>
                </c:pt>
                <c:pt idx="48817">
                  <c:v>33269</c:v>
                </c:pt>
                <c:pt idx="48818">
                  <c:v>27644</c:v>
                </c:pt>
                <c:pt idx="48819">
                  <c:v>29434</c:v>
                </c:pt>
                <c:pt idx="48820">
                  <c:v>40927</c:v>
                </c:pt>
                <c:pt idx="48821">
                  <c:v>82525</c:v>
                </c:pt>
                <c:pt idx="48822">
                  <c:v>40407</c:v>
                </c:pt>
                <c:pt idx="48823">
                  <c:v>54580</c:v>
                </c:pt>
                <c:pt idx="48824">
                  <c:v>34730</c:v>
                </c:pt>
                <c:pt idx="48825">
                  <c:v>40111</c:v>
                </c:pt>
                <c:pt idx="48826">
                  <c:v>84167</c:v>
                </c:pt>
                <c:pt idx="48827">
                  <c:v>23165</c:v>
                </c:pt>
                <c:pt idx="48828">
                  <c:v>69081</c:v>
                </c:pt>
                <c:pt idx="48829">
                  <c:v>38457</c:v>
                </c:pt>
                <c:pt idx="48830">
                  <c:v>40547</c:v>
                </c:pt>
                <c:pt idx="48831">
                  <c:v>24358</c:v>
                </c:pt>
                <c:pt idx="48832">
                  <c:v>175430</c:v>
                </c:pt>
                <c:pt idx="48833">
                  <c:v>93421</c:v>
                </c:pt>
                <c:pt idx="48834">
                  <c:v>31524</c:v>
                </c:pt>
                <c:pt idx="48835">
                  <c:v>29234</c:v>
                </c:pt>
                <c:pt idx="48836">
                  <c:v>47272</c:v>
                </c:pt>
                <c:pt idx="48837">
                  <c:v>62838</c:v>
                </c:pt>
                <c:pt idx="48838">
                  <c:v>32860</c:v>
                </c:pt>
                <c:pt idx="48839">
                  <c:v>25375</c:v>
                </c:pt>
                <c:pt idx="48840">
                  <c:v>35483</c:v>
                </c:pt>
                <c:pt idx="48841">
                  <c:v>30915</c:v>
                </c:pt>
                <c:pt idx="48842">
                  <c:v>51204</c:v>
                </c:pt>
                <c:pt idx="48843">
                  <c:v>67871</c:v>
                </c:pt>
                <c:pt idx="48844">
                  <c:v>45634</c:v>
                </c:pt>
                <c:pt idx="48845">
                  <c:v>48054</c:v>
                </c:pt>
                <c:pt idx="48846">
                  <c:v>161709</c:v>
                </c:pt>
                <c:pt idx="48847">
                  <c:v>67088</c:v>
                </c:pt>
                <c:pt idx="48848">
                  <c:v>52007</c:v>
                </c:pt>
                <c:pt idx="48849">
                  <c:v>126651</c:v>
                </c:pt>
                <c:pt idx="48850">
                  <c:v>57477</c:v>
                </c:pt>
                <c:pt idx="48851">
                  <c:v>31443</c:v>
                </c:pt>
                <c:pt idx="48852">
                  <c:v>45408</c:v>
                </c:pt>
                <c:pt idx="48853">
                  <c:v>31618</c:v>
                </c:pt>
                <c:pt idx="48854">
                  <c:v>29160</c:v>
                </c:pt>
                <c:pt idx="48855">
                  <c:v>32505</c:v>
                </c:pt>
                <c:pt idx="48856">
                  <c:v>35029</c:v>
                </c:pt>
                <c:pt idx="48857">
                  <c:v>128098</c:v>
                </c:pt>
                <c:pt idx="48858">
                  <c:v>170557</c:v>
                </c:pt>
                <c:pt idx="48859">
                  <c:v>49157</c:v>
                </c:pt>
                <c:pt idx="48860">
                  <c:v>26010</c:v>
                </c:pt>
                <c:pt idx="48861">
                  <c:v>33803</c:v>
                </c:pt>
                <c:pt idx="48862">
                  <c:v>47982</c:v>
                </c:pt>
                <c:pt idx="48863">
                  <c:v>37006</c:v>
                </c:pt>
                <c:pt idx="48864">
                  <c:v>54588</c:v>
                </c:pt>
                <c:pt idx="48865">
                  <c:v>124478</c:v>
                </c:pt>
                <c:pt idx="48866">
                  <c:v>39001</c:v>
                </c:pt>
                <c:pt idx="48867">
                  <c:v>35293</c:v>
                </c:pt>
                <c:pt idx="48868">
                  <c:v>30720</c:v>
                </c:pt>
                <c:pt idx="48869">
                  <c:v>43962</c:v>
                </c:pt>
                <c:pt idx="48870">
                  <c:v>54073</c:v>
                </c:pt>
                <c:pt idx="48871">
                  <c:v>239196</c:v>
                </c:pt>
                <c:pt idx="48872">
                  <c:v>26652</c:v>
                </c:pt>
                <c:pt idx="48873">
                  <c:v>35050</c:v>
                </c:pt>
                <c:pt idx="48874">
                  <c:v>47639</c:v>
                </c:pt>
                <c:pt idx="48875">
                  <c:v>38023</c:v>
                </c:pt>
                <c:pt idx="48876">
                  <c:v>57264</c:v>
                </c:pt>
                <c:pt idx="48877">
                  <c:v>27525</c:v>
                </c:pt>
                <c:pt idx="48878">
                  <c:v>102266</c:v>
                </c:pt>
                <c:pt idx="48879">
                  <c:v>37920</c:v>
                </c:pt>
                <c:pt idx="48880">
                  <c:v>156761</c:v>
                </c:pt>
                <c:pt idx="48881">
                  <c:v>50764</c:v>
                </c:pt>
                <c:pt idx="48882">
                  <c:v>45155</c:v>
                </c:pt>
                <c:pt idx="48883">
                  <c:v>43548</c:v>
                </c:pt>
                <c:pt idx="48884">
                  <c:v>21638</c:v>
                </c:pt>
                <c:pt idx="48885">
                  <c:v>39135</c:v>
                </c:pt>
                <c:pt idx="48886">
                  <c:v>50257</c:v>
                </c:pt>
                <c:pt idx="48887">
                  <c:v>65899</c:v>
                </c:pt>
                <c:pt idx="48888">
                  <c:v>118980</c:v>
                </c:pt>
                <c:pt idx="48889">
                  <c:v>39615</c:v>
                </c:pt>
                <c:pt idx="48890">
                  <c:v>56935</c:v>
                </c:pt>
                <c:pt idx="48891">
                  <c:v>37257</c:v>
                </c:pt>
                <c:pt idx="48892">
                  <c:v>33080</c:v>
                </c:pt>
                <c:pt idx="48893">
                  <c:v>34368</c:v>
                </c:pt>
                <c:pt idx="48894">
                  <c:v>32938</c:v>
                </c:pt>
                <c:pt idx="48895">
                  <c:v>102840</c:v>
                </c:pt>
                <c:pt idx="48896">
                  <c:v>30898</c:v>
                </c:pt>
                <c:pt idx="48897">
                  <c:v>37083</c:v>
                </c:pt>
                <c:pt idx="48898">
                  <c:v>44307</c:v>
                </c:pt>
                <c:pt idx="48899">
                  <c:v>114464</c:v>
                </c:pt>
                <c:pt idx="48900">
                  <c:v>80865</c:v>
                </c:pt>
                <c:pt idx="48901">
                  <c:v>29298</c:v>
                </c:pt>
                <c:pt idx="48902">
                  <c:v>84840</c:v>
                </c:pt>
                <c:pt idx="48903">
                  <c:v>25868</c:v>
                </c:pt>
                <c:pt idx="48904">
                  <c:v>137453</c:v>
                </c:pt>
                <c:pt idx="48905">
                  <c:v>60554</c:v>
                </c:pt>
                <c:pt idx="48906">
                  <c:v>123024</c:v>
                </c:pt>
                <c:pt idx="48907">
                  <c:v>42357</c:v>
                </c:pt>
                <c:pt idx="48908">
                  <c:v>193024</c:v>
                </c:pt>
                <c:pt idx="48909">
                  <c:v>51234</c:v>
                </c:pt>
                <c:pt idx="48910">
                  <c:v>25425</c:v>
                </c:pt>
                <c:pt idx="48911">
                  <c:v>32463</c:v>
                </c:pt>
                <c:pt idx="48912">
                  <c:v>98983</c:v>
                </c:pt>
                <c:pt idx="48913">
                  <c:v>57867</c:v>
                </c:pt>
                <c:pt idx="48914">
                  <c:v>49052</c:v>
                </c:pt>
                <c:pt idx="48915">
                  <c:v>34139</c:v>
                </c:pt>
                <c:pt idx="48916">
                  <c:v>104128</c:v>
                </c:pt>
                <c:pt idx="48917">
                  <c:v>32388</c:v>
                </c:pt>
                <c:pt idx="48918">
                  <c:v>34452</c:v>
                </c:pt>
                <c:pt idx="48919">
                  <c:v>50349</c:v>
                </c:pt>
                <c:pt idx="48920">
                  <c:v>160825</c:v>
                </c:pt>
                <c:pt idx="48921">
                  <c:v>119574</c:v>
                </c:pt>
                <c:pt idx="48922">
                  <c:v>39011</c:v>
                </c:pt>
                <c:pt idx="48923">
                  <c:v>41161</c:v>
                </c:pt>
                <c:pt idx="48924">
                  <c:v>45790</c:v>
                </c:pt>
                <c:pt idx="48925">
                  <c:v>28571</c:v>
                </c:pt>
                <c:pt idx="48926">
                  <c:v>117734</c:v>
                </c:pt>
                <c:pt idx="48927">
                  <c:v>55694</c:v>
                </c:pt>
                <c:pt idx="48928">
                  <c:v>37457</c:v>
                </c:pt>
                <c:pt idx="48929">
                  <c:v>86886</c:v>
                </c:pt>
                <c:pt idx="48930">
                  <c:v>43714</c:v>
                </c:pt>
                <c:pt idx="48931">
                  <c:v>110135</c:v>
                </c:pt>
                <c:pt idx="48932">
                  <c:v>57228</c:v>
                </c:pt>
                <c:pt idx="48933">
                  <c:v>122122</c:v>
                </c:pt>
                <c:pt idx="48934">
                  <c:v>34197</c:v>
                </c:pt>
                <c:pt idx="48935">
                  <c:v>251623</c:v>
                </c:pt>
                <c:pt idx="48936">
                  <c:v>132002</c:v>
                </c:pt>
                <c:pt idx="48937">
                  <c:v>207883</c:v>
                </c:pt>
                <c:pt idx="48938">
                  <c:v>60500</c:v>
                </c:pt>
                <c:pt idx="48939">
                  <c:v>25037</c:v>
                </c:pt>
                <c:pt idx="48940">
                  <c:v>112572</c:v>
                </c:pt>
                <c:pt idx="48941">
                  <c:v>27766</c:v>
                </c:pt>
                <c:pt idx="48942">
                  <c:v>38409</c:v>
                </c:pt>
                <c:pt idx="48943">
                  <c:v>67395</c:v>
                </c:pt>
                <c:pt idx="48944">
                  <c:v>42655</c:v>
                </c:pt>
                <c:pt idx="48945">
                  <c:v>15000</c:v>
                </c:pt>
                <c:pt idx="48946">
                  <c:v>22526</c:v>
                </c:pt>
                <c:pt idx="48947">
                  <c:v>34198</c:v>
                </c:pt>
                <c:pt idx="48948">
                  <c:v>49489</c:v>
                </c:pt>
                <c:pt idx="48949">
                  <c:v>56310</c:v>
                </c:pt>
                <c:pt idx="48950">
                  <c:v>40473</c:v>
                </c:pt>
                <c:pt idx="48951">
                  <c:v>23333</c:v>
                </c:pt>
                <c:pt idx="48952">
                  <c:v>60646</c:v>
                </c:pt>
                <c:pt idx="48953">
                  <c:v>29985</c:v>
                </c:pt>
                <c:pt idx="48954">
                  <c:v>45627</c:v>
                </c:pt>
                <c:pt idx="48955">
                  <c:v>59805</c:v>
                </c:pt>
                <c:pt idx="48956">
                  <c:v>127996</c:v>
                </c:pt>
                <c:pt idx="48957">
                  <c:v>89154</c:v>
                </c:pt>
                <c:pt idx="48958">
                  <c:v>50748</c:v>
                </c:pt>
                <c:pt idx="48959">
                  <c:v>139966</c:v>
                </c:pt>
                <c:pt idx="48960">
                  <c:v>39759</c:v>
                </c:pt>
                <c:pt idx="48961">
                  <c:v>21711</c:v>
                </c:pt>
                <c:pt idx="48962">
                  <c:v>42693</c:v>
                </c:pt>
                <c:pt idx="48963">
                  <c:v>69943</c:v>
                </c:pt>
                <c:pt idx="48964">
                  <c:v>21398</c:v>
                </c:pt>
                <c:pt idx="48965">
                  <c:v>38044</c:v>
                </c:pt>
                <c:pt idx="48966">
                  <c:v>49701</c:v>
                </c:pt>
                <c:pt idx="48967">
                  <c:v>67390</c:v>
                </c:pt>
                <c:pt idx="48968">
                  <c:v>46919</c:v>
                </c:pt>
                <c:pt idx="48969">
                  <c:v>38581</c:v>
                </c:pt>
                <c:pt idx="48970">
                  <c:v>102548</c:v>
                </c:pt>
                <c:pt idx="48971">
                  <c:v>58134</c:v>
                </c:pt>
                <c:pt idx="48972">
                  <c:v>63935</c:v>
                </c:pt>
                <c:pt idx="48973">
                  <c:v>60562</c:v>
                </c:pt>
                <c:pt idx="48974">
                  <c:v>66691</c:v>
                </c:pt>
                <c:pt idx="48975">
                  <c:v>61232</c:v>
                </c:pt>
                <c:pt idx="48976">
                  <c:v>33268</c:v>
                </c:pt>
                <c:pt idx="48977">
                  <c:v>53170</c:v>
                </c:pt>
                <c:pt idx="48978">
                  <c:v>46204</c:v>
                </c:pt>
                <c:pt idx="48979">
                  <c:v>31411</c:v>
                </c:pt>
                <c:pt idx="48980">
                  <c:v>63150</c:v>
                </c:pt>
                <c:pt idx="48981">
                  <c:v>42975</c:v>
                </c:pt>
                <c:pt idx="48982">
                  <c:v>36237</c:v>
                </c:pt>
                <c:pt idx="48983">
                  <c:v>100087</c:v>
                </c:pt>
                <c:pt idx="48984">
                  <c:v>40680</c:v>
                </c:pt>
                <c:pt idx="48985">
                  <c:v>44267</c:v>
                </c:pt>
                <c:pt idx="48986">
                  <c:v>47465</c:v>
                </c:pt>
                <c:pt idx="48987">
                  <c:v>28563</c:v>
                </c:pt>
                <c:pt idx="48988">
                  <c:v>61147</c:v>
                </c:pt>
                <c:pt idx="48989">
                  <c:v>74168</c:v>
                </c:pt>
                <c:pt idx="48990">
                  <c:v>47912</c:v>
                </c:pt>
                <c:pt idx="48991">
                  <c:v>57995</c:v>
                </c:pt>
                <c:pt idx="48992">
                  <c:v>220066</c:v>
                </c:pt>
                <c:pt idx="48993">
                  <c:v>42531</c:v>
                </c:pt>
                <c:pt idx="48994">
                  <c:v>53940</c:v>
                </c:pt>
                <c:pt idx="48995">
                  <c:v>21447</c:v>
                </c:pt>
                <c:pt idx="48996">
                  <c:v>54819</c:v>
                </c:pt>
                <c:pt idx="48997">
                  <c:v>24787</c:v>
                </c:pt>
                <c:pt idx="48998">
                  <c:v>24591</c:v>
                </c:pt>
                <c:pt idx="48999">
                  <c:v>44992</c:v>
                </c:pt>
                <c:pt idx="49000">
                  <c:v>33688</c:v>
                </c:pt>
                <c:pt idx="49001">
                  <c:v>46496</c:v>
                </c:pt>
                <c:pt idx="49002">
                  <c:v>75679</c:v>
                </c:pt>
                <c:pt idx="49003">
                  <c:v>29401</c:v>
                </c:pt>
                <c:pt idx="49004">
                  <c:v>51815</c:v>
                </c:pt>
                <c:pt idx="49005">
                  <c:v>33655</c:v>
                </c:pt>
                <c:pt idx="49006">
                  <c:v>56382</c:v>
                </c:pt>
                <c:pt idx="49007">
                  <c:v>36771</c:v>
                </c:pt>
                <c:pt idx="49008">
                  <c:v>27309</c:v>
                </c:pt>
                <c:pt idx="49009">
                  <c:v>25241</c:v>
                </c:pt>
                <c:pt idx="49010">
                  <c:v>26242</c:v>
                </c:pt>
                <c:pt idx="49011">
                  <c:v>37528</c:v>
                </c:pt>
                <c:pt idx="49012">
                  <c:v>37026</c:v>
                </c:pt>
                <c:pt idx="49013">
                  <c:v>49351</c:v>
                </c:pt>
                <c:pt idx="49014">
                  <c:v>44364</c:v>
                </c:pt>
                <c:pt idx="49015">
                  <c:v>100535</c:v>
                </c:pt>
                <c:pt idx="49016">
                  <c:v>39568</c:v>
                </c:pt>
                <c:pt idx="49017">
                  <c:v>32690</c:v>
                </c:pt>
                <c:pt idx="49018">
                  <c:v>96108</c:v>
                </c:pt>
                <c:pt idx="49019">
                  <c:v>37914</c:v>
                </c:pt>
                <c:pt idx="49020">
                  <c:v>67957</c:v>
                </c:pt>
                <c:pt idx="49021">
                  <c:v>25916</c:v>
                </c:pt>
                <c:pt idx="49022">
                  <c:v>44707</c:v>
                </c:pt>
                <c:pt idx="49023">
                  <c:v>45096</c:v>
                </c:pt>
                <c:pt idx="49024">
                  <c:v>76832</c:v>
                </c:pt>
                <c:pt idx="49025">
                  <c:v>41080</c:v>
                </c:pt>
                <c:pt idx="49026">
                  <c:v>32307</c:v>
                </c:pt>
                <c:pt idx="49027">
                  <c:v>251918</c:v>
                </c:pt>
                <c:pt idx="49028">
                  <c:v>48036</c:v>
                </c:pt>
                <c:pt idx="49029">
                  <c:v>43445</c:v>
                </c:pt>
                <c:pt idx="49030">
                  <c:v>39002</c:v>
                </c:pt>
                <c:pt idx="49031">
                  <c:v>36482</c:v>
                </c:pt>
                <c:pt idx="49032">
                  <c:v>24649</c:v>
                </c:pt>
                <c:pt idx="49033">
                  <c:v>37132</c:v>
                </c:pt>
                <c:pt idx="49034">
                  <c:v>32282</c:v>
                </c:pt>
                <c:pt idx="49035">
                  <c:v>73704</c:v>
                </c:pt>
                <c:pt idx="49036">
                  <c:v>288341</c:v>
                </c:pt>
                <c:pt idx="49037">
                  <c:v>48801</c:v>
                </c:pt>
                <c:pt idx="49038">
                  <c:v>67320</c:v>
                </c:pt>
                <c:pt idx="49039">
                  <c:v>80882</c:v>
                </c:pt>
                <c:pt idx="49040">
                  <c:v>31590</c:v>
                </c:pt>
                <c:pt idx="49041">
                  <c:v>32497</c:v>
                </c:pt>
                <c:pt idx="49042">
                  <c:v>45991</c:v>
                </c:pt>
                <c:pt idx="49043">
                  <c:v>63612</c:v>
                </c:pt>
                <c:pt idx="49044">
                  <c:v>74566</c:v>
                </c:pt>
                <c:pt idx="49045">
                  <c:v>76156</c:v>
                </c:pt>
                <c:pt idx="49046">
                  <c:v>47807</c:v>
                </c:pt>
                <c:pt idx="49047">
                  <c:v>19763</c:v>
                </c:pt>
                <c:pt idx="49048">
                  <c:v>47299</c:v>
                </c:pt>
                <c:pt idx="49049">
                  <c:v>248553</c:v>
                </c:pt>
                <c:pt idx="49050">
                  <c:v>65615</c:v>
                </c:pt>
                <c:pt idx="49051">
                  <c:v>153315</c:v>
                </c:pt>
                <c:pt idx="49052">
                  <c:v>54060</c:v>
                </c:pt>
                <c:pt idx="49053">
                  <c:v>30411</c:v>
                </c:pt>
                <c:pt idx="49054">
                  <c:v>31850</c:v>
                </c:pt>
                <c:pt idx="49055">
                  <c:v>29135</c:v>
                </c:pt>
                <c:pt idx="49056">
                  <c:v>24756</c:v>
                </c:pt>
                <c:pt idx="49057">
                  <c:v>83839</c:v>
                </c:pt>
                <c:pt idx="49058">
                  <c:v>59828</c:v>
                </c:pt>
                <c:pt idx="49059">
                  <c:v>105558</c:v>
                </c:pt>
                <c:pt idx="49060">
                  <c:v>33674</c:v>
                </c:pt>
                <c:pt idx="49061">
                  <c:v>55569</c:v>
                </c:pt>
                <c:pt idx="49062">
                  <c:v>92688</c:v>
                </c:pt>
                <c:pt idx="49063">
                  <c:v>26518</c:v>
                </c:pt>
                <c:pt idx="49064">
                  <c:v>50549</c:v>
                </c:pt>
                <c:pt idx="49065">
                  <c:v>36882</c:v>
                </c:pt>
                <c:pt idx="49066">
                  <c:v>46376</c:v>
                </c:pt>
                <c:pt idx="49067">
                  <c:v>76988</c:v>
                </c:pt>
                <c:pt idx="49068">
                  <c:v>33063</c:v>
                </c:pt>
                <c:pt idx="49069">
                  <c:v>49776</c:v>
                </c:pt>
                <c:pt idx="49070">
                  <c:v>30720</c:v>
                </c:pt>
                <c:pt idx="49071">
                  <c:v>46303</c:v>
                </c:pt>
                <c:pt idx="49072">
                  <c:v>26424</c:v>
                </c:pt>
                <c:pt idx="49073">
                  <c:v>47733</c:v>
                </c:pt>
                <c:pt idx="49074">
                  <c:v>39641</c:v>
                </c:pt>
                <c:pt idx="49075">
                  <c:v>39583</c:v>
                </c:pt>
                <c:pt idx="49076">
                  <c:v>47680</c:v>
                </c:pt>
                <c:pt idx="49077">
                  <c:v>34260</c:v>
                </c:pt>
                <c:pt idx="49078">
                  <c:v>27016</c:v>
                </c:pt>
                <c:pt idx="49079">
                  <c:v>56015</c:v>
                </c:pt>
                <c:pt idx="49080">
                  <c:v>49646</c:v>
                </c:pt>
                <c:pt idx="49081">
                  <c:v>27853</c:v>
                </c:pt>
                <c:pt idx="49082">
                  <c:v>24297</c:v>
                </c:pt>
                <c:pt idx="49083">
                  <c:v>46019</c:v>
                </c:pt>
                <c:pt idx="49084">
                  <c:v>100172</c:v>
                </c:pt>
                <c:pt idx="49085">
                  <c:v>72772</c:v>
                </c:pt>
                <c:pt idx="49086">
                  <c:v>32118</c:v>
                </c:pt>
                <c:pt idx="49087">
                  <c:v>38369</c:v>
                </c:pt>
                <c:pt idx="49088">
                  <c:v>39999</c:v>
                </c:pt>
                <c:pt idx="49089">
                  <c:v>46963</c:v>
                </c:pt>
                <c:pt idx="49090">
                  <c:v>30978</c:v>
                </c:pt>
                <c:pt idx="49091">
                  <c:v>29116</c:v>
                </c:pt>
                <c:pt idx="49092">
                  <c:v>112653</c:v>
                </c:pt>
                <c:pt idx="49093">
                  <c:v>26110</c:v>
                </c:pt>
                <c:pt idx="49094">
                  <c:v>42940</c:v>
                </c:pt>
                <c:pt idx="49095">
                  <c:v>85202</c:v>
                </c:pt>
                <c:pt idx="49096">
                  <c:v>65816</c:v>
                </c:pt>
                <c:pt idx="49097">
                  <c:v>65454</c:v>
                </c:pt>
                <c:pt idx="49098">
                  <c:v>27998</c:v>
                </c:pt>
                <c:pt idx="49099">
                  <c:v>29684</c:v>
                </c:pt>
                <c:pt idx="49100">
                  <c:v>30488</c:v>
                </c:pt>
                <c:pt idx="49101">
                  <c:v>28434</c:v>
                </c:pt>
                <c:pt idx="49102">
                  <c:v>48941</c:v>
                </c:pt>
                <c:pt idx="49103">
                  <c:v>26027</c:v>
                </c:pt>
                <c:pt idx="49104">
                  <c:v>144982</c:v>
                </c:pt>
                <c:pt idx="49105">
                  <c:v>28791</c:v>
                </c:pt>
                <c:pt idx="49106">
                  <c:v>42312</c:v>
                </c:pt>
                <c:pt idx="49107">
                  <c:v>29921</c:v>
                </c:pt>
                <c:pt idx="49108">
                  <c:v>56104</c:v>
                </c:pt>
                <c:pt idx="49109">
                  <c:v>37711</c:v>
                </c:pt>
                <c:pt idx="49110">
                  <c:v>29970</c:v>
                </c:pt>
                <c:pt idx="49111">
                  <c:v>31887</c:v>
                </c:pt>
                <c:pt idx="49112">
                  <c:v>42137</c:v>
                </c:pt>
                <c:pt idx="49113">
                  <c:v>54765</c:v>
                </c:pt>
                <c:pt idx="49114">
                  <c:v>26711</c:v>
                </c:pt>
                <c:pt idx="49115">
                  <c:v>51744</c:v>
                </c:pt>
                <c:pt idx="49116">
                  <c:v>57783</c:v>
                </c:pt>
                <c:pt idx="49117">
                  <c:v>52725</c:v>
                </c:pt>
                <c:pt idx="49118">
                  <c:v>50394</c:v>
                </c:pt>
                <c:pt idx="49119">
                  <c:v>51886</c:v>
                </c:pt>
                <c:pt idx="49120">
                  <c:v>51947</c:v>
                </c:pt>
                <c:pt idx="49121">
                  <c:v>32628</c:v>
                </c:pt>
                <c:pt idx="49122">
                  <c:v>47183</c:v>
                </c:pt>
                <c:pt idx="49123">
                  <c:v>44800</c:v>
                </c:pt>
                <c:pt idx="49124">
                  <c:v>31193</c:v>
                </c:pt>
                <c:pt idx="49125">
                  <c:v>74146</c:v>
                </c:pt>
                <c:pt idx="49126">
                  <c:v>54084</c:v>
                </c:pt>
                <c:pt idx="49127">
                  <c:v>36808</c:v>
                </c:pt>
                <c:pt idx="49128">
                  <c:v>30521</c:v>
                </c:pt>
                <c:pt idx="49129">
                  <c:v>28707</c:v>
                </c:pt>
                <c:pt idx="49130">
                  <c:v>63480</c:v>
                </c:pt>
                <c:pt idx="49131">
                  <c:v>75246</c:v>
                </c:pt>
                <c:pt idx="49132">
                  <c:v>28506</c:v>
                </c:pt>
                <c:pt idx="49133">
                  <c:v>30756</c:v>
                </c:pt>
                <c:pt idx="49134">
                  <c:v>23885</c:v>
                </c:pt>
                <c:pt idx="49135">
                  <c:v>33997</c:v>
                </c:pt>
                <c:pt idx="49136">
                  <c:v>49108</c:v>
                </c:pt>
                <c:pt idx="49137">
                  <c:v>40712</c:v>
                </c:pt>
                <c:pt idx="49138">
                  <c:v>23625</c:v>
                </c:pt>
                <c:pt idx="49139">
                  <c:v>135645</c:v>
                </c:pt>
                <c:pt idx="49140">
                  <c:v>54605</c:v>
                </c:pt>
                <c:pt idx="49141">
                  <c:v>25139</c:v>
                </c:pt>
                <c:pt idx="49142">
                  <c:v>44007</c:v>
                </c:pt>
                <c:pt idx="49143">
                  <c:v>110877</c:v>
                </c:pt>
                <c:pt idx="49144">
                  <c:v>47414</c:v>
                </c:pt>
                <c:pt idx="49145">
                  <c:v>132846</c:v>
                </c:pt>
                <c:pt idx="49146">
                  <c:v>21781</c:v>
                </c:pt>
                <c:pt idx="49147">
                  <c:v>98713</c:v>
                </c:pt>
                <c:pt idx="49148">
                  <c:v>65111</c:v>
                </c:pt>
                <c:pt idx="49149">
                  <c:v>137200</c:v>
                </c:pt>
                <c:pt idx="49150">
                  <c:v>40967</c:v>
                </c:pt>
                <c:pt idx="49151">
                  <c:v>184844</c:v>
                </c:pt>
                <c:pt idx="49152">
                  <c:v>53625</c:v>
                </c:pt>
                <c:pt idx="49153">
                  <c:v>56343</c:v>
                </c:pt>
                <c:pt idx="49154">
                  <c:v>78906</c:v>
                </c:pt>
                <c:pt idx="49155">
                  <c:v>29541</c:v>
                </c:pt>
                <c:pt idx="49156">
                  <c:v>219368</c:v>
                </c:pt>
                <c:pt idx="49157">
                  <c:v>25395</c:v>
                </c:pt>
                <c:pt idx="49158">
                  <c:v>41200</c:v>
                </c:pt>
                <c:pt idx="49159">
                  <c:v>30564</c:v>
                </c:pt>
                <c:pt idx="49160">
                  <c:v>89207</c:v>
                </c:pt>
                <c:pt idx="49161">
                  <c:v>42828</c:v>
                </c:pt>
                <c:pt idx="49162">
                  <c:v>27853</c:v>
                </c:pt>
                <c:pt idx="49163">
                  <c:v>24209</c:v>
                </c:pt>
                <c:pt idx="49164">
                  <c:v>107470</c:v>
                </c:pt>
                <c:pt idx="49165">
                  <c:v>31775</c:v>
                </c:pt>
                <c:pt idx="49166">
                  <c:v>21262</c:v>
                </c:pt>
                <c:pt idx="49167">
                  <c:v>73100</c:v>
                </c:pt>
                <c:pt idx="49168">
                  <c:v>34106</c:v>
                </c:pt>
                <c:pt idx="49169">
                  <c:v>63517</c:v>
                </c:pt>
                <c:pt idx="49170">
                  <c:v>25239</c:v>
                </c:pt>
                <c:pt idx="49171">
                  <c:v>68971</c:v>
                </c:pt>
                <c:pt idx="49172">
                  <c:v>75501</c:v>
                </c:pt>
                <c:pt idx="49173">
                  <c:v>213810</c:v>
                </c:pt>
                <c:pt idx="49174">
                  <c:v>43361</c:v>
                </c:pt>
                <c:pt idx="49175">
                  <c:v>92637</c:v>
                </c:pt>
                <c:pt idx="49176">
                  <c:v>62036</c:v>
                </c:pt>
                <c:pt idx="49177">
                  <c:v>37521</c:v>
                </c:pt>
                <c:pt idx="49178">
                  <c:v>27701</c:v>
                </c:pt>
                <c:pt idx="49179">
                  <c:v>84291</c:v>
                </c:pt>
                <c:pt idx="49180">
                  <c:v>38605</c:v>
                </c:pt>
                <c:pt idx="49181">
                  <c:v>23738</c:v>
                </c:pt>
                <c:pt idx="49182">
                  <c:v>85315</c:v>
                </c:pt>
                <c:pt idx="49183">
                  <c:v>24079</c:v>
                </c:pt>
                <c:pt idx="49184">
                  <c:v>38153</c:v>
                </c:pt>
                <c:pt idx="49185">
                  <c:v>30857</c:v>
                </c:pt>
                <c:pt idx="49186">
                  <c:v>37393</c:v>
                </c:pt>
                <c:pt idx="49187">
                  <c:v>140194</c:v>
                </c:pt>
                <c:pt idx="49188">
                  <c:v>37171</c:v>
                </c:pt>
                <c:pt idx="49189">
                  <c:v>38767</c:v>
                </c:pt>
                <c:pt idx="49190">
                  <c:v>43930</c:v>
                </c:pt>
                <c:pt idx="49191">
                  <c:v>44314</c:v>
                </c:pt>
                <c:pt idx="49192">
                  <c:v>92331</c:v>
                </c:pt>
                <c:pt idx="49193">
                  <c:v>50522</c:v>
                </c:pt>
                <c:pt idx="49194">
                  <c:v>71867</c:v>
                </c:pt>
                <c:pt idx="49195">
                  <c:v>26674</c:v>
                </c:pt>
                <c:pt idx="49196">
                  <c:v>31320</c:v>
                </c:pt>
                <c:pt idx="49197">
                  <c:v>43197</c:v>
                </c:pt>
                <c:pt idx="49198">
                  <c:v>85798</c:v>
                </c:pt>
                <c:pt idx="49199">
                  <c:v>74702</c:v>
                </c:pt>
                <c:pt idx="49200">
                  <c:v>45755</c:v>
                </c:pt>
                <c:pt idx="49201">
                  <c:v>39906</c:v>
                </c:pt>
                <c:pt idx="49202">
                  <c:v>43482</c:v>
                </c:pt>
                <c:pt idx="49203">
                  <c:v>48619</c:v>
                </c:pt>
                <c:pt idx="49204">
                  <c:v>30449</c:v>
                </c:pt>
                <c:pt idx="49205">
                  <c:v>299474</c:v>
                </c:pt>
                <c:pt idx="49206">
                  <c:v>36272</c:v>
                </c:pt>
                <c:pt idx="49207">
                  <c:v>45674</c:v>
                </c:pt>
                <c:pt idx="49208">
                  <c:v>42918</c:v>
                </c:pt>
                <c:pt idx="49209">
                  <c:v>157183</c:v>
                </c:pt>
                <c:pt idx="49210">
                  <c:v>37183</c:v>
                </c:pt>
                <c:pt idx="49211">
                  <c:v>76734</c:v>
                </c:pt>
                <c:pt idx="49212">
                  <c:v>31356</c:v>
                </c:pt>
                <c:pt idx="49213">
                  <c:v>48218</c:v>
                </c:pt>
                <c:pt idx="49214">
                  <c:v>122089</c:v>
                </c:pt>
                <c:pt idx="49215">
                  <c:v>49119</c:v>
                </c:pt>
                <c:pt idx="49216">
                  <c:v>34141</c:v>
                </c:pt>
                <c:pt idx="49217">
                  <c:v>67952</c:v>
                </c:pt>
                <c:pt idx="49218">
                  <c:v>104261</c:v>
                </c:pt>
                <c:pt idx="49219">
                  <c:v>75067</c:v>
                </c:pt>
                <c:pt idx="49220">
                  <c:v>123854</c:v>
                </c:pt>
                <c:pt idx="49221">
                  <c:v>20669</c:v>
                </c:pt>
                <c:pt idx="49222">
                  <c:v>31585</c:v>
                </c:pt>
                <c:pt idx="49223">
                  <c:v>75215</c:v>
                </c:pt>
                <c:pt idx="49224">
                  <c:v>56760</c:v>
                </c:pt>
                <c:pt idx="49225">
                  <c:v>44811</c:v>
                </c:pt>
                <c:pt idx="49226">
                  <c:v>317562</c:v>
                </c:pt>
                <c:pt idx="49227">
                  <c:v>50081</c:v>
                </c:pt>
                <c:pt idx="49228">
                  <c:v>26666</c:v>
                </c:pt>
                <c:pt idx="49229">
                  <c:v>37718</c:v>
                </c:pt>
                <c:pt idx="49230">
                  <c:v>58605</c:v>
                </c:pt>
                <c:pt idx="49231">
                  <c:v>32692</c:v>
                </c:pt>
                <c:pt idx="49232">
                  <c:v>17826</c:v>
                </c:pt>
                <c:pt idx="49233">
                  <c:v>48477</c:v>
                </c:pt>
                <c:pt idx="49234">
                  <c:v>23886</c:v>
                </c:pt>
                <c:pt idx="49235">
                  <c:v>40467</c:v>
                </c:pt>
                <c:pt idx="49236">
                  <c:v>42309</c:v>
                </c:pt>
                <c:pt idx="49237">
                  <c:v>52581</c:v>
                </c:pt>
                <c:pt idx="49238">
                  <c:v>100848</c:v>
                </c:pt>
                <c:pt idx="49239">
                  <c:v>33407</c:v>
                </c:pt>
                <c:pt idx="49240">
                  <c:v>106010</c:v>
                </c:pt>
                <c:pt idx="49241">
                  <c:v>137131</c:v>
                </c:pt>
                <c:pt idx="49242">
                  <c:v>21938</c:v>
                </c:pt>
                <c:pt idx="49243">
                  <c:v>122650</c:v>
                </c:pt>
                <c:pt idx="49244">
                  <c:v>38881</c:v>
                </c:pt>
                <c:pt idx="49245">
                  <c:v>42239</c:v>
                </c:pt>
                <c:pt idx="49246">
                  <c:v>43663</c:v>
                </c:pt>
                <c:pt idx="49247">
                  <c:v>27054</c:v>
                </c:pt>
                <c:pt idx="49248">
                  <c:v>26277</c:v>
                </c:pt>
                <c:pt idx="49249">
                  <c:v>36074</c:v>
                </c:pt>
                <c:pt idx="49250">
                  <c:v>91305</c:v>
                </c:pt>
                <c:pt idx="49251">
                  <c:v>46154</c:v>
                </c:pt>
                <c:pt idx="49252">
                  <c:v>39968</c:v>
                </c:pt>
                <c:pt idx="49253">
                  <c:v>25539</c:v>
                </c:pt>
                <c:pt idx="49254">
                  <c:v>39217</c:v>
                </c:pt>
                <c:pt idx="49255">
                  <c:v>39142</c:v>
                </c:pt>
                <c:pt idx="49256">
                  <c:v>155451</c:v>
                </c:pt>
                <c:pt idx="49257">
                  <c:v>37728</c:v>
                </c:pt>
                <c:pt idx="49258">
                  <c:v>26223</c:v>
                </c:pt>
                <c:pt idx="49259">
                  <c:v>37883</c:v>
                </c:pt>
                <c:pt idx="49260">
                  <c:v>37060</c:v>
                </c:pt>
                <c:pt idx="49261">
                  <c:v>25845</c:v>
                </c:pt>
                <c:pt idx="49262">
                  <c:v>28007</c:v>
                </c:pt>
                <c:pt idx="49263">
                  <c:v>51692</c:v>
                </c:pt>
                <c:pt idx="49264">
                  <c:v>35562</c:v>
                </c:pt>
                <c:pt idx="49265">
                  <c:v>39516</c:v>
                </c:pt>
                <c:pt idx="49266">
                  <c:v>83870</c:v>
                </c:pt>
                <c:pt idx="49267">
                  <c:v>41973</c:v>
                </c:pt>
                <c:pt idx="49268">
                  <c:v>135212</c:v>
                </c:pt>
                <c:pt idx="49269">
                  <c:v>27306</c:v>
                </c:pt>
                <c:pt idx="49270">
                  <c:v>54008</c:v>
                </c:pt>
                <c:pt idx="49271">
                  <c:v>53088</c:v>
                </c:pt>
                <c:pt idx="49272">
                  <c:v>104645</c:v>
                </c:pt>
                <c:pt idx="49273">
                  <c:v>56549</c:v>
                </c:pt>
                <c:pt idx="49274">
                  <c:v>56934</c:v>
                </c:pt>
                <c:pt idx="49275">
                  <c:v>54161</c:v>
                </c:pt>
                <c:pt idx="49276">
                  <c:v>90594</c:v>
                </c:pt>
                <c:pt idx="49277">
                  <c:v>45493</c:v>
                </c:pt>
                <c:pt idx="49278">
                  <c:v>74080</c:v>
                </c:pt>
                <c:pt idx="49279">
                  <c:v>33092</c:v>
                </c:pt>
                <c:pt idx="49280">
                  <c:v>97878</c:v>
                </c:pt>
                <c:pt idx="49281">
                  <c:v>30798</c:v>
                </c:pt>
                <c:pt idx="49282">
                  <c:v>36108</c:v>
                </c:pt>
                <c:pt idx="49283">
                  <c:v>39464</c:v>
                </c:pt>
                <c:pt idx="49284">
                  <c:v>45981</c:v>
                </c:pt>
                <c:pt idx="49285">
                  <c:v>32845</c:v>
                </c:pt>
                <c:pt idx="49286">
                  <c:v>29082</c:v>
                </c:pt>
                <c:pt idx="49287">
                  <c:v>33817</c:v>
                </c:pt>
                <c:pt idx="49288">
                  <c:v>62308</c:v>
                </c:pt>
                <c:pt idx="49289">
                  <c:v>37318</c:v>
                </c:pt>
                <c:pt idx="49290">
                  <c:v>22680</c:v>
                </c:pt>
                <c:pt idx="49291">
                  <c:v>76894</c:v>
                </c:pt>
                <c:pt idx="49292">
                  <c:v>31697</c:v>
                </c:pt>
                <c:pt idx="49293">
                  <c:v>34255</c:v>
                </c:pt>
                <c:pt idx="49294">
                  <c:v>40019</c:v>
                </c:pt>
                <c:pt idx="49295">
                  <c:v>50655</c:v>
                </c:pt>
                <c:pt idx="49296">
                  <c:v>97118</c:v>
                </c:pt>
                <c:pt idx="49297">
                  <c:v>85166</c:v>
                </c:pt>
                <c:pt idx="49298">
                  <c:v>21635</c:v>
                </c:pt>
                <c:pt idx="49299">
                  <c:v>144646</c:v>
                </c:pt>
                <c:pt idx="49300">
                  <c:v>24470</c:v>
                </c:pt>
                <c:pt idx="49301">
                  <c:v>162537</c:v>
                </c:pt>
                <c:pt idx="49302">
                  <c:v>82882</c:v>
                </c:pt>
                <c:pt idx="49303">
                  <c:v>68573</c:v>
                </c:pt>
                <c:pt idx="49304">
                  <c:v>25601</c:v>
                </c:pt>
                <c:pt idx="49305">
                  <c:v>77854</c:v>
                </c:pt>
                <c:pt idx="49306">
                  <c:v>109424</c:v>
                </c:pt>
                <c:pt idx="49307">
                  <c:v>79834</c:v>
                </c:pt>
                <c:pt idx="49308">
                  <c:v>24243</c:v>
                </c:pt>
                <c:pt idx="49309">
                  <c:v>32539</c:v>
                </c:pt>
                <c:pt idx="49310">
                  <c:v>59771</c:v>
                </c:pt>
                <c:pt idx="49311">
                  <c:v>101035</c:v>
                </c:pt>
                <c:pt idx="49312">
                  <c:v>28447</c:v>
                </c:pt>
                <c:pt idx="49313">
                  <c:v>38967</c:v>
                </c:pt>
                <c:pt idx="49314">
                  <c:v>78378</c:v>
                </c:pt>
                <c:pt idx="49315">
                  <c:v>145399</c:v>
                </c:pt>
                <c:pt idx="49316">
                  <c:v>41585</c:v>
                </c:pt>
                <c:pt idx="49317">
                  <c:v>38642</c:v>
                </c:pt>
                <c:pt idx="49318">
                  <c:v>38318</c:v>
                </c:pt>
                <c:pt idx="49319">
                  <c:v>110616</c:v>
                </c:pt>
                <c:pt idx="49320">
                  <c:v>44511</c:v>
                </c:pt>
                <c:pt idx="49321">
                  <c:v>38133</c:v>
                </c:pt>
                <c:pt idx="49322">
                  <c:v>97235</c:v>
                </c:pt>
                <c:pt idx="49323">
                  <c:v>29686</c:v>
                </c:pt>
                <c:pt idx="49324">
                  <c:v>64360</c:v>
                </c:pt>
                <c:pt idx="49325">
                  <c:v>114134</c:v>
                </c:pt>
                <c:pt idx="49326">
                  <c:v>45417</c:v>
                </c:pt>
                <c:pt idx="49327">
                  <c:v>37249</c:v>
                </c:pt>
                <c:pt idx="49328">
                  <c:v>79054</c:v>
                </c:pt>
                <c:pt idx="49329">
                  <c:v>22942</c:v>
                </c:pt>
                <c:pt idx="49330">
                  <c:v>47840</c:v>
                </c:pt>
                <c:pt idx="49331">
                  <c:v>38166</c:v>
                </c:pt>
                <c:pt idx="49332">
                  <c:v>163241</c:v>
                </c:pt>
                <c:pt idx="49333">
                  <c:v>92264</c:v>
                </c:pt>
                <c:pt idx="49334">
                  <c:v>21624</c:v>
                </c:pt>
                <c:pt idx="49335">
                  <c:v>34500</c:v>
                </c:pt>
                <c:pt idx="49336">
                  <c:v>56124</c:v>
                </c:pt>
                <c:pt idx="49337">
                  <c:v>67834</c:v>
                </c:pt>
                <c:pt idx="49338">
                  <c:v>64544</c:v>
                </c:pt>
                <c:pt idx="49339">
                  <c:v>29224</c:v>
                </c:pt>
                <c:pt idx="49340">
                  <c:v>55073</c:v>
                </c:pt>
                <c:pt idx="49341">
                  <c:v>216677</c:v>
                </c:pt>
                <c:pt idx="49342">
                  <c:v>62972</c:v>
                </c:pt>
                <c:pt idx="49343">
                  <c:v>96399</c:v>
                </c:pt>
                <c:pt idx="49344">
                  <c:v>91228</c:v>
                </c:pt>
                <c:pt idx="49345">
                  <c:v>72908</c:v>
                </c:pt>
                <c:pt idx="49346">
                  <c:v>51998</c:v>
                </c:pt>
                <c:pt idx="49347">
                  <c:v>48006</c:v>
                </c:pt>
                <c:pt idx="49348">
                  <c:v>64730</c:v>
                </c:pt>
                <c:pt idx="49349">
                  <c:v>53546</c:v>
                </c:pt>
                <c:pt idx="49350">
                  <c:v>42457</c:v>
                </c:pt>
                <c:pt idx="49351">
                  <c:v>24295</c:v>
                </c:pt>
                <c:pt idx="49352">
                  <c:v>80224</c:v>
                </c:pt>
                <c:pt idx="49353">
                  <c:v>54957</c:v>
                </c:pt>
                <c:pt idx="49354">
                  <c:v>60585</c:v>
                </c:pt>
                <c:pt idx="49355">
                  <c:v>43932</c:v>
                </c:pt>
                <c:pt idx="49356">
                  <c:v>94270</c:v>
                </c:pt>
                <c:pt idx="49357">
                  <c:v>30039</c:v>
                </c:pt>
                <c:pt idx="49358">
                  <c:v>26663</c:v>
                </c:pt>
                <c:pt idx="49359">
                  <c:v>55802</c:v>
                </c:pt>
                <c:pt idx="49360">
                  <c:v>64215</c:v>
                </c:pt>
                <c:pt idx="49361">
                  <c:v>32926</c:v>
                </c:pt>
                <c:pt idx="49362">
                  <c:v>32623</c:v>
                </c:pt>
                <c:pt idx="49363">
                  <c:v>78063</c:v>
                </c:pt>
                <c:pt idx="49364">
                  <c:v>24106</c:v>
                </c:pt>
                <c:pt idx="49365">
                  <c:v>69656</c:v>
                </c:pt>
                <c:pt idx="49366">
                  <c:v>31519</c:v>
                </c:pt>
                <c:pt idx="49367">
                  <c:v>28718</c:v>
                </c:pt>
                <c:pt idx="49368">
                  <c:v>77068</c:v>
                </c:pt>
                <c:pt idx="49369">
                  <c:v>100743</c:v>
                </c:pt>
                <c:pt idx="49370">
                  <c:v>246578</c:v>
                </c:pt>
                <c:pt idx="49371">
                  <c:v>27278</c:v>
                </c:pt>
                <c:pt idx="49372">
                  <c:v>168199</c:v>
                </c:pt>
                <c:pt idx="49373">
                  <c:v>57600</c:v>
                </c:pt>
                <c:pt idx="49374">
                  <c:v>50481</c:v>
                </c:pt>
                <c:pt idx="49375">
                  <c:v>29551</c:v>
                </c:pt>
                <c:pt idx="49376">
                  <c:v>39674</c:v>
                </c:pt>
                <c:pt idx="49377">
                  <c:v>18184</c:v>
                </c:pt>
                <c:pt idx="49378">
                  <c:v>35514</c:v>
                </c:pt>
                <c:pt idx="49379">
                  <c:v>50484</c:v>
                </c:pt>
                <c:pt idx="49380">
                  <c:v>23247</c:v>
                </c:pt>
                <c:pt idx="49381">
                  <c:v>56069</c:v>
                </c:pt>
                <c:pt idx="49382">
                  <c:v>35726</c:v>
                </c:pt>
                <c:pt idx="49383">
                  <c:v>51521</c:v>
                </c:pt>
                <c:pt idx="49384">
                  <c:v>117795</c:v>
                </c:pt>
                <c:pt idx="49385">
                  <c:v>45153</c:v>
                </c:pt>
                <c:pt idx="49386">
                  <c:v>54027</c:v>
                </c:pt>
                <c:pt idx="49387">
                  <c:v>28336</c:v>
                </c:pt>
                <c:pt idx="49388">
                  <c:v>87419</c:v>
                </c:pt>
                <c:pt idx="49389">
                  <c:v>78052</c:v>
                </c:pt>
                <c:pt idx="49390">
                  <c:v>135466</c:v>
                </c:pt>
                <c:pt idx="49391">
                  <c:v>51530</c:v>
                </c:pt>
                <c:pt idx="49392">
                  <c:v>26756</c:v>
                </c:pt>
                <c:pt idx="49393">
                  <c:v>25372</c:v>
                </c:pt>
                <c:pt idx="49394">
                  <c:v>24038</c:v>
                </c:pt>
                <c:pt idx="49395">
                  <c:v>152640</c:v>
                </c:pt>
                <c:pt idx="49396">
                  <c:v>43191</c:v>
                </c:pt>
                <c:pt idx="49397">
                  <c:v>278947</c:v>
                </c:pt>
                <c:pt idx="49398">
                  <c:v>42358</c:v>
                </c:pt>
                <c:pt idx="49399">
                  <c:v>66813</c:v>
                </c:pt>
                <c:pt idx="49400">
                  <c:v>49782</c:v>
                </c:pt>
                <c:pt idx="49401">
                  <c:v>29227</c:v>
                </c:pt>
                <c:pt idx="49402">
                  <c:v>29791</c:v>
                </c:pt>
                <c:pt idx="49403">
                  <c:v>146396</c:v>
                </c:pt>
                <c:pt idx="49404">
                  <c:v>45105</c:v>
                </c:pt>
                <c:pt idx="49405">
                  <c:v>45541</c:v>
                </c:pt>
                <c:pt idx="49406">
                  <c:v>23336</c:v>
                </c:pt>
                <c:pt idx="49407">
                  <c:v>35954</c:v>
                </c:pt>
                <c:pt idx="49408">
                  <c:v>34832</c:v>
                </c:pt>
                <c:pt idx="49409">
                  <c:v>68844</c:v>
                </c:pt>
                <c:pt idx="49410">
                  <c:v>53588</c:v>
                </c:pt>
                <c:pt idx="49411">
                  <c:v>162193</c:v>
                </c:pt>
                <c:pt idx="49412">
                  <c:v>60353</c:v>
                </c:pt>
                <c:pt idx="49413">
                  <c:v>136941</c:v>
                </c:pt>
                <c:pt idx="49414">
                  <c:v>29749</c:v>
                </c:pt>
                <c:pt idx="49415">
                  <c:v>25376</c:v>
                </c:pt>
                <c:pt idx="49416">
                  <c:v>111906</c:v>
                </c:pt>
                <c:pt idx="49417">
                  <c:v>25327</c:v>
                </c:pt>
                <c:pt idx="49418">
                  <c:v>88074</c:v>
                </c:pt>
                <c:pt idx="49419">
                  <c:v>22019</c:v>
                </c:pt>
                <c:pt idx="49420">
                  <c:v>106410</c:v>
                </c:pt>
                <c:pt idx="49421">
                  <c:v>208513</c:v>
                </c:pt>
                <c:pt idx="49422">
                  <c:v>44558</c:v>
                </c:pt>
                <c:pt idx="49423">
                  <c:v>109884</c:v>
                </c:pt>
                <c:pt idx="49424">
                  <c:v>82853</c:v>
                </c:pt>
                <c:pt idx="49425">
                  <c:v>45071</c:v>
                </c:pt>
                <c:pt idx="49426">
                  <c:v>105670</c:v>
                </c:pt>
                <c:pt idx="49427">
                  <c:v>32212</c:v>
                </c:pt>
                <c:pt idx="49428">
                  <c:v>38150</c:v>
                </c:pt>
                <c:pt idx="49429">
                  <c:v>27154</c:v>
                </c:pt>
                <c:pt idx="49430">
                  <c:v>42771</c:v>
                </c:pt>
                <c:pt idx="49431">
                  <c:v>65242</c:v>
                </c:pt>
                <c:pt idx="49432">
                  <c:v>56392</c:v>
                </c:pt>
                <c:pt idx="49433">
                  <c:v>48213</c:v>
                </c:pt>
                <c:pt idx="49434">
                  <c:v>44950</c:v>
                </c:pt>
                <c:pt idx="49435">
                  <c:v>26933</c:v>
                </c:pt>
                <c:pt idx="49436">
                  <c:v>46048</c:v>
                </c:pt>
                <c:pt idx="49437">
                  <c:v>49464</c:v>
                </c:pt>
                <c:pt idx="49438">
                  <c:v>283057</c:v>
                </c:pt>
                <c:pt idx="49439">
                  <c:v>37943</c:v>
                </c:pt>
                <c:pt idx="49440">
                  <c:v>21775</c:v>
                </c:pt>
                <c:pt idx="49441">
                  <c:v>180769</c:v>
                </c:pt>
                <c:pt idx="49442">
                  <c:v>44127</c:v>
                </c:pt>
                <c:pt idx="49443">
                  <c:v>49983</c:v>
                </c:pt>
                <c:pt idx="49444">
                  <c:v>80144</c:v>
                </c:pt>
                <c:pt idx="49445">
                  <c:v>31588</c:v>
                </c:pt>
                <c:pt idx="49446">
                  <c:v>28263</c:v>
                </c:pt>
                <c:pt idx="49447">
                  <c:v>23971</c:v>
                </c:pt>
                <c:pt idx="49448">
                  <c:v>45639</c:v>
                </c:pt>
                <c:pt idx="49449">
                  <c:v>48735</c:v>
                </c:pt>
                <c:pt idx="49450">
                  <c:v>33104</c:v>
                </c:pt>
                <c:pt idx="49451">
                  <c:v>29665</c:v>
                </c:pt>
                <c:pt idx="49452">
                  <c:v>25127</c:v>
                </c:pt>
                <c:pt idx="49453">
                  <c:v>31816</c:v>
                </c:pt>
                <c:pt idx="49454">
                  <c:v>66844</c:v>
                </c:pt>
                <c:pt idx="49455">
                  <c:v>27789</c:v>
                </c:pt>
                <c:pt idx="49456">
                  <c:v>34664</c:v>
                </c:pt>
                <c:pt idx="49457">
                  <c:v>133269</c:v>
                </c:pt>
                <c:pt idx="49458">
                  <c:v>15000</c:v>
                </c:pt>
                <c:pt idx="49459">
                  <c:v>27936</c:v>
                </c:pt>
                <c:pt idx="49460">
                  <c:v>36099</c:v>
                </c:pt>
                <c:pt idx="49461">
                  <c:v>140173</c:v>
                </c:pt>
                <c:pt idx="49462">
                  <c:v>49899</c:v>
                </c:pt>
                <c:pt idx="49463">
                  <c:v>49857</c:v>
                </c:pt>
                <c:pt idx="49464">
                  <c:v>42867</c:v>
                </c:pt>
                <c:pt idx="49465">
                  <c:v>22045</c:v>
                </c:pt>
                <c:pt idx="49466">
                  <c:v>56712</c:v>
                </c:pt>
                <c:pt idx="49467">
                  <c:v>35822</c:v>
                </c:pt>
                <c:pt idx="49468">
                  <c:v>190330</c:v>
                </c:pt>
                <c:pt idx="49469">
                  <c:v>46193</c:v>
                </c:pt>
                <c:pt idx="49470">
                  <c:v>49578</c:v>
                </c:pt>
                <c:pt idx="49471">
                  <c:v>42139</c:v>
                </c:pt>
                <c:pt idx="49472">
                  <c:v>37446</c:v>
                </c:pt>
                <c:pt idx="49473">
                  <c:v>136205</c:v>
                </c:pt>
                <c:pt idx="49474">
                  <c:v>76505</c:v>
                </c:pt>
                <c:pt idx="49475">
                  <c:v>195030</c:v>
                </c:pt>
                <c:pt idx="49476">
                  <c:v>38595</c:v>
                </c:pt>
                <c:pt idx="49477">
                  <c:v>64840</c:v>
                </c:pt>
                <c:pt idx="49478">
                  <c:v>27686</c:v>
                </c:pt>
                <c:pt idx="49479">
                  <c:v>79521</c:v>
                </c:pt>
                <c:pt idx="49480">
                  <c:v>63157</c:v>
                </c:pt>
                <c:pt idx="49481">
                  <c:v>134651</c:v>
                </c:pt>
                <c:pt idx="49482">
                  <c:v>68369</c:v>
                </c:pt>
                <c:pt idx="49483">
                  <c:v>57739</c:v>
                </c:pt>
                <c:pt idx="49484">
                  <c:v>23210</c:v>
                </c:pt>
                <c:pt idx="49485">
                  <c:v>21343</c:v>
                </c:pt>
                <c:pt idx="49486">
                  <c:v>40428</c:v>
                </c:pt>
                <c:pt idx="49487">
                  <c:v>42086</c:v>
                </c:pt>
                <c:pt idx="49488">
                  <c:v>43701</c:v>
                </c:pt>
                <c:pt idx="49489">
                  <c:v>97681</c:v>
                </c:pt>
                <c:pt idx="49490">
                  <c:v>22475</c:v>
                </c:pt>
                <c:pt idx="49491">
                  <c:v>182238</c:v>
                </c:pt>
                <c:pt idx="49492">
                  <c:v>33836</c:v>
                </c:pt>
                <c:pt idx="49493">
                  <c:v>42471</c:v>
                </c:pt>
                <c:pt idx="49494">
                  <c:v>116592</c:v>
                </c:pt>
                <c:pt idx="49495">
                  <c:v>26248</c:v>
                </c:pt>
                <c:pt idx="49496">
                  <c:v>52166</c:v>
                </c:pt>
                <c:pt idx="49497">
                  <c:v>23006</c:v>
                </c:pt>
                <c:pt idx="49498">
                  <c:v>35730</c:v>
                </c:pt>
                <c:pt idx="49499">
                  <c:v>34648</c:v>
                </c:pt>
                <c:pt idx="49500">
                  <c:v>35988</c:v>
                </c:pt>
                <c:pt idx="49501">
                  <c:v>32747</c:v>
                </c:pt>
                <c:pt idx="49502">
                  <c:v>59312</c:v>
                </c:pt>
                <c:pt idx="49503">
                  <c:v>20523</c:v>
                </c:pt>
                <c:pt idx="49504">
                  <c:v>33463</c:v>
                </c:pt>
                <c:pt idx="49505">
                  <c:v>53470</c:v>
                </c:pt>
                <c:pt idx="49506">
                  <c:v>79222</c:v>
                </c:pt>
                <c:pt idx="49507">
                  <c:v>41964</c:v>
                </c:pt>
                <c:pt idx="49508">
                  <c:v>158252</c:v>
                </c:pt>
                <c:pt idx="49509">
                  <c:v>88294</c:v>
                </c:pt>
                <c:pt idx="49510">
                  <c:v>52109</c:v>
                </c:pt>
                <c:pt idx="49511">
                  <c:v>46564</c:v>
                </c:pt>
                <c:pt idx="49512">
                  <c:v>28844</c:v>
                </c:pt>
                <c:pt idx="49513">
                  <c:v>36173</c:v>
                </c:pt>
                <c:pt idx="49514">
                  <c:v>117724</c:v>
                </c:pt>
                <c:pt idx="49515">
                  <c:v>152545</c:v>
                </c:pt>
                <c:pt idx="49516">
                  <c:v>269609</c:v>
                </c:pt>
                <c:pt idx="49517">
                  <c:v>142377</c:v>
                </c:pt>
                <c:pt idx="49518">
                  <c:v>36682</c:v>
                </c:pt>
                <c:pt idx="49519">
                  <c:v>28507</c:v>
                </c:pt>
                <c:pt idx="49520">
                  <c:v>76729</c:v>
                </c:pt>
                <c:pt idx="49521">
                  <c:v>26937</c:v>
                </c:pt>
                <c:pt idx="49522">
                  <c:v>319433</c:v>
                </c:pt>
                <c:pt idx="49523">
                  <c:v>43909</c:v>
                </c:pt>
                <c:pt idx="49524">
                  <c:v>26900</c:v>
                </c:pt>
                <c:pt idx="49525">
                  <c:v>44389</c:v>
                </c:pt>
                <c:pt idx="49526">
                  <c:v>103389</c:v>
                </c:pt>
                <c:pt idx="49527">
                  <c:v>47907</c:v>
                </c:pt>
                <c:pt idx="49528">
                  <c:v>30149</c:v>
                </c:pt>
                <c:pt idx="49529">
                  <c:v>34877</c:v>
                </c:pt>
                <c:pt idx="49530">
                  <c:v>214835</c:v>
                </c:pt>
                <c:pt idx="49531">
                  <c:v>22769</c:v>
                </c:pt>
                <c:pt idx="49532">
                  <c:v>36728</c:v>
                </c:pt>
                <c:pt idx="49533">
                  <c:v>83865</c:v>
                </c:pt>
                <c:pt idx="49534">
                  <c:v>24496</c:v>
                </c:pt>
                <c:pt idx="49535">
                  <c:v>122602</c:v>
                </c:pt>
                <c:pt idx="49536">
                  <c:v>64739</c:v>
                </c:pt>
                <c:pt idx="49537">
                  <c:v>26481</c:v>
                </c:pt>
                <c:pt idx="49538">
                  <c:v>50856</c:v>
                </c:pt>
                <c:pt idx="49539">
                  <c:v>92600</c:v>
                </c:pt>
                <c:pt idx="49540">
                  <c:v>89089</c:v>
                </c:pt>
                <c:pt idx="49541">
                  <c:v>27060</c:v>
                </c:pt>
                <c:pt idx="49542">
                  <c:v>71841</c:v>
                </c:pt>
                <c:pt idx="49543">
                  <c:v>59128</c:v>
                </c:pt>
                <c:pt idx="49544">
                  <c:v>23599</c:v>
                </c:pt>
                <c:pt idx="49545">
                  <c:v>68972</c:v>
                </c:pt>
                <c:pt idx="49546">
                  <c:v>33327</c:v>
                </c:pt>
                <c:pt idx="49547">
                  <c:v>245451</c:v>
                </c:pt>
                <c:pt idx="49548">
                  <c:v>58845</c:v>
                </c:pt>
                <c:pt idx="49549">
                  <c:v>41811</c:v>
                </c:pt>
                <c:pt idx="49550">
                  <c:v>38287</c:v>
                </c:pt>
                <c:pt idx="49551">
                  <c:v>29964</c:v>
                </c:pt>
                <c:pt idx="49552">
                  <c:v>50967</c:v>
                </c:pt>
                <c:pt idx="49553">
                  <c:v>45556</c:v>
                </c:pt>
                <c:pt idx="49554">
                  <c:v>50662</c:v>
                </c:pt>
                <c:pt idx="49555">
                  <c:v>40135</c:v>
                </c:pt>
                <c:pt idx="49556">
                  <c:v>37424</c:v>
                </c:pt>
                <c:pt idx="49557">
                  <c:v>63014</c:v>
                </c:pt>
                <c:pt idx="49558">
                  <c:v>26433</c:v>
                </c:pt>
                <c:pt idx="49559">
                  <c:v>30989</c:v>
                </c:pt>
                <c:pt idx="49560">
                  <c:v>38848</c:v>
                </c:pt>
                <c:pt idx="49561">
                  <c:v>43972</c:v>
                </c:pt>
                <c:pt idx="49562">
                  <c:v>84471</c:v>
                </c:pt>
                <c:pt idx="49563">
                  <c:v>91488</c:v>
                </c:pt>
                <c:pt idx="49564">
                  <c:v>28641</c:v>
                </c:pt>
                <c:pt idx="49565">
                  <c:v>60292</c:v>
                </c:pt>
                <c:pt idx="49566">
                  <c:v>24754</c:v>
                </c:pt>
                <c:pt idx="49567">
                  <c:v>51028</c:v>
                </c:pt>
                <c:pt idx="49568">
                  <c:v>33433</c:v>
                </c:pt>
                <c:pt idx="49569">
                  <c:v>57444</c:v>
                </c:pt>
                <c:pt idx="49570">
                  <c:v>46303</c:v>
                </c:pt>
                <c:pt idx="49571">
                  <c:v>31775</c:v>
                </c:pt>
                <c:pt idx="49572">
                  <c:v>104347</c:v>
                </c:pt>
                <c:pt idx="49573">
                  <c:v>47847</c:v>
                </c:pt>
                <c:pt idx="49574">
                  <c:v>26828</c:v>
                </c:pt>
                <c:pt idx="49575">
                  <c:v>38441</c:v>
                </c:pt>
                <c:pt idx="49576">
                  <c:v>65510</c:v>
                </c:pt>
                <c:pt idx="49577">
                  <c:v>76714</c:v>
                </c:pt>
                <c:pt idx="49578">
                  <c:v>24274</c:v>
                </c:pt>
                <c:pt idx="49579">
                  <c:v>43668</c:v>
                </c:pt>
                <c:pt idx="49580">
                  <c:v>27965</c:v>
                </c:pt>
                <c:pt idx="49581">
                  <c:v>40515</c:v>
                </c:pt>
                <c:pt idx="49582">
                  <c:v>34227</c:v>
                </c:pt>
                <c:pt idx="49583">
                  <c:v>36877</c:v>
                </c:pt>
                <c:pt idx="49584">
                  <c:v>68726</c:v>
                </c:pt>
                <c:pt idx="49585">
                  <c:v>180944</c:v>
                </c:pt>
                <c:pt idx="49586">
                  <c:v>182786</c:v>
                </c:pt>
                <c:pt idx="49587">
                  <c:v>25525</c:v>
                </c:pt>
                <c:pt idx="49588">
                  <c:v>26640</c:v>
                </c:pt>
                <c:pt idx="49589">
                  <c:v>40913</c:v>
                </c:pt>
                <c:pt idx="49590">
                  <c:v>69902</c:v>
                </c:pt>
                <c:pt idx="49591">
                  <c:v>35125</c:v>
                </c:pt>
                <c:pt idx="49592">
                  <c:v>129385</c:v>
                </c:pt>
                <c:pt idx="49593">
                  <c:v>41118</c:v>
                </c:pt>
                <c:pt idx="49594">
                  <c:v>67495</c:v>
                </c:pt>
                <c:pt idx="49595">
                  <c:v>31827</c:v>
                </c:pt>
                <c:pt idx="49596">
                  <c:v>67577</c:v>
                </c:pt>
                <c:pt idx="49597">
                  <c:v>27769</c:v>
                </c:pt>
                <c:pt idx="49598">
                  <c:v>50084</c:v>
                </c:pt>
                <c:pt idx="49599">
                  <c:v>59911</c:v>
                </c:pt>
                <c:pt idx="49600">
                  <c:v>69665</c:v>
                </c:pt>
                <c:pt idx="49601">
                  <c:v>64869</c:v>
                </c:pt>
                <c:pt idx="49602">
                  <c:v>24464</c:v>
                </c:pt>
                <c:pt idx="49603">
                  <c:v>37226</c:v>
                </c:pt>
                <c:pt idx="49604">
                  <c:v>43030</c:v>
                </c:pt>
                <c:pt idx="49605">
                  <c:v>26558</c:v>
                </c:pt>
                <c:pt idx="49606">
                  <c:v>174114</c:v>
                </c:pt>
                <c:pt idx="49607">
                  <c:v>39113</c:v>
                </c:pt>
                <c:pt idx="49608">
                  <c:v>90703</c:v>
                </c:pt>
                <c:pt idx="49609">
                  <c:v>83707</c:v>
                </c:pt>
                <c:pt idx="49610">
                  <c:v>40545</c:v>
                </c:pt>
                <c:pt idx="49611">
                  <c:v>27494</c:v>
                </c:pt>
                <c:pt idx="49612">
                  <c:v>43410</c:v>
                </c:pt>
                <c:pt idx="49613">
                  <c:v>32501</c:v>
                </c:pt>
                <c:pt idx="49614">
                  <c:v>35189</c:v>
                </c:pt>
                <c:pt idx="49615">
                  <c:v>37699</c:v>
                </c:pt>
                <c:pt idx="49616">
                  <c:v>132470</c:v>
                </c:pt>
                <c:pt idx="49617">
                  <c:v>48007</c:v>
                </c:pt>
                <c:pt idx="49618">
                  <c:v>98427</c:v>
                </c:pt>
                <c:pt idx="49619">
                  <c:v>42251</c:v>
                </c:pt>
                <c:pt idx="49620">
                  <c:v>43780</c:v>
                </c:pt>
                <c:pt idx="49621">
                  <c:v>22728</c:v>
                </c:pt>
                <c:pt idx="49622">
                  <c:v>68585</c:v>
                </c:pt>
                <c:pt idx="49623">
                  <c:v>50147</c:v>
                </c:pt>
                <c:pt idx="49624">
                  <c:v>27617</c:v>
                </c:pt>
                <c:pt idx="49625">
                  <c:v>37286</c:v>
                </c:pt>
                <c:pt idx="49626">
                  <c:v>65131</c:v>
                </c:pt>
                <c:pt idx="49627">
                  <c:v>41983</c:v>
                </c:pt>
                <c:pt idx="49628">
                  <c:v>52855</c:v>
                </c:pt>
                <c:pt idx="49629">
                  <c:v>28931</c:v>
                </c:pt>
                <c:pt idx="49630">
                  <c:v>48408</c:v>
                </c:pt>
                <c:pt idx="49631">
                  <c:v>25157</c:v>
                </c:pt>
                <c:pt idx="49632">
                  <c:v>42649</c:v>
                </c:pt>
                <c:pt idx="49633">
                  <c:v>41623</c:v>
                </c:pt>
                <c:pt idx="49634">
                  <c:v>45640</c:v>
                </c:pt>
                <c:pt idx="49635">
                  <c:v>93340</c:v>
                </c:pt>
                <c:pt idx="49636">
                  <c:v>23911</c:v>
                </c:pt>
                <c:pt idx="49637">
                  <c:v>218380</c:v>
                </c:pt>
                <c:pt idx="49638">
                  <c:v>69237</c:v>
                </c:pt>
                <c:pt idx="49639">
                  <c:v>61325</c:v>
                </c:pt>
                <c:pt idx="49640">
                  <c:v>153434</c:v>
                </c:pt>
                <c:pt idx="49641">
                  <c:v>26730</c:v>
                </c:pt>
                <c:pt idx="49642">
                  <c:v>102088</c:v>
                </c:pt>
                <c:pt idx="49643">
                  <c:v>32952</c:v>
                </c:pt>
                <c:pt idx="49644">
                  <c:v>27614</c:v>
                </c:pt>
                <c:pt idx="49645">
                  <c:v>40540</c:v>
                </c:pt>
                <c:pt idx="49646">
                  <c:v>65321</c:v>
                </c:pt>
                <c:pt idx="49647">
                  <c:v>79425</c:v>
                </c:pt>
                <c:pt idx="49648">
                  <c:v>38397</c:v>
                </c:pt>
                <c:pt idx="49649">
                  <c:v>64316</c:v>
                </c:pt>
                <c:pt idx="49650">
                  <c:v>46884</c:v>
                </c:pt>
                <c:pt idx="49651">
                  <c:v>23760</c:v>
                </c:pt>
                <c:pt idx="49652">
                  <c:v>45870</c:v>
                </c:pt>
                <c:pt idx="49653">
                  <c:v>87588</c:v>
                </c:pt>
                <c:pt idx="49654">
                  <c:v>31296</c:v>
                </c:pt>
                <c:pt idx="49655">
                  <c:v>25683</c:v>
                </c:pt>
                <c:pt idx="49656">
                  <c:v>63642</c:v>
                </c:pt>
                <c:pt idx="49657">
                  <c:v>59683</c:v>
                </c:pt>
                <c:pt idx="49658">
                  <c:v>53692</c:v>
                </c:pt>
                <c:pt idx="49659">
                  <c:v>36974</c:v>
                </c:pt>
                <c:pt idx="49660">
                  <c:v>164164</c:v>
                </c:pt>
                <c:pt idx="49661">
                  <c:v>48065</c:v>
                </c:pt>
                <c:pt idx="49662">
                  <c:v>53693</c:v>
                </c:pt>
                <c:pt idx="49663">
                  <c:v>36773</c:v>
                </c:pt>
                <c:pt idx="49664">
                  <c:v>43366</c:v>
                </c:pt>
                <c:pt idx="49665">
                  <c:v>43619</c:v>
                </c:pt>
                <c:pt idx="49666">
                  <c:v>36785</c:v>
                </c:pt>
                <c:pt idx="49667">
                  <c:v>53101</c:v>
                </c:pt>
                <c:pt idx="49668">
                  <c:v>30421</c:v>
                </c:pt>
                <c:pt idx="49669">
                  <c:v>53064</c:v>
                </c:pt>
                <c:pt idx="49670">
                  <c:v>25392</c:v>
                </c:pt>
                <c:pt idx="49671">
                  <c:v>25336</c:v>
                </c:pt>
                <c:pt idx="49672">
                  <c:v>28685</c:v>
                </c:pt>
                <c:pt idx="49673">
                  <c:v>41124</c:v>
                </c:pt>
                <c:pt idx="49674">
                  <c:v>68685</c:v>
                </c:pt>
                <c:pt idx="49675">
                  <c:v>65942</c:v>
                </c:pt>
                <c:pt idx="49676">
                  <c:v>153063</c:v>
                </c:pt>
                <c:pt idx="49677">
                  <c:v>45914</c:v>
                </c:pt>
                <c:pt idx="49678">
                  <c:v>40292</c:v>
                </c:pt>
                <c:pt idx="49679">
                  <c:v>58842</c:v>
                </c:pt>
                <c:pt idx="49680">
                  <c:v>36974</c:v>
                </c:pt>
                <c:pt idx="49681">
                  <c:v>316725</c:v>
                </c:pt>
                <c:pt idx="49682">
                  <c:v>42845</c:v>
                </c:pt>
                <c:pt idx="49683">
                  <c:v>59922</c:v>
                </c:pt>
                <c:pt idx="49684">
                  <c:v>188476</c:v>
                </c:pt>
                <c:pt idx="49685">
                  <c:v>25877</c:v>
                </c:pt>
                <c:pt idx="49686">
                  <c:v>48595</c:v>
                </c:pt>
                <c:pt idx="49687">
                  <c:v>48965</c:v>
                </c:pt>
                <c:pt idx="49688">
                  <c:v>29341</c:v>
                </c:pt>
                <c:pt idx="49689">
                  <c:v>64791</c:v>
                </c:pt>
                <c:pt idx="49690">
                  <c:v>93440</c:v>
                </c:pt>
                <c:pt idx="49691">
                  <c:v>42051</c:v>
                </c:pt>
                <c:pt idx="49692">
                  <c:v>35590</c:v>
                </c:pt>
                <c:pt idx="49693">
                  <c:v>49080</c:v>
                </c:pt>
                <c:pt idx="49694">
                  <c:v>36068</c:v>
                </c:pt>
                <c:pt idx="49695">
                  <c:v>34419</c:v>
                </c:pt>
                <c:pt idx="49696">
                  <c:v>37196</c:v>
                </c:pt>
                <c:pt idx="49697">
                  <c:v>22058</c:v>
                </c:pt>
                <c:pt idx="49698">
                  <c:v>41669</c:v>
                </c:pt>
                <c:pt idx="49699">
                  <c:v>24019</c:v>
                </c:pt>
                <c:pt idx="49700">
                  <c:v>53385</c:v>
                </c:pt>
                <c:pt idx="49701">
                  <c:v>41021</c:v>
                </c:pt>
                <c:pt idx="49702">
                  <c:v>59902</c:v>
                </c:pt>
                <c:pt idx="49703">
                  <c:v>23405</c:v>
                </c:pt>
                <c:pt idx="49704">
                  <c:v>28642</c:v>
                </c:pt>
                <c:pt idx="49705">
                  <c:v>23553</c:v>
                </c:pt>
                <c:pt idx="49706">
                  <c:v>129943</c:v>
                </c:pt>
                <c:pt idx="49707">
                  <c:v>60239</c:v>
                </c:pt>
                <c:pt idx="49708">
                  <c:v>34202</c:v>
                </c:pt>
                <c:pt idx="49709">
                  <c:v>53274</c:v>
                </c:pt>
                <c:pt idx="49710">
                  <c:v>43739</c:v>
                </c:pt>
                <c:pt idx="49711">
                  <c:v>121568</c:v>
                </c:pt>
                <c:pt idx="49712">
                  <c:v>37919</c:v>
                </c:pt>
                <c:pt idx="49713">
                  <c:v>37164</c:v>
                </c:pt>
                <c:pt idx="49714">
                  <c:v>35415</c:v>
                </c:pt>
                <c:pt idx="49715">
                  <c:v>41011</c:v>
                </c:pt>
                <c:pt idx="49716">
                  <c:v>64011</c:v>
                </c:pt>
                <c:pt idx="49717">
                  <c:v>30869</c:v>
                </c:pt>
                <c:pt idx="49718">
                  <c:v>81627</c:v>
                </c:pt>
                <c:pt idx="49719">
                  <c:v>37717</c:v>
                </c:pt>
                <c:pt idx="49720">
                  <c:v>52427</c:v>
                </c:pt>
                <c:pt idx="49721">
                  <c:v>33189</c:v>
                </c:pt>
                <c:pt idx="49722">
                  <c:v>135937</c:v>
                </c:pt>
                <c:pt idx="49723">
                  <c:v>43821</c:v>
                </c:pt>
                <c:pt idx="49724">
                  <c:v>132642</c:v>
                </c:pt>
                <c:pt idx="49725">
                  <c:v>48079</c:v>
                </c:pt>
                <c:pt idx="49726">
                  <c:v>29743</c:v>
                </c:pt>
                <c:pt idx="49727">
                  <c:v>56294</c:v>
                </c:pt>
                <c:pt idx="49728">
                  <c:v>49003</c:v>
                </c:pt>
                <c:pt idx="49729">
                  <c:v>98381</c:v>
                </c:pt>
                <c:pt idx="49730">
                  <c:v>60237</c:v>
                </c:pt>
                <c:pt idx="49731">
                  <c:v>43316</c:v>
                </c:pt>
                <c:pt idx="49732">
                  <c:v>39466</c:v>
                </c:pt>
                <c:pt idx="49733">
                  <c:v>23103</c:v>
                </c:pt>
                <c:pt idx="49734">
                  <c:v>32680</c:v>
                </c:pt>
                <c:pt idx="49735">
                  <c:v>39133</c:v>
                </c:pt>
                <c:pt idx="49736">
                  <c:v>121340</c:v>
                </c:pt>
                <c:pt idx="49737">
                  <c:v>29832</c:v>
                </c:pt>
                <c:pt idx="49738">
                  <c:v>383824</c:v>
                </c:pt>
                <c:pt idx="49739">
                  <c:v>47450</c:v>
                </c:pt>
                <c:pt idx="49740">
                  <c:v>200512</c:v>
                </c:pt>
                <c:pt idx="49741">
                  <c:v>34556</c:v>
                </c:pt>
                <c:pt idx="49742">
                  <c:v>41773</c:v>
                </c:pt>
                <c:pt idx="49743">
                  <c:v>24999</c:v>
                </c:pt>
                <c:pt idx="49744">
                  <c:v>33814</c:v>
                </c:pt>
                <c:pt idx="49745">
                  <c:v>56454</c:v>
                </c:pt>
                <c:pt idx="49746">
                  <c:v>52438</c:v>
                </c:pt>
                <c:pt idx="49747">
                  <c:v>34227</c:v>
                </c:pt>
                <c:pt idx="49748">
                  <c:v>34560</c:v>
                </c:pt>
                <c:pt idx="49749">
                  <c:v>26099</c:v>
                </c:pt>
                <c:pt idx="49750">
                  <c:v>45650</c:v>
                </c:pt>
                <c:pt idx="49751">
                  <c:v>64260</c:v>
                </c:pt>
                <c:pt idx="49752">
                  <c:v>25362</c:v>
                </c:pt>
                <c:pt idx="49753">
                  <c:v>38282</c:v>
                </c:pt>
                <c:pt idx="49754">
                  <c:v>95982</c:v>
                </c:pt>
                <c:pt idx="49755">
                  <c:v>54284</c:v>
                </c:pt>
                <c:pt idx="49756">
                  <c:v>45626</c:v>
                </c:pt>
                <c:pt idx="49757">
                  <c:v>46869</c:v>
                </c:pt>
                <c:pt idx="49758">
                  <c:v>54194</c:v>
                </c:pt>
                <c:pt idx="49759">
                  <c:v>41488</c:v>
                </c:pt>
                <c:pt idx="49760">
                  <c:v>41988</c:v>
                </c:pt>
                <c:pt idx="49761">
                  <c:v>35663</c:v>
                </c:pt>
                <c:pt idx="49762">
                  <c:v>150541</c:v>
                </c:pt>
                <c:pt idx="49763">
                  <c:v>34982</c:v>
                </c:pt>
                <c:pt idx="49764">
                  <c:v>56168</c:v>
                </c:pt>
                <c:pt idx="49765">
                  <c:v>42297</c:v>
                </c:pt>
                <c:pt idx="49766">
                  <c:v>47010</c:v>
                </c:pt>
                <c:pt idx="49767">
                  <c:v>126167</c:v>
                </c:pt>
                <c:pt idx="49768">
                  <c:v>38617</c:v>
                </c:pt>
                <c:pt idx="49769">
                  <c:v>119145</c:v>
                </c:pt>
                <c:pt idx="49770">
                  <c:v>95954</c:v>
                </c:pt>
                <c:pt idx="49771">
                  <c:v>88136</c:v>
                </c:pt>
                <c:pt idx="49772">
                  <c:v>191054</c:v>
                </c:pt>
                <c:pt idx="49773">
                  <c:v>54597</c:v>
                </c:pt>
                <c:pt idx="49774">
                  <c:v>35989</c:v>
                </c:pt>
                <c:pt idx="49775">
                  <c:v>226013</c:v>
                </c:pt>
                <c:pt idx="49776">
                  <c:v>31770</c:v>
                </c:pt>
                <c:pt idx="49777">
                  <c:v>45455</c:v>
                </c:pt>
                <c:pt idx="49778">
                  <c:v>55467</c:v>
                </c:pt>
                <c:pt idx="49779">
                  <c:v>116475</c:v>
                </c:pt>
                <c:pt idx="49780">
                  <c:v>36062</c:v>
                </c:pt>
                <c:pt idx="49781">
                  <c:v>33609</c:v>
                </c:pt>
                <c:pt idx="49782">
                  <c:v>64914</c:v>
                </c:pt>
                <c:pt idx="49783">
                  <c:v>43984</c:v>
                </c:pt>
                <c:pt idx="49784">
                  <c:v>61173</c:v>
                </c:pt>
                <c:pt idx="49785">
                  <c:v>28369</c:v>
                </c:pt>
                <c:pt idx="49786">
                  <c:v>82074</c:v>
                </c:pt>
                <c:pt idx="49787">
                  <c:v>204350</c:v>
                </c:pt>
                <c:pt idx="49788">
                  <c:v>27663</c:v>
                </c:pt>
                <c:pt idx="49789">
                  <c:v>51625</c:v>
                </c:pt>
                <c:pt idx="49790">
                  <c:v>30356</c:v>
                </c:pt>
                <c:pt idx="49791">
                  <c:v>25429</c:v>
                </c:pt>
                <c:pt idx="49792">
                  <c:v>77793</c:v>
                </c:pt>
                <c:pt idx="49793">
                  <c:v>42315</c:v>
                </c:pt>
                <c:pt idx="49794">
                  <c:v>42501</c:v>
                </c:pt>
                <c:pt idx="49795">
                  <c:v>45227</c:v>
                </c:pt>
                <c:pt idx="49796">
                  <c:v>53751</c:v>
                </c:pt>
                <c:pt idx="49797">
                  <c:v>28144</c:v>
                </c:pt>
                <c:pt idx="49798">
                  <c:v>34577</c:v>
                </c:pt>
                <c:pt idx="49799">
                  <c:v>69208</c:v>
                </c:pt>
                <c:pt idx="49800">
                  <c:v>38793</c:v>
                </c:pt>
                <c:pt idx="49801">
                  <c:v>143090</c:v>
                </c:pt>
                <c:pt idx="49802">
                  <c:v>51173</c:v>
                </c:pt>
                <c:pt idx="49803">
                  <c:v>171889</c:v>
                </c:pt>
                <c:pt idx="49804">
                  <c:v>82000</c:v>
                </c:pt>
                <c:pt idx="49805">
                  <c:v>59947</c:v>
                </c:pt>
                <c:pt idx="49806">
                  <c:v>39991</c:v>
                </c:pt>
                <c:pt idx="49807">
                  <c:v>47549</c:v>
                </c:pt>
                <c:pt idx="49808">
                  <c:v>26499</c:v>
                </c:pt>
                <c:pt idx="49809">
                  <c:v>69763</c:v>
                </c:pt>
                <c:pt idx="49810">
                  <c:v>30702</c:v>
                </c:pt>
                <c:pt idx="49811">
                  <c:v>39075</c:v>
                </c:pt>
                <c:pt idx="49812">
                  <c:v>24423</c:v>
                </c:pt>
                <c:pt idx="49813">
                  <c:v>41271</c:v>
                </c:pt>
                <c:pt idx="49814">
                  <c:v>41395</c:v>
                </c:pt>
                <c:pt idx="49815">
                  <c:v>53730</c:v>
                </c:pt>
                <c:pt idx="49816">
                  <c:v>77492</c:v>
                </c:pt>
                <c:pt idx="49817">
                  <c:v>25059</c:v>
                </c:pt>
                <c:pt idx="49818">
                  <c:v>89334</c:v>
                </c:pt>
                <c:pt idx="49819">
                  <c:v>162709</c:v>
                </c:pt>
                <c:pt idx="49820">
                  <c:v>84829</c:v>
                </c:pt>
                <c:pt idx="49821">
                  <c:v>34718</c:v>
                </c:pt>
                <c:pt idx="49822">
                  <c:v>115734</c:v>
                </c:pt>
                <c:pt idx="49823">
                  <c:v>27535</c:v>
                </c:pt>
                <c:pt idx="49824">
                  <c:v>83518</c:v>
                </c:pt>
                <c:pt idx="49825">
                  <c:v>27921</c:v>
                </c:pt>
                <c:pt idx="49826">
                  <c:v>39995</c:v>
                </c:pt>
                <c:pt idx="49827">
                  <c:v>33904</c:v>
                </c:pt>
                <c:pt idx="49828">
                  <c:v>50390</c:v>
                </c:pt>
                <c:pt idx="49829">
                  <c:v>53786</c:v>
                </c:pt>
                <c:pt idx="49830">
                  <c:v>40669</c:v>
                </c:pt>
                <c:pt idx="49831">
                  <c:v>46036</c:v>
                </c:pt>
                <c:pt idx="49832">
                  <c:v>24831</c:v>
                </c:pt>
                <c:pt idx="49833">
                  <c:v>42584</c:v>
                </c:pt>
                <c:pt idx="49834">
                  <c:v>179914</c:v>
                </c:pt>
                <c:pt idx="49835">
                  <c:v>48329</c:v>
                </c:pt>
                <c:pt idx="49836">
                  <c:v>35383</c:v>
                </c:pt>
                <c:pt idx="49837">
                  <c:v>59712</c:v>
                </c:pt>
                <c:pt idx="49838">
                  <c:v>24864</c:v>
                </c:pt>
                <c:pt idx="49839">
                  <c:v>25935</c:v>
                </c:pt>
                <c:pt idx="49840">
                  <c:v>27632</c:v>
                </c:pt>
                <c:pt idx="49841">
                  <c:v>142978</c:v>
                </c:pt>
                <c:pt idx="49842">
                  <c:v>22055</c:v>
                </c:pt>
                <c:pt idx="49843">
                  <c:v>49709</c:v>
                </c:pt>
                <c:pt idx="49844">
                  <c:v>62863</c:v>
                </c:pt>
                <c:pt idx="49845">
                  <c:v>92058</c:v>
                </c:pt>
                <c:pt idx="49846">
                  <c:v>27710</c:v>
                </c:pt>
                <c:pt idx="49847">
                  <c:v>96855</c:v>
                </c:pt>
                <c:pt idx="49848">
                  <c:v>89992</c:v>
                </c:pt>
                <c:pt idx="49849">
                  <c:v>40140</c:v>
                </c:pt>
                <c:pt idx="49850">
                  <c:v>55165</c:v>
                </c:pt>
                <c:pt idx="49851">
                  <c:v>44516</c:v>
                </c:pt>
                <c:pt idx="49852">
                  <c:v>23659</c:v>
                </c:pt>
                <c:pt idx="49853">
                  <c:v>28184</c:v>
                </c:pt>
                <c:pt idx="49854">
                  <c:v>29391</c:v>
                </c:pt>
                <c:pt idx="49855">
                  <c:v>73499</c:v>
                </c:pt>
                <c:pt idx="49856">
                  <c:v>52931</c:v>
                </c:pt>
                <c:pt idx="49857">
                  <c:v>127835</c:v>
                </c:pt>
                <c:pt idx="49858">
                  <c:v>42636</c:v>
                </c:pt>
                <c:pt idx="49859">
                  <c:v>79400</c:v>
                </c:pt>
                <c:pt idx="49860">
                  <c:v>76100</c:v>
                </c:pt>
                <c:pt idx="49861">
                  <c:v>77006</c:v>
                </c:pt>
                <c:pt idx="49862">
                  <c:v>34800</c:v>
                </c:pt>
                <c:pt idx="49863">
                  <c:v>65575</c:v>
                </c:pt>
                <c:pt idx="49864">
                  <c:v>25286</c:v>
                </c:pt>
                <c:pt idx="49865">
                  <c:v>61211</c:v>
                </c:pt>
                <c:pt idx="49866">
                  <c:v>62004</c:v>
                </c:pt>
                <c:pt idx="49867">
                  <c:v>191582</c:v>
                </c:pt>
                <c:pt idx="49868">
                  <c:v>33595</c:v>
                </c:pt>
                <c:pt idx="49869">
                  <c:v>57080</c:v>
                </c:pt>
                <c:pt idx="49870">
                  <c:v>288299</c:v>
                </c:pt>
                <c:pt idx="49871">
                  <c:v>43036</c:v>
                </c:pt>
                <c:pt idx="49872">
                  <c:v>50405</c:v>
                </c:pt>
                <c:pt idx="49873">
                  <c:v>41412</c:v>
                </c:pt>
                <c:pt idx="49874">
                  <c:v>91913</c:v>
                </c:pt>
                <c:pt idx="49875">
                  <c:v>18787</c:v>
                </c:pt>
                <c:pt idx="49876">
                  <c:v>45840</c:v>
                </c:pt>
                <c:pt idx="49877">
                  <c:v>42768</c:v>
                </c:pt>
                <c:pt idx="49878">
                  <c:v>32320</c:v>
                </c:pt>
                <c:pt idx="49879">
                  <c:v>34071</c:v>
                </c:pt>
                <c:pt idx="49880">
                  <c:v>38330</c:v>
                </c:pt>
                <c:pt idx="49881">
                  <c:v>137220</c:v>
                </c:pt>
                <c:pt idx="49882">
                  <c:v>32564</c:v>
                </c:pt>
                <c:pt idx="49883">
                  <c:v>57242</c:v>
                </c:pt>
                <c:pt idx="49884">
                  <c:v>61210</c:v>
                </c:pt>
                <c:pt idx="49885">
                  <c:v>30277</c:v>
                </c:pt>
                <c:pt idx="49886">
                  <c:v>36561</c:v>
                </c:pt>
                <c:pt idx="49887">
                  <c:v>60354</c:v>
                </c:pt>
                <c:pt idx="49888">
                  <c:v>47620</c:v>
                </c:pt>
                <c:pt idx="49889">
                  <c:v>34106</c:v>
                </c:pt>
                <c:pt idx="49890">
                  <c:v>27246</c:v>
                </c:pt>
                <c:pt idx="49891">
                  <c:v>49922</c:v>
                </c:pt>
                <c:pt idx="49892">
                  <c:v>56470</c:v>
                </c:pt>
                <c:pt idx="49893">
                  <c:v>98114</c:v>
                </c:pt>
                <c:pt idx="49894">
                  <c:v>41414</c:v>
                </c:pt>
                <c:pt idx="49895">
                  <c:v>57474</c:v>
                </c:pt>
                <c:pt idx="49896">
                  <c:v>39315</c:v>
                </c:pt>
                <c:pt idx="49897">
                  <c:v>170335</c:v>
                </c:pt>
                <c:pt idx="49898">
                  <c:v>40366</c:v>
                </c:pt>
                <c:pt idx="49899">
                  <c:v>47208</c:v>
                </c:pt>
                <c:pt idx="49900">
                  <c:v>44153</c:v>
                </c:pt>
                <c:pt idx="49901">
                  <c:v>29794</c:v>
                </c:pt>
                <c:pt idx="49902">
                  <c:v>88133</c:v>
                </c:pt>
                <c:pt idx="49903">
                  <c:v>66340</c:v>
                </c:pt>
                <c:pt idx="49904">
                  <c:v>142106</c:v>
                </c:pt>
                <c:pt idx="49905">
                  <c:v>36047</c:v>
                </c:pt>
                <c:pt idx="49906">
                  <c:v>43140</c:v>
                </c:pt>
                <c:pt idx="49907">
                  <c:v>44343</c:v>
                </c:pt>
                <c:pt idx="49908">
                  <c:v>56431</c:v>
                </c:pt>
                <c:pt idx="49909">
                  <c:v>52607</c:v>
                </c:pt>
                <c:pt idx="49910">
                  <c:v>28120</c:v>
                </c:pt>
                <c:pt idx="49911">
                  <c:v>69088</c:v>
                </c:pt>
                <c:pt idx="49912">
                  <c:v>22232</c:v>
                </c:pt>
                <c:pt idx="49913">
                  <c:v>47342</c:v>
                </c:pt>
                <c:pt idx="49914">
                  <c:v>23820</c:v>
                </c:pt>
                <c:pt idx="49915">
                  <c:v>71475</c:v>
                </c:pt>
                <c:pt idx="49916">
                  <c:v>84194</c:v>
                </c:pt>
                <c:pt idx="49917">
                  <c:v>116701</c:v>
                </c:pt>
                <c:pt idx="49918">
                  <c:v>36146</c:v>
                </c:pt>
                <c:pt idx="49919">
                  <c:v>33140</c:v>
                </c:pt>
                <c:pt idx="49920">
                  <c:v>26683</c:v>
                </c:pt>
                <c:pt idx="49921">
                  <c:v>55575</c:v>
                </c:pt>
                <c:pt idx="49922">
                  <c:v>26839</c:v>
                </c:pt>
                <c:pt idx="49923">
                  <c:v>38033</c:v>
                </c:pt>
                <c:pt idx="49924">
                  <c:v>98744</c:v>
                </c:pt>
                <c:pt idx="49925">
                  <c:v>35739</c:v>
                </c:pt>
                <c:pt idx="49926">
                  <c:v>50701</c:v>
                </c:pt>
                <c:pt idx="49927">
                  <c:v>23879</c:v>
                </c:pt>
                <c:pt idx="49928">
                  <c:v>29866</c:v>
                </c:pt>
                <c:pt idx="49929">
                  <c:v>28021</c:v>
                </c:pt>
                <c:pt idx="49930">
                  <c:v>66652</c:v>
                </c:pt>
                <c:pt idx="49931">
                  <c:v>27415</c:v>
                </c:pt>
                <c:pt idx="49932">
                  <c:v>68806</c:v>
                </c:pt>
                <c:pt idx="49933">
                  <c:v>71927</c:v>
                </c:pt>
                <c:pt idx="49934">
                  <c:v>35457</c:v>
                </c:pt>
                <c:pt idx="49935">
                  <c:v>76627</c:v>
                </c:pt>
                <c:pt idx="49936">
                  <c:v>52805</c:v>
                </c:pt>
                <c:pt idx="49937">
                  <c:v>32206</c:v>
                </c:pt>
                <c:pt idx="49938">
                  <c:v>460354</c:v>
                </c:pt>
                <c:pt idx="49939">
                  <c:v>40039</c:v>
                </c:pt>
                <c:pt idx="49940">
                  <c:v>27166</c:v>
                </c:pt>
                <c:pt idx="49941">
                  <c:v>24948</c:v>
                </c:pt>
                <c:pt idx="49942">
                  <c:v>63610</c:v>
                </c:pt>
                <c:pt idx="49943">
                  <c:v>25530</c:v>
                </c:pt>
                <c:pt idx="49944">
                  <c:v>34573</c:v>
                </c:pt>
                <c:pt idx="49945">
                  <c:v>30756</c:v>
                </c:pt>
                <c:pt idx="49946">
                  <c:v>42637</c:v>
                </c:pt>
                <c:pt idx="49947">
                  <c:v>84002</c:v>
                </c:pt>
                <c:pt idx="49948">
                  <c:v>52859</c:v>
                </c:pt>
                <c:pt idx="49949">
                  <c:v>39381</c:v>
                </c:pt>
                <c:pt idx="49950">
                  <c:v>47370</c:v>
                </c:pt>
                <c:pt idx="49951">
                  <c:v>26929</c:v>
                </c:pt>
                <c:pt idx="49952">
                  <c:v>31330</c:v>
                </c:pt>
                <c:pt idx="49953">
                  <c:v>42321</c:v>
                </c:pt>
                <c:pt idx="49954">
                  <c:v>118182</c:v>
                </c:pt>
                <c:pt idx="49955">
                  <c:v>47308</c:v>
                </c:pt>
                <c:pt idx="49956">
                  <c:v>42748</c:v>
                </c:pt>
                <c:pt idx="49957">
                  <c:v>60288</c:v>
                </c:pt>
                <c:pt idx="49958">
                  <c:v>41121</c:v>
                </c:pt>
                <c:pt idx="49959">
                  <c:v>93875</c:v>
                </c:pt>
                <c:pt idx="49960">
                  <c:v>40804</c:v>
                </c:pt>
                <c:pt idx="49961">
                  <c:v>92898</c:v>
                </c:pt>
                <c:pt idx="49962">
                  <c:v>47459</c:v>
                </c:pt>
                <c:pt idx="49963">
                  <c:v>30199</c:v>
                </c:pt>
                <c:pt idx="49964">
                  <c:v>33099</c:v>
                </c:pt>
                <c:pt idx="49965">
                  <c:v>75543</c:v>
                </c:pt>
                <c:pt idx="49966">
                  <c:v>36630</c:v>
                </c:pt>
                <c:pt idx="49967">
                  <c:v>39876</c:v>
                </c:pt>
                <c:pt idx="49968">
                  <c:v>57303</c:v>
                </c:pt>
                <c:pt idx="49969">
                  <c:v>179541</c:v>
                </c:pt>
                <c:pt idx="49970">
                  <c:v>41566</c:v>
                </c:pt>
                <c:pt idx="49971">
                  <c:v>101994</c:v>
                </c:pt>
                <c:pt idx="49972">
                  <c:v>28974</c:v>
                </c:pt>
                <c:pt idx="49973">
                  <c:v>60577</c:v>
                </c:pt>
                <c:pt idx="49974">
                  <c:v>26379</c:v>
                </c:pt>
                <c:pt idx="49975">
                  <c:v>66101</c:v>
                </c:pt>
                <c:pt idx="49976">
                  <c:v>45314</c:v>
                </c:pt>
                <c:pt idx="49977">
                  <c:v>36857</c:v>
                </c:pt>
                <c:pt idx="49978">
                  <c:v>41904</c:v>
                </c:pt>
                <c:pt idx="49979">
                  <c:v>36553</c:v>
                </c:pt>
                <c:pt idx="49980">
                  <c:v>29494</c:v>
                </c:pt>
                <c:pt idx="49981">
                  <c:v>33942</c:v>
                </c:pt>
                <c:pt idx="49982">
                  <c:v>171700</c:v>
                </c:pt>
                <c:pt idx="49983">
                  <c:v>155152</c:v>
                </c:pt>
                <c:pt idx="49984">
                  <c:v>26559</c:v>
                </c:pt>
                <c:pt idx="49985">
                  <c:v>38013</c:v>
                </c:pt>
                <c:pt idx="49986">
                  <c:v>72957</c:v>
                </c:pt>
                <c:pt idx="49987">
                  <c:v>30258</c:v>
                </c:pt>
                <c:pt idx="49988">
                  <c:v>33322</c:v>
                </c:pt>
                <c:pt idx="49989">
                  <c:v>28758</c:v>
                </c:pt>
                <c:pt idx="49990">
                  <c:v>35721</c:v>
                </c:pt>
                <c:pt idx="49991">
                  <c:v>45075</c:v>
                </c:pt>
                <c:pt idx="49992">
                  <c:v>72270</c:v>
                </c:pt>
                <c:pt idx="49993">
                  <c:v>25381</c:v>
                </c:pt>
                <c:pt idx="49994">
                  <c:v>60400</c:v>
                </c:pt>
                <c:pt idx="49995">
                  <c:v>140124</c:v>
                </c:pt>
                <c:pt idx="49996">
                  <c:v>29685</c:v>
                </c:pt>
                <c:pt idx="49997">
                  <c:v>290546</c:v>
                </c:pt>
                <c:pt idx="49998">
                  <c:v>51197</c:v>
                </c:pt>
                <c:pt idx="49999">
                  <c:v>22886</c:v>
                </c:pt>
                <c:pt idx="50000">
                  <c:v>50757</c:v>
                </c:pt>
                <c:pt idx="50001">
                  <c:v>33666</c:v>
                </c:pt>
                <c:pt idx="50002">
                  <c:v>39831</c:v>
                </c:pt>
                <c:pt idx="50003">
                  <c:v>43146</c:v>
                </c:pt>
                <c:pt idx="50004">
                  <c:v>37080</c:v>
                </c:pt>
                <c:pt idx="50005">
                  <c:v>30142</c:v>
                </c:pt>
                <c:pt idx="50006">
                  <c:v>54922</c:v>
                </c:pt>
                <c:pt idx="50007">
                  <c:v>66826</c:v>
                </c:pt>
                <c:pt idx="50008">
                  <c:v>52665</c:v>
                </c:pt>
                <c:pt idx="50009">
                  <c:v>111513</c:v>
                </c:pt>
                <c:pt idx="50010">
                  <c:v>37747</c:v>
                </c:pt>
                <c:pt idx="50011">
                  <c:v>168072</c:v>
                </c:pt>
                <c:pt idx="50012">
                  <c:v>25263</c:v>
                </c:pt>
                <c:pt idx="50013">
                  <c:v>111564</c:v>
                </c:pt>
                <c:pt idx="50014">
                  <c:v>160619</c:v>
                </c:pt>
                <c:pt idx="50015">
                  <c:v>43896</c:v>
                </c:pt>
                <c:pt idx="50016">
                  <c:v>44177</c:v>
                </c:pt>
                <c:pt idx="50017">
                  <c:v>62915</c:v>
                </c:pt>
                <c:pt idx="50018">
                  <c:v>36737</c:v>
                </c:pt>
                <c:pt idx="50019">
                  <c:v>64408</c:v>
                </c:pt>
                <c:pt idx="50020">
                  <c:v>33248</c:v>
                </c:pt>
                <c:pt idx="50021">
                  <c:v>85554</c:v>
                </c:pt>
                <c:pt idx="50022">
                  <c:v>45254</c:v>
                </c:pt>
                <c:pt idx="50023">
                  <c:v>49964</c:v>
                </c:pt>
                <c:pt idx="50024">
                  <c:v>41557</c:v>
                </c:pt>
                <c:pt idx="50025">
                  <c:v>24697</c:v>
                </c:pt>
                <c:pt idx="50026">
                  <c:v>41658</c:v>
                </c:pt>
                <c:pt idx="50027">
                  <c:v>41413</c:v>
                </c:pt>
                <c:pt idx="50028">
                  <c:v>25894</c:v>
                </c:pt>
                <c:pt idx="50029">
                  <c:v>44459</c:v>
                </c:pt>
                <c:pt idx="50030">
                  <c:v>23118</c:v>
                </c:pt>
                <c:pt idx="50031">
                  <c:v>22498</c:v>
                </c:pt>
                <c:pt idx="50032">
                  <c:v>28873</c:v>
                </c:pt>
                <c:pt idx="50033">
                  <c:v>29748</c:v>
                </c:pt>
                <c:pt idx="50034">
                  <c:v>25429</c:v>
                </c:pt>
                <c:pt idx="50035">
                  <c:v>35634</c:v>
                </c:pt>
                <c:pt idx="50036">
                  <c:v>58787</c:v>
                </c:pt>
                <c:pt idx="50037">
                  <c:v>40897</c:v>
                </c:pt>
                <c:pt idx="50038">
                  <c:v>22961</c:v>
                </c:pt>
                <c:pt idx="50039">
                  <c:v>219431</c:v>
                </c:pt>
                <c:pt idx="50040">
                  <c:v>25414</c:v>
                </c:pt>
                <c:pt idx="50041">
                  <c:v>38148</c:v>
                </c:pt>
                <c:pt idx="50042">
                  <c:v>35912</c:v>
                </c:pt>
                <c:pt idx="50043">
                  <c:v>154167</c:v>
                </c:pt>
                <c:pt idx="50044">
                  <c:v>42758</c:v>
                </c:pt>
                <c:pt idx="50045">
                  <c:v>47166</c:v>
                </c:pt>
                <c:pt idx="50046">
                  <c:v>24738</c:v>
                </c:pt>
                <c:pt idx="50047">
                  <c:v>37394</c:v>
                </c:pt>
                <c:pt idx="50048">
                  <c:v>36684</c:v>
                </c:pt>
                <c:pt idx="50049">
                  <c:v>206504</c:v>
                </c:pt>
                <c:pt idx="50050">
                  <c:v>38911</c:v>
                </c:pt>
                <c:pt idx="50051">
                  <c:v>49322</c:v>
                </c:pt>
                <c:pt idx="50052">
                  <c:v>54875</c:v>
                </c:pt>
                <c:pt idx="50053">
                  <c:v>25329</c:v>
                </c:pt>
                <c:pt idx="50054">
                  <c:v>49819</c:v>
                </c:pt>
                <c:pt idx="50055">
                  <c:v>29051</c:v>
                </c:pt>
                <c:pt idx="50056">
                  <c:v>195419</c:v>
                </c:pt>
                <c:pt idx="50057">
                  <c:v>61872</c:v>
                </c:pt>
                <c:pt idx="50058">
                  <c:v>18756</c:v>
                </c:pt>
                <c:pt idx="50059">
                  <c:v>38533</c:v>
                </c:pt>
                <c:pt idx="50060">
                  <c:v>36737</c:v>
                </c:pt>
                <c:pt idx="50061">
                  <c:v>21802</c:v>
                </c:pt>
                <c:pt idx="50062">
                  <c:v>39712</c:v>
                </c:pt>
                <c:pt idx="50063">
                  <c:v>67940</c:v>
                </c:pt>
                <c:pt idx="50064">
                  <c:v>79009</c:v>
                </c:pt>
                <c:pt idx="50065">
                  <c:v>128887</c:v>
                </c:pt>
                <c:pt idx="50066">
                  <c:v>186576</c:v>
                </c:pt>
                <c:pt idx="50067">
                  <c:v>38505</c:v>
                </c:pt>
                <c:pt idx="50068">
                  <c:v>44206</c:v>
                </c:pt>
                <c:pt idx="50069">
                  <c:v>33364</c:v>
                </c:pt>
                <c:pt idx="50070">
                  <c:v>34999</c:v>
                </c:pt>
                <c:pt idx="50071">
                  <c:v>25310</c:v>
                </c:pt>
                <c:pt idx="50072">
                  <c:v>39718</c:v>
                </c:pt>
                <c:pt idx="50073">
                  <c:v>25996</c:v>
                </c:pt>
                <c:pt idx="50074">
                  <c:v>33849</c:v>
                </c:pt>
                <c:pt idx="50075">
                  <c:v>59787</c:v>
                </c:pt>
                <c:pt idx="50076">
                  <c:v>76037</c:v>
                </c:pt>
                <c:pt idx="50077">
                  <c:v>52059</c:v>
                </c:pt>
                <c:pt idx="50078">
                  <c:v>74579</c:v>
                </c:pt>
                <c:pt idx="50079">
                  <c:v>55642</c:v>
                </c:pt>
                <c:pt idx="50080">
                  <c:v>81529</c:v>
                </c:pt>
                <c:pt idx="50081">
                  <c:v>25360</c:v>
                </c:pt>
                <c:pt idx="50082">
                  <c:v>28014</c:v>
                </c:pt>
                <c:pt idx="50083">
                  <c:v>43572</c:v>
                </c:pt>
                <c:pt idx="50084">
                  <c:v>24246</c:v>
                </c:pt>
                <c:pt idx="50085">
                  <c:v>84752</c:v>
                </c:pt>
                <c:pt idx="50086">
                  <c:v>195247</c:v>
                </c:pt>
                <c:pt idx="50087">
                  <c:v>55106</c:v>
                </c:pt>
                <c:pt idx="50088">
                  <c:v>94407</c:v>
                </c:pt>
                <c:pt idx="50089">
                  <c:v>54110</c:v>
                </c:pt>
                <c:pt idx="50090">
                  <c:v>74753</c:v>
                </c:pt>
                <c:pt idx="50091">
                  <c:v>23199</c:v>
                </c:pt>
                <c:pt idx="50092">
                  <c:v>38796</c:v>
                </c:pt>
                <c:pt idx="50093">
                  <c:v>59745</c:v>
                </c:pt>
                <c:pt idx="50094">
                  <c:v>42893</c:v>
                </c:pt>
                <c:pt idx="50095">
                  <c:v>33166</c:v>
                </c:pt>
                <c:pt idx="50096">
                  <c:v>39075</c:v>
                </c:pt>
                <c:pt idx="50097">
                  <c:v>42184</c:v>
                </c:pt>
                <c:pt idx="50098">
                  <c:v>31906</c:v>
                </c:pt>
                <c:pt idx="50099">
                  <c:v>42464</c:v>
                </c:pt>
                <c:pt idx="50100">
                  <c:v>28342</c:v>
                </c:pt>
                <c:pt idx="50101">
                  <c:v>71129</c:v>
                </c:pt>
                <c:pt idx="50102">
                  <c:v>34432</c:v>
                </c:pt>
                <c:pt idx="50103">
                  <c:v>166032</c:v>
                </c:pt>
                <c:pt idx="50104">
                  <c:v>45236</c:v>
                </c:pt>
                <c:pt idx="50105">
                  <c:v>38162</c:v>
                </c:pt>
                <c:pt idx="50106">
                  <c:v>313935</c:v>
                </c:pt>
                <c:pt idx="50107">
                  <c:v>36884</c:v>
                </c:pt>
                <c:pt idx="50108">
                  <c:v>23551</c:v>
                </c:pt>
                <c:pt idx="50109">
                  <c:v>79613</c:v>
                </c:pt>
                <c:pt idx="50110">
                  <c:v>50388</c:v>
                </c:pt>
                <c:pt idx="50111">
                  <c:v>42747</c:v>
                </c:pt>
                <c:pt idx="50112">
                  <c:v>59029</c:v>
                </c:pt>
                <c:pt idx="50113">
                  <c:v>44057</c:v>
                </c:pt>
                <c:pt idx="50114">
                  <c:v>53953</c:v>
                </c:pt>
                <c:pt idx="50115">
                  <c:v>27726</c:v>
                </c:pt>
                <c:pt idx="50116">
                  <c:v>167286</c:v>
                </c:pt>
                <c:pt idx="50117">
                  <c:v>51673</c:v>
                </c:pt>
                <c:pt idx="50118">
                  <c:v>70637</c:v>
                </c:pt>
                <c:pt idx="50119">
                  <c:v>196811</c:v>
                </c:pt>
                <c:pt idx="50120">
                  <c:v>19746</c:v>
                </c:pt>
                <c:pt idx="50121">
                  <c:v>73150</c:v>
                </c:pt>
                <c:pt idx="50122">
                  <c:v>46017</c:v>
                </c:pt>
                <c:pt idx="50123">
                  <c:v>47705</c:v>
                </c:pt>
                <c:pt idx="50124">
                  <c:v>28832</c:v>
                </c:pt>
                <c:pt idx="50125">
                  <c:v>69864</c:v>
                </c:pt>
                <c:pt idx="50126">
                  <c:v>45703</c:v>
                </c:pt>
                <c:pt idx="50127">
                  <c:v>71097</c:v>
                </c:pt>
                <c:pt idx="50128">
                  <c:v>25909</c:v>
                </c:pt>
                <c:pt idx="50129">
                  <c:v>43003</c:v>
                </c:pt>
                <c:pt idx="50130">
                  <c:v>81234</c:v>
                </c:pt>
                <c:pt idx="50131">
                  <c:v>27529</c:v>
                </c:pt>
                <c:pt idx="50132">
                  <c:v>98588</c:v>
                </c:pt>
                <c:pt idx="50133">
                  <c:v>43428</c:v>
                </c:pt>
                <c:pt idx="50134">
                  <c:v>48953</c:v>
                </c:pt>
                <c:pt idx="50135">
                  <c:v>36904</c:v>
                </c:pt>
                <c:pt idx="50136">
                  <c:v>37628</c:v>
                </c:pt>
                <c:pt idx="50137">
                  <c:v>83895</c:v>
                </c:pt>
                <c:pt idx="50138">
                  <c:v>63854</c:v>
                </c:pt>
                <c:pt idx="50139">
                  <c:v>41974</c:v>
                </c:pt>
                <c:pt idx="50140">
                  <c:v>25930</c:v>
                </c:pt>
                <c:pt idx="50141">
                  <c:v>48863</c:v>
                </c:pt>
                <c:pt idx="50142">
                  <c:v>25478</c:v>
                </c:pt>
                <c:pt idx="50143">
                  <c:v>90324</c:v>
                </c:pt>
                <c:pt idx="50144">
                  <c:v>36265</c:v>
                </c:pt>
                <c:pt idx="50145">
                  <c:v>46497</c:v>
                </c:pt>
                <c:pt idx="50146">
                  <c:v>48981</c:v>
                </c:pt>
                <c:pt idx="50147">
                  <c:v>52892</c:v>
                </c:pt>
                <c:pt idx="50148">
                  <c:v>29087</c:v>
                </c:pt>
                <c:pt idx="50149">
                  <c:v>27230</c:v>
                </c:pt>
                <c:pt idx="50150">
                  <c:v>44257</c:v>
                </c:pt>
                <c:pt idx="50151">
                  <c:v>40239</c:v>
                </c:pt>
                <c:pt idx="50152">
                  <c:v>91126</c:v>
                </c:pt>
                <c:pt idx="50153">
                  <c:v>47903</c:v>
                </c:pt>
                <c:pt idx="50154">
                  <c:v>43840</c:v>
                </c:pt>
                <c:pt idx="50155">
                  <c:v>72999</c:v>
                </c:pt>
                <c:pt idx="50156">
                  <c:v>62858</c:v>
                </c:pt>
                <c:pt idx="50157">
                  <c:v>40338</c:v>
                </c:pt>
                <c:pt idx="50158">
                  <c:v>32021</c:v>
                </c:pt>
                <c:pt idx="50159">
                  <c:v>41450</c:v>
                </c:pt>
                <c:pt idx="50160">
                  <c:v>25865</c:v>
                </c:pt>
                <c:pt idx="50161">
                  <c:v>64923</c:v>
                </c:pt>
                <c:pt idx="50162">
                  <c:v>53001</c:v>
                </c:pt>
                <c:pt idx="50163">
                  <c:v>26323</c:v>
                </c:pt>
                <c:pt idx="50164">
                  <c:v>24550</c:v>
                </c:pt>
                <c:pt idx="50165">
                  <c:v>41414</c:v>
                </c:pt>
                <c:pt idx="50166">
                  <c:v>42111</c:v>
                </c:pt>
                <c:pt idx="50167">
                  <c:v>32480</c:v>
                </c:pt>
                <c:pt idx="50168">
                  <c:v>61621</c:v>
                </c:pt>
                <c:pt idx="50169">
                  <c:v>23004</c:v>
                </c:pt>
                <c:pt idx="50170">
                  <c:v>39902</c:v>
                </c:pt>
                <c:pt idx="50171">
                  <c:v>63995</c:v>
                </c:pt>
                <c:pt idx="50172">
                  <c:v>54866</c:v>
                </c:pt>
                <c:pt idx="50173">
                  <c:v>27896</c:v>
                </c:pt>
                <c:pt idx="50174">
                  <c:v>53005</c:v>
                </c:pt>
                <c:pt idx="50175">
                  <c:v>48031</c:v>
                </c:pt>
                <c:pt idx="50176">
                  <c:v>37012</c:v>
                </c:pt>
                <c:pt idx="50177">
                  <c:v>63935</c:v>
                </c:pt>
                <c:pt idx="50178">
                  <c:v>22400</c:v>
                </c:pt>
                <c:pt idx="50179">
                  <c:v>71950</c:v>
                </c:pt>
                <c:pt idx="50180">
                  <c:v>37611</c:v>
                </c:pt>
                <c:pt idx="50181">
                  <c:v>101551</c:v>
                </c:pt>
                <c:pt idx="50182">
                  <c:v>31526</c:v>
                </c:pt>
                <c:pt idx="50183">
                  <c:v>45758</c:v>
                </c:pt>
                <c:pt idx="50184">
                  <c:v>64343</c:v>
                </c:pt>
                <c:pt idx="50185">
                  <c:v>34501</c:v>
                </c:pt>
                <c:pt idx="50186">
                  <c:v>36527</c:v>
                </c:pt>
                <c:pt idx="50187">
                  <c:v>61790</c:v>
                </c:pt>
                <c:pt idx="50188">
                  <c:v>39286</c:v>
                </c:pt>
                <c:pt idx="50189">
                  <c:v>25034</c:v>
                </c:pt>
                <c:pt idx="50190">
                  <c:v>38722</c:v>
                </c:pt>
                <c:pt idx="50191">
                  <c:v>72860</c:v>
                </c:pt>
                <c:pt idx="50192">
                  <c:v>71558</c:v>
                </c:pt>
                <c:pt idx="50193">
                  <c:v>63021</c:v>
                </c:pt>
                <c:pt idx="50194">
                  <c:v>29966</c:v>
                </c:pt>
                <c:pt idx="50195">
                  <c:v>71347</c:v>
                </c:pt>
                <c:pt idx="50196">
                  <c:v>115670</c:v>
                </c:pt>
                <c:pt idx="50197">
                  <c:v>39325</c:v>
                </c:pt>
                <c:pt idx="50198">
                  <c:v>42285</c:v>
                </c:pt>
                <c:pt idx="50199">
                  <c:v>26996</c:v>
                </c:pt>
                <c:pt idx="50200">
                  <c:v>45079</c:v>
                </c:pt>
                <c:pt idx="50201">
                  <c:v>26092</c:v>
                </c:pt>
                <c:pt idx="50202">
                  <c:v>41141</c:v>
                </c:pt>
                <c:pt idx="50203">
                  <c:v>33640</c:v>
                </c:pt>
                <c:pt idx="50204">
                  <c:v>82789</c:v>
                </c:pt>
                <c:pt idx="50205">
                  <c:v>79590</c:v>
                </c:pt>
                <c:pt idx="50206">
                  <c:v>69044</c:v>
                </c:pt>
                <c:pt idx="50207">
                  <c:v>41382</c:v>
                </c:pt>
                <c:pt idx="50208">
                  <c:v>24409</c:v>
                </c:pt>
                <c:pt idx="50209">
                  <c:v>28186</c:v>
                </c:pt>
                <c:pt idx="50210">
                  <c:v>26017</c:v>
                </c:pt>
                <c:pt idx="50211">
                  <c:v>32883</c:v>
                </c:pt>
                <c:pt idx="50212">
                  <c:v>39956</c:v>
                </c:pt>
                <c:pt idx="50213">
                  <c:v>60137</c:v>
                </c:pt>
                <c:pt idx="50214">
                  <c:v>220996</c:v>
                </c:pt>
                <c:pt idx="50215">
                  <c:v>23618</c:v>
                </c:pt>
                <c:pt idx="50216">
                  <c:v>61184</c:v>
                </c:pt>
                <c:pt idx="50217">
                  <c:v>39841</c:v>
                </c:pt>
                <c:pt idx="50218">
                  <c:v>45422</c:v>
                </c:pt>
                <c:pt idx="50219">
                  <c:v>27312</c:v>
                </c:pt>
                <c:pt idx="50220">
                  <c:v>39861</c:v>
                </c:pt>
                <c:pt idx="50221">
                  <c:v>110927</c:v>
                </c:pt>
                <c:pt idx="50222">
                  <c:v>150564</c:v>
                </c:pt>
                <c:pt idx="50223">
                  <c:v>51648</c:v>
                </c:pt>
                <c:pt idx="50224">
                  <c:v>42293</c:v>
                </c:pt>
                <c:pt idx="50225">
                  <c:v>40307</c:v>
                </c:pt>
                <c:pt idx="50226">
                  <c:v>42433</c:v>
                </c:pt>
                <c:pt idx="50227">
                  <c:v>36038</c:v>
                </c:pt>
                <c:pt idx="50228">
                  <c:v>30093</c:v>
                </c:pt>
                <c:pt idx="50229">
                  <c:v>22949</c:v>
                </c:pt>
                <c:pt idx="50230">
                  <c:v>40318</c:v>
                </c:pt>
                <c:pt idx="50231">
                  <c:v>29872</c:v>
                </c:pt>
                <c:pt idx="50232">
                  <c:v>43141</c:v>
                </c:pt>
                <c:pt idx="50233">
                  <c:v>61099</c:v>
                </c:pt>
                <c:pt idx="50234">
                  <c:v>58407</c:v>
                </c:pt>
                <c:pt idx="50235">
                  <c:v>40163</c:v>
                </c:pt>
                <c:pt idx="50236">
                  <c:v>35032</c:v>
                </c:pt>
                <c:pt idx="50237">
                  <c:v>35891</c:v>
                </c:pt>
                <c:pt idx="50238">
                  <c:v>38787</c:v>
                </c:pt>
                <c:pt idx="50239">
                  <c:v>38262</c:v>
                </c:pt>
                <c:pt idx="50240">
                  <c:v>211044</c:v>
                </c:pt>
                <c:pt idx="50241">
                  <c:v>41693</c:v>
                </c:pt>
                <c:pt idx="50242">
                  <c:v>125760</c:v>
                </c:pt>
                <c:pt idx="50243">
                  <c:v>92916</c:v>
                </c:pt>
                <c:pt idx="50244">
                  <c:v>51910</c:v>
                </c:pt>
                <c:pt idx="50245">
                  <c:v>48429</c:v>
                </c:pt>
                <c:pt idx="50246">
                  <c:v>33764</c:v>
                </c:pt>
                <c:pt idx="50247">
                  <c:v>31700</c:v>
                </c:pt>
                <c:pt idx="50248">
                  <c:v>87801</c:v>
                </c:pt>
                <c:pt idx="50249">
                  <c:v>88401</c:v>
                </c:pt>
                <c:pt idx="50250">
                  <c:v>74166</c:v>
                </c:pt>
                <c:pt idx="50251">
                  <c:v>51136</c:v>
                </c:pt>
                <c:pt idx="50252">
                  <c:v>26333</c:v>
                </c:pt>
                <c:pt idx="50253">
                  <c:v>41750</c:v>
                </c:pt>
                <c:pt idx="50254">
                  <c:v>27080</c:v>
                </c:pt>
                <c:pt idx="50255">
                  <c:v>60550</c:v>
                </c:pt>
                <c:pt idx="50256">
                  <c:v>32101</c:v>
                </c:pt>
                <c:pt idx="50257">
                  <c:v>24783</c:v>
                </c:pt>
                <c:pt idx="50258">
                  <c:v>36212</c:v>
                </c:pt>
                <c:pt idx="50259">
                  <c:v>101674</c:v>
                </c:pt>
                <c:pt idx="50260">
                  <c:v>29079</c:v>
                </c:pt>
                <c:pt idx="50261">
                  <c:v>104167</c:v>
                </c:pt>
                <c:pt idx="50262">
                  <c:v>46953</c:v>
                </c:pt>
                <c:pt idx="50263">
                  <c:v>40732</c:v>
                </c:pt>
                <c:pt idx="50264">
                  <c:v>37170</c:v>
                </c:pt>
                <c:pt idx="50265">
                  <c:v>44922</c:v>
                </c:pt>
                <c:pt idx="50266">
                  <c:v>221239</c:v>
                </c:pt>
                <c:pt idx="50267">
                  <c:v>90087</c:v>
                </c:pt>
                <c:pt idx="50268">
                  <c:v>41596</c:v>
                </c:pt>
                <c:pt idx="50269">
                  <c:v>32781</c:v>
                </c:pt>
                <c:pt idx="50270">
                  <c:v>34374</c:v>
                </c:pt>
                <c:pt idx="50271">
                  <c:v>32049</c:v>
                </c:pt>
                <c:pt idx="50272">
                  <c:v>25456</c:v>
                </c:pt>
                <c:pt idx="50273">
                  <c:v>23400</c:v>
                </c:pt>
                <c:pt idx="50274">
                  <c:v>39045</c:v>
                </c:pt>
                <c:pt idx="50275">
                  <c:v>40792</c:v>
                </c:pt>
                <c:pt idx="50276">
                  <c:v>45155</c:v>
                </c:pt>
                <c:pt idx="50277">
                  <c:v>45784</c:v>
                </c:pt>
                <c:pt idx="50278">
                  <c:v>30873</c:v>
                </c:pt>
                <c:pt idx="50279">
                  <c:v>107908</c:v>
                </c:pt>
                <c:pt idx="50280">
                  <c:v>38799</c:v>
                </c:pt>
                <c:pt idx="50281">
                  <c:v>22308</c:v>
                </c:pt>
                <c:pt idx="50282">
                  <c:v>28153</c:v>
                </c:pt>
                <c:pt idx="50283">
                  <c:v>55994</c:v>
                </c:pt>
                <c:pt idx="50284">
                  <c:v>42571</c:v>
                </c:pt>
                <c:pt idx="50285">
                  <c:v>48989</c:v>
                </c:pt>
                <c:pt idx="50286">
                  <c:v>31148</c:v>
                </c:pt>
                <c:pt idx="50287">
                  <c:v>33903</c:v>
                </c:pt>
                <c:pt idx="50288">
                  <c:v>48982</c:v>
                </c:pt>
                <c:pt idx="50289">
                  <c:v>40558</c:v>
                </c:pt>
                <c:pt idx="50290">
                  <c:v>65014</c:v>
                </c:pt>
                <c:pt idx="50291">
                  <c:v>46866</c:v>
                </c:pt>
                <c:pt idx="50292">
                  <c:v>34967</c:v>
                </c:pt>
                <c:pt idx="50293">
                  <c:v>49858</c:v>
                </c:pt>
                <c:pt idx="50294">
                  <c:v>23995</c:v>
                </c:pt>
                <c:pt idx="50295">
                  <c:v>31012</c:v>
                </c:pt>
                <c:pt idx="50296">
                  <c:v>41139</c:v>
                </c:pt>
                <c:pt idx="50297">
                  <c:v>116755</c:v>
                </c:pt>
                <c:pt idx="50298">
                  <c:v>30081</c:v>
                </c:pt>
                <c:pt idx="50299">
                  <c:v>35132</c:v>
                </c:pt>
                <c:pt idx="50300">
                  <c:v>195694</c:v>
                </c:pt>
                <c:pt idx="50301">
                  <c:v>39110</c:v>
                </c:pt>
                <c:pt idx="50302">
                  <c:v>40091</c:v>
                </c:pt>
                <c:pt idx="50303">
                  <c:v>48653</c:v>
                </c:pt>
                <c:pt idx="50304">
                  <c:v>160902</c:v>
                </c:pt>
                <c:pt idx="50305">
                  <c:v>43028</c:v>
                </c:pt>
                <c:pt idx="50306">
                  <c:v>55166</c:v>
                </c:pt>
                <c:pt idx="50307">
                  <c:v>52703</c:v>
                </c:pt>
                <c:pt idx="50308">
                  <c:v>190436</c:v>
                </c:pt>
                <c:pt idx="50309">
                  <c:v>73056</c:v>
                </c:pt>
                <c:pt idx="50310">
                  <c:v>39845</c:v>
                </c:pt>
                <c:pt idx="50311">
                  <c:v>34421</c:v>
                </c:pt>
                <c:pt idx="50312">
                  <c:v>43075</c:v>
                </c:pt>
                <c:pt idx="50313">
                  <c:v>86917</c:v>
                </c:pt>
                <c:pt idx="50314">
                  <c:v>58055</c:v>
                </c:pt>
                <c:pt idx="50315">
                  <c:v>94002</c:v>
                </c:pt>
                <c:pt idx="50316">
                  <c:v>25205</c:v>
                </c:pt>
                <c:pt idx="50317">
                  <c:v>25477</c:v>
                </c:pt>
                <c:pt idx="50318">
                  <c:v>45452</c:v>
                </c:pt>
                <c:pt idx="50319">
                  <c:v>38257</c:v>
                </c:pt>
                <c:pt idx="50320">
                  <c:v>32935</c:v>
                </c:pt>
                <c:pt idx="50321">
                  <c:v>20549</c:v>
                </c:pt>
                <c:pt idx="50322">
                  <c:v>40451</c:v>
                </c:pt>
                <c:pt idx="50323">
                  <c:v>232006</c:v>
                </c:pt>
                <c:pt idx="50324">
                  <c:v>229172</c:v>
                </c:pt>
                <c:pt idx="50325">
                  <c:v>469991</c:v>
                </c:pt>
                <c:pt idx="50326">
                  <c:v>52673</c:v>
                </c:pt>
                <c:pt idx="50327">
                  <c:v>64115</c:v>
                </c:pt>
                <c:pt idx="50328">
                  <c:v>38761</c:v>
                </c:pt>
                <c:pt idx="50329">
                  <c:v>28314</c:v>
                </c:pt>
                <c:pt idx="50330">
                  <c:v>71155</c:v>
                </c:pt>
                <c:pt idx="50331">
                  <c:v>60764</c:v>
                </c:pt>
                <c:pt idx="50332">
                  <c:v>34168</c:v>
                </c:pt>
                <c:pt idx="50333">
                  <c:v>179557</c:v>
                </c:pt>
                <c:pt idx="50334">
                  <c:v>51535</c:v>
                </c:pt>
                <c:pt idx="50335">
                  <c:v>41341</c:v>
                </c:pt>
                <c:pt idx="50336">
                  <c:v>104195</c:v>
                </c:pt>
                <c:pt idx="50337">
                  <c:v>21390</c:v>
                </c:pt>
                <c:pt idx="50338">
                  <c:v>189415</c:v>
                </c:pt>
                <c:pt idx="50339">
                  <c:v>27200</c:v>
                </c:pt>
                <c:pt idx="50340">
                  <c:v>23082</c:v>
                </c:pt>
                <c:pt idx="50341">
                  <c:v>36653</c:v>
                </c:pt>
                <c:pt idx="50342">
                  <c:v>83250</c:v>
                </c:pt>
                <c:pt idx="50343">
                  <c:v>25595</c:v>
                </c:pt>
                <c:pt idx="50344">
                  <c:v>50481</c:v>
                </c:pt>
                <c:pt idx="50345">
                  <c:v>31078</c:v>
                </c:pt>
                <c:pt idx="50346">
                  <c:v>24626</c:v>
                </c:pt>
                <c:pt idx="50347">
                  <c:v>37148</c:v>
                </c:pt>
                <c:pt idx="50348">
                  <c:v>36486</c:v>
                </c:pt>
                <c:pt idx="50349">
                  <c:v>59638</c:v>
                </c:pt>
                <c:pt idx="50350">
                  <c:v>89423</c:v>
                </c:pt>
                <c:pt idx="50351">
                  <c:v>38690</c:v>
                </c:pt>
                <c:pt idx="50352">
                  <c:v>47537</c:v>
                </c:pt>
                <c:pt idx="50353">
                  <c:v>36304</c:v>
                </c:pt>
                <c:pt idx="50354">
                  <c:v>51460</c:v>
                </c:pt>
                <c:pt idx="50355">
                  <c:v>25500</c:v>
                </c:pt>
                <c:pt idx="50356">
                  <c:v>74201</c:v>
                </c:pt>
                <c:pt idx="50357">
                  <c:v>80020</c:v>
                </c:pt>
                <c:pt idx="50358">
                  <c:v>29390</c:v>
                </c:pt>
                <c:pt idx="50359">
                  <c:v>44082</c:v>
                </c:pt>
                <c:pt idx="50360">
                  <c:v>30722</c:v>
                </c:pt>
                <c:pt idx="50361">
                  <c:v>56491</c:v>
                </c:pt>
                <c:pt idx="50362">
                  <c:v>39827</c:v>
                </c:pt>
                <c:pt idx="50363">
                  <c:v>49373</c:v>
                </c:pt>
                <c:pt idx="50364">
                  <c:v>24704</c:v>
                </c:pt>
                <c:pt idx="50365">
                  <c:v>52351</c:v>
                </c:pt>
                <c:pt idx="50366">
                  <c:v>22676</c:v>
                </c:pt>
                <c:pt idx="50367">
                  <c:v>39642</c:v>
                </c:pt>
                <c:pt idx="50368">
                  <c:v>33352</c:v>
                </c:pt>
                <c:pt idx="50369">
                  <c:v>61011</c:v>
                </c:pt>
                <c:pt idx="50370">
                  <c:v>28369</c:v>
                </c:pt>
                <c:pt idx="50371">
                  <c:v>131535</c:v>
                </c:pt>
                <c:pt idx="50372">
                  <c:v>42421</c:v>
                </c:pt>
                <c:pt idx="50373">
                  <c:v>193392</c:v>
                </c:pt>
                <c:pt idx="50374">
                  <c:v>36505</c:v>
                </c:pt>
                <c:pt idx="50375">
                  <c:v>106818</c:v>
                </c:pt>
                <c:pt idx="50376">
                  <c:v>44382</c:v>
                </c:pt>
                <c:pt idx="50377">
                  <c:v>46050</c:v>
                </c:pt>
                <c:pt idx="50378">
                  <c:v>74979</c:v>
                </c:pt>
                <c:pt idx="50379">
                  <c:v>31145</c:v>
                </c:pt>
                <c:pt idx="50380">
                  <c:v>144260</c:v>
                </c:pt>
                <c:pt idx="50381">
                  <c:v>56546</c:v>
                </c:pt>
                <c:pt idx="50382">
                  <c:v>67142</c:v>
                </c:pt>
                <c:pt idx="50383">
                  <c:v>40415</c:v>
                </c:pt>
                <c:pt idx="50384">
                  <c:v>24664</c:v>
                </c:pt>
                <c:pt idx="50385">
                  <c:v>24858</c:v>
                </c:pt>
                <c:pt idx="50386">
                  <c:v>63335</c:v>
                </c:pt>
                <c:pt idx="50387">
                  <c:v>150048</c:v>
                </c:pt>
                <c:pt idx="50388">
                  <c:v>34519</c:v>
                </c:pt>
                <c:pt idx="50389">
                  <c:v>28952</c:v>
                </c:pt>
                <c:pt idx="50390">
                  <c:v>31959</c:v>
                </c:pt>
                <c:pt idx="50391">
                  <c:v>24826</c:v>
                </c:pt>
                <c:pt idx="50392">
                  <c:v>45405</c:v>
                </c:pt>
                <c:pt idx="50393">
                  <c:v>372220</c:v>
                </c:pt>
                <c:pt idx="50394">
                  <c:v>38583</c:v>
                </c:pt>
                <c:pt idx="50395">
                  <c:v>22454</c:v>
                </c:pt>
                <c:pt idx="50396">
                  <c:v>24999</c:v>
                </c:pt>
                <c:pt idx="50397">
                  <c:v>45716</c:v>
                </c:pt>
                <c:pt idx="50398">
                  <c:v>83918</c:v>
                </c:pt>
                <c:pt idx="50399">
                  <c:v>21678</c:v>
                </c:pt>
                <c:pt idx="50400">
                  <c:v>33252</c:v>
                </c:pt>
                <c:pt idx="50401">
                  <c:v>58819</c:v>
                </c:pt>
                <c:pt idx="50402">
                  <c:v>28941</c:v>
                </c:pt>
                <c:pt idx="50403">
                  <c:v>60765</c:v>
                </c:pt>
                <c:pt idx="50404">
                  <c:v>36172</c:v>
                </c:pt>
                <c:pt idx="50405">
                  <c:v>28699</c:v>
                </c:pt>
                <c:pt idx="50406">
                  <c:v>30310</c:v>
                </c:pt>
                <c:pt idx="50407">
                  <c:v>116698</c:v>
                </c:pt>
                <c:pt idx="50408">
                  <c:v>71745</c:v>
                </c:pt>
                <c:pt idx="50409">
                  <c:v>39921</c:v>
                </c:pt>
                <c:pt idx="50410">
                  <c:v>50243</c:v>
                </c:pt>
                <c:pt idx="50411">
                  <c:v>85824</c:v>
                </c:pt>
                <c:pt idx="50412">
                  <c:v>58466</c:v>
                </c:pt>
                <c:pt idx="50413">
                  <c:v>46897</c:v>
                </c:pt>
                <c:pt idx="50414">
                  <c:v>19940</c:v>
                </c:pt>
                <c:pt idx="50415">
                  <c:v>133991</c:v>
                </c:pt>
                <c:pt idx="50416">
                  <c:v>44394</c:v>
                </c:pt>
                <c:pt idx="50417">
                  <c:v>35849</c:v>
                </c:pt>
                <c:pt idx="50418">
                  <c:v>78255</c:v>
                </c:pt>
                <c:pt idx="50419">
                  <c:v>79238</c:v>
                </c:pt>
                <c:pt idx="50420">
                  <c:v>47837</c:v>
                </c:pt>
                <c:pt idx="50421">
                  <c:v>64651</c:v>
                </c:pt>
                <c:pt idx="50422">
                  <c:v>164635</c:v>
                </c:pt>
                <c:pt idx="50423">
                  <c:v>78094</c:v>
                </c:pt>
                <c:pt idx="50424">
                  <c:v>50878</c:v>
                </c:pt>
                <c:pt idx="50425">
                  <c:v>30970</c:v>
                </c:pt>
                <c:pt idx="50426">
                  <c:v>37158</c:v>
                </c:pt>
                <c:pt idx="50427">
                  <c:v>56855</c:v>
                </c:pt>
                <c:pt idx="50428">
                  <c:v>173217</c:v>
                </c:pt>
                <c:pt idx="50429">
                  <c:v>30764</c:v>
                </c:pt>
                <c:pt idx="50430">
                  <c:v>41120</c:v>
                </c:pt>
                <c:pt idx="50431">
                  <c:v>73561</c:v>
                </c:pt>
                <c:pt idx="50432">
                  <c:v>46467</c:v>
                </c:pt>
                <c:pt idx="50433">
                  <c:v>160298</c:v>
                </c:pt>
                <c:pt idx="50434">
                  <c:v>101992</c:v>
                </c:pt>
                <c:pt idx="50435">
                  <c:v>40278</c:v>
                </c:pt>
                <c:pt idx="50436">
                  <c:v>31659</c:v>
                </c:pt>
                <c:pt idx="50437">
                  <c:v>55052</c:v>
                </c:pt>
                <c:pt idx="50438">
                  <c:v>34863</c:v>
                </c:pt>
                <c:pt idx="50439">
                  <c:v>27079</c:v>
                </c:pt>
                <c:pt idx="50440">
                  <c:v>28163</c:v>
                </c:pt>
                <c:pt idx="50441">
                  <c:v>42604</c:v>
                </c:pt>
                <c:pt idx="50442">
                  <c:v>32170</c:v>
                </c:pt>
                <c:pt idx="50443">
                  <c:v>267137</c:v>
                </c:pt>
                <c:pt idx="50444">
                  <c:v>58742</c:v>
                </c:pt>
                <c:pt idx="50445">
                  <c:v>46561</c:v>
                </c:pt>
                <c:pt idx="50446">
                  <c:v>57305</c:v>
                </c:pt>
                <c:pt idx="50447">
                  <c:v>47121</c:v>
                </c:pt>
                <c:pt idx="50448">
                  <c:v>113404</c:v>
                </c:pt>
                <c:pt idx="50449">
                  <c:v>136612</c:v>
                </c:pt>
                <c:pt idx="50450">
                  <c:v>56052</c:v>
                </c:pt>
                <c:pt idx="50451">
                  <c:v>31559</c:v>
                </c:pt>
                <c:pt idx="50452">
                  <c:v>86766</c:v>
                </c:pt>
                <c:pt idx="50453">
                  <c:v>135399</c:v>
                </c:pt>
                <c:pt idx="50454">
                  <c:v>40563</c:v>
                </c:pt>
                <c:pt idx="50455">
                  <c:v>46623</c:v>
                </c:pt>
                <c:pt idx="50456">
                  <c:v>25274</c:v>
                </c:pt>
                <c:pt idx="50457">
                  <c:v>41704</c:v>
                </c:pt>
                <c:pt idx="50458">
                  <c:v>64364</c:v>
                </c:pt>
                <c:pt idx="50459">
                  <c:v>31906</c:v>
                </c:pt>
                <c:pt idx="50460">
                  <c:v>79495</c:v>
                </c:pt>
                <c:pt idx="50461">
                  <c:v>35428</c:v>
                </c:pt>
                <c:pt idx="50462">
                  <c:v>24658</c:v>
                </c:pt>
                <c:pt idx="50463">
                  <c:v>36168</c:v>
                </c:pt>
                <c:pt idx="50464">
                  <c:v>327652</c:v>
                </c:pt>
                <c:pt idx="50465">
                  <c:v>36194</c:v>
                </c:pt>
                <c:pt idx="50466">
                  <c:v>42183</c:v>
                </c:pt>
                <c:pt idx="50467">
                  <c:v>146988</c:v>
                </c:pt>
                <c:pt idx="50468">
                  <c:v>35781</c:v>
                </c:pt>
                <c:pt idx="50469">
                  <c:v>27557</c:v>
                </c:pt>
                <c:pt idx="50470">
                  <c:v>40929</c:v>
                </c:pt>
                <c:pt idx="50471">
                  <c:v>37861</c:v>
                </c:pt>
                <c:pt idx="50472">
                  <c:v>20441</c:v>
                </c:pt>
                <c:pt idx="50473">
                  <c:v>70763</c:v>
                </c:pt>
                <c:pt idx="50474">
                  <c:v>83519</c:v>
                </c:pt>
                <c:pt idx="50475">
                  <c:v>186972</c:v>
                </c:pt>
                <c:pt idx="50476">
                  <c:v>55475</c:v>
                </c:pt>
                <c:pt idx="50477">
                  <c:v>29561</c:v>
                </c:pt>
                <c:pt idx="50478">
                  <c:v>31547</c:v>
                </c:pt>
                <c:pt idx="50479">
                  <c:v>79896</c:v>
                </c:pt>
                <c:pt idx="50480">
                  <c:v>49849</c:v>
                </c:pt>
                <c:pt idx="50481">
                  <c:v>37942</c:v>
                </c:pt>
                <c:pt idx="50482">
                  <c:v>60004</c:v>
                </c:pt>
                <c:pt idx="50483">
                  <c:v>74992</c:v>
                </c:pt>
                <c:pt idx="50484">
                  <c:v>86511</c:v>
                </c:pt>
                <c:pt idx="50485">
                  <c:v>203351</c:v>
                </c:pt>
                <c:pt idx="50486">
                  <c:v>27491</c:v>
                </c:pt>
                <c:pt idx="50487">
                  <c:v>37048</c:v>
                </c:pt>
                <c:pt idx="50488">
                  <c:v>63051</c:v>
                </c:pt>
                <c:pt idx="50489">
                  <c:v>29955</c:v>
                </c:pt>
                <c:pt idx="50490">
                  <c:v>263242</c:v>
                </c:pt>
                <c:pt idx="50491">
                  <c:v>47170</c:v>
                </c:pt>
                <c:pt idx="50492">
                  <c:v>31923</c:v>
                </c:pt>
                <c:pt idx="50493">
                  <c:v>28281</c:v>
                </c:pt>
                <c:pt idx="50494">
                  <c:v>36375</c:v>
                </c:pt>
                <c:pt idx="50495">
                  <c:v>87993</c:v>
                </c:pt>
                <c:pt idx="50496">
                  <c:v>43833</c:v>
                </c:pt>
                <c:pt idx="50497">
                  <c:v>43519</c:v>
                </c:pt>
                <c:pt idx="50498">
                  <c:v>25520</c:v>
                </c:pt>
                <c:pt idx="50499">
                  <c:v>44198</c:v>
                </c:pt>
                <c:pt idx="50500">
                  <c:v>61076</c:v>
                </c:pt>
                <c:pt idx="50501">
                  <c:v>40063</c:v>
                </c:pt>
                <c:pt idx="50502">
                  <c:v>49851</c:v>
                </c:pt>
                <c:pt idx="50503">
                  <c:v>70402</c:v>
                </c:pt>
                <c:pt idx="50504">
                  <c:v>88158</c:v>
                </c:pt>
                <c:pt idx="50505">
                  <c:v>34947</c:v>
                </c:pt>
                <c:pt idx="50506">
                  <c:v>38483</c:v>
                </c:pt>
                <c:pt idx="50507">
                  <c:v>23278</c:v>
                </c:pt>
                <c:pt idx="50508">
                  <c:v>111496</c:v>
                </c:pt>
                <c:pt idx="50509">
                  <c:v>44560</c:v>
                </c:pt>
                <c:pt idx="50510">
                  <c:v>49746</c:v>
                </c:pt>
                <c:pt idx="50511">
                  <c:v>125890</c:v>
                </c:pt>
                <c:pt idx="50512">
                  <c:v>35237</c:v>
                </c:pt>
                <c:pt idx="50513">
                  <c:v>50583</c:v>
                </c:pt>
                <c:pt idx="50514">
                  <c:v>38379</c:v>
                </c:pt>
                <c:pt idx="50515">
                  <c:v>46021</c:v>
                </c:pt>
                <c:pt idx="50516">
                  <c:v>55076</c:v>
                </c:pt>
                <c:pt idx="50517">
                  <c:v>34676</c:v>
                </c:pt>
                <c:pt idx="50518">
                  <c:v>112780</c:v>
                </c:pt>
                <c:pt idx="50519">
                  <c:v>34734</c:v>
                </c:pt>
                <c:pt idx="50520">
                  <c:v>166145</c:v>
                </c:pt>
                <c:pt idx="50521">
                  <c:v>45438</c:v>
                </c:pt>
                <c:pt idx="50522">
                  <c:v>36863</c:v>
                </c:pt>
                <c:pt idx="50523">
                  <c:v>29698</c:v>
                </c:pt>
                <c:pt idx="50524">
                  <c:v>94808</c:v>
                </c:pt>
                <c:pt idx="50525">
                  <c:v>81040</c:v>
                </c:pt>
                <c:pt idx="50526">
                  <c:v>91389</c:v>
                </c:pt>
                <c:pt idx="50527">
                  <c:v>34559</c:v>
                </c:pt>
                <c:pt idx="50528">
                  <c:v>69173</c:v>
                </c:pt>
                <c:pt idx="50529">
                  <c:v>34783</c:v>
                </c:pt>
                <c:pt idx="50530">
                  <c:v>293264</c:v>
                </c:pt>
                <c:pt idx="50531">
                  <c:v>24312</c:v>
                </c:pt>
                <c:pt idx="50532">
                  <c:v>82212</c:v>
                </c:pt>
                <c:pt idx="50533">
                  <c:v>106417</c:v>
                </c:pt>
                <c:pt idx="50534">
                  <c:v>147607</c:v>
                </c:pt>
                <c:pt idx="50535">
                  <c:v>30357</c:v>
                </c:pt>
                <c:pt idx="50536">
                  <c:v>78689</c:v>
                </c:pt>
                <c:pt idx="50537">
                  <c:v>22070</c:v>
                </c:pt>
                <c:pt idx="50538">
                  <c:v>100971</c:v>
                </c:pt>
                <c:pt idx="50539">
                  <c:v>82390</c:v>
                </c:pt>
                <c:pt idx="50540">
                  <c:v>38051</c:v>
                </c:pt>
                <c:pt idx="50541">
                  <c:v>25037</c:v>
                </c:pt>
                <c:pt idx="50542">
                  <c:v>45898</c:v>
                </c:pt>
                <c:pt idx="50543">
                  <c:v>34793</c:v>
                </c:pt>
                <c:pt idx="50544">
                  <c:v>36007</c:v>
                </c:pt>
                <c:pt idx="50545">
                  <c:v>46448</c:v>
                </c:pt>
                <c:pt idx="50546">
                  <c:v>24940</c:v>
                </c:pt>
                <c:pt idx="50547">
                  <c:v>87267</c:v>
                </c:pt>
                <c:pt idx="50548">
                  <c:v>45983</c:v>
                </c:pt>
                <c:pt idx="50549">
                  <c:v>45478</c:v>
                </c:pt>
                <c:pt idx="50550">
                  <c:v>23813</c:v>
                </c:pt>
                <c:pt idx="50551">
                  <c:v>26082</c:v>
                </c:pt>
                <c:pt idx="50552">
                  <c:v>26670</c:v>
                </c:pt>
                <c:pt idx="50553">
                  <c:v>44548</c:v>
                </c:pt>
                <c:pt idx="50554">
                  <c:v>57267</c:v>
                </c:pt>
                <c:pt idx="50555">
                  <c:v>28896</c:v>
                </c:pt>
                <c:pt idx="50556">
                  <c:v>41314</c:v>
                </c:pt>
                <c:pt idx="50557">
                  <c:v>36683</c:v>
                </c:pt>
                <c:pt idx="50558">
                  <c:v>39291</c:v>
                </c:pt>
                <c:pt idx="50559">
                  <c:v>34538</c:v>
                </c:pt>
                <c:pt idx="50560">
                  <c:v>104680</c:v>
                </c:pt>
                <c:pt idx="50561">
                  <c:v>35927</c:v>
                </c:pt>
                <c:pt idx="50562">
                  <c:v>504472</c:v>
                </c:pt>
                <c:pt idx="50563">
                  <c:v>50151</c:v>
                </c:pt>
                <c:pt idx="50564">
                  <c:v>38763</c:v>
                </c:pt>
                <c:pt idx="50565">
                  <c:v>35424</c:v>
                </c:pt>
                <c:pt idx="50566">
                  <c:v>22844</c:v>
                </c:pt>
                <c:pt idx="50567">
                  <c:v>41125</c:v>
                </c:pt>
                <c:pt idx="50568">
                  <c:v>36201</c:v>
                </c:pt>
                <c:pt idx="50569">
                  <c:v>101653</c:v>
                </c:pt>
                <c:pt idx="50570">
                  <c:v>23062</c:v>
                </c:pt>
                <c:pt idx="50571">
                  <c:v>230465</c:v>
                </c:pt>
                <c:pt idx="50572">
                  <c:v>26618</c:v>
                </c:pt>
                <c:pt idx="50573">
                  <c:v>63055</c:v>
                </c:pt>
                <c:pt idx="50574">
                  <c:v>80412</c:v>
                </c:pt>
                <c:pt idx="50575">
                  <c:v>48847</c:v>
                </c:pt>
                <c:pt idx="50576">
                  <c:v>45085</c:v>
                </c:pt>
                <c:pt idx="50577">
                  <c:v>174439</c:v>
                </c:pt>
                <c:pt idx="50578">
                  <c:v>77558</c:v>
                </c:pt>
                <c:pt idx="50579">
                  <c:v>43873</c:v>
                </c:pt>
                <c:pt idx="50580">
                  <c:v>38894</c:v>
                </c:pt>
                <c:pt idx="50581">
                  <c:v>125483</c:v>
                </c:pt>
                <c:pt idx="50582">
                  <c:v>25369</c:v>
                </c:pt>
                <c:pt idx="50583">
                  <c:v>29491</c:v>
                </c:pt>
                <c:pt idx="50584">
                  <c:v>68503</c:v>
                </c:pt>
                <c:pt idx="50585">
                  <c:v>30218</c:v>
                </c:pt>
                <c:pt idx="50586">
                  <c:v>38879</c:v>
                </c:pt>
                <c:pt idx="50587">
                  <c:v>41417</c:v>
                </c:pt>
                <c:pt idx="50588">
                  <c:v>46994</c:v>
                </c:pt>
                <c:pt idx="50589">
                  <c:v>58266</c:v>
                </c:pt>
                <c:pt idx="50590">
                  <c:v>69040</c:v>
                </c:pt>
                <c:pt idx="50591">
                  <c:v>37375</c:v>
                </c:pt>
                <c:pt idx="50592">
                  <c:v>23998</c:v>
                </c:pt>
                <c:pt idx="50593">
                  <c:v>62759</c:v>
                </c:pt>
                <c:pt idx="50594">
                  <c:v>80284</c:v>
                </c:pt>
                <c:pt idx="50595">
                  <c:v>54386</c:v>
                </c:pt>
                <c:pt idx="50596">
                  <c:v>60881</c:v>
                </c:pt>
                <c:pt idx="50597">
                  <c:v>285099</c:v>
                </c:pt>
                <c:pt idx="50598">
                  <c:v>45073</c:v>
                </c:pt>
                <c:pt idx="50599">
                  <c:v>41560</c:v>
                </c:pt>
                <c:pt idx="50600">
                  <c:v>94736</c:v>
                </c:pt>
                <c:pt idx="50601">
                  <c:v>41829</c:v>
                </c:pt>
                <c:pt idx="50602">
                  <c:v>29223</c:v>
                </c:pt>
                <c:pt idx="50603">
                  <c:v>32985</c:v>
                </c:pt>
                <c:pt idx="50604">
                  <c:v>128468</c:v>
                </c:pt>
                <c:pt idx="50605">
                  <c:v>98793</c:v>
                </c:pt>
                <c:pt idx="50606">
                  <c:v>34125</c:v>
                </c:pt>
                <c:pt idx="50607">
                  <c:v>31947</c:v>
                </c:pt>
                <c:pt idx="50608">
                  <c:v>36913</c:v>
                </c:pt>
                <c:pt idx="50609">
                  <c:v>126171</c:v>
                </c:pt>
                <c:pt idx="50610">
                  <c:v>81974</c:v>
                </c:pt>
                <c:pt idx="50611">
                  <c:v>28471</c:v>
                </c:pt>
                <c:pt idx="50612">
                  <c:v>40130</c:v>
                </c:pt>
                <c:pt idx="50613">
                  <c:v>83579</c:v>
                </c:pt>
                <c:pt idx="50614">
                  <c:v>66987</c:v>
                </c:pt>
                <c:pt idx="50615">
                  <c:v>29598</c:v>
                </c:pt>
                <c:pt idx="50616">
                  <c:v>25336</c:v>
                </c:pt>
                <c:pt idx="50617">
                  <c:v>70815</c:v>
                </c:pt>
                <c:pt idx="50618">
                  <c:v>40978</c:v>
                </c:pt>
                <c:pt idx="50619">
                  <c:v>23987</c:v>
                </c:pt>
                <c:pt idx="50620">
                  <c:v>35982</c:v>
                </c:pt>
                <c:pt idx="50621">
                  <c:v>63866</c:v>
                </c:pt>
                <c:pt idx="50622">
                  <c:v>81713</c:v>
                </c:pt>
                <c:pt idx="50623">
                  <c:v>28697</c:v>
                </c:pt>
                <c:pt idx="50624">
                  <c:v>28796</c:v>
                </c:pt>
                <c:pt idx="50625">
                  <c:v>207585</c:v>
                </c:pt>
                <c:pt idx="50626">
                  <c:v>61445</c:v>
                </c:pt>
                <c:pt idx="50627">
                  <c:v>61159</c:v>
                </c:pt>
                <c:pt idx="50628">
                  <c:v>36519</c:v>
                </c:pt>
                <c:pt idx="50629">
                  <c:v>39276</c:v>
                </c:pt>
                <c:pt idx="50630">
                  <c:v>29202</c:v>
                </c:pt>
                <c:pt idx="50631">
                  <c:v>25325</c:v>
                </c:pt>
                <c:pt idx="50632">
                  <c:v>54295</c:v>
                </c:pt>
                <c:pt idx="50633">
                  <c:v>64313</c:v>
                </c:pt>
                <c:pt idx="50634">
                  <c:v>33827</c:v>
                </c:pt>
                <c:pt idx="50635">
                  <c:v>72036</c:v>
                </c:pt>
                <c:pt idx="50636">
                  <c:v>27992</c:v>
                </c:pt>
                <c:pt idx="50637">
                  <c:v>43018</c:v>
                </c:pt>
                <c:pt idx="50638">
                  <c:v>31190</c:v>
                </c:pt>
                <c:pt idx="50639">
                  <c:v>62623</c:v>
                </c:pt>
                <c:pt idx="50640">
                  <c:v>32037</c:v>
                </c:pt>
                <c:pt idx="50641">
                  <c:v>121786</c:v>
                </c:pt>
                <c:pt idx="50642">
                  <c:v>32988</c:v>
                </c:pt>
                <c:pt idx="50643">
                  <c:v>77664</c:v>
                </c:pt>
                <c:pt idx="50644">
                  <c:v>29268</c:v>
                </c:pt>
                <c:pt idx="50645">
                  <c:v>47589</c:v>
                </c:pt>
                <c:pt idx="50646">
                  <c:v>40049</c:v>
                </c:pt>
                <c:pt idx="50647">
                  <c:v>25099</c:v>
                </c:pt>
                <c:pt idx="50648">
                  <c:v>40411</c:v>
                </c:pt>
                <c:pt idx="50649">
                  <c:v>40975</c:v>
                </c:pt>
                <c:pt idx="50650">
                  <c:v>48632</c:v>
                </c:pt>
                <c:pt idx="50651">
                  <c:v>72155</c:v>
                </c:pt>
                <c:pt idx="50652">
                  <c:v>46816</c:v>
                </c:pt>
                <c:pt idx="50653">
                  <c:v>104893</c:v>
                </c:pt>
                <c:pt idx="50654">
                  <c:v>149602</c:v>
                </c:pt>
                <c:pt idx="50655">
                  <c:v>37643</c:v>
                </c:pt>
                <c:pt idx="50656">
                  <c:v>90082</c:v>
                </c:pt>
                <c:pt idx="50657">
                  <c:v>136339</c:v>
                </c:pt>
                <c:pt idx="50658">
                  <c:v>102172</c:v>
                </c:pt>
                <c:pt idx="50659">
                  <c:v>237486</c:v>
                </c:pt>
                <c:pt idx="50660">
                  <c:v>112054</c:v>
                </c:pt>
                <c:pt idx="50661">
                  <c:v>36566</c:v>
                </c:pt>
                <c:pt idx="50662">
                  <c:v>30227</c:v>
                </c:pt>
                <c:pt idx="50663">
                  <c:v>19272</c:v>
                </c:pt>
                <c:pt idx="50664">
                  <c:v>118657</c:v>
                </c:pt>
                <c:pt idx="50665">
                  <c:v>44441</c:v>
                </c:pt>
                <c:pt idx="50666">
                  <c:v>44637</c:v>
                </c:pt>
                <c:pt idx="50667">
                  <c:v>51432</c:v>
                </c:pt>
                <c:pt idx="50668">
                  <c:v>44426</c:v>
                </c:pt>
                <c:pt idx="50669">
                  <c:v>60598</c:v>
                </c:pt>
                <c:pt idx="50670">
                  <c:v>42160</c:v>
                </c:pt>
                <c:pt idx="50671">
                  <c:v>30832</c:v>
                </c:pt>
                <c:pt idx="50672">
                  <c:v>61903</c:v>
                </c:pt>
                <c:pt idx="50673">
                  <c:v>25024</c:v>
                </c:pt>
                <c:pt idx="50674">
                  <c:v>43815</c:v>
                </c:pt>
                <c:pt idx="50675">
                  <c:v>28583</c:v>
                </c:pt>
                <c:pt idx="50676">
                  <c:v>84343</c:v>
                </c:pt>
                <c:pt idx="50677">
                  <c:v>37248</c:v>
                </c:pt>
                <c:pt idx="50678">
                  <c:v>39643</c:v>
                </c:pt>
                <c:pt idx="50679">
                  <c:v>25027</c:v>
                </c:pt>
                <c:pt idx="50680">
                  <c:v>218057</c:v>
                </c:pt>
                <c:pt idx="50681">
                  <c:v>38274</c:v>
                </c:pt>
                <c:pt idx="50682">
                  <c:v>60624</c:v>
                </c:pt>
                <c:pt idx="50683">
                  <c:v>42601</c:v>
                </c:pt>
                <c:pt idx="50684">
                  <c:v>47043</c:v>
                </c:pt>
                <c:pt idx="50685">
                  <c:v>56667</c:v>
                </c:pt>
                <c:pt idx="50686">
                  <c:v>28611</c:v>
                </c:pt>
                <c:pt idx="50687">
                  <c:v>42839</c:v>
                </c:pt>
                <c:pt idx="50688">
                  <c:v>96747</c:v>
                </c:pt>
                <c:pt idx="50689">
                  <c:v>74559</c:v>
                </c:pt>
                <c:pt idx="50690">
                  <c:v>27525</c:v>
                </c:pt>
                <c:pt idx="50691">
                  <c:v>89486</c:v>
                </c:pt>
                <c:pt idx="50692">
                  <c:v>41640</c:v>
                </c:pt>
                <c:pt idx="50693">
                  <c:v>23771</c:v>
                </c:pt>
                <c:pt idx="50694">
                  <c:v>69428</c:v>
                </c:pt>
                <c:pt idx="50695">
                  <c:v>50288</c:v>
                </c:pt>
                <c:pt idx="50696">
                  <c:v>42837</c:v>
                </c:pt>
                <c:pt idx="50697">
                  <c:v>101766</c:v>
                </c:pt>
                <c:pt idx="50698">
                  <c:v>70941</c:v>
                </c:pt>
                <c:pt idx="50699">
                  <c:v>33643</c:v>
                </c:pt>
                <c:pt idx="50700">
                  <c:v>45955</c:v>
                </c:pt>
                <c:pt idx="50701">
                  <c:v>49855</c:v>
                </c:pt>
                <c:pt idx="50702">
                  <c:v>35460</c:v>
                </c:pt>
                <c:pt idx="50703">
                  <c:v>35934</c:v>
                </c:pt>
                <c:pt idx="50704">
                  <c:v>29232</c:v>
                </c:pt>
                <c:pt idx="50705">
                  <c:v>25171</c:v>
                </c:pt>
                <c:pt idx="50706">
                  <c:v>34213</c:v>
                </c:pt>
                <c:pt idx="50707">
                  <c:v>45883</c:v>
                </c:pt>
                <c:pt idx="50708">
                  <c:v>36656</c:v>
                </c:pt>
                <c:pt idx="50709">
                  <c:v>44507</c:v>
                </c:pt>
                <c:pt idx="50710">
                  <c:v>28886</c:v>
                </c:pt>
                <c:pt idx="50711">
                  <c:v>42631</c:v>
                </c:pt>
                <c:pt idx="50712">
                  <c:v>69145</c:v>
                </c:pt>
                <c:pt idx="50713">
                  <c:v>77289</c:v>
                </c:pt>
                <c:pt idx="50714">
                  <c:v>68774</c:v>
                </c:pt>
                <c:pt idx="50715">
                  <c:v>212168</c:v>
                </c:pt>
                <c:pt idx="50716">
                  <c:v>78599</c:v>
                </c:pt>
                <c:pt idx="50717">
                  <c:v>75526</c:v>
                </c:pt>
                <c:pt idx="50718">
                  <c:v>44816</c:v>
                </c:pt>
                <c:pt idx="50719">
                  <c:v>27327</c:v>
                </c:pt>
                <c:pt idx="50720">
                  <c:v>44338</c:v>
                </c:pt>
                <c:pt idx="50721">
                  <c:v>43486</c:v>
                </c:pt>
                <c:pt idx="50722">
                  <c:v>38734</c:v>
                </c:pt>
                <c:pt idx="50723">
                  <c:v>41717</c:v>
                </c:pt>
                <c:pt idx="50724">
                  <c:v>31340</c:v>
                </c:pt>
                <c:pt idx="50725">
                  <c:v>63495</c:v>
                </c:pt>
                <c:pt idx="50726">
                  <c:v>45413</c:v>
                </c:pt>
                <c:pt idx="50727">
                  <c:v>47989</c:v>
                </c:pt>
                <c:pt idx="50728">
                  <c:v>37616</c:v>
                </c:pt>
                <c:pt idx="50729">
                  <c:v>43175</c:v>
                </c:pt>
                <c:pt idx="50730">
                  <c:v>23598</c:v>
                </c:pt>
                <c:pt idx="50731">
                  <c:v>41551</c:v>
                </c:pt>
                <c:pt idx="50732">
                  <c:v>19993</c:v>
                </c:pt>
                <c:pt idx="50733">
                  <c:v>66827</c:v>
                </c:pt>
                <c:pt idx="50734">
                  <c:v>38155</c:v>
                </c:pt>
                <c:pt idx="50735">
                  <c:v>40797</c:v>
                </c:pt>
                <c:pt idx="50736">
                  <c:v>33364</c:v>
                </c:pt>
                <c:pt idx="50737">
                  <c:v>36850</c:v>
                </c:pt>
                <c:pt idx="50738">
                  <c:v>53209</c:v>
                </c:pt>
                <c:pt idx="50739">
                  <c:v>33024</c:v>
                </c:pt>
                <c:pt idx="50740">
                  <c:v>26700</c:v>
                </c:pt>
                <c:pt idx="50741">
                  <c:v>82486</c:v>
                </c:pt>
                <c:pt idx="50742">
                  <c:v>31411</c:v>
                </c:pt>
                <c:pt idx="50743">
                  <c:v>30724</c:v>
                </c:pt>
                <c:pt idx="50744">
                  <c:v>111155</c:v>
                </c:pt>
                <c:pt idx="50745">
                  <c:v>56814</c:v>
                </c:pt>
                <c:pt idx="50746">
                  <c:v>48022</c:v>
                </c:pt>
                <c:pt idx="50747">
                  <c:v>104237</c:v>
                </c:pt>
                <c:pt idx="50748">
                  <c:v>72171</c:v>
                </c:pt>
                <c:pt idx="50749">
                  <c:v>33078</c:v>
                </c:pt>
                <c:pt idx="50750">
                  <c:v>89237</c:v>
                </c:pt>
                <c:pt idx="50751">
                  <c:v>27525</c:v>
                </c:pt>
                <c:pt idx="50752">
                  <c:v>39110</c:v>
                </c:pt>
                <c:pt idx="50753">
                  <c:v>40694</c:v>
                </c:pt>
                <c:pt idx="50754">
                  <c:v>37455</c:v>
                </c:pt>
                <c:pt idx="50755">
                  <c:v>43019</c:v>
                </c:pt>
                <c:pt idx="50756">
                  <c:v>23993</c:v>
                </c:pt>
                <c:pt idx="50757">
                  <c:v>35517</c:v>
                </c:pt>
                <c:pt idx="50758">
                  <c:v>37569</c:v>
                </c:pt>
                <c:pt idx="50759">
                  <c:v>102403</c:v>
                </c:pt>
                <c:pt idx="50760">
                  <c:v>38370</c:v>
                </c:pt>
                <c:pt idx="50761">
                  <c:v>48403</c:v>
                </c:pt>
                <c:pt idx="50762">
                  <c:v>123558</c:v>
                </c:pt>
                <c:pt idx="50763">
                  <c:v>40168</c:v>
                </c:pt>
                <c:pt idx="50764">
                  <c:v>52661</c:v>
                </c:pt>
                <c:pt idx="50765">
                  <c:v>69115</c:v>
                </c:pt>
                <c:pt idx="50766">
                  <c:v>46945</c:v>
                </c:pt>
                <c:pt idx="50767">
                  <c:v>37944</c:v>
                </c:pt>
                <c:pt idx="50768">
                  <c:v>39714</c:v>
                </c:pt>
                <c:pt idx="50769">
                  <c:v>123161</c:v>
                </c:pt>
                <c:pt idx="50770">
                  <c:v>44603</c:v>
                </c:pt>
                <c:pt idx="50771">
                  <c:v>34097</c:v>
                </c:pt>
                <c:pt idx="50772">
                  <c:v>32480</c:v>
                </c:pt>
                <c:pt idx="50773">
                  <c:v>43570</c:v>
                </c:pt>
                <c:pt idx="50774">
                  <c:v>36623</c:v>
                </c:pt>
                <c:pt idx="50775">
                  <c:v>21463</c:v>
                </c:pt>
                <c:pt idx="50776">
                  <c:v>37751</c:v>
                </c:pt>
                <c:pt idx="50777">
                  <c:v>28047</c:v>
                </c:pt>
                <c:pt idx="50778">
                  <c:v>54844</c:v>
                </c:pt>
                <c:pt idx="50779">
                  <c:v>26432</c:v>
                </c:pt>
                <c:pt idx="50780">
                  <c:v>41501</c:v>
                </c:pt>
                <c:pt idx="50781">
                  <c:v>35230</c:v>
                </c:pt>
                <c:pt idx="50782">
                  <c:v>29397</c:v>
                </c:pt>
                <c:pt idx="50783">
                  <c:v>29837</c:v>
                </c:pt>
                <c:pt idx="50784">
                  <c:v>35971</c:v>
                </c:pt>
                <c:pt idx="50785">
                  <c:v>124086</c:v>
                </c:pt>
                <c:pt idx="50786">
                  <c:v>31894</c:v>
                </c:pt>
                <c:pt idx="50787">
                  <c:v>104336</c:v>
                </c:pt>
                <c:pt idx="50788">
                  <c:v>92605</c:v>
                </c:pt>
                <c:pt idx="50789">
                  <c:v>33020</c:v>
                </c:pt>
                <c:pt idx="50790">
                  <c:v>41258</c:v>
                </c:pt>
                <c:pt idx="50791">
                  <c:v>25156</c:v>
                </c:pt>
                <c:pt idx="50792">
                  <c:v>50040</c:v>
                </c:pt>
                <c:pt idx="50793">
                  <c:v>32039</c:v>
                </c:pt>
                <c:pt idx="50794">
                  <c:v>189903</c:v>
                </c:pt>
                <c:pt idx="50795">
                  <c:v>82649</c:v>
                </c:pt>
                <c:pt idx="50796">
                  <c:v>41498</c:v>
                </c:pt>
                <c:pt idx="50797">
                  <c:v>42608</c:v>
                </c:pt>
                <c:pt idx="50798">
                  <c:v>25424</c:v>
                </c:pt>
                <c:pt idx="50799">
                  <c:v>20305</c:v>
                </c:pt>
                <c:pt idx="50800">
                  <c:v>36502</c:v>
                </c:pt>
                <c:pt idx="50801">
                  <c:v>45009</c:v>
                </c:pt>
                <c:pt idx="50802">
                  <c:v>20519</c:v>
                </c:pt>
                <c:pt idx="50803">
                  <c:v>25512</c:v>
                </c:pt>
                <c:pt idx="50804">
                  <c:v>87106</c:v>
                </c:pt>
                <c:pt idx="50805">
                  <c:v>47916</c:v>
                </c:pt>
                <c:pt idx="50806">
                  <c:v>24404</c:v>
                </c:pt>
                <c:pt idx="50807">
                  <c:v>25212</c:v>
                </c:pt>
                <c:pt idx="50808">
                  <c:v>170495</c:v>
                </c:pt>
                <c:pt idx="50809">
                  <c:v>27313</c:v>
                </c:pt>
                <c:pt idx="50810">
                  <c:v>116053</c:v>
                </c:pt>
                <c:pt idx="50811">
                  <c:v>88471</c:v>
                </c:pt>
                <c:pt idx="50812">
                  <c:v>49460</c:v>
                </c:pt>
                <c:pt idx="50813">
                  <c:v>40552</c:v>
                </c:pt>
                <c:pt idx="50814">
                  <c:v>34094</c:v>
                </c:pt>
                <c:pt idx="50815">
                  <c:v>59174</c:v>
                </c:pt>
                <c:pt idx="50816">
                  <c:v>114645</c:v>
                </c:pt>
                <c:pt idx="50817">
                  <c:v>147350</c:v>
                </c:pt>
                <c:pt idx="50818">
                  <c:v>37070</c:v>
                </c:pt>
                <c:pt idx="50819">
                  <c:v>37297</c:v>
                </c:pt>
                <c:pt idx="50820">
                  <c:v>154322</c:v>
                </c:pt>
                <c:pt idx="50821">
                  <c:v>95167</c:v>
                </c:pt>
                <c:pt idx="50822">
                  <c:v>37349</c:v>
                </c:pt>
                <c:pt idx="50823">
                  <c:v>47688</c:v>
                </c:pt>
                <c:pt idx="50824">
                  <c:v>23619</c:v>
                </c:pt>
                <c:pt idx="50825">
                  <c:v>193120</c:v>
                </c:pt>
                <c:pt idx="50826">
                  <c:v>24066</c:v>
                </c:pt>
                <c:pt idx="50827">
                  <c:v>36822</c:v>
                </c:pt>
                <c:pt idx="50828">
                  <c:v>28991</c:v>
                </c:pt>
                <c:pt idx="50829">
                  <c:v>108106</c:v>
                </c:pt>
                <c:pt idx="50830">
                  <c:v>41845</c:v>
                </c:pt>
                <c:pt idx="50831">
                  <c:v>52428</c:v>
                </c:pt>
                <c:pt idx="50832">
                  <c:v>39764</c:v>
                </c:pt>
                <c:pt idx="50833">
                  <c:v>22683</c:v>
                </c:pt>
                <c:pt idx="50834">
                  <c:v>24471</c:v>
                </c:pt>
                <c:pt idx="50835">
                  <c:v>23430</c:v>
                </c:pt>
                <c:pt idx="50836">
                  <c:v>28713</c:v>
                </c:pt>
                <c:pt idx="50837">
                  <c:v>28629</c:v>
                </c:pt>
                <c:pt idx="50838">
                  <c:v>142486</c:v>
                </c:pt>
                <c:pt idx="50839">
                  <c:v>40888</c:v>
                </c:pt>
                <c:pt idx="50840">
                  <c:v>29928</c:v>
                </c:pt>
                <c:pt idx="50841">
                  <c:v>38218</c:v>
                </c:pt>
                <c:pt idx="50842">
                  <c:v>22170</c:v>
                </c:pt>
                <c:pt idx="50843">
                  <c:v>30630</c:v>
                </c:pt>
                <c:pt idx="50844">
                  <c:v>24503</c:v>
                </c:pt>
                <c:pt idx="50845">
                  <c:v>33073</c:v>
                </c:pt>
                <c:pt idx="50846">
                  <c:v>41781</c:v>
                </c:pt>
                <c:pt idx="50847">
                  <c:v>32756</c:v>
                </c:pt>
                <c:pt idx="50848">
                  <c:v>103692</c:v>
                </c:pt>
                <c:pt idx="50849">
                  <c:v>37813</c:v>
                </c:pt>
                <c:pt idx="50850">
                  <c:v>45004</c:v>
                </c:pt>
                <c:pt idx="50851">
                  <c:v>31100</c:v>
                </c:pt>
                <c:pt idx="50852">
                  <c:v>100171</c:v>
                </c:pt>
                <c:pt idx="50853">
                  <c:v>40173</c:v>
                </c:pt>
                <c:pt idx="50854">
                  <c:v>64785</c:v>
                </c:pt>
                <c:pt idx="50855">
                  <c:v>60973</c:v>
                </c:pt>
                <c:pt idx="50856">
                  <c:v>39964</c:v>
                </c:pt>
                <c:pt idx="50857">
                  <c:v>29902</c:v>
                </c:pt>
                <c:pt idx="50858">
                  <c:v>24251</c:v>
                </c:pt>
                <c:pt idx="50859">
                  <c:v>41471</c:v>
                </c:pt>
                <c:pt idx="50860">
                  <c:v>212278</c:v>
                </c:pt>
                <c:pt idx="50861">
                  <c:v>29249</c:v>
                </c:pt>
                <c:pt idx="50862">
                  <c:v>33700</c:v>
                </c:pt>
                <c:pt idx="50863">
                  <c:v>34893</c:v>
                </c:pt>
                <c:pt idx="50864">
                  <c:v>181502</c:v>
                </c:pt>
                <c:pt idx="50865">
                  <c:v>34242</c:v>
                </c:pt>
                <c:pt idx="50866">
                  <c:v>55462</c:v>
                </c:pt>
                <c:pt idx="50867">
                  <c:v>317526</c:v>
                </c:pt>
                <c:pt idx="50868">
                  <c:v>144008</c:v>
                </c:pt>
                <c:pt idx="50869">
                  <c:v>39531</c:v>
                </c:pt>
                <c:pt idx="50870">
                  <c:v>25086</c:v>
                </c:pt>
                <c:pt idx="50871">
                  <c:v>186984</c:v>
                </c:pt>
                <c:pt idx="50872">
                  <c:v>26762</c:v>
                </c:pt>
                <c:pt idx="50873">
                  <c:v>104821</c:v>
                </c:pt>
                <c:pt idx="50874">
                  <c:v>42945</c:v>
                </c:pt>
                <c:pt idx="50875">
                  <c:v>39495</c:v>
                </c:pt>
                <c:pt idx="50876">
                  <c:v>99540</c:v>
                </c:pt>
                <c:pt idx="50877">
                  <c:v>168945</c:v>
                </c:pt>
                <c:pt idx="50878">
                  <c:v>37058</c:v>
                </c:pt>
                <c:pt idx="50879">
                  <c:v>25940</c:v>
                </c:pt>
                <c:pt idx="50880">
                  <c:v>31353</c:v>
                </c:pt>
                <c:pt idx="50881">
                  <c:v>75880</c:v>
                </c:pt>
                <c:pt idx="50882">
                  <c:v>47238</c:v>
                </c:pt>
                <c:pt idx="50883">
                  <c:v>84603</c:v>
                </c:pt>
                <c:pt idx="50884">
                  <c:v>40663</c:v>
                </c:pt>
                <c:pt idx="50885">
                  <c:v>28808</c:v>
                </c:pt>
                <c:pt idx="50886">
                  <c:v>24081</c:v>
                </c:pt>
                <c:pt idx="50887">
                  <c:v>23538</c:v>
                </c:pt>
                <c:pt idx="50888">
                  <c:v>48770</c:v>
                </c:pt>
                <c:pt idx="50889">
                  <c:v>34900</c:v>
                </c:pt>
                <c:pt idx="50890">
                  <c:v>51462</c:v>
                </c:pt>
                <c:pt idx="50891">
                  <c:v>28191</c:v>
                </c:pt>
                <c:pt idx="50892">
                  <c:v>45416</c:v>
                </c:pt>
                <c:pt idx="50893">
                  <c:v>33200</c:v>
                </c:pt>
                <c:pt idx="50894">
                  <c:v>40415</c:v>
                </c:pt>
                <c:pt idx="50895">
                  <c:v>44841</c:v>
                </c:pt>
                <c:pt idx="50896">
                  <c:v>41779</c:v>
                </c:pt>
                <c:pt idx="50897">
                  <c:v>24041</c:v>
                </c:pt>
                <c:pt idx="50898">
                  <c:v>31263</c:v>
                </c:pt>
                <c:pt idx="50899">
                  <c:v>57201</c:v>
                </c:pt>
                <c:pt idx="50900">
                  <c:v>151910</c:v>
                </c:pt>
                <c:pt idx="50901">
                  <c:v>23655</c:v>
                </c:pt>
                <c:pt idx="50902">
                  <c:v>31098</c:v>
                </c:pt>
                <c:pt idx="50903">
                  <c:v>67502</c:v>
                </c:pt>
                <c:pt idx="50904">
                  <c:v>223433</c:v>
                </c:pt>
                <c:pt idx="50905">
                  <c:v>33698</c:v>
                </c:pt>
                <c:pt idx="50906">
                  <c:v>50299</c:v>
                </c:pt>
                <c:pt idx="50907">
                  <c:v>82740</c:v>
                </c:pt>
                <c:pt idx="50908">
                  <c:v>47481</c:v>
                </c:pt>
                <c:pt idx="50909">
                  <c:v>40784</c:v>
                </c:pt>
                <c:pt idx="50910">
                  <c:v>92576</c:v>
                </c:pt>
                <c:pt idx="50911">
                  <c:v>43465</c:v>
                </c:pt>
                <c:pt idx="50912">
                  <c:v>43516</c:v>
                </c:pt>
                <c:pt idx="50913">
                  <c:v>41438</c:v>
                </c:pt>
                <c:pt idx="50914">
                  <c:v>112650</c:v>
                </c:pt>
                <c:pt idx="50915">
                  <c:v>188784</c:v>
                </c:pt>
                <c:pt idx="50916">
                  <c:v>164742</c:v>
                </c:pt>
                <c:pt idx="50917">
                  <c:v>108776</c:v>
                </c:pt>
                <c:pt idx="50918">
                  <c:v>45135</c:v>
                </c:pt>
                <c:pt idx="50919">
                  <c:v>35961</c:v>
                </c:pt>
                <c:pt idx="50920">
                  <c:v>113178</c:v>
                </c:pt>
                <c:pt idx="50921">
                  <c:v>45418</c:v>
                </c:pt>
                <c:pt idx="50922">
                  <c:v>89079</c:v>
                </c:pt>
                <c:pt idx="50923">
                  <c:v>30845</c:v>
                </c:pt>
                <c:pt idx="50924">
                  <c:v>40018</c:v>
                </c:pt>
                <c:pt idx="50925">
                  <c:v>72973</c:v>
                </c:pt>
                <c:pt idx="50926">
                  <c:v>31680</c:v>
                </c:pt>
                <c:pt idx="50927">
                  <c:v>24314</c:v>
                </c:pt>
                <c:pt idx="50928">
                  <c:v>154188</c:v>
                </c:pt>
                <c:pt idx="50929">
                  <c:v>63500</c:v>
                </c:pt>
                <c:pt idx="50930">
                  <c:v>41837</c:v>
                </c:pt>
                <c:pt idx="50931">
                  <c:v>24537</c:v>
                </c:pt>
                <c:pt idx="50932">
                  <c:v>71458</c:v>
                </c:pt>
                <c:pt idx="50933">
                  <c:v>72266</c:v>
                </c:pt>
                <c:pt idx="50934">
                  <c:v>52347</c:v>
                </c:pt>
                <c:pt idx="50935">
                  <c:v>60284</c:v>
                </c:pt>
                <c:pt idx="50936">
                  <c:v>85089</c:v>
                </c:pt>
                <c:pt idx="50937">
                  <c:v>25500</c:v>
                </c:pt>
                <c:pt idx="50938">
                  <c:v>39485</c:v>
                </c:pt>
                <c:pt idx="50939">
                  <c:v>106505</c:v>
                </c:pt>
                <c:pt idx="50940">
                  <c:v>63573</c:v>
                </c:pt>
                <c:pt idx="50941">
                  <c:v>140571</c:v>
                </c:pt>
                <c:pt idx="50942">
                  <c:v>35884</c:v>
                </c:pt>
                <c:pt idx="50943">
                  <c:v>23809</c:v>
                </c:pt>
                <c:pt idx="50944">
                  <c:v>38527</c:v>
                </c:pt>
                <c:pt idx="50945">
                  <c:v>31995</c:v>
                </c:pt>
                <c:pt idx="50946">
                  <c:v>29699</c:v>
                </c:pt>
                <c:pt idx="50947">
                  <c:v>76388</c:v>
                </c:pt>
                <c:pt idx="50948">
                  <c:v>92158</c:v>
                </c:pt>
                <c:pt idx="50949">
                  <c:v>25808</c:v>
                </c:pt>
                <c:pt idx="50950">
                  <c:v>26898</c:v>
                </c:pt>
                <c:pt idx="50951">
                  <c:v>40025</c:v>
                </c:pt>
                <c:pt idx="50952">
                  <c:v>81639</c:v>
                </c:pt>
                <c:pt idx="50953">
                  <c:v>204402</c:v>
                </c:pt>
                <c:pt idx="50954">
                  <c:v>106433</c:v>
                </c:pt>
                <c:pt idx="50955">
                  <c:v>45810</c:v>
                </c:pt>
                <c:pt idx="50956">
                  <c:v>71168</c:v>
                </c:pt>
                <c:pt idx="50957">
                  <c:v>52713</c:v>
                </c:pt>
                <c:pt idx="50958">
                  <c:v>28790</c:v>
                </c:pt>
                <c:pt idx="50959">
                  <c:v>160125</c:v>
                </c:pt>
                <c:pt idx="50960">
                  <c:v>45398</c:v>
                </c:pt>
                <c:pt idx="50961">
                  <c:v>43586</c:v>
                </c:pt>
                <c:pt idx="50962">
                  <c:v>27380</c:v>
                </c:pt>
                <c:pt idx="50963">
                  <c:v>42790</c:v>
                </c:pt>
                <c:pt idx="50964">
                  <c:v>24215</c:v>
                </c:pt>
                <c:pt idx="50965">
                  <c:v>42629</c:v>
                </c:pt>
                <c:pt idx="50966">
                  <c:v>27654</c:v>
                </c:pt>
                <c:pt idx="50967">
                  <c:v>44250</c:v>
                </c:pt>
                <c:pt idx="50968">
                  <c:v>42161</c:v>
                </c:pt>
                <c:pt idx="50969">
                  <c:v>34613</c:v>
                </c:pt>
                <c:pt idx="50970">
                  <c:v>23563</c:v>
                </c:pt>
                <c:pt idx="50971">
                  <c:v>54046</c:v>
                </c:pt>
                <c:pt idx="50972">
                  <c:v>795308</c:v>
                </c:pt>
                <c:pt idx="50973">
                  <c:v>96063</c:v>
                </c:pt>
                <c:pt idx="50974">
                  <c:v>98292</c:v>
                </c:pt>
                <c:pt idx="50975">
                  <c:v>31413</c:v>
                </c:pt>
                <c:pt idx="50976">
                  <c:v>43636</c:v>
                </c:pt>
                <c:pt idx="50977">
                  <c:v>46797</c:v>
                </c:pt>
                <c:pt idx="50978">
                  <c:v>45687</c:v>
                </c:pt>
                <c:pt idx="50979">
                  <c:v>24562</c:v>
                </c:pt>
                <c:pt idx="50980">
                  <c:v>49974</c:v>
                </c:pt>
                <c:pt idx="50981">
                  <c:v>107364</c:v>
                </c:pt>
                <c:pt idx="50982">
                  <c:v>41491</c:v>
                </c:pt>
                <c:pt idx="50983">
                  <c:v>31785</c:v>
                </c:pt>
                <c:pt idx="50984">
                  <c:v>45537</c:v>
                </c:pt>
                <c:pt idx="50985">
                  <c:v>84135</c:v>
                </c:pt>
                <c:pt idx="50986">
                  <c:v>60893</c:v>
                </c:pt>
                <c:pt idx="50987">
                  <c:v>35256</c:v>
                </c:pt>
                <c:pt idx="50988">
                  <c:v>71398</c:v>
                </c:pt>
                <c:pt idx="50989">
                  <c:v>47412</c:v>
                </c:pt>
                <c:pt idx="50990">
                  <c:v>21708</c:v>
                </c:pt>
                <c:pt idx="50991">
                  <c:v>36481</c:v>
                </c:pt>
                <c:pt idx="50992">
                  <c:v>145505</c:v>
                </c:pt>
                <c:pt idx="50993">
                  <c:v>60689</c:v>
                </c:pt>
                <c:pt idx="50994">
                  <c:v>51055</c:v>
                </c:pt>
                <c:pt idx="50995">
                  <c:v>95103</c:v>
                </c:pt>
                <c:pt idx="50996">
                  <c:v>23621</c:v>
                </c:pt>
                <c:pt idx="50997">
                  <c:v>351452</c:v>
                </c:pt>
                <c:pt idx="50998">
                  <c:v>39810</c:v>
                </c:pt>
                <c:pt idx="50999">
                  <c:v>39496</c:v>
                </c:pt>
                <c:pt idx="51000">
                  <c:v>108853</c:v>
                </c:pt>
                <c:pt idx="51001">
                  <c:v>109933</c:v>
                </c:pt>
                <c:pt idx="51002">
                  <c:v>53342</c:v>
                </c:pt>
                <c:pt idx="51003">
                  <c:v>66970</c:v>
                </c:pt>
                <c:pt idx="51004">
                  <c:v>52770</c:v>
                </c:pt>
                <c:pt idx="51005">
                  <c:v>63942</c:v>
                </c:pt>
                <c:pt idx="51006">
                  <c:v>45184</c:v>
                </c:pt>
                <c:pt idx="51007">
                  <c:v>39779</c:v>
                </c:pt>
                <c:pt idx="51008">
                  <c:v>61860</c:v>
                </c:pt>
                <c:pt idx="51009">
                  <c:v>27149</c:v>
                </c:pt>
                <c:pt idx="51010">
                  <c:v>132668</c:v>
                </c:pt>
                <c:pt idx="51011">
                  <c:v>33212</c:v>
                </c:pt>
                <c:pt idx="51012">
                  <c:v>30730</c:v>
                </c:pt>
                <c:pt idx="51013">
                  <c:v>60955</c:v>
                </c:pt>
                <c:pt idx="51014">
                  <c:v>75099</c:v>
                </c:pt>
                <c:pt idx="51015">
                  <c:v>36281</c:v>
                </c:pt>
                <c:pt idx="51016">
                  <c:v>38084</c:v>
                </c:pt>
                <c:pt idx="51017">
                  <c:v>101799</c:v>
                </c:pt>
                <c:pt idx="51018">
                  <c:v>45811</c:v>
                </c:pt>
                <c:pt idx="51019">
                  <c:v>98806</c:v>
                </c:pt>
                <c:pt idx="51020">
                  <c:v>36827</c:v>
                </c:pt>
                <c:pt idx="51021">
                  <c:v>28698</c:v>
                </c:pt>
                <c:pt idx="51022">
                  <c:v>30203</c:v>
                </c:pt>
                <c:pt idx="51023">
                  <c:v>25018</c:v>
                </c:pt>
                <c:pt idx="51024">
                  <c:v>40949</c:v>
                </c:pt>
                <c:pt idx="51025">
                  <c:v>220952</c:v>
                </c:pt>
                <c:pt idx="51026">
                  <c:v>29870</c:v>
                </c:pt>
                <c:pt idx="51027">
                  <c:v>64289</c:v>
                </c:pt>
                <c:pt idx="51028">
                  <c:v>157467</c:v>
                </c:pt>
                <c:pt idx="51029">
                  <c:v>222931</c:v>
                </c:pt>
                <c:pt idx="51030">
                  <c:v>318415</c:v>
                </c:pt>
                <c:pt idx="51031">
                  <c:v>169304</c:v>
                </c:pt>
                <c:pt idx="51032">
                  <c:v>61784</c:v>
                </c:pt>
                <c:pt idx="51033">
                  <c:v>21717</c:v>
                </c:pt>
                <c:pt idx="51034">
                  <c:v>36434</c:v>
                </c:pt>
                <c:pt idx="51035">
                  <c:v>152599</c:v>
                </c:pt>
                <c:pt idx="51036">
                  <c:v>81142</c:v>
                </c:pt>
                <c:pt idx="51037">
                  <c:v>60364</c:v>
                </c:pt>
                <c:pt idx="51038">
                  <c:v>56901</c:v>
                </c:pt>
                <c:pt idx="51039">
                  <c:v>69094</c:v>
                </c:pt>
                <c:pt idx="51040">
                  <c:v>34581</c:v>
                </c:pt>
                <c:pt idx="51041">
                  <c:v>31261</c:v>
                </c:pt>
                <c:pt idx="51042">
                  <c:v>28776</c:v>
                </c:pt>
                <c:pt idx="51043">
                  <c:v>87978</c:v>
                </c:pt>
                <c:pt idx="51044">
                  <c:v>58815</c:v>
                </c:pt>
                <c:pt idx="51045">
                  <c:v>60358</c:v>
                </c:pt>
                <c:pt idx="51046">
                  <c:v>42974</c:v>
                </c:pt>
                <c:pt idx="51047">
                  <c:v>28212</c:v>
                </c:pt>
                <c:pt idx="51048">
                  <c:v>42887</c:v>
                </c:pt>
                <c:pt idx="51049">
                  <c:v>35856</c:v>
                </c:pt>
                <c:pt idx="51050">
                  <c:v>26024</c:v>
                </c:pt>
                <c:pt idx="51051">
                  <c:v>33000</c:v>
                </c:pt>
                <c:pt idx="51052">
                  <c:v>29325</c:v>
                </c:pt>
                <c:pt idx="51053">
                  <c:v>43970</c:v>
                </c:pt>
                <c:pt idx="51054">
                  <c:v>46221</c:v>
                </c:pt>
                <c:pt idx="51055">
                  <c:v>136859</c:v>
                </c:pt>
                <c:pt idx="51056">
                  <c:v>31351</c:v>
                </c:pt>
                <c:pt idx="51057">
                  <c:v>32781</c:v>
                </c:pt>
                <c:pt idx="51058">
                  <c:v>39280</c:v>
                </c:pt>
                <c:pt idx="51059">
                  <c:v>44321</c:v>
                </c:pt>
                <c:pt idx="51060">
                  <c:v>84606</c:v>
                </c:pt>
                <c:pt idx="51061">
                  <c:v>70733</c:v>
                </c:pt>
                <c:pt idx="51062">
                  <c:v>28896</c:v>
                </c:pt>
                <c:pt idx="51063">
                  <c:v>20609</c:v>
                </c:pt>
                <c:pt idx="51064">
                  <c:v>41941</c:v>
                </c:pt>
                <c:pt idx="51065">
                  <c:v>126570</c:v>
                </c:pt>
                <c:pt idx="51066">
                  <c:v>40568</c:v>
                </c:pt>
                <c:pt idx="51067">
                  <c:v>34610</c:v>
                </c:pt>
                <c:pt idx="51068">
                  <c:v>27970</c:v>
                </c:pt>
                <c:pt idx="51069">
                  <c:v>38761</c:v>
                </c:pt>
                <c:pt idx="51070">
                  <c:v>25452</c:v>
                </c:pt>
                <c:pt idx="51071">
                  <c:v>44885</c:v>
                </c:pt>
                <c:pt idx="51072">
                  <c:v>115338</c:v>
                </c:pt>
                <c:pt idx="51073">
                  <c:v>25263</c:v>
                </c:pt>
                <c:pt idx="51074">
                  <c:v>43672</c:v>
                </c:pt>
                <c:pt idx="51075">
                  <c:v>120019</c:v>
                </c:pt>
                <c:pt idx="51076">
                  <c:v>29194</c:v>
                </c:pt>
                <c:pt idx="51077">
                  <c:v>157712</c:v>
                </c:pt>
                <c:pt idx="51078">
                  <c:v>64070</c:v>
                </c:pt>
                <c:pt idx="51079">
                  <c:v>41456</c:v>
                </c:pt>
                <c:pt idx="51080">
                  <c:v>28333</c:v>
                </c:pt>
                <c:pt idx="51081">
                  <c:v>73481</c:v>
                </c:pt>
                <c:pt idx="51082">
                  <c:v>48630</c:v>
                </c:pt>
                <c:pt idx="51083">
                  <c:v>26517</c:v>
                </c:pt>
                <c:pt idx="51084">
                  <c:v>169861</c:v>
                </c:pt>
                <c:pt idx="51085">
                  <c:v>88293</c:v>
                </c:pt>
                <c:pt idx="51086">
                  <c:v>32223</c:v>
                </c:pt>
                <c:pt idx="51087">
                  <c:v>133072</c:v>
                </c:pt>
                <c:pt idx="51088">
                  <c:v>158667</c:v>
                </c:pt>
                <c:pt idx="51089">
                  <c:v>25981</c:v>
                </c:pt>
                <c:pt idx="51090">
                  <c:v>64625</c:v>
                </c:pt>
                <c:pt idx="51091">
                  <c:v>23801</c:v>
                </c:pt>
                <c:pt idx="51092">
                  <c:v>49972</c:v>
                </c:pt>
                <c:pt idx="51093">
                  <c:v>25094</c:v>
                </c:pt>
                <c:pt idx="51094">
                  <c:v>30512</c:v>
                </c:pt>
                <c:pt idx="51095">
                  <c:v>25077</c:v>
                </c:pt>
                <c:pt idx="51096">
                  <c:v>93656</c:v>
                </c:pt>
                <c:pt idx="51097">
                  <c:v>21214</c:v>
                </c:pt>
                <c:pt idx="51098">
                  <c:v>271512</c:v>
                </c:pt>
                <c:pt idx="51099">
                  <c:v>133462</c:v>
                </c:pt>
                <c:pt idx="51100">
                  <c:v>28194</c:v>
                </c:pt>
                <c:pt idx="51101">
                  <c:v>51036</c:v>
                </c:pt>
                <c:pt idx="51102">
                  <c:v>35314</c:v>
                </c:pt>
                <c:pt idx="51103">
                  <c:v>23718</c:v>
                </c:pt>
                <c:pt idx="51104">
                  <c:v>59116</c:v>
                </c:pt>
                <c:pt idx="51105">
                  <c:v>63967</c:v>
                </c:pt>
                <c:pt idx="51106">
                  <c:v>33170</c:v>
                </c:pt>
                <c:pt idx="51107">
                  <c:v>100356</c:v>
                </c:pt>
                <c:pt idx="51108">
                  <c:v>116059</c:v>
                </c:pt>
                <c:pt idx="51109">
                  <c:v>44023</c:v>
                </c:pt>
                <c:pt idx="51110">
                  <c:v>44066</c:v>
                </c:pt>
                <c:pt idx="51111">
                  <c:v>116713</c:v>
                </c:pt>
                <c:pt idx="51112">
                  <c:v>23202</c:v>
                </c:pt>
                <c:pt idx="51113">
                  <c:v>85235</c:v>
                </c:pt>
                <c:pt idx="51114">
                  <c:v>125185</c:v>
                </c:pt>
                <c:pt idx="51115">
                  <c:v>70225</c:v>
                </c:pt>
                <c:pt idx="51116">
                  <c:v>126889</c:v>
                </c:pt>
                <c:pt idx="51117">
                  <c:v>31040</c:v>
                </c:pt>
                <c:pt idx="51118">
                  <c:v>32776</c:v>
                </c:pt>
                <c:pt idx="51119">
                  <c:v>25828</c:v>
                </c:pt>
                <c:pt idx="51120">
                  <c:v>26408</c:v>
                </c:pt>
                <c:pt idx="51121">
                  <c:v>22034</c:v>
                </c:pt>
                <c:pt idx="51122">
                  <c:v>40476</c:v>
                </c:pt>
                <c:pt idx="51123">
                  <c:v>43720</c:v>
                </c:pt>
                <c:pt idx="51124">
                  <c:v>24685</c:v>
                </c:pt>
                <c:pt idx="51125">
                  <c:v>30655</c:v>
                </c:pt>
                <c:pt idx="51126">
                  <c:v>51913</c:v>
                </c:pt>
                <c:pt idx="51127">
                  <c:v>68338</c:v>
                </c:pt>
                <c:pt idx="51128">
                  <c:v>55198</c:v>
                </c:pt>
                <c:pt idx="51129">
                  <c:v>194298</c:v>
                </c:pt>
                <c:pt idx="51130">
                  <c:v>44618</c:v>
                </c:pt>
                <c:pt idx="51131">
                  <c:v>57879</c:v>
                </c:pt>
                <c:pt idx="51132">
                  <c:v>23282</c:v>
                </c:pt>
                <c:pt idx="51133">
                  <c:v>216841</c:v>
                </c:pt>
                <c:pt idx="51134">
                  <c:v>62746</c:v>
                </c:pt>
                <c:pt idx="51135">
                  <c:v>137977</c:v>
                </c:pt>
                <c:pt idx="51136">
                  <c:v>27263</c:v>
                </c:pt>
                <c:pt idx="51137">
                  <c:v>33921</c:v>
                </c:pt>
                <c:pt idx="51138">
                  <c:v>35602</c:v>
                </c:pt>
                <c:pt idx="51139">
                  <c:v>34100</c:v>
                </c:pt>
                <c:pt idx="51140">
                  <c:v>55329</c:v>
                </c:pt>
                <c:pt idx="51141">
                  <c:v>50376</c:v>
                </c:pt>
                <c:pt idx="51142">
                  <c:v>35073</c:v>
                </c:pt>
                <c:pt idx="51143">
                  <c:v>46075</c:v>
                </c:pt>
                <c:pt idx="51144">
                  <c:v>47249</c:v>
                </c:pt>
                <c:pt idx="51145">
                  <c:v>31037</c:v>
                </c:pt>
                <c:pt idx="51146">
                  <c:v>36030</c:v>
                </c:pt>
                <c:pt idx="51147">
                  <c:v>65995</c:v>
                </c:pt>
                <c:pt idx="51148">
                  <c:v>28518</c:v>
                </c:pt>
                <c:pt idx="51149">
                  <c:v>39771</c:v>
                </c:pt>
                <c:pt idx="51150">
                  <c:v>28291</c:v>
                </c:pt>
                <c:pt idx="51151">
                  <c:v>45861</c:v>
                </c:pt>
                <c:pt idx="51152">
                  <c:v>91740</c:v>
                </c:pt>
                <c:pt idx="51153">
                  <c:v>46165</c:v>
                </c:pt>
                <c:pt idx="51154">
                  <c:v>41804</c:v>
                </c:pt>
                <c:pt idx="51155">
                  <c:v>92708</c:v>
                </c:pt>
                <c:pt idx="51156">
                  <c:v>22339</c:v>
                </c:pt>
                <c:pt idx="51157">
                  <c:v>91350</c:v>
                </c:pt>
                <c:pt idx="51158">
                  <c:v>36773</c:v>
                </c:pt>
                <c:pt idx="51159">
                  <c:v>80652</c:v>
                </c:pt>
                <c:pt idx="51160">
                  <c:v>42041</c:v>
                </c:pt>
                <c:pt idx="51161">
                  <c:v>26597</c:v>
                </c:pt>
                <c:pt idx="51162">
                  <c:v>144809</c:v>
                </c:pt>
                <c:pt idx="51163">
                  <c:v>38323</c:v>
                </c:pt>
                <c:pt idx="51164">
                  <c:v>66897</c:v>
                </c:pt>
                <c:pt idx="51165">
                  <c:v>30841</c:v>
                </c:pt>
                <c:pt idx="51166">
                  <c:v>91931</c:v>
                </c:pt>
                <c:pt idx="51167">
                  <c:v>40332</c:v>
                </c:pt>
                <c:pt idx="51168">
                  <c:v>26038</c:v>
                </c:pt>
                <c:pt idx="51169">
                  <c:v>63144</c:v>
                </c:pt>
                <c:pt idx="51170">
                  <c:v>42377</c:v>
                </c:pt>
                <c:pt idx="51171">
                  <c:v>24787</c:v>
                </c:pt>
                <c:pt idx="51172">
                  <c:v>21848</c:v>
                </c:pt>
                <c:pt idx="51173">
                  <c:v>24011</c:v>
                </c:pt>
                <c:pt idx="51174">
                  <c:v>69280</c:v>
                </c:pt>
                <c:pt idx="51175">
                  <c:v>40235</c:v>
                </c:pt>
                <c:pt idx="51176">
                  <c:v>48506</c:v>
                </c:pt>
                <c:pt idx="51177">
                  <c:v>75444</c:v>
                </c:pt>
                <c:pt idx="51178">
                  <c:v>180780</c:v>
                </c:pt>
                <c:pt idx="51179">
                  <c:v>39657</c:v>
                </c:pt>
                <c:pt idx="51180">
                  <c:v>37289</c:v>
                </c:pt>
                <c:pt idx="51181">
                  <c:v>38026</c:v>
                </c:pt>
                <c:pt idx="51182">
                  <c:v>32882</c:v>
                </c:pt>
                <c:pt idx="51183">
                  <c:v>41920</c:v>
                </c:pt>
                <c:pt idx="51184">
                  <c:v>194863</c:v>
                </c:pt>
                <c:pt idx="51185">
                  <c:v>39816</c:v>
                </c:pt>
                <c:pt idx="51186">
                  <c:v>178930</c:v>
                </c:pt>
                <c:pt idx="51187">
                  <c:v>176944</c:v>
                </c:pt>
                <c:pt idx="51188">
                  <c:v>165144</c:v>
                </c:pt>
                <c:pt idx="51189">
                  <c:v>46176</c:v>
                </c:pt>
                <c:pt idx="51190">
                  <c:v>64601</c:v>
                </c:pt>
                <c:pt idx="51191">
                  <c:v>25938</c:v>
                </c:pt>
                <c:pt idx="51192">
                  <c:v>32961</c:v>
                </c:pt>
                <c:pt idx="51193">
                  <c:v>37865</c:v>
                </c:pt>
                <c:pt idx="51194">
                  <c:v>63941</c:v>
                </c:pt>
                <c:pt idx="51195">
                  <c:v>54650</c:v>
                </c:pt>
                <c:pt idx="51196">
                  <c:v>30306</c:v>
                </c:pt>
                <c:pt idx="51197">
                  <c:v>53215</c:v>
                </c:pt>
                <c:pt idx="51198">
                  <c:v>66093</c:v>
                </c:pt>
                <c:pt idx="51199">
                  <c:v>54720</c:v>
                </c:pt>
                <c:pt idx="51200">
                  <c:v>31979</c:v>
                </c:pt>
                <c:pt idx="51201">
                  <c:v>60112</c:v>
                </c:pt>
                <c:pt idx="51202">
                  <c:v>84839</c:v>
                </c:pt>
                <c:pt idx="51203">
                  <c:v>107055</c:v>
                </c:pt>
                <c:pt idx="51204">
                  <c:v>139084</c:v>
                </c:pt>
                <c:pt idx="51205">
                  <c:v>44260</c:v>
                </c:pt>
                <c:pt idx="51206">
                  <c:v>49706</c:v>
                </c:pt>
                <c:pt idx="51207">
                  <c:v>35308</c:v>
                </c:pt>
                <c:pt idx="51208">
                  <c:v>40772</c:v>
                </c:pt>
                <c:pt idx="51209">
                  <c:v>40888</c:v>
                </c:pt>
                <c:pt idx="51210">
                  <c:v>38133</c:v>
                </c:pt>
                <c:pt idx="51211">
                  <c:v>43863</c:v>
                </c:pt>
                <c:pt idx="51212">
                  <c:v>29925</c:v>
                </c:pt>
                <c:pt idx="51213">
                  <c:v>50206</c:v>
                </c:pt>
                <c:pt idx="51214">
                  <c:v>22662</c:v>
                </c:pt>
                <c:pt idx="51215">
                  <c:v>45383</c:v>
                </c:pt>
                <c:pt idx="51216">
                  <c:v>69824</c:v>
                </c:pt>
                <c:pt idx="51217">
                  <c:v>37912</c:v>
                </c:pt>
                <c:pt idx="51218">
                  <c:v>30372</c:v>
                </c:pt>
                <c:pt idx="51219">
                  <c:v>29811</c:v>
                </c:pt>
                <c:pt idx="51220">
                  <c:v>41896</c:v>
                </c:pt>
                <c:pt idx="51221">
                  <c:v>40774</c:v>
                </c:pt>
                <c:pt idx="51222">
                  <c:v>15000</c:v>
                </c:pt>
                <c:pt idx="51223">
                  <c:v>53298</c:v>
                </c:pt>
                <c:pt idx="51224">
                  <c:v>71402</c:v>
                </c:pt>
                <c:pt idx="51225">
                  <c:v>46354</c:v>
                </c:pt>
                <c:pt idx="51226">
                  <c:v>42475</c:v>
                </c:pt>
                <c:pt idx="51227">
                  <c:v>43435</c:v>
                </c:pt>
                <c:pt idx="51228">
                  <c:v>79291</c:v>
                </c:pt>
                <c:pt idx="51229">
                  <c:v>124173</c:v>
                </c:pt>
                <c:pt idx="51230">
                  <c:v>49942</c:v>
                </c:pt>
                <c:pt idx="51231">
                  <c:v>38525</c:v>
                </c:pt>
                <c:pt idx="51232">
                  <c:v>88029</c:v>
                </c:pt>
                <c:pt idx="51233">
                  <c:v>52453</c:v>
                </c:pt>
                <c:pt idx="51234">
                  <c:v>25592</c:v>
                </c:pt>
                <c:pt idx="51235">
                  <c:v>22904</c:v>
                </c:pt>
                <c:pt idx="51236">
                  <c:v>42863</c:v>
                </c:pt>
                <c:pt idx="51237">
                  <c:v>63445</c:v>
                </c:pt>
                <c:pt idx="51238">
                  <c:v>139936</c:v>
                </c:pt>
                <c:pt idx="51239">
                  <c:v>33340</c:v>
                </c:pt>
                <c:pt idx="51240">
                  <c:v>33182</c:v>
                </c:pt>
                <c:pt idx="51241">
                  <c:v>36703</c:v>
                </c:pt>
                <c:pt idx="51242">
                  <c:v>22757</c:v>
                </c:pt>
                <c:pt idx="51243">
                  <c:v>195323</c:v>
                </c:pt>
                <c:pt idx="51244">
                  <c:v>102610</c:v>
                </c:pt>
                <c:pt idx="51245">
                  <c:v>26598</c:v>
                </c:pt>
                <c:pt idx="51246">
                  <c:v>34364</c:v>
                </c:pt>
                <c:pt idx="51247">
                  <c:v>28859</c:v>
                </c:pt>
                <c:pt idx="51248">
                  <c:v>87604</c:v>
                </c:pt>
                <c:pt idx="51249">
                  <c:v>30022</c:v>
                </c:pt>
                <c:pt idx="51250">
                  <c:v>102892</c:v>
                </c:pt>
                <c:pt idx="51251">
                  <c:v>40808</c:v>
                </c:pt>
                <c:pt idx="51252">
                  <c:v>38683</c:v>
                </c:pt>
                <c:pt idx="51253">
                  <c:v>54067</c:v>
                </c:pt>
                <c:pt idx="51254">
                  <c:v>46157</c:v>
                </c:pt>
                <c:pt idx="51255">
                  <c:v>23909</c:v>
                </c:pt>
                <c:pt idx="51256">
                  <c:v>268987</c:v>
                </c:pt>
                <c:pt idx="51257">
                  <c:v>82269</c:v>
                </c:pt>
                <c:pt idx="51258">
                  <c:v>32322</c:v>
                </c:pt>
                <c:pt idx="51259">
                  <c:v>49961</c:v>
                </c:pt>
                <c:pt idx="51260">
                  <c:v>41554</c:v>
                </c:pt>
                <c:pt idx="51261">
                  <c:v>42000</c:v>
                </c:pt>
                <c:pt idx="51262">
                  <c:v>60022</c:v>
                </c:pt>
                <c:pt idx="51263">
                  <c:v>47278</c:v>
                </c:pt>
                <c:pt idx="51264">
                  <c:v>101371</c:v>
                </c:pt>
                <c:pt idx="51265">
                  <c:v>30409</c:v>
                </c:pt>
                <c:pt idx="51266">
                  <c:v>28745</c:v>
                </c:pt>
                <c:pt idx="51267">
                  <c:v>29844</c:v>
                </c:pt>
                <c:pt idx="51268">
                  <c:v>43818</c:v>
                </c:pt>
                <c:pt idx="51269">
                  <c:v>26755</c:v>
                </c:pt>
                <c:pt idx="51270">
                  <c:v>58780</c:v>
                </c:pt>
                <c:pt idx="51271">
                  <c:v>27293</c:v>
                </c:pt>
                <c:pt idx="51272">
                  <c:v>34048</c:v>
                </c:pt>
                <c:pt idx="51273">
                  <c:v>105285</c:v>
                </c:pt>
                <c:pt idx="51274">
                  <c:v>36650</c:v>
                </c:pt>
                <c:pt idx="51275">
                  <c:v>29768</c:v>
                </c:pt>
                <c:pt idx="51276">
                  <c:v>51374</c:v>
                </c:pt>
                <c:pt idx="51277">
                  <c:v>69195</c:v>
                </c:pt>
                <c:pt idx="51278">
                  <c:v>32089</c:v>
                </c:pt>
                <c:pt idx="51279">
                  <c:v>32038</c:v>
                </c:pt>
                <c:pt idx="51280">
                  <c:v>52927</c:v>
                </c:pt>
                <c:pt idx="51281">
                  <c:v>26447</c:v>
                </c:pt>
                <c:pt idx="51282">
                  <c:v>80514</c:v>
                </c:pt>
                <c:pt idx="51283">
                  <c:v>40413</c:v>
                </c:pt>
                <c:pt idx="51284">
                  <c:v>146752</c:v>
                </c:pt>
                <c:pt idx="51285">
                  <c:v>144967</c:v>
                </c:pt>
                <c:pt idx="51286">
                  <c:v>40123</c:v>
                </c:pt>
                <c:pt idx="51287">
                  <c:v>60746</c:v>
                </c:pt>
                <c:pt idx="51288">
                  <c:v>23946</c:v>
                </c:pt>
                <c:pt idx="51289">
                  <c:v>72330</c:v>
                </c:pt>
                <c:pt idx="51290">
                  <c:v>51380</c:v>
                </c:pt>
                <c:pt idx="51291">
                  <c:v>52288</c:v>
                </c:pt>
                <c:pt idx="51292">
                  <c:v>59723</c:v>
                </c:pt>
                <c:pt idx="51293">
                  <c:v>22948</c:v>
                </c:pt>
                <c:pt idx="51294">
                  <c:v>29458</c:v>
                </c:pt>
                <c:pt idx="51295">
                  <c:v>28574</c:v>
                </c:pt>
                <c:pt idx="51296">
                  <c:v>35317</c:v>
                </c:pt>
                <c:pt idx="51297">
                  <c:v>31599</c:v>
                </c:pt>
                <c:pt idx="51298">
                  <c:v>37100</c:v>
                </c:pt>
                <c:pt idx="51299">
                  <c:v>117019</c:v>
                </c:pt>
                <c:pt idx="51300">
                  <c:v>55945</c:v>
                </c:pt>
                <c:pt idx="51301">
                  <c:v>34739</c:v>
                </c:pt>
                <c:pt idx="51302">
                  <c:v>41057</c:v>
                </c:pt>
                <c:pt idx="51303">
                  <c:v>36603</c:v>
                </c:pt>
                <c:pt idx="51304">
                  <c:v>72139</c:v>
                </c:pt>
                <c:pt idx="51305">
                  <c:v>38242</c:v>
                </c:pt>
                <c:pt idx="51306">
                  <c:v>30451</c:v>
                </c:pt>
                <c:pt idx="51307">
                  <c:v>50961</c:v>
                </c:pt>
                <c:pt idx="51308">
                  <c:v>27374</c:v>
                </c:pt>
                <c:pt idx="51309">
                  <c:v>51269</c:v>
                </c:pt>
                <c:pt idx="51310">
                  <c:v>24432</c:v>
                </c:pt>
                <c:pt idx="51311">
                  <c:v>80399</c:v>
                </c:pt>
                <c:pt idx="51312">
                  <c:v>124434</c:v>
                </c:pt>
                <c:pt idx="51313">
                  <c:v>39057</c:v>
                </c:pt>
                <c:pt idx="51314">
                  <c:v>142437</c:v>
                </c:pt>
                <c:pt idx="51315">
                  <c:v>29844</c:v>
                </c:pt>
                <c:pt idx="51316">
                  <c:v>31213</c:v>
                </c:pt>
                <c:pt idx="51317">
                  <c:v>60380</c:v>
                </c:pt>
                <c:pt idx="51318">
                  <c:v>43390</c:v>
                </c:pt>
                <c:pt idx="51319">
                  <c:v>105388</c:v>
                </c:pt>
                <c:pt idx="51320">
                  <c:v>39801</c:v>
                </c:pt>
                <c:pt idx="51321">
                  <c:v>117283</c:v>
                </c:pt>
                <c:pt idx="51322">
                  <c:v>21819</c:v>
                </c:pt>
                <c:pt idx="51323">
                  <c:v>141859</c:v>
                </c:pt>
                <c:pt idx="51324">
                  <c:v>64876</c:v>
                </c:pt>
                <c:pt idx="51325">
                  <c:v>61154</c:v>
                </c:pt>
                <c:pt idx="51326">
                  <c:v>22826</c:v>
                </c:pt>
                <c:pt idx="51327">
                  <c:v>90286</c:v>
                </c:pt>
                <c:pt idx="51328">
                  <c:v>93383</c:v>
                </c:pt>
                <c:pt idx="51329">
                  <c:v>41053</c:v>
                </c:pt>
                <c:pt idx="51330">
                  <c:v>50721</c:v>
                </c:pt>
                <c:pt idx="51331">
                  <c:v>33311</c:v>
                </c:pt>
                <c:pt idx="51332">
                  <c:v>43417</c:v>
                </c:pt>
                <c:pt idx="51333">
                  <c:v>46190</c:v>
                </c:pt>
                <c:pt idx="51334">
                  <c:v>45117</c:v>
                </c:pt>
                <c:pt idx="51335">
                  <c:v>38682</c:v>
                </c:pt>
                <c:pt idx="51336">
                  <c:v>71856</c:v>
                </c:pt>
                <c:pt idx="51337">
                  <c:v>139551</c:v>
                </c:pt>
                <c:pt idx="51338">
                  <c:v>30180</c:v>
                </c:pt>
                <c:pt idx="51339">
                  <c:v>64347</c:v>
                </c:pt>
                <c:pt idx="51340">
                  <c:v>90051</c:v>
                </c:pt>
                <c:pt idx="51341">
                  <c:v>46021</c:v>
                </c:pt>
                <c:pt idx="51342">
                  <c:v>27549</c:v>
                </c:pt>
                <c:pt idx="51343">
                  <c:v>38632</c:v>
                </c:pt>
                <c:pt idx="51344">
                  <c:v>37223</c:v>
                </c:pt>
                <c:pt idx="51345">
                  <c:v>72110</c:v>
                </c:pt>
                <c:pt idx="51346">
                  <c:v>43113</c:v>
                </c:pt>
                <c:pt idx="51347">
                  <c:v>90201</c:v>
                </c:pt>
                <c:pt idx="51348">
                  <c:v>41446</c:v>
                </c:pt>
                <c:pt idx="51349">
                  <c:v>56714</c:v>
                </c:pt>
                <c:pt idx="51350">
                  <c:v>64533</c:v>
                </c:pt>
                <c:pt idx="51351">
                  <c:v>23182</c:v>
                </c:pt>
                <c:pt idx="51352">
                  <c:v>34842</c:v>
                </c:pt>
                <c:pt idx="51353">
                  <c:v>179588</c:v>
                </c:pt>
                <c:pt idx="51354">
                  <c:v>128742</c:v>
                </c:pt>
                <c:pt idx="51355">
                  <c:v>23276</c:v>
                </c:pt>
                <c:pt idx="51356">
                  <c:v>64665</c:v>
                </c:pt>
                <c:pt idx="51357">
                  <c:v>37759</c:v>
                </c:pt>
                <c:pt idx="51358">
                  <c:v>41211</c:v>
                </c:pt>
                <c:pt idx="51359">
                  <c:v>44634</c:v>
                </c:pt>
                <c:pt idx="51360">
                  <c:v>32183</c:v>
                </c:pt>
                <c:pt idx="51361">
                  <c:v>78097</c:v>
                </c:pt>
                <c:pt idx="51362">
                  <c:v>154742</c:v>
                </c:pt>
                <c:pt idx="51363">
                  <c:v>154414</c:v>
                </c:pt>
                <c:pt idx="51364">
                  <c:v>31531</c:v>
                </c:pt>
                <c:pt idx="51365">
                  <c:v>65875</c:v>
                </c:pt>
                <c:pt idx="51366">
                  <c:v>97104</c:v>
                </c:pt>
                <c:pt idx="51367">
                  <c:v>22168</c:v>
                </c:pt>
                <c:pt idx="51368">
                  <c:v>41641</c:v>
                </c:pt>
                <c:pt idx="51369">
                  <c:v>53330</c:v>
                </c:pt>
                <c:pt idx="51370">
                  <c:v>110381</c:v>
                </c:pt>
                <c:pt idx="51371">
                  <c:v>44199</c:v>
                </c:pt>
                <c:pt idx="51372">
                  <c:v>87253</c:v>
                </c:pt>
                <c:pt idx="51373">
                  <c:v>181946</c:v>
                </c:pt>
                <c:pt idx="51374">
                  <c:v>46476</c:v>
                </c:pt>
                <c:pt idx="51375">
                  <c:v>67045</c:v>
                </c:pt>
                <c:pt idx="51376">
                  <c:v>37849</c:v>
                </c:pt>
                <c:pt idx="51377">
                  <c:v>42394</c:v>
                </c:pt>
                <c:pt idx="51378">
                  <c:v>104493</c:v>
                </c:pt>
                <c:pt idx="51379">
                  <c:v>67250</c:v>
                </c:pt>
                <c:pt idx="51380">
                  <c:v>106040</c:v>
                </c:pt>
                <c:pt idx="51381">
                  <c:v>64062</c:v>
                </c:pt>
                <c:pt idx="51382">
                  <c:v>42153</c:v>
                </c:pt>
                <c:pt idx="51383">
                  <c:v>41145</c:v>
                </c:pt>
                <c:pt idx="51384">
                  <c:v>22799</c:v>
                </c:pt>
                <c:pt idx="51385">
                  <c:v>35687</c:v>
                </c:pt>
                <c:pt idx="51386">
                  <c:v>27873</c:v>
                </c:pt>
                <c:pt idx="51387">
                  <c:v>32054</c:v>
                </c:pt>
                <c:pt idx="51388">
                  <c:v>31637</c:v>
                </c:pt>
                <c:pt idx="51389">
                  <c:v>37043</c:v>
                </c:pt>
                <c:pt idx="51390">
                  <c:v>40413</c:v>
                </c:pt>
                <c:pt idx="51391">
                  <c:v>59760</c:v>
                </c:pt>
                <c:pt idx="51392">
                  <c:v>40463</c:v>
                </c:pt>
                <c:pt idx="51393">
                  <c:v>35496</c:v>
                </c:pt>
                <c:pt idx="51394">
                  <c:v>33407</c:v>
                </c:pt>
                <c:pt idx="51395">
                  <c:v>75322</c:v>
                </c:pt>
                <c:pt idx="51396">
                  <c:v>42675</c:v>
                </c:pt>
                <c:pt idx="51397">
                  <c:v>32845</c:v>
                </c:pt>
                <c:pt idx="51398">
                  <c:v>43815</c:v>
                </c:pt>
                <c:pt idx="51399">
                  <c:v>37805</c:v>
                </c:pt>
                <c:pt idx="51400">
                  <c:v>50219</c:v>
                </c:pt>
                <c:pt idx="51401">
                  <c:v>59733</c:v>
                </c:pt>
                <c:pt idx="51402">
                  <c:v>72800</c:v>
                </c:pt>
                <c:pt idx="51403">
                  <c:v>96978</c:v>
                </c:pt>
                <c:pt idx="51404">
                  <c:v>81562</c:v>
                </c:pt>
                <c:pt idx="51405">
                  <c:v>53774</c:v>
                </c:pt>
                <c:pt idx="51406">
                  <c:v>110360</c:v>
                </c:pt>
                <c:pt idx="51407">
                  <c:v>36070</c:v>
                </c:pt>
                <c:pt idx="51408">
                  <c:v>59996</c:v>
                </c:pt>
                <c:pt idx="51409">
                  <c:v>89141</c:v>
                </c:pt>
                <c:pt idx="51410">
                  <c:v>43995</c:v>
                </c:pt>
                <c:pt idx="51411">
                  <c:v>34474</c:v>
                </c:pt>
                <c:pt idx="51412">
                  <c:v>33858</c:v>
                </c:pt>
                <c:pt idx="51413">
                  <c:v>42198</c:v>
                </c:pt>
                <c:pt idx="51414">
                  <c:v>31477</c:v>
                </c:pt>
                <c:pt idx="51415">
                  <c:v>30248</c:v>
                </c:pt>
                <c:pt idx="51416">
                  <c:v>23313</c:v>
                </c:pt>
                <c:pt idx="51417">
                  <c:v>36780</c:v>
                </c:pt>
                <c:pt idx="51418">
                  <c:v>154045</c:v>
                </c:pt>
                <c:pt idx="51419">
                  <c:v>48633</c:v>
                </c:pt>
                <c:pt idx="51420">
                  <c:v>30648</c:v>
                </c:pt>
                <c:pt idx="51421">
                  <c:v>47132</c:v>
                </c:pt>
                <c:pt idx="51422">
                  <c:v>24344</c:v>
                </c:pt>
                <c:pt idx="51423">
                  <c:v>35986</c:v>
                </c:pt>
                <c:pt idx="51424">
                  <c:v>33019</c:v>
                </c:pt>
                <c:pt idx="51425">
                  <c:v>48583</c:v>
                </c:pt>
                <c:pt idx="51426">
                  <c:v>58455</c:v>
                </c:pt>
                <c:pt idx="51427">
                  <c:v>56321</c:v>
                </c:pt>
                <c:pt idx="51428">
                  <c:v>36788</c:v>
                </c:pt>
                <c:pt idx="51429">
                  <c:v>48622</c:v>
                </c:pt>
                <c:pt idx="51430">
                  <c:v>98333</c:v>
                </c:pt>
                <c:pt idx="51431">
                  <c:v>29600</c:v>
                </c:pt>
                <c:pt idx="51432">
                  <c:v>84929</c:v>
                </c:pt>
                <c:pt idx="51433">
                  <c:v>46079</c:v>
                </c:pt>
                <c:pt idx="51434">
                  <c:v>43760</c:v>
                </c:pt>
                <c:pt idx="51435">
                  <c:v>77618</c:v>
                </c:pt>
                <c:pt idx="51436">
                  <c:v>41175</c:v>
                </c:pt>
                <c:pt idx="51437">
                  <c:v>39870</c:v>
                </c:pt>
                <c:pt idx="51438">
                  <c:v>49224</c:v>
                </c:pt>
                <c:pt idx="51439">
                  <c:v>115936</c:v>
                </c:pt>
                <c:pt idx="51440">
                  <c:v>44181</c:v>
                </c:pt>
                <c:pt idx="51441">
                  <c:v>48901</c:v>
                </c:pt>
                <c:pt idx="51442">
                  <c:v>225684</c:v>
                </c:pt>
                <c:pt idx="51443">
                  <c:v>72867</c:v>
                </c:pt>
                <c:pt idx="51444">
                  <c:v>34788</c:v>
                </c:pt>
                <c:pt idx="51445">
                  <c:v>41349</c:v>
                </c:pt>
                <c:pt idx="51446">
                  <c:v>34843</c:v>
                </c:pt>
                <c:pt idx="51447">
                  <c:v>47471</c:v>
                </c:pt>
                <c:pt idx="51448">
                  <c:v>248871</c:v>
                </c:pt>
                <c:pt idx="51449">
                  <c:v>96915</c:v>
                </c:pt>
                <c:pt idx="51450">
                  <c:v>26082</c:v>
                </c:pt>
                <c:pt idx="51451">
                  <c:v>86162</c:v>
                </c:pt>
                <c:pt idx="51452">
                  <c:v>62191</c:v>
                </c:pt>
                <c:pt idx="51453">
                  <c:v>81407</c:v>
                </c:pt>
                <c:pt idx="51454">
                  <c:v>102034</c:v>
                </c:pt>
                <c:pt idx="51455">
                  <c:v>38260</c:v>
                </c:pt>
                <c:pt idx="51456">
                  <c:v>37559</c:v>
                </c:pt>
                <c:pt idx="51457">
                  <c:v>27070</c:v>
                </c:pt>
                <c:pt idx="51458">
                  <c:v>34445</c:v>
                </c:pt>
                <c:pt idx="51459">
                  <c:v>21839</c:v>
                </c:pt>
                <c:pt idx="51460">
                  <c:v>186028</c:v>
                </c:pt>
                <c:pt idx="51461">
                  <c:v>37989</c:v>
                </c:pt>
                <c:pt idx="51462">
                  <c:v>126416</c:v>
                </c:pt>
                <c:pt idx="51463">
                  <c:v>66986</c:v>
                </c:pt>
                <c:pt idx="51464">
                  <c:v>45664</c:v>
                </c:pt>
                <c:pt idx="51465">
                  <c:v>35463</c:v>
                </c:pt>
                <c:pt idx="51466">
                  <c:v>30718</c:v>
                </c:pt>
                <c:pt idx="51467">
                  <c:v>40063</c:v>
                </c:pt>
                <c:pt idx="51468">
                  <c:v>26525</c:v>
                </c:pt>
                <c:pt idx="51469">
                  <c:v>42039</c:v>
                </c:pt>
                <c:pt idx="51470">
                  <c:v>41151</c:v>
                </c:pt>
                <c:pt idx="51471">
                  <c:v>37022</c:v>
                </c:pt>
                <c:pt idx="51472">
                  <c:v>27614</c:v>
                </c:pt>
                <c:pt idx="51473">
                  <c:v>38624</c:v>
                </c:pt>
                <c:pt idx="51474">
                  <c:v>30650</c:v>
                </c:pt>
                <c:pt idx="51475">
                  <c:v>46153</c:v>
                </c:pt>
                <c:pt idx="51476">
                  <c:v>91687</c:v>
                </c:pt>
                <c:pt idx="51477">
                  <c:v>30175</c:v>
                </c:pt>
                <c:pt idx="51478">
                  <c:v>47937</c:v>
                </c:pt>
                <c:pt idx="51479">
                  <c:v>23756</c:v>
                </c:pt>
                <c:pt idx="51480">
                  <c:v>37697</c:v>
                </c:pt>
                <c:pt idx="51481">
                  <c:v>50550</c:v>
                </c:pt>
                <c:pt idx="51482">
                  <c:v>38780</c:v>
                </c:pt>
                <c:pt idx="51483">
                  <c:v>45645</c:v>
                </c:pt>
                <c:pt idx="51484">
                  <c:v>149308</c:v>
                </c:pt>
                <c:pt idx="51485">
                  <c:v>33912</c:v>
                </c:pt>
                <c:pt idx="51486">
                  <c:v>25440</c:v>
                </c:pt>
                <c:pt idx="51487">
                  <c:v>42759</c:v>
                </c:pt>
                <c:pt idx="51488">
                  <c:v>51094</c:v>
                </c:pt>
                <c:pt idx="51489">
                  <c:v>183023</c:v>
                </c:pt>
                <c:pt idx="51490">
                  <c:v>30978</c:v>
                </c:pt>
                <c:pt idx="51491">
                  <c:v>126635</c:v>
                </c:pt>
                <c:pt idx="51492">
                  <c:v>55754</c:v>
                </c:pt>
                <c:pt idx="51493">
                  <c:v>50808</c:v>
                </c:pt>
                <c:pt idx="51494">
                  <c:v>80984</c:v>
                </c:pt>
                <c:pt idx="51495">
                  <c:v>42123</c:v>
                </c:pt>
                <c:pt idx="51496">
                  <c:v>58535</c:v>
                </c:pt>
                <c:pt idx="51497">
                  <c:v>39041</c:v>
                </c:pt>
                <c:pt idx="51498">
                  <c:v>39695</c:v>
                </c:pt>
                <c:pt idx="51499">
                  <c:v>44625</c:v>
                </c:pt>
                <c:pt idx="51500">
                  <c:v>77800</c:v>
                </c:pt>
                <c:pt idx="51501">
                  <c:v>44889</c:v>
                </c:pt>
                <c:pt idx="51502">
                  <c:v>32240</c:v>
                </c:pt>
                <c:pt idx="51503">
                  <c:v>63363</c:v>
                </c:pt>
                <c:pt idx="51504">
                  <c:v>45258</c:v>
                </c:pt>
                <c:pt idx="51505">
                  <c:v>42302</c:v>
                </c:pt>
                <c:pt idx="51506">
                  <c:v>139861</c:v>
                </c:pt>
                <c:pt idx="51507">
                  <c:v>46627</c:v>
                </c:pt>
                <c:pt idx="51508">
                  <c:v>98095</c:v>
                </c:pt>
                <c:pt idx="51509">
                  <c:v>48033</c:v>
                </c:pt>
                <c:pt idx="51510">
                  <c:v>39500</c:v>
                </c:pt>
                <c:pt idx="51511">
                  <c:v>78050</c:v>
                </c:pt>
                <c:pt idx="51512">
                  <c:v>74569</c:v>
                </c:pt>
                <c:pt idx="51513">
                  <c:v>41042</c:v>
                </c:pt>
                <c:pt idx="51514">
                  <c:v>41332</c:v>
                </c:pt>
                <c:pt idx="51515">
                  <c:v>33999</c:v>
                </c:pt>
                <c:pt idx="51516">
                  <c:v>28990</c:v>
                </c:pt>
                <c:pt idx="51517">
                  <c:v>37017</c:v>
                </c:pt>
                <c:pt idx="51518">
                  <c:v>43011</c:v>
                </c:pt>
                <c:pt idx="51519">
                  <c:v>80777</c:v>
                </c:pt>
                <c:pt idx="51520">
                  <c:v>111570</c:v>
                </c:pt>
                <c:pt idx="51521">
                  <c:v>201912</c:v>
                </c:pt>
                <c:pt idx="51522">
                  <c:v>48514</c:v>
                </c:pt>
                <c:pt idx="51523">
                  <c:v>80304</c:v>
                </c:pt>
                <c:pt idx="51524">
                  <c:v>24804</c:v>
                </c:pt>
                <c:pt idx="51525">
                  <c:v>26418</c:v>
                </c:pt>
                <c:pt idx="51526">
                  <c:v>162935</c:v>
                </c:pt>
                <c:pt idx="51527">
                  <c:v>23423</c:v>
                </c:pt>
                <c:pt idx="51528">
                  <c:v>53325</c:v>
                </c:pt>
                <c:pt idx="51529">
                  <c:v>29401</c:v>
                </c:pt>
                <c:pt idx="51530">
                  <c:v>31685</c:v>
                </c:pt>
                <c:pt idx="51531">
                  <c:v>35573</c:v>
                </c:pt>
                <c:pt idx="51532">
                  <c:v>137458</c:v>
                </c:pt>
                <c:pt idx="51533">
                  <c:v>23939</c:v>
                </c:pt>
                <c:pt idx="51534">
                  <c:v>15000</c:v>
                </c:pt>
                <c:pt idx="51535">
                  <c:v>75765</c:v>
                </c:pt>
                <c:pt idx="51536">
                  <c:v>27220</c:v>
                </c:pt>
                <c:pt idx="51537">
                  <c:v>39260</c:v>
                </c:pt>
                <c:pt idx="51538">
                  <c:v>32749</c:v>
                </c:pt>
                <c:pt idx="51539">
                  <c:v>34716</c:v>
                </c:pt>
                <c:pt idx="51540">
                  <c:v>23185</c:v>
                </c:pt>
                <c:pt idx="51541">
                  <c:v>52224</c:v>
                </c:pt>
                <c:pt idx="51542">
                  <c:v>33471</c:v>
                </c:pt>
                <c:pt idx="51543">
                  <c:v>50813</c:v>
                </c:pt>
                <c:pt idx="51544">
                  <c:v>39908</c:v>
                </c:pt>
                <c:pt idx="51545">
                  <c:v>31892</c:v>
                </c:pt>
                <c:pt idx="51546">
                  <c:v>66022</c:v>
                </c:pt>
                <c:pt idx="51547">
                  <c:v>59955</c:v>
                </c:pt>
                <c:pt idx="51548">
                  <c:v>35312</c:v>
                </c:pt>
                <c:pt idx="51549">
                  <c:v>52965</c:v>
                </c:pt>
                <c:pt idx="51550">
                  <c:v>42160</c:v>
                </c:pt>
                <c:pt idx="51551">
                  <c:v>63832</c:v>
                </c:pt>
                <c:pt idx="51552">
                  <c:v>24107</c:v>
                </c:pt>
                <c:pt idx="51553">
                  <c:v>33033</c:v>
                </c:pt>
                <c:pt idx="51554">
                  <c:v>44869</c:v>
                </c:pt>
                <c:pt idx="51555">
                  <c:v>30559</c:v>
                </c:pt>
                <c:pt idx="51556">
                  <c:v>29560</c:v>
                </c:pt>
                <c:pt idx="51557">
                  <c:v>329468</c:v>
                </c:pt>
                <c:pt idx="51558">
                  <c:v>99959</c:v>
                </c:pt>
                <c:pt idx="51559">
                  <c:v>31040</c:v>
                </c:pt>
                <c:pt idx="51560">
                  <c:v>43274</c:v>
                </c:pt>
                <c:pt idx="51561">
                  <c:v>51645</c:v>
                </c:pt>
                <c:pt idx="51562">
                  <c:v>108845</c:v>
                </c:pt>
                <c:pt idx="51563">
                  <c:v>42074</c:v>
                </c:pt>
                <c:pt idx="51564">
                  <c:v>35389</c:v>
                </c:pt>
                <c:pt idx="51565">
                  <c:v>31158</c:v>
                </c:pt>
                <c:pt idx="51566">
                  <c:v>40927</c:v>
                </c:pt>
                <c:pt idx="51567">
                  <c:v>70144</c:v>
                </c:pt>
                <c:pt idx="51568">
                  <c:v>38964</c:v>
                </c:pt>
                <c:pt idx="51569">
                  <c:v>45567</c:v>
                </c:pt>
                <c:pt idx="51570">
                  <c:v>103444</c:v>
                </c:pt>
                <c:pt idx="51571">
                  <c:v>22573</c:v>
                </c:pt>
                <c:pt idx="51572">
                  <c:v>45314</c:v>
                </c:pt>
                <c:pt idx="51573">
                  <c:v>32611</c:v>
                </c:pt>
                <c:pt idx="51574">
                  <c:v>43627</c:v>
                </c:pt>
                <c:pt idx="51575">
                  <c:v>50704</c:v>
                </c:pt>
                <c:pt idx="51576">
                  <c:v>45022</c:v>
                </c:pt>
                <c:pt idx="51577">
                  <c:v>29178</c:v>
                </c:pt>
                <c:pt idx="51578">
                  <c:v>94407</c:v>
                </c:pt>
                <c:pt idx="51579">
                  <c:v>43793</c:v>
                </c:pt>
                <c:pt idx="51580">
                  <c:v>42100</c:v>
                </c:pt>
                <c:pt idx="51581">
                  <c:v>47396</c:v>
                </c:pt>
                <c:pt idx="51582">
                  <c:v>45843</c:v>
                </c:pt>
                <c:pt idx="51583">
                  <c:v>201248</c:v>
                </c:pt>
                <c:pt idx="51584">
                  <c:v>31705</c:v>
                </c:pt>
                <c:pt idx="51585">
                  <c:v>35123</c:v>
                </c:pt>
                <c:pt idx="51586">
                  <c:v>64094</c:v>
                </c:pt>
                <c:pt idx="51587">
                  <c:v>145586</c:v>
                </c:pt>
                <c:pt idx="51588">
                  <c:v>213161</c:v>
                </c:pt>
                <c:pt idx="51589">
                  <c:v>67101</c:v>
                </c:pt>
                <c:pt idx="51590">
                  <c:v>90074</c:v>
                </c:pt>
                <c:pt idx="51591">
                  <c:v>130941</c:v>
                </c:pt>
                <c:pt idx="51592">
                  <c:v>31063</c:v>
                </c:pt>
                <c:pt idx="51593">
                  <c:v>81274</c:v>
                </c:pt>
                <c:pt idx="51594">
                  <c:v>34109</c:v>
                </c:pt>
                <c:pt idx="51595">
                  <c:v>43384</c:v>
                </c:pt>
                <c:pt idx="51596">
                  <c:v>38879</c:v>
                </c:pt>
                <c:pt idx="51597">
                  <c:v>41099</c:v>
                </c:pt>
                <c:pt idx="51598">
                  <c:v>127775</c:v>
                </c:pt>
                <c:pt idx="51599">
                  <c:v>98901</c:v>
                </c:pt>
                <c:pt idx="51600">
                  <c:v>41104</c:v>
                </c:pt>
                <c:pt idx="51601">
                  <c:v>62449</c:v>
                </c:pt>
                <c:pt idx="51602">
                  <c:v>57761</c:v>
                </c:pt>
                <c:pt idx="51603">
                  <c:v>42161</c:v>
                </c:pt>
                <c:pt idx="51604">
                  <c:v>153125</c:v>
                </c:pt>
                <c:pt idx="51605">
                  <c:v>40012</c:v>
                </c:pt>
                <c:pt idx="51606">
                  <c:v>32752</c:v>
                </c:pt>
                <c:pt idx="51607">
                  <c:v>226094</c:v>
                </c:pt>
                <c:pt idx="51608">
                  <c:v>38579</c:v>
                </c:pt>
                <c:pt idx="51609">
                  <c:v>25951</c:v>
                </c:pt>
                <c:pt idx="51610">
                  <c:v>43780</c:v>
                </c:pt>
                <c:pt idx="51611">
                  <c:v>44552</c:v>
                </c:pt>
                <c:pt idx="51612">
                  <c:v>58739</c:v>
                </c:pt>
                <c:pt idx="51613">
                  <c:v>36188</c:v>
                </c:pt>
                <c:pt idx="51614">
                  <c:v>49504</c:v>
                </c:pt>
                <c:pt idx="51615">
                  <c:v>42393</c:v>
                </c:pt>
                <c:pt idx="51616">
                  <c:v>49977</c:v>
                </c:pt>
                <c:pt idx="51617">
                  <c:v>22867</c:v>
                </c:pt>
                <c:pt idx="51618">
                  <c:v>49940</c:v>
                </c:pt>
                <c:pt idx="51619">
                  <c:v>83345</c:v>
                </c:pt>
                <c:pt idx="51620">
                  <c:v>69991</c:v>
                </c:pt>
                <c:pt idx="51621">
                  <c:v>27574</c:v>
                </c:pt>
                <c:pt idx="51622">
                  <c:v>53363</c:v>
                </c:pt>
                <c:pt idx="51623">
                  <c:v>101442</c:v>
                </c:pt>
                <c:pt idx="51624">
                  <c:v>62653</c:v>
                </c:pt>
                <c:pt idx="51625">
                  <c:v>100893</c:v>
                </c:pt>
                <c:pt idx="51626">
                  <c:v>123095</c:v>
                </c:pt>
                <c:pt idx="51627">
                  <c:v>89990</c:v>
                </c:pt>
                <c:pt idx="51628">
                  <c:v>35877</c:v>
                </c:pt>
                <c:pt idx="51629">
                  <c:v>28721</c:v>
                </c:pt>
                <c:pt idx="51630">
                  <c:v>27187</c:v>
                </c:pt>
                <c:pt idx="51631">
                  <c:v>112780</c:v>
                </c:pt>
                <c:pt idx="51632">
                  <c:v>113375</c:v>
                </c:pt>
                <c:pt idx="51633">
                  <c:v>55756</c:v>
                </c:pt>
                <c:pt idx="51634">
                  <c:v>32945</c:v>
                </c:pt>
                <c:pt idx="51635">
                  <c:v>39234</c:v>
                </c:pt>
                <c:pt idx="51636">
                  <c:v>43761</c:v>
                </c:pt>
                <c:pt idx="51637">
                  <c:v>123739</c:v>
                </c:pt>
                <c:pt idx="51638">
                  <c:v>269994</c:v>
                </c:pt>
                <c:pt idx="51639">
                  <c:v>28675</c:v>
                </c:pt>
                <c:pt idx="51640">
                  <c:v>32604</c:v>
                </c:pt>
                <c:pt idx="51641">
                  <c:v>101985</c:v>
                </c:pt>
                <c:pt idx="51642">
                  <c:v>45752</c:v>
                </c:pt>
                <c:pt idx="51643">
                  <c:v>30770</c:v>
                </c:pt>
                <c:pt idx="51644">
                  <c:v>21799</c:v>
                </c:pt>
                <c:pt idx="51645">
                  <c:v>31116</c:v>
                </c:pt>
                <c:pt idx="51646">
                  <c:v>198514</c:v>
                </c:pt>
                <c:pt idx="51647">
                  <c:v>22990</c:v>
                </c:pt>
                <c:pt idx="51648">
                  <c:v>49093</c:v>
                </c:pt>
                <c:pt idx="51649">
                  <c:v>28423</c:v>
                </c:pt>
                <c:pt idx="51650">
                  <c:v>39403</c:v>
                </c:pt>
                <c:pt idx="51651">
                  <c:v>63755</c:v>
                </c:pt>
                <c:pt idx="51652">
                  <c:v>277953</c:v>
                </c:pt>
                <c:pt idx="51653">
                  <c:v>21732</c:v>
                </c:pt>
                <c:pt idx="51654">
                  <c:v>37563</c:v>
                </c:pt>
                <c:pt idx="51655">
                  <c:v>40569</c:v>
                </c:pt>
                <c:pt idx="51656">
                  <c:v>55714</c:v>
                </c:pt>
                <c:pt idx="51657">
                  <c:v>43618</c:v>
                </c:pt>
                <c:pt idx="51658">
                  <c:v>89945</c:v>
                </c:pt>
                <c:pt idx="51659">
                  <c:v>37556</c:v>
                </c:pt>
                <c:pt idx="51660">
                  <c:v>38788</c:v>
                </c:pt>
                <c:pt idx="51661">
                  <c:v>26805</c:v>
                </c:pt>
                <c:pt idx="51662">
                  <c:v>59026</c:v>
                </c:pt>
                <c:pt idx="51663">
                  <c:v>94884</c:v>
                </c:pt>
                <c:pt idx="51664">
                  <c:v>25991</c:v>
                </c:pt>
                <c:pt idx="51665">
                  <c:v>44915</c:v>
                </c:pt>
                <c:pt idx="51666">
                  <c:v>76779</c:v>
                </c:pt>
                <c:pt idx="51667">
                  <c:v>120004</c:v>
                </c:pt>
                <c:pt idx="51668">
                  <c:v>38879</c:v>
                </c:pt>
                <c:pt idx="51669">
                  <c:v>50776</c:v>
                </c:pt>
                <c:pt idx="51670">
                  <c:v>26010</c:v>
                </c:pt>
                <c:pt idx="51671">
                  <c:v>256719</c:v>
                </c:pt>
                <c:pt idx="51672">
                  <c:v>33197</c:v>
                </c:pt>
                <c:pt idx="51673">
                  <c:v>39957</c:v>
                </c:pt>
                <c:pt idx="51674">
                  <c:v>28347</c:v>
                </c:pt>
                <c:pt idx="51675">
                  <c:v>47099</c:v>
                </c:pt>
                <c:pt idx="51676">
                  <c:v>89094</c:v>
                </c:pt>
                <c:pt idx="51677">
                  <c:v>43422</c:v>
                </c:pt>
                <c:pt idx="51678">
                  <c:v>53379</c:v>
                </c:pt>
                <c:pt idx="51679">
                  <c:v>49918</c:v>
                </c:pt>
                <c:pt idx="51680">
                  <c:v>31822</c:v>
                </c:pt>
                <c:pt idx="51681">
                  <c:v>40887</c:v>
                </c:pt>
                <c:pt idx="51682">
                  <c:v>33985</c:v>
                </c:pt>
                <c:pt idx="51683">
                  <c:v>30514</c:v>
                </c:pt>
                <c:pt idx="51684">
                  <c:v>127095</c:v>
                </c:pt>
                <c:pt idx="51685">
                  <c:v>34537</c:v>
                </c:pt>
                <c:pt idx="51686">
                  <c:v>38235</c:v>
                </c:pt>
                <c:pt idx="51687">
                  <c:v>23386</c:v>
                </c:pt>
                <c:pt idx="51688">
                  <c:v>50354</c:v>
                </c:pt>
                <c:pt idx="51689">
                  <c:v>90188</c:v>
                </c:pt>
                <c:pt idx="51690">
                  <c:v>27557</c:v>
                </c:pt>
                <c:pt idx="51691">
                  <c:v>30482</c:v>
                </c:pt>
                <c:pt idx="51692">
                  <c:v>78871</c:v>
                </c:pt>
                <c:pt idx="51693">
                  <c:v>45377</c:v>
                </c:pt>
                <c:pt idx="51694">
                  <c:v>159351</c:v>
                </c:pt>
                <c:pt idx="51695">
                  <c:v>217043</c:v>
                </c:pt>
                <c:pt idx="51696">
                  <c:v>42851</c:v>
                </c:pt>
                <c:pt idx="51697">
                  <c:v>36289</c:v>
                </c:pt>
                <c:pt idx="51698">
                  <c:v>196432</c:v>
                </c:pt>
                <c:pt idx="51699">
                  <c:v>96715</c:v>
                </c:pt>
                <c:pt idx="51700">
                  <c:v>31234</c:v>
                </c:pt>
                <c:pt idx="51701">
                  <c:v>29210</c:v>
                </c:pt>
                <c:pt idx="51702">
                  <c:v>88823</c:v>
                </c:pt>
                <c:pt idx="51703">
                  <c:v>51369</c:v>
                </c:pt>
                <c:pt idx="51704">
                  <c:v>43152</c:v>
                </c:pt>
                <c:pt idx="51705">
                  <c:v>33999</c:v>
                </c:pt>
                <c:pt idx="51706">
                  <c:v>38406</c:v>
                </c:pt>
                <c:pt idx="51707">
                  <c:v>63016</c:v>
                </c:pt>
                <c:pt idx="51708">
                  <c:v>38943</c:v>
                </c:pt>
                <c:pt idx="51709">
                  <c:v>171074</c:v>
                </c:pt>
                <c:pt idx="51710">
                  <c:v>33987</c:v>
                </c:pt>
                <c:pt idx="51711">
                  <c:v>76689</c:v>
                </c:pt>
                <c:pt idx="51712">
                  <c:v>27596</c:v>
                </c:pt>
                <c:pt idx="51713">
                  <c:v>64695</c:v>
                </c:pt>
                <c:pt idx="51714">
                  <c:v>43759</c:v>
                </c:pt>
                <c:pt idx="51715">
                  <c:v>89352</c:v>
                </c:pt>
                <c:pt idx="51716">
                  <c:v>35931</c:v>
                </c:pt>
                <c:pt idx="51717">
                  <c:v>20682</c:v>
                </c:pt>
                <c:pt idx="51718">
                  <c:v>32642</c:v>
                </c:pt>
                <c:pt idx="51719">
                  <c:v>46268</c:v>
                </c:pt>
                <c:pt idx="51720">
                  <c:v>30438</c:v>
                </c:pt>
                <c:pt idx="51721">
                  <c:v>71448</c:v>
                </c:pt>
                <c:pt idx="51722">
                  <c:v>41507</c:v>
                </c:pt>
                <c:pt idx="51723">
                  <c:v>23806</c:v>
                </c:pt>
                <c:pt idx="51724">
                  <c:v>37349</c:v>
                </c:pt>
                <c:pt idx="51725">
                  <c:v>132230</c:v>
                </c:pt>
                <c:pt idx="51726">
                  <c:v>40796</c:v>
                </c:pt>
                <c:pt idx="51727">
                  <c:v>24106</c:v>
                </c:pt>
                <c:pt idx="51728">
                  <c:v>27867</c:v>
                </c:pt>
                <c:pt idx="51729">
                  <c:v>45200</c:v>
                </c:pt>
                <c:pt idx="51730">
                  <c:v>25315</c:v>
                </c:pt>
                <c:pt idx="51731">
                  <c:v>102686</c:v>
                </c:pt>
                <c:pt idx="51732">
                  <c:v>29223</c:v>
                </c:pt>
                <c:pt idx="51733">
                  <c:v>212244</c:v>
                </c:pt>
                <c:pt idx="51734">
                  <c:v>177764</c:v>
                </c:pt>
                <c:pt idx="51735">
                  <c:v>40685</c:v>
                </c:pt>
                <c:pt idx="51736">
                  <c:v>44986</c:v>
                </c:pt>
                <c:pt idx="51737">
                  <c:v>86373</c:v>
                </c:pt>
                <c:pt idx="51738">
                  <c:v>29571</c:v>
                </c:pt>
                <c:pt idx="51739">
                  <c:v>44678</c:v>
                </c:pt>
                <c:pt idx="51740">
                  <c:v>48593</c:v>
                </c:pt>
                <c:pt idx="51741">
                  <c:v>30552</c:v>
                </c:pt>
                <c:pt idx="51742">
                  <c:v>27233</c:v>
                </c:pt>
                <c:pt idx="51743">
                  <c:v>59342</c:v>
                </c:pt>
                <c:pt idx="51744">
                  <c:v>105148</c:v>
                </c:pt>
                <c:pt idx="51745">
                  <c:v>57150</c:v>
                </c:pt>
                <c:pt idx="51746">
                  <c:v>38156</c:v>
                </c:pt>
                <c:pt idx="51747">
                  <c:v>26467</c:v>
                </c:pt>
                <c:pt idx="51748">
                  <c:v>38313</c:v>
                </c:pt>
                <c:pt idx="51749">
                  <c:v>40924</c:v>
                </c:pt>
                <c:pt idx="51750">
                  <c:v>22534</c:v>
                </c:pt>
                <c:pt idx="51751">
                  <c:v>42856</c:v>
                </c:pt>
                <c:pt idx="51752">
                  <c:v>31257</c:v>
                </c:pt>
                <c:pt idx="51753">
                  <c:v>43587</c:v>
                </c:pt>
                <c:pt idx="51754">
                  <c:v>131689</c:v>
                </c:pt>
                <c:pt idx="51755">
                  <c:v>45325</c:v>
                </c:pt>
                <c:pt idx="51756">
                  <c:v>159170</c:v>
                </c:pt>
                <c:pt idx="51757">
                  <c:v>25733</c:v>
                </c:pt>
                <c:pt idx="51758">
                  <c:v>89971</c:v>
                </c:pt>
                <c:pt idx="51759">
                  <c:v>211128</c:v>
                </c:pt>
                <c:pt idx="51760">
                  <c:v>28197</c:v>
                </c:pt>
                <c:pt idx="51761">
                  <c:v>163273</c:v>
                </c:pt>
                <c:pt idx="51762">
                  <c:v>55094</c:v>
                </c:pt>
                <c:pt idx="51763">
                  <c:v>39800</c:v>
                </c:pt>
                <c:pt idx="51764">
                  <c:v>34261</c:v>
                </c:pt>
                <c:pt idx="51765">
                  <c:v>134802</c:v>
                </c:pt>
                <c:pt idx="51766">
                  <c:v>49522</c:v>
                </c:pt>
                <c:pt idx="51767">
                  <c:v>49606</c:v>
                </c:pt>
                <c:pt idx="51768">
                  <c:v>33790</c:v>
                </c:pt>
                <c:pt idx="51769">
                  <c:v>34436</c:v>
                </c:pt>
                <c:pt idx="51770">
                  <c:v>158230</c:v>
                </c:pt>
                <c:pt idx="51771">
                  <c:v>44487</c:v>
                </c:pt>
                <c:pt idx="51772">
                  <c:v>25074</c:v>
                </c:pt>
                <c:pt idx="51773">
                  <c:v>141440</c:v>
                </c:pt>
                <c:pt idx="51774">
                  <c:v>33553</c:v>
                </c:pt>
                <c:pt idx="51775">
                  <c:v>24297</c:v>
                </c:pt>
                <c:pt idx="51776">
                  <c:v>47314</c:v>
                </c:pt>
                <c:pt idx="51777">
                  <c:v>23701</c:v>
                </c:pt>
                <c:pt idx="51778">
                  <c:v>42106</c:v>
                </c:pt>
                <c:pt idx="51779">
                  <c:v>31563</c:v>
                </c:pt>
                <c:pt idx="51780">
                  <c:v>52481</c:v>
                </c:pt>
                <c:pt idx="51781">
                  <c:v>36890</c:v>
                </c:pt>
                <c:pt idx="51782">
                  <c:v>42312</c:v>
                </c:pt>
                <c:pt idx="51783">
                  <c:v>207015</c:v>
                </c:pt>
                <c:pt idx="51784">
                  <c:v>130038</c:v>
                </c:pt>
                <c:pt idx="51785">
                  <c:v>27299</c:v>
                </c:pt>
                <c:pt idx="51786">
                  <c:v>46209</c:v>
                </c:pt>
                <c:pt idx="51787">
                  <c:v>25397</c:v>
                </c:pt>
                <c:pt idx="51788">
                  <c:v>28829</c:v>
                </c:pt>
                <c:pt idx="51789">
                  <c:v>27889</c:v>
                </c:pt>
                <c:pt idx="51790">
                  <c:v>40041</c:v>
                </c:pt>
                <c:pt idx="51791">
                  <c:v>57811</c:v>
                </c:pt>
                <c:pt idx="51792">
                  <c:v>92387</c:v>
                </c:pt>
                <c:pt idx="51793">
                  <c:v>30197</c:v>
                </c:pt>
                <c:pt idx="51794">
                  <c:v>103310</c:v>
                </c:pt>
                <c:pt idx="51795">
                  <c:v>69621</c:v>
                </c:pt>
                <c:pt idx="51796">
                  <c:v>38540</c:v>
                </c:pt>
                <c:pt idx="51797">
                  <c:v>271482</c:v>
                </c:pt>
                <c:pt idx="51798">
                  <c:v>230231</c:v>
                </c:pt>
                <c:pt idx="51799">
                  <c:v>116344</c:v>
                </c:pt>
                <c:pt idx="51800">
                  <c:v>69483</c:v>
                </c:pt>
                <c:pt idx="51801">
                  <c:v>44672</c:v>
                </c:pt>
                <c:pt idx="51802">
                  <c:v>35846</c:v>
                </c:pt>
                <c:pt idx="51803">
                  <c:v>26635</c:v>
                </c:pt>
                <c:pt idx="51804">
                  <c:v>69179</c:v>
                </c:pt>
                <c:pt idx="51805">
                  <c:v>79648</c:v>
                </c:pt>
                <c:pt idx="51806">
                  <c:v>58687</c:v>
                </c:pt>
                <c:pt idx="51807">
                  <c:v>29133</c:v>
                </c:pt>
                <c:pt idx="51808">
                  <c:v>90301</c:v>
                </c:pt>
                <c:pt idx="51809">
                  <c:v>39352</c:v>
                </c:pt>
                <c:pt idx="51810">
                  <c:v>32677</c:v>
                </c:pt>
                <c:pt idx="51811">
                  <c:v>51262</c:v>
                </c:pt>
                <c:pt idx="51812">
                  <c:v>33649</c:v>
                </c:pt>
                <c:pt idx="51813">
                  <c:v>40877</c:v>
                </c:pt>
                <c:pt idx="51814">
                  <c:v>43363</c:v>
                </c:pt>
                <c:pt idx="51815">
                  <c:v>31355</c:v>
                </c:pt>
                <c:pt idx="51816">
                  <c:v>31833</c:v>
                </c:pt>
                <c:pt idx="51817">
                  <c:v>31308</c:v>
                </c:pt>
                <c:pt idx="51818">
                  <c:v>86450</c:v>
                </c:pt>
                <c:pt idx="51819">
                  <c:v>109403</c:v>
                </c:pt>
                <c:pt idx="51820">
                  <c:v>45647</c:v>
                </c:pt>
                <c:pt idx="51821">
                  <c:v>67779</c:v>
                </c:pt>
                <c:pt idx="51822">
                  <c:v>28393</c:v>
                </c:pt>
                <c:pt idx="51823">
                  <c:v>45037</c:v>
                </c:pt>
                <c:pt idx="51824">
                  <c:v>36682</c:v>
                </c:pt>
                <c:pt idx="51825">
                  <c:v>24516</c:v>
                </c:pt>
                <c:pt idx="51826">
                  <c:v>66976</c:v>
                </c:pt>
                <c:pt idx="51827">
                  <c:v>24602</c:v>
                </c:pt>
                <c:pt idx="51828">
                  <c:v>50344</c:v>
                </c:pt>
                <c:pt idx="51829">
                  <c:v>45496</c:v>
                </c:pt>
                <c:pt idx="51830">
                  <c:v>109336</c:v>
                </c:pt>
                <c:pt idx="51831">
                  <c:v>52242</c:v>
                </c:pt>
                <c:pt idx="51832">
                  <c:v>64361</c:v>
                </c:pt>
                <c:pt idx="51833">
                  <c:v>100260</c:v>
                </c:pt>
                <c:pt idx="51834">
                  <c:v>41374</c:v>
                </c:pt>
                <c:pt idx="51835">
                  <c:v>43119</c:v>
                </c:pt>
                <c:pt idx="51836">
                  <c:v>20373</c:v>
                </c:pt>
                <c:pt idx="51837">
                  <c:v>36691</c:v>
                </c:pt>
                <c:pt idx="51838">
                  <c:v>58111</c:v>
                </c:pt>
                <c:pt idx="51839">
                  <c:v>57870</c:v>
                </c:pt>
                <c:pt idx="51840">
                  <c:v>30351</c:v>
                </c:pt>
                <c:pt idx="51841">
                  <c:v>24131</c:v>
                </c:pt>
                <c:pt idx="51842">
                  <c:v>44318</c:v>
                </c:pt>
                <c:pt idx="51843">
                  <c:v>51005</c:v>
                </c:pt>
                <c:pt idx="51844">
                  <c:v>58869</c:v>
                </c:pt>
                <c:pt idx="51845">
                  <c:v>59509</c:v>
                </c:pt>
                <c:pt idx="51846">
                  <c:v>30045</c:v>
                </c:pt>
                <c:pt idx="51847">
                  <c:v>34259</c:v>
                </c:pt>
                <c:pt idx="51848">
                  <c:v>30512</c:v>
                </c:pt>
                <c:pt idx="51849">
                  <c:v>31426</c:v>
                </c:pt>
                <c:pt idx="51850">
                  <c:v>35310</c:v>
                </c:pt>
                <c:pt idx="51851">
                  <c:v>74617</c:v>
                </c:pt>
                <c:pt idx="51852">
                  <c:v>104546</c:v>
                </c:pt>
                <c:pt idx="51853">
                  <c:v>64941</c:v>
                </c:pt>
                <c:pt idx="51854">
                  <c:v>35383</c:v>
                </c:pt>
                <c:pt idx="51855">
                  <c:v>86123</c:v>
                </c:pt>
                <c:pt idx="51856">
                  <c:v>38223</c:v>
                </c:pt>
                <c:pt idx="51857">
                  <c:v>53319</c:v>
                </c:pt>
                <c:pt idx="51858">
                  <c:v>46260</c:v>
                </c:pt>
                <c:pt idx="51859">
                  <c:v>31857</c:v>
                </c:pt>
                <c:pt idx="51860">
                  <c:v>21173</c:v>
                </c:pt>
                <c:pt idx="51861">
                  <c:v>25475</c:v>
                </c:pt>
                <c:pt idx="51862">
                  <c:v>175055</c:v>
                </c:pt>
                <c:pt idx="51863">
                  <c:v>45108</c:v>
                </c:pt>
                <c:pt idx="51864">
                  <c:v>26797</c:v>
                </c:pt>
                <c:pt idx="51865">
                  <c:v>28094</c:v>
                </c:pt>
                <c:pt idx="51866">
                  <c:v>35565</c:v>
                </c:pt>
                <c:pt idx="51867">
                  <c:v>35569</c:v>
                </c:pt>
                <c:pt idx="51868">
                  <c:v>28062</c:v>
                </c:pt>
                <c:pt idx="51869">
                  <c:v>26286</c:v>
                </c:pt>
                <c:pt idx="51870">
                  <c:v>88480</c:v>
                </c:pt>
                <c:pt idx="51871">
                  <c:v>24269</c:v>
                </c:pt>
                <c:pt idx="51872">
                  <c:v>50867</c:v>
                </c:pt>
                <c:pt idx="51873">
                  <c:v>45548</c:v>
                </c:pt>
                <c:pt idx="51874">
                  <c:v>48443</c:v>
                </c:pt>
                <c:pt idx="51875">
                  <c:v>28184</c:v>
                </c:pt>
                <c:pt idx="51876">
                  <c:v>28692</c:v>
                </c:pt>
                <c:pt idx="51877">
                  <c:v>29973</c:v>
                </c:pt>
                <c:pt idx="51878">
                  <c:v>59625</c:v>
                </c:pt>
                <c:pt idx="51879">
                  <c:v>37362</c:v>
                </c:pt>
                <c:pt idx="51880">
                  <c:v>76812</c:v>
                </c:pt>
                <c:pt idx="51881">
                  <c:v>24782</c:v>
                </c:pt>
                <c:pt idx="51882">
                  <c:v>27801</c:v>
                </c:pt>
                <c:pt idx="51883">
                  <c:v>23082</c:v>
                </c:pt>
                <c:pt idx="51884">
                  <c:v>25914</c:v>
                </c:pt>
                <c:pt idx="51885">
                  <c:v>58081</c:v>
                </c:pt>
                <c:pt idx="51886">
                  <c:v>34518</c:v>
                </c:pt>
                <c:pt idx="51887">
                  <c:v>49632</c:v>
                </c:pt>
                <c:pt idx="51888">
                  <c:v>39317</c:v>
                </c:pt>
                <c:pt idx="51889">
                  <c:v>31075</c:v>
                </c:pt>
                <c:pt idx="51890">
                  <c:v>85283</c:v>
                </c:pt>
                <c:pt idx="51891">
                  <c:v>21757</c:v>
                </c:pt>
                <c:pt idx="51892">
                  <c:v>102161</c:v>
                </c:pt>
                <c:pt idx="51893">
                  <c:v>290646</c:v>
                </c:pt>
                <c:pt idx="51894">
                  <c:v>33349</c:v>
                </c:pt>
                <c:pt idx="51895">
                  <c:v>75405</c:v>
                </c:pt>
                <c:pt idx="51896">
                  <c:v>23354</c:v>
                </c:pt>
                <c:pt idx="51897">
                  <c:v>30153</c:v>
                </c:pt>
                <c:pt idx="51898">
                  <c:v>85706</c:v>
                </c:pt>
                <c:pt idx="51899">
                  <c:v>45832</c:v>
                </c:pt>
                <c:pt idx="51900">
                  <c:v>27661</c:v>
                </c:pt>
                <c:pt idx="51901">
                  <c:v>32754</c:v>
                </c:pt>
                <c:pt idx="51902">
                  <c:v>29480</c:v>
                </c:pt>
                <c:pt idx="51903">
                  <c:v>25860</c:v>
                </c:pt>
                <c:pt idx="51904">
                  <c:v>33353</c:v>
                </c:pt>
                <c:pt idx="51905">
                  <c:v>35776</c:v>
                </c:pt>
                <c:pt idx="51906">
                  <c:v>76983</c:v>
                </c:pt>
                <c:pt idx="51907">
                  <c:v>144399</c:v>
                </c:pt>
                <c:pt idx="51908">
                  <c:v>38259</c:v>
                </c:pt>
                <c:pt idx="51909">
                  <c:v>36408</c:v>
                </c:pt>
                <c:pt idx="51910">
                  <c:v>45516</c:v>
                </c:pt>
                <c:pt idx="51911">
                  <c:v>372616</c:v>
                </c:pt>
                <c:pt idx="51912">
                  <c:v>76700</c:v>
                </c:pt>
                <c:pt idx="51913">
                  <c:v>46755</c:v>
                </c:pt>
                <c:pt idx="51914">
                  <c:v>25246</c:v>
                </c:pt>
                <c:pt idx="51915">
                  <c:v>32655</c:v>
                </c:pt>
                <c:pt idx="51916">
                  <c:v>55241</c:v>
                </c:pt>
                <c:pt idx="51917">
                  <c:v>85195</c:v>
                </c:pt>
                <c:pt idx="51918">
                  <c:v>62671</c:v>
                </c:pt>
                <c:pt idx="51919">
                  <c:v>218095</c:v>
                </c:pt>
                <c:pt idx="51920">
                  <c:v>37180</c:v>
                </c:pt>
                <c:pt idx="51921">
                  <c:v>42878</c:v>
                </c:pt>
                <c:pt idx="51922">
                  <c:v>74813</c:v>
                </c:pt>
                <c:pt idx="51923">
                  <c:v>24830</c:v>
                </c:pt>
                <c:pt idx="51924">
                  <c:v>47606</c:v>
                </c:pt>
                <c:pt idx="51925">
                  <c:v>42214</c:v>
                </c:pt>
                <c:pt idx="51926">
                  <c:v>62276</c:v>
                </c:pt>
                <c:pt idx="51927">
                  <c:v>56295</c:v>
                </c:pt>
                <c:pt idx="51928">
                  <c:v>38087</c:v>
                </c:pt>
                <c:pt idx="51929">
                  <c:v>385244</c:v>
                </c:pt>
                <c:pt idx="51930">
                  <c:v>64037</c:v>
                </c:pt>
                <c:pt idx="51931">
                  <c:v>154538</c:v>
                </c:pt>
                <c:pt idx="51932">
                  <c:v>84335</c:v>
                </c:pt>
                <c:pt idx="51933">
                  <c:v>52786</c:v>
                </c:pt>
                <c:pt idx="51934">
                  <c:v>55654</c:v>
                </c:pt>
                <c:pt idx="51935">
                  <c:v>51411</c:v>
                </c:pt>
                <c:pt idx="51936">
                  <c:v>33468</c:v>
                </c:pt>
                <c:pt idx="51937">
                  <c:v>158858</c:v>
                </c:pt>
                <c:pt idx="51938">
                  <c:v>42559</c:v>
                </c:pt>
                <c:pt idx="51939">
                  <c:v>24273</c:v>
                </c:pt>
                <c:pt idx="51940">
                  <c:v>24656</c:v>
                </c:pt>
                <c:pt idx="51941">
                  <c:v>67656</c:v>
                </c:pt>
                <c:pt idx="51942">
                  <c:v>32224</c:v>
                </c:pt>
                <c:pt idx="51943">
                  <c:v>54355</c:v>
                </c:pt>
                <c:pt idx="51944">
                  <c:v>27111</c:v>
                </c:pt>
                <c:pt idx="51945">
                  <c:v>125121</c:v>
                </c:pt>
                <c:pt idx="51946">
                  <c:v>72575</c:v>
                </c:pt>
                <c:pt idx="51947">
                  <c:v>195804</c:v>
                </c:pt>
                <c:pt idx="51948">
                  <c:v>30168</c:v>
                </c:pt>
                <c:pt idx="51949">
                  <c:v>26476</c:v>
                </c:pt>
                <c:pt idx="51950">
                  <c:v>45856</c:v>
                </c:pt>
                <c:pt idx="51951">
                  <c:v>78146</c:v>
                </c:pt>
                <c:pt idx="51952">
                  <c:v>122753</c:v>
                </c:pt>
                <c:pt idx="51953">
                  <c:v>55001</c:v>
                </c:pt>
                <c:pt idx="51954">
                  <c:v>41918</c:v>
                </c:pt>
                <c:pt idx="51955">
                  <c:v>111170</c:v>
                </c:pt>
                <c:pt idx="51956">
                  <c:v>47839</c:v>
                </c:pt>
                <c:pt idx="51957">
                  <c:v>73688</c:v>
                </c:pt>
                <c:pt idx="51958">
                  <c:v>35979</c:v>
                </c:pt>
                <c:pt idx="51959">
                  <c:v>57210</c:v>
                </c:pt>
                <c:pt idx="51960">
                  <c:v>30542</c:v>
                </c:pt>
                <c:pt idx="51961">
                  <c:v>28791</c:v>
                </c:pt>
                <c:pt idx="51962">
                  <c:v>26295</c:v>
                </c:pt>
                <c:pt idx="51963">
                  <c:v>139200</c:v>
                </c:pt>
                <c:pt idx="51964">
                  <c:v>33280</c:v>
                </c:pt>
                <c:pt idx="51965">
                  <c:v>34301</c:v>
                </c:pt>
                <c:pt idx="51966">
                  <c:v>26879</c:v>
                </c:pt>
                <c:pt idx="51967">
                  <c:v>43473</c:v>
                </c:pt>
                <c:pt idx="51968">
                  <c:v>22910</c:v>
                </c:pt>
                <c:pt idx="51969">
                  <c:v>48730</c:v>
                </c:pt>
                <c:pt idx="51970">
                  <c:v>51525</c:v>
                </c:pt>
                <c:pt idx="51971">
                  <c:v>28134</c:v>
                </c:pt>
                <c:pt idx="51972">
                  <c:v>46453</c:v>
                </c:pt>
                <c:pt idx="51973">
                  <c:v>23199</c:v>
                </c:pt>
                <c:pt idx="51974">
                  <c:v>38182</c:v>
                </c:pt>
                <c:pt idx="51975">
                  <c:v>25525</c:v>
                </c:pt>
                <c:pt idx="51976">
                  <c:v>40448</c:v>
                </c:pt>
                <c:pt idx="51977">
                  <c:v>57087</c:v>
                </c:pt>
                <c:pt idx="51978">
                  <c:v>30150</c:v>
                </c:pt>
                <c:pt idx="51979">
                  <c:v>44312</c:v>
                </c:pt>
                <c:pt idx="51980">
                  <c:v>26135</c:v>
                </c:pt>
                <c:pt idx="51981">
                  <c:v>77012</c:v>
                </c:pt>
                <c:pt idx="51982">
                  <c:v>21618</c:v>
                </c:pt>
                <c:pt idx="51983">
                  <c:v>109803</c:v>
                </c:pt>
                <c:pt idx="51984">
                  <c:v>22788</c:v>
                </c:pt>
                <c:pt idx="51985">
                  <c:v>64274</c:v>
                </c:pt>
                <c:pt idx="51986">
                  <c:v>185121</c:v>
                </c:pt>
                <c:pt idx="51987">
                  <c:v>42767</c:v>
                </c:pt>
                <c:pt idx="51988">
                  <c:v>242268</c:v>
                </c:pt>
                <c:pt idx="51989">
                  <c:v>157438</c:v>
                </c:pt>
                <c:pt idx="51990">
                  <c:v>37141</c:v>
                </c:pt>
                <c:pt idx="51991">
                  <c:v>37326</c:v>
                </c:pt>
                <c:pt idx="51992">
                  <c:v>24561</c:v>
                </c:pt>
                <c:pt idx="51993">
                  <c:v>53432</c:v>
                </c:pt>
                <c:pt idx="51994">
                  <c:v>46578</c:v>
                </c:pt>
                <c:pt idx="51995">
                  <c:v>114286</c:v>
                </c:pt>
                <c:pt idx="51996">
                  <c:v>36781</c:v>
                </c:pt>
                <c:pt idx="51997">
                  <c:v>37731</c:v>
                </c:pt>
                <c:pt idx="51998">
                  <c:v>25067</c:v>
                </c:pt>
                <c:pt idx="51999">
                  <c:v>33775</c:v>
                </c:pt>
                <c:pt idx="52000">
                  <c:v>31123</c:v>
                </c:pt>
                <c:pt idx="52001">
                  <c:v>37409</c:v>
                </c:pt>
                <c:pt idx="52002">
                  <c:v>187551</c:v>
                </c:pt>
                <c:pt idx="52003">
                  <c:v>43661</c:v>
                </c:pt>
                <c:pt idx="52004">
                  <c:v>37203</c:v>
                </c:pt>
                <c:pt idx="52005">
                  <c:v>35881</c:v>
                </c:pt>
                <c:pt idx="52006">
                  <c:v>40935</c:v>
                </c:pt>
                <c:pt idx="52007">
                  <c:v>44579</c:v>
                </c:pt>
                <c:pt idx="52008">
                  <c:v>44138</c:v>
                </c:pt>
                <c:pt idx="52009">
                  <c:v>153075</c:v>
                </c:pt>
                <c:pt idx="52010">
                  <c:v>35581</c:v>
                </c:pt>
                <c:pt idx="52011">
                  <c:v>54718</c:v>
                </c:pt>
                <c:pt idx="52012">
                  <c:v>67141</c:v>
                </c:pt>
                <c:pt idx="52013">
                  <c:v>39603</c:v>
                </c:pt>
                <c:pt idx="52014">
                  <c:v>31625</c:v>
                </c:pt>
                <c:pt idx="52015">
                  <c:v>41910</c:v>
                </c:pt>
                <c:pt idx="52016">
                  <c:v>44217</c:v>
                </c:pt>
                <c:pt idx="52017">
                  <c:v>135686</c:v>
                </c:pt>
                <c:pt idx="52018">
                  <c:v>260357</c:v>
                </c:pt>
                <c:pt idx="52019">
                  <c:v>44615</c:v>
                </c:pt>
                <c:pt idx="52020">
                  <c:v>40387</c:v>
                </c:pt>
                <c:pt idx="52021">
                  <c:v>26982</c:v>
                </c:pt>
                <c:pt idx="52022">
                  <c:v>39969</c:v>
                </c:pt>
                <c:pt idx="52023">
                  <c:v>38100</c:v>
                </c:pt>
                <c:pt idx="52024">
                  <c:v>70006</c:v>
                </c:pt>
                <c:pt idx="52025">
                  <c:v>53259</c:v>
                </c:pt>
                <c:pt idx="52026">
                  <c:v>128154</c:v>
                </c:pt>
                <c:pt idx="52027">
                  <c:v>39396</c:v>
                </c:pt>
                <c:pt idx="52028">
                  <c:v>156348</c:v>
                </c:pt>
                <c:pt idx="52029">
                  <c:v>26994</c:v>
                </c:pt>
                <c:pt idx="52030">
                  <c:v>24096</c:v>
                </c:pt>
                <c:pt idx="52031">
                  <c:v>30510</c:v>
                </c:pt>
                <c:pt idx="52032">
                  <c:v>22453</c:v>
                </c:pt>
                <c:pt idx="52033">
                  <c:v>44704</c:v>
                </c:pt>
                <c:pt idx="52034">
                  <c:v>42336</c:v>
                </c:pt>
                <c:pt idx="52035">
                  <c:v>50496</c:v>
                </c:pt>
                <c:pt idx="52036">
                  <c:v>87710</c:v>
                </c:pt>
                <c:pt idx="52037">
                  <c:v>35104</c:v>
                </c:pt>
                <c:pt idx="52038">
                  <c:v>27688</c:v>
                </c:pt>
                <c:pt idx="52039">
                  <c:v>34425</c:v>
                </c:pt>
                <c:pt idx="52040">
                  <c:v>51012</c:v>
                </c:pt>
                <c:pt idx="52041">
                  <c:v>44731</c:v>
                </c:pt>
                <c:pt idx="52042">
                  <c:v>24814</c:v>
                </c:pt>
                <c:pt idx="52043">
                  <c:v>55449</c:v>
                </c:pt>
                <c:pt idx="52044">
                  <c:v>28634</c:v>
                </c:pt>
                <c:pt idx="52045">
                  <c:v>41962</c:v>
                </c:pt>
                <c:pt idx="52046">
                  <c:v>51597</c:v>
                </c:pt>
                <c:pt idx="52047">
                  <c:v>50683</c:v>
                </c:pt>
                <c:pt idx="52048">
                  <c:v>101799</c:v>
                </c:pt>
                <c:pt idx="52049">
                  <c:v>41057</c:v>
                </c:pt>
                <c:pt idx="52050">
                  <c:v>49045</c:v>
                </c:pt>
                <c:pt idx="52051">
                  <c:v>62628</c:v>
                </c:pt>
                <c:pt idx="52052">
                  <c:v>58523</c:v>
                </c:pt>
                <c:pt idx="52053">
                  <c:v>37220</c:v>
                </c:pt>
                <c:pt idx="52054">
                  <c:v>67549</c:v>
                </c:pt>
                <c:pt idx="52055">
                  <c:v>59313</c:v>
                </c:pt>
                <c:pt idx="52056">
                  <c:v>49084</c:v>
                </c:pt>
                <c:pt idx="52057">
                  <c:v>110078</c:v>
                </c:pt>
                <c:pt idx="52058">
                  <c:v>32057</c:v>
                </c:pt>
                <c:pt idx="52059">
                  <c:v>25178</c:v>
                </c:pt>
                <c:pt idx="52060">
                  <c:v>58428</c:v>
                </c:pt>
                <c:pt idx="52061">
                  <c:v>59150</c:v>
                </c:pt>
                <c:pt idx="52062">
                  <c:v>64175</c:v>
                </c:pt>
                <c:pt idx="52063">
                  <c:v>141113</c:v>
                </c:pt>
                <c:pt idx="52064">
                  <c:v>387172</c:v>
                </c:pt>
                <c:pt idx="52065">
                  <c:v>100600</c:v>
                </c:pt>
                <c:pt idx="52066">
                  <c:v>72981</c:v>
                </c:pt>
                <c:pt idx="52067">
                  <c:v>89965</c:v>
                </c:pt>
                <c:pt idx="52068">
                  <c:v>40271</c:v>
                </c:pt>
                <c:pt idx="52069">
                  <c:v>59353</c:v>
                </c:pt>
                <c:pt idx="52070">
                  <c:v>61318</c:v>
                </c:pt>
                <c:pt idx="52071">
                  <c:v>44725</c:v>
                </c:pt>
                <c:pt idx="52072">
                  <c:v>38469</c:v>
                </c:pt>
                <c:pt idx="52073">
                  <c:v>41921</c:v>
                </c:pt>
                <c:pt idx="52074">
                  <c:v>27893</c:v>
                </c:pt>
                <c:pt idx="52075">
                  <c:v>90231</c:v>
                </c:pt>
                <c:pt idx="52076">
                  <c:v>20280</c:v>
                </c:pt>
                <c:pt idx="52077">
                  <c:v>26369</c:v>
                </c:pt>
                <c:pt idx="52078">
                  <c:v>33028</c:v>
                </c:pt>
                <c:pt idx="52079">
                  <c:v>36803</c:v>
                </c:pt>
                <c:pt idx="52080">
                  <c:v>31848</c:v>
                </c:pt>
                <c:pt idx="52081">
                  <c:v>61168</c:v>
                </c:pt>
                <c:pt idx="52082">
                  <c:v>88987</c:v>
                </c:pt>
                <c:pt idx="52083">
                  <c:v>46770</c:v>
                </c:pt>
                <c:pt idx="52084">
                  <c:v>79749</c:v>
                </c:pt>
                <c:pt idx="52085">
                  <c:v>31271</c:v>
                </c:pt>
                <c:pt idx="52086">
                  <c:v>93202</c:v>
                </c:pt>
                <c:pt idx="52087">
                  <c:v>46376</c:v>
                </c:pt>
                <c:pt idx="52088">
                  <c:v>40972</c:v>
                </c:pt>
                <c:pt idx="52089">
                  <c:v>29469</c:v>
                </c:pt>
                <c:pt idx="52090">
                  <c:v>76628</c:v>
                </c:pt>
                <c:pt idx="52091">
                  <c:v>28168</c:v>
                </c:pt>
                <c:pt idx="52092">
                  <c:v>292926</c:v>
                </c:pt>
                <c:pt idx="52093">
                  <c:v>59939</c:v>
                </c:pt>
                <c:pt idx="52094">
                  <c:v>41575</c:v>
                </c:pt>
                <c:pt idx="52095">
                  <c:v>28109</c:v>
                </c:pt>
                <c:pt idx="52096">
                  <c:v>22792</c:v>
                </c:pt>
                <c:pt idx="52097">
                  <c:v>48870</c:v>
                </c:pt>
                <c:pt idx="52098">
                  <c:v>34193</c:v>
                </c:pt>
                <c:pt idx="52099">
                  <c:v>44399</c:v>
                </c:pt>
                <c:pt idx="52100">
                  <c:v>34260</c:v>
                </c:pt>
                <c:pt idx="52101">
                  <c:v>22802</c:v>
                </c:pt>
                <c:pt idx="52102">
                  <c:v>28664</c:v>
                </c:pt>
                <c:pt idx="52103">
                  <c:v>116695</c:v>
                </c:pt>
                <c:pt idx="52104">
                  <c:v>43568</c:v>
                </c:pt>
                <c:pt idx="52105">
                  <c:v>51561</c:v>
                </c:pt>
                <c:pt idx="52106">
                  <c:v>75241</c:v>
                </c:pt>
                <c:pt idx="52107">
                  <c:v>53813</c:v>
                </c:pt>
                <c:pt idx="52108">
                  <c:v>24688</c:v>
                </c:pt>
                <c:pt idx="52109">
                  <c:v>35723</c:v>
                </c:pt>
                <c:pt idx="52110">
                  <c:v>70718</c:v>
                </c:pt>
                <c:pt idx="52111">
                  <c:v>65188</c:v>
                </c:pt>
                <c:pt idx="52112">
                  <c:v>20185</c:v>
                </c:pt>
                <c:pt idx="52113">
                  <c:v>44703</c:v>
                </c:pt>
                <c:pt idx="52114">
                  <c:v>25129</c:v>
                </c:pt>
                <c:pt idx="52115">
                  <c:v>31963</c:v>
                </c:pt>
                <c:pt idx="52116">
                  <c:v>76870</c:v>
                </c:pt>
                <c:pt idx="52117">
                  <c:v>53196</c:v>
                </c:pt>
                <c:pt idx="52118">
                  <c:v>132430</c:v>
                </c:pt>
                <c:pt idx="52119">
                  <c:v>64170</c:v>
                </c:pt>
                <c:pt idx="52120">
                  <c:v>26525</c:v>
                </c:pt>
                <c:pt idx="52121">
                  <c:v>80285</c:v>
                </c:pt>
                <c:pt idx="52122">
                  <c:v>26961</c:v>
                </c:pt>
                <c:pt idx="52123">
                  <c:v>91927</c:v>
                </c:pt>
                <c:pt idx="52124">
                  <c:v>49723</c:v>
                </c:pt>
                <c:pt idx="52125">
                  <c:v>210264</c:v>
                </c:pt>
                <c:pt idx="52126">
                  <c:v>77331</c:v>
                </c:pt>
                <c:pt idx="52127">
                  <c:v>89261</c:v>
                </c:pt>
                <c:pt idx="52128">
                  <c:v>32915</c:v>
                </c:pt>
                <c:pt idx="52129">
                  <c:v>59663</c:v>
                </c:pt>
                <c:pt idx="52130">
                  <c:v>27957</c:v>
                </c:pt>
                <c:pt idx="52131">
                  <c:v>50167</c:v>
                </c:pt>
                <c:pt idx="52132">
                  <c:v>56801</c:v>
                </c:pt>
                <c:pt idx="52133">
                  <c:v>42627</c:v>
                </c:pt>
                <c:pt idx="52134">
                  <c:v>80821</c:v>
                </c:pt>
                <c:pt idx="52135">
                  <c:v>38617</c:v>
                </c:pt>
                <c:pt idx="52136">
                  <c:v>47012</c:v>
                </c:pt>
                <c:pt idx="52137">
                  <c:v>26424</c:v>
                </c:pt>
                <c:pt idx="52138">
                  <c:v>46523</c:v>
                </c:pt>
                <c:pt idx="52139">
                  <c:v>74165</c:v>
                </c:pt>
                <c:pt idx="52140">
                  <c:v>104030</c:v>
                </c:pt>
                <c:pt idx="52141">
                  <c:v>109851</c:v>
                </c:pt>
                <c:pt idx="52142">
                  <c:v>36518</c:v>
                </c:pt>
                <c:pt idx="52143">
                  <c:v>47095</c:v>
                </c:pt>
                <c:pt idx="52144">
                  <c:v>89451</c:v>
                </c:pt>
                <c:pt idx="52145">
                  <c:v>38416</c:v>
                </c:pt>
                <c:pt idx="52146">
                  <c:v>38872</c:v>
                </c:pt>
                <c:pt idx="52147">
                  <c:v>30800</c:v>
                </c:pt>
                <c:pt idx="52148">
                  <c:v>28795</c:v>
                </c:pt>
                <c:pt idx="52149">
                  <c:v>24734</c:v>
                </c:pt>
                <c:pt idx="52150">
                  <c:v>108923</c:v>
                </c:pt>
                <c:pt idx="52151">
                  <c:v>32682</c:v>
                </c:pt>
                <c:pt idx="52152">
                  <c:v>130103</c:v>
                </c:pt>
                <c:pt idx="52153">
                  <c:v>94576</c:v>
                </c:pt>
                <c:pt idx="52154">
                  <c:v>65728</c:v>
                </c:pt>
                <c:pt idx="52155">
                  <c:v>45479</c:v>
                </c:pt>
                <c:pt idx="52156">
                  <c:v>26961</c:v>
                </c:pt>
                <c:pt idx="52157">
                  <c:v>35357</c:v>
                </c:pt>
                <c:pt idx="52158">
                  <c:v>73755</c:v>
                </c:pt>
                <c:pt idx="52159">
                  <c:v>69301</c:v>
                </c:pt>
                <c:pt idx="52160">
                  <c:v>50054</c:v>
                </c:pt>
                <c:pt idx="52161">
                  <c:v>76151</c:v>
                </c:pt>
                <c:pt idx="52162">
                  <c:v>259777</c:v>
                </c:pt>
                <c:pt idx="52163">
                  <c:v>59205</c:v>
                </c:pt>
                <c:pt idx="52164">
                  <c:v>106077</c:v>
                </c:pt>
                <c:pt idx="52165">
                  <c:v>49877</c:v>
                </c:pt>
                <c:pt idx="52166">
                  <c:v>28505</c:v>
                </c:pt>
                <c:pt idx="52167">
                  <c:v>57483</c:v>
                </c:pt>
                <c:pt idx="52168">
                  <c:v>36656</c:v>
                </c:pt>
                <c:pt idx="52169">
                  <c:v>80998</c:v>
                </c:pt>
                <c:pt idx="52170">
                  <c:v>67012</c:v>
                </c:pt>
                <c:pt idx="52171">
                  <c:v>142867</c:v>
                </c:pt>
                <c:pt idx="52172">
                  <c:v>44113</c:v>
                </c:pt>
                <c:pt idx="52173">
                  <c:v>283017</c:v>
                </c:pt>
                <c:pt idx="52174">
                  <c:v>59754</c:v>
                </c:pt>
                <c:pt idx="52175">
                  <c:v>26858</c:v>
                </c:pt>
                <c:pt idx="52176">
                  <c:v>95092</c:v>
                </c:pt>
                <c:pt idx="52177">
                  <c:v>37996</c:v>
                </c:pt>
                <c:pt idx="52178">
                  <c:v>24296</c:v>
                </c:pt>
                <c:pt idx="52179">
                  <c:v>29928</c:v>
                </c:pt>
                <c:pt idx="52180">
                  <c:v>21381</c:v>
                </c:pt>
                <c:pt idx="52181">
                  <c:v>237883</c:v>
                </c:pt>
                <c:pt idx="52182">
                  <c:v>25685</c:v>
                </c:pt>
                <c:pt idx="52183">
                  <c:v>93163</c:v>
                </c:pt>
                <c:pt idx="52184">
                  <c:v>26083</c:v>
                </c:pt>
                <c:pt idx="52185">
                  <c:v>45912</c:v>
                </c:pt>
                <c:pt idx="52186">
                  <c:v>39405</c:v>
                </c:pt>
                <c:pt idx="52187">
                  <c:v>52231</c:v>
                </c:pt>
                <c:pt idx="52188">
                  <c:v>184030</c:v>
                </c:pt>
                <c:pt idx="52189">
                  <c:v>46581</c:v>
                </c:pt>
                <c:pt idx="52190">
                  <c:v>29491</c:v>
                </c:pt>
                <c:pt idx="52191">
                  <c:v>32150</c:v>
                </c:pt>
                <c:pt idx="52192">
                  <c:v>26196</c:v>
                </c:pt>
                <c:pt idx="52193">
                  <c:v>39899</c:v>
                </c:pt>
                <c:pt idx="52194">
                  <c:v>49332</c:v>
                </c:pt>
                <c:pt idx="52195">
                  <c:v>30834</c:v>
                </c:pt>
                <c:pt idx="52196">
                  <c:v>44806</c:v>
                </c:pt>
                <c:pt idx="52197">
                  <c:v>203976</c:v>
                </c:pt>
                <c:pt idx="52198">
                  <c:v>60763</c:v>
                </c:pt>
                <c:pt idx="52199">
                  <c:v>64060</c:v>
                </c:pt>
                <c:pt idx="52200">
                  <c:v>33585</c:v>
                </c:pt>
                <c:pt idx="52201">
                  <c:v>31703</c:v>
                </c:pt>
                <c:pt idx="52202">
                  <c:v>35997</c:v>
                </c:pt>
                <c:pt idx="52203">
                  <c:v>35764</c:v>
                </c:pt>
                <c:pt idx="52204">
                  <c:v>143718</c:v>
                </c:pt>
                <c:pt idx="52205">
                  <c:v>108263</c:v>
                </c:pt>
                <c:pt idx="52206">
                  <c:v>36305</c:v>
                </c:pt>
                <c:pt idx="52207">
                  <c:v>32322</c:v>
                </c:pt>
                <c:pt idx="52208">
                  <c:v>43324</c:v>
                </c:pt>
                <c:pt idx="52209">
                  <c:v>27009</c:v>
                </c:pt>
                <c:pt idx="52210">
                  <c:v>54538</c:v>
                </c:pt>
                <c:pt idx="52211">
                  <c:v>31540</c:v>
                </c:pt>
                <c:pt idx="52212">
                  <c:v>39266</c:v>
                </c:pt>
                <c:pt idx="52213">
                  <c:v>98852</c:v>
                </c:pt>
                <c:pt idx="52214">
                  <c:v>27242</c:v>
                </c:pt>
                <c:pt idx="52215">
                  <c:v>36818</c:v>
                </c:pt>
                <c:pt idx="52216">
                  <c:v>136494</c:v>
                </c:pt>
                <c:pt idx="52217">
                  <c:v>138203</c:v>
                </c:pt>
                <c:pt idx="52218">
                  <c:v>33880</c:v>
                </c:pt>
                <c:pt idx="52219">
                  <c:v>36579</c:v>
                </c:pt>
                <c:pt idx="52220">
                  <c:v>101964</c:v>
                </c:pt>
                <c:pt idx="52221">
                  <c:v>44925</c:v>
                </c:pt>
                <c:pt idx="52222">
                  <c:v>41346</c:v>
                </c:pt>
                <c:pt idx="52223">
                  <c:v>38647</c:v>
                </c:pt>
                <c:pt idx="52224">
                  <c:v>29188</c:v>
                </c:pt>
                <c:pt idx="52225">
                  <c:v>42982</c:v>
                </c:pt>
                <c:pt idx="52226">
                  <c:v>22468</c:v>
                </c:pt>
                <c:pt idx="52227">
                  <c:v>38520</c:v>
                </c:pt>
                <c:pt idx="52228">
                  <c:v>30794</c:v>
                </c:pt>
                <c:pt idx="52229">
                  <c:v>395915</c:v>
                </c:pt>
                <c:pt idx="52230">
                  <c:v>24588</c:v>
                </c:pt>
                <c:pt idx="52231">
                  <c:v>47564</c:v>
                </c:pt>
                <c:pt idx="52232">
                  <c:v>26004</c:v>
                </c:pt>
                <c:pt idx="52233">
                  <c:v>69323</c:v>
                </c:pt>
                <c:pt idx="52234">
                  <c:v>184550</c:v>
                </c:pt>
                <c:pt idx="52235">
                  <c:v>178888</c:v>
                </c:pt>
                <c:pt idx="52236">
                  <c:v>48912</c:v>
                </c:pt>
                <c:pt idx="52237">
                  <c:v>44889</c:v>
                </c:pt>
                <c:pt idx="52238">
                  <c:v>84785</c:v>
                </c:pt>
                <c:pt idx="52239">
                  <c:v>30328</c:v>
                </c:pt>
                <c:pt idx="52240">
                  <c:v>41001</c:v>
                </c:pt>
                <c:pt idx="52241">
                  <c:v>45700</c:v>
                </c:pt>
                <c:pt idx="52242">
                  <c:v>36064</c:v>
                </c:pt>
                <c:pt idx="52243">
                  <c:v>112960</c:v>
                </c:pt>
                <c:pt idx="52244">
                  <c:v>56850</c:v>
                </c:pt>
                <c:pt idx="52245">
                  <c:v>86970</c:v>
                </c:pt>
                <c:pt idx="52246">
                  <c:v>230477</c:v>
                </c:pt>
                <c:pt idx="52247">
                  <c:v>22895</c:v>
                </c:pt>
                <c:pt idx="52248">
                  <c:v>26931</c:v>
                </c:pt>
                <c:pt idx="52249">
                  <c:v>29891</c:v>
                </c:pt>
                <c:pt idx="52250">
                  <c:v>212537</c:v>
                </c:pt>
                <c:pt idx="52251">
                  <c:v>42579</c:v>
                </c:pt>
                <c:pt idx="52252">
                  <c:v>41382</c:v>
                </c:pt>
                <c:pt idx="52253">
                  <c:v>96802</c:v>
                </c:pt>
                <c:pt idx="52254">
                  <c:v>37032</c:v>
                </c:pt>
                <c:pt idx="52255">
                  <c:v>25385</c:v>
                </c:pt>
                <c:pt idx="52256">
                  <c:v>57183</c:v>
                </c:pt>
                <c:pt idx="52257">
                  <c:v>27666</c:v>
                </c:pt>
                <c:pt idx="52258">
                  <c:v>31455</c:v>
                </c:pt>
                <c:pt idx="52259">
                  <c:v>39742</c:v>
                </c:pt>
                <c:pt idx="52260">
                  <c:v>39075</c:v>
                </c:pt>
                <c:pt idx="52261">
                  <c:v>20658</c:v>
                </c:pt>
                <c:pt idx="52262">
                  <c:v>56008</c:v>
                </c:pt>
                <c:pt idx="52263">
                  <c:v>33307</c:v>
                </c:pt>
                <c:pt idx="52264">
                  <c:v>49537</c:v>
                </c:pt>
                <c:pt idx="52265">
                  <c:v>15000</c:v>
                </c:pt>
                <c:pt idx="52266">
                  <c:v>32588</c:v>
                </c:pt>
                <c:pt idx="52267">
                  <c:v>26201</c:v>
                </c:pt>
                <c:pt idx="52268">
                  <c:v>74732</c:v>
                </c:pt>
                <c:pt idx="52269">
                  <c:v>50985</c:v>
                </c:pt>
                <c:pt idx="52270">
                  <c:v>42882</c:v>
                </c:pt>
                <c:pt idx="52271">
                  <c:v>92876</c:v>
                </c:pt>
                <c:pt idx="52272">
                  <c:v>30315</c:v>
                </c:pt>
                <c:pt idx="52273">
                  <c:v>32494</c:v>
                </c:pt>
                <c:pt idx="52274">
                  <c:v>35479</c:v>
                </c:pt>
                <c:pt idx="52275">
                  <c:v>126833</c:v>
                </c:pt>
                <c:pt idx="52276">
                  <c:v>72639</c:v>
                </c:pt>
                <c:pt idx="52277">
                  <c:v>71919</c:v>
                </c:pt>
                <c:pt idx="52278">
                  <c:v>48159</c:v>
                </c:pt>
                <c:pt idx="52279">
                  <c:v>37145</c:v>
                </c:pt>
                <c:pt idx="52280">
                  <c:v>42264</c:v>
                </c:pt>
                <c:pt idx="52281">
                  <c:v>22263</c:v>
                </c:pt>
                <c:pt idx="52282">
                  <c:v>62893</c:v>
                </c:pt>
                <c:pt idx="52283">
                  <c:v>65203</c:v>
                </c:pt>
                <c:pt idx="52284">
                  <c:v>135186</c:v>
                </c:pt>
                <c:pt idx="52285">
                  <c:v>20813</c:v>
                </c:pt>
                <c:pt idx="52286">
                  <c:v>38964</c:v>
                </c:pt>
                <c:pt idx="52287">
                  <c:v>41394</c:v>
                </c:pt>
                <c:pt idx="52288">
                  <c:v>43187</c:v>
                </c:pt>
                <c:pt idx="52289">
                  <c:v>54484</c:v>
                </c:pt>
                <c:pt idx="52290">
                  <c:v>43821</c:v>
                </c:pt>
                <c:pt idx="52291">
                  <c:v>38773</c:v>
                </c:pt>
                <c:pt idx="52292">
                  <c:v>131130</c:v>
                </c:pt>
                <c:pt idx="52293">
                  <c:v>57011</c:v>
                </c:pt>
                <c:pt idx="52294">
                  <c:v>31392</c:v>
                </c:pt>
                <c:pt idx="52295">
                  <c:v>28189</c:v>
                </c:pt>
                <c:pt idx="52296">
                  <c:v>35446</c:v>
                </c:pt>
                <c:pt idx="52297">
                  <c:v>196362</c:v>
                </c:pt>
                <c:pt idx="52298">
                  <c:v>26101</c:v>
                </c:pt>
                <c:pt idx="52299">
                  <c:v>56764</c:v>
                </c:pt>
                <c:pt idx="52300">
                  <c:v>56939</c:v>
                </c:pt>
                <c:pt idx="52301">
                  <c:v>263162</c:v>
                </c:pt>
                <c:pt idx="52302">
                  <c:v>28815</c:v>
                </c:pt>
                <c:pt idx="52303">
                  <c:v>45561</c:v>
                </c:pt>
                <c:pt idx="52304">
                  <c:v>132405</c:v>
                </c:pt>
                <c:pt idx="52305">
                  <c:v>67718</c:v>
                </c:pt>
                <c:pt idx="52306">
                  <c:v>106798</c:v>
                </c:pt>
                <c:pt idx="52307">
                  <c:v>30101</c:v>
                </c:pt>
                <c:pt idx="52308">
                  <c:v>40496</c:v>
                </c:pt>
                <c:pt idx="52309">
                  <c:v>58090</c:v>
                </c:pt>
                <c:pt idx="52310">
                  <c:v>42310</c:v>
                </c:pt>
                <c:pt idx="52311">
                  <c:v>260126</c:v>
                </c:pt>
                <c:pt idx="52312">
                  <c:v>76991</c:v>
                </c:pt>
                <c:pt idx="52313">
                  <c:v>67253</c:v>
                </c:pt>
                <c:pt idx="52314">
                  <c:v>38225</c:v>
                </c:pt>
                <c:pt idx="52315">
                  <c:v>54061</c:v>
                </c:pt>
                <c:pt idx="52316">
                  <c:v>95018</c:v>
                </c:pt>
                <c:pt idx="52317">
                  <c:v>23830</c:v>
                </c:pt>
                <c:pt idx="52318">
                  <c:v>39378</c:v>
                </c:pt>
                <c:pt idx="52319">
                  <c:v>74609</c:v>
                </c:pt>
                <c:pt idx="52320">
                  <c:v>99222</c:v>
                </c:pt>
                <c:pt idx="52321">
                  <c:v>59801</c:v>
                </c:pt>
                <c:pt idx="52322">
                  <c:v>127841</c:v>
                </c:pt>
                <c:pt idx="52323">
                  <c:v>33001</c:v>
                </c:pt>
                <c:pt idx="52324">
                  <c:v>157844</c:v>
                </c:pt>
                <c:pt idx="52325">
                  <c:v>32075</c:v>
                </c:pt>
                <c:pt idx="52326">
                  <c:v>42778</c:v>
                </c:pt>
                <c:pt idx="52327">
                  <c:v>41424</c:v>
                </c:pt>
                <c:pt idx="52328">
                  <c:v>31536</c:v>
                </c:pt>
                <c:pt idx="52329">
                  <c:v>34048</c:v>
                </c:pt>
                <c:pt idx="52330">
                  <c:v>22842</c:v>
                </c:pt>
                <c:pt idx="52331">
                  <c:v>23472</c:v>
                </c:pt>
                <c:pt idx="52332">
                  <c:v>65769</c:v>
                </c:pt>
                <c:pt idx="52333">
                  <c:v>51545</c:v>
                </c:pt>
                <c:pt idx="52334">
                  <c:v>48510</c:v>
                </c:pt>
                <c:pt idx="52335">
                  <c:v>23476</c:v>
                </c:pt>
                <c:pt idx="52336">
                  <c:v>117176</c:v>
                </c:pt>
                <c:pt idx="52337">
                  <c:v>49307</c:v>
                </c:pt>
                <c:pt idx="52338">
                  <c:v>23134</c:v>
                </c:pt>
                <c:pt idx="52339">
                  <c:v>24438</c:v>
                </c:pt>
                <c:pt idx="52340">
                  <c:v>52513</c:v>
                </c:pt>
                <c:pt idx="52341">
                  <c:v>64092</c:v>
                </c:pt>
                <c:pt idx="52342">
                  <c:v>24833</c:v>
                </c:pt>
                <c:pt idx="52343">
                  <c:v>54271</c:v>
                </c:pt>
                <c:pt idx="52344">
                  <c:v>45721</c:v>
                </c:pt>
                <c:pt idx="52345">
                  <c:v>119235</c:v>
                </c:pt>
                <c:pt idx="52346">
                  <c:v>63730</c:v>
                </c:pt>
                <c:pt idx="52347">
                  <c:v>43658</c:v>
                </c:pt>
                <c:pt idx="52348">
                  <c:v>36545</c:v>
                </c:pt>
                <c:pt idx="52349">
                  <c:v>158888</c:v>
                </c:pt>
                <c:pt idx="52350">
                  <c:v>35691</c:v>
                </c:pt>
                <c:pt idx="52351">
                  <c:v>39476</c:v>
                </c:pt>
                <c:pt idx="52352">
                  <c:v>25064</c:v>
                </c:pt>
                <c:pt idx="52353">
                  <c:v>36029</c:v>
                </c:pt>
                <c:pt idx="52354">
                  <c:v>28966</c:v>
                </c:pt>
                <c:pt idx="52355">
                  <c:v>23258</c:v>
                </c:pt>
                <c:pt idx="52356">
                  <c:v>34086</c:v>
                </c:pt>
                <c:pt idx="52357">
                  <c:v>31399</c:v>
                </c:pt>
                <c:pt idx="52358">
                  <c:v>40112</c:v>
                </c:pt>
                <c:pt idx="52359">
                  <c:v>37465</c:v>
                </c:pt>
                <c:pt idx="52360">
                  <c:v>28319</c:v>
                </c:pt>
                <c:pt idx="52361">
                  <c:v>42080</c:v>
                </c:pt>
                <c:pt idx="52362">
                  <c:v>207867</c:v>
                </c:pt>
                <c:pt idx="52363">
                  <c:v>71723</c:v>
                </c:pt>
                <c:pt idx="52364">
                  <c:v>44111</c:v>
                </c:pt>
                <c:pt idx="52365">
                  <c:v>33657</c:v>
                </c:pt>
                <c:pt idx="52366">
                  <c:v>45279</c:v>
                </c:pt>
                <c:pt idx="52367">
                  <c:v>35591</c:v>
                </c:pt>
                <c:pt idx="52368">
                  <c:v>32318</c:v>
                </c:pt>
                <c:pt idx="52369">
                  <c:v>61287</c:v>
                </c:pt>
                <c:pt idx="52370">
                  <c:v>232925</c:v>
                </c:pt>
                <c:pt idx="52371">
                  <c:v>54665</c:v>
                </c:pt>
                <c:pt idx="52372">
                  <c:v>34022</c:v>
                </c:pt>
                <c:pt idx="52373">
                  <c:v>48042</c:v>
                </c:pt>
                <c:pt idx="52374">
                  <c:v>28061</c:v>
                </c:pt>
                <c:pt idx="52375">
                  <c:v>64053</c:v>
                </c:pt>
                <c:pt idx="52376">
                  <c:v>25439</c:v>
                </c:pt>
                <c:pt idx="52377">
                  <c:v>28453</c:v>
                </c:pt>
                <c:pt idx="52378">
                  <c:v>60152</c:v>
                </c:pt>
                <c:pt idx="52379">
                  <c:v>23418</c:v>
                </c:pt>
                <c:pt idx="52380">
                  <c:v>36627</c:v>
                </c:pt>
                <c:pt idx="52381">
                  <c:v>54209</c:v>
                </c:pt>
                <c:pt idx="52382">
                  <c:v>83501</c:v>
                </c:pt>
                <c:pt idx="52383">
                  <c:v>32509</c:v>
                </c:pt>
                <c:pt idx="52384">
                  <c:v>37814</c:v>
                </c:pt>
                <c:pt idx="52385">
                  <c:v>211865</c:v>
                </c:pt>
                <c:pt idx="52386">
                  <c:v>30030</c:v>
                </c:pt>
                <c:pt idx="52387">
                  <c:v>41578</c:v>
                </c:pt>
                <c:pt idx="52388">
                  <c:v>29536</c:v>
                </c:pt>
                <c:pt idx="52389">
                  <c:v>50853</c:v>
                </c:pt>
                <c:pt idx="52390">
                  <c:v>62367</c:v>
                </c:pt>
                <c:pt idx="52391">
                  <c:v>144217</c:v>
                </c:pt>
                <c:pt idx="52392">
                  <c:v>32880</c:v>
                </c:pt>
                <c:pt idx="52393">
                  <c:v>29808</c:v>
                </c:pt>
                <c:pt idx="52394">
                  <c:v>59520</c:v>
                </c:pt>
                <c:pt idx="52395">
                  <c:v>43902</c:v>
                </c:pt>
                <c:pt idx="52396">
                  <c:v>43003</c:v>
                </c:pt>
                <c:pt idx="52397">
                  <c:v>40535</c:v>
                </c:pt>
                <c:pt idx="52398">
                  <c:v>61955</c:v>
                </c:pt>
                <c:pt idx="52399">
                  <c:v>25637</c:v>
                </c:pt>
                <c:pt idx="52400">
                  <c:v>59420</c:v>
                </c:pt>
                <c:pt idx="52401">
                  <c:v>32210</c:v>
                </c:pt>
                <c:pt idx="52402">
                  <c:v>65804</c:v>
                </c:pt>
                <c:pt idx="52403">
                  <c:v>36101</c:v>
                </c:pt>
                <c:pt idx="52404">
                  <c:v>45946</c:v>
                </c:pt>
                <c:pt idx="52405">
                  <c:v>44725</c:v>
                </c:pt>
                <c:pt idx="52406">
                  <c:v>88312</c:v>
                </c:pt>
                <c:pt idx="52407">
                  <c:v>97724</c:v>
                </c:pt>
                <c:pt idx="52408">
                  <c:v>33251</c:v>
                </c:pt>
                <c:pt idx="52409">
                  <c:v>36994</c:v>
                </c:pt>
                <c:pt idx="52410">
                  <c:v>39223</c:v>
                </c:pt>
                <c:pt idx="52411">
                  <c:v>77451</c:v>
                </c:pt>
                <c:pt idx="52412">
                  <c:v>31572</c:v>
                </c:pt>
                <c:pt idx="52413">
                  <c:v>25091</c:v>
                </c:pt>
                <c:pt idx="52414">
                  <c:v>22516</c:v>
                </c:pt>
                <c:pt idx="52415">
                  <c:v>23870</c:v>
                </c:pt>
                <c:pt idx="52416">
                  <c:v>34425</c:v>
                </c:pt>
                <c:pt idx="52417">
                  <c:v>185725</c:v>
                </c:pt>
                <c:pt idx="52418">
                  <c:v>34282</c:v>
                </c:pt>
                <c:pt idx="52419">
                  <c:v>43056</c:v>
                </c:pt>
                <c:pt idx="52420">
                  <c:v>70627</c:v>
                </c:pt>
                <c:pt idx="52421">
                  <c:v>36344</c:v>
                </c:pt>
                <c:pt idx="52422">
                  <c:v>46905</c:v>
                </c:pt>
                <c:pt idx="52423">
                  <c:v>34723</c:v>
                </c:pt>
                <c:pt idx="52424">
                  <c:v>111588</c:v>
                </c:pt>
                <c:pt idx="52425">
                  <c:v>26651</c:v>
                </c:pt>
                <c:pt idx="52426">
                  <c:v>35575</c:v>
                </c:pt>
                <c:pt idx="52427">
                  <c:v>108155</c:v>
                </c:pt>
                <c:pt idx="52428">
                  <c:v>37694</c:v>
                </c:pt>
                <c:pt idx="52429">
                  <c:v>46472</c:v>
                </c:pt>
                <c:pt idx="52430">
                  <c:v>49981</c:v>
                </c:pt>
                <c:pt idx="52431">
                  <c:v>24588</c:v>
                </c:pt>
                <c:pt idx="52432">
                  <c:v>27799</c:v>
                </c:pt>
                <c:pt idx="52433">
                  <c:v>51569</c:v>
                </c:pt>
                <c:pt idx="52434">
                  <c:v>37946</c:v>
                </c:pt>
                <c:pt idx="52435">
                  <c:v>42077</c:v>
                </c:pt>
                <c:pt idx="52436">
                  <c:v>46046</c:v>
                </c:pt>
                <c:pt idx="52437">
                  <c:v>40714</c:v>
                </c:pt>
                <c:pt idx="52438">
                  <c:v>51173</c:v>
                </c:pt>
                <c:pt idx="52439">
                  <c:v>39252</c:v>
                </c:pt>
                <c:pt idx="52440">
                  <c:v>70236</c:v>
                </c:pt>
                <c:pt idx="52441">
                  <c:v>102886</c:v>
                </c:pt>
                <c:pt idx="52442">
                  <c:v>37180</c:v>
                </c:pt>
                <c:pt idx="52443">
                  <c:v>57801</c:v>
                </c:pt>
                <c:pt idx="52444">
                  <c:v>33984</c:v>
                </c:pt>
                <c:pt idx="52445">
                  <c:v>127723</c:v>
                </c:pt>
                <c:pt idx="52446">
                  <c:v>47328</c:v>
                </c:pt>
                <c:pt idx="52447">
                  <c:v>53046</c:v>
                </c:pt>
                <c:pt idx="52448">
                  <c:v>30340</c:v>
                </c:pt>
                <c:pt idx="52449">
                  <c:v>41962</c:v>
                </c:pt>
                <c:pt idx="52450">
                  <c:v>58567</c:v>
                </c:pt>
                <c:pt idx="52451">
                  <c:v>27710</c:v>
                </c:pt>
                <c:pt idx="52452">
                  <c:v>91467</c:v>
                </c:pt>
                <c:pt idx="52453">
                  <c:v>23764</c:v>
                </c:pt>
                <c:pt idx="52454">
                  <c:v>83969</c:v>
                </c:pt>
                <c:pt idx="52455">
                  <c:v>65246</c:v>
                </c:pt>
                <c:pt idx="52456">
                  <c:v>43394</c:v>
                </c:pt>
                <c:pt idx="52457">
                  <c:v>48735</c:v>
                </c:pt>
                <c:pt idx="52458">
                  <c:v>26867</c:v>
                </c:pt>
                <c:pt idx="52459">
                  <c:v>29799</c:v>
                </c:pt>
                <c:pt idx="52460">
                  <c:v>41713</c:v>
                </c:pt>
                <c:pt idx="52461">
                  <c:v>45405</c:v>
                </c:pt>
                <c:pt idx="52462">
                  <c:v>51965</c:v>
                </c:pt>
                <c:pt idx="52463">
                  <c:v>264072</c:v>
                </c:pt>
                <c:pt idx="52464">
                  <c:v>80905</c:v>
                </c:pt>
                <c:pt idx="52465">
                  <c:v>39214</c:v>
                </c:pt>
                <c:pt idx="52466">
                  <c:v>46232</c:v>
                </c:pt>
                <c:pt idx="52467">
                  <c:v>26164</c:v>
                </c:pt>
                <c:pt idx="52468">
                  <c:v>36883</c:v>
                </c:pt>
                <c:pt idx="52469">
                  <c:v>44278</c:v>
                </c:pt>
                <c:pt idx="52470">
                  <c:v>127628</c:v>
                </c:pt>
                <c:pt idx="52471">
                  <c:v>72884</c:v>
                </c:pt>
                <c:pt idx="52472">
                  <c:v>62598</c:v>
                </c:pt>
                <c:pt idx="52473">
                  <c:v>25636</c:v>
                </c:pt>
                <c:pt idx="52474">
                  <c:v>71555</c:v>
                </c:pt>
                <c:pt idx="52475">
                  <c:v>29027</c:v>
                </c:pt>
                <c:pt idx="52476">
                  <c:v>94729</c:v>
                </c:pt>
                <c:pt idx="52477">
                  <c:v>68798</c:v>
                </c:pt>
                <c:pt idx="52478">
                  <c:v>96520</c:v>
                </c:pt>
                <c:pt idx="52479">
                  <c:v>103509</c:v>
                </c:pt>
                <c:pt idx="52480">
                  <c:v>23088</c:v>
                </c:pt>
                <c:pt idx="52481">
                  <c:v>39031</c:v>
                </c:pt>
                <c:pt idx="52482">
                  <c:v>43456</c:v>
                </c:pt>
                <c:pt idx="52483">
                  <c:v>36528</c:v>
                </c:pt>
                <c:pt idx="52484">
                  <c:v>90175</c:v>
                </c:pt>
                <c:pt idx="52485">
                  <c:v>43824</c:v>
                </c:pt>
                <c:pt idx="52486">
                  <c:v>30997</c:v>
                </c:pt>
                <c:pt idx="52487">
                  <c:v>178861</c:v>
                </c:pt>
                <c:pt idx="52488">
                  <c:v>86196</c:v>
                </c:pt>
                <c:pt idx="52489">
                  <c:v>22565</c:v>
                </c:pt>
                <c:pt idx="52490">
                  <c:v>57289</c:v>
                </c:pt>
                <c:pt idx="52491">
                  <c:v>113329</c:v>
                </c:pt>
                <c:pt idx="52492">
                  <c:v>51257</c:v>
                </c:pt>
                <c:pt idx="52493">
                  <c:v>124951</c:v>
                </c:pt>
                <c:pt idx="52494">
                  <c:v>31072</c:v>
                </c:pt>
                <c:pt idx="52495">
                  <c:v>62089</c:v>
                </c:pt>
                <c:pt idx="52496">
                  <c:v>29246</c:v>
                </c:pt>
                <c:pt idx="52497">
                  <c:v>41971</c:v>
                </c:pt>
                <c:pt idx="52498">
                  <c:v>69997</c:v>
                </c:pt>
                <c:pt idx="52499">
                  <c:v>149207</c:v>
                </c:pt>
                <c:pt idx="52500">
                  <c:v>22994</c:v>
                </c:pt>
                <c:pt idx="52501">
                  <c:v>60142</c:v>
                </c:pt>
                <c:pt idx="52502">
                  <c:v>43205</c:v>
                </c:pt>
                <c:pt idx="52503">
                  <c:v>61512</c:v>
                </c:pt>
                <c:pt idx="52504">
                  <c:v>42450</c:v>
                </c:pt>
                <c:pt idx="52505">
                  <c:v>39792</c:v>
                </c:pt>
                <c:pt idx="52506">
                  <c:v>36414</c:v>
                </c:pt>
                <c:pt idx="52507">
                  <c:v>37759</c:v>
                </c:pt>
                <c:pt idx="52508">
                  <c:v>38907</c:v>
                </c:pt>
                <c:pt idx="52509">
                  <c:v>105837</c:v>
                </c:pt>
                <c:pt idx="52510">
                  <c:v>46333</c:v>
                </c:pt>
                <c:pt idx="52511">
                  <c:v>29077</c:v>
                </c:pt>
                <c:pt idx="52512">
                  <c:v>205110</c:v>
                </c:pt>
                <c:pt idx="52513">
                  <c:v>30587</c:v>
                </c:pt>
                <c:pt idx="52514">
                  <c:v>68903</c:v>
                </c:pt>
                <c:pt idx="52515">
                  <c:v>35693</c:v>
                </c:pt>
                <c:pt idx="52516">
                  <c:v>129398</c:v>
                </c:pt>
                <c:pt idx="52517">
                  <c:v>59362</c:v>
                </c:pt>
                <c:pt idx="52518">
                  <c:v>49112</c:v>
                </c:pt>
                <c:pt idx="52519">
                  <c:v>67112</c:v>
                </c:pt>
                <c:pt idx="52520">
                  <c:v>140436</c:v>
                </c:pt>
                <c:pt idx="52521">
                  <c:v>50439</c:v>
                </c:pt>
                <c:pt idx="52522">
                  <c:v>43047</c:v>
                </c:pt>
                <c:pt idx="52523">
                  <c:v>31344</c:v>
                </c:pt>
                <c:pt idx="52524">
                  <c:v>158672</c:v>
                </c:pt>
                <c:pt idx="52525">
                  <c:v>42358</c:v>
                </c:pt>
                <c:pt idx="52526">
                  <c:v>31787</c:v>
                </c:pt>
                <c:pt idx="52527">
                  <c:v>45196</c:v>
                </c:pt>
                <c:pt idx="52528">
                  <c:v>28022</c:v>
                </c:pt>
                <c:pt idx="52529">
                  <c:v>30053</c:v>
                </c:pt>
                <c:pt idx="52530">
                  <c:v>38956</c:v>
                </c:pt>
                <c:pt idx="52531">
                  <c:v>29383</c:v>
                </c:pt>
                <c:pt idx="52532">
                  <c:v>65609</c:v>
                </c:pt>
                <c:pt idx="52533">
                  <c:v>93857</c:v>
                </c:pt>
                <c:pt idx="52534">
                  <c:v>207426</c:v>
                </c:pt>
                <c:pt idx="52535">
                  <c:v>27395</c:v>
                </c:pt>
                <c:pt idx="52536">
                  <c:v>30564</c:v>
                </c:pt>
                <c:pt idx="52537">
                  <c:v>41127</c:v>
                </c:pt>
                <c:pt idx="52538">
                  <c:v>165086</c:v>
                </c:pt>
                <c:pt idx="52539">
                  <c:v>78478</c:v>
                </c:pt>
                <c:pt idx="52540">
                  <c:v>25178</c:v>
                </c:pt>
                <c:pt idx="52541">
                  <c:v>72155</c:v>
                </c:pt>
                <c:pt idx="52542">
                  <c:v>34701</c:v>
                </c:pt>
                <c:pt idx="52543">
                  <c:v>23487</c:v>
                </c:pt>
                <c:pt idx="52544">
                  <c:v>46236</c:v>
                </c:pt>
                <c:pt idx="52545">
                  <c:v>48969</c:v>
                </c:pt>
                <c:pt idx="52546">
                  <c:v>183489</c:v>
                </c:pt>
                <c:pt idx="52547">
                  <c:v>39478</c:v>
                </c:pt>
                <c:pt idx="52548">
                  <c:v>34367</c:v>
                </c:pt>
                <c:pt idx="52549">
                  <c:v>45182</c:v>
                </c:pt>
                <c:pt idx="52550">
                  <c:v>40724</c:v>
                </c:pt>
                <c:pt idx="52551">
                  <c:v>41413</c:v>
                </c:pt>
                <c:pt idx="52552">
                  <c:v>33742</c:v>
                </c:pt>
                <c:pt idx="52553">
                  <c:v>112237</c:v>
                </c:pt>
                <c:pt idx="52554">
                  <c:v>42515</c:v>
                </c:pt>
                <c:pt idx="52555">
                  <c:v>27677</c:v>
                </c:pt>
                <c:pt idx="52556">
                  <c:v>23856</c:v>
                </c:pt>
                <c:pt idx="52557">
                  <c:v>25451</c:v>
                </c:pt>
                <c:pt idx="52558">
                  <c:v>38926</c:v>
                </c:pt>
                <c:pt idx="52559">
                  <c:v>103957</c:v>
                </c:pt>
                <c:pt idx="52560">
                  <c:v>61721</c:v>
                </c:pt>
                <c:pt idx="52561">
                  <c:v>55382</c:v>
                </c:pt>
                <c:pt idx="52562">
                  <c:v>49891</c:v>
                </c:pt>
                <c:pt idx="52563">
                  <c:v>61574</c:v>
                </c:pt>
                <c:pt idx="52564">
                  <c:v>24941</c:v>
                </c:pt>
                <c:pt idx="52565">
                  <c:v>99072</c:v>
                </c:pt>
                <c:pt idx="52566">
                  <c:v>55177</c:v>
                </c:pt>
                <c:pt idx="52567">
                  <c:v>40332</c:v>
                </c:pt>
                <c:pt idx="52568">
                  <c:v>26854</c:v>
                </c:pt>
                <c:pt idx="52569">
                  <c:v>46088</c:v>
                </c:pt>
                <c:pt idx="52570">
                  <c:v>74622</c:v>
                </c:pt>
                <c:pt idx="52571">
                  <c:v>200660</c:v>
                </c:pt>
                <c:pt idx="52572">
                  <c:v>30691</c:v>
                </c:pt>
                <c:pt idx="52573">
                  <c:v>28586</c:v>
                </c:pt>
                <c:pt idx="52574">
                  <c:v>32445</c:v>
                </c:pt>
                <c:pt idx="52575">
                  <c:v>23902</c:v>
                </c:pt>
                <c:pt idx="52576">
                  <c:v>33072</c:v>
                </c:pt>
                <c:pt idx="52577">
                  <c:v>29952</c:v>
                </c:pt>
                <c:pt idx="52578">
                  <c:v>88470</c:v>
                </c:pt>
                <c:pt idx="52579">
                  <c:v>25090</c:v>
                </c:pt>
                <c:pt idx="52580">
                  <c:v>196323</c:v>
                </c:pt>
                <c:pt idx="52581">
                  <c:v>43341</c:v>
                </c:pt>
                <c:pt idx="52582">
                  <c:v>46145</c:v>
                </c:pt>
                <c:pt idx="52583">
                  <c:v>32216</c:v>
                </c:pt>
                <c:pt idx="52584">
                  <c:v>26176</c:v>
                </c:pt>
                <c:pt idx="52585">
                  <c:v>31432</c:v>
                </c:pt>
                <c:pt idx="52586">
                  <c:v>47523</c:v>
                </c:pt>
                <c:pt idx="52587">
                  <c:v>56944</c:v>
                </c:pt>
                <c:pt idx="52588">
                  <c:v>29247</c:v>
                </c:pt>
                <c:pt idx="52589">
                  <c:v>47226</c:v>
                </c:pt>
                <c:pt idx="52590">
                  <c:v>22684</c:v>
                </c:pt>
                <c:pt idx="52591">
                  <c:v>44561</c:v>
                </c:pt>
                <c:pt idx="52592">
                  <c:v>34322</c:v>
                </c:pt>
                <c:pt idx="52593">
                  <c:v>33564</c:v>
                </c:pt>
                <c:pt idx="52594">
                  <c:v>44445</c:v>
                </c:pt>
                <c:pt idx="52595">
                  <c:v>37480</c:v>
                </c:pt>
                <c:pt idx="52596">
                  <c:v>83541</c:v>
                </c:pt>
                <c:pt idx="52597">
                  <c:v>92919</c:v>
                </c:pt>
                <c:pt idx="52598">
                  <c:v>40966</c:v>
                </c:pt>
                <c:pt idx="52599">
                  <c:v>22202</c:v>
                </c:pt>
                <c:pt idx="52600">
                  <c:v>30484</c:v>
                </c:pt>
                <c:pt idx="52601">
                  <c:v>29270</c:v>
                </c:pt>
                <c:pt idx="52602">
                  <c:v>88814</c:v>
                </c:pt>
                <c:pt idx="52603">
                  <c:v>24441</c:v>
                </c:pt>
                <c:pt idx="52604">
                  <c:v>30089</c:v>
                </c:pt>
                <c:pt idx="52605">
                  <c:v>39716</c:v>
                </c:pt>
                <c:pt idx="52606">
                  <c:v>105638</c:v>
                </c:pt>
                <c:pt idx="52607">
                  <c:v>28880</c:v>
                </c:pt>
                <c:pt idx="52608">
                  <c:v>41632</c:v>
                </c:pt>
                <c:pt idx="52609">
                  <c:v>65031</c:v>
                </c:pt>
                <c:pt idx="52610">
                  <c:v>27960</c:v>
                </c:pt>
                <c:pt idx="52611">
                  <c:v>36027</c:v>
                </c:pt>
                <c:pt idx="52612">
                  <c:v>97545</c:v>
                </c:pt>
                <c:pt idx="52613">
                  <c:v>65223</c:v>
                </c:pt>
                <c:pt idx="52614">
                  <c:v>74613</c:v>
                </c:pt>
                <c:pt idx="52615">
                  <c:v>29714</c:v>
                </c:pt>
                <c:pt idx="52616">
                  <c:v>42902</c:v>
                </c:pt>
                <c:pt idx="52617">
                  <c:v>126909</c:v>
                </c:pt>
                <c:pt idx="52618">
                  <c:v>29708</c:v>
                </c:pt>
                <c:pt idx="52619">
                  <c:v>41433</c:v>
                </c:pt>
                <c:pt idx="52620">
                  <c:v>64625</c:v>
                </c:pt>
                <c:pt idx="52621">
                  <c:v>31788</c:v>
                </c:pt>
                <c:pt idx="52622">
                  <c:v>43102</c:v>
                </c:pt>
                <c:pt idx="52623">
                  <c:v>81411</c:v>
                </c:pt>
                <c:pt idx="52624">
                  <c:v>42984</c:v>
                </c:pt>
                <c:pt idx="52625">
                  <c:v>24506</c:v>
                </c:pt>
                <c:pt idx="52626">
                  <c:v>25058</c:v>
                </c:pt>
                <c:pt idx="52627">
                  <c:v>32003</c:v>
                </c:pt>
                <c:pt idx="52628">
                  <c:v>40634</c:v>
                </c:pt>
                <c:pt idx="52629">
                  <c:v>232689</c:v>
                </c:pt>
                <c:pt idx="52630">
                  <c:v>24088</c:v>
                </c:pt>
                <c:pt idx="52631">
                  <c:v>43733</c:v>
                </c:pt>
                <c:pt idx="52632">
                  <c:v>103655</c:v>
                </c:pt>
                <c:pt idx="52633">
                  <c:v>116635</c:v>
                </c:pt>
                <c:pt idx="52634">
                  <c:v>23712</c:v>
                </c:pt>
                <c:pt idx="52635">
                  <c:v>39034</c:v>
                </c:pt>
                <c:pt idx="52636">
                  <c:v>39651</c:v>
                </c:pt>
                <c:pt idx="52637">
                  <c:v>25522</c:v>
                </c:pt>
                <c:pt idx="52638">
                  <c:v>41480</c:v>
                </c:pt>
                <c:pt idx="52639">
                  <c:v>32803</c:v>
                </c:pt>
                <c:pt idx="52640">
                  <c:v>40355</c:v>
                </c:pt>
                <c:pt idx="52641">
                  <c:v>31288</c:v>
                </c:pt>
                <c:pt idx="52642">
                  <c:v>68328</c:v>
                </c:pt>
                <c:pt idx="52643">
                  <c:v>31047</c:v>
                </c:pt>
                <c:pt idx="52644">
                  <c:v>39364</c:v>
                </c:pt>
                <c:pt idx="52645">
                  <c:v>33900</c:v>
                </c:pt>
                <c:pt idx="52646">
                  <c:v>86815</c:v>
                </c:pt>
                <c:pt idx="52647">
                  <c:v>42192</c:v>
                </c:pt>
                <c:pt idx="52648">
                  <c:v>117084</c:v>
                </c:pt>
                <c:pt idx="52649">
                  <c:v>71432</c:v>
                </c:pt>
                <c:pt idx="52650">
                  <c:v>164591</c:v>
                </c:pt>
                <c:pt idx="52651">
                  <c:v>23479</c:v>
                </c:pt>
                <c:pt idx="52652">
                  <c:v>48444</c:v>
                </c:pt>
                <c:pt idx="52653">
                  <c:v>67562</c:v>
                </c:pt>
                <c:pt idx="52654">
                  <c:v>70172</c:v>
                </c:pt>
                <c:pt idx="52655">
                  <c:v>35259</c:v>
                </c:pt>
                <c:pt idx="52656">
                  <c:v>36472</c:v>
                </c:pt>
                <c:pt idx="52657">
                  <c:v>43073</c:v>
                </c:pt>
                <c:pt idx="52658">
                  <c:v>35197</c:v>
                </c:pt>
                <c:pt idx="52659">
                  <c:v>167689</c:v>
                </c:pt>
                <c:pt idx="52660">
                  <c:v>49613</c:v>
                </c:pt>
                <c:pt idx="52661">
                  <c:v>34527</c:v>
                </c:pt>
                <c:pt idx="52662">
                  <c:v>35503</c:v>
                </c:pt>
                <c:pt idx="52663">
                  <c:v>94648</c:v>
                </c:pt>
                <c:pt idx="52664">
                  <c:v>35622</c:v>
                </c:pt>
                <c:pt idx="52665">
                  <c:v>43146</c:v>
                </c:pt>
                <c:pt idx="52666">
                  <c:v>49659</c:v>
                </c:pt>
                <c:pt idx="52667">
                  <c:v>63678</c:v>
                </c:pt>
                <c:pt idx="52668">
                  <c:v>110063</c:v>
                </c:pt>
                <c:pt idx="52669">
                  <c:v>47018</c:v>
                </c:pt>
                <c:pt idx="52670">
                  <c:v>44867</c:v>
                </c:pt>
                <c:pt idx="52671">
                  <c:v>35313</c:v>
                </c:pt>
                <c:pt idx="52672">
                  <c:v>61302</c:v>
                </c:pt>
                <c:pt idx="52673">
                  <c:v>26453</c:v>
                </c:pt>
                <c:pt idx="52674">
                  <c:v>24312</c:v>
                </c:pt>
                <c:pt idx="52675">
                  <c:v>30235</c:v>
                </c:pt>
                <c:pt idx="52676">
                  <c:v>84327</c:v>
                </c:pt>
                <c:pt idx="52677">
                  <c:v>52021</c:v>
                </c:pt>
                <c:pt idx="52678">
                  <c:v>49374</c:v>
                </c:pt>
                <c:pt idx="52679">
                  <c:v>49127</c:v>
                </c:pt>
                <c:pt idx="52680">
                  <c:v>32832</c:v>
                </c:pt>
                <c:pt idx="52681">
                  <c:v>31970</c:v>
                </c:pt>
                <c:pt idx="52682">
                  <c:v>25003</c:v>
                </c:pt>
                <c:pt idx="52683">
                  <c:v>65094</c:v>
                </c:pt>
                <c:pt idx="52684">
                  <c:v>25589</c:v>
                </c:pt>
                <c:pt idx="52685">
                  <c:v>40975</c:v>
                </c:pt>
                <c:pt idx="52686">
                  <c:v>25597</c:v>
                </c:pt>
                <c:pt idx="52687">
                  <c:v>31468</c:v>
                </c:pt>
                <c:pt idx="52688">
                  <c:v>34240</c:v>
                </c:pt>
                <c:pt idx="52689">
                  <c:v>24153</c:v>
                </c:pt>
                <c:pt idx="52690">
                  <c:v>153951</c:v>
                </c:pt>
                <c:pt idx="52691">
                  <c:v>109387</c:v>
                </c:pt>
                <c:pt idx="52692">
                  <c:v>90635</c:v>
                </c:pt>
                <c:pt idx="52693">
                  <c:v>21688</c:v>
                </c:pt>
                <c:pt idx="52694">
                  <c:v>34006</c:v>
                </c:pt>
                <c:pt idx="52695">
                  <c:v>68897</c:v>
                </c:pt>
                <c:pt idx="52696">
                  <c:v>36167</c:v>
                </c:pt>
                <c:pt idx="52697">
                  <c:v>44905</c:v>
                </c:pt>
                <c:pt idx="52698">
                  <c:v>42848</c:v>
                </c:pt>
                <c:pt idx="52699">
                  <c:v>40056</c:v>
                </c:pt>
                <c:pt idx="52700">
                  <c:v>31418</c:v>
                </c:pt>
                <c:pt idx="52701">
                  <c:v>118794</c:v>
                </c:pt>
                <c:pt idx="52702">
                  <c:v>59983</c:v>
                </c:pt>
                <c:pt idx="52703">
                  <c:v>66551</c:v>
                </c:pt>
                <c:pt idx="52704">
                  <c:v>39873</c:v>
                </c:pt>
                <c:pt idx="52705">
                  <c:v>58887</c:v>
                </c:pt>
                <c:pt idx="52706">
                  <c:v>33945</c:v>
                </c:pt>
                <c:pt idx="52707">
                  <c:v>29774</c:v>
                </c:pt>
                <c:pt idx="52708">
                  <c:v>70881</c:v>
                </c:pt>
                <c:pt idx="52709">
                  <c:v>38650</c:v>
                </c:pt>
                <c:pt idx="52710">
                  <c:v>30786</c:v>
                </c:pt>
                <c:pt idx="52711">
                  <c:v>62861</c:v>
                </c:pt>
                <c:pt idx="52712">
                  <c:v>51297</c:v>
                </c:pt>
                <c:pt idx="52713">
                  <c:v>86367</c:v>
                </c:pt>
                <c:pt idx="52714">
                  <c:v>51669</c:v>
                </c:pt>
                <c:pt idx="52715">
                  <c:v>195233</c:v>
                </c:pt>
                <c:pt idx="52716">
                  <c:v>53876</c:v>
                </c:pt>
                <c:pt idx="52717">
                  <c:v>59823</c:v>
                </c:pt>
                <c:pt idx="52718">
                  <c:v>241033</c:v>
                </c:pt>
                <c:pt idx="52719">
                  <c:v>157166</c:v>
                </c:pt>
                <c:pt idx="52720">
                  <c:v>81378</c:v>
                </c:pt>
                <c:pt idx="52721">
                  <c:v>65043</c:v>
                </c:pt>
                <c:pt idx="52722">
                  <c:v>59853</c:v>
                </c:pt>
                <c:pt idx="52723">
                  <c:v>60744</c:v>
                </c:pt>
                <c:pt idx="52724">
                  <c:v>31607</c:v>
                </c:pt>
                <c:pt idx="52725">
                  <c:v>44704</c:v>
                </c:pt>
                <c:pt idx="52726">
                  <c:v>122332</c:v>
                </c:pt>
                <c:pt idx="52727">
                  <c:v>39041</c:v>
                </c:pt>
                <c:pt idx="52728">
                  <c:v>53185</c:v>
                </c:pt>
                <c:pt idx="52729">
                  <c:v>49228</c:v>
                </c:pt>
                <c:pt idx="52730">
                  <c:v>88857</c:v>
                </c:pt>
                <c:pt idx="52731">
                  <c:v>28372</c:v>
                </c:pt>
                <c:pt idx="52732">
                  <c:v>216480</c:v>
                </c:pt>
                <c:pt idx="52733">
                  <c:v>85360</c:v>
                </c:pt>
                <c:pt idx="52734">
                  <c:v>40124</c:v>
                </c:pt>
                <c:pt idx="52735">
                  <c:v>37949</c:v>
                </c:pt>
                <c:pt idx="52736">
                  <c:v>26481</c:v>
                </c:pt>
                <c:pt idx="52737">
                  <c:v>57313</c:v>
                </c:pt>
                <c:pt idx="52738">
                  <c:v>28863</c:v>
                </c:pt>
                <c:pt idx="52739">
                  <c:v>32562</c:v>
                </c:pt>
                <c:pt idx="52740">
                  <c:v>74147</c:v>
                </c:pt>
                <c:pt idx="52741">
                  <c:v>22632</c:v>
                </c:pt>
                <c:pt idx="52742">
                  <c:v>33409</c:v>
                </c:pt>
                <c:pt idx="52743">
                  <c:v>70317</c:v>
                </c:pt>
                <c:pt idx="52744">
                  <c:v>231266</c:v>
                </c:pt>
                <c:pt idx="52745">
                  <c:v>31286</c:v>
                </c:pt>
                <c:pt idx="52746">
                  <c:v>51310</c:v>
                </c:pt>
                <c:pt idx="52747">
                  <c:v>26207</c:v>
                </c:pt>
                <c:pt idx="52748">
                  <c:v>103657</c:v>
                </c:pt>
                <c:pt idx="52749">
                  <c:v>39405</c:v>
                </c:pt>
                <c:pt idx="52750">
                  <c:v>96894</c:v>
                </c:pt>
                <c:pt idx="52751">
                  <c:v>76348</c:v>
                </c:pt>
                <c:pt idx="52752">
                  <c:v>136313</c:v>
                </c:pt>
                <c:pt idx="52753">
                  <c:v>72847</c:v>
                </c:pt>
                <c:pt idx="52754">
                  <c:v>23389</c:v>
                </c:pt>
                <c:pt idx="52755">
                  <c:v>47952</c:v>
                </c:pt>
                <c:pt idx="52756">
                  <c:v>58498</c:v>
                </c:pt>
                <c:pt idx="52757">
                  <c:v>308747</c:v>
                </c:pt>
                <c:pt idx="52758">
                  <c:v>58882</c:v>
                </c:pt>
                <c:pt idx="52759">
                  <c:v>25828</c:v>
                </c:pt>
                <c:pt idx="52760">
                  <c:v>45647</c:v>
                </c:pt>
                <c:pt idx="52761">
                  <c:v>33702</c:v>
                </c:pt>
                <c:pt idx="52762">
                  <c:v>25322</c:v>
                </c:pt>
                <c:pt idx="52763">
                  <c:v>34908</c:v>
                </c:pt>
                <c:pt idx="52764">
                  <c:v>284953</c:v>
                </c:pt>
                <c:pt idx="52765">
                  <c:v>51382</c:v>
                </c:pt>
                <c:pt idx="52766">
                  <c:v>41538</c:v>
                </c:pt>
                <c:pt idx="52767">
                  <c:v>232271</c:v>
                </c:pt>
                <c:pt idx="52768">
                  <c:v>105040</c:v>
                </c:pt>
                <c:pt idx="52769">
                  <c:v>38494</c:v>
                </c:pt>
                <c:pt idx="52770">
                  <c:v>102686</c:v>
                </c:pt>
                <c:pt idx="52771">
                  <c:v>42094</c:v>
                </c:pt>
                <c:pt idx="52772">
                  <c:v>34303</c:v>
                </c:pt>
                <c:pt idx="52773">
                  <c:v>45748</c:v>
                </c:pt>
                <c:pt idx="52774">
                  <c:v>46087</c:v>
                </c:pt>
                <c:pt idx="52775">
                  <c:v>74361</c:v>
                </c:pt>
                <c:pt idx="52776">
                  <c:v>238380</c:v>
                </c:pt>
                <c:pt idx="52777">
                  <c:v>150452</c:v>
                </c:pt>
                <c:pt idx="52778">
                  <c:v>39991</c:v>
                </c:pt>
                <c:pt idx="52779">
                  <c:v>58736</c:v>
                </c:pt>
                <c:pt idx="52780">
                  <c:v>26277</c:v>
                </c:pt>
                <c:pt idx="52781">
                  <c:v>46090</c:v>
                </c:pt>
                <c:pt idx="52782">
                  <c:v>22795</c:v>
                </c:pt>
                <c:pt idx="52783">
                  <c:v>45005</c:v>
                </c:pt>
                <c:pt idx="52784">
                  <c:v>99895</c:v>
                </c:pt>
                <c:pt idx="52785">
                  <c:v>51505</c:v>
                </c:pt>
                <c:pt idx="52786">
                  <c:v>28309</c:v>
                </c:pt>
                <c:pt idx="52787">
                  <c:v>30571</c:v>
                </c:pt>
                <c:pt idx="52788">
                  <c:v>43400</c:v>
                </c:pt>
                <c:pt idx="52789">
                  <c:v>34420</c:v>
                </c:pt>
                <c:pt idx="52790">
                  <c:v>45141</c:v>
                </c:pt>
                <c:pt idx="52791">
                  <c:v>41694</c:v>
                </c:pt>
                <c:pt idx="52792">
                  <c:v>103778</c:v>
                </c:pt>
                <c:pt idx="52793">
                  <c:v>97557</c:v>
                </c:pt>
                <c:pt idx="52794">
                  <c:v>24653</c:v>
                </c:pt>
                <c:pt idx="52795">
                  <c:v>40651</c:v>
                </c:pt>
                <c:pt idx="52796">
                  <c:v>37955</c:v>
                </c:pt>
                <c:pt idx="52797">
                  <c:v>50081</c:v>
                </c:pt>
                <c:pt idx="52798">
                  <c:v>42733</c:v>
                </c:pt>
                <c:pt idx="52799">
                  <c:v>25621</c:v>
                </c:pt>
                <c:pt idx="52800">
                  <c:v>37928</c:v>
                </c:pt>
                <c:pt idx="52801">
                  <c:v>36809</c:v>
                </c:pt>
                <c:pt idx="52802">
                  <c:v>26408</c:v>
                </c:pt>
                <c:pt idx="52803">
                  <c:v>36570</c:v>
                </c:pt>
                <c:pt idx="52804">
                  <c:v>36214</c:v>
                </c:pt>
                <c:pt idx="52805">
                  <c:v>33813</c:v>
                </c:pt>
                <c:pt idx="52806">
                  <c:v>221370</c:v>
                </c:pt>
                <c:pt idx="52807">
                  <c:v>47598</c:v>
                </c:pt>
                <c:pt idx="52808">
                  <c:v>43373</c:v>
                </c:pt>
                <c:pt idx="52809">
                  <c:v>39120</c:v>
                </c:pt>
                <c:pt idx="52810">
                  <c:v>23576</c:v>
                </c:pt>
                <c:pt idx="52811">
                  <c:v>75264</c:v>
                </c:pt>
                <c:pt idx="52812">
                  <c:v>66970</c:v>
                </c:pt>
                <c:pt idx="52813">
                  <c:v>58031</c:v>
                </c:pt>
                <c:pt idx="52814">
                  <c:v>111874</c:v>
                </c:pt>
                <c:pt idx="52815">
                  <c:v>67628</c:v>
                </c:pt>
                <c:pt idx="52816">
                  <c:v>35263</c:v>
                </c:pt>
                <c:pt idx="52817">
                  <c:v>53913</c:v>
                </c:pt>
                <c:pt idx="52818">
                  <c:v>32042</c:v>
                </c:pt>
                <c:pt idx="52819">
                  <c:v>51426</c:v>
                </c:pt>
                <c:pt idx="52820">
                  <c:v>49018</c:v>
                </c:pt>
                <c:pt idx="52821">
                  <c:v>126495</c:v>
                </c:pt>
                <c:pt idx="52822">
                  <c:v>171076</c:v>
                </c:pt>
                <c:pt idx="52823">
                  <c:v>62631</c:v>
                </c:pt>
                <c:pt idx="52824">
                  <c:v>74047</c:v>
                </c:pt>
                <c:pt idx="52825">
                  <c:v>37139</c:v>
                </c:pt>
                <c:pt idx="52826">
                  <c:v>57778</c:v>
                </c:pt>
                <c:pt idx="52827">
                  <c:v>88744</c:v>
                </c:pt>
                <c:pt idx="52828">
                  <c:v>61326</c:v>
                </c:pt>
                <c:pt idx="52829">
                  <c:v>114625</c:v>
                </c:pt>
                <c:pt idx="52830">
                  <c:v>36437</c:v>
                </c:pt>
                <c:pt idx="52831">
                  <c:v>24530</c:v>
                </c:pt>
                <c:pt idx="52832">
                  <c:v>34743</c:v>
                </c:pt>
                <c:pt idx="52833">
                  <c:v>80339</c:v>
                </c:pt>
                <c:pt idx="52834">
                  <c:v>36918</c:v>
                </c:pt>
                <c:pt idx="52835">
                  <c:v>104238</c:v>
                </c:pt>
                <c:pt idx="52836">
                  <c:v>25373</c:v>
                </c:pt>
                <c:pt idx="52837">
                  <c:v>25391</c:v>
                </c:pt>
                <c:pt idx="52838">
                  <c:v>134886</c:v>
                </c:pt>
                <c:pt idx="52839">
                  <c:v>32063</c:v>
                </c:pt>
                <c:pt idx="52840">
                  <c:v>140025</c:v>
                </c:pt>
                <c:pt idx="52841">
                  <c:v>30332</c:v>
                </c:pt>
                <c:pt idx="52842">
                  <c:v>21190</c:v>
                </c:pt>
                <c:pt idx="52843">
                  <c:v>19391</c:v>
                </c:pt>
                <c:pt idx="52844">
                  <c:v>64127</c:v>
                </c:pt>
                <c:pt idx="52845">
                  <c:v>22919</c:v>
                </c:pt>
                <c:pt idx="52846">
                  <c:v>93583</c:v>
                </c:pt>
                <c:pt idx="52847">
                  <c:v>99330</c:v>
                </c:pt>
                <c:pt idx="52848">
                  <c:v>44618</c:v>
                </c:pt>
                <c:pt idx="52849">
                  <c:v>94635</c:v>
                </c:pt>
                <c:pt idx="52850">
                  <c:v>26117</c:v>
                </c:pt>
                <c:pt idx="52851">
                  <c:v>106646</c:v>
                </c:pt>
                <c:pt idx="52852">
                  <c:v>77915</c:v>
                </c:pt>
                <c:pt idx="52853">
                  <c:v>111333</c:v>
                </c:pt>
                <c:pt idx="52854">
                  <c:v>57442</c:v>
                </c:pt>
                <c:pt idx="52855">
                  <c:v>192790</c:v>
                </c:pt>
                <c:pt idx="52856">
                  <c:v>33600</c:v>
                </c:pt>
                <c:pt idx="52857">
                  <c:v>23640</c:v>
                </c:pt>
                <c:pt idx="52858">
                  <c:v>34888</c:v>
                </c:pt>
                <c:pt idx="52859">
                  <c:v>381384</c:v>
                </c:pt>
                <c:pt idx="52860">
                  <c:v>49835</c:v>
                </c:pt>
                <c:pt idx="52861">
                  <c:v>114041</c:v>
                </c:pt>
                <c:pt idx="52862">
                  <c:v>41489</c:v>
                </c:pt>
                <c:pt idx="52863">
                  <c:v>131627</c:v>
                </c:pt>
                <c:pt idx="52864">
                  <c:v>86501</c:v>
                </c:pt>
                <c:pt idx="52865">
                  <c:v>44428</c:v>
                </c:pt>
                <c:pt idx="52866">
                  <c:v>73760</c:v>
                </c:pt>
                <c:pt idx="52867">
                  <c:v>24684</c:v>
                </c:pt>
                <c:pt idx="52868">
                  <c:v>25604</c:v>
                </c:pt>
                <c:pt idx="52869">
                  <c:v>25823</c:v>
                </c:pt>
                <c:pt idx="52870">
                  <c:v>82958</c:v>
                </c:pt>
                <c:pt idx="52871">
                  <c:v>26385</c:v>
                </c:pt>
                <c:pt idx="52872">
                  <c:v>69060</c:v>
                </c:pt>
                <c:pt idx="52873">
                  <c:v>178280</c:v>
                </c:pt>
                <c:pt idx="52874">
                  <c:v>38373</c:v>
                </c:pt>
                <c:pt idx="52875">
                  <c:v>22333</c:v>
                </c:pt>
                <c:pt idx="52876">
                  <c:v>382214</c:v>
                </c:pt>
                <c:pt idx="52877">
                  <c:v>31070</c:v>
                </c:pt>
                <c:pt idx="52878">
                  <c:v>41899</c:v>
                </c:pt>
                <c:pt idx="52879">
                  <c:v>85321</c:v>
                </c:pt>
                <c:pt idx="52880">
                  <c:v>36504</c:v>
                </c:pt>
                <c:pt idx="52881">
                  <c:v>44666</c:v>
                </c:pt>
                <c:pt idx="52882">
                  <c:v>27371</c:v>
                </c:pt>
                <c:pt idx="52883">
                  <c:v>38640</c:v>
                </c:pt>
                <c:pt idx="52884">
                  <c:v>41939</c:v>
                </c:pt>
                <c:pt idx="52885">
                  <c:v>31980</c:v>
                </c:pt>
                <c:pt idx="52886">
                  <c:v>28513</c:v>
                </c:pt>
                <c:pt idx="52887">
                  <c:v>164765</c:v>
                </c:pt>
                <c:pt idx="52888">
                  <c:v>42818</c:v>
                </c:pt>
                <c:pt idx="52889">
                  <c:v>40589</c:v>
                </c:pt>
                <c:pt idx="52890">
                  <c:v>30712</c:v>
                </c:pt>
                <c:pt idx="52891">
                  <c:v>43268</c:v>
                </c:pt>
                <c:pt idx="52892">
                  <c:v>52993</c:v>
                </c:pt>
                <c:pt idx="52893">
                  <c:v>37598</c:v>
                </c:pt>
                <c:pt idx="52894">
                  <c:v>80331</c:v>
                </c:pt>
                <c:pt idx="52895">
                  <c:v>39896</c:v>
                </c:pt>
                <c:pt idx="52896">
                  <c:v>49545</c:v>
                </c:pt>
                <c:pt idx="52897">
                  <c:v>118711</c:v>
                </c:pt>
                <c:pt idx="52898">
                  <c:v>153767</c:v>
                </c:pt>
                <c:pt idx="52899">
                  <c:v>43291</c:v>
                </c:pt>
                <c:pt idx="52900">
                  <c:v>112066</c:v>
                </c:pt>
                <c:pt idx="52901">
                  <c:v>40865</c:v>
                </c:pt>
                <c:pt idx="52902">
                  <c:v>62012</c:v>
                </c:pt>
                <c:pt idx="52903">
                  <c:v>174377</c:v>
                </c:pt>
                <c:pt idx="52904">
                  <c:v>33099</c:v>
                </c:pt>
                <c:pt idx="52905">
                  <c:v>21893</c:v>
                </c:pt>
                <c:pt idx="52906">
                  <c:v>38569</c:v>
                </c:pt>
                <c:pt idx="52907">
                  <c:v>63508</c:v>
                </c:pt>
                <c:pt idx="52908">
                  <c:v>50297</c:v>
                </c:pt>
                <c:pt idx="52909">
                  <c:v>80175</c:v>
                </c:pt>
                <c:pt idx="52910">
                  <c:v>77291</c:v>
                </c:pt>
                <c:pt idx="52911">
                  <c:v>26678</c:v>
                </c:pt>
                <c:pt idx="52912">
                  <c:v>35892</c:v>
                </c:pt>
                <c:pt idx="52913">
                  <c:v>56008</c:v>
                </c:pt>
                <c:pt idx="52914">
                  <c:v>34025</c:v>
                </c:pt>
                <c:pt idx="52915">
                  <c:v>44912</c:v>
                </c:pt>
                <c:pt idx="52916">
                  <c:v>30659</c:v>
                </c:pt>
                <c:pt idx="52917">
                  <c:v>64430</c:v>
                </c:pt>
                <c:pt idx="52918">
                  <c:v>40436</c:v>
                </c:pt>
                <c:pt idx="52919">
                  <c:v>38848</c:v>
                </c:pt>
                <c:pt idx="52920">
                  <c:v>106261</c:v>
                </c:pt>
                <c:pt idx="52921">
                  <c:v>38433</c:v>
                </c:pt>
                <c:pt idx="52922">
                  <c:v>100244</c:v>
                </c:pt>
                <c:pt idx="52923">
                  <c:v>54309</c:v>
                </c:pt>
                <c:pt idx="52924">
                  <c:v>58569</c:v>
                </c:pt>
                <c:pt idx="52925">
                  <c:v>29821</c:v>
                </c:pt>
                <c:pt idx="52926">
                  <c:v>64047</c:v>
                </c:pt>
                <c:pt idx="52927">
                  <c:v>28993</c:v>
                </c:pt>
                <c:pt idx="52928">
                  <c:v>49043</c:v>
                </c:pt>
                <c:pt idx="52929">
                  <c:v>24497</c:v>
                </c:pt>
                <c:pt idx="52930">
                  <c:v>27775</c:v>
                </c:pt>
                <c:pt idx="52931">
                  <c:v>24871</c:v>
                </c:pt>
                <c:pt idx="52932">
                  <c:v>24410</c:v>
                </c:pt>
                <c:pt idx="52933">
                  <c:v>23582</c:v>
                </c:pt>
                <c:pt idx="52934">
                  <c:v>74179</c:v>
                </c:pt>
                <c:pt idx="52935">
                  <c:v>45231</c:v>
                </c:pt>
                <c:pt idx="52936">
                  <c:v>41207</c:v>
                </c:pt>
                <c:pt idx="52937">
                  <c:v>121841</c:v>
                </c:pt>
                <c:pt idx="52938">
                  <c:v>57393</c:v>
                </c:pt>
                <c:pt idx="52939">
                  <c:v>43017</c:v>
                </c:pt>
                <c:pt idx="52940">
                  <c:v>34863</c:v>
                </c:pt>
                <c:pt idx="52941">
                  <c:v>25362</c:v>
                </c:pt>
                <c:pt idx="52942">
                  <c:v>75534</c:v>
                </c:pt>
                <c:pt idx="52943">
                  <c:v>25809</c:v>
                </c:pt>
                <c:pt idx="52944">
                  <c:v>320632</c:v>
                </c:pt>
                <c:pt idx="52945">
                  <c:v>64659</c:v>
                </c:pt>
                <c:pt idx="52946">
                  <c:v>87550</c:v>
                </c:pt>
                <c:pt idx="52947">
                  <c:v>202536</c:v>
                </c:pt>
                <c:pt idx="52948">
                  <c:v>44927</c:v>
                </c:pt>
                <c:pt idx="52949">
                  <c:v>80614</c:v>
                </c:pt>
                <c:pt idx="52950">
                  <c:v>81272</c:v>
                </c:pt>
                <c:pt idx="52951">
                  <c:v>32689</c:v>
                </c:pt>
                <c:pt idx="52952">
                  <c:v>33485</c:v>
                </c:pt>
                <c:pt idx="52953">
                  <c:v>46426</c:v>
                </c:pt>
                <c:pt idx="52954">
                  <c:v>28117</c:v>
                </c:pt>
                <c:pt idx="52955">
                  <c:v>46003</c:v>
                </c:pt>
                <c:pt idx="52956">
                  <c:v>41378</c:v>
                </c:pt>
                <c:pt idx="52957">
                  <c:v>55453</c:v>
                </c:pt>
                <c:pt idx="52958">
                  <c:v>304398</c:v>
                </c:pt>
                <c:pt idx="52959">
                  <c:v>25244</c:v>
                </c:pt>
                <c:pt idx="52960">
                  <c:v>83587</c:v>
                </c:pt>
                <c:pt idx="52961">
                  <c:v>79089</c:v>
                </c:pt>
                <c:pt idx="52962">
                  <c:v>97350</c:v>
                </c:pt>
                <c:pt idx="52963">
                  <c:v>39118</c:v>
                </c:pt>
                <c:pt idx="52964">
                  <c:v>34604</c:v>
                </c:pt>
                <c:pt idx="52965">
                  <c:v>31549</c:v>
                </c:pt>
                <c:pt idx="52966">
                  <c:v>142874</c:v>
                </c:pt>
                <c:pt idx="52967">
                  <c:v>32889</c:v>
                </c:pt>
                <c:pt idx="52968">
                  <c:v>99377</c:v>
                </c:pt>
                <c:pt idx="52969">
                  <c:v>39733</c:v>
                </c:pt>
                <c:pt idx="52970">
                  <c:v>24123</c:v>
                </c:pt>
                <c:pt idx="52971">
                  <c:v>31241</c:v>
                </c:pt>
                <c:pt idx="52972">
                  <c:v>27860</c:v>
                </c:pt>
                <c:pt idx="52973">
                  <c:v>54236</c:v>
                </c:pt>
                <c:pt idx="52974">
                  <c:v>102281</c:v>
                </c:pt>
                <c:pt idx="52975">
                  <c:v>341911</c:v>
                </c:pt>
                <c:pt idx="52976">
                  <c:v>30510</c:v>
                </c:pt>
                <c:pt idx="52977">
                  <c:v>74763</c:v>
                </c:pt>
                <c:pt idx="52978">
                  <c:v>40038</c:v>
                </c:pt>
                <c:pt idx="52979">
                  <c:v>43782</c:v>
                </c:pt>
                <c:pt idx="52980">
                  <c:v>35409</c:v>
                </c:pt>
                <c:pt idx="52981">
                  <c:v>165914</c:v>
                </c:pt>
                <c:pt idx="52982">
                  <c:v>24379</c:v>
                </c:pt>
                <c:pt idx="52983">
                  <c:v>79570</c:v>
                </c:pt>
                <c:pt idx="52984">
                  <c:v>32816</c:v>
                </c:pt>
                <c:pt idx="52985">
                  <c:v>30639</c:v>
                </c:pt>
                <c:pt idx="52986">
                  <c:v>108294</c:v>
                </c:pt>
                <c:pt idx="52987">
                  <c:v>45374</c:v>
                </c:pt>
                <c:pt idx="52988">
                  <c:v>24359</c:v>
                </c:pt>
                <c:pt idx="52989">
                  <c:v>24287</c:v>
                </c:pt>
                <c:pt idx="52990">
                  <c:v>159872</c:v>
                </c:pt>
                <c:pt idx="52991">
                  <c:v>60062</c:v>
                </c:pt>
                <c:pt idx="52992">
                  <c:v>224030</c:v>
                </c:pt>
                <c:pt idx="52993">
                  <c:v>37352</c:v>
                </c:pt>
                <c:pt idx="52994">
                  <c:v>249710</c:v>
                </c:pt>
                <c:pt idx="52995">
                  <c:v>58892</c:v>
                </c:pt>
                <c:pt idx="52996">
                  <c:v>28511</c:v>
                </c:pt>
                <c:pt idx="52997">
                  <c:v>22699</c:v>
                </c:pt>
                <c:pt idx="52998">
                  <c:v>56483</c:v>
                </c:pt>
                <c:pt idx="52999">
                  <c:v>57288</c:v>
                </c:pt>
                <c:pt idx="53000">
                  <c:v>44316</c:v>
                </c:pt>
                <c:pt idx="53001">
                  <c:v>158462</c:v>
                </c:pt>
                <c:pt idx="53002">
                  <c:v>71997</c:v>
                </c:pt>
                <c:pt idx="53003">
                  <c:v>46038</c:v>
                </c:pt>
                <c:pt idx="53004">
                  <c:v>96303</c:v>
                </c:pt>
                <c:pt idx="53005">
                  <c:v>44563</c:v>
                </c:pt>
                <c:pt idx="53006">
                  <c:v>27749</c:v>
                </c:pt>
                <c:pt idx="53007">
                  <c:v>37522</c:v>
                </c:pt>
                <c:pt idx="53008">
                  <c:v>95547</c:v>
                </c:pt>
                <c:pt idx="53009">
                  <c:v>44019</c:v>
                </c:pt>
                <c:pt idx="53010">
                  <c:v>61979</c:v>
                </c:pt>
                <c:pt idx="53011">
                  <c:v>102787</c:v>
                </c:pt>
                <c:pt idx="53012">
                  <c:v>36713</c:v>
                </c:pt>
                <c:pt idx="53013">
                  <c:v>18982</c:v>
                </c:pt>
                <c:pt idx="53014">
                  <c:v>91030</c:v>
                </c:pt>
                <c:pt idx="53015">
                  <c:v>42612</c:v>
                </c:pt>
                <c:pt idx="53016">
                  <c:v>71849</c:v>
                </c:pt>
                <c:pt idx="53017">
                  <c:v>45099</c:v>
                </c:pt>
                <c:pt idx="53018">
                  <c:v>33493</c:v>
                </c:pt>
                <c:pt idx="53019">
                  <c:v>73566</c:v>
                </c:pt>
                <c:pt idx="53020">
                  <c:v>137797</c:v>
                </c:pt>
                <c:pt idx="53021">
                  <c:v>23461</c:v>
                </c:pt>
                <c:pt idx="53022">
                  <c:v>47694</c:v>
                </c:pt>
                <c:pt idx="53023">
                  <c:v>19166</c:v>
                </c:pt>
                <c:pt idx="53024">
                  <c:v>19106</c:v>
                </c:pt>
                <c:pt idx="53025">
                  <c:v>194933</c:v>
                </c:pt>
                <c:pt idx="53026">
                  <c:v>36238</c:v>
                </c:pt>
                <c:pt idx="53027">
                  <c:v>59125</c:v>
                </c:pt>
                <c:pt idx="53028">
                  <c:v>65884</c:v>
                </c:pt>
                <c:pt idx="53029">
                  <c:v>89793</c:v>
                </c:pt>
                <c:pt idx="53030">
                  <c:v>53421</c:v>
                </c:pt>
                <c:pt idx="53031">
                  <c:v>45694</c:v>
                </c:pt>
                <c:pt idx="53032">
                  <c:v>76872</c:v>
                </c:pt>
                <c:pt idx="53033">
                  <c:v>44963</c:v>
                </c:pt>
                <c:pt idx="53034">
                  <c:v>158046</c:v>
                </c:pt>
                <c:pt idx="53035">
                  <c:v>54675</c:v>
                </c:pt>
                <c:pt idx="53036">
                  <c:v>66697</c:v>
                </c:pt>
                <c:pt idx="53037">
                  <c:v>26274</c:v>
                </c:pt>
                <c:pt idx="53038">
                  <c:v>49897</c:v>
                </c:pt>
                <c:pt idx="53039">
                  <c:v>81157</c:v>
                </c:pt>
                <c:pt idx="53040">
                  <c:v>65938</c:v>
                </c:pt>
                <c:pt idx="53041">
                  <c:v>30985</c:v>
                </c:pt>
                <c:pt idx="53042">
                  <c:v>33348</c:v>
                </c:pt>
                <c:pt idx="53043">
                  <c:v>106038</c:v>
                </c:pt>
                <c:pt idx="53044">
                  <c:v>26556</c:v>
                </c:pt>
                <c:pt idx="53045">
                  <c:v>144099</c:v>
                </c:pt>
                <c:pt idx="53046">
                  <c:v>36606</c:v>
                </c:pt>
                <c:pt idx="53047">
                  <c:v>108510</c:v>
                </c:pt>
                <c:pt idx="53048">
                  <c:v>54008</c:v>
                </c:pt>
                <c:pt idx="53049">
                  <c:v>48707</c:v>
                </c:pt>
                <c:pt idx="53050">
                  <c:v>24215</c:v>
                </c:pt>
                <c:pt idx="53051">
                  <c:v>41728</c:v>
                </c:pt>
                <c:pt idx="53052">
                  <c:v>28697</c:v>
                </c:pt>
                <c:pt idx="53053">
                  <c:v>105918</c:v>
                </c:pt>
                <c:pt idx="53054">
                  <c:v>131994</c:v>
                </c:pt>
                <c:pt idx="53055">
                  <c:v>192834</c:v>
                </c:pt>
                <c:pt idx="53056">
                  <c:v>42690</c:v>
                </c:pt>
                <c:pt idx="53057">
                  <c:v>118286</c:v>
                </c:pt>
                <c:pt idx="53058">
                  <c:v>57416</c:v>
                </c:pt>
                <c:pt idx="53059">
                  <c:v>31904</c:v>
                </c:pt>
                <c:pt idx="53060">
                  <c:v>40945</c:v>
                </c:pt>
                <c:pt idx="53061">
                  <c:v>63705</c:v>
                </c:pt>
                <c:pt idx="53062">
                  <c:v>60063</c:v>
                </c:pt>
                <c:pt idx="53063">
                  <c:v>37533</c:v>
                </c:pt>
                <c:pt idx="53064">
                  <c:v>22768</c:v>
                </c:pt>
                <c:pt idx="53065">
                  <c:v>41494</c:v>
                </c:pt>
                <c:pt idx="53066">
                  <c:v>128365</c:v>
                </c:pt>
                <c:pt idx="53067">
                  <c:v>94086</c:v>
                </c:pt>
                <c:pt idx="53068">
                  <c:v>81060</c:v>
                </c:pt>
                <c:pt idx="53069">
                  <c:v>177676</c:v>
                </c:pt>
                <c:pt idx="53070">
                  <c:v>143212</c:v>
                </c:pt>
                <c:pt idx="53071">
                  <c:v>36706</c:v>
                </c:pt>
                <c:pt idx="53072">
                  <c:v>39233</c:v>
                </c:pt>
                <c:pt idx="53073">
                  <c:v>30957</c:v>
                </c:pt>
                <c:pt idx="53074">
                  <c:v>28268</c:v>
                </c:pt>
                <c:pt idx="53075">
                  <c:v>45183</c:v>
                </c:pt>
                <c:pt idx="53076">
                  <c:v>38009</c:v>
                </c:pt>
                <c:pt idx="53077">
                  <c:v>38130</c:v>
                </c:pt>
                <c:pt idx="53078">
                  <c:v>39518</c:v>
                </c:pt>
                <c:pt idx="53079">
                  <c:v>84965</c:v>
                </c:pt>
                <c:pt idx="53080">
                  <c:v>50472</c:v>
                </c:pt>
                <c:pt idx="53081">
                  <c:v>47903</c:v>
                </c:pt>
                <c:pt idx="53082">
                  <c:v>122864</c:v>
                </c:pt>
                <c:pt idx="53083">
                  <c:v>85144</c:v>
                </c:pt>
                <c:pt idx="53084">
                  <c:v>73905</c:v>
                </c:pt>
                <c:pt idx="53085">
                  <c:v>140499</c:v>
                </c:pt>
                <c:pt idx="53086">
                  <c:v>34950</c:v>
                </c:pt>
                <c:pt idx="53087">
                  <c:v>42654</c:v>
                </c:pt>
                <c:pt idx="53088">
                  <c:v>36044</c:v>
                </c:pt>
                <c:pt idx="53089">
                  <c:v>31065</c:v>
                </c:pt>
                <c:pt idx="53090">
                  <c:v>23848</c:v>
                </c:pt>
                <c:pt idx="53091">
                  <c:v>41285</c:v>
                </c:pt>
                <c:pt idx="53092">
                  <c:v>68238</c:v>
                </c:pt>
                <c:pt idx="53093">
                  <c:v>29179</c:v>
                </c:pt>
                <c:pt idx="53094">
                  <c:v>67533</c:v>
                </c:pt>
                <c:pt idx="53095">
                  <c:v>22717</c:v>
                </c:pt>
                <c:pt idx="53096">
                  <c:v>34755</c:v>
                </c:pt>
                <c:pt idx="53097">
                  <c:v>91894</c:v>
                </c:pt>
                <c:pt idx="53098">
                  <c:v>101344</c:v>
                </c:pt>
                <c:pt idx="53099">
                  <c:v>160781</c:v>
                </c:pt>
                <c:pt idx="53100">
                  <c:v>23499</c:v>
                </c:pt>
                <c:pt idx="53101">
                  <c:v>35672</c:v>
                </c:pt>
                <c:pt idx="53102">
                  <c:v>57981</c:v>
                </c:pt>
                <c:pt idx="53103">
                  <c:v>108705</c:v>
                </c:pt>
                <c:pt idx="53104">
                  <c:v>110473</c:v>
                </c:pt>
                <c:pt idx="53105">
                  <c:v>154284</c:v>
                </c:pt>
                <c:pt idx="53106">
                  <c:v>59746</c:v>
                </c:pt>
                <c:pt idx="53107">
                  <c:v>44806</c:v>
                </c:pt>
                <c:pt idx="53108">
                  <c:v>33998</c:v>
                </c:pt>
                <c:pt idx="53109">
                  <c:v>86669</c:v>
                </c:pt>
                <c:pt idx="53110">
                  <c:v>46331</c:v>
                </c:pt>
                <c:pt idx="53111">
                  <c:v>27633</c:v>
                </c:pt>
                <c:pt idx="53112">
                  <c:v>46948</c:v>
                </c:pt>
                <c:pt idx="53113">
                  <c:v>24878</c:v>
                </c:pt>
                <c:pt idx="53114">
                  <c:v>49031</c:v>
                </c:pt>
                <c:pt idx="53115">
                  <c:v>38802</c:v>
                </c:pt>
                <c:pt idx="53116">
                  <c:v>65811</c:v>
                </c:pt>
                <c:pt idx="53117">
                  <c:v>81331</c:v>
                </c:pt>
                <c:pt idx="53118">
                  <c:v>42110</c:v>
                </c:pt>
                <c:pt idx="53119">
                  <c:v>83379</c:v>
                </c:pt>
                <c:pt idx="53120">
                  <c:v>33067</c:v>
                </c:pt>
                <c:pt idx="53121">
                  <c:v>157067</c:v>
                </c:pt>
                <c:pt idx="53122">
                  <c:v>35524</c:v>
                </c:pt>
                <c:pt idx="53123">
                  <c:v>31903</c:v>
                </c:pt>
                <c:pt idx="53124">
                  <c:v>77067</c:v>
                </c:pt>
                <c:pt idx="53125">
                  <c:v>26385</c:v>
                </c:pt>
                <c:pt idx="53126">
                  <c:v>45879</c:v>
                </c:pt>
                <c:pt idx="53127">
                  <c:v>31594</c:v>
                </c:pt>
                <c:pt idx="53128">
                  <c:v>43714</c:v>
                </c:pt>
                <c:pt idx="53129">
                  <c:v>70883</c:v>
                </c:pt>
                <c:pt idx="53130">
                  <c:v>37542</c:v>
                </c:pt>
                <c:pt idx="53131">
                  <c:v>68056</c:v>
                </c:pt>
                <c:pt idx="53132">
                  <c:v>30756</c:v>
                </c:pt>
                <c:pt idx="53133">
                  <c:v>28465</c:v>
                </c:pt>
                <c:pt idx="53134">
                  <c:v>34111</c:v>
                </c:pt>
                <c:pt idx="53135">
                  <c:v>36429</c:v>
                </c:pt>
                <c:pt idx="53136">
                  <c:v>22447</c:v>
                </c:pt>
                <c:pt idx="53137">
                  <c:v>25707</c:v>
                </c:pt>
                <c:pt idx="53138">
                  <c:v>40075</c:v>
                </c:pt>
                <c:pt idx="53139">
                  <c:v>37556</c:v>
                </c:pt>
                <c:pt idx="53140">
                  <c:v>204667</c:v>
                </c:pt>
                <c:pt idx="53141">
                  <c:v>22885</c:v>
                </c:pt>
                <c:pt idx="53142">
                  <c:v>39326</c:v>
                </c:pt>
                <c:pt idx="53143">
                  <c:v>33887</c:v>
                </c:pt>
                <c:pt idx="53144">
                  <c:v>37739</c:v>
                </c:pt>
                <c:pt idx="53145">
                  <c:v>43122</c:v>
                </c:pt>
                <c:pt idx="53146">
                  <c:v>45559</c:v>
                </c:pt>
                <c:pt idx="53147">
                  <c:v>38694</c:v>
                </c:pt>
                <c:pt idx="53148">
                  <c:v>44220</c:v>
                </c:pt>
                <c:pt idx="53149">
                  <c:v>40803</c:v>
                </c:pt>
                <c:pt idx="53150">
                  <c:v>25605</c:v>
                </c:pt>
                <c:pt idx="53151">
                  <c:v>57424</c:v>
                </c:pt>
                <c:pt idx="53152">
                  <c:v>24775</c:v>
                </c:pt>
                <c:pt idx="53153">
                  <c:v>95324</c:v>
                </c:pt>
                <c:pt idx="53154">
                  <c:v>40927</c:v>
                </c:pt>
                <c:pt idx="53155">
                  <c:v>64231</c:v>
                </c:pt>
                <c:pt idx="53156">
                  <c:v>37693</c:v>
                </c:pt>
                <c:pt idx="53157">
                  <c:v>150002</c:v>
                </c:pt>
                <c:pt idx="53158">
                  <c:v>30432</c:v>
                </c:pt>
                <c:pt idx="53159">
                  <c:v>73276</c:v>
                </c:pt>
                <c:pt idx="53160">
                  <c:v>32543</c:v>
                </c:pt>
                <c:pt idx="53161">
                  <c:v>23046</c:v>
                </c:pt>
                <c:pt idx="53162">
                  <c:v>23374</c:v>
                </c:pt>
                <c:pt idx="53163">
                  <c:v>24192</c:v>
                </c:pt>
                <c:pt idx="53164">
                  <c:v>36487</c:v>
                </c:pt>
                <c:pt idx="53165">
                  <c:v>52811</c:v>
                </c:pt>
                <c:pt idx="53166">
                  <c:v>63627</c:v>
                </c:pt>
                <c:pt idx="53167">
                  <c:v>78787</c:v>
                </c:pt>
                <c:pt idx="53168">
                  <c:v>56654</c:v>
                </c:pt>
                <c:pt idx="53169">
                  <c:v>41426</c:v>
                </c:pt>
                <c:pt idx="53170">
                  <c:v>58382</c:v>
                </c:pt>
                <c:pt idx="53171">
                  <c:v>130258</c:v>
                </c:pt>
                <c:pt idx="53172">
                  <c:v>55198</c:v>
                </c:pt>
                <c:pt idx="53173">
                  <c:v>81631</c:v>
                </c:pt>
                <c:pt idx="53174">
                  <c:v>30849</c:v>
                </c:pt>
                <c:pt idx="53175">
                  <c:v>121917</c:v>
                </c:pt>
                <c:pt idx="53176">
                  <c:v>43276</c:v>
                </c:pt>
                <c:pt idx="53177">
                  <c:v>43452</c:v>
                </c:pt>
                <c:pt idx="53178">
                  <c:v>61729</c:v>
                </c:pt>
                <c:pt idx="53179">
                  <c:v>55217</c:v>
                </c:pt>
                <c:pt idx="53180">
                  <c:v>64665</c:v>
                </c:pt>
                <c:pt idx="53181">
                  <c:v>97693</c:v>
                </c:pt>
                <c:pt idx="53182">
                  <c:v>23060</c:v>
                </c:pt>
                <c:pt idx="53183">
                  <c:v>74001</c:v>
                </c:pt>
                <c:pt idx="53184">
                  <c:v>113106</c:v>
                </c:pt>
                <c:pt idx="53185">
                  <c:v>38612</c:v>
                </c:pt>
                <c:pt idx="53186">
                  <c:v>54862</c:v>
                </c:pt>
                <c:pt idx="53187">
                  <c:v>27269</c:v>
                </c:pt>
                <c:pt idx="53188">
                  <c:v>64543</c:v>
                </c:pt>
                <c:pt idx="53189">
                  <c:v>46833</c:v>
                </c:pt>
                <c:pt idx="53190">
                  <c:v>47478</c:v>
                </c:pt>
                <c:pt idx="53191">
                  <c:v>40530</c:v>
                </c:pt>
                <c:pt idx="53192">
                  <c:v>33361</c:v>
                </c:pt>
                <c:pt idx="53193">
                  <c:v>50735</c:v>
                </c:pt>
                <c:pt idx="53194">
                  <c:v>39393</c:v>
                </c:pt>
                <c:pt idx="53195">
                  <c:v>64658</c:v>
                </c:pt>
                <c:pt idx="53196">
                  <c:v>33810</c:v>
                </c:pt>
                <c:pt idx="53197">
                  <c:v>48059</c:v>
                </c:pt>
                <c:pt idx="53198">
                  <c:v>63592</c:v>
                </c:pt>
                <c:pt idx="53199">
                  <c:v>133579</c:v>
                </c:pt>
                <c:pt idx="53200">
                  <c:v>25916</c:v>
                </c:pt>
                <c:pt idx="53201">
                  <c:v>46021</c:v>
                </c:pt>
                <c:pt idx="53202">
                  <c:v>67450</c:v>
                </c:pt>
                <c:pt idx="53203">
                  <c:v>47019</c:v>
                </c:pt>
                <c:pt idx="53204">
                  <c:v>56930</c:v>
                </c:pt>
                <c:pt idx="53205">
                  <c:v>44438</c:v>
                </c:pt>
                <c:pt idx="53206">
                  <c:v>33777</c:v>
                </c:pt>
                <c:pt idx="53207">
                  <c:v>56396</c:v>
                </c:pt>
                <c:pt idx="53208">
                  <c:v>41638</c:v>
                </c:pt>
                <c:pt idx="53209">
                  <c:v>45813</c:v>
                </c:pt>
                <c:pt idx="53210">
                  <c:v>59569</c:v>
                </c:pt>
                <c:pt idx="53211">
                  <c:v>28470</c:v>
                </c:pt>
                <c:pt idx="53212">
                  <c:v>61824</c:v>
                </c:pt>
                <c:pt idx="53213">
                  <c:v>27313</c:v>
                </c:pt>
                <c:pt idx="53214">
                  <c:v>32740</c:v>
                </c:pt>
                <c:pt idx="53215">
                  <c:v>127105</c:v>
                </c:pt>
                <c:pt idx="53216">
                  <c:v>174348</c:v>
                </c:pt>
                <c:pt idx="53217">
                  <c:v>74421</c:v>
                </c:pt>
                <c:pt idx="53218">
                  <c:v>49884</c:v>
                </c:pt>
                <c:pt idx="53219">
                  <c:v>28438</c:v>
                </c:pt>
                <c:pt idx="53220">
                  <c:v>43141</c:v>
                </c:pt>
                <c:pt idx="53221">
                  <c:v>26685</c:v>
                </c:pt>
                <c:pt idx="53222">
                  <c:v>70983</c:v>
                </c:pt>
                <c:pt idx="53223">
                  <c:v>31759</c:v>
                </c:pt>
                <c:pt idx="53224">
                  <c:v>27124</c:v>
                </c:pt>
                <c:pt idx="53225">
                  <c:v>39077</c:v>
                </c:pt>
                <c:pt idx="53226">
                  <c:v>38848</c:v>
                </c:pt>
                <c:pt idx="53227">
                  <c:v>37491</c:v>
                </c:pt>
                <c:pt idx="53228">
                  <c:v>23473</c:v>
                </c:pt>
                <c:pt idx="53229">
                  <c:v>87609</c:v>
                </c:pt>
                <c:pt idx="53230">
                  <c:v>96082</c:v>
                </c:pt>
                <c:pt idx="53231">
                  <c:v>68115</c:v>
                </c:pt>
                <c:pt idx="53232">
                  <c:v>31231</c:v>
                </c:pt>
                <c:pt idx="53233">
                  <c:v>42121</c:v>
                </c:pt>
                <c:pt idx="53234">
                  <c:v>36878</c:v>
                </c:pt>
                <c:pt idx="53235">
                  <c:v>84155</c:v>
                </c:pt>
                <c:pt idx="53236">
                  <c:v>37693</c:v>
                </c:pt>
                <c:pt idx="53237">
                  <c:v>124777</c:v>
                </c:pt>
                <c:pt idx="53238">
                  <c:v>32318</c:v>
                </c:pt>
                <c:pt idx="53239">
                  <c:v>95881</c:v>
                </c:pt>
                <c:pt idx="53240">
                  <c:v>128943</c:v>
                </c:pt>
                <c:pt idx="53241">
                  <c:v>134883</c:v>
                </c:pt>
                <c:pt idx="53242">
                  <c:v>26478</c:v>
                </c:pt>
                <c:pt idx="53243">
                  <c:v>28064</c:v>
                </c:pt>
                <c:pt idx="53244">
                  <c:v>135998</c:v>
                </c:pt>
                <c:pt idx="53245">
                  <c:v>30044</c:v>
                </c:pt>
                <c:pt idx="53246">
                  <c:v>45612</c:v>
                </c:pt>
                <c:pt idx="53247">
                  <c:v>45285</c:v>
                </c:pt>
                <c:pt idx="53248">
                  <c:v>93024</c:v>
                </c:pt>
                <c:pt idx="53249">
                  <c:v>28277</c:v>
                </c:pt>
                <c:pt idx="53250">
                  <c:v>40919</c:v>
                </c:pt>
                <c:pt idx="53251">
                  <c:v>66448</c:v>
                </c:pt>
                <c:pt idx="53252">
                  <c:v>109595</c:v>
                </c:pt>
                <c:pt idx="53253">
                  <c:v>219528</c:v>
                </c:pt>
                <c:pt idx="53254">
                  <c:v>44192</c:v>
                </c:pt>
                <c:pt idx="53255">
                  <c:v>58452</c:v>
                </c:pt>
                <c:pt idx="53256">
                  <c:v>106556</c:v>
                </c:pt>
                <c:pt idx="53257">
                  <c:v>62817</c:v>
                </c:pt>
                <c:pt idx="53258">
                  <c:v>36689</c:v>
                </c:pt>
                <c:pt idx="53259">
                  <c:v>38276</c:v>
                </c:pt>
                <c:pt idx="53260">
                  <c:v>61832</c:v>
                </c:pt>
                <c:pt idx="53261">
                  <c:v>105271</c:v>
                </c:pt>
                <c:pt idx="53262">
                  <c:v>26958</c:v>
                </c:pt>
                <c:pt idx="53263">
                  <c:v>57884</c:v>
                </c:pt>
                <c:pt idx="53264">
                  <c:v>125913</c:v>
                </c:pt>
                <c:pt idx="53265">
                  <c:v>36123</c:v>
                </c:pt>
                <c:pt idx="53266">
                  <c:v>101872</c:v>
                </c:pt>
                <c:pt idx="53267">
                  <c:v>30217</c:v>
                </c:pt>
                <c:pt idx="53268">
                  <c:v>43988</c:v>
                </c:pt>
                <c:pt idx="53269">
                  <c:v>29084</c:v>
                </c:pt>
                <c:pt idx="53270">
                  <c:v>25536</c:v>
                </c:pt>
                <c:pt idx="53271">
                  <c:v>40575</c:v>
                </c:pt>
                <c:pt idx="53272">
                  <c:v>32586</c:v>
                </c:pt>
                <c:pt idx="53273">
                  <c:v>107809</c:v>
                </c:pt>
                <c:pt idx="53274">
                  <c:v>100689</c:v>
                </c:pt>
                <c:pt idx="53275">
                  <c:v>42021</c:v>
                </c:pt>
                <c:pt idx="53276">
                  <c:v>52008</c:v>
                </c:pt>
                <c:pt idx="53277">
                  <c:v>36904</c:v>
                </c:pt>
                <c:pt idx="53278">
                  <c:v>45641</c:v>
                </c:pt>
                <c:pt idx="53279">
                  <c:v>44421</c:v>
                </c:pt>
                <c:pt idx="53280">
                  <c:v>34421</c:v>
                </c:pt>
                <c:pt idx="53281">
                  <c:v>27042</c:v>
                </c:pt>
                <c:pt idx="53282">
                  <c:v>43536</c:v>
                </c:pt>
                <c:pt idx="53283">
                  <c:v>24744</c:v>
                </c:pt>
                <c:pt idx="53284">
                  <c:v>43260</c:v>
                </c:pt>
                <c:pt idx="53285">
                  <c:v>45818</c:v>
                </c:pt>
                <c:pt idx="53286">
                  <c:v>28014</c:v>
                </c:pt>
                <c:pt idx="53287">
                  <c:v>46646</c:v>
                </c:pt>
                <c:pt idx="53288">
                  <c:v>34609</c:v>
                </c:pt>
                <c:pt idx="53289">
                  <c:v>37343</c:v>
                </c:pt>
                <c:pt idx="53290">
                  <c:v>46773</c:v>
                </c:pt>
                <c:pt idx="53291">
                  <c:v>114360</c:v>
                </c:pt>
                <c:pt idx="53292">
                  <c:v>21196</c:v>
                </c:pt>
                <c:pt idx="53293">
                  <c:v>60328</c:v>
                </c:pt>
                <c:pt idx="53294">
                  <c:v>52440</c:v>
                </c:pt>
                <c:pt idx="53295">
                  <c:v>89591</c:v>
                </c:pt>
                <c:pt idx="53296">
                  <c:v>34629</c:v>
                </c:pt>
                <c:pt idx="53297">
                  <c:v>40438</c:v>
                </c:pt>
                <c:pt idx="53298">
                  <c:v>32117</c:v>
                </c:pt>
                <c:pt idx="53299">
                  <c:v>50013</c:v>
                </c:pt>
                <c:pt idx="53300">
                  <c:v>46034</c:v>
                </c:pt>
                <c:pt idx="53301">
                  <c:v>58691</c:v>
                </c:pt>
                <c:pt idx="53302">
                  <c:v>25578</c:v>
                </c:pt>
                <c:pt idx="53303">
                  <c:v>33614</c:v>
                </c:pt>
                <c:pt idx="53304">
                  <c:v>85016</c:v>
                </c:pt>
                <c:pt idx="53305">
                  <c:v>49980</c:v>
                </c:pt>
                <c:pt idx="53306">
                  <c:v>100549</c:v>
                </c:pt>
                <c:pt idx="53307">
                  <c:v>39784</c:v>
                </c:pt>
                <c:pt idx="53308">
                  <c:v>27556</c:v>
                </c:pt>
                <c:pt idx="53309">
                  <c:v>46244</c:v>
                </c:pt>
                <c:pt idx="53310">
                  <c:v>47796</c:v>
                </c:pt>
                <c:pt idx="53311">
                  <c:v>41597</c:v>
                </c:pt>
                <c:pt idx="53312">
                  <c:v>45386</c:v>
                </c:pt>
                <c:pt idx="53313">
                  <c:v>226008</c:v>
                </c:pt>
                <c:pt idx="53314">
                  <c:v>30356</c:v>
                </c:pt>
                <c:pt idx="53315">
                  <c:v>51889</c:v>
                </c:pt>
                <c:pt idx="53316">
                  <c:v>48754</c:v>
                </c:pt>
                <c:pt idx="53317">
                  <c:v>98577</c:v>
                </c:pt>
                <c:pt idx="53318">
                  <c:v>118214</c:v>
                </c:pt>
                <c:pt idx="53319">
                  <c:v>94149</c:v>
                </c:pt>
                <c:pt idx="53320">
                  <c:v>113581</c:v>
                </c:pt>
                <c:pt idx="53321">
                  <c:v>32040</c:v>
                </c:pt>
                <c:pt idx="53322">
                  <c:v>37136</c:v>
                </c:pt>
                <c:pt idx="53323">
                  <c:v>39672</c:v>
                </c:pt>
                <c:pt idx="53324">
                  <c:v>44084</c:v>
                </c:pt>
                <c:pt idx="53325">
                  <c:v>60821</c:v>
                </c:pt>
                <c:pt idx="53326">
                  <c:v>25365</c:v>
                </c:pt>
                <c:pt idx="53327">
                  <c:v>208606</c:v>
                </c:pt>
                <c:pt idx="53328">
                  <c:v>42395</c:v>
                </c:pt>
                <c:pt idx="53329">
                  <c:v>28454</c:v>
                </c:pt>
                <c:pt idx="53330">
                  <c:v>23939</c:v>
                </c:pt>
                <c:pt idx="53331">
                  <c:v>21536</c:v>
                </c:pt>
                <c:pt idx="53332">
                  <c:v>29384</c:v>
                </c:pt>
                <c:pt idx="53333">
                  <c:v>37563</c:v>
                </c:pt>
                <c:pt idx="53334">
                  <c:v>60144</c:v>
                </c:pt>
                <c:pt idx="53335">
                  <c:v>51865</c:v>
                </c:pt>
                <c:pt idx="53336">
                  <c:v>110836</c:v>
                </c:pt>
                <c:pt idx="53337">
                  <c:v>51936</c:v>
                </c:pt>
                <c:pt idx="53338">
                  <c:v>30776</c:v>
                </c:pt>
                <c:pt idx="53339">
                  <c:v>138064</c:v>
                </c:pt>
                <c:pt idx="53340">
                  <c:v>40658</c:v>
                </c:pt>
                <c:pt idx="53341">
                  <c:v>40564</c:v>
                </c:pt>
                <c:pt idx="53342">
                  <c:v>26891</c:v>
                </c:pt>
                <c:pt idx="53343">
                  <c:v>92633</c:v>
                </c:pt>
                <c:pt idx="53344">
                  <c:v>104148</c:v>
                </c:pt>
                <c:pt idx="53345">
                  <c:v>47141</c:v>
                </c:pt>
                <c:pt idx="53346">
                  <c:v>24394</c:v>
                </c:pt>
                <c:pt idx="53347">
                  <c:v>63591</c:v>
                </c:pt>
                <c:pt idx="53348">
                  <c:v>39749</c:v>
                </c:pt>
                <c:pt idx="53349">
                  <c:v>59883</c:v>
                </c:pt>
                <c:pt idx="53350">
                  <c:v>221972</c:v>
                </c:pt>
                <c:pt idx="53351">
                  <c:v>196998</c:v>
                </c:pt>
                <c:pt idx="53352">
                  <c:v>40134</c:v>
                </c:pt>
                <c:pt idx="53353">
                  <c:v>24852</c:v>
                </c:pt>
                <c:pt idx="53354">
                  <c:v>26066</c:v>
                </c:pt>
                <c:pt idx="53355">
                  <c:v>107723</c:v>
                </c:pt>
                <c:pt idx="53356">
                  <c:v>32783</c:v>
                </c:pt>
                <c:pt idx="53357">
                  <c:v>27897</c:v>
                </c:pt>
                <c:pt idx="53358">
                  <c:v>129779</c:v>
                </c:pt>
                <c:pt idx="53359">
                  <c:v>44367</c:v>
                </c:pt>
                <c:pt idx="53360">
                  <c:v>45998</c:v>
                </c:pt>
                <c:pt idx="53361">
                  <c:v>97171</c:v>
                </c:pt>
                <c:pt idx="53362">
                  <c:v>64110</c:v>
                </c:pt>
                <c:pt idx="53363">
                  <c:v>39289</c:v>
                </c:pt>
                <c:pt idx="53364">
                  <c:v>48870</c:v>
                </c:pt>
                <c:pt idx="53365">
                  <c:v>72207</c:v>
                </c:pt>
                <c:pt idx="53366">
                  <c:v>51627</c:v>
                </c:pt>
                <c:pt idx="53367">
                  <c:v>43048</c:v>
                </c:pt>
                <c:pt idx="53368">
                  <c:v>30970</c:v>
                </c:pt>
                <c:pt idx="53369">
                  <c:v>34737</c:v>
                </c:pt>
                <c:pt idx="53370">
                  <c:v>42935</c:v>
                </c:pt>
                <c:pt idx="53371">
                  <c:v>36993</c:v>
                </c:pt>
                <c:pt idx="53372">
                  <c:v>95698</c:v>
                </c:pt>
                <c:pt idx="53373">
                  <c:v>24951</c:v>
                </c:pt>
                <c:pt idx="53374">
                  <c:v>31785</c:v>
                </c:pt>
                <c:pt idx="53375">
                  <c:v>29284</c:v>
                </c:pt>
                <c:pt idx="53376">
                  <c:v>65658</c:v>
                </c:pt>
                <c:pt idx="53377">
                  <c:v>42447</c:v>
                </c:pt>
                <c:pt idx="53378">
                  <c:v>126311</c:v>
                </c:pt>
                <c:pt idx="53379">
                  <c:v>88784</c:v>
                </c:pt>
                <c:pt idx="53380">
                  <c:v>31122</c:v>
                </c:pt>
                <c:pt idx="53381">
                  <c:v>120628</c:v>
                </c:pt>
                <c:pt idx="53382">
                  <c:v>53405</c:v>
                </c:pt>
                <c:pt idx="53383">
                  <c:v>40617</c:v>
                </c:pt>
                <c:pt idx="53384">
                  <c:v>40549</c:v>
                </c:pt>
                <c:pt idx="53385">
                  <c:v>42832</c:v>
                </c:pt>
                <c:pt idx="53386">
                  <c:v>76623</c:v>
                </c:pt>
                <c:pt idx="53387">
                  <c:v>25864</c:v>
                </c:pt>
                <c:pt idx="53388">
                  <c:v>59519</c:v>
                </c:pt>
                <c:pt idx="53389">
                  <c:v>36737</c:v>
                </c:pt>
                <c:pt idx="53390">
                  <c:v>27338</c:v>
                </c:pt>
                <c:pt idx="53391">
                  <c:v>36268</c:v>
                </c:pt>
                <c:pt idx="53392">
                  <c:v>76948</c:v>
                </c:pt>
                <c:pt idx="53393">
                  <c:v>25831</c:v>
                </c:pt>
                <c:pt idx="53394">
                  <c:v>27143</c:v>
                </c:pt>
                <c:pt idx="53395">
                  <c:v>36394</c:v>
                </c:pt>
                <c:pt idx="53396">
                  <c:v>48823</c:v>
                </c:pt>
                <c:pt idx="53397">
                  <c:v>37281</c:v>
                </c:pt>
                <c:pt idx="53398">
                  <c:v>31216</c:v>
                </c:pt>
                <c:pt idx="53399">
                  <c:v>54433</c:v>
                </c:pt>
                <c:pt idx="53400">
                  <c:v>55362</c:v>
                </c:pt>
                <c:pt idx="53401">
                  <c:v>61417</c:v>
                </c:pt>
                <c:pt idx="53402">
                  <c:v>81671</c:v>
                </c:pt>
                <c:pt idx="53403">
                  <c:v>162527</c:v>
                </c:pt>
                <c:pt idx="53404">
                  <c:v>37925</c:v>
                </c:pt>
                <c:pt idx="53405">
                  <c:v>41744</c:v>
                </c:pt>
                <c:pt idx="53406">
                  <c:v>37178</c:v>
                </c:pt>
                <c:pt idx="53407">
                  <c:v>360559</c:v>
                </c:pt>
                <c:pt idx="53408">
                  <c:v>151824</c:v>
                </c:pt>
                <c:pt idx="53409">
                  <c:v>38275</c:v>
                </c:pt>
                <c:pt idx="53410">
                  <c:v>31807</c:v>
                </c:pt>
                <c:pt idx="53411">
                  <c:v>97018</c:v>
                </c:pt>
                <c:pt idx="53412">
                  <c:v>23644</c:v>
                </c:pt>
                <c:pt idx="53413">
                  <c:v>21502</c:v>
                </c:pt>
                <c:pt idx="53414">
                  <c:v>65272</c:v>
                </c:pt>
                <c:pt idx="53415">
                  <c:v>34274</c:v>
                </c:pt>
                <c:pt idx="53416">
                  <c:v>150424</c:v>
                </c:pt>
                <c:pt idx="53417">
                  <c:v>47848</c:v>
                </c:pt>
                <c:pt idx="53418">
                  <c:v>36896</c:v>
                </c:pt>
                <c:pt idx="53419">
                  <c:v>36609</c:v>
                </c:pt>
                <c:pt idx="53420">
                  <c:v>35641</c:v>
                </c:pt>
                <c:pt idx="53421">
                  <c:v>32347</c:v>
                </c:pt>
                <c:pt idx="53422">
                  <c:v>35444</c:v>
                </c:pt>
                <c:pt idx="53423">
                  <c:v>35012</c:v>
                </c:pt>
                <c:pt idx="53424">
                  <c:v>34940</c:v>
                </c:pt>
                <c:pt idx="53425">
                  <c:v>77652</c:v>
                </c:pt>
                <c:pt idx="53426">
                  <c:v>32916</c:v>
                </c:pt>
                <c:pt idx="53427">
                  <c:v>25663</c:v>
                </c:pt>
                <c:pt idx="53428">
                  <c:v>47796</c:v>
                </c:pt>
                <c:pt idx="53429">
                  <c:v>38167</c:v>
                </c:pt>
                <c:pt idx="53430">
                  <c:v>51439</c:v>
                </c:pt>
                <c:pt idx="53431">
                  <c:v>36257</c:v>
                </c:pt>
                <c:pt idx="53432">
                  <c:v>30227</c:v>
                </c:pt>
                <c:pt idx="53433">
                  <c:v>68699</c:v>
                </c:pt>
                <c:pt idx="53434">
                  <c:v>48522</c:v>
                </c:pt>
                <c:pt idx="53435">
                  <c:v>62050</c:v>
                </c:pt>
                <c:pt idx="53436">
                  <c:v>46046</c:v>
                </c:pt>
                <c:pt idx="53437">
                  <c:v>51182</c:v>
                </c:pt>
                <c:pt idx="53438">
                  <c:v>92457</c:v>
                </c:pt>
                <c:pt idx="53439">
                  <c:v>86436</c:v>
                </c:pt>
                <c:pt idx="53440">
                  <c:v>88213</c:v>
                </c:pt>
                <c:pt idx="53441">
                  <c:v>24773</c:v>
                </c:pt>
                <c:pt idx="53442">
                  <c:v>77154</c:v>
                </c:pt>
                <c:pt idx="53443">
                  <c:v>89130</c:v>
                </c:pt>
                <c:pt idx="53444">
                  <c:v>27563</c:v>
                </c:pt>
                <c:pt idx="53445">
                  <c:v>95114</c:v>
                </c:pt>
                <c:pt idx="53446">
                  <c:v>285726</c:v>
                </c:pt>
                <c:pt idx="53447">
                  <c:v>87556</c:v>
                </c:pt>
                <c:pt idx="53448">
                  <c:v>22584</c:v>
                </c:pt>
                <c:pt idx="53449">
                  <c:v>40553</c:v>
                </c:pt>
                <c:pt idx="53450">
                  <c:v>39338</c:v>
                </c:pt>
                <c:pt idx="53451">
                  <c:v>30317</c:v>
                </c:pt>
                <c:pt idx="53452">
                  <c:v>119895</c:v>
                </c:pt>
                <c:pt idx="53453">
                  <c:v>192556</c:v>
                </c:pt>
                <c:pt idx="53454">
                  <c:v>28341</c:v>
                </c:pt>
                <c:pt idx="53455">
                  <c:v>25282</c:v>
                </c:pt>
                <c:pt idx="53456">
                  <c:v>46118</c:v>
                </c:pt>
                <c:pt idx="53457">
                  <c:v>132138</c:v>
                </c:pt>
                <c:pt idx="53458">
                  <c:v>34191</c:v>
                </c:pt>
                <c:pt idx="53459">
                  <c:v>21827</c:v>
                </c:pt>
                <c:pt idx="53460">
                  <c:v>48146</c:v>
                </c:pt>
                <c:pt idx="53461">
                  <c:v>28763</c:v>
                </c:pt>
                <c:pt idx="53462">
                  <c:v>90574</c:v>
                </c:pt>
                <c:pt idx="53463">
                  <c:v>26238</c:v>
                </c:pt>
                <c:pt idx="53464">
                  <c:v>35041</c:v>
                </c:pt>
                <c:pt idx="53465">
                  <c:v>30959</c:v>
                </c:pt>
                <c:pt idx="53466">
                  <c:v>46596</c:v>
                </c:pt>
                <c:pt idx="53467">
                  <c:v>29404</c:v>
                </c:pt>
                <c:pt idx="53468">
                  <c:v>84821</c:v>
                </c:pt>
                <c:pt idx="53469">
                  <c:v>31665</c:v>
                </c:pt>
                <c:pt idx="53470">
                  <c:v>80414</c:v>
                </c:pt>
                <c:pt idx="53471">
                  <c:v>54559</c:v>
                </c:pt>
                <c:pt idx="53472">
                  <c:v>40045</c:v>
                </c:pt>
                <c:pt idx="53473">
                  <c:v>43919</c:v>
                </c:pt>
                <c:pt idx="53474">
                  <c:v>93365</c:v>
                </c:pt>
                <c:pt idx="53475">
                  <c:v>39395</c:v>
                </c:pt>
                <c:pt idx="53476">
                  <c:v>64237</c:v>
                </c:pt>
                <c:pt idx="53477">
                  <c:v>24604</c:v>
                </c:pt>
                <c:pt idx="53478">
                  <c:v>68669</c:v>
                </c:pt>
                <c:pt idx="53479">
                  <c:v>28441</c:v>
                </c:pt>
                <c:pt idx="53480">
                  <c:v>39915</c:v>
                </c:pt>
                <c:pt idx="53481">
                  <c:v>175701</c:v>
                </c:pt>
                <c:pt idx="53482">
                  <c:v>32595</c:v>
                </c:pt>
                <c:pt idx="53483">
                  <c:v>44787</c:v>
                </c:pt>
                <c:pt idx="53484">
                  <c:v>55534</c:v>
                </c:pt>
                <c:pt idx="53485">
                  <c:v>42699</c:v>
                </c:pt>
                <c:pt idx="53486">
                  <c:v>54101</c:v>
                </c:pt>
                <c:pt idx="53487">
                  <c:v>80349</c:v>
                </c:pt>
                <c:pt idx="53488">
                  <c:v>24071</c:v>
                </c:pt>
                <c:pt idx="53489">
                  <c:v>15000</c:v>
                </c:pt>
                <c:pt idx="53490">
                  <c:v>66771</c:v>
                </c:pt>
                <c:pt idx="53491">
                  <c:v>50316</c:v>
                </c:pt>
                <c:pt idx="53492">
                  <c:v>33638</c:v>
                </c:pt>
                <c:pt idx="53493">
                  <c:v>61509</c:v>
                </c:pt>
                <c:pt idx="53494">
                  <c:v>32899</c:v>
                </c:pt>
                <c:pt idx="53495">
                  <c:v>23067</c:v>
                </c:pt>
                <c:pt idx="53496">
                  <c:v>23694</c:v>
                </c:pt>
                <c:pt idx="53497">
                  <c:v>32712</c:v>
                </c:pt>
                <c:pt idx="53498">
                  <c:v>114619</c:v>
                </c:pt>
                <c:pt idx="53499">
                  <c:v>45281</c:v>
                </c:pt>
                <c:pt idx="53500">
                  <c:v>109224</c:v>
                </c:pt>
                <c:pt idx="53501">
                  <c:v>24010</c:v>
                </c:pt>
                <c:pt idx="53502">
                  <c:v>44854</c:v>
                </c:pt>
                <c:pt idx="53503">
                  <c:v>36774</c:v>
                </c:pt>
                <c:pt idx="53504">
                  <c:v>33445</c:v>
                </c:pt>
                <c:pt idx="53505">
                  <c:v>85457</c:v>
                </c:pt>
                <c:pt idx="53506">
                  <c:v>63235</c:v>
                </c:pt>
                <c:pt idx="53507">
                  <c:v>20998</c:v>
                </c:pt>
                <c:pt idx="53508">
                  <c:v>25175</c:v>
                </c:pt>
                <c:pt idx="53509">
                  <c:v>20309</c:v>
                </c:pt>
                <c:pt idx="53510">
                  <c:v>56027</c:v>
                </c:pt>
                <c:pt idx="53511">
                  <c:v>28947</c:v>
                </c:pt>
                <c:pt idx="53512">
                  <c:v>153028</c:v>
                </c:pt>
                <c:pt idx="53513">
                  <c:v>56885</c:v>
                </c:pt>
                <c:pt idx="53514">
                  <c:v>31135</c:v>
                </c:pt>
                <c:pt idx="53515">
                  <c:v>35565</c:v>
                </c:pt>
                <c:pt idx="53516">
                  <c:v>35880</c:v>
                </c:pt>
                <c:pt idx="53517">
                  <c:v>32256</c:v>
                </c:pt>
                <c:pt idx="53518">
                  <c:v>23893</c:v>
                </c:pt>
                <c:pt idx="53519">
                  <c:v>35652</c:v>
                </c:pt>
                <c:pt idx="53520">
                  <c:v>23715</c:v>
                </c:pt>
                <c:pt idx="53521">
                  <c:v>35331</c:v>
                </c:pt>
                <c:pt idx="53522">
                  <c:v>30233</c:v>
                </c:pt>
                <c:pt idx="53523">
                  <c:v>52060</c:v>
                </c:pt>
                <c:pt idx="53524">
                  <c:v>41155</c:v>
                </c:pt>
                <c:pt idx="53525">
                  <c:v>25329</c:v>
                </c:pt>
                <c:pt idx="53526">
                  <c:v>37983</c:v>
                </c:pt>
                <c:pt idx="53527">
                  <c:v>60491</c:v>
                </c:pt>
                <c:pt idx="53528">
                  <c:v>34307</c:v>
                </c:pt>
                <c:pt idx="53529">
                  <c:v>50319</c:v>
                </c:pt>
                <c:pt idx="53530">
                  <c:v>82065</c:v>
                </c:pt>
                <c:pt idx="53531">
                  <c:v>38792</c:v>
                </c:pt>
                <c:pt idx="53532">
                  <c:v>76681</c:v>
                </c:pt>
                <c:pt idx="53533">
                  <c:v>87456</c:v>
                </c:pt>
                <c:pt idx="53534">
                  <c:v>45460</c:v>
                </c:pt>
                <c:pt idx="53535">
                  <c:v>39305</c:v>
                </c:pt>
                <c:pt idx="53536">
                  <c:v>27847</c:v>
                </c:pt>
                <c:pt idx="53537">
                  <c:v>51181</c:v>
                </c:pt>
                <c:pt idx="53538">
                  <c:v>75338</c:v>
                </c:pt>
                <c:pt idx="53539">
                  <c:v>35575</c:v>
                </c:pt>
                <c:pt idx="53540">
                  <c:v>30882</c:v>
                </c:pt>
                <c:pt idx="53541">
                  <c:v>22987</c:v>
                </c:pt>
                <c:pt idx="53542">
                  <c:v>32121</c:v>
                </c:pt>
                <c:pt idx="53543">
                  <c:v>30404</c:v>
                </c:pt>
                <c:pt idx="53544">
                  <c:v>31536</c:v>
                </c:pt>
                <c:pt idx="53545">
                  <c:v>105715</c:v>
                </c:pt>
                <c:pt idx="53546">
                  <c:v>29386</c:v>
                </c:pt>
                <c:pt idx="53547">
                  <c:v>64375</c:v>
                </c:pt>
                <c:pt idx="53548">
                  <c:v>36395</c:v>
                </c:pt>
                <c:pt idx="53549">
                  <c:v>39091</c:v>
                </c:pt>
                <c:pt idx="53550">
                  <c:v>87018</c:v>
                </c:pt>
                <c:pt idx="53551">
                  <c:v>108470</c:v>
                </c:pt>
                <c:pt idx="53552">
                  <c:v>63605</c:v>
                </c:pt>
                <c:pt idx="53553">
                  <c:v>51665</c:v>
                </c:pt>
                <c:pt idx="53554">
                  <c:v>41691</c:v>
                </c:pt>
                <c:pt idx="53555">
                  <c:v>49569</c:v>
                </c:pt>
                <c:pt idx="53556">
                  <c:v>28821</c:v>
                </c:pt>
                <c:pt idx="53557">
                  <c:v>34662</c:v>
                </c:pt>
                <c:pt idx="53558">
                  <c:v>65123</c:v>
                </c:pt>
                <c:pt idx="53559">
                  <c:v>34214</c:v>
                </c:pt>
                <c:pt idx="53560">
                  <c:v>48393</c:v>
                </c:pt>
                <c:pt idx="53561">
                  <c:v>45104</c:v>
                </c:pt>
                <c:pt idx="53562">
                  <c:v>22949</c:v>
                </c:pt>
                <c:pt idx="53563">
                  <c:v>148126</c:v>
                </c:pt>
                <c:pt idx="53564">
                  <c:v>58589</c:v>
                </c:pt>
                <c:pt idx="53565">
                  <c:v>69953</c:v>
                </c:pt>
                <c:pt idx="53566">
                  <c:v>27991</c:v>
                </c:pt>
                <c:pt idx="53567">
                  <c:v>96304</c:v>
                </c:pt>
                <c:pt idx="53568">
                  <c:v>35715</c:v>
                </c:pt>
                <c:pt idx="53569">
                  <c:v>26004</c:v>
                </c:pt>
                <c:pt idx="53570">
                  <c:v>23383</c:v>
                </c:pt>
                <c:pt idx="53571">
                  <c:v>41002</c:v>
                </c:pt>
                <c:pt idx="53572">
                  <c:v>25075</c:v>
                </c:pt>
                <c:pt idx="53573">
                  <c:v>151096</c:v>
                </c:pt>
                <c:pt idx="53574">
                  <c:v>28870</c:v>
                </c:pt>
                <c:pt idx="53575">
                  <c:v>60401</c:v>
                </c:pt>
                <c:pt idx="53576">
                  <c:v>39556</c:v>
                </c:pt>
                <c:pt idx="53577">
                  <c:v>29202</c:v>
                </c:pt>
                <c:pt idx="53578">
                  <c:v>64043</c:v>
                </c:pt>
                <c:pt idx="53579">
                  <c:v>56779</c:v>
                </c:pt>
                <c:pt idx="53580">
                  <c:v>24265</c:v>
                </c:pt>
                <c:pt idx="53581">
                  <c:v>65362</c:v>
                </c:pt>
                <c:pt idx="53582">
                  <c:v>55579</c:v>
                </c:pt>
                <c:pt idx="53583">
                  <c:v>94917</c:v>
                </c:pt>
                <c:pt idx="53584">
                  <c:v>40063</c:v>
                </c:pt>
                <c:pt idx="53585">
                  <c:v>31447</c:v>
                </c:pt>
                <c:pt idx="53586">
                  <c:v>28999</c:v>
                </c:pt>
                <c:pt idx="53587">
                  <c:v>93618</c:v>
                </c:pt>
                <c:pt idx="53588">
                  <c:v>36392</c:v>
                </c:pt>
                <c:pt idx="53589">
                  <c:v>40030</c:v>
                </c:pt>
                <c:pt idx="53590">
                  <c:v>38350</c:v>
                </c:pt>
                <c:pt idx="53591">
                  <c:v>23630</c:v>
                </c:pt>
                <c:pt idx="53592">
                  <c:v>50803</c:v>
                </c:pt>
                <c:pt idx="53593">
                  <c:v>30978</c:v>
                </c:pt>
                <c:pt idx="53594">
                  <c:v>21959</c:v>
                </c:pt>
                <c:pt idx="53595">
                  <c:v>53751</c:v>
                </c:pt>
                <c:pt idx="53596">
                  <c:v>70609</c:v>
                </c:pt>
                <c:pt idx="53597">
                  <c:v>30186</c:v>
                </c:pt>
                <c:pt idx="53598">
                  <c:v>38556</c:v>
                </c:pt>
                <c:pt idx="53599">
                  <c:v>36834</c:v>
                </c:pt>
                <c:pt idx="53600">
                  <c:v>69176</c:v>
                </c:pt>
                <c:pt idx="53601">
                  <c:v>31467</c:v>
                </c:pt>
                <c:pt idx="53602">
                  <c:v>43641</c:v>
                </c:pt>
                <c:pt idx="53603">
                  <c:v>42691</c:v>
                </c:pt>
                <c:pt idx="53604">
                  <c:v>38864</c:v>
                </c:pt>
                <c:pt idx="53605">
                  <c:v>22320</c:v>
                </c:pt>
                <c:pt idx="53606">
                  <c:v>210673</c:v>
                </c:pt>
                <c:pt idx="53607">
                  <c:v>29114</c:v>
                </c:pt>
                <c:pt idx="53608">
                  <c:v>60555</c:v>
                </c:pt>
                <c:pt idx="53609">
                  <c:v>30643</c:v>
                </c:pt>
                <c:pt idx="53610">
                  <c:v>42107</c:v>
                </c:pt>
                <c:pt idx="53611">
                  <c:v>32637</c:v>
                </c:pt>
                <c:pt idx="53612">
                  <c:v>111516</c:v>
                </c:pt>
                <c:pt idx="53613">
                  <c:v>62550</c:v>
                </c:pt>
                <c:pt idx="53614">
                  <c:v>23363</c:v>
                </c:pt>
                <c:pt idx="53615">
                  <c:v>52063</c:v>
                </c:pt>
                <c:pt idx="53616">
                  <c:v>43631</c:v>
                </c:pt>
                <c:pt idx="53617">
                  <c:v>68141</c:v>
                </c:pt>
                <c:pt idx="53618">
                  <c:v>31607</c:v>
                </c:pt>
                <c:pt idx="53619">
                  <c:v>32045</c:v>
                </c:pt>
                <c:pt idx="53620">
                  <c:v>22645</c:v>
                </c:pt>
                <c:pt idx="53621">
                  <c:v>24127</c:v>
                </c:pt>
                <c:pt idx="53622">
                  <c:v>25908</c:v>
                </c:pt>
                <c:pt idx="53623">
                  <c:v>42982</c:v>
                </c:pt>
                <c:pt idx="53624">
                  <c:v>30556</c:v>
                </c:pt>
                <c:pt idx="53625">
                  <c:v>50791</c:v>
                </c:pt>
                <c:pt idx="53626">
                  <c:v>36869</c:v>
                </c:pt>
                <c:pt idx="53627">
                  <c:v>57804</c:v>
                </c:pt>
                <c:pt idx="53628">
                  <c:v>109770</c:v>
                </c:pt>
                <c:pt idx="53629">
                  <c:v>62672</c:v>
                </c:pt>
                <c:pt idx="53630">
                  <c:v>34255</c:v>
                </c:pt>
                <c:pt idx="53631">
                  <c:v>87745</c:v>
                </c:pt>
                <c:pt idx="53632">
                  <c:v>49183</c:v>
                </c:pt>
                <c:pt idx="53633">
                  <c:v>121041</c:v>
                </c:pt>
                <c:pt idx="53634">
                  <c:v>39250</c:v>
                </c:pt>
                <c:pt idx="53635">
                  <c:v>99498</c:v>
                </c:pt>
                <c:pt idx="53636">
                  <c:v>41648</c:v>
                </c:pt>
                <c:pt idx="53637">
                  <c:v>89404</c:v>
                </c:pt>
                <c:pt idx="53638">
                  <c:v>158692</c:v>
                </c:pt>
                <c:pt idx="53639">
                  <c:v>43383</c:v>
                </c:pt>
                <c:pt idx="53640">
                  <c:v>49351</c:v>
                </c:pt>
                <c:pt idx="53641">
                  <c:v>51168</c:v>
                </c:pt>
                <c:pt idx="53642">
                  <c:v>40885</c:v>
                </c:pt>
                <c:pt idx="53643">
                  <c:v>40473</c:v>
                </c:pt>
                <c:pt idx="53644">
                  <c:v>28901</c:v>
                </c:pt>
                <c:pt idx="53645">
                  <c:v>32978</c:v>
                </c:pt>
                <c:pt idx="53646">
                  <c:v>65131</c:v>
                </c:pt>
                <c:pt idx="53647">
                  <c:v>41381</c:v>
                </c:pt>
                <c:pt idx="53648">
                  <c:v>92399</c:v>
                </c:pt>
                <c:pt idx="53649">
                  <c:v>39840</c:v>
                </c:pt>
                <c:pt idx="53650">
                  <c:v>44107</c:v>
                </c:pt>
                <c:pt idx="53651">
                  <c:v>33523</c:v>
                </c:pt>
                <c:pt idx="53652">
                  <c:v>28280</c:v>
                </c:pt>
                <c:pt idx="53653">
                  <c:v>57589</c:v>
                </c:pt>
                <c:pt idx="53654">
                  <c:v>29284</c:v>
                </c:pt>
                <c:pt idx="53655">
                  <c:v>25658</c:v>
                </c:pt>
                <c:pt idx="53656">
                  <c:v>157153</c:v>
                </c:pt>
                <c:pt idx="53657">
                  <c:v>31108</c:v>
                </c:pt>
                <c:pt idx="53658">
                  <c:v>56653</c:v>
                </c:pt>
                <c:pt idx="53659">
                  <c:v>90728</c:v>
                </c:pt>
                <c:pt idx="53660">
                  <c:v>42780</c:v>
                </c:pt>
                <c:pt idx="53661">
                  <c:v>89157</c:v>
                </c:pt>
                <c:pt idx="53662">
                  <c:v>23249</c:v>
                </c:pt>
                <c:pt idx="53663">
                  <c:v>54944</c:v>
                </c:pt>
                <c:pt idx="53664">
                  <c:v>41109</c:v>
                </c:pt>
                <c:pt idx="53665">
                  <c:v>398402</c:v>
                </c:pt>
                <c:pt idx="53666">
                  <c:v>35846</c:v>
                </c:pt>
                <c:pt idx="53667">
                  <c:v>36155</c:v>
                </c:pt>
                <c:pt idx="53668">
                  <c:v>72733</c:v>
                </c:pt>
                <c:pt idx="53669">
                  <c:v>51238</c:v>
                </c:pt>
                <c:pt idx="53670">
                  <c:v>63379</c:v>
                </c:pt>
                <c:pt idx="53671">
                  <c:v>57812</c:v>
                </c:pt>
                <c:pt idx="53672">
                  <c:v>51595</c:v>
                </c:pt>
                <c:pt idx="53673">
                  <c:v>24229</c:v>
                </c:pt>
                <c:pt idx="53674">
                  <c:v>34249</c:v>
                </c:pt>
                <c:pt idx="53675">
                  <c:v>23024</c:v>
                </c:pt>
                <c:pt idx="53676">
                  <c:v>35584</c:v>
                </c:pt>
                <c:pt idx="53677">
                  <c:v>24310</c:v>
                </c:pt>
                <c:pt idx="53678">
                  <c:v>143352</c:v>
                </c:pt>
                <c:pt idx="53679">
                  <c:v>37784</c:v>
                </c:pt>
                <c:pt idx="53680">
                  <c:v>32603</c:v>
                </c:pt>
                <c:pt idx="53681">
                  <c:v>27761</c:v>
                </c:pt>
                <c:pt idx="53682">
                  <c:v>43148</c:v>
                </c:pt>
                <c:pt idx="53683">
                  <c:v>114845</c:v>
                </c:pt>
                <c:pt idx="53684">
                  <c:v>36419</c:v>
                </c:pt>
                <c:pt idx="53685">
                  <c:v>56353</c:v>
                </c:pt>
                <c:pt idx="53686">
                  <c:v>39683</c:v>
                </c:pt>
                <c:pt idx="53687">
                  <c:v>24237</c:v>
                </c:pt>
                <c:pt idx="53688">
                  <c:v>45998</c:v>
                </c:pt>
                <c:pt idx="53689">
                  <c:v>44305</c:v>
                </c:pt>
                <c:pt idx="53690">
                  <c:v>47313</c:v>
                </c:pt>
                <c:pt idx="53691">
                  <c:v>39596</c:v>
                </c:pt>
                <c:pt idx="53692">
                  <c:v>43205</c:v>
                </c:pt>
                <c:pt idx="53693">
                  <c:v>174550</c:v>
                </c:pt>
                <c:pt idx="53694">
                  <c:v>183703</c:v>
                </c:pt>
                <c:pt idx="53695">
                  <c:v>24768</c:v>
                </c:pt>
                <c:pt idx="53696">
                  <c:v>33890</c:v>
                </c:pt>
                <c:pt idx="53697">
                  <c:v>73094</c:v>
                </c:pt>
                <c:pt idx="53698">
                  <c:v>68851</c:v>
                </c:pt>
                <c:pt idx="53699">
                  <c:v>36181</c:v>
                </c:pt>
                <c:pt idx="53700">
                  <c:v>35334</c:v>
                </c:pt>
                <c:pt idx="53701">
                  <c:v>37715</c:v>
                </c:pt>
                <c:pt idx="53702">
                  <c:v>107227</c:v>
                </c:pt>
                <c:pt idx="53703">
                  <c:v>65688</c:v>
                </c:pt>
                <c:pt idx="53704">
                  <c:v>43199</c:v>
                </c:pt>
                <c:pt idx="53705">
                  <c:v>44340</c:v>
                </c:pt>
                <c:pt idx="53706">
                  <c:v>45485</c:v>
                </c:pt>
                <c:pt idx="53707">
                  <c:v>94622</c:v>
                </c:pt>
                <c:pt idx="53708">
                  <c:v>73890</c:v>
                </c:pt>
                <c:pt idx="53709">
                  <c:v>32712</c:v>
                </c:pt>
                <c:pt idx="53710">
                  <c:v>40036</c:v>
                </c:pt>
                <c:pt idx="53711">
                  <c:v>35208</c:v>
                </c:pt>
                <c:pt idx="53712">
                  <c:v>34341</c:v>
                </c:pt>
                <c:pt idx="53713">
                  <c:v>25636</c:v>
                </c:pt>
                <c:pt idx="53714">
                  <c:v>93729</c:v>
                </c:pt>
                <c:pt idx="53715">
                  <c:v>96085</c:v>
                </c:pt>
                <c:pt idx="53716">
                  <c:v>35071</c:v>
                </c:pt>
                <c:pt idx="53717">
                  <c:v>283232</c:v>
                </c:pt>
                <c:pt idx="53718">
                  <c:v>127335</c:v>
                </c:pt>
                <c:pt idx="53719">
                  <c:v>54580</c:v>
                </c:pt>
                <c:pt idx="53720">
                  <c:v>38942</c:v>
                </c:pt>
                <c:pt idx="53721">
                  <c:v>92941</c:v>
                </c:pt>
                <c:pt idx="53722">
                  <c:v>26502</c:v>
                </c:pt>
                <c:pt idx="53723">
                  <c:v>51641</c:v>
                </c:pt>
                <c:pt idx="53724">
                  <c:v>33310</c:v>
                </c:pt>
                <c:pt idx="53725">
                  <c:v>60574</c:v>
                </c:pt>
                <c:pt idx="53726">
                  <c:v>56281</c:v>
                </c:pt>
                <c:pt idx="53727">
                  <c:v>48126</c:v>
                </c:pt>
                <c:pt idx="53728">
                  <c:v>37335</c:v>
                </c:pt>
                <c:pt idx="53729">
                  <c:v>63409</c:v>
                </c:pt>
                <c:pt idx="53730">
                  <c:v>44983</c:v>
                </c:pt>
                <c:pt idx="53731">
                  <c:v>33636</c:v>
                </c:pt>
                <c:pt idx="53732">
                  <c:v>172880</c:v>
                </c:pt>
                <c:pt idx="53733">
                  <c:v>59688</c:v>
                </c:pt>
                <c:pt idx="53734">
                  <c:v>22537</c:v>
                </c:pt>
                <c:pt idx="53735">
                  <c:v>37499</c:v>
                </c:pt>
                <c:pt idx="53736">
                  <c:v>21209</c:v>
                </c:pt>
                <c:pt idx="53737">
                  <c:v>31525</c:v>
                </c:pt>
                <c:pt idx="53738">
                  <c:v>41692</c:v>
                </c:pt>
                <c:pt idx="53739">
                  <c:v>44652</c:v>
                </c:pt>
                <c:pt idx="53740">
                  <c:v>34224</c:v>
                </c:pt>
                <c:pt idx="53741">
                  <c:v>111611</c:v>
                </c:pt>
                <c:pt idx="53742">
                  <c:v>26607</c:v>
                </c:pt>
                <c:pt idx="53743">
                  <c:v>127390</c:v>
                </c:pt>
                <c:pt idx="53744">
                  <c:v>39418</c:v>
                </c:pt>
                <c:pt idx="53745">
                  <c:v>181436</c:v>
                </c:pt>
                <c:pt idx="53746">
                  <c:v>31584</c:v>
                </c:pt>
                <c:pt idx="53747">
                  <c:v>63882</c:v>
                </c:pt>
                <c:pt idx="53748">
                  <c:v>42406</c:v>
                </c:pt>
                <c:pt idx="53749">
                  <c:v>74347</c:v>
                </c:pt>
                <c:pt idx="53750">
                  <c:v>27087</c:v>
                </c:pt>
                <c:pt idx="53751">
                  <c:v>36387</c:v>
                </c:pt>
                <c:pt idx="53752">
                  <c:v>42515</c:v>
                </c:pt>
                <c:pt idx="53753">
                  <c:v>38873</c:v>
                </c:pt>
                <c:pt idx="53754">
                  <c:v>69507</c:v>
                </c:pt>
                <c:pt idx="53755">
                  <c:v>67263</c:v>
                </c:pt>
                <c:pt idx="53756">
                  <c:v>45487</c:v>
                </c:pt>
                <c:pt idx="53757">
                  <c:v>49408</c:v>
                </c:pt>
                <c:pt idx="53758">
                  <c:v>92926</c:v>
                </c:pt>
                <c:pt idx="53759">
                  <c:v>24151</c:v>
                </c:pt>
                <c:pt idx="53760">
                  <c:v>71413</c:v>
                </c:pt>
                <c:pt idx="53761">
                  <c:v>34737</c:v>
                </c:pt>
                <c:pt idx="53762">
                  <c:v>134131</c:v>
                </c:pt>
                <c:pt idx="53763">
                  <c:v>32454</c:v>
                </c:pt>
                <c:pt idx="53764">
                  <c:v>29736</c:v>
                </c:pt>
                <c:pt idx="53765">
                  <c:v>86232</c:v>
                </c:pt>
                <c:pt idx="53766">
                  <c:v>33588</c:v>
                </c:pt>
                <c:pt idx="53767">
                  <c:v>47704</c:v>
                </c:pt>
                <c:pt idx="53768">
                  <c:v>28832</c:v>
                </c:pt>
                <c:pt idx="53769">
                  <c:v>50120</c:v>
                </c:pt>
                <c:pt idx="53770">
                  <c:v>28481</c:v>
                </c:pt>
                <c:pt idx="53771">
                  <c:v>53578</c:v>
                </c:pt>
                <c:pt idx="53772">
                  <c:v>22634</c:v>
                </c:pt>
                <c:pt idx="53773">
                  <c:v>54107</c:v>
                </c:pt>
                <c:pt idx="53774">
                  <c:v>24800</c:v>
                </c:pt>
                <c:pt idx="53775">
                  <c:v>40197</c:v>
                </c:pt>
                <c:pt idx="53776">
                  <c:v>111495</c:v>
                </c:pt>
                <c:pt idx="53777">
                  <c:v>47966</c:v>
                </c:pt>
                <c:pt idx="53778">
                  <c:v>54064</c:v>
                </c:pt>
                <c:pt idx="53779">
                  <c:v>70283</c:v>
                </c:pt>
                <c:pt idx="53780">
                  <c:v>22371</c:v>
                </c:pt>
                <c:pt idx="53781">
                  <c:v>88129</c:v>
                </c:pt>
                <c:pt idx="53782">
                  <c:v>49013</c:v>
                </c:pt>
                <c:pt idx="53783">
                  <c:v>29919</c:v>
                </c:pt>
                <c:pt idx="53784">
                  <c:v>101817</c:v>
                </c:pt>
                <c:pt idx="53785">
                  <c:v>49826</c:v>
                </c:pt>
                <c:pt idx="53786">
                  <c:v>119354</c:v>
                </c:pt>
                <c:pt idx="53787">
                  <c:v>70434</c:v>
                </c:pt>
                <c:pt idx="53788">
                  <c:v>145608</c:v>
                </c:pt>
                <c:pt idx="53789">
                  <c:v>44311</c:v>
                </c:pt>
                <c:pt idx="53790">
                  <c:v>29877</c:v>
                </c:pt>
                <c:pt idx="53791">
                  <c:v>48174</c:v>
                </c:pt>
                <c:pt idx="53792">
                  <c:v>52870</c:v>
                </c:pt>
                <c:pt idx="53793">
                  <c:v>33240</c:v>
                </c:pt>
                <c:pt idx="53794">
                  <c:v>45625</c:v>
                </c:pt>
                <c:pt idx="53795">
                  <c:v>23892</c:v>
                </c:pt>
                <c:pt idx="53796">
                  <c:v>48628</c:v>
                </c:pt>
                <c:pt idx="53797">
                  <c:v>181208</c:v>
                </c:pt>
                <c:pt idx="53798">
                  <c:v>52319</c:v>
                </c:pt>
                <c:pt idx="53799">
                  <c:v>29069</c:v>
                </c:pt>
                <c:pt idx="53800">
                  <c:v>46864</c:v>
                </c:pt>
                <c:pt idx="53801">
                  <c:v>26134</c:v>
                </c:pt>
                <c:pt idx="53802">
                  <c:v>39362</c:v>
                </c:pt>
                <c:pt idx="53803">
                  <c:v>35885</c:v>
                </c:pt>
                <c:pt idx="53804">
                  <c:v>26787</c:v>
                </c:pt>
                <c:pt idx="53805">
                  <c:v>27256</c:v>
                </c:pt>
                <c:pt idx="53806">
                  <c:v>20893</c:v>
                </c:pt>
                <c:pt idx="53807">
                  <c:v>57936</c:v>
                </c:pt>
                <c:pt idx="53808">
                  <c:v>36837</c:v>
                </c:pt>
                <c:pt idx="53809">
                  <c:v>24151</c:v>
                </c:pt>
                <c:pt idx="53810">
                  <c:v>38739</c:v>
                </c:pt>
                <c:pt idx="53811">
                  <c:v>44761</c:v>
                </c:pt>
                <c:pt idx="53812">
                  <c:v>102193</c:v>
                </c:pt>
                <c:pt idx="53813">
                  <c:v>36774</c:v>
                </c:pt>
                <c:pt idx="53814">
                  <c:v>49884</c:v>
                </c:pt>
                <c:pt idx="53815">
                  <c:v>42224</c:v>
                </c:pt>
                <c:pt idx="53816">
                  <c:v>109597</c:v>
                </c:pt>
                <c:pt idx="53817">
                  <c:v>69056</c:v>
                </c:pt>
                <c:pt idx="53818">
                  <c:v>56835</c:v>
                </c:pt>
                <c:pt idx="53819">
                  <c:v>40531</c:v>
                </c:pt>
                <c:pt idx="53820">
                  <c:v>44680</c:v>
                </c:pt>
                <c:pt idx="53821">
                  <c:v>48952</c:v>
                </c:pt>
                <c:pt idx="53822">
                  <c:v>53333</c:v>
                </c:pt>
                <c:pt idx="53823">
                  <c:v>32630</c:v>
                </c:pt>
                <c:pt idx="53824">
                  <c:v>26854</c:v>
                </c:pt>
                <c:pt idx="53825">
                  <c:v>160865</c:v>
                </c:pt>
                <c:pt idx="53826">
                  <c:v>36813</c:v>
                </c:pt>
                <c:pt idx="53827">
                  <c:v>38999</c:v>
                </c:pt>
                <c:pt idx="53828">
                  <c:v>23907</c:v>
                </c:pt>
                <c:pt idx="53829">
                  <c:v>100173</c:v>
                </c:pt>
                <c:pt idx="53830">
                  <c:v>84544</c:v>
                </c:pt>
                <c:pt idx="53831">
                  <c:v>103519</c:v>
                </c:pt>
                <c:pt idx="53832">
                  <c:v>31660</c:v>
                </c:pt>
                <c:pt idx="53833">
                  <c:v>27877</c:v>
                </c:pt>
                <c:pt idx="53834">
                  <c:v>38234</c:v>
                </c:pt>
                <c:pt idx="53835">
                  <c:v>46090</c:v>
                </c:pt>
                <c:pt idx="53836">
                  <c:v>59827</c:v>
                </c:pt>
                <c:pt idx="53837">
                  <c:v>40018</c:v>
                </c:pt>
                <c:pt idx="53838">
                  <c:v>111512</c:v>
                </c:pt>
                <c:pt idx="53839">
                  <c:v>66966</c:v>
                </c:pt>
                <c:pt idx="53840">
                  <c:v>42703</c:v>
                </c:pt>
                <c:pt idx="53841">
                  <c:v>72769</c:v>
                </c:pt>
                <c:pt idx="53842">
                  <c:v>53901</c:v>
                </c:pt>
                <c:pt idx="53843">
                  <c:v>52032</c:v>
                </c:pt>
                <c:pt idx="53844">
                  <c:v>67694</c:v>
                </c:pt>
                <c:pt idx="53845">
                  <c:v>33290</c:v>
                </c:pt>
                <c:pt idx="53846">
                  <c:v>56438</c:v>
                </c:pt>
                <c:pt idx="53847">
                  <c:v>39671</c:v>
                </c:pt>
                <c:pt idx="53848">
                  <c:v>36586</c:v>
                </c:pt>
                <c:pt idx="53849">
                  <c:v>36610</c:v>
                </c:pt>
                <c:pt idx="53850">
                  <c:v>21875</c:v>
                </c:pt>
                <c:pt idx="53851">
                  <c:v>113438</c:v>
                </c:pt>
                <c:pt idx="53852">
                  <c:v>64503</c:v>
                </c:pt>
                <c:pt idx="53853">
                  <c:v>40620</c:v>
                </c:pt>
                <c:pt idx="53854">
                  <c:v>77151</c:v>
                </c:pt>
                <c:pt idx="53855">
                  <c:v>82146</c:v>
                </c:pt>
                <c:pt idx="53856">
                  <c:v>78617</c:v>
                </c:pt>
                <c:pt idx="53857">
                  <c:v>47019</c:v>
                </c:pt>
                <c:pt idx="53858">
                  <c:v>33122</c:v>
                </c:pt>
                <c:pt idx="53859">
                  <c:v>26228</c:v>
                </c:pt>
                <c:pt idx="53860">
                  <c:v>54873</c:v>
                </c:pt>
                <c:pt idx="53861">
                  <c:v>36088</c:v>
                </c:pt>
                <c:pt idx="53862">
                  <c:v>63864</c:v>
                </c:pt>
                <c:pt idx="53863">
                  <c:v>41415</c:v>
                </c:pt>
                <c:pt idx="53864">
                  <c:v>35583</c:v>
                </c:pt>
                <c:pt idx="53865">
                  <c:v>40239</c:v>
                </c:pt>
                <c:pt idx="53866">
                  <c:v>66702</c:v>
                </c:pt>
                <c:pt idx="53867">
                  <c:v>39381</c:v>
                </c:pt>
                <c:pt idx="53868">
                  <c:v>25543</c:v>
                </c:pt>
                <c:pt idx="53869">
                  <c:v>27617</c:v>
                </c:pt>
                <c:pt idx="53870">
                  <c:v>34299</c:v>
                </c:pt>
                <c:pt idx="53871">
                  <c:v>106978</c:v>
                </c:pt>
                <c:pt idx="53872">
                  <c:v>28662</c:v>
                </c:pt>
                <c:pt idx="53873">
                  <c:v>61495</c:v>
                </c:pt>
                <c:pt idx="53874">
                  <c:v>26023</c:v>
                </c:pt>
                <c:pt idx="53875">
                  <c:v>48594</c:v>
                </c:pt>
                <c:pt idx="53876">
                  <c:v>81502</c:v>
                </c:pt>
                <c:pt idx="53877">
                  <c:v>39418</c:v>
                </c:pt>
                <c:pt idx="53878">
                  <c:v>35466</c:v>
                </c:pt>
                <c:pt idx="53879">
                  <c:v>33070</c:v>
                </c:pt>
                <c:pt idx="53880">
                  <c:v>116379</c:v>
                </c:pt>
                <c:pt idx="53881">
                  <c:v>99369</c:v>
                </c:pt>
                <c:pt idx="53882">
                  <c:v>21446</c:v>
                </c:pt>
                <c:pt idx="53883">
                  <c:v>227617</c:v>
                </c:pt>
                <c:pt idx="53884">
                  <c:v>38667</c:v>
                </c:pt>
                <c:pt idx="53885">
                  <c:v>39559</c:v>
                </c:pt>
                <c:pt idx="53886">
                  <c:v>30097</c:v>
                </c:pt>
                <c:pt idx="53887">
                  <c:v>50122</c:v>
                </c:pt>
                <c:pt idx="53888">
                  <c:v>22504</c:v>
                </c:pt>
                <c:pt idx="53889">
                  <c:v>32810</c:v>
                </c:pt>
                <c:pt idx="53890">
                  <c:v>302874</c:v>
                </c:pt>
                <c:pt idx="53891">
                  <c:v>26216</c:v>
                </c:pt>
                <c:pt idx="53892">
                  <c:v>20970</c:v>
                </c:pt>
                <c:pt idx="53893">
                  <c:v>32964</c:v>
                </c:pt>
                <c:pt idx="53894">
                  <c:v>51448</c:v>
                </c:pt>
                <c:pt idx="53895">
                  <c:v>31432</c:v>
                </c:pt>
                <c:pt idx="53896">
                  <c:v>38344</c:v>
                </c:pt>
                <c:pt idx="53897">
                  <c:v>61047</c:v>
                </c:pt>
                <c:pt idx="53898">
                  <c:v>47778</c:v>
                </c:pt>
                <c:pt idx="53899">
                  <c:v>29550</c:v>
                </c:pt>
                <c:pt idx="53900">
                  <c:v>43170</c:v>
                </c:pt>
                <c:pt idx="53901">
                  <c:v>35312</c:v>
                </c:pt>
                <c:pt idx="53902">
                  <c:v>98426</c:v>
                </c:pt>
                <c:pt idx="53903">
                  <c:v>36610</c:v>
                </c:pt>
                <c:pt idx="53904">
                  <c:v>25609</c:v>
                </c:pt>
                <c:pt idx="53905">
                  <c:v>61057</c:v>
                </c:pt>
                <c:pt idx="53906">
                  <c:v>34405</c:v>
                </c:pt>
                <c:pt idx="53907">
                  <c:v>60028</c:v>
                </c:pt>
                <c:pt idx="53908">
                  <c:v>38644</c:v>
                </c:pt>
                <c:pt idx="53909">
                  <c:v>47456</c:v>
                </c:pt>
                <c:pt idx="53910">
                  <c:v>61736</c:v>
                </c:pt>
                <c:pt idx="53911">
                  <c:v>162609</c:v>
                </c:pt>
                <c:pt idx="53912">
                  <c:v>23159</c:v>
                </c:pt>
                <c:pt idx="53913">
                  <c:v>30323</c:v>
                </c:pt>
                <c:pt idx="53914">
                  <c:v>229249</c:v>
                </c:pt>
                <c:pt idx="53915">
                  <c:v>22684</c:v>
                </c:pt>
                <c:pt idx="53916">
                  <c:v>47162</c:v>
                </c:pt>
                <c:pt idx="53917">
                  <c:v>168027</c:v>
                </c:pt>
                <c:pt idx="53918">
                  <c:v>41362</c:v>
                </c:pt>
                <c:pt idx="53919">
                  <c:v>40463</c:v>
                </c:pt>
                <c:pt idx="53920">
                  <c:v>33693</c:v>
                </c:pt>
                <c:pt idx="53921">
                  <c:v>54404</c:v>
                </c:pt>
                <c:pt idx="53922">
                  <c:v>49734</c:v>
                </c:pt>
                <c:pt idx="53923">
                  <c:v>55593</c:v>
                </c:pt>
                <c:pt idx="53924">
                  <c:v>17851</c:v>
                </c:pt>
                <c:pt idx="53925">
                  <c:v>39185</c:v>
                </c:pt>
                <c:pt idx="53926">
                  <c:v>150704</c:v>
                </c:pt>
                <c:pt idx="53927">
                  <c:v>64928</c:v>
                </c:pt>
                <c:pt idx="53928">
                  <c:v>45210</c:v>
                </c:pt>
                <c:pt idx="53929">
                  <c:v>51287</c:v>
                </c:pt>
                <c:pt idx="53930">
                  <c:v>22169</c:v>
                </c:pt>
                <c:pt idx="53931">
                  <c:v>22137</c:v>
                </c:pt>
                <c:pt idx="53932">
                  <c:v>64010</c:v>
                </c:pt>
                <c:pt idx="53933">
                  <c:v>20980</c:v>
                </c:pt>
                <c:pt idx="53934">
                  <c:v>25692</c:v>
                </c:pt>
                <c:pt idx="53935">
                  <c:v>76144</c:v>
                </c:pt>
                <c:pt idx="53936">
                  <c:v>118941</c:v>
                </c:pt>
                <c:pt idx="53937">
                  <c:v>46975</c:v>
                </c:pt>
                <c:pt idx="53938">
                  <c:v>57348</c:v>
                </c:pt>
                <c:pt idx="53939">
                  <c:v>37542</c:v>
                </c:pt>
                <c:pt idx="53940">
                  <c:v>178707</c:v>
                </c:pt>
                <c:pt idx="53941">
                  <c:v>26993</c:v>
                </c:pt>
                <c:pt idx="53942">
                  <c:v>21889</c:v>
                </c:pt>
                <c:pt idx="53943">
                  <c:v>57303</c:v>
                </c:pt>
                <c:pt idx="53944">
                  <c:v>37945</c:v>
                </c:pt>
                <c:pt idx="53945">
                  <c:v>44077</c:v>
                </c:pt>
                <c:pt idx="53946">
                  <c:v>25248</c:v>
                </c:pt>
                <c:pt idx="53947">
                  <c:v>25603</c:v>
                </c:pt>
                <c:pt idx="53948">
                  <c:v>28503</c:v>
                </c:pt>
                <c:pt idx="53949">
                  <c:v>86101</c:v>
                </c:pt>
                <c:pt idx="53950">
                  <c:v>33463</c:v>
                </c:pt>
                <c:pt idx="53951">
                  <c:v>23750</c:v>
                </c:pt>
                <c:pt idx="53952">
                  <c:v>23904</c:v>
                </c:pt>
                <c:pt idx="53953">
                  <c:v>25556</c:v>
                </c:pt>
                <c:pt idx="53954">
                  <c:v>40787</c:v>
                </c:pt>
                <c:pt idx="53955">
                  <c:v>30845</c:v>
                </c:pt>
                <c:pt idx="53956">
                  <c:v>24378</c:v>
                </c:pt>
                <c:pt idx="53957">
                  <c:v>54684</c:v>
                </c:pt>
                <c:pt idx="53958">
                  <c:v>51451</c:v>
                </c:pt>
                <c:pt idx="53959">
                  <c:v>42318</c:v>
                </c:pt>
                <c:pt idx="53960">
                  <c:v>118963</c:v>
                </c:pt>
                <c:pt idx="53961">
                  <c:v>54911</c:v>
                </c:pt>
                <c:pt idx="53962">
                  <c:v>26984</c:v>
                </c:pt>
                <c:pt idx="53963">
                  <c:v>43381</c:v>
                </c:pt>
                <c:pt idx="53964">
                  <c:v>29388</c:v>
                </c:pt>
                <c:pt idx="53965">
                  <c:v>93482</c:v>
                </c:pt>
                <c:pt idx="53966">
                  <c:v>55021</c:v>
                </c:pt>
                <c:pt idx="53967">
                  <c:v>21717</c:v>
                </c:pt>
                <c:pt idx="53968">
                  <c:v>53637</c:v>
                </c:pt>
                <c:pt idx="53969">
                  <c:v>457326</c:v>
                </c:pt>
                <c:pt idx="53970">
                  <c:v>26744</c:v>
                </c:pt>
                <c:pt idx="53971">
                  <c:v>26393</c:v>
                </c:pt>
                <c:pt idx="53972">
                  <c:v>38594</c:v>
                </c:pt>
                <c:pt idx="53973">
                  <c:v>49950</c:v>
                </c:pt>
                <c:pt idx="53974">
                  <c:v>99336</c:v>
                </c:pt>
                <c:pt idx="53975">
                  <c:v>44037</c:v>
                </c:pt>
                <c:pt idx="53976">
                  <c:v>83317</c:v>
                </c:pt>
                <c:pt idx="53977">
                  <c:v>41521</c:v>
                </c:pt>
                <c:pt idx="53978">
                  <c:v>26618</c:v>
                </c:pt>
                <c:pt idx="53979">
                  <c:v>24871</c:v>
                </c:pt>
                <c:pt idx="53980">
                  <c:v>21799</c:v>
                </c:pt>
                <c:pt idx="53981">
                  <c:v>27760</c:v>
                </c:pt>
                <c:pt idx="53982">
                  <c:v>102481</c:v>
                </c:pt>
                <c:pt idx="53983">
                  <c:v>119344</c:v>
                </c:pt>
                <c:pt idx="53984">
                  <c:v>73986</c:v>
                </c:pt>
                <c:pt idx="53985">
                  <c:v>43975</c:v>
                </c:pt>
                <c:pt idx="53986">
                  <c:v>33551</c:v>
                </c:pt>
                <c:pt idx="53987">
                  <c:v>80197</c:v>
                </c:pt>
                <c:pt idx="53988">
                  <c:v>20366</c:v>
                </c:pt>
                <c:pt idx="53989">
                  <c:v>40417</c:v>
                </c:pt>
                <c:pt idx="53990">
                  <c:v>26473</c:v>
                </c:pt>
                <c:pt idx="53991">
                  <c:v>22309</c:v>
                </c:pt>
                <c:pt idx="53992">
                  <c:v>55449</c:v>
                </c:pt>
                <c:pt idx="53993">
                  <c:v>34413</c:v>
                </c:pt>
                <c:pt idx="53994">
                  <c:v>27929</c:v>
                </c:pt>
                <c:pt idx="53995">
                  <c:v>72482</c:v>
                </c:pt>
                <c:pt idx="53996">
                  <c:v>82299</c:v>
                </c:pt>
                <c:pt idx="53997">
                  <c:v>258930</c:v>
                </c:pt>
                <c:pt idx="53998">
                  <c:v>36582</c:v>
                </c:pt>
                <c:pt idx="53999">
                  <c:v>54415</c:v>
                </c:pt>
                <c:pt idx="54000">
                  <c:v>63695</c:v>
                </c:pt>
                <c:pt idx="54001">
                  <c:v>34423</c:v>
                </c:pt>
                <c:pt idx="54002">
                  <c:v>25051</c:v>
                </c:pt>
                <c:pt idx="54003">
                  <c:v>61189</c:v>
                </c:pt>
                <c:pt idx="54004">
                  <c:v>32159</c:v>
                </c:pt>
                <c:pt idx="54005">
                  <c:v>48955</c:v>
                </c:pt>
                <c:pt idx="54006">
                  <c:v>61166</c:v>
                </c:pt>
                <c:pt idx="54007">
                  <c:v>34852</c:v>
                </c:pt>
                <c:pt idx="54008">
                  <c:v>44811</c:v>
                </c:pt>
                <c:pt idx="54009">
                  <c:v>26143</c:v>
                </c:pt>
                <c:pt idx="54010">
                  <c:v>44527</c:v>
                </c:pt>
                <c:pt idx="54011">
                  <c:v>37744</c:v>
                </c:pt>
                <c:pt idx="54012">
                  <c:v>32180</c:v>
                </c:pt>
                <c:pt idx="54013">
                  <c:v>40136</c:v>
                </c:pt>
                <c:pt idx="54014">
                  <c:v>50615</c:v>
                </c:pt>
                <c:pt idx="54015">
                  <c:v>39753</c:v>
                </c:pt>
                <c:pt idx="54016">
                  <c:v>26002</c:v>
                </c:pt>
                <c:pt idx="54017">
                  <c:v>48726</c:v>
                </c:pt>
                <c:pt idx="54018">
                  <c:v>51892</c:v>
                </c:pt>
                <c:pt idx="54019">
                  <c:v>53027</c:v>
                </c:pt>
                <c:pt idx="54020">
                  <c:v>51800</c:v>
                </c:pt>
                <c:pt idx="54021">
                  <c:v>33647</c:v>
                </c:pt>
                <c:pt idx="54022">
                  <c:v>34424</c:v>
                </c:pt>
                <c:pt idx="54023">
                  <c:v>44099</c:v>
                </c:pt>
                <c:pt idx="54024">
                  <c:v>168980</c:v>
                </c:pt>
                <c:pt idx="54025">
                  <c:v>41389</c:v>
                </c:pt>
                <c:pt idx="54026">
                  <c:v>27021</c:v>
                </c:pt>
                <c:pt idx="54027">
                  <c:v>111017</c:v>
                </c:pt>
                <c:pt idx="54028">
                  <c:v>79411</c:v>
                </c:pt>
                <c:pt idx="54029">
                  <c:v>34241</c:v>
                </c:pt>
                <c:pt idx="54030">
                  <c:v>54876</c:v>
                </c:pt>
                <c:pt idx="54031">
                  <c:v>69629</c:v>
                </c:pt>
                <c:pt idx="54032">
                  <c:v>269390</c:v>
                </c:pt>
                <c:pt idx="54033">
                  <c:v>23281</c:v>
                </c:pt>
                <c:pt idx="54034">
                  <c:v>127478</c:v>
                </c:pt>
                <c:pt idx="54035">
                  <c:v>71493</c:v>
                </c:pt>
                <c:pt idx="54036">
                  <c:v>72856</c:v>
                </c:pt>
                <c:pt idx="54037">
                  <c:v>61287</c:v>
                </c:pt>
                <c:pt idx="54038">
                  <c:v>43750</c:v>
                </c:pt>
                <c:pt idx="54039">
                  <c:v>26514</c:v>
                </c:pt>
                <c:pt idx="54040">
                  <c:v>45563</c:v>
                </c:pt>
                <c:pt idx="54041">
                  <c:v>53798</c:v>
                </c:pt>
                <c:pt idx="54042">
                  <c:v>39492</c:v>
                </c:pt>
                <c:pt idx="54043">
                  <c:v>137140</c:v>
                </c:pt>
                <c:pt idx="54044">
                  <c:v>38582</c:v>
                </c:pt>
                <c:pt idx="54045">
                  <c:v>24878</c:v>
                </c:pt>
                <c:pt idx="54046">
                  <c:v>64996</c:v>
                </c:pt>
                <c:pt idx="54047">
                  <c:v>75892</c:v>
                </c:pt>
                <c:pt idx="54048">
                  <c:v>65107</c:v>
                </c:pt>
                <c:pt idx="54049">
                  <c:v>222506</c:v>
                </c:pt>
                <c:pt idx="54050">
                  <c:v>58124</c:v>
                </c:pt>
                <c:pt idx="54051">
                  <c:v>58574</c:v>
                </c:pt>
                <c:pt idx="54052">
                  <c:v>29509</c:v>
                </c:pt>
                <c:pt idx="54053">
                  <c:v>73147</c:v>
                </c:pt>
                <c:pt idx="54054">
                  <c:v>24888</c:v>
                </c:pt>
                <c:pt idx="54055">
                  <c:v>49237</c:v>
                </c:pt>
                <c:pt idx="54056">
                  <c:v>31960</c:v>
                </c:pt>
                <c:pt idx="54057">
                  <c:v>45214</c:v>
                </c:pt>
                <c:pt idx="54058">
                  <c:v>47653</c:v>
                </c:pt>
                <c:pt idx="54059">
                  <c:v>143301</c:v>
                </c:pt>
                <c:pt idx="54060">
                  <c:v>118984</c:v>
                </c:pt>
                <c:pt idx="54061">
                  <c:v>39003</c:v>
                </c:pt>
                <c:pt idx="54062">
                  <c:v>73288</c:v>
                </c:pt>
                <c:pt idx="54063">
                  <c:v>32587</c:v>
                </c:pt>
                <c:pt idx="54064">
                  <c:v>56275</c:v>
                </c:pt>
                <c:pt idx="54065">
                  <c:v>30358</c:v>
                </c:pt>
                <c:pt idx="54066">
                  <c:v>31066</c:v>
                </c:pt>
                <c:pt idx="54067">
                  <c:v>31886</c:v>
                </c:pt>
                <c:pt idx="54068">
                  <c:v>63461</c:v>
                </c:pt>
                <c:pt idx="54069">
                  <c:v>33499</c:v>
                </c:pt>
                <c:pt idx="54070">
                  <c:v>38799</c:v>
                </c:pt>
                <c:pt idx="54071">
                  <c:v>46361</c:v>
                </c:pt>
                <c:pt idx="54072">
                  <c:v>41470</c:v>
                </c:pt>
                <c:pt idx="54073">
                  <c:v>44231</c:v>
                </c:pt>
                <c:pt idx="54074">
                  <c:v>24634</c:v>
                </c:pt>
                <c:pt idx="54075">
                  <c:v>36523</c:v>
                </c:pt>
                <c:pt idx="54076">
                  <c:v>22540</c:v>
                </c:pt>
                <c:pt idx="54077">
                  <c:v>39543</c:v>
                </c:pt>
                <c:pt idx="54078">
                  <c:v>76001</c:v>
                </c:pt>
                <c:pt idx="54079">
                  <c:v>26096</c:v>
                </c:pt>
                <c:pt idx="54080">
                  <c:v>25127</c:v>
                </c:pt>
                <c:pt idx="54081">
                  <c:v>48912</c:v>
                </c:pt>
                <c:pt idx="54082">
                  <c:v>93850</c:v>
                </c:pt>
                <c:pt idx="54083">
                  <c:v>26978</c:v>
                </c:pt>
                <c:pt idx="54084">
                  <c:v>27362</c:v>
                </c:pt>
                <c:pt idx="54085">
                  <c:v>150302</c:v>
                </c:pt>
                <c:pt idx="54086">
                  <c:v>25870</c:v>
                </c:pt>
                <c:pt idx="54087">
                  <c:v>53137</c:v>
                </c:pt>
                <c:pt idx="54088">
                  <c:v>25240</c:v>
                </c:pt>
                <c:pt idx="54089">
                  <c:v>43245</c:v>
                </c:pt>
                <c:pt idx="54090">
                  <c:v>35515</c:v>
                </c:pt>
                <c:pt idx="54091">
                  <c:v>41483</c:v>
                </c:pt>
                <c:pt idx="54092">
                  <c:v>32695</c:v>
                </c:pt>
                <c:pt idx="54093">
                  <c:v>41508</c:v>
                </c:pt>
                <c:pt idx="54094">
                  <c:v>68215</c:v>
                </c:pt>
                <c:pt idx="54095">
                  <c:v>126784</c:v>
                </c:pt>
                <c:pt idx="54096">
                  <c:v>27533</c:v>
                </c:pt>
                <c:pt idx="54097">
                  <c:v>187802</c:v>
                </c:pt>
                <c:pt idx="54098">
                  <c:v>27845</c:v>
                </c:pt>
                <c:pt idx="54099">
                  <c:v>30286</c:v>
                </c:pt>
                <c:pt idx="54100">
                  <c:v>58281</c:v>
                </c:pt>
                <c:pt idx="54101">
                  <c:v>23657</c:v>
                </c:pt>
                <c:pt idx="54102">
                  <c:v>51468</c:v>
                </c:pt>
                <c:pt idx="54103">
                  <c:v>59724</c:v>
                </c:pt>
                <c:pt idx="54104">
                  <c:v>22705</c:v>
                </c:pt>
                <c:pt idx="54105">
                  <c:v>55201</c:v>
                </c:pt>
                <c:pt idx="54106">
                  <c:v>62464</c:v>
                </c:pt>
                <c:pt idx="54107">
                  <c:v>42664</c:v>
                </c:pt>
                <c:pt idx="54108">
                  <c:v>144234</c:v>
                </c:pt>
                <c:pt idx="54109">
                  <c:v>42188</c:v>
                </c:pt>
                <c:pt idx="54110">
                  <c:v>46685</c:v>
                </c:pt>
                <c:pt idx="54111">
                  <c:v>49649</c:v>
                </c:pt>
                <c:pt idx="54112">
                  <c:v>24775</c:v>
                </c:pt>
                <c:pt idx="54113">
                  <c:v>66409</c:v>
                </c:pt>
                <c:pt idx="54114">
                  <c:v>87879</c:v>
                </c:pt>
                <c:pt idx="54115">
                  <c:v>25917</c:v>
                </c:pt>
                <c:pt idx="54116">
                  <c:v>33765</c:v>
                </c:pt>
                <c:pt idx="54117">
                  <c:v>43190</c:v>
                </c:pt>
                <c:pt idx="54118">
                  <c:v>39255</c:v>
                </c:pt>
                <c:pt idx="54119">
                  <c:v>22629</c:v>
                </c:pt>
                <c:pt idx="54120">
                  <c:v>47283</c:v>
                </c:pt>
                <c:pt idx="54121">
                  <c:v>60645</c:v>
                </c:pt>
                <c:pt idx="54122">
                  <c:v>57920</c:v>
                </c:pt>
                <c:pt idx="54123">
                  <c:v>33540</c:v>
                </c:pt>
                <c:pt idx="54124">
                  <c:v>71346</c:v>
                </c:pt>
                <c:pt idx="54125">
                  <c:v>40344</c:v>
                </c:pt>
                <c:pt idx="54126">
                  <c:v>53896</c:v>
                </c:pt>
                <c:pt idx="54127">
                  <c:v>30309</c:v>
                </c:pt>
                <c:pt idx="54128">
                  <c:v>127704</c:v>
                </c:pt>
                <c:pt idx="54129">
                  <c:v>42879</c:v>
                </c:pt>
                <c:pt idx="54130">
                  <c:v>71324</c:v>
                </c:pt>
                <c:pt idx="54131">
                  <c:v>33065</c:v>
                </c:pt>
                <c:pt idx="54132">
                  <c:v>39688</c:v>
                </c:pt>
                <c:pt idx="54133">
                  <c:v>27878</c:v>
                </c:pt>
                <c:pt idx="54134">
                  <c:v>30911</c:v>
                </c:pt>
                <c:pt idx="54135">
                  <c:v>52361</c:v>
                </c:pt>
                <c:pt idx="54136">
                  <c:v>69396</c:v>
                </c:pt>
                <c:pt idx="54137">
                  <c:v>38440</c:v>
                </c:pt>
                <c:pt idx="54138">
                  <c:v>59482</c:v>
                </c:pt>
                <c:pt idx="54139">
                  <c:v>42213</c:v>
                </c:pt>
                <c:pt idx="54140">
                  <c:v>114003</c:v>
                </c:pt>
                <c:pt idx="54141">
                  <c:v>26716</c:v>
                </c:pt>
                <c:pt idx="54142">
                  <c:v>21894</c:v>
                </c:pt>
                <c:pt idx="54143">
                  <c:v>23472</c:v>
                </c:pt>
                <c:pt idx="54144">
                  <c:v>46684</c:v>
                </c:pt>
                <c:pt idx="54145">
                  <c:v>35202</c:v>
                </c:pt>
                <c:pt idx="54146">
                  <c:v>26708</c:v>
                </c:pt>
                <c:pt idx="54147">
                  <c:v>60383</c:v>
                </c:pt>
                <c:pt idx="54148">
                  <c:v>100595</c:v>
                </c:pt>
                <c:pt idx="54149">
                  <c:v>38572</c:v>
                </c:pt>
                <c:pt idx="54150">
                  <c:v>33923</c:v>
                </c:pt>
                <c:pt idx="54151">
                  <c:v>37825</c:v>
                </c:pt>
                <c:pt idx="54152">
                  <c:v>25463</c:v>
                </c:pt>
                <c:pt idx="54153">
                  <c:v>107391</c:v>
                </c:pt>
                <c:pt idx="54154">
                  <c:v>29894</c:v>
                </c:pt>
                <c:pt idx="54155">
                  <c:v>44304</c:v>
                </c:pt>
                <c:pt idx="54156">
                  <c:v>29923</c:v>
                </c:pt>
                <c:pt idx="54157">
                  <c:v>39521</c:v>
                </c:pt>
                <c:pt idx="54158">
                  <c:v>33781</c:v>
                </c:pt>
                <c:pt idx="54159">
                  <c:v>39492</c:v>
                </c:pt>
                <c:pt idx="54160">
                  <c:v>48463</c:v>
                </c:pt>
                <c:pt idx="54161">
                  <c:v>34004</c:v>
                </c:pt>
                <c:pt idx="54162">
                  <c:v>51265</c:v>
                </c:pt>
                <c:pt idx="54163">
                  <c:v>116169</c:v>
                </c:pt>
                <c:pt idx="54164">
                  <c:v>31044</c:v>
                </c:pt>
                <c:pt idx="54165">
                  <c:v>42677</c:v>
                </c:pt>
                <c:pt idx="54166">
                  <c:v>55584</c:v>
                </c:pt>
                <c:pt idx="54167">
                  <c:v>57519</c:v>
                </c:pt>
                <c:pt idx="54168">
                  <c:v>39660</c:v>
                </c:pt>
                <c:pt idx="54169">
                  <c:v>36256</c:v>
                </c:pt>
                <c:pt idx="54170">
                  <c:v>23456</c:v>
                </c:pt>
                <c:pt idx="54171">
                  <c:v>22708</c:v>
                </c:pt>
                <c:pt idx="54172">
                  <c:v>54385</c:v>
                </c:pt>
                <c:pt idx="54173">
                  <c:v>96278</c:v>
                </c:pt>
                <c:pt idx="54174">
                  <c:v>47436</c:v>
                </c:pt>
                <c:pt idx="54175">
                  <c:v>140658</c:v>
                </c:pt>
                <c:pt idx="54176">
                  <c:v>63171</c:v>
                </c:pt>
                <c:pt idx="54177">
                  <c:v>38729</c:v>
                </c:pt>
                <c:pt idx="54178">
                  <c:v>175947</c:v>
                </c:pt>
                <c:pt idx="54179">
                  <c:v>88443</c:v>
                </c:pt>
                <c:pt idx="54180">
                  <c:v>40876</c:v>
                </c:pt>
                <c:pt idx="54181">
                  <c:v>60818</c:v>
                </c:pt>
                <c:pt idx="54182">
                  <c:v>43257</c:v>
                </c:pt>
                <c:pt idx="54183">
                  <c:v>40336</c:v>
                </c:pt>
                <c:pt idx="54184">
                  <c:v>370653</c:v>
                </c:pt>
                <c:pt idx="54185">
                  <c:v>34046</c:v>
                </c:pt>
                <c:pt idx="54186">
                  <c:v>19491</c:v>
                </c:pt>
                <c:pt idx="54187">
                  <c:v>35810</c:v>
                </c:pt>
                <c:pt idx="54188">
                  <c:v>27030</c:v>
                </c:pt>
                <c:pt idx="54189">
                  <c:v>123330</c:v>
                </c:pt>
                <c:pt idx="54190">
                  <c:v>35355</c:v>
                </c:pt>
                <c:pt idx="54191">
                  <c:v>155849</c:v>
                </c:pt>
                <c:pt idx="54192">
                  <c:v>35917</c:v>
                </c:pt>
                <c:pt idx="54193">
                  <c:v>26389</c:v>
                </c:pt>
                <c:pt idx="54194">
                  <c:v>60402</c:v>
                </c:pt>
                <c:pt idx="54195">
                  <c:v>59445</c:v>
                </c:pt>
                <c:pt idx="54196">
                  <c:v>166228</c:v>
                </c:pt>
                <c:pt idx="54197">
                  <c:v>50750</c:v>
                </c:pt>
                <c:pt idx="54198">
                  <c:v>41355</c:v>
                </c:pt>
                <c:pt idx="54199">
                  <c:v>39075</c:v>
                </c:pt>
                <c:pt idx="54200">
                  <c:v>30236</c:v>
                </c:pt>
                <c:pt idx="54201">
                  <c:v>137847</c:v>
                </c:pt>
                <c:pt idx="54202">
                  <c:v>199377</c:v>
                </c:pt>
                <c:pt idx="54203">
                  <c:v>263453</c:v>
                </c:pt>
                <c:pt idx="54204">
                  <c:v>82841</c:v>
                </c:pt>
                <c:pt idx="54205">
                  <c:v>50519</c:v>
                </c:pt>
                <c:pt idx="54206">
                  <c:v>55527</c:v>
                </c:pt>
                <c:pt idx="54207">
                  <c:v>46596</c:v>
                </c:pt>
                <c:pt idx="54208">
                  <c:v>46701</c:v>
                </c:pt>
                <c:pt idx="54209">
                  <c:v>34312</c:v>
                </c:pt>
                <c:pt idx="54210">
                  <c:v>41248</c:v>
                </c:pt>
                <c:pt idx="54211">
                  <c:v>55801</c:v>
                </c:pt>
                <c:pt idx="54212">
                  <c:v>46138</c:v>
                </c:pt>
                <c:pt idx="54213">
                  <c:v>39853</c:v>
                </c:pt>
                <c:pt idx="54214">
                  <c:v>61481</c:v>
                </c:pt>
                <c:pt idx="54215">
                  <c:v>76470</c:v>
                </c:pt>
                <c:pt idx="54216">
                  <c:v>35903</c:v>
                </c:pt>
                <c:pt idx="54217">
                  <c:v>66807</c:v>
                </c:pt>
                <c:pt idx="54218">
                  <c:v>33865</c:v>
                </c:pt>
                <c:pt idx="54219">
                  <c:v>54349</c:v>
                </c:pt>
                <c:pt idx="54220">
                  <c:v>246122</c:v>
                </c:pt>
                <c:pt idx="54221">
                  <c:v>43741</c:v>
                </c:pt>
                <c:pt idx="54222">
                  <c:v>41921</c:v>
                </c:pt>
                <c:pt idx="54223">
                  <c:v>100771</c:v>
                </c:pt>
                <c:pt idx="54224">
                  <c:v>41060</c:v>
                </c:pt>
                <c:pt idx="54225">
                  <c:v>26151</c:v>
                </c:pt>
                <c:pt idx="54226">
                  <c:v>103649</c:v>
                </c:pt>
                <c:pt idx="54227">
                  <c:v>43060</c:v>
                </c:pt>
                <c:pt idx="54228">
                  <c:v>29405</c:v>
                </c:pt>
                <c:pt idx="54229">
                  <c:v>51682</c:v>
                </c:pt>
                <c:pt idx="54230">
                  <c:v>117567</c:v>
                </c:pt>
                <c:pt idx="54231">
                  <c:v>34038</c:v>
                </c:pt>
                <c:pt idx="54232">
                  <c:v>24152</c:v>
                </c:pt>
                <c:pt idx="54233">
                  <c:v>15968</c:v>
                </c:pt>
                <c:pt idx="54234">
                  <c:v>51396</c:v>
                </c:pt>
                <c:pt idx="54235">
                  <c:v>242365</c:v>
                </c:pt>
                <c:pt idx="54236">
                  <c:v>135061</c:v>
                </c:pt>
                <c:pt idx="54237">
                  <c:v>45598</c:v>
                </c:pt>
                <c:pt idx="54238">
                  <c:v>120768</c:v>
                </c:pt>
                <c:pt idx="54239">
                  <c:v>91212</c:v>
                </c:pt>
                <c:pt idx="54240">
                  <c:v>22604</c:v>
                </c:pt>
                <c:pt idx="54241">
                  <c:v>37286</c:v>
                </c:pt>
                <c:pt idx="54242">
                  <c:v>49561</c:v>
                </c:pt>
                <c:pt idx="54243">
                  <c:v>139661</c:v>
                </c:pt>
                <c:pt idx="54244">
                  <c:v>48527</c:v>
                </c:pt>
                <c:pt idx="54245">
                  <c:v>43804</c:v>
                </c:pt>
                <c:pt idx="54246">
                  <c:v>25844</c:v>
                </c:pt>
                <c:pt idx="54247">
                  <c:v>28858</c:v>
                </c:pt>
                <c:pt idx="54248">
                  <c:v>56860</c:v>
                </c:pt>
                <c:pt idx="54249">
                  <c:v>40358</c:v>
                </c:pt>
                <c:pt idx="54250">
                  <c:v>38477</c:v>
                </c:pt>
                <c:pt idx="54251">
                  <c:v>45553</c:v>
                </c:pt>
                <c:pt idx="54252">
                  <c:v>41699</c:v>
                </c:pt>
                <c:pt idx="54253">
                  <c:v>35734</c:v>
                </c:pt>
                <c:pt idx="54254">
                  <c:v>22280</c:v>
                </c:pt>
                <c:pt idx="54255">
                  <c:v>52807</c:v>
                </c:pt>
                <c:pt idx="54256">
                  <c:v>25007</c:v>
                </c:pt>
                <c:pt idx="54257">
                  <c:v>60462</c:v>
                </c:pt>
                <c:pt idx="54258">
                  <c:v>34480</c:v>
                </c:pt>
                <c:pt idx="54259">
                  <c:v>38858</c:v>
                </c:pt>
                <c:pt idx="54260">
                  <c:v>43962</c:v>
                </c:pt>
                <c:pt idx="54261">
                  <c:v>185219</c:v>
                </c:pt>
                <c:pt idx="54262">
                  <c:v>41441</c:v>
                </c:pt>
                <c:pt idx="54263">
                  <c:v>23730</c:v>
                </c:pt>
                <c:pt idx="54264">
                  <c:v>31342</c:v>
                </c:pt>
                <c:pt idx="54265">
                  <c:v>95403</c:v>
                </c:pt>
                <c:pt idx="54266">
                  <c:v>40003</c:v>
                </c:pt>
                <c:pt idx="54267">
                  <c:v>169304</c:v>
                </c:pt>
                <c:pt idx="54268">
                  <c:v>123883</c:v>
                </c:pt>
                <c:pt idx="54269">
                  <c:v>30758</c:v>
                </c:pt>
                <c:pt idx="54270">
                  <c:v>35599</c:v>
                </c:pt>
                <c:pt idx="54271">
                  <c:v>105870</c:v>
                </c:pt>
                <c:pt idx="54272">
                  <c:v>126441</c:v>
                </c:pt>
                <c:pt idx="54273">
                  <c:v>27398</c:v>
                </c:pt>
                <c:pt idx="54274">
                  <c:v>20796</c:v>
                </c:pt>
                <c:pt idx="54275">
                  <c:v>87863</c:v>
                </c:pt>
                <c:pt idx="54276">
                  <c:v>29228</c:v>
                </c:pt>
                <c:pt idx="54277">
                  <c:v>30973</c:v>
                </c:pt>
                <c:pt idx="54278">
                  <c:v>39031</c:v>
                </c:pt>
                <c:pt idx="54279">
                  <c:v>25391</c:v>
                </c:pt>
                <c:pt idx="54280">
                  <c:v>37502</c:v>
                </c:pt>
                <c:pt idx="54281">
                  <c:v>262613</c:v>
                </c:pt>
                <c:pt idx="54282">
                  <c:v>50211</c:v>
                </c:pt>
                <c:pt idx="54283">
                  <c:v>28085</c:v>
                </c:pt>
                <c:pt idx="54284">
                  <c:v>103281</c:v>
                </c:pt>
                <c:pt idx="54285">
                  <c:v>32281</c:v>
                </c:pt>
                <c:pt idx="54286">
                  <c:v>109545</c:v>
                </c:pt>
                <c:pt idx="54287">
                  <c:v>36602</c:v>
                </c:pt>
                <c:pt idx="54288">
                  <c:v>85729</c:v>
                </c:pt>
                <c:pt idx="54289">
                  <c:v>48474</c:v>
                </c:pt>
                <c:pt idx="54290">
                  <c:v>111890</c:v>
                </c:pt>
                <c:pt idx="54291">
                  <c:v>41309</c:v>
                </c:pt>
                <c:pt idx="54292">
                  <c:v>47731</c:v>
                </c:pt>
                <c:pt idx="54293">
                  <c:v>30666</c:v>
                </c:pt>
                <c:pt idx="54294">
                  <c:v>42336</c:v>
                </c:pt>
                <c:pt idx="54295">
                  <c:v>36251</c:v>
                </c:pt>
                <c:pt idx="54296">
                  <c:v>38466</c:v>
                </c:pt>
                <c:pt idx="54297">
                  <c:v>54202</c:v>
                </c:pt>
                <c:pt idx="54298">
                  <c:v>42731</c:v>
                </c:pt>
                <c:pt idx="54299">
                  <c:v>42954</c:v>
                </c:pt>
                <c:pt idx="54300">
                  <c:v>29940</c:v>
                </c:pt>
                <c:pt idx="54301">
                  <c:v>63489</c:v>
                </c:pt>
                <c:pt idx="54302">
                  <c:v>35817</c:v>
                </c:pt>
                <c:pt idx="54303">
                  <c:v>48559</c:v>
                </c:pt>
                <c:pt idx="54304">
                  <c:v>68832</c:v>
                </c:pt>
                <c:pt idx="54305">
                  <c:v>23288</c:v>
                </c:pt>
                <c:pt idx="54306">
                  <c:v>117805</c:v>
                </c:pt>
                <c:pt idx="54307">
                  <c:v>72530</c:v>
                </c:pt>
                <c:pt idx="54308">
                  <c:v>90356</c:v>
                </c:pt>
                <c:pt idx="54309">
                  <c:v>35542</c:v>
                </c:pt>
                <c:pt idx="54310">
                  <c:v>42969</c:v>
                </c:pt>
                <c:pt idx="54311">
                  <c:v>62712</c:v>
                </c:pt>
                <c:pt idx="54312">
                  <c:v>39348</c:v>
                </c:pt>
                <c:pt idx="54313">
                  <c:v>60201</c:v>
                </c:pt>
                <c:pt idx="54314">
                  <c:v>149554</c:v>
                </c:pt>
                <c:pt idx="54315">
                  <c:v>27437</c:v>
                </c:pt>
                <c:pt idx="54316">
                  <c:v>26077</c:v>
                </c:pt>
                <c:pt idx="54317">
                  <c:v>27944</c:v>
                </c:pt>
                <c:pt idx="54318">
                  <c:v>43751</c:v>
                </c:pt>
                <c:pt idx="54319">
                  <c:v>30807</c:v>
                </c:pt>
                <c:pt idx="54320">
                  <c:v>34321</c:v>
                </c:pt>
                <c:pt idx="54321">
                  <c:v>39583</c:v>
                </c:pt>
                <c:pt idx="54322">
                  <c:v>42687</c:v>
                </c:pt>
                <c:pt idx="54323">
                  <c:v>72813</c:v>
                </c:pt>
                <c:pt idx="54324">
                  <c:v>41637</c:v>
                </c:pt>
                <c:pt idx="54325">
                  <c:v>41997</c:v>
                </c:pt>
                <c:pt idx="54326">
                  <c:v>44090</c:v>
                </c:pt>
                <c:pt idx="54327">
                  <c:v>44544</c:v>
                </c:pt>
                <c:pt idx="54328">
                  <c:v>97380</c:v>
                </c:pt>
                <c:pt idx="54329">
                  <c:v>38267</c:v>
                </c:pt>
                <c:pt idx="54330">
                  <c:v>56373</c:v>
                </c:pt>
                <c:pt idx="54331">
                  <c:v>72484</c:v>
                </c:pt>
                <c:pt idx="54332">
                  <c:v>33299</c:v>
                </c:pt>
                <c:pt idx="54333">
                  <c:v>116980</c:v>
                </c:pt>
                <c:pt idx="54334">
                  <c:v>58358</c:v>
                </c:pt>
                <c:pt idx="54335">
                  <c:v>61183</c:v>
                </c:pt>
                <c:pt idx="54336">
                  <c:v>53291</c:v>
                </c:pt>
                <c:pt idx="54337">
                  <c:v>101707</c:v>
                </c:pt>
                <c:pt idx="54338">
                  <c:v>57433</c:v>
                </c:pt>
                <c:pt idx="54339">
                  <c:v>62809</c:v>
                </c:pt>
                <c:pt idx="54340">
                  <c:v>81109</c:v>
                </c:pt>
                <c:pt idx="54341">
                  <c:v>84246</c:v>
                </c:pt>
                <c:pt idx="54342">
                  <c:v>47439</c:v>
                </c:pt>
                <c:pt idx="54343">
                  <c:v>66921</c:v>
                </c:pt>
                <c:pt idx="54344">
                  <c:v>60179</c:v>
                </c:pt>
                <c:pt idx="54345">
                  <c:v>38269</c:v>
                </c:pt>
                <c:pt idx="54346">
                  <c:v>122377</c:v>
                </c:pt>
                <c:pt idx="54347">
                  <c:v>38619</c:v>
                </c:pt>
                <c:pt idx="54348">
                  <c:v>29053</c:v>
                </c:pt>
                <c:pt idx="54349">
                  <c:v>26950</c:v>
                </c:pt>
                <c:pt idx="54350">
                  <c:v>46919</c:v>
                </c:pt>
                <c:pt idx="54351">
                  <c:v>26261</c:v>
                </c:pt>
                <c:pt idx="54352">
                  <c:v>31804</c:v>
                </c:pt>
                <c:pt idx="54353">
                  <c:v>340932</c:v>
                </c:pt>
                <c:pt idx="54354">
                  <c:v>39444</c:v>
                </c:pt>
                <c:pt idx="54355">
                  <c:v>25457</c:v>
                </c:pt>
                <c:pt idx="54356">
                  <c:v>60358</c:v>
                </c:pt>
                <c:pt idx="54357">
                  <c:v>42116</c:v>
                </c:pt>
                <c:pt idx="54358">
                  <c:v>55298</c:v>
                </c:pt>
                <c:pt idx="54359">
                  <c:v>90198</c:v>
                </c:pt>
                <c:pt idx="54360">
                  <c:v>36274</c:v>
                </c:pt>
                <c:pt idx="54361">
                  <c:v>22105</c:v>
                </c:pt>
                <c:pt idx="54362">
                  <c:v>177561</c:v>
                </c:pt>
                <c:pt idx="54363">
                  <c:v>152541</c:v>
                </c:pt>
                <c:pt idx="54364">
                  <c:v>57938</c:v>
                </c:pt>
                <c:pt idx="54365">
                  <c:v>36710</c:v>
                </c:pt>
                <c:pt idx="54366">
                  <c:v>36831</c:v>
                </c:pt>
                <c:pt idx="54367">
                  <c:v>75386</c:v>
                </c:pt>
                <c:pt idx="54368">
                  <c:v>53786</c:v>
                </c:pt>
                <c:pt idx="54369">
                  <c:v>44408</c:v>
                </c:pt>
                <c:pt idx="54370">
                  <c:v>46608</c:v>
                </c:pt>
                <c:pt idx="54371">
                  <c:v>124262</c:v>
                </c:pt>
                <c:pt idx="54372">
                  <c:v>183162</c:v>
                </c:pt>
                <c:pt idx="54373">
                  <c:v>26421</c:v>
                </c:pt>
                <c:pt idx="54374">
                  <c:v>83604</c:v>
                </c:pt>
                <c:pt idx="54375">
                  <c:v>91445</c:v>
                </c:pt>
                <c:pt idx="54376">
                  <c:v>36528</c:v>
                </c:pt>
                <c:pt idx="54377">
                  <c:v>66952</c:v>
                </c:pt>
                <c:pt idx="54378">
                  <c:v>27956</c:v>
                </c:pt>
                <c:pt idx="54379">
                  <c:v>45825</c:v>
                </c:pt>
                <c:pt idx="54380">
                  <c:v>22437</c:v>
                </c:pt>
                <c:pt idx="54381">
                  <c:v>41720</c:v>
                </c:pt>
                <c:pt idx="54382">
                  <c:v>25793</c:v>
                </c:pt>
                <c:pt idx="54383">
                  <c:v>30496</c:v>
                </c:pt>
                <c:pt idx="54384">
                  <c:v>55562</c:v>
                </c:pt>
                <c:pt idx="54385">
                  <c:v>128922</c:v>
                </c:pt>
                <c:pt idx="54386">
                  <c:v>36438</c:v>
                </c:pt>
                <c:pt idx="54387">
                  <c:v>33306</c:v>
                </c:pt>
                <c:pt idx="54388">
                  <c:v>28589</c:v>
                </c:pt>
                <c:pt idx="54389">
                  <c:v>87060</c:v>
                </c:pt>
                <c:pt idx="54390">
                  <c:v>25241</c:v>
                </c:pt>
                <c:pt idx="54391">
                  <c:v>25212</c:v>
                </c:pt>
                <c:pt idx="54392">
                  <c:v>29433</c:v>
                </c:pt>
                <c:pt idx="54393">
                  <c:v>35730</c:v>
                </c:pt>
                <c:pt idx="54394">
                  <c:v>57953</c:v>
                </c:pt>
                <c:pt idx="54395">
                  <c:v>39801</c:v>
                </c:pt>
                <c:pt idx="54396">
                  <c:v>121726</c:v>
                </c:pt>
                <c:pt idx="54397">
                  <c:v>24960</c:v>
                </c:pt>
                <c:pt idx="54398">
                  <c:v>108398</c:v>
                </c:pt>
                <c:pt idx="54399">
                  <c:v>255369</c:v>
                </c:pt>
                <c:pt idx="54400">
                  <c:v>38307</c:v>
                </c:pt>
                <c:pt idx="54401">
                  <c:v>55877</c:v>
                </c:pt>
                <c:pt idx="54402">
                  <c:v>44086</c:v>
                </c:pt>
                <c:pt idx="54403">
                  <c:v>38658</c:v>
                </c:pt>
                <c:pt idx="54404">
                  <c:v>44754</c:v>
                </c:pt>
                <c:pt idx="54405">
                  <c:v>34366</c:v>
                </c:pt>
                <c:pt idx="54406">
                  <c:v>43695</c:v>
                </c:pt>
                <c:pt idx="54407">
                  <c:v>31355</c:v>
                </c:pt>
                <c:pt idx="54408">
                  <c:v>44772</c:v>
                </c:pt>
                <c:pt idx="54409">
                  <c:v>44213</c:v>
                </c:pt>
                <c:pt idx="54410">
                  <c:v>67559</c:v>
                </c:pt>
                <c:pt idx="54411">
                  <c:v>32042</c:v>
                </c:pt>
                <c:pt idx="54412">
                  <c:v>43621</c:v>
                </c:pt>
                <c:pt idx="54413">
                  <c:v>23958</c:v>
                </c:pt>
                <c:pt idx="54414">
                  <c:v>35861</c:v>
                </c:pt>
                <c:pt idx="54415">
                  <c:v>75391</c:v>
                </c:pt>
                <c:pt idx="54416">
                  <c:v>32137</c:v>
                </c:pt>
                <c:pt idx="54417">
                  <c:v>85686</c:v>
                </c:pt>
                <c:pt idx="54418">
                  <c:v>165218</c:v>
                </c:pt>
                <c:pt idx="54419">
                  <c:v>30733</c:v>
                </c:pt>
                <c:pt idx="54420">
                  <c:v>41659</c:v>
                </c:pt>
                <c:pt idx="54421">
                  <c:v>39042</c:v>
                </c:pt>
                <c:pt idx="54422">
                  <c:v>28684</c:v>
                </c:pt>
                <c:pt idx="54423">
                  <c:v>21531</c:v>
                </c:pt>
                <c:pt idx="54424">
                  <c:v>106005</c:v>
                </c:pt>
                <c:pt idx="54425">
                  <c:v>31524</c:v>
                </c:pt>
                <c:pt idx="54426">
                  <c:v>94794</c:v>
                </c:pt>
                <c:pt idx="54427">
                  <c:v>68162</c:v>
                </c:pt>
                <c:pt idx="54428">
                  <c:v>42065</c:v>
                </c:pt>
                <c:pt idx="54429">
                  <c:v>40072</c:v>
                </c:pt>
                <c:pt idx="54430">
                  <c:v>40923</c:v>
                </c:pt>
                <c:pt idx="54431">
                  <c:v>31155</c:v>
                </c:pt>
                <c:pt idx="54432">
                  <c:v>41954</c:v>
                </c:pt>
                <c:pt idx="54433">
                  <c:v>34612</c:v>
                </c:pt>
                <c:pt idx="54434">
                  <c:v>31154</c:v>
                </c:pt>
                <c:pt idx="54435">
                  <c:v>47465</c:v>
                </c:pt>
                <c:pt idx="54436">
                  <c:v>42226</c:v>
                </c:pt>
                <c:pt idx="54437">
                  <c:v>25576</c:v>
                </c:pt>
                <c:pt idx="54438">
                  <c:v>43410</c:v>
                </c:pt>
                <c:pt idx="54439">
                  <c:v>37501</c:v>
                </c:pt>
                <c:pt idx="54440">
                  <c:v>46477</c:v>
                </c:pt>
                <c:pt idx="54441">
                  <c:v>85985</c:v>
                </c:pt>
                <c:pt idx="54442">
                  <c:v>40484</c:v>
                </c:pt>
                <c:pt idx="54443">
                  <c:v>97632</c:v>
                </c:pt>
                <c:pt idx="54444">
                  <c:v>163807</c:v>
                </c:pt>
                <c:pt idx="54445">
                  <c:v>181759</c:v>
                </c:pt>
                <c:pt idx="54446">
                  <c:v>85541</c:v>
                </c:pt>
                <c:pt idx="54447">
                  <c:v>89185</c:v>
                </c:pt>
                <c:pt idx="54448">
                  <c:v>43092</c:v>
                </c:pt>
                <c:pt idx="54449">
                  <c:v>229509</c:v>
                </c:pt>
                <c:pt idx="54450">
                  <c:v>109737</c:v>
                </c:pt>
                <c:pt idx="54451">
                  <c:v>243039</c:v>
                </c:pt>
                <c:pt idx="54452">
                  <c:v>35495</c:v>
                </c:pt>
                <c:pt idx="54453">
                  <c:v>34929</c:v>
                </c:pt>
                <c:pt idx="54454">
                  <c:v>89620</c:v>
                </c:pt>
                <c:pt idx="54455">
                  <c:v>25900</c:v>
                </c:pt>
                <c:pt idx="54456">
                  <c:v>131136</c:v>
                </c:pt>
                <c:pt idx="54457">
                  <c:v>89678</c:v>
                </c:pt>
                <c:pt idx="54458">
                  <c:v>135736</c:v>
                </c:pt>
                <c:pt idx="54459">
                  <c:v>32895</c:v>
                </c:pt>
                <c:pt idx="54460">
                  <c:v>47503</c:v>
                </c:pt>
                <c:pt idx="54461">
                  <c:v>30621</c:v>
                </c:pt>
                <c:pt idx="54462">
                  <c:v>27585</c:v>
                </c:pt>
                <c:pt idx="54463">
                  <c:v>37843</c:v>
                </c:pt>
                <c:pt idx="54464">
                  <c:v>29404</c:v>
                </c:pt>
                <c:pt idx="54465">
                  <c:v>72462</c:v>
                </c:pt>
                <c:pt idx="54466">
                  <c:v>40800</c:v>
                </c:pt>
                <c:pt idx="54467">
                  <c:v>39520</c:v>
                </c:pt>
                <c:pt idx="54468">
                  <c:v>42742</c:v>
                </c:pt>
                <c:pt idx="54469">
                  <c:v>49247</c:v>
                </c:pt>
                <c:pt idx="54470">
                  <c:v>289247</c:v>
                </c:pt>
                <c:pt idx="54471">
                  <c:v>27663</c:v>
                </c:pt>
                <c:pt idx="54472">
                  <c:v>33692</c:v>
                </c:pt>
                <c:pt idx="54473">
                  <c:v>31715</c:v>
                </c:pt>
                <c:pt idx="54474">
                  <c:v>34211</c:v>
                </c:pt>
                <c:pt idx="54475">
                  <c:v>52797</c:v>
                </c:pt>
                <c:pt idx="54476">
                  <c:v>50619</c:v>
                </c:pt>
                <c:pt idx="54477">
                  <c:v>44349</c:v>
                </c:pt>
                <c:pt idx="54478">
                  <c:v>95663</c:v>
                </c:pt>
                <c:pt idx="54479">
                  <c:v>35335</c:v>
                </c:pt>
                <c:pt idx="54480">
                  <c:v>64549</c:v>
                </c:pt>
                <c:pt idx="54481">
                  <c:v>33688</c:v>
                </c:pt>
                <c:pt idx="54482">
                  <c:v>86466</c:v>
                </c:pt>
                <c:pt idx="54483">
                  <c:v>37397</c:v>
                </c:pt>
                <c:pt idx="54484">
                  <c:v>28420</c:v>
                </c:pt>
                <c:pt idx="54485">
                  <c:v>74643</c:v>
                </c:pt>
                <c:pt idx="54486">
                  <c:v>49467</c:v>
                </c:pt>
                <c:pt idx="54487">
                  <c:v>39420</c:v>
                </c:pt>
                <c:pt idx="54488">
                  <c:v>24095</c:v>
                </c:pt>
                <c:pt idx="54489">
                  <c:v>47331</c:v>
                </c:pt>
                <c:pt idx="54490">
                  <c:v>51729</c:v>
                </c:pt>
                <c:pt idx="54491">
                  <c:v>66961</c:v>
                </c:pt>
                <c:pt idx="54492">
                  <c:v>19567</c:v>
                </c:pt>
                <c:pt idx="54493">
                  <c:v>66875</c:v>
                </c:pt>
                <c:pt idx="54494">
                  <c:v>35464</c:v>
                </c:pt>
                <c:pt idx="54495">
                  <c:v>51434</c:v>
                </c:pt>
                <c:pt idx="54496">
                  <c:v>48735</c:v>
                </c:pt>
                <c:pt idx="54497">
                  <c:v>275500</c:v>
                </c:pt>
                <c:pt idx="54498">
                  <c:v>51810</c:v>
                </c:pt>
                <c:pt idx="54499">
                  <c:v>45247</c:v>
                </c:pt>
                <c:pt idx="54500">
                  <c:v>23413</c:v>
                </c:pt>
                <c:pt idx="54501">
                  <c:v>49826</c:v>
                </c:pt>
                <c:pt idx="54502">
                  <c:v>108626</c:v>
                </c:pt>
                <c:pt idx="54503">
                  <c:v>71152</c:v>
                </c:pt>
                <c:pt idx="54504">
                  <c:v>49356</c:v>
                </c:pt>
                <c:pt idx="54505">
                  <c:v>39893</c:v>
                </c:pt>
                <c:pt idx="54506">
                  <c:v>30419</c:v>
                </c:pt>
                <c:pt idx="54507">
                  <c:v>222270</c:v>
                </c:pt>
                <c:pt idx="54508">
                  <c:v>26104</c:v>
                </c:pt>
                <c:pt idx="54509">
                  <c:v>42856</c:v>
                </c:pt>
                <c:pt idx="54510">
                  <c:v>58981</c:v>
                </c:pt>
                <c:pt idx="54511">
                  <c:v>18646</c:v>
                </c:pt>
                <c:pt idx="54512">
                  <c:v>152196</c:v>
                </c:pt>
                <c:pt idx="54513">
                  <c:v>36432</c:v>
                </c:pt>
                <c:pt idx="54514">
                  <c:v>30176</c:v>
                </c:pt>
                <c:pt idx="54515">
                  <c:v>222940</c:v>
                </c:pt>
                <c:pt idx="54516">
                  <c:v>32813</c:v>
                </c:pt>
                <c:pt idx="54517">
                  <c:v>57599</c:v>
                </c:pt>
                <c:pt idx="54518">
                  <c:v>25442</c:v>
                </c:pt>
                <c:pt idx="54519">
                  <c:v>40002</c:v>
                </c:pt>
                <c:pt idx="54520">
                  <c:v>29034</c:v>
                </c:pt>
                <c:pt idx="54521">
                  <c:v>23519</c:v>
                </c:pt>
                <c:pt idx="54522">
                  <c:v>118665</c:v>
                </c:pt>
                <c:pt idx="54523">
                  <c:v>92349</c:v>
                </c:pt>
                <c:pt idx="54524">
                  <c:v>39623</c:v>
                </c:pt>
                <c:pt idx="54525">
                  <c:v>51030</c:v>
                </c:pt>
                <c:pt idx="54526">
                  <c:v>289110</c:v>
                </c:pt>
                <c:pt idx="54527">
                  <c:v>38735</c:v>
                </c:pt>
                <c:pt idx="54528">
                  <c:v>25699</c:v>
                </c:pt>
                <c:pt idx="54529">
                  <c:v>38510</c:v>
                </c:pt>
                <c:pt idx="54530">
                  <c:v>256474</c:v>
                </c:pt>
                <c:pt idx="54531">
                  <c:v>73415</c:v>
                </c:pt>
                <c:pt idx="54532">
                  <c:v>100815</c:v>
                </c:pt>
                <c:pt idx="54533">
                  <c:v>235920</c:v>
                </c:pt>
                <c:pt idx="54534">
                  <c:v>29658</c:v>
                </c:pt>
                <c:pt idx="54535">
                  <c:v>117596</c:v>
                </c:pt>
                <c:pt idx="54536">
                  <c:v>94767</c:v>
                </c:pt>
                <c:pt idx="54537">
                  <c:v>117653</c:v>
                </c:pt>
                <c:pt idx="54538">
                  <c:v>48253</c:v>
                </c:pt>
                <c:pt idx="54539">
                  <c:v>37850</c:v>
                </c:pt>
                <c:pt idx="54540">
                  <c:v>91401</c:v>
                </c:pt>
                <c:pt idx="54541">
                  <c:v>28075</c:v>
                </c:pt>
                <c:pt idx="54542">
                  <c:v>22152</c:v>
                </c:pt>
                <c:pt idx="54543">
                  <c:v>30031</c:v>
                </c:pt>
                <c:pt idx="54544">
                  <c:v>87038</c:v>
                </c:pt>
                <c:pt idx="54545">
                  <c:v>32461</c:v>
                </c:pt>
                <c:pt idx="54546">
                  <c:v>51404</c:v>
                </c:pt>
                <c:pt idx="54547">
                  <c:v>30207</c:v>
                </c:pt>
                <c:pt idx="54548">
                  <c:v>30275</c:v>
                </c:pt>
                <c:pt idx="54549">
                  <c:v>264529</c:v>
                </c:pt>
                <c:pt idx="54550">
                  <c:v>72214</c:v>
                </c:pt>
                <c:pt idx="54551">
                  <c:v>21877</c:v>
                </c:pt>
                <c:pt idx="54552">
                  <c:v>62373</c:v>
                </c:pt>
                <c:pt idx="54553">
                  <c:v>82219</c:v>
                </c:pt>
                <c:pt idx="54554">
                  <c:v>32780</c:v>
                </c:pt>
                <c:pt idx="54555">
                  <c:v>60742</c:v>
                </c:pt>
                <c:pt idx="54556">
                  <c:v>45941</c:v>
                </c:pt>
                <c:pt idx="54557">
                  <c:v>36168</c:v>
                </c:pt>
                <c:pt idx="54558">
                  <c:v>27475</c:v>
                </c:pt>
                <c:pt idx="54559">
                  <c:v>40379</c:v>
                </c:pt>
                <c:pt idx="54560">
                  <c:v>240365</c:v>
                </c:pt>
                <c:pt idx="54561">
                  <c:v>24180</c:v>
                </c:pt>
                <c:pt idx="54562">
                  <c:v>44056</c:v>
                </c:pt>
                <c:pt idx="54563">
                  <c:v>70784</c:v>
                </c:pt>
                <c:pt idx="54564">
                  <c:v>111448</c:v>
                </c:pt>
                <c:pt idx="54565">
                  <c:v>60332</c:v>
                </c:pt>
                <c:pt idx="54566">
                  <c:v>37609</c:v>
                </c:pt>
                <c:pt idx="54567">
                  <c:v>23940</c:v>
                </c:pt>
                <c:pt idx="54568">
                  <c:v>25943</c:v>
                </c:pt>
                <c:pt idx="54569">
                  <c:v>99395</c:v>
                </c:pt>
                <c:pt idx="54570">
                  <c:v>69784</c:v>
                </c:pt>
                <c:pt idx="54571">
                  <c:v>154012</c:v>
                </c:pt>
                <c:pt idx="54572">
                  <c:v>25260</c:v>
                </c:pt>
                <c:pt idx="54573">
                  <c:v>22926</c:v>
                </c:pt>
                <c:pt idx="54574">
                  <c:v>64573</c:v>
                </c:pt>
                <c:pt idx="54575">
                  <c:v>54347</c:v>
                </c:pt>
                <c:pt idx="54576">
                  <c:v>35219</c:v>
                </c:pt>
                <c:pt idx="54577">
                  <c:v>67919</c:v>
                </c:pt>
                <c:pt idx="54578">
                  <c:v>77008</c:v>
                </c:pt>
                <c:pt idx="54579">
                  <c:v>31435</c:v>
                </c:pt>
                <c:pt idx="54580">
                  <c:v>24421</c:v>
                </c:pt>
                <c:pt idx="54581">
                  <c:v>69892</c:v>
                </c:pt>
                <c:pt idx="54582">
                  <c:v>50260</c:v>
                </c:pt>
                <c:pt idx="54583">
                  <c:v>29710</c:v>
                </c:pt>
                <c:pt idx="54584">
                  <c:v>28704</c:v>
                </c:pt>
                <c:pt idx="54585">
                  <c:v>44999</c:v>
                </c:pt>
                <c:pt idx="54586">
                  <c:v>56137</c:v>
                </c:pt>
                <c:pt idx="54587">
                  <c:v>54589</c:v>
                </c:pt>
                <c:pt idx="54588">
                  <c:v>126853</c:v>
                </c:pt>
                <c:pt idx="54589">
                  <c:v>123488</c:v>
                </c:pt>
                <c:pt idx="54590">
                  <c:v>23083</c:v>
                </c:pt>
                <c:pt idx="54591">
                  <c:v>25073</c:v>
                </c:pt>
                <c:pt idx="54592">
                  <c:v>94113</c:v>
                </c:pt>
                <c:pt idx="54593">
                  <c:v>72638</c:v>
                </c:pt>
                <c:pt idx="54594">
                  <c:v>57246</c:v>
                </c:pt>
                <c:pt idx="54595">
                  <c:v>50082</c:v>
                </c:pt>
                <c:pt idx="54596">
                  <c:v>35798</c:v>
                </c:pt>
                <c:pt idx="54597">
                  <c:v>39860</c:v>
                </c:pt>
                <c:pt idx="54598">
                  <c:v>34790</c:v>
                </c:pt>
                <c:pt idx="54599">
                  <c:v>48029</c:v>
                </c:pt>
                <c:pt idx="54600">
                  <c:v>24505</c:v>
                </c:pt>
                <c:pt idx="54601">
                  <c:v>87801</c:v>
                </c:pt>
                <c:pt idx="54602">
                  <c:v>58516</c:v>
                </c:pt>
                <c:pt idx="54603">
                  <c:v>82623</c:v>
                </c:pt>
                <c:pt idx="54604">
                  <c:v>92204</c:v>
                </c:pt>
                <c:pt idx="54605">
                  <c:v>56355</c:v>
                </c:pt>
                <c:pt idx="54606">
                  <c:v>131967</c:v>
                </c:pt>
                <c:pt idx="54607">
                  <c:v>146548</c:v>
                </c:pt>
                <c:pt idx="54608">
                  <c:v>35153</c:v>
                </c:pt>
                <c:pt idx="54609">
                  <c:v>26221</c:v>
                </c:pt>
                <c:pt idx="54610">
                  <c:v>41994</c:v>
                </c:pt>
                <c:pt idx="54611">
                  <c:v>26120</c:v>
                </c:pt>
                <c:pt idx="54612">
                  <c:v>85230</c:v>
                </c:pt>
                <c:pt idx="54613">
                  <c:v>48607</c:v>
                </c:pt>
                <c:pt idx="54614">
                  <c:v>33157</c:v>
                </c:pt>
                <c:pt idx="54615">
                  <c:v>64723</c:v>
                </c:pt>
                <c:pt idx="54616">
                  <c:v>24308</c:v>
                </c:pt>
                <c:pt idx="54617">
                  <c:v>24476</c:v>
                </c:pt>
                <c:pt idx="54618">
                  <c:v>27075</c:v>
                </c:pt>
                <c:pt idx="54619">
                  <c:v>57314</c:v>
                </c:pt>
                <c:pt idx="54620">
                  <c:v>26465</c:v>
                </c:pt>
                <c:pt idx="54621">
                  <c:v>25109</c:v>
                </c:pt>
                <c:pt idx="54622">
                  <c:v>27026</c:v>
                </c:pt>
                <c:pt idx="54623">
                  <c:v>32397</c:v>
                </c:pt>
                <c:pt idx="54624">
                  <c:v>103135</c:v>
                </c:pt>
                <c:pt idx="54625">
                  <c:v>36094</c:v>
                </c:pt>
                <c:pt idx="54626">
                  <c:v>35634</c:v>
                </c:pt>
                <c:pt idx="54627">
                  <c:v>28150</c:v>
                </c:pt>
                <c:pt idx="54628">
                  <c:v>42781</c:v>
                </c:pt>
                <c:pt idx="54629">
                  <c:v>40055</c:v>
                </c:pt>
                <c:pt idx="54630">
                  <c:v>25857</c:v>
                </c:pt>
                <c:pt idx="54631">
                  <c:v>80305</c:v>
                </c:pt>
                <c:pt idx="54632">
                  <c:v>57996</c:v>
                </c:pt>
                <c:pt idx="54633">
                  <c:v>32034</c:v>
                </c:pt>
                <c:pt idx="54634">
                  <c:v>45346</c:v>
                </c:pt>
                <c:pt idx="54635">
                  <c:v>125570</c:v>
                </c:pt>
                <c:pt idx="54636">
                  <c:v>30207</c:v>
                </c:pt>
                <c:pt idx="54637">
                  <c:v>35027</c:v>
                </c:pt>
                <c:pt idx="54638">
                  <c:v>56262</c:v>
                </c:pt>
                <c:pt idx="54639">
                  <c:v>89781</c:v>
                </c:pt>
                <c:pt idx="54640">
                  <c:v>25662</c:v>
                </c:pt>
                <c:pt idx="54641">
                  <c:v>45991</c:v>
                </c:pt>
                <c:pt idx="54642">
                  <c:v>36821</c:v>
                </c:pt>
                <c:pt idx="54643">
                  <c:v>83092</c:v>
                </c:pt>
                <c:pt idx="54644">
                  <c:v>97650</c:v>
                </c:pt>
                <c:pt idx="54645">
                  <c:v>35550</c:v>
                </c:pt>
                <c:pt idx="54646">
                  <c:v>21906</c:v>
                </c:pt>
                <c:pt idx="54647">
                  <c:v>41008</c:v>
                </c:pt>
                <c:pt idx="54648">
                  <c:v>29075</c:v>
                </c:pt>
                <c:pt idx="54649">
                  <c:v>64796</c:v>
                </c:pt>
                <c:pt idx="54650">
                  <c:v>50753</c:v>
                </c:pt>
                <c:pt idx="54651">
                  <c:v>120265</c:v>
                </c:pt>
                <c:pt idx="54652">
                  <c:v>24601</c:v>
                </c:pt>
                <c:pt idx="54653">
                  <c:v>25166</c:v>
                </c:pt>
                <c:pt idx="54654">
                  <c:v>59324</c:v>
                </c:pt>
                <c:pt idx="54655">
                  <c:v>45857</c:v>
                </c:pt>
                <c:pt idx="54656">
                  <c:v>36429</c:v>
                </c:pt>
                <c:pt idx="54657">
                  <c:v>92342</c:v>
                </c:pt>
                <c:pt idx="54658">
                  <c:v>44273</c:v>
                </c:pt>
                <c:pt idx="54659">
                  <c:v>327701</c:v>
                </c:pt>
                <c:pt idx="54660">
                  <c:v>39782</c:v>
                </c:pt>
                <c:pt idx="54661">
                  <c:v>78887</c:v>
                </c:pt>
                <c:pt idx="54662">
                  <c:v>35657</c:v>
                </c:pt>
                <c:pt idx="54663">
                  <c:v>27859</c:v>
                </c:pt>
                <c:pt idx="54664">
                  <c:v>40094</c:v>
                </c:pt>
                <c:pt idx="54665">
                  <c:v>35101</c:v>
                </c:pt>
                <c:pt idx="54666">
                  <c:v>23913</c:v>
                </c:pt>
                <c:pt idx="54667">
                  <c:v>39233</c:v>
                </c:pt>
                <c:pt idx="54668">
                  <c:v>40061</c:v>
                </c:pt>
                <c:pt idx="54669">
                  <c:v>23596</c:v>
                </c:pt>
                <c:pt idx="54670">
                  <c:v>43979</c:v>
                </c:pt>
                <c:pt idx="54671">
                  <c:v>36357</c:v>
                </c:pt>
                <c:pt idx="54672">
                  <c:v>26334</c:v>
                </c:pt>
                <c:pt idx="54673">
                  <c:v>150814</c:v>
                </c:pt>
                <c:pt idx="54674">
                  <c:v>42084</c:v>
                </c:pt>
                <c:pt idx="54675">
                  <c:v>40572</c:v>
                </c:pt>
                <c:pt idx="54676">
                  <c:v>33467</c:v>
                </c:pt>
                <c:pt idx="54677">
                  <c:v>55788</c:v>
                </c:pt>
                <c:pt idx="54678">
                  <c:v>35506</c:v>
                </c:pt>
                <c:pt idx="54679">
                  <c:v>49330</c:v>
                </c:pt>
                <c:pt idx="54680">
                  <c:v>41586</c:v>
                </c:pt>
                <c:pt idx="54681">
                  <c:v>264128</c:v>
                </c:pt>
                <c:pt idx="54682">
                  <c:v>311304</c:v>
                </c:pt>
                <c:pt idx="54683">
                  <c:v>38596</c:v>
                </c:pt>
                <c:pt idx="54684">
                  <c:v>28194</c:v>
                </c:pt>
                <c:pt idx="54685">
                  <c:v>59252</c:v>
                </c:pt>
                <c:pt idx="54686">
                  <c:v>24037</c:v>
                </c:pt>
                <c:pt idx="54687">
                  <c:v>38601</c:v>
                </c:pt>
                <c:pt idx="54688">
                  <c:v>40894</c:v>
                </c:pt>
                <c:pt idx="54689">
                  <c:v>43081</c:v>
                </c:pt>
                <c:pt idx="54690">
                  <c:v>38538</c:v>
                </c:pt>
                <c:pt idx="54691">
                  <c:v>296605</c:v>
                </c:pt>
                <c:pt idx="54692">
                  <c:v>25301</c:v>
                </c:pt>
                <c:pt idx="54693">
                  <c:v>198778</c:v>
                </c:pt>
                <c:pt idx="54694">
                  <c:v>37703</c:v>
                </c:pt>
                <c:pt idx="54695">
                  <c:v>41481</c:v>
                </c:pt>
                <c:pt idx="54696">
                  <c:v>110445</c:v>
                </c:pt>
                <c:pt idx="54697">
                  <c:v>83528</c:v>
                </c:pt>
                <c:pt idx="54698">
                  <c:v>34745</c:v>
                </c:pt>
                <c:pt idx="54699">
                  <c:v>31409</c:v>
                </c:pt>
                <c:pt idx="54700">
                  <c:v>29123</c:v>
                </c:pt>
                <c:pt idx="54701">
                  <c:v>59812</c:v>
                </c:pt>
                <c:pt idx="54702">
                  <c:v>284458</c:v>
                </c:pt>
                <c:pt idx="54703">
                  <c:v>35398</c:v>
                </c:pt>
                <c:pt idx="54704">
                  <c:v>132608</c:v>
                </c:pt>
                <c:pt idx="54705">
                  <c:v>213207</c:v>
                </c:pt>
                <c:pt idx="54706">
                  <c:v>32023</c:v>
                </c:pt>
                <c:pt idx="54707">
                  <c:v>21866</c:v>
                </c:pt>
                <c:pt idx="54708">
                  <c:v>152596</c:v>
                </c:pt>
                <c:pt idx="54709">
                  <c:v>43994</c:v>
                </c:pt>
                <c:pt idx="54710">
                  <c:v>63898</c:v>
                </c:pt>
                <c:pt idx="54711">
                  <c:v>32946</c:v>
                </c:pt>
                <c:pt idx="54712">
                  <c:v>39191</c:v>
                </c:pt>
                <c:pt idx="54713">
                  <c:v>77510</c:v>
                </c:pt>
                <c:pt idx="54714">
                  <c:v>99154</c:v>
                </c:pt>
                <c:pt idx="54715">
                  <c:v>39044</c:v>
                </c:pt>
                <c:pt idx="54716">
                  <c:v>80026</c:v>
                </c:pt>
                <c:pt idx="54717">
                  <c:v>71245</c:v>
                </c:pt>
                <c:pt idx="54718">
                  <c:v>42188</c:v>
                </c:pt>
                <c:pt idx="54719">
                  <c:v>178405</c:v>
                </c:pt>
                <c:pt idx="54720">
                  <c:v>400673</c:v>
                </c:pt>
                <c:pt idx="54721">
                  <c:v>48310</c:v>
                </c:pt>
                <c:pt idx="54722">
                  <c:v>24145</c:v>
                </c:pt>
                <c:pt idx="54723">
                  <c:v>32621</c:v>
                </c:pt>
                <c:pt idx="54724">
                  <c:v>41558</c:v>
                </c:pt>
                <c:pt idx="54725">
                  <c:v>192916</c:v>
                </c:pt>
                <c:pt idx="54726">
                  <c:v>207356</c:v>
                </c:pt>
                <c:pt idx="54727">
                  <c:v>37540</c:v>
                </c:pt>
                <c:pt idx="54728">
                  <c:v>40762</c:v>
                </c:pt>
                <c:pt idx="54729">
                  <c:v>31522</c:v>
                </c:pt>
                <c:pt idx="54730">
                  <c:v>68154</c:v>
                </c:pt>
                <c:pt idx="54731">
                  <c:v>37579</c:v>
                </c:pt>
                <c:pt idx="54732">
                  <c:v>101542</c:v>
                </c:pt>
                <c:pt idx="54733">
                  <c:v>36694</c:v>
                </c:pt>
                <c:pt idx="54734">
                  <c:v>38000</c:v>
                </c:pt>
                <c:pt idx="54735">
                  <c:v>82606</c:v>
                </c:pt>
                <c:pt idx="54736">
                  <c:v>56812</c:v>
                </c:pt>
                <c:pt idx="54737">
                  <c:v>45669</c:v>
                </c:pt>
                <c:pt idx="54738">
                  <c:v>24108</c:v>
                </c:pt>
                <c:pt idx="54739">
                  <c:v>106742</c:v>
                </c:pt>
                <c:pt idx="54740">
                  <c:v>146257</c:v>
                </c:pt>
                <c:pt idx="54741">
                  <c:v>29811</c:v>
                </c:pt>
                <c:pt idx="54742">
                  <c:v>32962</c:v>
                </c:pt>
                <c:pt idx="54743">
                  <c:v>46657</c:v>
                </c:pt>
                <c:pt idx="54744">
                  <c:v>44389</c:v>
                </c:pt>
                <c:pt idx="54745">
                  <c:v>23771</c:v>
                </c:pt>
                <c:pt idx="54746">
                  <c:v>145923</c:v>
                </c:pt>
                <c:pt idx="54747">
                  <c:v>45126</c:v>
                </c:pt>
                <c:pt idx="54748">
                  <c:v>97921</c:v>
                </c:pt>
                <c:pt idx="54749">
                  <c:v>24978</c:v>
                </c:pt>
                <c:pt idx="54750">
                  <c:v>30440</c:v>
                </c:pt>
                <c:pt idx="54751">
                  <c:v>32461</c:v>
                </c:pt>
                <c:pt idx="54752">
                  <c:v>208755</c:v>
                </c:pt>
                <c:pt idx="54753">
                  <c:v>38048</c:v>
                </c:pt>
                <c:pt idx="54754">
                  <c:v>55340</c:v>
                </c:pt>
                <c:pt idx="54755">
                  <c:v>30915</c:v>
                </c:pt>
                <c:pt idx="54756">
                  <c:v>25482</c:v>
                </c:pt>
                <c:pt idx="54757">
                  <c:v>53222</c:v>
                </c:pt>
                <c:pt idx="54758">
                  <c:v>25616</c:v>
                </c:pt>
                <c:pt idx="54759">
                  <c:v>82931</c:v>
                </c:pt>
                <c:pt idx="54760">
                  <c:v>36641</c:v>
                </c:pt>
                <c:pt idx="54761">
                  <c:v>46363</c:v>
                </c:pt>
                <c:pt idx="54762">
                  <c:v>100604</c:v>
                </c:pt>
                <c:pt idx="54763">
                  <c:v>186963</c:v>
                </c:pt>
                <c:pt idx="54764">
                  <c:v>32605</c:v>
                </c:pt>
                <c:pt idx="54765">
                  <c:v>31754</c:v>
                </c:pt>
                <c:pt idx="54766">
                  <c:v>45258</c:v>
                </c:pt>
                <c:pt idx="54767">
                  <c:v>25626</c:v>
                </c:pt>
                <c:pt idx="54768">
                  <c:v>25861</c:v>
                </c:pt>
                <c:pt idx="54769">
                  <c:v>39438</c:v>
                </c:pt>
                <c:pt idx="54770">
                  <c:v>52407</c:v>
                </c:pt>
                <c:pt idx="54771">
                  <c:v>115121</c:v>
                </c:pt>
                <c:pt idx="54772">
                  <c:v>29006</c:v>
                </c:pt>
                <c:pt idx="54773">
                  <c:v>38380</c:v>
                </c:pt>
                <c:pt idx="54774">
                  <c:v>34485</c:v>
                </c:pt>
                <c:pt idx="54775">
                  <c:v>39293</c:v>
                </c:pt>
                <c:pt idx="54776">
                  <c:v>53002</c:v>
                </c:pt>
                <c:pt idx="54777">
                  <c:v>52908</c:v>
                </c:pt>
                <c:pt idx="54778">
                  <c:v>65122</c:v>
                </c:pt>
                <c:pt idx="54779">
                  <c:v>42671</c:v>
                </c:pt>
                <c:pt idx="54780">
                  <c:v>44823</c:v>
                </c:pt>
                <c:pt idx="54781">
                  <c:v>43668</c:v>
                </c:pt>
                <c:pt idx="54782">
                  <c:v>25725</c:v>
                </c:pt>
                <c:pt idx="54783">
                  <c:v>34492</c:v>
                </c:pt>
                <c:pt idx="54784">
                  <c:v>78020</c:v>
                </c:pt>
                <c:pt idx="54785">
                  <c:v>24636</c:v>
                </c:pt>
                <c:pt idx="54786">
                  <c:v>40835</c:v>
                </c:pt>
                <c:pt idx="54787">
                  <c:v>34970</c:v>
                </c:pt>
                <c:pt idx="54788">
                  <c:v>66796</c:v>
                </c:pt>
                <c:pt idx="54789">
                  <c:v>34291</c:v>
                </c:pt>
                <c:pt idx="54790">
                  <c:v>34410</c:v>
                </c:pt>
                <c:pt idx="54791">
                  <c:v>23319</c:v>
                </c:pt>
                <c:pt idx="54792">
                  <c:v>41564</c:v>
                </c:pt>
                <c:pt idx="54793">
                  <c:v>171447</c:v>
                </c:pt>
                <c:pt idx="54794">
                  <c:v>32040</c:v>
                </c:pt>
                <c:pt idx="54795">
                  <c:v>152927</c:v>
                </c:pt>
                <c:pt idx="54796">
                  <c:v>44814</c:v>
                </c:pt>
                <c:pt idx="54797">
                  <c:v>53433</c:v>
                </c:pt>
                <c:pt idx="54798">
                  <c:v>38330</c:v>
                </c:pt>
                <c:pt idx="54799">
                  <c:v>46444</c:v>
                </c:pt>
                <c:pt idx="54800">
                  <c:v>44276</c:v>
                </c:pt>
                <c:pt idx="54801">
                  <c:v>66340</c:v>
                </c:pt>
                <c:pt idx="54802">
                  <c:v>43307</c:v>
                </c:pt>
                <c:pt idx="54803">
                  <c:v>40276</c:v>
                </c:pt>
                <c:pt idx="54804">
                  <c:v>47243</c:v>
                </c:pt>
                <c:pt idx="54805">
                  <c:v>54177</c:v>
                </c:pt>
                <c:pt idx="54806">
                  <c:v>43367</c:v>
                </c:pt>
                <c:pt idx="54807">
                  <c:v>29250</c:v>
                </c:pt>
                <c:pt idx="54808">
                  <c:v>26173</c:v>
                </c:pt>
                <c:pt idx="54809">
                  <c:v>35507</c:v>
                </c:pt>
                <c:pt idx="54810">
                  <c:v>40000</c:v>
                </c:pt>
                <c:pt idx="54811">
                  <c:v>44293</c:v>
                </c:pt>
                <c:pt idx="54812">
                  <c:v>27941</c:v>
                </c:pt>
                <c:pt idx="54813">
                  <c:v>72299</c:v>
                </c:pt>
                <c:pt idx="54814">
                  <c:v>37736</c:v>
                </c:pt>
                <c:pt idx="54815">
                  <c:v>76752</c:v>
                </c:pt>
                <c:pt idx="54816">
                  <c:v>46513</c:v>
                </c:pt>
                <c:pt idx="54817">
                  <c:v>39476</c:v>
                </c:pt>
                <c:pt idx="54818">
                  <c:v>44974</c:v>
                </c:pt>
                <c:pt idx="54819">
                  <c:v>74056</c:v>
                </c:pt>
                <c:pt idx="54820">
                  <c:v>32518</c:v>
                </c:pt>
                <c:pt idx="54821">
                  <c:v>42265</c:v>
                </c:pt>
                <c:pt idx="54822">
                  <c:v>75517</c:v>
                </c:pt>
                <c:pt idx="54823">
                  <c:v>41418</c:v>
                </c:pt>
                <c:pt idx="54824">
                  <c:v>33498</c:v>
                </c:pt>
                <c:pt idx="54825">
                  <c:v>69782</c:v>
                </c:pt>
                <c:pt idx="54826">
                  <c:v>36675</c:v>
                </c:pt>
                <c:pt idx="54827">
                  <c:v>20680</c:v>
                </c:pt>
                <c:pt idx="54828">
                  <c:v>59916</c:v>
                </c:pt>
                <c:pt idx="54829">
                  <c:v>44431</c:v>
                </c:pt>
                <c:pt idx="54830">
                  <c:v>88726</c:v>
                </c:pt>
                <c:pt idx="54831">
                  <c:v>25678</c:v>
                </c:pt>
                <c:pt idx="54832">
                  <c:v>24896</c:v>
                </c:pt>
                <c:pt idx="54833">
                  <c:v>30000</c:v>
                </c:pt>
                <c:pt idx="54834">
                  <c:v>37297</c:v>
                </c:pt>
                <c:pt idx="54835">
                  <c:v>25023</c:v>
                </c:pt>
                <c:pt idx="54836">
                  <c:v>94888</c:v>
                </c:pt>
                <c:pt idx="54837">
                  <c:v>54862</c:v>
                </c:pt>
                <c:pt idx="54838">
                  <c:v>24495</c:v>
                </c:pt>
                <c:pt idx="54839">
                  <c:v>27080</c:v>
                </c:pt>
                <c:pt idx="54840">
                  <c:v>28842</c:v>
                </c:pt>
                <c:pt idx="54841">
                  <c:v>35036</c:v>
                </c:pt>
                <c:pt idx="54842">
                  <c:v>27182</c:v>
                </c:pt>
                <c:pt idx="54843">
                  <c:v>24642</c:v>
                </c:pt>
                <c:pt idx="54844">
                  <c:v>44917</c:v>
                </c:pt>
                <c:pt idx="54845">
                  <c:v>42404</c:v>
                </c:pt>
                <c:pt idx="54846">
                  <c:v>43375</c:v>
                </c:pt>
                <c:pt idx="54847">
                  <c:v>35102</c:v>
                </c:pt>
                <c:pt idx="54848">
                  <c:v>81081</c:v>
                </c:pt>
                <c:pt idx="54849">
                  <c:v>27242</c:v>
                </c:pt>
                <c:pt idx="54850">
                  <c:v>31290</c:v>
                </c:pt>
                <c:pt idx="54851">
                  <c:v>90132</c:v>
                </c:pt>
                <c:pt idx="54852">
                  <c:v>39497</c:v>
                </c:pt>
                <c:pt idx="54853">
                  <c:v>199239</c:v>
                </c:pt>
                <c:pt idx="54854">
                  <c:v>32757</c:v>
                </c:pt>
                <c:pt idx="54855">
                  <c:v>37368</c:v>
                </c:pt>
                <c:pt idx="54856">
                  <c:v>42338</c:v>
                </c:pt>
                <c:pt idx="54857">
                  <c:v>22521</c:v>
                </c:pt>
                <c:pt idx="54858">
                  <c:v>26764</c:v>
                </c:pt>
                <c:pt idx="54859">
                  <c:v>21870</c:v>
                </c:pt>
                <c:pt idx="54860">
                  <c:v>42660</c:v>
                </c:pt>
                <c:pt idx="54861">
                  <c:v>51223</c:v>
                </c:pt>
                <c:pt idx="54862">
                  <c:v>155258</c:v>
                </c:pt>
                <c:pt idx="54863">
                  <c:v>34849</c:v>
                </c:pt>
                <c:pt idx="54864">
                  <c:v>28320</c:v>
                </c:pt>
                <c:pt idx="54865">
                  <c:v>76778</c:v>
                </c:pt>
                <c:pt idx="54866">
                  <c:v>23947</c:v>
                </c:pt>
                <c:pt idx="54867">
                  <c:v>86126</c:v>
                </c:pt>
                <c:pt idx="54868">
                  <c:v>95548</c:v>
                </c:pt>
                <c:pt idx="54869">
                  <c:v>33133</c:v>
                </c:pt>
                <c:pt idx="54870">
                  <c:v>25613</c:v>
                </c:pt>
                <c:pt idx="54871">
                  <c:v>46304</c:v>
                </c:pt>
                <c:pt idx="54872">
                  <c:v>87713</c:v>
                </c:pt>
                <c:pt idx="54873">
                  <c:v>25417</c:v>
                </c:pt>
                <c:pt idx="54874">
                  <c:v>30465</c:v>
                </c:pt>
                <c:pt idx="54875">
                  <c:v>36658</c:v>
                </c:pt>
                <c:pt idx="54876">
                  <c:v>30008</c:v>
                </c:pt>
                <c:pt idx="54877">
                  <c:v>102721</c:v>
                </c:pt>
                <c:pt idx="54878">
                  <c:v>75024</c:v>
                </c:pt>
                <c:pt idx="54879">
                  <c:v>55556</c:v>
                </c:pt>
                <c:pt idx="54880">
                  <c:v>64199</c:v>
                </c:pt>
                <c:pt idx="54881">
                  <c:v>70079</c:v>
                </c:pt>
                <c:pt idx="54882">
                  <c:v>296392</c:v>
                </c:pt>
                <c:pt idx="54883">
                  <c:v>36630</c:v>
                </c:pt>
                <c:pt idx="54884">
                  <c:v>34594</c:v>
                </c:pt>
                <c:pt idx="54885">
                  <c:v>153995</c:v>
                </c:pt>
                <c:pt idx="54886">
                  <c:v>35892</c:v>
                </c:pt>
                <c:pt idx="54887">
                  <c:v>57691</c:v>
                </c:pt>
                <c:pt idx="54888">
                  <c:v>52820</c:v>
                </c:pt>
                <c:pt idx="54889">
                  <c:v>22418</c:v>
                </c:pt>
                <c:pt idx="54890">
                  <c:v>42728</c:v>
                </c:pt>
                <c:pt idx="54891">
                  <c:v>52080</c:v>
                </c:pt>
                <c:pt idx="54892">
                  <c:v>31138</c:v>
                </c:pt>
                <c:pt idx="54893">
                  <c:v>25985</c:v>
                </c:pt>
                <c:pt idx="54894">
                  <c:v>24034</c:v>
                </c:pt>
                <c:pt idx="54895">
                  <c:v>36081</c:v>
                </c:pt>
                <c:pt idx="54896">
                  <c:v>45875</c:v>
                </c:pt>
                <c:pt idx="54897">
                  <c:v>25120</c:v>
                </c:pt>
                <c:pt idx="54898">
                  <c:v>74481</c:v>
                </c:pt>
                <c:pt idx="54899">
                  <c:v>28720</c:v>
                </c:pt>
                <c:pt idx="54900">
                  <c:v>35300</c:v>
                </c:pt>
                <c:pt idx="54901">
                  <c:v>29693</c:v>
                </c:pt>
                <c:pt idx="54902">
                  <c:v>136314</c:v>
                </c:pt>
                <c:pt idx="54903">
                  <c:v>55408</c:v>
                </c:pt>
                <c:pt idx="54904">
                  <c:v>52926</c:v>
                </c:pt>
                <c:pt idx="54905">
                  <c:v>27969</c:v>
                </c:pt>
                <c:pt idx="54906">
                  <c:v>22744</c:v>
                </c:pt>
                <c:pt idx="54907">
                  <c:v>121241</c:v>
                </c:pt>
                <c:pt idx="54908">
                  <c:v>20775</c:v>
                </c:pt>
                <c:pt idx="54909">
                  <c:v>36587</c:v>
                </c:pt>
                <c:pt idx="54910">
                  <c:v>41125</c:v>
                </c:pt>
                <c:pt idx="54911">
                  <c:v>22630</c:v>
                </c:pt>
                <c:pt idx="54912">
                  <c:v>25200</c:v>
                </c:pt>
                <c:pt idx="54913">
                  <c:v>34930</c:v>
                </c:pt>
                <c:pt idx="54914">
                  <c:v>59773</c:v>
                </c:pt>
                <c:pt idx="54915">
                  <c:v>154768</c:v>
                </c:pt>
                <c:pt idx="54916">
                  <c:v>39659</c:v>
                </c:pt>
                <c:pt idx="54917">
                  <c:v>184141</c:v>
                </c:pt>
                <c:pt idx="54918">
                  <c:v>30522</c:v>
                </c:pt>
                <c:pt idx="54919">
                  <c:v>65447</c:v>
                </c:pt>
                <c:pt idx="54920">
                  <c:v>53521</c:v>
                </c:pt>
                <c:pt idx="54921">
                  <c:v>89445</c:v>
                </c:pt>
                <c:pt idx="54922">
                  <c:v>153771</c:v>
                </c:pt>
                <c:pt idx="54923">
                  <c:v>31268</c:v>
                </c:pt>
                <c:pt idx="54924">
                  <c:v>89183</c:v>
                </c:pt>
                <c:pt idx="54925">
                  <c:v>53348</c:v>
                </c:pt>
                <c:pt idx="54926">
                  <c:v>39407</c:v>
                </c:pt>
                <c:pt idx="54927">
                  <c:v>100685</c:v>
                </c:pt>
                <c:pt idx="54928">
                  <c:v>24199</c:v>
                </c:pt>
                <c:pt idx="54929">
                  <c:v>121630</c:v>
                </c:pt>
                <c:pt idx="54930">
                  <c:v>43516</c:v>
                </c:pt>
                <c:pt idx="54931">
                  <c:v>78211</c:v>
                </c:pt>
                <c:pt idx="54932">
                  <c:v>70818</c:v>
                </c:pt>
                <c:pt idx="54933">
                  <c:v>38689</c:v>
                </c:pt>
                <c:pt idx="54934">
                  <c:v>36825</c:v>
                </c:pt>
                <c:pt idx="54935">
                  <c:v>31742</c:v>
                </c:pt>
                <c:pt idx="54936">
                  <c:v>84577</c:v>
                </c:pt>
                <c:pt idx="54937">
                  <c:v>317756</c:v>
                </c:pt>
                <c:pt idx="54938">
                  <c:v>79009</c:v>
                </c:pt>
                <c:pt idx="54939">
                  <c:v>38968</c:v>
                </c:pt>
                <c:pt idx="54940">
                  <c:v>36122</c:v>
                </c:pt>
                <c:pt idx="54941">
                  <c:v>62317</c:v>
                </c:pt>
                <c:pt idx="54942">
                  <c:v>110363</c:v>
                </c:pt>
                <c:pt idx="54943">
                  <c:v>68341</c:v>
                </c:pt>
                <c:pt idx="54944">
                  <c:v>43802</c:v>
                </c:pt>
                <c:pt idx="54945">
                  <c:v>117611</c:v>
                </c:pt>
                <c:pt idx="54946">
                  <c:v>183504</c:v>
                </c:pt>
                <c:pt idx="54947">
                  <c:v>25333</c:v>
                </c:pt>
                <c:pt idx="54948">
                  <c:v>57980</c:v>
                </c:pt>
                <c:pt idx="54949">
                  <c:v>42679</c:v>
                </c:pt>
                <c:pt idx="54950">
                  <c:v>72949</c:v>
                </c:pt>
                <c:pt idx="54951">
                  <c:v>25102</c:v>
                </c:pt>
                <c:pt idx="54952">
                  <c:v>121771</c:v>
                </c:pt>
                <c:pt idx="54953">
                  <c:v>64764</c:v>
                </c:pt>
                <c:pt idx="54954">
                  <c:v>62515</c:v>
                </c:pt>
                <c:pt idx="54955">
                  <c:v>35880</c:v>
                </c:pt>
                <c:pt idx="54956">
                  <c:v>33531</c:v>
                </c:pt>
                <c:pt idx="54957">
                  <c:v>91071</c:v>
                </c:pt>
                <c:pt idx="54958">
                  <c:v>83012</c:v>
                </c:pt>
                <c:pt idx="54959">
                  <c:v>29830</c:v>
                </c:pt>
                <c:pt idx="54960">
                  <c:v>41312</c:v>
                </c:pt>
                <c:pt idx="54961">
                  <c:v>96215</c:v>
                </c:pt>
                <c:pt idx="54962">
                  <c:v>36385</c:v>
                </c:pt>
                <c:pt idx="54963">
                  <c:v>38107</c:v>
                </c:pt>
                <c:pt idx="54964">
                  <c:v>66511</c:v>
                </c:pt>
                <c:pt idx="54965">
                  <c:v>28255</c:v>
                </c:pt>
                <c:pt idx="54966">
                  <c:v>44168</c:v>
                </c:pt>
                <c:pt idx="54967">
                  <c:v>25753</c:v>
                </c:pt>
                <c:pt idx="54968">
                  <c:v>67056</c:v>
                </c:pt>
                <c:pt idx="54969">
                  <c:v>23766</c:v>
                </c:pt>
                <c:pt idx="54970">
                  <c:v>95664</c:v>
                </c:pt>
                <c:pt idx="54971">
                  <c:v>40907</c:v>
                </c:pt>
                <c:pt idx="54972">
                  <c:v>58382</c:v>
                </c:pt>
                <c:pt idx="54973">
                  <c:v>92178</c:v>
                </c:pt>
                <c:pt idx="54974">
                  <c:v>81532</c:v>
                </c:pt>
                <c:pt idx="54975">
                  <c:v>53992</c:v>
                </c:pt>
                <c:pt idx="54976">
                  <c:v>56552</c:v>
                </c:pt>
                <c:pt idx="54977">
                  <c:v>41057</c:v>
                </c:pt>
                <c:pt idx="54978">
                  <c:v>23166</c:v>
                </c:pt>
                <c:pt idx="54979">
                  <c:v>24497</c:v>
                </c:pt>
                <c:pt idx="54980">
                  <c:v>22558</c:v>
                </c:pt>
                <c:pt idx="54981">
                  <c:v>33203</c:v>
                </c:pt>
                <c:pt idx="54982">
                  <c:v>46839</c:v>
                </c:pt>
                <c:pt idx="54983">
                  <c:v>28300</c:v>
                </c:pt>
                <c:pt idx="54984">
                  <c:v>59053</c:v>
                </c:pt>
                <c:pt idx="54985">
                  <c:v>81618</c:v>
                </c:pt>
                <c:pt idx="54986">
                  <c:v>125395</c:v>
                </c:pt>
                <c:pt idx="54987">
                  <c:v>186906</c:v>
                </c:pt>
                <c:pt idx="54988">
                  <c:v>54167</c:v>
                </c:pt>
                <c:pt idx="54989">
                  <c:v>341621</c:v>
                </c:pt>
                <c:pt idx="54990">
                  <c:v>137945</c:v>
                </c:pt>
                <c:pt idx="54991">
                  <c:v>25503</c:v>
                </c:pt>
                <c:pt idx="54992">
                  <c:v>61755</c:v>
                </c:pt>
                <c:pt idx="54993">
                  <c:v>45806</c:v>
                </c:pt>
                <c:pt idx="54994">
                  <c:v>41823</c:v>
                </c:pt>
                <c:pt idx="54995">
                  <c:v>37132</c:v>
                </c:pt>
                <c:pt idx="54996">
                  <c:v>42758</c:v>
                </c:pt>
                <c:pt idx="54997">
                  <c:v>74539</c:v>
                </c:pt>
                <c:pt idx="54998">
                  <c:v>36223</c:v>
                </c:pt>
                <c:pt idx="54999">
                  <c:v>36610</c:v>
                </c:pt>
                <c:pt idx="55000">
                  <c:v>39080</c:v>
                </c:pt>
                <c:pt idx="55001">
                  <c:v>122380</c:v>
                </c:pt>
                <c:pt idx="55002">
                  <c:v>55640</c:v>
                </c:pt>
                <c:pt idx="55003">
                  <c:v>43095</c:v>
                </c:pt>
                <c:pt idx="55004">
                  <c:v>71311</c:v>
                </c:pt>
                <c:pt idx="55005">
                  <c:v>41904</c:v>
                </c:pt>
                <c:pt idx="55006">
                  <c:v>46054</c:v>
                </c:pt>
                <c:pt idx="55007">
                  <c:v>54897</c:v>
                </c:pt>
                <c:pt idx="55008">
                  <c:v>62017</c:v>
                </c:pt>
                <c:pt idx="55009">
                  <c:v>23485</c:v>
                </c:pt>
                <c:pt idx="55010">
                  <c:v>30453</c:v>
                </c:pt>
                <c:pt idx="55011">
                  <c:v>109627</c:v>
                </c:pt>
                <c:pt idx="55012">
                  <c:v>26069</c:v>
                </c:pt>
                <c:pt idx="55013">
                  <c:v>45704</c:v>
                </c:pt>
                <c:pt idx="55014">
                  <c:v>27780</c:v>
                </c:pt>
                <c:pt idx="55015">
                  <c:v>36185</c:v>
                </c:pt>
                <c:pt idx="55016">
                  <c:v>73966</c:v>
                </c:pt>
                <c:pt idx="55017">
                  <c:v>44852</c:v>
                </c:pt>
                <c:pt idx="55018">
                  <c:v>145302</c:v>
                </c:pt>
                <c:pt idx="55019">
                  <c:v>31434</c:v>
                </c:pt>
                <c:pt idx="55020">
                  <c:v>35820</c:v>
                </c:pt>
                <c:pt idx="55021">
                  <c:v>32378</c:v>
                </c:pt>
                <c:pt idx="55022">
                  <c:v>68098</c:v>
                </c:pt>
                <c:pt idx="55023">
                  <c:v>44706</c:v>
                </c:pt>
                <c:pt idx="55024">
                  <c:v>57637</c:v>
                </c:pt>
                <c:pt idx="55025">
                  <c:v>35736</c:v>
                </c:pt>
                <c:pt idx="55026">
                  <c:v>39915</c:v>
                </c:pt>
                <c:pt idx="55027">
                  <c:v>69722</c:v>
                </c:pt>
                <c:pt idx="55028">
                  <c:v>23755</c:v>
                </c:pt>
                <c:pt idx="55029">
                  <c:v>47155</c:v>
                </c:pt>
                <c:pt idx="55030">
                  <c:v>19825</c:v>
                </c:pt>
                <c:pt idx="55031">
                  <c:v>49230</c:v>
                </c:pt>
                <c:pt idx="55032">
                  <c:v>56445</c:v>
                </c:pt>
                <c:pt idx="55033">
                  <c:v>51784</c:v>
                </c:pt>
                <c:pt idx="55034">
                  <c:v>41107</c:v>
                </c:pt>
                <c:pt idx="55035">
                  <c:v>24311</c:v>
                </c:pt>
                <c:pt idx="55036">
                  <c:v>72903</c:v>
                </c:pt>
                <c:pt idx="55037">
                  <c:v>40363</c:v>
                </c:pt>
                <c:pt idx="55038">
                  <c:v>102164</c:v>
                </c:pt>
                <c:pt idx="55039">
                  <c:v>47249</c:v>
                </c:pt>
                <c:pt idx="55040">
                  <c:v>258783</c:v>
                </c:pt>
                <c:pt idx="55041">
                  <c:v>206169</c:v>
                </c:pt>
                <c:pt idx="55042">
                  <c:v>54818</c:v>
                </c:pt>
                <c:pt idx="55043">
                  <c:v>41350</c:v>
                </c:pt>
                <c:pt idx="55044">
                  <c:v>26418</c:v>
                </c:pt>
                <c:pt idx="55045">
                  <c:v>32912</c:v>
                </c:pt>
                <c:pt idx="55046">
                  <c:v>90467</c:v>
                </c:pt>
                <c:pt idx="55047">
                  <c:v>27460</c:v>
                </c:pt>
                <c:pt idx="55048">
                  <c:v>32613</c:v>
                </c:pt>
                <c:pt idx="55049">
                  <c:v>43611</c:v>
                </c:pt>
                <c:pt idx="55050">
                  <c:v>55530</c:v>
                </c:pt>
                <c:pt idx="55051">
                  <c:v>34602</c:v>
                </c:pt>
                <c:pt idx="55052">
                  <c:v>21189</c:v>
                </c:pt>
                <c:pt idx="55053">
                  <c:v>25627</c:v>
                </c:pt>
                <c:pt idx="55054">
                  <c:v>36278</c:v>
                </c:pt>
                <c:pt idx="55055">
                  <c:v>40122</c:v>
                </c:pt>
                <c:pt idx="55056">
                  <c:v>269173</c:v>
                </c:pt>
                <c:pt idx="55057">
                  <c:v>31971</c:v>
                </c:pt>
                <c:pt idx="55058">
                  <c:v>42068</c:v>
                </c:pt>
                <c:pt idx="55059">
                  <c:v>54722</c:v>
                </c:pt>
                <c:pt idx="55060">
                  <c:v>58168</c:v>
                </c:pt>
                <c:pt idx="55061">
                  <c:v>265387</c:v>
                </c:pt>
                <c:pt idx="55062">
                  <c:v>119434</c:v>
                </c:pt>
                <c:pt idx="55063">
                  <c:v>37359</c:v>
                </c:pt>
                <c:pt idx="55064">
                  <c:v>55673</c:v>
                </c:pt>
                <c:pt idx="55065">
                  <c:v>26464</c:v>
                </c:pt>
                <c:pt idx="55066">
                  <c:v>36133</c:v>
                </c:pt>
                <c:pt idx="55067">
                  <c:v>26929</c:v>
                </c:pt>
                <c:pt idx="55068">
                  <c:v>25944</c:v>
                </c:pt>
                <c:pt idx="55069">
                  <c:v>61768</c:v>
                </c:pt>
                <c:pt idx="55070">
                  <c:v>23583</c:v>
                </c:pt>
                <c:pt idx="55071">
                  <c:v>38904</c:v>
                </c:pt>
                <c:pt idx="55072">
                  <c:v>35233</c:v>
                </c:pt>
                <c:pt idx="55073">
                  <c:v>89770</c:v>
                </c:pt>
                <c:pt idx="55074">
                  <c:v>34080</c:v>
                </c:pt>
                <c:pt idx="55075">
                  <c:v>94668</c:v>
                </c:pt>
                <c:pt idx="55076">
                  <c:v>53147</c:v>
                </c:pt>
                <c:pt idx="55077">
                  <c:v>51212</c:v>
                </c:pt>
                <c:pt idx="55078">
                  <c:v>26609</c:v>
                </c:pt>
                <c:pt idx="55079">
                  <c:v>44928</c:v>
                </c:pt>
                <c:pt idx="55080">
                  <c:v>51521</c:v>
                </c:pt>
                <c:pt idx="55081">
                  <c:v>43088</c:v>
                </c:pt>
                <c:pt idx="55082">
                  <c:v>44646</c:v>
                </c:pt>
                <c:pt idx="55083">
                  <c:v>45672</c:v>
                </c:pt>
                <c:pt idx="55084">
                  <c:v>25893</c:v>
                </c:pt>
                <c:pt idx="55085">
                  <c:v>66383</c:v>
                </c:pt>
                <c:pt idx="55086">
                  <c:v>44120</c:v>
                </c:pt>
                <c:pt idx="55087">
                  <c:v>29326</c:v>
                </c:pt>
                <c:pt idx="55088">
                  <c:v>57952</c:v>
                </c:pt>
                <c:pt idx="55089">
                  <c:v>74128</c:v>
                </c:pt>
                <c:pt idx="55090">
                  <c:v>50209</c:v>
                </c:pt>
                <c:pt idx="55091">
                  <c:v>366378</c:v>
                </c:pt>
                <c:pt idx="55092">
                  <c:v>31885</c:v>
                </c:pt>
                <c:pt idx="55093">
                  <c:v>23161</c:v>
                </c:pt>
                <c:pt idx="55094">
                  <c:v>34007</c:v>
                </c:pt>
                <c:pt idx="55095">
                  <c:v>58165</c:v>
                </c:pt>
                <c:pt idx="55096">
                  <c:v>35991</c:v>
                </c:pt>
                <c:pt idx="55097">
                  <c:v>54845</c:v>
                </c:pt>
                <c:pt idx="55098">
                  <c:v>89307</c:v>
                </c:pt>
                <c:pt idx="55099">
                  <c:v>28822</c:v>
                </c:pt>
                <c:pt idx="55100">
                  <c:v>132879</c:v>
                </c:pt>
                <c:pt idx="55101">
                  <c:v>30112</c:v>
                </c:pt>
                <c:pt idx="55102">
                  <c:v>76787</c:v>
                </c:pt>
                <c:pt idx="55103">
                  <c:v>46196</c:v>
                </c:pt>
                <c:pt idx="55104">
                  <c:v>40223</c:v>
                </c:pt>
                <c:pt idx="55105">
                  <c:v>32125</c:v>
                </c:pt>
                <c:pt idx="55106">
                  <c:v>46638</c:v>
                </c:pt>
                <c:pt idx="55107">
                  <c:v>65215</c:v>
                </c:pt>
                <c:pt idx="55108">
                  <c:v>38738</c:v>
                </c:pt>
                <c:pt idx="55109">
                  <c:v>62382</c:v>
                </c:pt>
                <c:pt idx="55110">
                  <c:v>60460</c:v>
                </c:pt>
                <c:pt idx="55111">
                  <c:v>39288</c:v>
                </c:pt>
                <c:pt idx="55112">
                  <c:v>45041</c:v>
                </c:pt>
                <c:pt idx="55113">
                  <c:v>202484</c:v>
                </c:pt>
                <c:pt idx="55114">
                  <c:v>183695</c:v>
                </c:pt>
                <c:pt idx="55115">
                  <c:v>212064</c:v>
                </c:pt>
                <c:pt idx="55116">
                  <c:v>49626</c:v>
                </c:pt>
                <c:pt idx="55117">
                  <c:v>25097</c:v>
                </c:pt>
                <c:pt idx="55118">
                  <c:v>33589</c:v>
                </c:pt>
                <c:pt idx="55119">
                  <c:v>40387</c:v>
                </c:pt>
                <c:pt idx="55120">
                  <c:v>42870</c:v>
                </c:pt>
                <c:pt idx="55121">
                  <c:v>55141</c:v>
                </c:pt>
                <c:pt idx="55122">
                  <c:v>73430</c:v>
                </c:pt>
                <c:pt idx="55123">
                  <c:v>60710</c:v>
                </c:pt>
                <c:pt idx="55124">
                  <c:v>125803</c:v>
                </c:pt>
                <c:pt idx="55125">
                  <c:v>65908</c:v>
                </c:pt>
                <c:pt idx="55126">
                  <c:v>45458</c:v>
                </c:pt>
                <c:pt idx="55127">
                  <c:v>83666</c:v>
                </c:pt>
                <c:pt idx="55128">
                  <c:v>40180</c:v>
                </c:pt>
                <c:pt idx="55129">
                  <c:v>202701</c:v>
                </c:pt>
                <c:pt idx="55130">
                  <c:v>24801</c:v>
                </c:pt>
                <c:pt idx="55131">
                  <c:v>40187</c:v>
                </c:pt>
                <c:pt idx="55132">
                  <c:v>90357</c:v>
                </c:pt>
                <c:pt idx="55133">
                  <c:v>29498</c:v>
                </c:pt>
                <c:pt idx="55134">
                  <c:v>25748</c:v>
                </c:pt>
                <c:pt idx="55135">
                  <c:v>36670</c:v>
                </c:pt>
                <c:pt idx="55136">
                  <c:v>47148</c:v>
                </c:pt>
                <c:pt idx="55137">
                  <c:v>111289</c:v>
                </c:pt>
                <c:pt idx="55138">
                  <c:v>29573</c:v>
                </c:pt>
                <c:pt idx="55139">
                  <c:v>41579</c:v>
                </c:pt>
                <c:pt idx="55140">
                  <c:v>31926</c:v>
                </c:pt>
                <c:pt idx="55141">
                  <c:v>29252</c:v>
                </c:pt>
                <c:pt idx="55142">
                  <c:v>46584</c:v>
                </c:pt>
                <c:pt idx="55143">
                  <c:v>56253</c:v>
                </c:pt>
                <c:pt idx="55144">
                  <c:v>148684</c:v>
                </c:pt>
                <c:pt idx="55145">
                  <c:v>161354</c:v>
                </c:pt>
                <c:pt idx="55146">
                  <c:v>33874</c:v>
                </c:pt>
                <c:pt idx="55147">
                  <c:v>34251</c:v>
                </c:pt>
                <c:pt idx="55148">
                  <c:v>26231</c:v>
                </c:pt>
                <c:pt idx="55149">
                  <c:v>44858</c:v>
                </c:pt>
                <c:pt idx="55150">
                  <c:v>30815</c:v>
                </c:pt>
                <c:pt idx="55151">
                  <c:v>71424</c:v>
                </c:pt>
                <c:pt idx="55152">
                  <c:v>26181</c:v>
                </c:pt>
                <c:pt idx="55153">
                  <c:v>27166</c:v>
                </c:pt>
                <c:pt idx="55154">
                  <c:v>53092</c:v>
                </c:pt>
                <c:pt idx="55155">
                  <c:v>141746</c:v>
                </c:pt>
                <c:pt idx="55156">
                  <c:v>39732</c:v>
                </c:pt>
                <c:pt idx="55157">
                  <c:v>26461</c:v>
                </c:pt>
                <c:pt idx="55158">
                  <c:v>45900</c:v>
                </c:pt>
                <c:pt idx="55159">
                  <c:v>28431</c:v>
                </c:pt>
                <c:pt idx="55160">
                  <c:v>68154</c:v>
                </c:pt>
                <c:pt idx="55161">
                  <c:v>205091</c:v>
                </c:pt>
                <c:pt idx="55162">
                  <c:v>25156</c:v>
                </c:pt>
                <c:pt idx="55163">
                  <c:v>156961</c:v>
                </c:pt>
                <c:pt idx="55164">
                  <c:v>23603</c:v>
                </c:pt>
                <c:pt idx="55165">
                  <c:v>30309</c:v>
                </c:pt>
                <c:pt idx="55166">
                  <c:v>39236</c:v>
                </c:pt>
                <c:pt idx="55167">
                  <c:v>30730</c:v>
                </c:pt>
                <c:pt idx="55168">
                  <c:v>38632</c:v>
                </c:pt>
                <c:pt idx="55169">
                  <c:v>31385</c:v>
                </c:pt>
                <c:pt idx="55170">
                  <c:v>39386</c:v>
                </c:pt>
                <c:pt idx="55171">
                  <c:v>58060</c:v>
                </c:pt>
                <c:pt idx="55172">
                  <c:v>24043</c:v>
                </c:pt>
                <c:pt idx="55173">
                  <c:v>46960</c:v>
                </c:pt>
                <c:pt idx="55174">
                  <c:v>35718</c:v>
                </c:pt>
                <c:pt idx="55175">
                  <c:v>41476</c:v>
                </c:pt>
                <c:pt idx="55176">
                  <c:v>32837</c:v>
                </c:pt>
                <c:pt idx="55177">
                  <c:v>212882</c:v>
                </c:pt>
                <c:pt idx="55178">
                  <c:v>39959</c:v>
                </c:pt>
                <c:pt idx="55179">
                  <c:v>50121</c:v>
                </c:pt>
                <c:pt idx="55180">
                  <c:v>73657</c:v>
                </c:pt>
                <c:pt idx="55181">
                  <c:v>44407</c:v>
                </c:pt>
                <c:pt idx="55182">
                  <c:v>32493</c:v>
                </c:pt>
                <c:pt idx="55183">
                  <c:v>93649</c:v>
                </c:pt>
                <c:pt idx="55184">
                  <c:v>26468</c:v>
                </c:pt>
                <c:pt idx="55185">
                  <c:v>84318</c:v>
                </c:pt>
                <c:pt idx="55186">
                  <c:v>22229</c:v>
                </c:pt>
                <c:pt idx="55187">
                  <c:v>48307</c:v>
                </c:pt>
                <c:pt idx="55188">
                  <c:v>40195</c:v>
                </c:pt>
                <c:pt idx="55189">
                  <c:v>60380</c:v>
                </c:pt>
                <c:pt idx="55190">
                  <c:v>44549</c:v>
                </c:pt>
                <c:pt idx="55191">
                  <c:v>28342</c:v>
                </c:pt>
                <c:pt idx="55192">
                  <c:v>25705</c:v>
                </c:pt>
                <c:pt idx="55193">
                  <c:v>36418</c:v>
                </c:pt>
                <c:pt idx="55194">
                  <c:v>27367</c:v>
                </c:pt>
                <c:pt idx="55195">
                  <c:v>36861</c:v>
                </c:pt>
                <c:pt idx="55196">
                  <c:v>133533</c:v>
                </c:pt>
                <c:pt idx="55197">
                  <c:v>155334</c:v>
                </c:pt>
                <c:pt idx="55198">
                  <c:v>97196</c:v>
                </c:pt>
                <c:pt idx="55199">
                  <c:v>50455</c:v>
                </c:pt>
                <c:pt idx="55200">
                  <c:v>34287</c:v>
                </c:pt>
                <c:pt idx="55201">
                  <c:v>23818</c:v>
                </c:pt>
                <c:pt idx="55202">
                  <c:v>100791</c:v>
                </c:pt>
                <c:pt idx="55203">
                  <c:v>36806</c:v>
                </c:pt>
                <c:pt idx="55204">
                  <c:v>25204</c:v>
                </c:pt>
                <c:pt idx="55205">
                  <c:v>29462</c:v>
                </c:pt>
                <c:pt idx="55206">
                  <c:v>58022</c:v>
                </c:pt>
                <c:pt idx="55207">
                  <c:v>33121</c:v>
                </c:pt>
                <c:pt idx="55208">
                  <c:v>62651</c:v>
                </c:pt>
                <c:pt idx="55209">
                  <c:v>117198</c:v>
                </c:pt>
                <c:pt idx="55210">
                  <c:v>84981</c:v>
                </c:pt>
                <c:pt idx="55211">
                  <c:v>37963</c:v>
                </c:pt>
                <c:pt idx="55212">
                  <c:v>28971</c:v>
                </c:pt>
                <c:pt idx="55213">
                  <c:v>103187</c:v>
                </c:pt>
                <c:pt idx="55214">
                  <c:v>139839</c:v>
                </c:pt>
                <c:pt idx="55215">
                  <c:v>44141</c:v>
                </c:pt>
                <c:pt idx="55216">
                  <c:v>43668</c:v>
                </c:pt>
                <c:pt idx="55217">
                  <c:v>84235</c:v>
                </c:pt>
                <c:pt idx="55218">
                  <c:v>30925</c:v>
                </c:pt>
                <c:pt idx="55219">
                  <c:v>28697</c:v>
                </c:pt>
                <c:pt idx="55220">
                  <c:v>23854</c:v>
                </c:pt>
                <c:pt idx="55221">
                  <c:v>41616</c:v>
                </c:pt>
                <c:pt idx="55222">
                  <c:v>42199</c:v>
                </c:pt>
                <c:pt idx="55223">
                  <c:v>22553</c:v>
                </c:pt>
                <c:pt idx="55224">
                  <c:v>94235</c:v>
                </c:pt>
                <c:pt idx="55225">
                  <c:v>30426</c:v>
                </c:pt>
                <c:pt idx="55226">
                  <c:v>37677</c:v>
                </c:pt>
                <c:pt idx="55227">
                  <c:v>24789</c:v>
                </c:pt>
                <c:pt idx="55228">
                  <c:v>83966</c:v>
                </c:pt>
                <c:pt idx="55229">
                  <c:v>43611</c:v>
                </c:pt>
                <c:pt idx="55230">
                  <c:v>33980</c:v>
                </c:pt>
                <c:pt idx="55231">
                  <c:v>22167</c:v>
                </c:pt>
                <c:pt idx="55232">
                  <c:v>47367</c:v>
                </c:pt>
                <c:pt idx="55233">
                  <c:v>106809</c:v>
                </c:pt>
                <c:pt idx="55234">
                  <c:v>39845</c:v>
                </c:pt>
                <c:pt idx="55235">
                  <c:v>38937</c:v>
                </c:pt>
                <c:pt idx="55236">
                  <c:v>41259</c:v>
                </c:pt>
                <c:pt idx="55237">
                  <c:v>126614</c:v>
                </c:pt>
                <c:pt idx="55238">
                  <c:v>94897</c:v>
                </c:pt>
                <c:pt idx="55239">
                  <c:v>29489</c:v>
                </c:pt>
                <c:pt idx="55240">
                  <c:v>24935</c:v>
                </c:pt>
                <c:pt idx="55241">
                  <c:v>31022</c:v>
                </c:pt>
                <c:pt idx="55242">
                  <c:v>189770</c:v>
                </c:pt>
                <c:pt idx="55243">
                  <c:v>78763</c:v>
                </c:pt>
                <c:pt idx="55244">
                  <c:v>40319</c:v>
                </c:pt>
                <c:pt idx="55245">
                  <c:v>30024</c:v>
                </c:pt>
                <c:pt idx="55246">
                  <c:v>39131</c:v>
                </c:pt>
                <c:pt idx="55247">
                  <c:v>85789</c:v>
                </c:pt>
                <c:pt idx="55248">
                  <c:v>33026</c:v>
                </c:pt>
                <c:pt idx="55249">
                  <c:v>33571</c:v>
                </c:pt>
                <c:pt idx="55250">
                  <c:v>25385</c:v>
                </c:pt>
                <c:pt idx="55251">
                  <c:v>24605</c:v>
                </c:pt>
                <c:pt idx="55252">
                  <c:v>36659</c:v>
                </c:pt>
                <c:pt idx="55253">
                  <c:v>38208</c:v>
                </c:pt>
                <c:pt idx="55254">
                  <c:v>27373</c:v>
                </c:pt>
                <c:pt idx="55255">
                  <c:v>51319</c:v>
                </c:pt>
                <c:pt idx="55256">
                  <c:v>31832</c:v>
                </c:pt>
                <c:pt idx="55257">
                  <c:v>31105</c:v>
                </c:pt>
                <c:pt idx="55258">
                  <c:v>91477</c:v>
                </c:pt>
                <c:pt idx="55259">
                  <c:v>27245</c:v>
                </c:pt>
                <c:pt idx="55260">
                  <c:v>43046</c:v>
                </c:pt>
                <c:pt idx="55261">
                  <c:v>84812</c:v>
                </c:pt>
                <c:pt idx="55262">
                  <c:v>66535</c:v>
                </c:pt>
                <c:pt idx="55263">
                  <c:v>43840</c:v>
                </c:pt>
                <c:pt idx="55264">
                  <c:v>164885</c:v>
                </c:pt>
                <c:pt idx="55265">
                  <c:v>67261</c:v>
                </c:pt>
                <c:pt idx="55266">
                  <c:v>52608</c:v>
                </c:pt>
                <c:pt idx="55267">
                  <c:v>56683</c:v>
                </c:pt>
                <c:pt idx="55268">
                  <c:v>35068</c:v>
                </c:pt>
                <c:pt idx="55269">
                  <c:v>32181</c:v>
                </c:pt>
                <c:pt idx="55270">
                  <c:v>33327</c:v>
                </c:pt>
                <c:pt idx="55271">
                  <c:v>21584</c:v>
                </c:pt>
                <c:pt idx="55272">
                  <c:v>66896</c:v>
                </c:pt>
                <c:pt idx="55273">
                  <c:v>34300</c:v>
                </c:pt>
                <c:pt idx="55274">
                  <c:v>89320</c:v>
                </c:pt>
                <c:pt idx="55275">
                  <c:v>40504</c:v>
                </c:pt>
                <c:pt idx="55276">
                  <c:v>61852</c:v>
                </c:pt>
                <c:pt idx="55277">
                  <c:v>34069</c:v>
                </c:pt>
                <c:pt idx="55278">
                  <c:v>26352</c:v>
                </c:pt>
                <c:pt idx="55279">
                  <c:v>264313</c:v>
                </c:pt>
                <c:pt idx="55280">
                  <c:v>23789</c:v>
                </c:pt>
                <c:pt idx="55281">
                  <c:v>43019</c:v>
                </c:pt>
                <c:pt idx="55282">
                  <c:v>37171</c:v>
                </c:pt>
                <c:pt idx="55283">
                  <c:v>27697</c:v>
                </c:pt>
                <c:pt idx="55284">
                  <c:v>27261</c:v>
                </c:pt>
                <c:pt idx="55285">
                  <c:v>25630</c:v>
                </c:pt>
                <c:pt idx="55286">
                  <c:v>162987</c:v>
                </c:pt>
                <c:pt idx="55287">
                  <c:v>24018</c:v>
                </c:pt>
                <c:pt idx="55288">
                  <c:v>35574</c:v>
                </c:pt>
                <c:pt idx="55289">
                  <c:v>90622</c:v>
                </c:pt>
                <c:pt idx="55290">
                  <c:v>180010</c:v>
                </c:pt>
                <c:pt idx="55291">
                  <c:v>150368</c:v>
                </c:pt>
                <c:pt idx="55292">
                  <c:v>32072</c:v>
                </c:pt>
                <c:pt idx="55293">
                  <c:v>21858</c:v>
                </c:pt>
                <c:pt idx="55294">
                  <c:v>49793</c:v>
                </c:pt>
                <c:pt idx="55295">
                  <c:v>27776</c:v>
                </c:pt>
                <c:pt idx="55296">
                  <c:v>25617</c:v>
                </c:pt>
                <c:pt idx="55297">
                  <c:v>100329</c:v>
                </c:pt>
                <c:pt idx="55298">
                  <c:v>30793</c:v>
                </c:pt>
                <c:pt idx="55299">
                  <c:v>42013</c:v>
                </c:pt>
                <c:pt idx="55300">
                  <c:v>21893</c:v>
                </c:pt>
                <c:pt idx="55301">
                  <c:v>34578</c:v>
                </c:pt>
                <c:pt idx="55302">
                  <c:v>172303</c:v>
                </c:pt>
                <c:pt idx="55303">
                  <c:v>122313</c:v>
                </c:pt>
                <c:pt idx="55304">
                  <c:v>63892</c:v>
                </c:pt>
                <c:pt idx="55305">
                  <c:v>62603</c:v>
                </c:pt>
                <c:pt idx="55306">
                  <c:v>31325</c:v>
                </c:pt>
                <c:pt idx="55307">
                  <c:v>99740</c:v>
                </c:pt>
                <c:pt idx="55308">
                  <c:v>37845</c:v>
                </c:pt>
                <c:pt idx="55309">
                  <c:v>25400</c:v>
                </c:pt>
                <c:pt idx="55310">
                  <c:v>34165</c:v>
                </c:pt>
                <c:pt idx="55311">
                  <c:v>59823</c:v>
                </c:pt>
                <c:pt idx="55312">
                  <c:v>25371</c:v>
                </c:pt>
                <c:pt idx="55313">
                  <c:v>58968</c:v>
                </c:pt>
                <c:pt idx="55314">
                  <c:v>38898</c:v>
                </c:pt>
                <c:pt idx="55315">
                  <c:v>39254</c:v>
                </c:pt>
                <c:pt idx="55316">
                  <c:v>37212</c:v>
                </c:pt>
                <c:pt idx="55317">
                  <c:v>49601</c:v>
                </c:pt>
                <c:pt idx="55318">
                  <c:v>56985</c:v>
                </c:pt>
                <c:pt idx="55319">
                  <c:v>37923</c:v>
                </c:pt>
                <c:pt idx="55320">
                  <c:v>34513</c:v>
                </c:pt>
                <c:pt idx="55321">
                  <c:v>29625</c:v>
                </c:pt>
                <c:pt idx="55322">
                  <c:v>38547</c:v>
                </c:pt>
                <c:pt idx="55323">
                  <c:v>28138</c:v>
                </c:pt>
                <c:pt idx="55324">
                  <c:v>46527</c:v>
                </c:pt>
                <c:pt idx="55325">
                  <c:v>56387</c:v>
                </c:pt>
                <c:pt idx="55326">
                  <c:v>36004</c:v>
                </c:pt>
                <c:pt idx="55327">
                  <c:v>41631</c:v>
                </c:pt>
                <c:pt idx="55328">
                  <c:v>194812</c:v>
                </c:pt>
                <c:pt idx="55329">
                  <c:v>28549</c:v>
                </c:pt>
                <c:pt idx="55330">
                  <c:v>44413</c:v>
                </c:pt>
                <c:pt idx="55331">
                  <c:v>119528</c:v>
                </c:pt>
                <c:pt idx="55332">
                  <c:v>126676</c:v>
                </c:pt>
                <c:pt idx="55333">
                  <c:v>56589</c:v>
                </c:pt>
                <c:pt idx="55334">
                  <c:v>22153</c:v>
                </c:pt>
                <c:pt idx="55335">
                  <c:v>26584</c:v>
                </c:pt>
                <c:pt idx="55336">
                  <c:v>36381</c:v>
                </c:pt>
                <c:pt idx="55337">
                  <c:v>22594</c:v>
                </c:pt>
                <c:pt idx="55338">
                  <c:v>40680</c:v>
                </c:pt>
                <c:pt idx="55339">
                  <c:v>30181</c:v>
                </c:pt>
                <c:pt idx="55340">
                  <c:v>264021</c:v>
                </c:pt>
                <c:pt idx="55341">
                  <c:v>22943</c:v>
                </c:pt>
                <c:pt idx="55342">
                  <c:v>77522</c:v>
                </c:pt>
                <c:pt idx="55343">
                  <c:v>34106</c:v>
                </c:pt>
                <c:pt idx="55344">
                  <c:v>198510</c:v>
                </c:pt>
                <c:pt idx="55345">
                  <c:v>58193</c:v>
                </c:pt>
                <c:pt idx="55346">
                  <c:v>63746</c:v>
                </c:pt>
                <c:pt idx="55347">
                  <c:v>55829</c:v>
                </c:pt>
                <c:pt idx="55348">
                  <c:v>93488</c:v>
                </c:pt>
                <c:pt idx="55349">
                  <c:v>35887</c:v>
                </c:pt>
                <c:pt idx="55350">
                  <c:v>31598</c:v>
                </c:pt>
                <c:pt idx="55351">
                  <c:v>40689</c:v>
                </c:pt>
                <c:pt idx="55352">
                  <c:v>33839</c:v>
                </c:pt>
                <c:pt idx="55353">
                  <c:v>28346</c:v>
                </c:pt>
                <c:pt idx="55354">
                  <c:v>33601</c:v>
                </c:pt>
                <c:pt idx="55355">
                  <c:v>49336</c:v>
                </c:pt>
                <c:pt idx="55356">
                  <c:v>47681</c:v>
                </c:pt>
                <c:pt idx="55357">
                  <c:v>31319</c:v>
                </c:pt>
                <c:pt idx="55358">
                  <c:v>301191</c:v>
                </c:pt>
                <c:pt idx="55359">
                  <c:v>49306</c:v>
                </c:pt>
                <c:pt idx="55360">
                  <c:v>25904</c:v>
                </c:pt>
                <c:pt idx="55361">
                  <c:v>48867</c:v>
                </c:pt>
                <c:pt idx="55362">
                  <c:v>28933</c:v>
                </c:pt>
                <c:pt idx="55363">
                  <c:v>241896</c:v>
                </c:pt>
                <c:pt idx="55364">
                  <c:v>364530</c:v>
                </c:pt>
                <c:pt idx="55365">
                  <c:v>60969</c:v>
                </c:pt>
                <c:pt idx="55366">
                  <c:v>42148</c:v>
                </c:pt>
                <c:pt idx="55367">
                  <c:v>49269</c:v>
                </c:pt>
                <c:pt idx="55368">
                  <c:v>22070</c:v>
                </c:pt>
                <c:pt idx="55369">
                  <c:v>36065</c:v>
                </c:pt>
                <c:pt idx="55370">
                  <c:v>45756</c:v>
                </c:pt>
                <c:pt idx="55371">
                  <c:v>29683</c:v>
                </c:pt>
                <c:pt idx="55372">
                  <c:v>72097</c:v>
                </c:pt>
                <c:pt idx="55373">
                  <c:v>43321</c:v>
                </c:pt>
                <c:pt idx="55374">
                  <c:v>77282</c:v>
                </c:pt>
                <c:pt idx="55375">
                  <c:v>19955</c:v>
                </c:pt>
                <c:pt idx="55376">
                  <c:v>28896</c:v>
                </c:pt>
                <c:pt idx="55377">
                  <c:v>101851</c:v>
                </c:pt>
                <c:pt idx="55378">
                  <c:v>46624</c:v>
                </c:pt>
                <c:pt idx="55379">
                  <c:v>98657</c:v>
                </c:pt>
                <c:pt idx="55380">
                  <c:v>32939</c:v>
                </c:pt>
                <c:pt idx="55381">
                  <c:v>38375</c:v>
                </c:pt>
                <c:pt idx="55382">
                  <c:v>102886</c:v>
                </c:pt>
                <c:pt idx="55383">
                  <c:v>34194</c:v>
                </c:pt>
                <c:pt idx="55384">
                  <c:v>57257</c:v>
                </c:pt>
                <c:pt idx="55385">
                  <c:v>41270</c:v>
                </c:pt>
                <c:pt idx="55386">
                  <c:v>27138</c:v>
                </c:pt>
                <c:pt idx="55387">
                  <c:v>41777</c:v>
                </c:pt>
                <c:pt idx="55388">
                  <c:v>131709</c:v>
                </c:pt>
                <c:pt idx="55389">
                  <c:v>187517</c:v>
                </c:pt>
                <c:pt idx="55390">
                  <c:v>50271</c:v>
                </c:pt>
                <c:pt idx="55391">
                  <c:v>25333</c:v>
                </c:pt>
                <c:pt idx="55392">
                  <c:v>41862</c:v>
                </c:pt>
                <c:pt idx="55393">
                  <c:v>47968</c:v>
                </c:pt>
                <c:pt idx="55394">
                  <c:v>37565</c:v>
                </c:pt>
                <c:pt idx="55395">
                  <c:v>62818</c:v>
                </c:pt>
                <c:pt idx="55396">
                  <c:v>24054</c:v>
                </c:pt>
                <c:pt idx="55397">
                  <c:v>48145</c:v>
                </c:pt>
                <c:pt idx="55398">
                  <c:v>32795</c:v>
                </c:pt>
                <c:pt idx="55399">
                  <c:v>81238</c:v>
                </c:pt>
                <c:pt idx="55400">
                  <c:v>45533</c:v>
                </c:pt>
                <c:pt idx="55401">
                  <c:v>121526</c:v>
                </c:pt>
                <c:pt idx="55402">
                  <c:v>25627</c:v>
                </c:pt>
                <c:pt idx="55403">
                  <c:v>46324</c:v>
                </c:pt>
                <c:pt idx="55404">
                  <c:v>35882</c:v>
                </c:pt>
                <c:pt idx="55405">
                  <c:v>25268</c:v>
                </c:pt>
                <c:pt idx="55406">
                  <c:v>112032</c:v>
                </c:pt>
                <c:pt idx="55407">
                  <c:v>40338</c:v>
                </c:pt>
                <c:pt idx="55408">
                  <c:v>60363</c:v>
                </c:pt>
                <c:pt idx="55409">
                  <c:v>40223</c:v>
                </c:pt>
                <c:pt idx="55410">
                  <c:v>96733</c:v>
                </c:pt>
                <c:pt idx="55411">
                  <c:v>21094</c:v>
                </c:pt>
                <c:pt idx="55412">
                  <c:v>104308</c:v>
                </c:pt>
                <c:pt idx="55413">
                  <c:v>49130</c:v>
                </c:pt>
                <c:pt idx="55414">
                  <c:v>54137</c:v>
                </c:pt>
                <c:pt idx="55415">
                  <c:v>26011</c:v>
                </c:pt>
                <c:pt idx="55416">
                  <c:v>121070</c:v>
                </c:pt>
                <c:pt idx="55417">
                  <c:v>36175</c:v>
                </c:pt>
                <c:pt idx="55418">
                  <c:v>44117</c:v>
                </c:pt>
                <c:pt idx="55419">
                  <c:v>110807</c:v>
                </c:pt>
                <c:pt idx="55420">
                  <c:v>36486</c:v>
                </c:pt>
                <c:pt idx="55421">
                  <c:v>110618</c:v>
                </c:pt>
                <c:pt idx="55422">
                  <c:v>181767</c:v>
                </c:pt>
                <c:pt idx="55423">
                  <c:v>215698</c:v>
                </c:pt>
                <c:pt idx="55424">
                  <c:v>35340</c:v>
                </c:pt>
                <c:pt idx="55425">
                  <c:v>126037</c:v>
                </c:pt>
                <c:pt idx="55426">
                  <c:v>36446</c:v>
                </c:pt>
                <c:pt idx="55427">
                  <c:v>44958</c:v>
                </c:pt>
                <c:pt idx="55428">
                  <c:v>36484</c:v>
                </c:pt>
                <c:pt idx="55429">
                  <c:v>87137</c:v>
                </c:pt>
                <c:pt idx="55430">
                  <c:v>242791</c:v>
                </c:pt>
                <c:pt idx="55431">
                  <c:v>42582</c:v>
                </c:pt>
                <c:pt idx="55432">
                  <c:v>67383</c:v>
                </c:pt>
                <c:pt idx="55433">
                  <c:v>23206</c:v>
                </c:pt>
                <c:pt idx="55434">
                  <c:v>26518</c:v>
                </c:pt>
                <c:pt idx="55435">
                  <c:v>62086</c:v>
                </c:pt>
                <c:pt idx="55436">
                  <c:v>96793</c:v>
                </c:pt>
                <c:pt idx="55437">
                  <c:v>128226</c:v>
                </c:pt>
                <c:pt idx="55438">
                  <c:v>31933</c:v>
                </c:pt>
                <c:pt idx="55439">
                  <c:v>106599</c:v>
                </c:pt>
                <c:pt idx="55440">
                  <c:v>55581</c:v>
                </c:pt>
                <c:pt idx="55441">
                  <c:v>110211</c:v>
                </c:pt>
                <c:pt idx="55442">
                  <c:v>35577</c:v>
                </c:pt>
                <c:pt idx="55443">
                  <c:v>63474</c:v>
                </c:pt>
                <c:pt idx="55444">
                  <c:v>48508</c:v>
                </c:pt>
                <c:pt idx="55445">
                  <c:v>44385</c:v>
                </c:pt>
                <c:pt idx="55446">
                  <c:v>51898</c:v>
                </c:pt>
                <c:pt idx="55447">
                  <c:v>34735</c:v>
                </c:pt>
                <c:pt idx="55448">
                  <c:v>34974</c:v>
                </c:pt>
                <c:pt idx="55449">
                  <c:v>46150</c:v>
                </c:pt>
                <c:pt idx="55450">
                  <c:v>25829</c:v>
                </c:pt>
                <c:pt idx="55451">
                  <c:v>42009</c:v>
                </c:pt>
                <c:pt idx="55452">
                  <c:v>50544</c:v>
                </c:pt>
                <c:pt idx="55453">
                  <c:v>56734</c:v>
                </c:pt>
                <c:pt idx="55454">
                  <c:v>61343</c:v>
                </c:pt>
                <c:pt idx="55455">
                  <c:v>41335</c:v>
                </c:pt>
                <c:pt idx="55456">
                  <c:v>51092</c:v>
                </c:pt>
                <c:pt idx="55457">
                  <c:v>121585</c:v>
                </c:pt>
                <c:pt idx="55458">
                  <c:v>64501</c:v>
                </c:pt>
                <c:pt idx="55459">
                  <c:v>31487</c:v>
                </c:pt>
                <c:pt idx="55460">
                  <c:v>86559</c:v>
                </c:pt>
                <c:pt idx="55461">
                  <c:v>63126</c:v>
                </c:pt>
                <c:pt idx="55462">
                  <c:v>626045</c:v>
                </c:pt>
                <c:pt idx="55463">
                  <c:v>50159</c:v>
                </c:pt>
                <c:pt idx="55464">
                  <c:v>110540</c:v>
                </c:pt>
                <c:pt idx="55465">
                  <c:v>122164</c:v>
                </c:pt>
                <c:pt idx="55466">
                  <c:v>138379</c:v>
                </c:pt>
                <c:pt idx="55467">
                  <c:v>23464</c:v>
                </c:pt>
                <c:pt idx="55468">
                  <c:v>26372</c:v>
                </c:pt>
                <c:pt idx="55469">
                  <c:v>38169</c:v>
                </c:pt>
                <c:pt idx="55470">
                  <c:v>38364</c:v>
                </c:pt>
                <c:pt idx="55471">
                  <c:v>28918</c:v>
                </c:pt>
                <c:pt idx="55472">
                  <c:v>62456</c:v>
                </c:pt>
                <c:pt idx="55473">
                  <c:v>138769</c:v>
                </c:pt>
                <c:pt idx="55474">
                  <c:v>55599</c:v>
                </c:pt>
                <c:pt idx="55475">
                  <c:v>48006</c:v>
                </c:pt>
                <c:pt idx="55476">
                  <c:v>31029</c:v>
                </c:pt>
                <c:pt idx="55477">
                  <c:v>43684</c:v>
                </c:pt>
                <c:pt idx="55478">
                  <c:v>34060</c:v>
                </c:pt>
                <c:pt idx="55479">
                  <c:v>44188</c:v>
                </c:pt>
                <c:pt idx="55480">
                  <c:v>28521</c:v>
                </c:pt>
                <c:pt idx="55481">
                  <c:v>44228</c:v>
                </c:pt>
                <c:pt idx="55482">
                  <c:v>79433</c:v>
                </c:pt>
                <c:pt idx="55483">
                  <c:v>33137</c:v>
                </c:pt>
                <c:pt idx="55484">
                  <c:v>128641</c:v>
                </c:pt>
                <c:pt idx="55485">
                  <c:v>26909</c:v>
                </c:pt>
                <c:pt idx="55486">
                  <c:v>28504</c:v>
                </c:pt>
                <c:pt idx="55487">
                  <c:v>111087</c:v>
                </c:pt>
                <c:pt idx="55488">
                  <c:v>287162</c:v>
                </c:pt>
                <c:pt idx="55489">
                  <c:v>39090</c:v>
                </c:pt>
                <c:pt idx="55490">
                  <c:v>51517</c:v>
                </c:pt>
                <c:pt idx="55491">
                  <c:v>47065</c:v>
                </c:pt>
                <c:pt idx="55492">
                  <c:v>36662</c:v>
                </c:pt>
                <c:pt idx="55493">
                  <c:v>87356</c:v>
                </c:pt>
                <c:pt idx="55494">
                  <c:v>79027</c:v>
                </c:pt>
                <c:pt idx="55495">
                  <c:v>32624</c:v>
                </c:pt>
                <c:pt idx="55496">
                  <c:v>107493</c:v>
                </c:pt>
                <c:pt idx="55497">
                  <c:v>86603</c:v>
                </c:pt>
                <c:pt idx="55498">
                  <c:v>35812</c:v>
                </c:pt>
                <c:pt idx="55499">
                  <c:v>60994</c:v>
                </c:pt>
                <c:pt idx="55500">
                  <c:v>117482</c:v>
                </c:pt>
                <c:pt idx="55501">
                  <c:v>37693</c:v>
                </c:pt>
                <c:pt idx="55502">
                  <c:v>61017</c:v>
                </c:pt>
                <c:pt idx="55503">
                  <c:v>51581</c:v>
                </c:pt>
                <c:pt idx="55504">
                  <c:v>23885</c:v>
                </c:pt>
                <c:pt idx="55505">
                  <c:v>38199</c:v>
                </c:pt>
                <c:pt idx="55506">
                  <c:v>15000</c:v>
                </c:pt>
                <c:pt idx="55507">
                  <c:v>26617</c:v>
                </c:pt>
                <c:pt idx="55508">
                  <c:v>264828</c:v>
                </c:pt>
                <c:pt idx="55509">
                  <c:v>45855</c:v>
                </c:pt>
                <c:pt idx="55510">
                  <c:v>27864</c:v>
                </c:pt>
                <c:pt idx="55511">
                  <c:v>41143</c:v>
                </c:pt>
                <c:pt idx="55512">
                  <c:v>49984</c:v>
                </c:pt>
                <c:pt idx="55513">
                  <c:v>119646</c:v>
                </c:pt>
                <c:pt idx="55514">
                  <c:v>54827</c:v>
                </c:pt>
                <c:pt idx="55515">
                  <c:v>202430</c:v>
                </c:pt>
                <c:pt idx="55516">
                  <c:v>201394</c:v>
                </c:pt>
                <c:pt idx="55517">
                  <c:v>45457</c:v>
                </c:pt>
                <c:pt idx="55518">
                  <c:v>51465</c:v>
                </c:pt>
                <c:pt idx="55519">
                  <c:v>28563</c:v>
                </c:pt>
                <c:pt idx="55520">
                  <c:v>54263</c:v>
                </c:pt>
                <c:pt idx="55521">
                  <c:v>104844</c:v>
                </c:pt>
                <c:pt idx="55522">
                  <c:v>52145</c:v>
                </c:pt>
                <c:pt idx="55523">
                  <c:v>34819</c:v>
                </c:pt>
                <c:pt idx="55524">
                  <c:v>32399</c:v>
                </c:pt>
                <c:pt idx="55525">
                  <c:v>26412</c:v>
                </c:pt>
                <c:pt idx="55526">
                  <c:v>23195</c:v>
                </c:pt>
                <c:pt idx="55527">
                  <c:v>76860</c:v>
                </c:pt>
                <c:pt idx="55528">
                  <c:v>51669</c:v>
                </c:pt>
                <c:pt idx="55529">
                  <c:v>81343</c:v>
                </c:pt>
                <c:pt idx="55530">
                  <c:v>24829</c:v>
                </c:pt>
                <c:pt idx="55531">
                  <c:v>42352</c:v>
                </c:pt>
                <c:pt idx="55532">
                  <c:v>73836</c:v>
                </c:pt>
                <c:pt idx="55533">
                  <c:v>22958</c:v>
                </c:pt>
                <c:pt idx="55534">
                  <c:v>185632</c:v>
                </c:pt>
                <c:pt idx="55535">
                  <c:v>36770</c:v>
                </c:pt>
                <c:pt idx="55536">
                  <c:v>88913</c:v>
                </c:pt>
                <c:pt idx="55537">
                  <c:v>37579</c:v>
                </c:pt>
                <c:pt idx="55538">
                  <c:v>32146</c:v>
                </c:pt>
                <c:pt idx="55539">
                  <c:v>73870</c:v>
                </c:pt>
                <c:pt idx="55540">
                  <c:v>32331</c:v>
                </c:pt>
                <c:pt idx="55541">
                  <c:v>48476</c:v>
                </c:pt>
                <c:pt idx="55542">
                  <c:v>320634</c:v>
                </c:pt>
                <c:pt idx="55543">
                  <c:v>41114</c:v>
                </c:pt>
                <c:pt idx="55544">
                  <c:v>84793</c:v>
                </c:pt>
                <c:pt idx="55545">
                  <c:v>27219</c:v>
                </c:pt>
                <c:pt idx="55546">
                  <c:v>51278</c:v>
                </c:pt>
                <c:pt idx="55547">
                  <c:v>32086</c:v>
                </c:pt>
                <c:pt idx="55548">
                  <c:v>84964</c:v>
                </c:pt>
                <c:pt idx="55549">
                  <c:v>21126</c:v>
                </c:pt>
                <c:pt idx="55550">
                  <c:v>106148</c:v>
                </c:pt>
                <c:pt idx="55551">
                  <c:v>75444</c:v>
                </c:pt>
                <c:pt idx="55552">
                  <c:v>55765</c:v>
                </c:pt>
                <c:pt idx="55553">
                  <c:v>134139</c:v>
                </c:pt>
                <c:pt idx="55554">
                  <c:v>94809</c:v>
                </c:pt>
                <c:pt idx="55555">
                  <c:v>32558</c:v>
                </c:pt>
                <c:pt idx="55556">
                  <c:v>32377</c:v>
                </c:pt>
                <c:pt idx="55557">
                  <c:v>25029</c:v>
                </c:pt>
                <c:pt idx="55558">
                  <c:v>31222</c:v>
                </c:pt>
                <c:pt idx="55559">
                  <c:v>48304</c:v>
                </c:pt>
                <c:pt idx="55560">
                  <c:v>94059</c:v>
                </c:pt>
                <c:pt idx="55561">
                  <c:v>76596</c:v>
                </c:pt>
                <c:pt idx="55562">
                  <c:v>52840</c:v>
                </c:pt>
                <c:pt idx="55563">
                  <c:v>34004</c:v>
                </c:pt>
                <c:pt idx="55564">
                  <c:v>28812</c:v>
                </c:pt>
                <c:pt idx="55565">
                  <c:v>333856</c:v>
                </c:pt>
                <c:pt idx="55566">
                  <c:v>27383</c:v>
                </c:pt>
                <c:pt idx="55567">
                  <c:v>49441</c:v>
                </c:pt>
                <c:pt idx="55568">
                  <c:v>31476</c:v>
                </c:pt>
                <c:pt idx="55569">
                  <c:v>40819</c:v>
                </c:pt>
                <c:pt idx="55570">
                  <c:v>37640</c:v>
                </c:pt>
                <c:pt idx="55571">
                  <c:v>27049</c:v>
                </c:pt>
                <c:pt idx="55572">
                  <c:v>49499</c:v>
                </c:pt>
                <c:pt idx="55573">
                  <c:v>39793</c:v>
                </c:pt>
                <c:pt idx="55574">
                  <c:v>27327</c:v>
                </c:pt>
                <c:pt idx="55575">
                  <c:v>62526</c:v>
                </c:pt>
                <c:pt idx="55576">
                  <c:v>195556</c:v>
                </c:pt>
                <c:pt idx="55577">
                  <c:v>28969</c:v>
                </c:pt>
                <c:pt idx="55578">
                  <c:v>26788</c:v>
                </c:pt>
                <c:pt idx="55579">
                  <c:v>43606</c:v>
                </c:pt>
                <c:pt idx="55580">
                  <c:v>171703</c:v>
                </c:pt>
                <c:pt idx="55581">
                  <c:v>41186</c:v>
                </c:pt>
                <c:pt idx="55582">
                  <c:v>90174</c:v>
                </c:pt>
                <c:pt idx="55583">
                  <c:v>35797</c:v>
                </c:pt>
                <c:pt idx="55584">
                  <c:v>20971</c:v>
                </c:pt>
                <c:pt idx="55585">
                  <c:v>30734</c:v>
                </c:pt>
                <c:pt idx="55586">
                  <c:v>26156</c:v>
                </c:pt>
                <c:pt idx="55587">
                  <c:v>41613</c:v>
                </c:pt>
                <c:pt idx="55588">
                  <c:v>63419</c:v>
                </c:pt>
                <c:pt idx="55589">
                  <c:v>193712</c:v>
                </c:pt>
                <c:pt idx="55590">
                  <c:v>24060</c:v>
                </c:pt>
                <c:pt idx="55591">
                  <c:v>44172</c:v>
                </c:pt>
                <c:pt idx="55592">
                  <c:v>236383</c:v>
                </c:pt>
                <c:pt idx="55593">
                  <c:v>22695</c:v>
                </c:pt>
                <c:pt idx="55594">
                  <c:v>99952</c:v>
                </c:pt>
                <c:pt idx="55595">
                  <c:v>75624</c:v>
                </c:pt>
                <c:pt idx="55596">
                  <c:v>45564</c:v>
                </c:pt>
                <c:pt idx="55597">
                  <c:v>76442</c:v>
                </c:pt>
                <c:pt idx="55598">
                  <c:v>18576</c:v>
                </c:pt>
                <c:pt idx="55599">
                  <c:v>115900</c:v>
                </c:pt>
                <c:pt idx="55600">
                  <c:v>24707</c:v>
                </c:pt>
                <c:pt idx="55601">
                  <c:v>32103</c:v>
                </c:pt>
                <c:pt idx="55602">
                  <c:v>24119</c:v>
                </c:pt>
                <c:pt idx="55603">
                  <c:v>29200</c:v>
                </c:pt>
                <c:pt idx="55604">
                  <c:v>31496</c:v>
                </c:pt>
                <c:pt idx="55605">
                  <c:v>29780</c:v>
                </c:pt>
                <c:pt idx="55606">
                  <c:v>45842</c:v>
                </c:pt>
                <c:pt idx="55607">
                  <c:v>38319</c:v>
                </c:pt>
                <c:pt idx="55608">
                  <c:v>38398</c:v>
                </c:pt>
                <c:pt idx="55609">
                  <c:v>282795</c:v>
                </c:pt>
                <c:pt idx="55610">
                  <c:v>41195</c:v>
                </c:pt>
                <c:pt idx="55611">
                  <c:v>60710</c:v>
                </c:pt>
                <c:pt idx="55612">
                  <c:v>44560</c:v>
                </c:pt>
                <c:pt idx="55613">
                  <c:v>58378</c:v>
                </c:pt>
                <c:pt idx="55614">
                  <c:v>23556</c:v>
                </c:pt>
                <c:pt idx="55615">
                  <c:v>37857</c:v>
                </c:pt>
                <c:pt idx="55616">
                  <c:v>108353</c:v>
                </c:pt>
                <c:pt idx="55617">
                  <c:v>39517</c:v>
                </c:pt>
                <c:pt idx="55618">
                  <c:v>60577</c:v>
                </c:pt>
                <c:pt idx="55619">
                  <c:v>24418</c:v>
                </c:pt>
                <c:pt idx="55620">
                  <c:v>58929</c:v>
                </c:pt>
                <c:pt idx="55621">
                  <c:v>29405</c:v>
                </c:pt>
                <c:pt idx="55622">
                  <c:v>40179</c:v>
                </c:pt>
                <c:pt idx="55623">
                  <c:v>101815</c:v>
                </c:pt>
                <c:pt idx="55624">
                  <c:v>40925</c:v>
                </c:pt>
                <c:pt idx="55625">
                  <c:v>45958</c:v>
                </c:pt>
                <c:pt idx="55626">
                  <c:v>128777</c:v>
                </c:pt>
                <c:pt idx="55627">
                  <c:v>42934</c:v>
                </c:pt>
                <c:pt idx="55628">
                  <c:v>76149</c:v>
                </c:pt>
                <c:pt idx="55629">
                  <c:v>38375</c:v>
                </c:pt>
                <c:pt idx="55630">
                  <c:v>45921</c:v>
                </c:pt>
                <c:pt idx="55631">
                  <c:v>23274</c:v>
                </c:pt>
                <c:pt idx="55632">
                  <c:v>25986</c:v>
                </c:pt>
                <c:pt idx="55633">
                  <c:v>29861</c:v>
                </c:pt>
                <c:pt idx="55634">
                  <c:v>37035</c:v>
                </c:pt>
                <c:pt idx="55635">
                  <c:v>49566</c:v>
                </c:pt>
                <c:pt idx="55636">
                  <c:v>79130</c:v>
                </c:pt>
                <c:pt idx="55637">
                  <c:v>48604</c:v>
                </c:pt>
                <c:pt idx="55638">
                  <c:v>41930</c:v>
                </c:pt>
                <c:pt idx="55639">
                  <c:v>33707</c:v>
                </c:pt>
                <c:pt idx="55640">
                  <c:v>98926</c:v>
                </c:pt>
                <c:pt idx="55641">
                  <c:v>57880</c:v>
                </c:pt>
                <c:pt idx="55642">
                  <c:v>59192</c:v>
                </c:pt>
                <c:pt idx="55643">
                  <c:v>56835</c:v>
                </c:pt>
                <c:pt idx="55644">
                  <c:v>34716</c:v>
                </c:pt>
                <c:pt idx="55645">
                  <c:v>31880</c:v>
                </c:pt>
                <c:pt idx="55646">
                  <c:v>85187</c:v>
                </c:pt>
                <c:pt idx="55647">
                  <c:v>61589</c:v>
                </c:pt>
                <c:pt idx="55648">
                  <c:v>68798</c:v>
                </c:pt>
                <c:pt idx="55649">
                  <c:v>91034</c:v>
                </c:pt>
                <c:pt idx="55650">
                  <c:v>48305</c:v>
                </c:pt>
                <c:pt idx="55651">
                  <c:v>50694</c:v>
                </c:pt>
                <c:pt idx="55652">
                  <c:v>51600</c:v>
                </c:pt>
                <c:pt idx="55653">
                  <c:v>38408</c:v>
                </c:pt>
                <c:pt idx="55654">
                  <c:v>47927</c:v>
                </c:pt>
                <c:pt idx="55655">
                  <c:v>65782</c:v>
                </c:pt>
                <c:pt idx="55656">
                  <c:v>54314</c:v>
                </c:pt>
                <c:pt idx="55657">
                  <c:v>43717</c:v>
                </c:pt>
                <c:pt idx="55658">
                  <c:v>86670</c:v>
                </c:pt>
                <c:pt idx="55659">
                  <c:v>32307</c:v>
                </c:pt>
                <c:pt idx="55660">
                  <c:v>34790</c:v>
                </c:pt>
                <c:pt idx="55661">
                  <c:v>101576</c:v>
                </c:pt>
                <c:pt idx="55662">
                  <c:v>54724</c:v>
                </c:pt>
                <c:pt idx="55663">
                  <c:v>29724</c:v>
                </c:pt>
                <c:pt idx="55664">
                  <c:v>32731</c:v>
                </c:pt>
                <c:pt idx="55665">
                  <c:v>62398</c:v>
                </c:pt>
                <c:pt idx="55666">
                  <c:v>41907</c:v>
                </c:pt>
                <c:pt idx="55667">
                  <c:v>32778</c:v>
                </c:pt>
                <c:pt idx="55668">
                  <c:v>69156</c:v>
                </c:pt>
                <c:pt idx="55669">
                  <c:v>23568</c:v>
                </c:pt>
                <c:pt idx="55670">
                  <c:v>37384</c:v>
                </c:pt>
                <c:pt idx="55671">
                  <c:v>121682</c:v>
                </c:pt>
                <c:pt idx="55672">
                  <c:v>27338</c:v>
                </c:pt>
                <c:pt idx="55673">
                  <c:v>29396</c:v>
                </c:pt>
                <c:pt idx="55674">
                  <c:v>93008</c:v>
                </c:pt>
                <c:pt idx="55675">
                  <c:v>40220</c:v>
                </c:pt>
                <c:pt idx="55676">
                  <c:v>38389</c:v>
                </c:pt>
                <c:pt idx="55677">
                  <c:v>47946</c:v>
                </c:pt>
                <c:pt idx="55678">
                  <c:v>321070</c:v>
                </c:pt>
                <c:pt idx="55679">
                  <c:v>43643</c:v>
                </c:pt>
                <c:pt idx="55680">
                  <c:v>45590</c:v>
                </c:pt>
                <c:pt idx="55681">
                  <c:v>59868</c:v>
                </c:pt>
                <c:pt idx="55682">
                  <c:v>51780</c:v>
                </c:pt>
                <c:pt idx="55683">
                  <c:v>41250</c:v>
                </c:pt>
                <c:pt idx="55684">
                  <c:v>124845</c:v>
                </c:pt>
                <c:pt idx="55685">
                  <c:v>30852</c:v>
                </c:pt>
                <c:pt idx="55686">
                  <c:v>50131</c:v>
                </c:pt>
                <c:pt idx="55687">
                  <c:v>148125</c:v>
                </c:pt>
                <c:pt idx="55688">
                  <c:v>33667</c:v>
                </c:pt>
                <c:pt idx="55689">
                  <c:v>47688</c:v>
                </c:pt>
                <c:pt idx="55690">
                  <c:v>123695</c:v>
                </c:pt>
                <c:pt idx="55691">
                  <c:v>31944</c:v>
                </c:pt>
                <c:pt idx="55692">
                  <c:v>168107</c:v>
                </c:pt>
                <c:pt idx="55693">
                  <c:v>55119</c:v>
                </c:pt>
                <c:pt idx="55694">
                  <c:v>25876</c:v>
                </c:pt>
                <c:pt idx="55695">
                  <c:v>32111</c:v>
                </c:pt>
                <c:pt idx="55696">
                  <c:v>47799</c:v>
                </c:pt>
                <c:pt idx="55697">
                  <c:v>24113</c:v>
                </c:pt>
                <c:pt idx="55698">
                  <c:v>30557</c:v>
                </c:pt>
                <c:pt idx="55699">
                  <c:v>24878</c:v>
                </c:pt>
                <c:pt idx="55700">
                  <c:v>96726</c:v>
                </c:pt>
                <c:pt idx="55701">
                  <c:v>26207</c:v>
                </c:pt>
                <c:pt idx="55702">
                  <c:v>33139</c:v>
                </c:pt>
                <c:pt idx="55703">
                  <c:v>43453</c:v>
                </c:pt>
                <c:pt idx="55704">
                  <c:v>43545</c:v>
                </c:pt>
                <c:pt idx="55705">
                  <c:v>40042</c:v>
                </c:pt>
                <c:pt idx="55706">
                  <c:v>23407</c:v>
                </c:pt>
                <c:pt idx="55707">
                  <c:v>140163</c:v>
                </c:pt>
                <c:pt idx="55708">
                  <c:v>62820</c:v>
                </c:pt>
                <c:pt idx="55709">
                  <c:v>21922</c:v>
                </c:pt>
                <c:pt idx="55710">
                  <c:v>36522</c:v>
                </c:pt>
                <c:pt idx="55711">
                  <c:v>41492</c:v>
                </c:pt>
                <c:pt idx="55712">
                  <c:v>79465</c:v>
                </c:pt>
                <c:pt idx="55713">
                  <c:v>61641</c:v>
                </c:pt>
                <c:pt idx="55714">
                  <c:v>32062</c:v>
                </c:pt>
                <c:pt idx="55715">
                  <c:v>35480</c:v>
                </c:pt>
                <c:pt idx="55716">
                  <c:v>75922</c:v>
                </c:pt>
                <c:pt idx="55717">
                  <c:v>32113</c:v>
                </c:pt>
                <c:pt idx="55718">
                  <c:v>29891</c:v>
                </c:pt>
                <c:pt idx="55719">
                  <c:v>174194</c:v>
                </c:pt>
                <c:pt idx="55720">
                  <c:v>29286</c:v>
                </c:pt>
                <c:pt idx="55721">
                  <c:v>142529</c:v>
                </c:pt>
                <c:pt idx="55722">
                  <c:v>45722</c:v>
                </c:pt>
                <c:pt idx="55723">
                  <c:v>89303</c:v>
                </c:pt>
                <c:pt idx="55724">
                  <c:v>59981</c:v>
                </c:pt>
                <c:pt idx="55725">
                  <c:v>64668</c:v>
                </c:pt>
                <c:pt idx="55726">
                  <c:v>36833</c:v>
                </c:pt>
                <c:pt idx="55727">
                  <c:v>28848</c:v>
                </c:pt>
                <c:pt idx="55728">
                  <c:v>154844</c:v>
                </c:pt>
                <c:pt idx="55729">
                  <c:v>43486</c:v>
                </c:pt>
                <c:pt idx="55730">
                  <c:v>91946</c:v>
                </c:pt>
                <c:pt idx="55731">
                  <c:v>15000</c:v>
                </c:pt>
                <c:pt idx="55732">
                  <c:v>44154</c:v>
                </c:pt>
                <c:pt idx="55733">
                  <c:v>100521</c:v>
                </c:pt>
                <c:pt idx="55734">
                  <c:v>46014</c:v>
                </c:pt>
                <c:pt idx="55735">
                  <c:v>26009</c:v>
                </c:pt>
                <c:pt idx="55736">
                  <c:v>72479</c:v>
                </c:pt>
                <c:pt idx="55737">
                  <c:v>47514</c:v>
                </c:pt>
                <c:pt idx="55738">
                  <c:v>34918</c:v>
                </c:pt>
                <c:pt idx="55739">
                  <c:v>27081</c:v>
                </c:pt>
                <c:pt idx="55740">
                  <c:v>42757</c:v>
                </c:pt>
                <c:pt idx="55741">
                  <c:v>25108</c:v>
                </c:pt>
                <c:pt idx="55742">
                  <c:v>62253</c:v>
                </c:pt>
                <c:pt idx="55743">
                  <c:v>178940</c:v>
                </c:pt>
                <c:pt idx="55744">
                  <c:v>192929</c:v>
                </c:pt>
                <c:pt idx="55745">
                  <c:v>24815</c:v>
                </c:pt>
                <c:pt idx="55746">
                  <c:v>106897</c:v>
                </c:pt>
                <c:pt idx="55747">
                  <c:v>48366</c:v>
                </c:pt>
                <c:pt idx="55748">
                  <c:v>39062</c:v>
                </c:pt>
                <c:pt idx="55749">
                  <c:v>54282</c:v>
                </c:pt>
                <c:pt idx="55750">
                  <c:v>387093</c:v>
                </c:pt>
                <c:pt idx="55751">
                  <c:v>57883</c:v>
                </c:pt>
                <c:pt idx="55752">
                  <c:v>45508</c:v>
                </c:pt>
                <c:pt idx="55753">
                  <c:v>84742</c:v>
                </c:pt>
                <c:pt idx="55754">
                  <c:v>31034</c:v>
                </c:pt>
                <c:pt idx="55755">
                  <c:v>28702</c:v>
                </c:pt>
                <c:pt idx="55756">
                  <c:v>86912</c:v>
                </c:pt>
                <c:pt idx="55757">
                  <c:v>78331</c:v>
                </c:pt>
                <c:pt idx="55758">
                  <c:v>61569</c:v>
                </c:pt>
                <c:pt idx="55759">
                  <c:v>24560</c:v>
                </c:pt>
                <c:pt idx="55760">
                  <c:v>137047</c:v>
                </c:pt>
                <c:pt idx="55761">
                  <c:v>106293</c:v>
                </c:pt>
                <c:pt idx="55762">
                  <c:v>27489</c:v>
                </c:pt>
                <c:pt idx="55763">
                  <c:v>57832</c:v>
                </c:pt>
                <c:pt idx="55764">
                  <c:v>30313</c:v>
                </c:pt>
                <c:pt idx="55765">
                  <c:v>40408</c:v>
                </c:pt>
                <c:pt idx="55766">
                  <c:v>56632</c:v>
                </c:pt>
                <c:pt idx="55767">
                  <c:v>22431</c:v>
                </c:pt>
                <c:pt idx="55768">
                  <c:v>27747</c:v>
                </c:pt>
                <c:pt idx="55769">
                  <c:v>48239</c:v>
                </c:pt>
                <c:pt idx="55770">
                  <c:v>51356</c:v>
                </c:pt>
                <c:pt idx="55771">
                  <c:v>169956</c:v>
                </c:pt>
                <c:pt idx="55772">
                  <c:v>61087</c:v>
                </c:pt>
                <c:pt idx="55773">
                  <c:v>32263</c:v>
                </c:pt>
                <c:pt idx="55774">
                  <c:v>111768</c:v>
                </c:pt>
                <c:pt idx="55775">
                  <c:v>104835</c:v>
                </c:pt>
                <c:pt idx="55776">
                  <c:v>58667</c:v>
                </c:pt>
                <c:pt idx="55777">
                  <c:v>141940</c:v>
                </c:pt>
                <c:pt idx="55778">
                  <c:v>60162</c:v>
                </c:pt>
                <c:pt idx="55779">
                  <c:v>37806</c:v>
                </c:pt>
                <c:pt idx="55780">
                  <c:v>70448</c:v>
                </c:pt>
                <c:pt idx="55781">
                  <c:v>82817</c:v>
                </c:pt>
                <c:pt idx="55782">
                  <c:v>27635</c:v>
                </c:pt>
                <c:pt idx="55783">
                  <c:v>86175</c:v>
                </c:pt>
                <c:pt idx="55784">
                  <c:v>34466</c:v>
                </c:pt>
                <c:pt idx="55785">
                  <c:v>24580</c:v>
                </c:pt>
                <c:pt idx="55786">
                  <c:v>25700</c:v>
                </c:pt>
                <c:pt idx="55787">
                  <c:v>34629</c:v>
                </c:pt>
                <c:pt idx="55788">
                  <c:v>39732</c:v>
                </c:pt>
                <c:pt idx="55789">
                  <c:v>35761</c:v>
                </c:pt>
                <c:pt idx="55790">
                  <c:v>26203</c:v>
                </c:pt>
                <c:pt idx="55791">
                  <c:v>71705</c:v>
                </c:pt>
                <c:pt idx="55792">
                  <c:v>52677</c:v>
                </c:pt>
                <c:pt idx="55793">
                  <c:v>85517</c:v>
                </c:pt>
                <c:pt idx="55794">
                  <c:v>79878</c:v>
                </c:pt>
                <c:pt idx="55795">
                  <c:v>23993</c:v>
                </c:pt>
                <c:pt idx="55796">
                  <c:v>43518</c:v>
                </c:pt>
                <c:pt idx="55797">
                  <c:v>34182</c:v>
                </c:pt>
                <c:pt idx="55798">
                  <c:v>62184</c:v>
                </c:pt>
                <c:pt idx="55799">
                  <c:v>37985</c:v>
                </c:pt>
                <c:pt idx="55800">
                  <c:v>159386</c:v>
                </c:pt>
                <c:pt idx="55801">
                  <c:v>29748</c:v>
                </c:pt>
                <c:pt idx="55802">
                  <c:v>30436</c:v>
                </c:pt>
                <c:pt idx="55803">
                  <c:v>38379</c:v>
                </c:pt>
                <c:pt idx="55804">
                  <c:v>31035</c:v>
                </c:pt>
                <c:pt idx="55805">
                  <c:v>33849</c:v>
                </c:pt>
                <c:pt idx="55806">
                  <c:v>40013</c:v>
                </c:pt>
                <c:pt idx="55807">
                  <c:v>28034</c:v>
                </c:pt>
                <c:pt idx="55808">
                  <c:v>24371</c:v>
                </c:pt>
                <c:pt idx="55809">
                  <c:v>84668</c:v>
                </c:pt>
                <c:pt idx="55810">
                  <c:v>65761</c:v>
                </c:pt>
                <c:pt idx="55811">
                  <c:v>57776</c:v>
                </c:pt>
                <c:pt idx="55812">
                  <c:v>22594</c:v>
                </c:pt>
                <c:pt idx="55813">
                  <c:v>144103</c:v>
                </c:pt>
                <c:pt idx="55814">
                  <c:v>147216</c:v>
                </c:pt>
                <c:pt idx="55815">
                  <c:v>49797</c:v>
                </c:pt>
                <c:pt idx="55816">
                  <c:v>146450</c:v>
                </c:pt>
                <c:pt idx="55817">
                  <c:v>68680</c:v>
                </c:pt>
                <c:pt idx="55818">
                  <c:v>59610</c:v>
                </c:pt>
                <c:pt idx="55819">
                  <c:v>39726</c:v>
                </c:pt>
                <c:pt idx="55820">
                  <c:v>23676</c:v>
                </c:pt>
                <c:pt idx="55821">
                  <c:v>24339</c:v>
                </c:pt>
                <c:pt idx="55822">
                  <c:v>46079</c:v>
                </c:pt>
                <c:pt idx="55823">
                  <c:v>45146</c:v>
                </c:pt>
                <c:pt idx="55824">
                  <c:v>67143</c:v>
                </c:pt>
                <c:pt idx="55825">
                  <c:v>30244</c:v>
                </c:pt>
                <c:pt idx="55826">
                  <c:v>52019</c:v>
                </c:pt>
                <c:pt idx="55827">
                  <c:v>77109</c:v>
                </c:pt>
                <c:pt idx="55828">
                  <c:v>29532</c:v>
                </c:pt>
                <c:pt idx="55829">
                  <c:v>39019</c:v>
                </c:pt>
                <c:pt idx="55830">
                  <c:v>27569</c:v>
                </c:pt>
                <c:pt idx="55831">
                  <c:v>142736</c:v>
                </c:pt>
                <c:pt idx="55832">
                  <c:v>23468</c:v>
                </c:pt>
                <c:pt idx="55833">
                  <c:v>41935</c:v>
                </c:pt>
                <c:pt idx="55834">
                  <c:v>189676</c:v>
                </c:pt>
                <c:pt idx="55835">
                  <c:v>59213</c:v>
                </c:pt>
                <c:pt idx="55836">
                  <c:v>249616</c:v>
                </c:pt>
                <c:pt idx="55837">
                  <c:v>38912</c:v>
                </c:pt>
                <c:pt idx="55838">
                  <c:v>253372</c:v>
                </c:pt>
                <c:pt idx="55839">
                  <c:v>213666</c:v>
                </c:pt>
                <c:pt idx="55840">
                  <c:v>147084</c:v>
                </c:pt>
                <c:pt idx="55841">
                  <c:v>33025</c:v>
                </c:pt>
                <c:pt idx="55842">
                  <c:v>22101</c:v>
                </c:pt>
                <c:pt idx="55843">
                  <c:v>34546</c:v>
                </c:pt>
                <c:pt idx="55844">
                  <c:v>54848</c:v>
                </c:pt>
                <c:pt idx="55845">
                  <c:v>32067</c:v>
                </c:pt>
                <c:pt idx="55846">
                  <c:v>50521</c:v>
                </c:pt>
                <c:pt idx="55847">
                  <c:v>32907</c:v>
                </c:pt>
                <c:pt idx="55848">
                  <c:v>146616</c:v>
                </c:pt>
                <c:pt idx="55849">
                  <c:v>164806</c:v>
                </c:pt>
                <c:pt idx="55850">
                  <c:v>38388</c:v>
                </c:pt>
                <c:pt idx="55851">
                  <c:v>28612</c:v>
                </c:pt>
                <c:pt idx="55852">
                  <c:v>27827</c:v>
                </c:pt>
                <c:pt idx="55853">
                  <c:v>94792</c:v>
                </c:pt>
                <c:pt idx="55854">
                  <c:v>40747</c:v>
                </c:pt>
                <c:pt idx="55855">
                  <c:v>97810</c:v>
                </c:pt>
                <c:pt idx="55856">
                  <c:v>26868</c:v>
                </c:pt>
                <c:pt idx="55857">
                  <c:v>26670</c:v>
                </c:pt>
                <c:pt idx="55858">
                  <c:v>28702</c:v>
                </c:pt>
                <c:pt idx="55859">
                  <c:v>205249</c:v>
                </c:pt>
                <c:pt idx="55860">
                  <c:v>55865</c:v>
                </c:pt>
                <c:pt idx="55861">
                  <c:v>258101</c:v>
                </c:pt>
                <c:pt idx="55862">
                  <c:v>102119</c:v>
                </c:pt>
                <c:pt idx="55863">
                  <c:v>42771</c:v>
                </c:pt>
                <c:pt idx="55864">
                  <c:v>61035</c:v>
                </c:pt>
                <c:pt idx="55865">
                  <c:v>39073</c:v>
                </c:pt>
                <c:pt idx="55866">
                  <c:v>79773</c:v>
                </c:pt>
                <c:pt idx="55867">
                  <c:v>39908</c:v>
                </c:pt>
                <c:pt idx="55868">
                  <c:v>35177</c:v>
                </c:pt>
                <c:pt idx="55869">
                  <c:v>33728</c:v>
                </c:pt>
                <c:pt idx="55870">
                  <c:v>59734</c:v>
                </c:pt>
                <c:pt idx="55871">
                  <c:v>48401</c:v>
                </c:pt>
                <c:pt idx="55872">
                  <c:v>38708</c:v>
                </c:pt>
                <c:pt idx="55873">
                  <c:v>42961</c:v>
                </c:pt>
                <c:pt idx="55874">
                  <c:v>57805</c:v>
                </c:pt>
                <c:pt idx="55875">
                  <c:v>73568</c:v>
                </c:pt>
                <c:pt idx="55876">
                  <c:v>38777</c:v>
                </c:pt>
                <c:pt idx="55877">
                  <c:v>164317</c:v>
                </c:pt>
                <c:pt idx="55878">
                  <c:v>104491</c:v>
                </c:pt>
                <c:pt idx="55879">
                  <c:v>168800</c:v>
                </c:pt>
                <c:pt idx="55880">
                  <c:v>102563</c:v>
                </c:pt>
                <c:pt idx="55881">
                  <c:v>42248</c:v>
                </c:pt>
                <c:pt idx="55882">
                  <c:v>46204</c:v>
                </c:pt>
                <c:pt idx="55883">
                  <c:v>137673</c:v>
                </c:pt>
                <c:pt idx="55884">
                  <c:v>43376</c:v>
                </c:pt>
                <c:pt idx="55885">
                  <c:v>27569</c:v>
                </c:pt>
                <c:pt idx="55886">
                  <c:v>24517</c:v>
                </c:pt>
                <c:pt idx="55887">
                  <c:v>36905</c:v>
                </c:pt>
                <c:pt idx="55888">
                  <c:v>51333</c:v>
                </c:pt>
                <c:pt idx="55889">
                  <c:v>33600</c:v>
                </c:pt>
                <c:pt idx="55890">
                  <c:v>64234</c:v>
                </c:pt>
                <c:pt idx="55891">
                  <c:v>46602</c:v>
                </c:pt>
                <c:pt idx="55892">
                  <c:v>48561</c:v>
                </c:pt>
                <c:pt idx="55893">
                  <c:v>48706</c:v>
                </c:pt>
                <c:pt idx="55894">
                  <c:v>103631</c:v>
                </c:pt>
                <c:pt idx="55895">
                  <c:v>65371</c:v>
                </c:pt>
                <c:pt idx="55896">
                  <c:v>34054</c:v>
                </c:pt>
                <c:pt idx="55897">
                  <c:v>27390</c:v>
                </c:pt>
                <c:pt idx="55898">
                  <c:v>46197</c:v>
                </c:pt>
                <c:pt idx="55899">
                  <c:v>65308</c:v>
                </c:pt>
                <c:pt idx="55900">
                  <c:v>35346</c:v>
                </c:pt>
                <c:pt idx="55901">
                  <c:v>63257</c:v>
                </c:pt>
                <c:pt idx="55902">
                  <c:v>22515</c:v>
                </c:pt>
                <c:pt idx="55903">
                  <c:v>70219</c:v>
                </c:pt>
                <c:pt idx="55904">
                  <c:v>24917</c:v>
                </c:pt>
                <c:pt idx="55905">
                  <c:v>37543</c:v>
                </c:pt>
                <c:pt idx="55906">
                  <c:v>125583</c:v>
                </c:pt>
                <c:pt idx="55907">
                  <c:v>26445</c:v>
                </c:pt>
                <c:pt idx="55908">
                  <c:v>113568</c:v>
                </c:pt>
                <c:pt idx="55909">
                  <c:v>87512</c:v>
                </c:pt>
                <c:pt idx="55910">
                  <c:v>40688</c:v>
                </c:pt>
                <c:pt idx="55911">
                  <c:v>109811</c:v>
                </c:pt>
                <c:pt idx="55912">
                  <c:v>55486</c:v>
                </c:pt>
                <c:pt idx="55913">
                  <c:v>40521</c:v>
                </c:pt>
                <c:pt idx="55914">
                  <c:v>26021</c:v>
                </c:pt>
                <c:pt idx="55915">
                  <c:v>40326</c:v>
                </c:pt>
                <c:pt idx="55916">
                  <c:v>166728</c:v>
                </c:pt>
                <c:pt idx="55917">
                  <c:v>79880</c:v>
                </c:pt>
                <c:pt idx="55918">
                  <c:v>57246</c:v>
                </c:pt>
                <c:pt idx="55919">
                  <c:v>35547</c:v>
                </c:pt>
                <c:pt idx="55920">
                  <c:v>47340</c:v>
                </c:pt>
                <c:pt idx="55921">
                  <c:v>152187</c:v>
                </c:pt>
                <c:pt idx="55922">
                  <c:v>66597</c:v>
                </c:pt>
                <c:pt idx="55923">
                  <c:v>43798</c:v>
                </c:pt>
                <c:pt idx="55924">
                  <c:v>39833</c:v>
                </c:pt>
                <c:pt idx="55925">
                  <c:v>34931</c:v>
                </c:pt>
                <c:pt idx="55926">
                  <c:v>47773</c:v>
                </c:pt>
                <c:pt idx="55927">
                  <c:v>81111</c:v>
                </c:pt>
                <c:pt idx="55928">
                  <c:v>29813</c:v>
                </c:pt>
                <c:pt idx="55929">
                  <c:v>35061</c:v>
                </c:pt>
                <c:pt idx="55930">
                  <c:v>51604</c:v>
                </c:pt>
                <c:pt idx="55931">
                  <c:v>59026</c:v>
                </c:pt>
                <c:pt idx="55932">
                  <c:v>22501</c:v>
                </c:pt>
                <c:pt idx="55933">
                  <c:v>46690</c:v>
                </c:pt>
                <c:pt idx="55934">
                  <c:v>31846</c:v>
                </c:pt>
                <c:pt idx="55935">
                  <c:v>49298</c:v>
                </c:pt>
                <c:pt idx="55936">
                  <c:v>36470</c:v>
                </c:pt>
                <c:pt idx="55937">
                  <c:v>27996</c:v>
                </c:pt>
                <c:pt idx="55938">
                  <c:v>25522</c:v>
                </c:pt>
                <c:pt idx="55939">
                  <c:v>91270</c:v>
                </c:pt>
                <c:pt idx="55940">
                  <c:v>222407</c:v>
                </c:pt>
                <c:pt idx="55941">
                  <c:v>36617</c:v>
                </c:pt>
                <c:pt idx="55942">
                  <c:v>32194</c:v>
                </c:pt>
                <c:pt idx="55943">
                  <c:v>39170</c:v>
                </c:pt>
                <c:pt idx="55944">
                  <c:v>40852</c:v>
                </c:pt>
                <c:pt idx="55945">
                  <c:v>170775</c:v>
                </c:pt>
                <c:pt idx="55946">
                  <c:v>45119</c:v>
                </c:pt>
                <c:pt idx="55947">
                  <c:v>211951</c:v>
                </c:pt>
                <c:pt idx="55948">
                  <c:v>94547</c:v>
                </c:pt>
                <c:pt idx="55949">
                  <c:v>23861</c:v>
                </c:pt>
                <c:pt idx="55950">
                  <c:v>34223</c:v>
                </c:pt>
                <c:pt idx="55951">
                  <c:v>40158</c:v>
                </c:pt>
                <c:pt idx="55952">
                  <c:v>56490</c:v>
                </c:pt>
                <c:pt idx="55953">
                  <c:v>35006</c:v>
                </c:pt>
                <c:pt idx="55954">
                  <c:v>40027</c:v>
                </c:pt>
                <c:pt idx="55955">
                  <c:v>142398</c:v>
                </c:pt>
                <c:pt idx="55956">
                  <c:v>60511</c:v>
                </c:pt>
                <c:pt idx="55957">
                  <c:v>25588</c:v>
                </c:pt>
                <c:pt idx="55958">
                  <c:v>25411</c:v>
                </c:pt>
                <c:pt idx="55959">
                  <c:v>74125</c:v>
                </c:pt>
                <c:pt idx="55960">
                  <c:v>24388</c:v>
                </c:pt>
                <c:pt idx="55961">
                  <c:v>53453</c:v>
                </c:pt>
                <c:pt idx="55962">
                  <c:v>23867</c:v>
                </c:pt>
                <c:pt idx="55963">
                  <c:v>27563</c:v>
                </c:pt>
                <c:pt idx="55964">
                  <c:v>22094</c:v>
                </c:pt>
                <c:pt idx="55965">
                  <c:v>100265</c:v>
                </c:pt>
                <c:pt idx="55966">
                  <c:v>31227</c:v>
                </c:pt>
                <c:pt idx="55967">
                  <c:v>38449</c:v>
                </c:pt>
                <c:pt idx="55968">
                  <c:v>45305</c:v>
                </c:pt>
                <c:pt idx="55969">
                  <c:v>109803</c:v>
                </c:pt>
                <c:pt idx="55970">
                  <c:v>74953</c:v>
                </c:pt>
                <c:pt idx="55971">
                  <c:v>134189</c:v>
                </c:pt>
                <c:pt idx="55972">
                  <c:v>23434</c:v>
                </c:pt>
                <c:pt idx="55973">
                  <c:v>35359</c:v>
                </c:pt>
                <c:pt idx="55974">
                  <c:v>45975</c:v>
                </c:pt>
                <c:pt idx="55975">
                  <c:v>51023</c:v>
                </c:pt>
                <c:pt idx="55976">
                  <c:v>38162</c:v>
                </c:pt>
                <c:pt idx="55977">
                  <c:v>40117</c:v>
                </c:pt>
                <c:pt idx="55978">
                  <c:v>50981</c:v>
                </c:pt>
                <c:pt idx="55979">
                  <c:v>21137</c:v>
                </c:pt>
                <c:pt idx="55980">
                  <c:v>77341</c:v>
                </c:pt>
                <c:pt idx="55981">
                  <c:v>62826</c:v>
                </c:pt>
                <c:pt idx="55982">
                  <c:v>31922</c:v>
                </c:pt>
                <c:pt idx="55983">
                  <c:v>38411</c:v>
                </c:pt>
                <c:pt idx="55984">
                  <c:v>45019</c:v>
                </c:pt>
                <c:pt idx="55985">
                  <c:v>40672</c:v>
                </c:pt>
                <c:pt idx="55986">
                  <c:v>40749</c:v>
                </c:pt>
                <c:pt idx="55987">
                  <c:v>46491</c:v>
                </c:pt>
                <c:pt idx="55988">
                  <c:v>54262</c:v>
                </c:pt>
                <c:pt idx="55989">
                  <c:v>93428</c:v>
                </c:pt>
                <c:pt idx="55990">
                  <c:v>119816</c:v>
                </c:pt>
                <c:pt idx="55991">
                  <c:v>37945</c:v>
                </c:pt>
                <c:pt idx="55992">
                  <c:v>45413</c:v>
                </c:pt>
                <c:pt idx="55993">
                  <c:v>59784</c:v>
                </c:pt>
                <c:pt idx="55994">
                  <c:v>68812</c:v>
                </c:pt>
                <c:pt idx="55995">
                  <c:v>63773</c:v>
                </c:pt>
                <c:pt idx="55996">
                  <c:v>146293</c:v>
                </c:pt>
                <c:pt idx="55997">
                  <c:v>38988</c:v>
                </c:pt>
                <c:pt idx="55998">
                  <c:v>76423</c:v>
                </c:pt>
                <c:pt idx="55999">
                  <c:v>31011</c:v>
                </c:pt>
                <c:pt idx="56000">
                  <c:v>125160</c:v>
                </c:pt>
                <c:pt idx="56001">
                  <c:v>23885</c:v>
                </c:pt>
                <c:pt idx="56002">
                  <c:v>87731</c:v>
                </c:pt>
                <c:pt idx="56003">
                  <c:v>74155</c:v>
                </c:pt>
                <c:pt idx="56004">
                  <c:v>74345</c:v>
                </c:pt>
                <c:pt idx="56005">
                  <c:v>53464</c:v>
                </c:pt>
                <c:pt idx="56006">
                  <c:v>414524</c:v>
                </c:pt>
                <c:pt idx="56007">
                  <c:v>43248</c:v>
                </c:pt>
                <c:pt idx="56008">
                  <c:v>66077</c:v>
                </c:pt>
                <c:pt idx="56009">
                  <c:v>122846</c:v>
                </c:pt>
                <c:pt idx="56010">
                  <c:v>45441</c:v>
                </c:pt>
                <c:pt idx="56011">
                  <c:v>256975</c:v>
                </c:pt>
                <c:pt idx="56012">
                  <c:v>22687</c:v>
                </c:pt>
                <c:pt idx="56013">
                  <c:v>26458</c:v>
                </c:pt>
                <c:pt idx="56014">
                  <c:v>51238</c:v>
                </c:pt>
                <c:pt idx="56015">
                  <c:v>44467</c:v>
                </c:pt>
                <c:pt idx="56016">
                  <c:v>41405</c:v>
                </c:pt>
                <c:pt idx="56017">
                  <c:v>141465</c:v>
                </c:pt>
                <c:pt idx="56018">
                  <c:v>186497</c:v>
                </c:pt>
                <c:pt idx="56019">
                  <c:v>31393</c:v>
                </c:pt>
                <c:pt idx="56020">
                  <c:v>32940</c:v>
                </c:pt>
                <c:pt idx="56021">
                  <c:v>36336</c:v>
                </c:pt>
                <c:pt idx="56022">
                  <c:v>28234</c:v>
                </c:pt>
                <c:pt idx="56023">
                  <c:v>48685</c:v>
                </c:pt>
                <c:pt idx="56024">
                  <c:v>75653</c:v>
                </c:pt>
                <c:pt idx="56025">
                  <c:v>40082</c:v>
                </c:pt>
                <c:pt idx="56026">
                  <c:v>31064</c:v>
                </c:pt>
                <c:pt idx="56027">
                  <c:v>45297</c:v>
                </c:pt>
                <c:pt idx="56028">
                  <c:v>24013</c:v>
                </c:pt>
                <c:pt idx="56029">
                  <c:v>36925</c:v>
                </c:pt>
                <c:pt idx="56030">
                  <c:v>31641</c:v>
                </c:pt>
                <c:pt idx="56031">
                  <c:v>47395</c:v>
                </c:pt>
                <c:pt idx="56032">
                  <c:v>19359</c:v>
                </c:pt>
                <c:pt idx="56033">
                  <c:v>32031</c:v>
                </c:pt>
                <c:pt idx="56034">
                  <c:v>41563</c:v>
                </c:pt>
                <c:pt idx="56035">
                  <c:v>27216</c:v>
                </c:pt>
                <c:pt idx="56036">
                  <c:v>47658</c:v>
                </c:pt>
                <c:pt idx="56037">
                  <c:v>194423</c:v>
                </c:pt>
                <c:pt idx="56038">
                  <c:v>39257</c:v>
                </c:pt>
                <c:pt idx="56039">
                  <c:v>142205</c:v>
                </c:pt>
                <c:pt idx="56040">
                  <c:v>28192</c:v>
                </c:pt>
                <c:pt idx="56041">
                  <c:v>198680</c:v>
                </c:pt>
                <c:pt idx="56042">
                  <c:v>42084</c:v>
                </c:pt>
                <c:pt idx="56043">
                  <c:v>106235</c:v>
                </c:pt>
                <c:pt idx="56044">
                  <c:v>22212</c:v>
                </c:pt>
                <c:pt idx="56045">
                  <c:v>43847</c:v>
                </c:pt>
                <c:pt idx="56046">
                  <c:v>151655</c:v>
                </c:pt>
                <c:pt idx="56047">
                  <c:v>34114</c:v>
                </c:pt>
                <c:pt idx="56048">
                  <c:v>23942</c:v>
                </c:pt>
                <c:pt idx="56049">
                  <c:v>67932</c:v>
                </c:pt>
                <c:pt idx="56050">
                  <c:v>32658</c:v>
                </c:pt>
                <c:pt idx="56051">
                  <c:v>77972</c:v>
                </c:pt>
                <c:pt idx="56052">
                  <c:v>34299</c:v>
                </c:pt>
                <c:pt idx="56053">
                  <c:v>38108</c:v>
                </c:pt>
                <c:pt idx="56054">
                  <c:v>82244</c:v>
                </c:pt>
                <c:pt idx="56055">
                  <c:v>31398</c:v>
                </c:pt>
                <c:pt idx="56056">
                  <c:v>22340</c:v>
                </c:pt>
                <c:pt idx="56057">
                  <c:v>179491</c:v>
                </c:pt>
                <c:pt idx="56058">
                  <c:v>167830</c:v>
                </c:pt>
                <c:pt idx="56059">
                  <c:v>31657</c:v>
                </c:pt>
                <c:pt idx="56060">
                  <c:v>50534</c:v>
                </c:pt>
                <c:pt idx="56061">
                  <c:v>47285</c:v>
                </c:pt>
                <c:pt idx="56062">
                  <c:v>29913</c:v>
                </c:pt>
                <c:pt idx="56063">
                  <c:v>99383</c:v>
                </c:pt>
                <c:pt idx="56064">
                  <c:v>33576</c:v>
                </c:pt>
                <c:pt idx="56065">
                  <c:v>43574</c:v>
                </c:pt>
                <c:pt idx="56066">
                  <c:v>23889</c:v>
                </c:pt>
                <c:pt idx="56067">
                  <c:v>102843</c:v>
                </c:pt>
                <c:pt idx="56068">
                  <c:v>32062</c:v>
                </c:pt>
                <c:pt idx="56069">
                  <c:v>41945</c:v>
                </c:pt>
                <c:pt idx="56070">
                  <c:v>40923</c:v>
                </c:pt>
                <c:pt idx="56071">
                  <c:v>97635</c:v>
                </c:pt>
                <c:pt idx="56072">
                  <c:v>33381</c:v>
                </c:pt>
                <c:pt idx="56073">
                  <c:v>32528</c:v>
                </c:pt>
                <c:pt idx="56074">
                  <c:v>39788</c:v>
                </c:pt>
                <c:pt idx="56075">
                  <c:v>25809</c:v>
                </c:pt>
                <c:pt idx="56076">
                  <c:v>41855</c:v>
                </c:pt>
                <c:pt idx="56077">
                  <c:v>37498</c:v>
                </c:pt>
                <c:pt idx="56078">
                  <c:v>97177</c:v>
                </c:pt>
                <c:pt idx="56079">
                  <c:v>114535</c:v>
                </c:pt>
                <c:pt idx="56080">
                  <c:v>39959</c:v>
                </c:pt>
                <c:pt idx="56081">
                  <c:v>90227</c:v>
                </c:pt>
                <c:pt idx="56082">
                  <c:v>25925</c:v>
                </c:pt>
                <c:pt idx="56083">
                  <c:v>51707</c:v>
                </c:pt>
                <c:pt idx="56084">
                  <c:v>30117</c:v>
                </c:pt>
                <c:pt idx="56085">
                  <c:v>42469</c:v>
                </c:pt>
                <c:pt idx="56086">
                  <c:v>61112</c:v>
                </c:pt>
                <c:pt idx="56087">
                  <c:v>38484</c:v>
                </c:pt>
                <c:pt idx="56088">
                  <c:v>42325</c:v>
                </c:pt>
                <c:pt idx="56089">
                  <c:v>28089</c:v>
                </c:pt>
                <c:pt idx="56090">
                  <c:v>158728</c:v>
                </c:pt>
                <c:pt idx="56091">
                  <c:v>81282</c:v>
                </c:pt>
                <c:pt idx="56092">
                  <c:v>31326</c:v>
                </c:pt>
                <c:pt idx="56093">
                  <c:v>107002</c:v>
                </c:pt>
                <c:pt idx="56094">
                  <c:v>37087</c:v>
                </c:pt>
                <c:pt idx="56095">
                  <c:v>43961</c:v>
                </c:pt>
                <c:pt idx="56096">
                  <c:v>45486</c:v>
                </c:pt>
                <c:pt idx="56097">
                  <c:v>36968</c:v>
                </c:pt>
                <c:pt idx="56098">
                  <c:v>41573</c:v>
                </c:pt>
                <c:pt idx="56099">
                  <c:v>36433</c:v>
                </c:pt>
                <c:pt idx="56100">
                  <c:v>58714</c:v>
                </c:pt>
                <c:pt idx="56101">
                  <c:v>46455</c:v>
                </c:pt>
                <c:pt idx="56102">
                  <c:v>25362</c:v>
                </c:pt>
                <c:pt idx="56103">
                  <c:v>29274</c:v>
                </c:pt>
                <c:pt idx="56104">
                  <c:v>28612</c:v>
                </c:pt>
                <c:pt idx="56105">
                  <c:v>96778</c:v>
                </c:pt>
                <c:pt idx="56106">
                  <c:v>71889</c:v>
                </c:pt>
                <c:pt idx="56107">
                  <c:v>26157</c:v>
                </c:pt>
                <c:pt idx="56108">
                  <c:v>50940</c:v>
                </c:pt>
                <c:pt idx="56109">
                  <c:v>48175</c:v>
                </c:pt>
                <c:pt idx="56110">
                  <c:v>27971</c:v>
                </c:pt>
                <c:pt idx="56111">
                  <c:v>36791</c:v>
                </c:pt>
                <c:pt idx="56112">
                  <c:v>21488</c:v>
                </c:pt>
                <c:pt idx="56113">
                  <c:v>61259</c:v>
                </c:pt>
                <c:pt idx="56114">
                  <c:v>80138</c:v>
                </c:pt>
                <c:pt idx="56115">
                  <c:v>37931</c:v>
                </c:pt>
                <c:pt idx="56116">
                  <c:v>62922</c:v>
                </c:pt>
                <c:pt idx="56117">
                  <c:v>112075</c:v>
                </c:pt>
                <c:pt idx="56118">
                  <c:v>55541</c:v>
                </c:pt>
                <c:pt idx="56119">
                  <c:v>43455</c:v>
                </c:pt>
                <c:pt idx="56120">
                  <c:v>31300</c:v>
                </c:pt>
                <c:pt idx="56121">
                  <c:v>32048</c:v>
                </c:pt>
                <c:pt idx="56122">
                  <c:v>43956</c:v>
                </c:pt>
                <c:pt idx="56123">
                  <c:v>48966</c:v>
                </c:pt>
                <c:pt idx="56124">
                  <c:v>29556</c:v>
                </c:pt>
                <c:pt idx="56125">
                  <c:v>63615</c:v>
                </c:pt>
                <c:pt idx="56126">
                  <c:v>32599</c:v>
                </c:pt>
                <c:pt idx="56127">
                  <c:v>28522</c:v>
                </c:pt>
                <c:pt idx="56128">
                  <c:v>46480</c:v>
                </c:pt>
                <c:pt idx="56129">
                  <c:v>47264</c:v>
                </c:pt>
                <c:pt idx="56130">
                  <c:v>38113</c:v>
                </c:pt>
                <c:pt idx="56131">
                  <c:v>40274</c:v>
                </c:pt>
                <c:pt idx="56132">
                  <c:v>64131</c:v>
                </c:pt>
                <c:pt idx="56133">
                  <c:v>66719</c:v>
                </c:pt>
                <c:pt idx="56134">
                  <c:v>37519</c:v>
                </c:pt>
                <c:pt idx="56135">
                  <c:v>52281</c:v>
                </c:pt>
                <c:pt idx="56136">
                  <c:v>74635</c:v>
                </c:pt>
                <c:pt idx="56137">
                  <c:v>213711</c:v>
                </c:pt>
                <c:pt idx="56138">
                  <c:v>21840</c:v>
                </c:pt>
                <c:pt idx="56139">
                  <c:v>35818</c:v>
                </c:pt>
                <c:pt idx="56140">
                  <c:v>35524</c:v>
                </c:pt>
                <c:pt idx="56141">
                  <c:v>138028</c:v>
                </c:pt>
                <c:pt idx="56142">
                  <c:v>52878</c:v>
                </c:pt>
                <c:pt idx="56143">
                  <c:v>67605</c:v>
                </c:pt>
                <c:pt idx="56144">
                  <c:v>66074</c:v>
                </c:pt>
                <c:pt idx="56145">
                  <c:v>49468</c:v>
                </c:pt>
                <c:pt idx="56146">
                  <c:v>75501</c:v>
                </c:pt>
                <c:pt idx="56147">
                  <c:v>32731</c:v>
                </c:pt>
                <c:pt idx="56148">
                  <c:v>26436</c:v>
                </c:pt>
                <c:pt idx="56149">
                  <c:v>35635</c:v>
                </c:pt>
                <c:pt idx="56150">
                  <c:v>64805</c:v>
                </c:pt>
                <c:pt idx="56151">
                  <c:v>45312</c:v>
                </c:pt>
                <c:pt idx="56152">
                  <c:v>45826</c:v>
                </c:pt>
                <c:pt idx="56153">
                  <c:v>91405</c:v>
                </c:pt>
                <c:pt idx="56154">
                  <c:v>37477</c:v>
                </c:pt>
                <c:pt idx="56155">
                  <c:v>29189</c:v>
                </c:pt>
                <c:pt idx="56156">
                  <c:v>38798</c:v>
                </c:pt>
                <c:pt idx="56157">
                  <c:v>29431</c:v>
                </c:pt>
                <c:pt idx="56158">
                  <c:v>113616</c:v>
                </c:pt>
                <c:pt idx="56159">
                  <c:v>38818</c:v>
                </c:pt>
                <c:pt idx="56160">
                  <c:v>23045</c:v>
                </c:pt>
                <c:pt idx="56161">
                  <c:v>35084</c:v>
                </c:pt>
                <c:pt idx="56162">
                  <c:v>30564</c:v>
                </c:pt>
                <c:pt idx="56163">
                  <c:v>40130</c:v>
                </c:pt>
                <c:pt idx="56164">
                  <c:v>45514</c:v>
                </c:pt>
                <c:pt idx="56165">
                  <c:v>108497</c:v>
                </c:pt>
                <c:pt idx="56166">
                  <c:v>23834</c:v>
                </c:pt>
                <c:pt idx="56167">
                  <c:v>56830</c:v>
                </c:pt>
                <c:pt idx="56168">
                  <c:v>55429</c:v>
                </c:pt>
                <c:pt idx="56169">
                  <c:v>67015</c:v>
                </c:pt>
                <c:pt idx="56170">
                  <c:v>28389</c:v>
                </c:pt>
                <c:pt idx="56171">
                  <c:v>38318</c:v>
                </c:pt>
                <c:pt idx="56172">
                  <c:v>35921</c:v>
                </c:pt>
                <c:pt idx="56173">
                  <c:v>24403</c:v>
                </c:pt>
                <c:pt idx="56174">
                  <c:v>49386</c:v>
                </c:pt>
                <c:pt idx="56175">
                  <c:v>39364</c:v>
                </c:pt>
                <c:pt idx="56176">
                  <c:v>269435</c:v>
                </c:pt>
                <c:pt idx="56177">
                  <c:v>40804</c:v>
                </c:pt>
                <c:pt idx="56178">
                  <c:v>164970</c:v>
                </c:pt>
                <c:pt idx="56179">
                  <c:v>98781</c:v>
                </c:pt>
                <c:pt idx="56180">
                  <c:v>204869</c:v>
                </c:pt>
                <c:pt idx="56181">
                  <c:v>29062</c:v>
                </c:pt>
                <c:pt idx="56182">
                  <c:v>33072</c:v>
                </c:pt>
                <c:pt idx="56183">
                  <c:v>37902</c:v>
                </c:pt>
                <c:pt idx="56184">
                  <c:v>27302</c:v>
                </c:pt>
                <c:pt idx="56185">
                  <c:v>43427</c:v>
                </c:pt>
                <c:pt idx="56186">
                  <c:v>93531</c:v>
                </c:pt>
                <c:pt idx="56187">
                  <c:v>35189</c:v>
                </c:pt>
                <c:pt idx="56188">
                  <c:v>49168</c:v>
                </c:pt>
                <c:pt idx="56189">
                  <c:v>43030</c:v>
                </c:pt>
                <c:pt idx="56190">
                  <c:v>227922</c:v>
                </c:pt>
                <c:pt idx="56191">
                  <c:v>113734</c:v>
                </c:pt>
                <c:pt idx="56192">
                  <c:v>95124</c:v>
                </c:pt>
                <c:pt idx="56193">
                  <c:v>114110</c:v>
                </c:pt>
                <c:pt idx="56194">
                  <c:v>63465</c:v>
                </c:pt>
                <c:pt idx="56195">
                  <c:v>28847</c:v>
                </c:pt>
                <c:pt idx="56196">
                  <c:v>40228</c:v>
                </c:pt>
                <c:pt idx="56197">
                  <c:v>112992</c:v>
                </c:pt>
                <c:pt idx="56198">
                  <c:v>31112</c:v>
                </c:pt>
                <c:pt idx="56199">
                  <c:v>25116</c:v>
                </c:pt>
                <c:pt idx="56200">
                  <c:v>32388</c:v>
                </c:pt>
                <c:pt idx="56201">
                  <c:v>197694</c:v>
                </c:pt>
                <c:pt idx="56202">
                  <c:v>59309</c:v>
                </c:pt>
                <c:pt idx="56203">
                  <c:v>66709</c:v>
                </c:pt>
                <c:pt idx="56204">
                  <c:v>103283</c:v>
                </c:pt>
                <c:pt idx="56205">
                  <c:v>26996</c:v>
                </c:pt>
                <c:pt idx="56206">
                  <c:v>29541</c:v>
                </c:pt>
                <c:pt idx="56207">
                  <c:v>130776</c:v>
                </c:pt>
                <c:pt idx="56208">
                  <c:v>41101</c:v>
                </c:pt>
                <c:pt idx="56209">
                  <c:v>88541</c:v>
                </c:pt>
                <c:pt idx="56210">
                  <c:v>68882</c:v>
                </c:pt>
                <c:pt idx="56211">
                  <c:v>22135</c:v>
                </c:pt>
                <c:pt idx="56212">
                  <c:v>24741</c:v>
                </c:pt>
                <c:pt idx="56213">
                  <c:v>40813</c:v>
                </c:pt>
                <c:pt idx="56214">
                  <c:v>72144</c:v>
                </c:pt>
                <c:pt idx="56215">
                  <c:v>55665</c:v>
                </c:pt>
                <c:pt idx="56216">
                  <c:v>44234</c:v>
                </c:pt>
                <c:pt idx="56217">
                  <c:v>31465</c:v>
                </c:pt>
                <c:pt idx="56218">
                  <c:v>23540</c:v>
                </c:pt>
                <c:pt idx="56219">
                  <c:v>23930</c:v>
                </c:pt>
                <c:pt idx="56220">
                  <c:v>107516</c:v>
                </c:pt>
                <c:pt idx="56221">
                  <c:v>133715</c:v>
                </c:pt>
                <c:pt idx="56222">
                  <c:v>57290</c:v>
                </c:pt>
                <c:pt idx="56223">
                  <c:v>64701</c:v>
                </c:pt>
                <c:pt idx="56224">
                  <c:v>54650</c:v>
                </c:pt>
                <c:pt idx="56225">
                  <c:v>58006</c:v>
                </c:pt>
                <c:pt idx="56226">
                  <c:v>89360</c:v>
                </c:pt>
                <c:pt idx="56227">
                  <c:v>26005</c:v>
                </c:pt>
                <c:pt idx="56228">
                  <c:v>60417</c:v>
                </c:pt>
                <c:pt idx="56229">
                  <c:v>50980</c:v>
                </c:pt>
                <c:pt idx="56230">
                  <c:v>44709</c:v>
                </c:pt>
                <c:pt idx="56231">
                  <c:v>49299</c:v>
                </c:pt>
                <c:pt idx="56232">
                  <c:v>57127</c:v>
                </c:pt>
                <c:pt idx="56233">
                  <c:v>97671</c:v>
                </c:pt>
                <c:pt idx="56234">
                  <c:v>86000</c:v>
                </c:pt>
                <c:pt idx="56235">
                  <c:v>228267</c:v>
                </c:pt>
                <c:pt idx="56236">
                  <c:v>165998</c:v>
                </c:pt>
                <c:pt idx="56237">
                  <c:v>56691</c:v>
                </c:pt>
                <c:pt idx="56238">
                  <c:v>41865</c:v>
                </c:pt>
                <c:pt idx="56239">
                  <c:v>79098</c:v>
                </c:pt>
                <c:pt idx="56240">
                  <c:v>22850</c:v>
                </c:pt>
                <c:pt idx="56241">
                  <c:v>23259</c:v>
                </c:pt>
                <c:pt idx="56242">
                  <c:v>28201</c:v>
                </c:pt>
                <c:pt idx="56243">
                  <c:v>41262</c:v>
                </c:pt>
                <c:pt idx="56244">
                  <c:v>37387</c:v>
                </c:pt>
                <c:pt idx="56245">
                  <c:v>76932</c:v>
                </c:pt>
                <c:pt idx="56246">
                  <c:v>25937</c:v>
                </c:pt>
                <c:pt idx="56247">
                  <c:v>160456</c:v>
                </c:pt>
                <c:pt idx="56248">
                  <c:v>34009</c:v>
                </c:pt>
                <c:pt idx="56249">
                  <c:v>92607</c:v>
                </c:pt>
                <c:pt idx="56250">
                  <c:v>60664</c:v>
                </c:pt>
                <c:pt idx="56251">
                  <c:v>30807</c:v>
                </c:pt>
                <c:pt idx="56252">
                  <c:v>140233</c:v>
                </c:pt>
                <c:pt idx="56253">
                  <c:v>97524</c:v>
                </c:pt>
                <c:pt idx="56254">
                  <c:v>137564</c:v>
                </c:pt>
                <c:pt idx="56255">
                  <c:v>82039</c:v>
                </c:pt>
                <c:pt idx="56256">
                  <c:v>23685</c:v>
                </c:pt>
                <c:pt idx="56257">
                  <c:v>53836</c:v>
                </c:pt>
                <c:pt idx="56258">
                  <c:v>36913</c:v>
                </c:pt>
                <c:pt idx="56259">
                  <c:v>38422</c:v>
                </c:pt>
                <c:pt idx="56260">
                  <c:v>33746</c:v>
                </c:pt>
                <c:pt idx="56261">
                  <c:v>22011</c:v>
                </c:pt>
                <c:pt idx="56262">
                  <c:v>38856</c:v>
                </c:pt>
                <c:pt idx="56263">
                  <c:v>85560</c:v>
                </c:pt>
                <c:pt idx="56264">
                  <c:v>301267</c:v>
                </c:pt>
                <c:pt idx="56265">
                  <c:v>240323</c:v>
                </c:pt>
                <c:pt idx="56266">
                  <c:v>93269</c:v>
                </c:pt>
                <c:pt idx="56267">
                  <c:v>48318</c:v>
                </c:pt>
                <c:pt idx="56268">
                  <c:v>21827</c:v>
                </c:pt>
                <c:pt idx="56269">
                  <c:v>90579</c:v>
                </c:pt>
                <c:pt idx="56270">
                  <c:v>53411</c:v>
                </c:pt>
                <c:pt idx="56271">
                  <c:v>50442</c:v>
                </c:pt>
                <c:pt idx="56272">
                  <c:v>34264</c:v>
                </c:pt>
                <c:pt idx="56273">
                  <c:v>34237</c:v>
                </c:pt>
                <c:pt idx="56274">
                  <c:v>97196</c:v>
                </c:pt>
                <c:pt idx="56275">
                  <c:v>41683</c:v>
                </c:pt>
                <c:pt idx="56276">
                  <c:v>353769</c:v>
                </c:pt>
                <c:pt idx="56277">
                  <c:v>68230</c:v>
                </c:pt>
                <c:pt idx="56278">
                  <c:v>28440</c:v>
                </c:pt>
                <c:pt idx="56279">
                  <c:v>29827</c:v>
                </c:pt>
                <c:pt idx="56280">
                  <c:v>35723</c:v>
                </c:pt>
                <c:pt idx="56281">
                  <c:v>72419</c:v>
                </c:pt>
                <c:pt idx="56282">
                  <c:v>94541</c:v>
                </c:pt>
                <c:pt idx="56283">
                  <c:v>68235</c:v>
                </c:pt>
                <c:pt idx="56284">
                  <c:v>46039</c:v>
                </c:pt>
                <c:pt idx="56285">
                  <c:v>88576</c:v>
                </c:pt>
                <c:pt idx="56286">
                  <c:v>38888</c:v>
                </c:pt>
                <c:pt idx="56287">
                  <c:v>41227</c:v>
                </c:pt>
                <c:pt idx="56288">
                  <c:v>24441</c:v>
                </c:pt>
                <c:pt idx="56289">
                  <c:v>148079</c:v>
                </c:pt>
                <c:pt idx="56290">
                  <c:v>26254</c:v>
                </c:pt>
                <c:pt idx="56291">
                  <c:v>93578</c:v>
                </c:pt>
                <c:pt idx="56292">
                  <c:v>29705</c:v>
                </c:pt>
                <c:pt idx="56293">
                  <c:v>39751</c:v>
                </c:pt>
                <c:pt idx="56294">
                  <c:v>30691</c:v>
                </c:pt>
                <c:pt idx="56295">
                  <c:v>131234</c:v>
                </c:pt>
                <c:pt idx="56296">
                  <c:v>27086</c:v>
                </c:pt>
                <c:pt idx="56297">
                  <c:v>144673</c:v>
                </c:pt>
                <c:pt idx="56298">
                  <c:v>37710</c:v>
                </c:pt>
                <c:pt idx="56299">
                  <c:v>33796</c:v>
                </c:pt>
                <c:pt idx="56300">
                  <c:v>43663</c:v>
                </c:pt>
                <c:pt idx="56301">
                  <c:v>38167</c:v>
                </c:pt>
                <c:pt idx="56302">
                  <c:v>42884</c:v>
                </c:pt>
                <c:pt idx="56303">
                  <c:v>43974</c:v>
                </c:pt>
                <c:pt idx="56304">
                  <c:v>292325</c:v>
                </c:pt>
                <c:pt idx="56305">
                  <c:v>31019</c:v>
                </c:pt>
                <c:pt idx="56306">
                  <c:v>72315</c:v>
                </c:pt>
                <c:pt idx="56307">
                  <c:v>39154</c:v>
                </c:pt>
                <c:pt idx="56308">
                  <c:v>73704</c:v>
                </c:pt>
                <c:pt idx="56309">
                  <c:v>30097</c:v>
                </c:pt>
                <c:pt idx="56310">
                  <c:v>49296</c:v>
                </c:pt>
                <c:pt idx="56311">
                  <c:v>64490</c:v>
                </c:pt>
                <c:pt idx="56312">
                  <c:v>48710</c:v>
                </c:pt>
                <c:pt idx="56313">
                  <c:v>46066</c:v>
                </c:pt>
                <c:pt idx="56314">
                  <c:v>54699</c:v>
                </c:pt>
                <c:pt idx="56315">
                  <c:v>39117</c:v>
                </c:pt>
                <c:pt idx="56316">
                  <c:v>39890</c:v>
                </c:pt>
                <c:pt idx="56317">
                  <c:v>41823</c:v>
                </c:pt>
                <c:pt idx="56318">
                  <c:v>47660</c:v>
                </c:pt>
                <c:pt idx="56319">
                  <c:v>42806</c:v>
                </c:pt>
                <c:pt idx="56320">
                  <c:v>42581</c:v>
                </c:pt>
                <c:pt idx="56321">
                  <c:v>18184</c:v>
                </c:pt>
                <c:pt idx="56322">
                  <c:v>26155</c:v>
                </c:pt>
                <c:pt idx="56323">
                  <c:v>32080</c:v>
                </c:pt>
                <c:pt idx="56324">
                  <c:v>78034</c:v>
                </c:pt>
                <c:pt idx="56325">
                  <c:v>25262</c:v>
                </c:pt>
                <c:pt idx="56326">
                  <c:v>182123</c:v>
                </c:pt>
                <c:pt idx="56327">
                  <c:v>50940</c:v>
                </c:pt>
                <c:pt idx="56328">
                  <c:v>110674</c:v>
                </c:pt>
                <c:pt idx="56329">
                  <c:v>57445</c:v>
                </c:pt>
                <c:pt idx="56330">
                  <c:v>45301</c:v>
                </c:pt>
                <c:pt idx="56331">
                  <c:v>34367</c:v>
                </c:pt>
                <c:pt idx="56332">
                  <c:v>41241</c:v>
                </c:pt>
                <c:pt idx="56333">
                  <c:v>54358</c:v>
                </c:pt>
                <c:pt idx="56334">
                  <c:v>134969</c:v>
                </c:pt>
                <c:pt idx="56335">
                  <c:v>195507</c:v>
                </c:pt>
                <c:pt idx="56336">
                  <c:v>53366</c:v>
                </c:pt>
                <c:pt idx="56337">
                  <c:v>42529</c:v>
                </c:pt>
                <c:pt idx="56338">
                  <c:v>58726</c:v>
                </c:pt>
                <c:pt idx="56339">
                  <c:v>31097</c:v>
                </c:pt>
                <c:pt idx="56340">
                  <c:v>32389</c:v>
                </c:pt>
                <c:pt idx="56341">
                  <c:v>92479</c:v>
                </c:pt>
                <c:pt idx="56342">
                  <c:v>28232</c:v>
                </c:pt>
                <c:pt idx="56343">
                  <c:v>49327</c:v>
                </c:pt>
                <c:pt idx="56344">
                  <c:v>30226</c:v>
                </c:pt>
                <c:pt idx="56345">
                  <c:v>27408</c:v>
                </c:pt>
                <c:pt idx="56346">
                  <c:v>124746</c:v>
                </c:pt>
                <c:pt idx="56347">
                  <c:v>37638</c:v>
                </c:pt>
                <c:pt idx="56348">
                  <c:v>87698</c:v>
                </c:pt>
                <c:pt idx="56349">
                  <c:v>35243</c:v>
                </c:pt>
                <c:pt idx="56350">
                  <c:v>21946</c:v>
                </c:pt>
                <c:pt idx="56351">
                  <c:v>40206</c:v>
                </c:pt>
                <c:pt idx="56352">
                  <c:v>54100</c:v>
                </c:pt>
                <c:pt idx="56353">
                  <c:v>38344</c:v>
                </c:pt>
                <c:pt idx="56354">
                  <c:v>27549</c:v>
                </c:pt>
                <c:pt idx="56355">
                  <c:v>48172</c:v>
                </c:pt>
                <c:pt idx="56356">
                  <c:v>29967</c:v>
                </c:pt>
                <c:pt idx="56357">
                  <c:v>64906</c:v>
                </c:pt>
                <c:pt idx="56358">
                  <c:v>21867</c:v>
                </c:pt>
                <c:pt idx="56359">
                  <c:v>30928</c:v>
                </c:pt>
                <c:pt idx="56360">
                  <c:v>27880</c:v>
                </c:pt>
                <c:pt idx="56361">
                  <c:v>64569</c:v>
                </c:pt>
                <c:pt idx="56362">
                  <c:v>60207</c:v>
                </c:pt>
                <c:pt idx="56363">
                  <c:v>32499</c:v>
                </c:pt>
                <c:pt idx="56364">
                  <c:v>41606</c:v>
                </c:pt>
                <c:pt idx="56365">
                  <c:v>74048</c:v>
                </c:pt>
                <c:pt idx="56366">
                  <c:v>31895</c:v>
                </c:pt>
                <c:pt idx="56367">
                  <c:v>150173</c:v>
                </c:pt>
                <c:pt idx="56368">
                  <c:v>29630</c:v>
                </c:pt>
                <c:pt idx="56369">
                  <c:v>102757</c:v>
                </c:pt>
                <c:pt idx="56370">
                  <c:v>42923</c:v>
                </c:pt>
                <c:pt idx="56371">
                  <c:v>40933</c:v>
                </c:pt>
                <c:pt idx="56372">
                  <c:v>37131</c:v>
                </c:pt>
                <c:pt idx="56373">
                  <c:v>30197</c:v>
                </c:pt>
                <c:pt idx="56374">
                  <c:v>84883</c:v>
                </c:pt>
                <c:pt idx="56375">
                  <c:v>68699</c:v>
                </c:pt>
                <c:pt idx="56376">
                  <c:v>41815</c:v>
                </c:pt>
                <c:pt idx="56377">
                  <c:v>53574</c:v>
                </c:pt>
                <c:pt idx="56378">
                  <c:v>41913</c:v>
                </c:pt>
                <c:pt idx="56379">
                  <c:v>55486</c:v>
                </c:pt>
                <c:pt idx="56380">
                  <c:v>40949</c:v>
                </c:pt>
                <c:pt idx="56381">
                  <c:v>58362</c:v>
                </c:pt>
                <c:pt idx="56382">
                  <c:v>23787</c:v>
                </c:pt>
                <c:pt idx="56383">
                  <c:v>36223</c:v>
                </c:pt>
                <c:pt idx="56384">
                  <c:v>72613</c:v>
                </c:pt>
                <c:pt idx="56385">
                  <c:v>40408</c:v>
                </c:pt>
                <c:pt idx="56386">
                  <c:v>42733</c:v>
                </c:pt>
                <c:pt idx="56387">
                  <c:v>45879</c:v>
                </c:pt>
                <c:pt idx="56388">
                  <c:v>54695</c:v>
                </c:pt>
                <c:pt idx="56389">
                  <c:v>42978</c:v>
                </c:pt>
                <c:pt idx="56390">
                  <c:v>36499</c:v>
                </c:pt>
                <c:pt idx="56391">
                  <c:v>69383</c:v>
                </c:pt>
                <c:pt idx="56392">
                  <c:v>31634</c:v>
                </c:pt>
                <c:pt idx="56393">
                  <c:v>177342</c:v>
                </c:pt>
                <c:pt idx="56394">
                  <c:v>100658</c:v>
                </c:pt>
                <c:pt idx="56395">
                  <c:v>31138</c:v>
                </c:pt>
                <c:pt idx="56396">
                  <c:v>55538</c:v>
                </c:pt>
                <c:pt idx="56397">
                  <c:v>28841</c:v>
                </c:pt>
                <c:pt idx="56398">
                  <c:v>58527</c:v>
                </c:pt>
                <c:pt idx="56399">
                  <c:v>179899</c:v>
                </c:pt>
                <c:pt idx="56400">
                  <c:v>160970</c:v>
                </c:pt>
                <c:pt idx="56401">
                  <c:v>46801</c:v>
                </c:pt>
                <c:pt idx="56402">
                  <c:v>38820</c:v>
                </c:pt>
                <c:pt idx="56403">
                  <c:v>160190</c:v>
                </c:pt>
                <c:pt idx="56404">
                  <c:v>130167</c:v>
                </c:pt>
                <c:pt idx="56405">
                  <c:v>41282</c:v>
                </c:pt>
                <c:pt idx="56406">
                  <c:v>28897</c:v>
                </c:pt>
                <c:pt idx="56407">
                  <c:v>37557</c:v>
                </c:pt>
                <c:pt idx="56408">
                  <c:v>37759</c:v>
                </c:pt>
                <c:pt idx="56409">
                  <c:v>37998</c:v>
                </c:pt>
                <c:pt idx="56410">
                  <c:v>42295</c:v>
                </c:pt>
                <c:pt idx="56411">
                  <c:v>41125</c:v>
                </c:pt>
                <c:pt idx="56412">
                  <c:v>84131</c:v>
                </c:pt>
                <c:pt idx="56413">
                  <c:v>117045</c:v>
                </c:pt>
                <c:pt idx="56414">
                  <c:v>26227</c:v>
                </c:pt>
                <c:pt idx="56415">
                  <c:v>27366</c:v>
                </c:pt>
                <c:pt idx="56416">
                  <c:v>50202</c:v>
                </c:pt>
                <c:pt idx="56417">
                  <c:v>147999</c:v>
                </c:pt>
                <c:pt idx="56418">
                  <c:v>117214</c:v>
                </c:pt>
                <c:pt idx="56419">
                  <c:v>170565</c:v>
                </c:pt>
                <c:pt idx="56420">
                  <c:v>121158</c:v>
                </c:pt>
                <c:pt idx="56421">
                  <c:v>32861</c:v>
                </c:pt>
                <c:pt idx="56422">
                  <c:v>32999</c:v>
                </c:pt>
                <c:pt idx="56423">
                  <c:v>49822</c:v>
                </c:pt>
                <c:pt idx="56424">
                  <c:v>69133</c:v>
                </c:pt>
                <c:pt idx="56425">
                  <c:v>40267</c:v>
                </c:pt>
                <c:pt idx="56426">
                  <c:v>35819</c:v>
                </c:pt>
                <c:pt idx="56427">
                  <c:v>22151</c:v>
                </c:pt>
                <c:pt idx="56428">
                  <c:v>38294</c:v>
                </c:pt>
                <c:pt idx="56429">
                  <c:v>32725</c:v>
                </c:pt>
                <c:pt idx="56430">
                  <c:v>170109</c:v>
                </c:pt>
                <c:pt idx="56431">
                  <c:v>33328</c:v>
                </c:pt>
                <c:pt idx="56432">
                  <c:v>34575</c:v>
                </c:pt>
                <c:pt idx="56433">
                  <c:v>32283</c:v>
                </c:pt>
                <c:pt idx="56434">
                  <c:v>30311</c:v>
                </c:pt>
                <c:pt idx="56435">
                  <c:v>38128</c:v>
                </c:pt>
                <c:pt idx="56436">
                  <c:v>87461</c:v>
                </c:pt>
                <c:pt idx="56437">
                  <c:v>35321</c:v>
                </c:pt>
                <c:pt idx="56438">
                  <c:v>85368</c:v>
                </c:pt>
                <c:pt idx="56439">
                  <c:v>28867</c:v>
                </c:pt>
                <c:pt idx="56440">
                  <c:v>27063</c:v>
                </c:pt>
                <c:pt idx="56441">
                  <c:v>86658</c:v>
                </c:pt>
                <c:pt idx="56442">
                  <c:v>63168</c:v>
                </c:pt>
                <c:pt idx="56443">
                  <c:v>25865</c:v>
                </c:pt>
                <c:pt idx="56444">
                  <c:v>95909</c:v>
                </c:pt>
                <c:pt idx="56445">
                  <c:v>30340</c:v>
                </c:pt>
                <c:pt idx="56446">
                  <c:v>99645</c:v>
                </c:pt>
                <c:pt idx="56447">
                  <c:v>36751</c:v>
                </c:pt>
                <c:pt idx="56448">
                  <c:v>205010</c:v>
                </c:pt>
                <c:pt idx="56449">
                  <c:v>23963</c:v>
                </c:pt>
                <c:pt idx="56450">
                  <c:v>67085</c:v>
                </c:pt>
                <c:pt idx="56451">
                  <c:v>37437</c:v>
                </c:pt>
                <c:pt idx="56452">
                  <c:v>110571</c:v>
                </c:pt>
                <c:pt idx="56453">
                  <c:v>104391</c:v>
                </c:pt>
                <c:pt idx="56454">
                  <c:v>45775</c:v>
                </c:pt>
                <c:pt idx="56455">
                  <c:v>98285</c:v>
                </c:pt>
                <c:pt idx="56456">
                  <c:v>21243</c:v>
                </c:pt>
                <c:pt idx="56457">
                  <c:v>95493</c:v>
                </c:pt>
                <c:pt idx="56458">
                  <c:v>34735</c:v>
                </c:pt>
                <c:pt idx="56459">
                  <c:v>32602</c:v>
                </c:pt>
                <c:pt idx="56460">
                  <c:v>43701</c:v>
                </c:pt>
                <c:pt idx="56461">
                  <c:v>25931</c:v>
                </c:pt>
                <c:pt idx="56462">
                  <c:v>18847</c:v>
                </c:pt>
                <c:pt idx="56463">
                  <c:v>27653</c:v>
                </c:pt>
                <c:pt idx="56464">
                  <c:v>23227</c:v>
                </c:pt>
                <c:pt idx="56465">
                  <c:v>86242</c:v>
                </c:pt>
                <c:pt idx="56466">
                  <c:v>58916</c:v>
                </c:pt>
                <c:pt idx="56467">
                  <c:v>32481</c:v>
                </c:pt>
                <c:pt idx="56468">
                  <c:v>32644</c:v>
                </c:pt>
                <c:pt idx="56469">
                  <c:v>20976</c:v>
                </c:pt>
                <c:pt idx="56470">
                  <c:v>24864</c:v>
                </c:pt>
                <c:pt idx="56471">
                  <c:v>31157</c:v>
                </c:pt>
                <c:pt idx="56472">
                  <c:v>30979</c:v>
                </c:pt>
                <c:pt idx="56473">
                  <c:v>137335</c:v>
                </c:pt>
                <c:pt idx="56474">
                  <c:v>66295</c:v>
                </c:pt>
                <c:pt idx="56475">
                  <c:v>114638</c:v>
                </c:pt>
                <c:pt idx="56476">
                  <c:v>55357</c:v>
                </c:pt>
                <c:pt idx="56477">
                  <c:v>89713</c:v>
                </c:pt>
                <c:pt idx="56478">
                  <c:v>66388</c:v>
                </c:pt>
                <c:pt idx="56479">
                  <c:v>38264</c:v>
                </c:pt>
                <c:pt idx="56480">
                  <c:v>38073</c:v>
                </c:pt>
                <c:pt idx="56481">
                  <c:v>27790</c:v>
                </c:pt>
                <c:pt idx="56482">
                  <c:v>40136</c:v>
                </c:pt>
                <c:pt idx="56483">
                  <c:v>39372</c:v>
                </c:pt>
                <c:pt idx="56484">
                  <c:v>76394</c:v>
                </c:pt>
                <c:pt idx="56485">
                  <c:v>75519</c:v>
                </c:pt>
                <c:pt idx="56486">
                  <c:v>32363</c:v>
                </c:pt>
                <c:pt idx="56487">
                  <c:v>37386</c:v>
                </c:pt>
                <c:pt idx="56488">
                  <c:v>67482</c:v>
                </c:pt>
                <c:pt idx="56489">
                  <c:v>42777</c:v>
                </c:pt>
                <c:pt idx="56490">
                  <c:v>24139</c:v>
                </c:pt>
                <c:pt idx="56491">
                  <c:v>40678</c:v>
                </c:pt>
                <c:pt idx="56492">
                  <c:v>53739</c:v>
                </c:pt>
                <c:pt idx="56493">
                  <c:v>39844</c:v>
                </c:pt>
                <c:pt idx="56494">
                  <c:v>62136</c:v>
                </c:pt>
                <c:pt idx="56495">
                  <c:v>98109</c:v>
                </c:pt>
                <c:pt idx="56496">
                  <c:v>63478</c:v>
                </c:pt>
                <c:pt idx="56497">
                  <c:v>87559</c:v>
                </c:pt>
                <c:pt idx="56498">
                  <c:v>38214</c:v>
                </c:pt>
                <c:pt idx="56499">
                  <c:v>50447</c:v>
                </c:pt>
                <c:pt idx="56500">
                  <c:v>122259</c:v>
                </c:pt>
                <c:pt idx="56501">
                  <c:v>27087</c:v>
                </c:pt>
                <c:pt idx="56502">
                  <c:v>46382</c:v>
                </c:pt>
                <c:pt idx="56503">
                  <c:v>41838</c:v>
                </c:pt>
                <c:pt idx="56504">
                  <c:v>31457</c:v>
                </c:pt>
                <c:pt idx="56505">
                  <c:v>24232</c:v>
                </c:pt>
                <c:pt idx="56506">
                  <c:v>21899</c:v>
                </c:pt>
                <c:pt idx="56507">
                  <c:v>35170</c:v>
                </c:pt>
                <c:pt idx="56508">
                  <c:v>46899</c:v>
                </c:pt>
                <c:pt idx="56509">
                  <c:v>28421</c:v>
                </c:pt>
                <c:pt idx="56510">
                  <c:v>629686</c:v>
                </c:pt>
                <c:pt idx="56511">
                  <c:v>144300</c:v>
                </c:pt>
                <c:pt idx="56512">
                  <c:v>44190</c:v>
                </c:pt>
                <c:pt idx="56513">
                  <c:v>100209</c:v>
                </c:pt>
                <c:pt idx="56514">
                  <c:v>21396</c:v>
                </c:pt>
                <c:pt idx="56515">
                  <c:v>28111</c:v>
                </c:pt>
                <c:pt idx="56516">
                  <c:v>45035</c:v>
                </c:pt>
                <c:pt idx="56517">
                  <c:v>279464</c:v>
                </c:pt>
                <c:pt idx="56518">
                  <c:v>27374</c:v>
                </c:pt>
                <c:pt idx="56519">
                  <c:v>27917</c:v>
                </c:pt>
                <c:pt idx="56520">
                  <c:v>35334</c:v>
                </c:pt>
                <c:pt idx="56521">
                  <c:v>23939</c:v>
                </c:pt>
                <c:pt idx="56522">
                  <c:v>31248</c:v>
                </c:pt>
                <c:pt idx="56523">
                  <c:v>55743</c:v>
                </c:pt>
                <c:pt idx="56524">
                  <c:v>47409</c:v>
                </c:pt>
                <c:pt idx="56525">
                  <c:v>176793</c:v>
                </c:pt>
                <c:pt idx="56526">
                  <c:v>30970</c:v>
                </c:pt>
                <c:pt idx="56527">
                  <c:v>52434</c:v>
                </c:pt>
                <c:pt idx="56528">
                  <c:v>199946</c:v>
                </c:pt>
                <c:pt idx="56529">
                  <c:v>51062</c:v>
                </c:pt>
                <c:pt idx="56530">
                  <c:v>42614</c:v>
                </c:pt>
                <c:pt idx="56531">
                  <c:v>25671</c:v>
                </c:pt>
                <c:pt idx="56532">
                  <c:v>36999</c:v>
                </c:pt>
                <c:pt idx="56533">
                  <c:v>55628</c:v>
                </c:pt>
                <c:pt idx="56534">
                  <c:v>43288</c:v>
                </c:pt>
                <c:pt idx="56535">
                  <c:v>29017</c:v>
                </c:pt>
                <c:pt idx="56536">
                  <c:v>43636</c:v>
                </c:pt>
                <c:pt idx="56537">
                  <c:v>227940</c:v>
                </c:pt>
                <c:pt idx="56538">
                  <c:v>25089</c:v>
                </c:pt>
                <c:pt idx="56539">
                  <c:v>75787</c:v>
                </c:pt>
                <c:pt idx="56540">
                  <c:v>38732</c:v>
                </c:pt>
                <c:pt idx="56541">
                  <c:v>52794</c:v>
                </c:pt>
                <c:pt idx="56542">
                  <c:v>121800</c:v>
                </c:pt>
                <c:pt idx="56543">
                  <c:v>30118</c:v>
                </c:pt>
                <c:pt idx="56544">
                  <c:v>124683</c:v>
                </c:pt>
                <c:pt idx="56545">
                  <c:v>52910</c:v>
                </c:pt>
                <c:pt idx="56546">
                  <c:v>26233</c:v>
                </c:pt>
                <c:pt idx="56547">
                  <c:v>131797</c:v>
                </c:pt>
                <c:pt idx="56548">
                  <c:v>50622</c:v>
                </c:pt>
                <c:pt idx="56549">
                  <c:v>126419</c:v>
                </c:pt>
                <c:pt idx="56550">
                  <c:v>54960</c:v>
                </c:pt>
                <c:pt idx="56551">
                  <c:v>44494</c:v>
                </c:pt>
                <c:pt idx="56552">
                  <c:v>89098</c:v>
                </c:pt>
                <c:pt idx="56553">
                  <c:v>57105</c:v>
                </c:pt>
                <c:pt idx="56554">
                  <c:v>22949</c:v>
                </c:pt>
                <c:pt idx="56555">
                  <c:v>67685</c:v>
                </c:pt>
                <c:pt idx="56556">
                  <c:v>32445</c:v>
                </c:pt>
                <c:pt idx="56557">
                  <c:v>33233</c:v>
                </c:pt>
                <c:pt idx="56558">
                  <c:v>46104</c:v>
                </c:pt>
                <c:pt idx="56559">
                  <c:v>67990</c:v>
                </c:pt>
                <c:pt idx="56560">
                  <c:v>29602</c:v>
                </c:pt>
                <c:pt idx="56561">
                  <c:v>90866</c:v>
                </c:pt>
                <c:pt idx="56562">
                  <c:v>39669</c:v>
                </c:pt>
                <c:pt idx="56563">
                  <c:v>70615</c:v>
                </c:pt>
                <c:pt idx="56564">
                  <c:v>30042</c:v>
                </c:pt>
                <c:pt idx="56565">
                  <c:v>22382</c:v>
                </c:pt>
                <c:pt idx="56566">
                  <c:v>31469</c:v>
                </c:pt>
                <c:pt idx="56567">
                  <c:v>133606</c:v>
                </c:pt>
                <c:pt idx="56568">
                  <c:v>42433</c:v>
                </c:pt>
                <c:pt idx="56569">
                  <c:v>55192</c:v>
                </c:pt>
                <c:pt idx="56570">
                  <c:v>151118</c:v>
                </c:pt>
                <c:pt idx="56571">
                  <c:v>32883</c:v>
                </c:pt>
                <c:pt idx="56572">
                  <c:v>27298</c:v>
                </c:pt>
                <c:pt idx="56573">
                  <c:v>31064</c:v>
                </c:pt>
                <c:pt idx="56574">
                  <c:v>46280</c:v>
                </c:pt>
                <c:pt idx="56575">
                  <c:v>172812</c:v>
                </c:pt>
                <c:pt idx="56576">
                  <c:v>51676</c:v>
                </c:pt>
                <c:pt idx="56577">
                  <c:v>33388</c:v>
                </c:pt>
                <c:pt idx="56578">
                  <c:v>75296</c:v>
                </c:pt>
                <c:pt idx="56579">
                  <c:v>49584</c:v>
                </c:pt>
                <c:pt idx="56580">
                  <c:v>63399</c:v>
                </c:pt>
                <c:pt idx="56581">
                  <c:v>97006</c:v>
                </c:pt>
                <c:pt idx="56582">
                  <c:v>47181</c:v>
                </c:pt>
                <c:pt idx="56583">
                  <c:v>27778</c:v>
                </c:pt>
                <c:pt idx="56584">
                  <c:v>24311</c:v>
                </c:pt>
                <c:pt idx="56585">
                  <c:v>46529</c:v>
                </c:pt>
                <c:pt idx="56586">
                  <c:v>48873</c:v>
                </c:pt>
                <c:pt idx="56587">
                  <c:v>82048</c:v>
                </c:pt>
                <c:pt idx="56588">
                  <c:v>64968</c:v>
                </c:pt>
                <c:pt idx="56589">
                  <c:v>104022</c:v>
                </c:pt>
                <c:pt idx="56590">
                  <c:v>25592</c:v>
                </c:pt>
                <c:pt idx="56591">
                  <c:v>55039</c:v>
                </c:pt>
                <c:pt idx="56592">
                  <c:v>33061</c:v>
                </c:pt>
                <c:pt idx="56593">
                  <c:v>38037</c:v>
                </c:pt>
                <c:pt idx="56594">
                  <c:v>54867</c:v>
                </c:pt>
                <c:pt idx="56595">
                  <c:v>64502</c:v>
                </c:pt>
                <c:pt idx="56596">
                  <c:v>70660</c:v>
                </c:pt>
                <c:pt idx="56597">
                  <c:v>38542</c:v>
                </c:pt>
                <c:pt idx="56598">
                  <c:v>97233</c:v>
                </c:pt>
                <c:pt idx="56599">
                  <c:v>66879</c:v>
                </c:pt>
                <c:pt idx="56600">
                  <c:v>27871</c:v>
                </c:pt>
                <c:pt idx="56601">
                  <c:v>36481</c:v>
                </c:pt>
                <c:pt idx="56602">
                  <c:v>47307</c:v>
                </c:pt>
                <c:pt idx="56603">
                  <c:v>27088</c:v>
                </c:pt>
                <c:pt idx="56604">
                  <c:v>51037</c:v>
                </c:pt>
                <c:pt idx="56605">
                  <c:v>36397</c:v>
                </c:pt>
                <c:pt idx="56606">
                  <c:v>58551</c:v>
                </c:pt>
                <c:pt idx="56607">
                  <c:v>30314</c:v>
                </c:pt>
                <c:pt idx="56608">
                  <c:v>49091</c:v>
                </c:pt>
                <c:pt idx="56609">
                  <c:v>35632</c:v>
                </c:pt>
                <c:pt idx="56610">
                  <c:v>42932</c:v>
                </c:pt>
                <c:pt idx="56611">
                  <c:v>24685</c:v>
                </c:pt>
                <c:pt idx="56612">
                  <c:v>86927</c:v>
                </c:pt>
                <c:pt idx="56613">
                  <c:v>19156</c:v>
                </c:pt>
                <c:pt idx="56614">
                  <c:v>64176</c:v>
                </c:pt>
                <c:pt idx="56615">
                  <c:v>73773</c:v>
                </c:pt>
                <c:pt idx="56616">
                  <c:v>27602</c:v>
                </c:pt>
                <c:pt idx="56617">
                  <c:v>37240</c:v>
                </c:pt>
                <c:pt idx="56618">
                  <c:v>23080</c:v>
                </c:pt>
                <c:pt idx="56619">
                  <c:v>72894</c:v>
                </c:pt>
                <c:pt idx="56620">
                  <c:v>27251</c:v>
                </c:pt>
                <c:pt idx="56621">
                  <c:v>67668</c:v>
                </c:pt>
                <c:pt idx="56622">
                  <c:v>29967</c:v>
                </c:pt>
                <c:pt idx="56623">
                  <c:v>65529</c:v>
                </c:pt>
                <c:pt idx="56624">
                  <c:v>159926</c:v>
                </c:pt>
                <c:pt idx="56625">
                  <c:v>42389</c:v>
                </c:pt>
                <c:pt idx="56626">
                  <c:v>39483</c:v>
                </c:pt>
                <c:pt idx="56627">
                  <c:v>27268</c:v>
                </c:pt>
                <c:pt idx="56628">
                  <c:v>92450</c:v>
                </c:pt>
                <c:pt idx="56629">
                  <c:v>30627</c:v>
                </c:pt>
                <c:pt idx="56630">
                  <c:v>34488</c:v>
                </c:pt>
                <c:pt idx="56631">
                  <c:v>67686</c:v>
                </c:pt>
                <c:pt idx="56632">
                  <c:v>58561</c:v>
                </c:pt>
                <c:pt idx="56633">
                  <c:v>44879</c:v>
                </c:pt>
                <c:pt idx="56634">
                  <c:v>42817</c:v>
                </c:pt>
                <c:pt idx="56635">
                  <c:v>79510</c:v>
                </c:pt>
                <c:pt idx="56636">
                  <c:v>73098</c:v>
                </c:pt>
                <c:pt idx="56637">
                  <c:v>315359</c:v>
                </c:pt>
                <c:pt idx="56638">
                  <c:v>48977</c:v>
                </c:pt>
                <c:pt idx="56639">
                  <c:v>144096</c:v>
                </c:pt>
                <c:pt idx="56640">
                  <c:v>47175</c:v>
                </c:pt>
                <c:pt idx="56641">
                  <c:v>32247</c:v>
                </c:pt>
                <c:pt idx="56642">
                  <c:v>233721</c:v>
                </c:pt>
                <c:pt idx="56643">
                  <c:v>100549</c:v>
                </c:pt>
                <c:pt idx="56644">
                  <c:v>86678</c:v>
                </c:pt>
                <c:pt idx="56645">
                  <c:v>18411</c:v>
                </c:pt>
                <c:pt idx="56646">
                  <c:v>31391</c:v>
                </c:pt>
                <c:pt idx="56647">
                  <c:v>39221</c:v>
                </c:pt>
                <c:pt idx="56648">
                  <c:v>39788</c:v>
                </c:pt>
                <c:pt idx="56649">
                  <c:v>29247</c:v>
                </c:pt>
                <c:pt idx="56650">
                  <c:v>42738</c:v>
                </c:pt>
                <c:pt idx="56651">
                  <c:v>41742</c:v>
                </c:pt>
                <c:pt idx="56652">
                  <c:v>45913</c:v>
                </c:pt>
                <c:pt idx="56653">
                  <c:v>41825</c:v>
                </c:pt>
                <c:pt idx="56654">
                  <c:v>24706</c:v>
                </c:pt>
                <c:pt idx="56655">
                  <c:v>46950</c:v>
                </c:pt>
                <c:pt idx="56656">
                  <c:v>79481</c:v>
                </c:pt>
                <c:pt idx="56657">
                  <c:v>80435</c:v>
                </c:pt>
                <c:pt idx="56658">
                  <c:v>45445</c:v>
                </c:pt>
                <c:pt idx="56659">
                  <c:v>48871</c:v>
                </c:pt>
                <c:pt idx="56660">
                  <c:v>114838</c:v>
                </c:pt>
                <c:pt idx="56661">
                  <c:v>52509</c:v>
                </c:pt>
                <c:pt idx="56662">
                  <c:v>34714</c:v>
                </c:pt>
                <c:pt idx="56663">
                  <c:v>64896</c:v>
                </c:pt>
                <c:pt idx="56664">
                  <c:v>31018</c:v>
                </c:pt>
                <c:pt idx="56665">
                  <c:v>92139</c:v>
                </c:pt>
                <c:pt idx="56666">
                  <c:v>67793</c:v>
                </c:pt>
                <c:pt idx="56667">
                  <c:v>77935</c:v>
                </c:pt>
                <c:pt idx="56668">
                  <c:v>21147</c:v>
                </c:pt>
                <c:pt idx="56669">
                  <c:v>45382</c:v>
                </c:pt>
                <c:pt idx="56670">
                  <c:v>104071</c:v>
                </c:pt>
                <c:pt idx="56671">
                  <c:v>79318</c:v>
                </c:pt>
                <c:pt idx="56672">
                  <c:v>54416</c:v>
                </c:pt>
                <c:pt idx="56673">
                  <c:v>47572</c:v>
                </c:pt>
                <c:pt idx="56674">
                  <c:v>123260</c:v>
                </c:pt>
                <c:pt idx="56675">
                  <c:v>32727</c:v>
                </c:pt>
                <c:pt idx="56676">
                  <c:v>95863</c:v>
                </c:pt>
                <c:pt idx="56677">
                  <c:v>88024</c:v>
                </c:pt>
                <c:pt idx="56678">
                  <c:v>27800</c:v>
                </c:pt>
                <c:pt idx="56679">
                  <c:v>42843</c:v>
                </c:pt>
                <c:pt idx="56680">
                  <c:v>46250</c:v>
                </c:pt>
                <c:pt idx="56681">
                  <c:v>55048</c:v>
                </c:pt>
                <c:pt idx="56682">
                  <c:v>83973</c:v>
                </c:pt>
                <c:pt idx="56683">
                  <c:v>28299</c:v>
                </c:pt>
                <c:pt idx="56684">
                  <c:v>71142</c:v>
                </c:pt>
                <c:pt idx="56685">
                  <c:v>38232</c:v>
                </c:pt>
                <c:pt idx="56686">
                  <c:v>26441</c:v>
                </c:pt>
                <c:pt idx="56687">
                  <c:v>82942</c:v>
                </c:pt>
                <c:pt idx="56688">
                  <c:v>58851</c:v>
                </c:pt>
                <c:pt idx="56689">
                  <c:v>34693</c:v>
                </c:pt>
                <c:pt idx="56690">
                  <c:v>40661</c:v>
                </c:pt>
                <c:pt idx="56691">
                  <c:v>110083</c:v>
                </c:pt>
                <c:pt idx="56692">
                  <c:v>56346</c:v>
                </c:pt>
                <c:pt idx="56693">
                  <c:v>124006</c:v>
                </c:pt>
                <c:pt idx="56694">
                  <c:v>23926</c:v>
                </c:pt>
                <c:pt idx="56695">
                  <c:v>69472</c:v>
                </c:pt>
                <c:pt idx="56696">
                  <c:v>77106</c:v>
                </c:pt>
                <c:pt idx="56697">
                  <c:v>49303</c:v>
                </c:pt>
                <c:pt idx="56698">
                  <c:v>67757</c:v>
                </c:pt>
                <c:pt idx="56699">
                  <c:v>135870</c:v>
                </c:pt>
                <c:pt idx="56700">
                  <c:v>46832</c:v>
                </c:pt>
                <c:pt idx="56701">
                  <c:v>33887</c:v>
                </c:pt>
                <c:pt idx="56702">
                  <c:v>54060</c:v>
                </c:pt>
                <c:pt idx="56703">
                  <c:v>27876</c:v>
                </c:pt>
                <c:pt idx="56704">
                  <c:v>44924</c:v>
                </c:pt>
                <c:pt idx="56705">
                  <c:v>20766</c:v>
                </c:pt>
                <c:pt idx="56706">
                  <c:v>31943</c:v>
                </c:pt>
                <c:pt idx="56707">
                  <c:v>65823</c:v>
                </c:pt>
                <c:pt idx="56708">
                  <c:v>56542</c:v>
                </c:pt>
                <c:pt idx="56709">
                  <c:v>31097</c:v>
                </c:pt>
                <c:pt idx="56710">
                  <c:v>22791</c:v>
                </c:pt>
                <c:pt idx="56711">
                  <c:v>21903</c:v>
                </c:pt>
                <c:pt idx="56712">
                  <c:v>42150</c:v>
                </c:pt>
                <c:pt idx="56713">
                  <c:v>28801</c:v>
                </c:pt>
                <c:pt idx="56714">
                  <c:v>30161</c:v>
                </c:pt>
                <c:pt idx="56715">
                  <c:v>164369</c:v>
                </c:pt>
                <c:pt idx="56716">
                  <c:v>43719</c:v>
                </c:pt>
                <c:pt idx="56717">
                  <c:v>24966</c:v>
                </c:pt>
                <c:pt idx="56718">
                  <c:v>32911</c:v>
                </c:pt>
                <c:pt idx="56719">
                  <c:v>24407</c:v>
                </c:pt>
                <c:pt idx="56720">
                  <c:v>86435</c:v>
                </c:pt>
                <c:pt idx="56721">
                  <c:v>39436</c:v>
                </c:pt>
                <c:pt idx="56722">
                  <c:v>59118</c:v>
                </c:pt>
                <c:pt idx="56723">
                  <c:v>47895</c:v>
                </c:pt>
                <c:pt idx="56724">
                  <c:v>26346</c:v>
                </c:pt>
                <c:pt idx="56725">
                  <c:v>77614</c:v>
                </c:pt>
                <c:pt idx="56726">
                  <c:v>50458</c:v>
                </c:pt>
                <c:pt idx="56727">
                  <c:v>30159</c:v>
                </c:pt>
                <c:pt idx="56728">
                  <c:v>67440</c:v>
                </c:pt>
                <c:pt idx="56729">
                  <c:v>63521</c:v>
                </c:pt>
                <c:pt idx="56730">
                  <c:v>43208</c:v>
                </c:pt>
                <c:pt idx="56731">
                  <c:v>29283</c:v>
                </c:pt>
                <c:pt idx="56732">
                  <c:v>22824</c:v>
                </c:pt>
                <c:pt idx="56733">
                  <c:v>37203</c:v>
                </c:pt>
                <c:pt idx="56734">
                  <c:v>103323</c:v>
                </c:pt>
                <c:pt idx="56735">
                  <c:v>82951</c:v>
                </c:pt>
                <c:pt idx="56736">
                  <c:v>95015</c:v>
                </c:pt>
                <c:pt idx="56737">
                  <c:v>98208</c:v>
                </c:pt>
                <c:pt idx="56738">
                  <c:v>22282</c:v>
                </c:pt>
                <c:pt idx="56739">
                  <c:v>50281</c:v>
                </c:pt>
                <c:pt idx="56740">
                  <c:v>22925</c:v>
                </c:pt>
                <c:pt idx="56741">
                  <c:v>155950</c:v>
                </c:pt>
                <c:pt idx="56742">
                  <c:v>42973</c:v>
                </c:pt>
                <c:pt idx="56743">
                  <c:v>99929</c:v>
                </c:pt>
                <c:pt idx="56744">
                  <c:v>25857</c:v>
                </c:pt>
                <c:pt idx="56745">
                  <c:v>34224</c:v>
                </c:pt>
                <c:pt idx="56746">
                  <c:v>52431</c:v>
                </c:pt>
                <c:pt idx="56747">
                  <c:v>23961</c:v>
                </c:pt>
                <c:pt idx="56748">
                  <c:v>77986</c:v>
                </c:pt>
                <c:pt idx="56749">
                  <c:v>49736</c:v>
                </c:pt>
                <c:pt idx="56750">
                  <c:v>36843</c:v>
                </c:pt>
                <c:pt idx="56751">
                  <c:v>34355</c:v>
                </c:pt>
                <c:pt idx="56752">
                  <c:v>59351</c:v>
                </c:pt>
                <c:pt idx="56753">
                  <c:v>32294</c:v>
                </c:pt>
                <c:pt idx="56754">
                  <c:v>40681</c:v>
                </c:pt>
                <c:pt idx="56755">
                  <c:v>21340</c:v>
                </c:pt>
                <c:pt idx="56756">
                  <c:v>34386</c:v>
                </c:pt>
                <c:pt idx="56757">
                  <c:v>28147</c:v>
                </c:pt>
                <c:pt idx="56758">
                  <c:v>25700</c:v>
                </c:pt>
                <c:pt idx="56759">
                  <c:v>102834</c:v>
                </c:pt>
                <c:pt idx="56760">
                  <c:v>44722</c:v>
                </c:pt>
                <c:pt idx="56761">
                  <c:v>74941</c:v>
                </c:pt>
                <c:pt idx="56762">
                  <c:v>39498</c:v>
                </c:pt>
                <c:pt idx="56763">
                  <c:v>184360</c:v>
                </c:pt>
                <c:pt idx="56764">
                  <c:v>45637</c:v>
                </c:pt>
                <c:pt idx="56765">
                  <c:v>339172</c:v>
                </c:pt>
                <c:pt idx="56766">
                  <c:v>47407</c:v>
                </c:pt>
                <c:pt idx="56767">
                  <c:v>90978</c:v>
                </c:pt>
                <c:pt idx="56768">
                  <c:v>38024</c:v>
                </c:pt>
                <c:pt idx="56769">
                  <c:v>74225</c:v>
                </c:pt>
                <c:pt idx="56770">
                  <c:v>164898</c:v>
                </c:pt>
                <c:pt idx="56771">
                  <c:v>52402</c:v>
                </c:pt>
                <c:pt idx="56772">
                  <c:v>29643</c:v>
                </c:pt>
                <c:pt idx="56773">
                  <c:v>187280</c:v>
                </c:pt>
                <c:pt idx="56774">
                  <c:v>67699</c:v>
                </c:pt>
                <c:pt idx="56775">
                  <c:v>40025</c:v>
                </c:pt>
                <c:pt idx="56776">
                  <c:v>104705</c:v>
                </c:pt>
                <c:pt idx="56777">
                  <c:v>56761</c:v>
                </c:pt>
                <c:pt idx="56778">
                  <c:v>49697</c:v>
                </c:pt>
                <c:pt idx="56779">
                  <c:v>33594</c:v>
                </c:pt>
                <c:pt idx="56780">
                  <c:v>30130</c:v>
                </c:pt>
                <c:pt idx="56781">
                  <c:v>43413</c:v>
                </c:pt>
                <c:pt idx="56782">
                  <c:v>25307</c:v>
                </c:pt>
                <c:pt idx="56783">
                  <c:v>27449</c:v>
                </c:pt>
                <c:pt idx="56784">
                  <c:v>54459</c:v>
                </c:pt>
                <c:pt idx="56785">
                  <c:v>26918</c:v>
                </c:pt>
                <c:pt idx="56786">
                  <c:v>24203</c:v>
                </c:pt>
                <c:pt idx="56787">
                  <c:v>93433</c:v>
                </c:pt>
                <c:pt idx="56788">
                  <c:v>48347</c:v>
                </c:pt>
                <c:pt idx="56789">
                  <c:v>272358</c:v>
                </c:pt>
                <c:pt idx="56790">
                  <c:v>36051</c:v>
                </c:pt>
                <c:pt idx="56791">
                  <c:v>83492</c:v>
                </c:pt>
                <c:pt idx="56792">
                  <c:v>57075</c:v>
                </c:pt>
                <c:pt idx="56793">
                  <c:v>41476</c:v>
                </c:pt>
                <c:pt idx="56794">
                  <c:v>101227</c:v>
                </c:pt>
                <c:pt idx="56795">
                  <c:v>44180</c:v>
                </c:pt>
                <c:pt idx="56796">
                  <c:v>26271</c:v>
                </c:pt>
                <c:pt idx="56797">
                  <c:v>30719</c:v>
                </c:pt>
                <c:pt idx="56798">
                  <c:v>23581</c:v>
                </c:pt>
                <c:pt idx="56799">
                  <c:v>49866</c:v>
                </c:pt>
                <c:pt idx="56800">
                  <c:v>40510</c:v>
                </c:pt>
                <c:pt idx="56801">
                  <c:v>40767</c:v>
                </c:pt>
                <c:pt idx="56802">
                  <c:v>23397</c:v>
                </c:pt>
                <c:pt idx="56803">
                  <c:v>39683</c:v>
                </c:pt>
                <c:pt idx="56804">
                  <c:v>33261</c:v>
                </c:pt>
                <c:pt idx="56805">
                  <c:v>27648</c:v>
                </c:pt>
                <c:pt idx="56806">
                  <c:v>62570</c:v>
                </c:pt>
                <c:pt idx="56807">
                  <c:v>25591</c:v>
                </c:pt>
                <c:pt idx="56808">
                  <c:v>39530</c:v>
                </c:pt>
                <c:pt idx="56809">
                  <c:v>86732</c:v>
                </c:pt>
                <c:pt idx="56810">
                  <c:v>68710</c:v>
                </c:pt>
                <c:pt idx="56811">
                  <c:v>32408</c:v>
                </c:pt>
                <c:pt idx="56812">
                  <c:v>93610</c:v>
                </c:pt>
                <c:pt idx="56813">
                  <c:v>80399</c:v>
                </c:pt>
                <c:pt idx="56814">
                  <c:v>43282</c:v>
                </c:pt>
                <c:pt idx="56815">
                  <c:v>37532</c:v>
                </c:pt>
                <c:pt idx="56816">
                  <c:v>59374</c:v>
                </c:pt>
                <c:pt idx="56817">
                  <c:v>29907</c:v>
                </c:pt>
                <c:pt idx="56818">
                  <c:v>236551</c:v>
                </c:pt>
                <c:pt idx="56819">
                  <c:v>31222</c:v>
                </c:pt>
                <c:pt idx="56820">
                  <c:v>104255</c:v>
                </c:pt>
                <c:pt idx="56821">
                  <c:v>38006</c:v>
                </c:pt>
                <c:pt idx="56822">
                  <c:v>46070</c:v>
                </c:pt>
                <c:pt idx="56823">
                  <c:v>49908</c:v>
                </c:pt>
                <c:pt idx="56824">
                  <c:v>52970</c:v>
                </c:pt>
                <c:pt idx="56825">
                  <c:v>44965</c:v>
                </c:pt>
                <c:pt idx="56826">
                  <c:v>52943</c:v>
                </c:pt>
                <c:pt idx="56827">
                  <c:v>45708</c:v>
                </c:pt>
                <c:pt idx="56828">
                  <c:v>73670</c:v>
                </c:pt>
                <c:pt idx="56829">
                  <c:v>26010</c:v>
                </c:pt>
                <c:pt idx="56830">
                  <c:v>105072</c:v>
                </c:pt>
                <c:pt idx="56831">
                  <c:v>104970</c:v>
                </c:pt>
                <c:pt idx="56832">
                  <c:v>50563</c:v>
                </c:pt>
                <c:pt idx="56833">
                  <c:v>33391</c:v>
                </c:pt>
                <c:pt idx="56834">
                  <c:v>30278</c:v>
                </c:pt>
                <c:pt idx="56835">
                  <c:v>65318</c:v>
                </c:pt>
                <c:pt idx="56836">
                  <c:v>36464</c:v>
                </c:pt>
                <c:pt idx="56837">
                  <c:v>39700</c:v>
                </c:pt>
                <c:pt idx="56838">
                  <c:v>42095</c:v>
                </c:pt>
                <c:pt idx="56839">
                  <c:v>28344</c:v>
                </c:pt>
                <c:pt idx="56840">
                  <c:v>41800</c:v>
                </c:pt>
                <c:pt idx="56841">
                  <c:v>55565</c:v>
                </c:pt>
                <c:pt idx="56842">
                  <c:v>40904</c:v>
                </c:pt>
                <c:pt idx="56843">
                  <c:v>97545</c:v>
                </c:pt>
                <c:pt idx="56844">
                  <c:v>78634</c:v>
                </c:pt>
                <c:pt idx="56845">
                  <c:v>105824</c:v>
                </c:pt>
                <c:pt idx="56846">
                  <c:v>43118</c:v>
                </c:pt>
                <c:pt idx="56847">
                  <c:v>81275</c:v>
                </c:pt>
                <c:pt idx="56848">
                  <c:v>20068</c:v>
                </c:pt>
                <c:pt idx="56849">
                  <c:v>43334</c:v>
                </c:pt>
                <c:pt idx="56850">
                  <c:v>54209</c:v>
                </c:pt>
                <c:pt idx="56851">
                  <c:v>37754</c:v>
                </c:pt>
                <c:pt idx="56852">
                  <c:v>182601</c:v>
                </c:pt>
                <c:pt idx="56853">
                  <c:v>40334</c:v>
                </c:pt>
                <c:pt idx="56854">
                  <c:v>34865</c:v>
                </c:pt>
                <c:pt idx="56855">
                  <c:v>139607</c:v>
                </c:pt>
                <c:pt idx="56856">
                  <c:v>136923</c:v>
                </c:pt>
                <c:pt idx="56857">
                  <c:v>77537</c:v>
                </c:pt>
                <c:pt idx="56858">
                  <c:v>54771</c:v>
                </c:pt>
                <c:pt idx="56859">
                  <c:v>125093</c:v>
                </c:pt>
                <c:pt idx="56860">
                  <c:v>41394</c:v>
                </c:pt>
                <c:pt idx="56861">
                  <c:v>28029</c:v>
                </c:pt>
                <c:pt idx="56862">
                  <c:v>92962</c:v>
                </c:pt>
                <c:pt idx="56863">
                  <c:v>36502</c:v>
                </c:pt>
                <c:pt idx="56864">
                  <c:v>21533</c:v>
                </c:pt>
                <c:pt idx="56865">
                  <c:v>94237</c:v>
                </c:pt>
                <c:pt idx="56866">
                  <c:v>24831</c:v>
                </c:pt>
                <c:pt idx="56867">
                  <c:v>30750</c:v>
                </c:pt>
                <c:pt idx="56868">
                  <c:v>216087</c:v>
                </c:pt>
                <c:pt idx="56869">
                  <c:v>303403</c:v>
                </c:pt>
                <c:pt idx="56870">
                  <c:v>39554</c:v>
                </c:pt>
                <c:pt idx="56871">
                  <c:v>39200</c:v>
                </c:pt>
                <c:pt idx="56872">
                  <c:v>29575</c:v>
                </c:pt>
                <c:pt idx="56873">
                  <c:v>37064</c:v>
                </c:pt>
                <c:pt idx="56874">
                  <c:v>64131</c:v>
                </c:pt>
                <c:pt idx="56875">
                  <c:v>53502</c:v>
                </c:pt>
                <c:pt idx="56876">
                  <c:v>44396</c:v>
                </c:pt>
                <c:pt idx="56877">
                  <c:v>50201</c:v>
                </c:pt>
                <c:pt idx="56878">
                  <c:v>43876</c:v>
                </c:pt>
                <c:pt idx="56879">
                  <c:v>45009</c:v>
                </c:pt>
                <c:pt idx="56880">
                  <c:v>70799</c:v>
                </c:pt>
                <c:pt idx="56881">
                  <c:v>23820</c:v>
                </c:pt>
                <c:pt idx="56882">
                  <c:v>79692</c:v>
                </c:pt>
                <c:pt idx="56883">
                  <c:v>33929</c:v>
                </c:pt>
                <c:pt idx="56884">
                  <c:v>37142</c:v>
                </c:pt>
                <c:pt idx="56885">
                  <c:v>44987</c:v>
                </c:pt>
                <c:pt idx="56886">
                  <c:v>30236</c:v>
                </c:pt>
                <c:pt idx="56887">
                  <c:v>23126</c:v>
                </c:pt>
                <c:pt idx="56888">
                  <c:v>31859</c:v>
                </c:pt>
                <c:pt idx="56889">
                  <c:v>71873</c:v>
                </c:pt>
                <c:pt idx="56890">
                  <c:v>23954</c:v>
                </c:pt>
                <c:pt idx="56891">
                  <c:v>48643</c:v>
                </c:pt>
                <c:pt idx="56892">
                  <c:v>34813</c:v>
                </c:pt>
                <c:pt idx="56893">
                  <c:v>37694</c:v>
                </c:pt>
                <c:pt idx="56894">
                  <c:v>31029</c:v>
                </c:pt>
                <c:pt idx="56895">
                  <c:v>22058</c:v>
                </c:pt>
                <c:pt idx="56896">
                  <c:v>33418</c:v>
                </c:pt>
                <c:pt idx="56897">
                  <c:v>30848</c:v>
                </c:pt>
                <c:pt idx="56898">
                  <c:v>27069</c:v>
                </c:pt>
                <c:pt idx="56899">
                  <c:v>125876</c:v>
                </c:pt>
                <c:pt idx="56900">
                  <c:v>76481</c:v>
                </c:pt>
                <c:pt idx="56901">
                  <c:v>38356</c:v>
                </c:pt>
                <c:pt idx="56902">
                  <c:v>46045</c:v>
                </c:pt>
                <c:pt idx="56903">
                  <c:v>30486</c:v>
                </c:pt>
                <c:pt idx="56904">
                  <c:v>45267</c:v>
                </c:pt>
                <c:pt idx="56905">
                  <c:v>41039</c:v>
                </c:pt>
                <c:pt idx="56906">
                  <c:v>37871</c:v>
                </c:pt>
                <c:pt idx="56907">
                  <c:v>54483</c:v>
                </c:pt>
                <c:pt idx="56908">
                  <c:v>97722</c:v>
                </c:pt>
                <c:pt idx="56909">
                  <c:v>42401</c:v>
                </c:pt>
                <c:pt idx="56910">
                  <c:v>86608</c:v>
                </c:pt>
                <c:pt idx="56911">
                  <c:v>76264</c:v>
                </c:pt>
                <c:pt idx="56912">
                  <c:v>42136</c:v>
                </c:pt>
                <c:pt idx="56913">
                  <c:v>20662</c:v>
                </c:pt>
                <c:pt idx="56914">
                  <c:v>88126</c:v>
                </c:pt>
                <c:pt idx="56915">
                  <c:v>143138</c:v>
                </c:pt>
                <c:pt idx="56916">
                  <c:v>37869</c:v>
                </c:pt>
                <c:pt idx="56917">
                  <c:v>35975</c:v>
                </c:pt>
                <c:pt idx="56918">
                  <c:v>43712</c:v>
                </c:pt>
                <c:pt idx="56919">
                  <c:v>49511</c:v>
                </c:pt>
                <c:pt idx="56920">
                  <c:v>34421</c:v>
                </c:pt>
                <c:pt idx="56921">
                  <c:v>32968</c:v>
                </c:pt>
                <c:pt idx="56922">
                  <c:v>48378</c:v>
                </c:pt>
                <c:pt idx="56923">
                  <c:v>39232</c:v>
                </c:pt>
                <c:pt idx="56924">
                  <c:v>46515</c:v>
                </c:pt>
                <c:pt idx="56925">
                  <c:v>51742</c:v>
                </c:pt>
                <c:pt idx="56926">
                  <c:v>58944</c:v>
                </c:pt>
                <c:pt idx="56927">
                  <c:v>43281</c:v>
                </c:pt>
                <c:pt idx="56928">
                  <c:v>40452</c:v>
                </c:pt>
                <c:pt idx="56929">
                  <c:v>48611</c:v>
                </c:pt>
                <c:pt idx="56930">
                  <c:v>136305</c:v>
                </c:pt>
                <c:pt idx="56931">
                  <c:v>45684</c:v>
                </c:pt>
                <c:pt idx="56932">
                  <c:v>50063</c:v>
                </c:pt>
                <c:pt idx="56933">
                  <c:v>23666</c:v>
                </c:pt>
                <c:pt idx="56934">
                  <c:v>187820</c:v>
                </c:pt>
                <c:pt idx="56935">
                  <c:v>23148</c:v>
                </c:pt>
                <c:pt idx="56936">
                  <c:v>22997</c:v>
                </c:pt>
                <c:pt idx="56937">
                  <c:v>69808</c:v>
                </c:pt>
                <c:pt idx="56938">
                  <c:v>33013</c:v>
                </c:pt>
                <c:pt idx="56939">
                  <c:v>83841</c:v>
                </c:pt>
                <c:pt idx="56940">
                  <c:v>44806</c:v>
                </c:pt>
                <c:pt idx="56941">
                  <c:v>30340</c:v>
                </c:pt>
                <c:pt idx="56942">
                  <c:v>62430</c:v>
                </c:pt>
                <c:pt idx="56943">
                  <c:v>46591</c:v>
                </c:pt>
                <c:pt idx="56944">
                  <c:v>28581</c:v>
                </c:pt>
                <c:pt idx="56945">
                  <c:v>29057</c:v>
                </c:pt>
                <c:pt idx="56946">
                  <c:v>46525</c:v>
                </c:pt>
                <c:pt idx="56947">
                  <c:v>23825</c:v>
                </c:pt>
                <c:pt idx="56948">
                  <c:v>35765</c:v>
                </c:pt>
                <c:pt idx="56949">
                  <c:v>24016</c:v>
                </c:pt>
                <c:pt idx="56950">
                  <c:v>165095</c:v>
                </c:pt>
                <c:pt idx="56951">
                  <c:v>46299</c:v>
                </c:pt>
                <c:pt idx="56952">
                  <c:v>28210</c:v>
                </c:pt>
                <c:pt idx="56953">
                  <c:v>81126</c:v>
                </c:pt>
                <c:pt idx="56954">
                  <c:v>143480</c:v>
                </c:pt>
                <c:pt idx="56955">
                  <c:v>62246</c:v>
                </c:pt>
                <c:pt idx="56956">
                  <c:v>55541</c:v>
                </c:pt>
                <c:pt idx="56957">
                  <c:v>15000</c:v>
                </c:pt>
                <c:pt idx="56958">
                  <c:v>58243</c:v>
                </c:pt>
                <c:pt idx="56959">
                  <c:v>38688</c:v>
                </c:pt>
                <c:pt idx="56960">
                  <c:v>32456</c:v>
                </c:pt>
                <c:pt idx="56961">
                  <c:v>31879</c:v>
                </c:pt>
                <c:pt idx="56962">
                  <c:v>33519</c:v>
                </c:pt>
                <c:pt idx="56963">
                  <c:v>24640</c:v>
                </c:pt>
                <c:pt idx="56964">
                  <c:v>28424</c:v>
                </c:pt>
                <c:pt idx="56965">
                  <c:v>55811</c:v>
                </c:pt>
                <c:pt idx="56966">
                  <c:v>168221</c:v>
                </c:pt>
                <c:pt idx="56967">
                  <c:v>39062</c:v>
                </c:pt>
                <c:pt idx="56968">
                  <c:v>149821</c:v>
                </c:pt>
                <c:pt idx="56969">
                  <c:v>36437</c:v>
                </c:pt>
                <c:pt idx="56970">
                  <c:v>31159</c:v>
                </c:pt>
                <c:pt idx="56971">
                  <c:v>55480</c:v>
                </c:pt>
                <c:pt idx="56972">
                  <c:v>114323</c:v>
                </c:pt>
                <c:pt idx="56973">
                  <c:v>24856</c:v>
                </c:pt>
                <c:pt idx="56974">
                  <c:v>49348</c:v>
                </c:pt>
                <c:pt idx="56975">
                  <c:v>34946</c:v>
                </c:pt>
                <c:pt idx="56976">
                  <c:v>34401</c:v>
                </c:pt>
                <c:pt idx="56977">
                  <c:v>28109</c:v>
                </c:pt>
                <c:pt idx="56978">
                  <c:v>53680</c:v>
                </c:pt>
                <c:pt idx="56979">
                  <c:v>34418</c:v>
                </c:pt>
                <c:pt idx="56980">
                  <c:v>149381</c:v>
                </c:pt>
                <c:pt idx="56981">
                  <c:v>59035</c:v>
                </c:pt>
                <c:pt idx="56982">
                  <c:v>43056</c:v>
                </c:pt>
                <c:pt idx="56983">
                  <c:v>76572</c:v>
                </c:pt>
                <c:pt idx="56984">
                  <c:v>38105</c:v>
                </c:pt>
                <c:pt idx="56985">
                  <c:v>157336</c:v>
                </c:pt>
                <c:pt idx="56986">
                  <c:v>37118</c:v>
                </c:pt>
                <c:pt idx="56987">
                  <c:v>69074</c:v>
                </c:pt>
                <c:pt idx="56988">
                  <c:v>26076</c:v>
                </c:pt>
                <c:pt idx="56989">
                  <c:v>377524</c:v>
                </c:pt>
                <c:pt idx="56990">
                  <c:v>50961</c:v>
                </c:pt>
                <c:pt idx="56991">
                  <c:v>40543</c:v>
                </c:pt>
                <c:pt idx="56992">
                  <c:v>43173</c:v>
                </c:pt>
                <c:pt idx="56993">
                  <c:v>46988</c:v>
                </c:pt>
                <c:pt idx="56994">
                  <c:v>43336</c:v>
                </c:pt>
                <c:pt idx="56995">
                  <c:v>32339</c:v>
                </c:pt>
                <c:pt idx="56996">
                  <c:v>47077</c:v>
                </c:pt>
                <c:pt idx="56997">
                  <c:v>122193</c:v>
                </c:pt>
                <c:pt idx="56998">
                  <c:v>24049</c:v>
                </c:pt>
                <c:pt idx="56999">
                  <c:v>42796</c:v>
                </c:pt>
                <c:pt idx="57000">
                  <c:v>29304</c:v>
                </c:pt>
                <c:pt idx="57001">
                  <c:v>118744</c:v>
                </c:pt>
                <c:pt idx="57002">
                  <c:v>88187</c:v>
                </c:pt>
                <c:pt idx="57003">
                  <c:v>47664</c:v>
                </c:pt>
                <c:pt idx="57004">
                  <c:v>61164</c:v>
                </c:pt>
                <c:pt idx="57005">
                  <c:v>61558</c:v>
                </c:pt>
                <c:pt idx="57006">
                  <c:v>40269</c:v>
                </c:pt>
                <c:pt idx="57007">
                  <c:v>180129</c:v>
                </c:pt>
                <c:pt idx="57008">
                  <c:v>112924</c:v>
                </c:pt>
                <c:pt idx="57009">
                  <c:v>27532</c:v>
                </c:pt>
                <c:pt idx="57010">
                  <c:v>46545</c:v>
                </c:pt>
                <c:pt idx="57011">
                  <c:v>33888</c:v>
                </c:pt>
                <c:pt idx="57012">
                  <c:v>35002</c:v>
                </c:pt>
                <c:pt idx="57013">
                  <c:v>29543</c:v>
                </c:pt>
                <c:pt idx="57014">
                  <c:v>25571</c:v>
                </c:pt>
                <c:pt idx="57015">
                  <c:v>41922</c:v>
                </c:pt>
                <c:pt idx="57016">
                  <c:v>27808</c:v>
                </c:pt>
                <c:pt idx="57017">
                  <c:v>111971</c:v>
                </c:pt>
                <c:pt idx="57018">
                  <c:v>36618</c:v>
                </c:pt>
                <c:pt idx="57019">
                  <c:v>40727</c:v>
                </c:pt>
                <c:pt idx="57020">
                  <c:v>23300</c:v>
                </c:pt>
                <c:pt idx="57021">
                  <c:v>67516</c:v>
                </c:pt>
                <c:pt idx="57022">
                  <c:v>58665</c:v>
                </c:pt>
                <c:pt idx="57023">
                  <c:v>29409</c:v>
                </c:pt>
                <c:pt idx="57024">
                  <c:v>214796</c:v>
                </c:pt>
                <c:pt idx="57025">
                  <c:v>23185</c:v>
                </c:pt>
                <c:pt idx="57026">
                  <c:v>108846</c:v>
                </c:pt>
                <c:pt idx="57027">
                  <c:v>197566</c:v>
                </c:pt>
                <c:pt idx="57028">
                  <c:v>39426</c:v>
                </c:pt>
                <c:pt idx="57029">
                  <c:v>35874</c:v>
                </c:pt>
                <c:pt idx="57030">
                  <c:v>105927</c:v>
                </c:pt>
                <c:pt idx="57031">
                  <c:v>26049</c:v>
                </c:pt>
                <c:pt idx="57032">
                  <c:v>29590</c:v>
                </c:pt>
                <c:pt idx="57033">
                  <c:v>51168</c:v>
                </c:pt>
                <c:pt idx="57034">
                  <c:v>39360</c:v>
                </c:pt>
                <c:pt idx="57035">
                  <c:v>42256</c:v>
                </c:pt>
                <c:pt idx="57036">
                  <c:v>27402</c:v>
                </c:pt>
                <c:pt idx="57037">
                  <c:v>27326</c:v>
                </c:pt>
                <c:pt idx="57038">
                  <c:v>34622</c:v>
                </c:pt>
                <c:pt idx="57039">
                  <c:v>70574</c:v>
                </c:pt>
                <c:pt idx="57040">
                  <c:v>48830</c:v>
                </c:pt>
                <c:pt idx="57041">
                  <c:v>72738</c:v>
                </c:pt>
                <c:pt idx="57042">
                  <c:v>91209</c:v>
                </c:pt>
                <c:pt idx="57043">
                  <c:v>65681</c:v>
                </c:pt>
                <c:pt idx="57044">
                  <c:v>34685</c:v>
                </c:pt>
                <c:pt idx="57045">
                  <c:v>76838</c:v>
                </c:pt>
                <c:pt idx="57046">
                  <c:v>33450</c:v>
                </c:pt>
                <c:pt idx="57047">
                  <c:v>80229</c:v>
                </c:pt>
                <c:pt idx="57048">
                  <c:v>25208</c:v>
                </c:pt>
                <c:pt idx="57049">
                  <c:v>34273</c:v>
                </c:pt>
                <c:pt idx="57050">
                  <c:v>38255</c:v>
                </c:pt>
                <c:pt idx="57051">
                  <c:v>72075</c:v>
                </c:pt>
                <c:pt idx="57052">
                  <c:v>37622</c:v>
                </c:pt>
                <c:pt idx="57053">
                  <c:v>26000</c:v>
                </c:pt>
                <c:pt idx="57054">
                  <c:v>27191</c:v>
                </c:pt>
                <c:pt idx="57055">
                  <c:v>38354</c:v>
                </c:pt>
                <c:pt idx="57056">
                  <c:v>30733</c:v>
                </c:pt>
                <c:pt idx="57057">
                  <c:v>34168</c:v>
                </c:pt>
                <c:pt idx="57058">
                  <c:v>43578</c:v>
                </c:pt>
                <c:pt idx="57059">
                  <c:v>56080</c:v>
                </c:pt>
                <c:pt idx="57060">
                  <c:v>50530</c:v>
                </c:pt>
                <c:pt idx="57061">
                  <c:v>43536</c:v>
                </c:pt>
                <c:pt idx="57062">
                  <c:v>76554</c:v>
                </c:pt>
                <c:pt idx="57063">
                  <c:v>42598</c:v>
                </c:pt>
                <c:pt idx="57064">
                  <c:v>46853</c:v>
                </c:pt>
                <c:pt idx="57065">
                  <c:v>47497</c:v>
                </c:pt>
                <c:pt idx="57066">
                  <c:v>46489</c:v>
                </c:pt>
                <c:pt idx="57067">
                  <c:v>64840</c:v>
                </c:pt>
                <c:pt idx="57068">
                  <c:v>87804</c:v>
                </c:pt>
                <c:pt idx="57069">
                  <c:v>43779</c:v>
                </c:pt>
                <c:pt idx="57070">
                  <c:v>30573</c:v>
                </c:pt>
                <c:pt idx="57071">
                  <c:v>35461</c:v>
                </c:pt>
                <c:pt idx="57072">
                  <c:v>38865</c:v>
                </c:pt>
                <c:pt idx="57073">
                  <c:v>61230</c:v>
                </c:pt>
                <c:pt idx="57074">
                  <c:v>56176</c:v>
                </c:pt>
                <c:pt idx="57075">
                  <c:v>32441</c:v>
                </c:pt>
                <c:pt idx="57076">
                  <c:v>241029</c:v>
                </c:pt>
                <c:pt idx="57077">
                  <c:v>44252</c:v>
                </c:pt>
                <c:pt idx="57078">
                  <c:v>41527</c:v>
                </c:pt>
                <c:pt idx="57079">
                  <c:v>33299</c:v>
                </c:pt>
                <c:pt idx="57080">
                  <c:v>41302</c:v>
                </c:pt>
                <c:pt idx="57081">
                  <c:v>74228</c:v>
                </c:pt>
                <c:pt idx="57082">
                  <c:v>32293</c:v>
                </c:pt>
                <c:pt idx="57083">
                  <c:v>34157</c:v>
                </c:pt>
                <c:pt idx="57084">
                  <c:v>70444</c:v>
                </c:pt>
                <c:pt idx="57085">
                  <c:v>43358</c:v>
                </c:pt>
                <c:pt idx="57086">
                  <c:v>59561</c:v>
                </c:pt>
                <c:pt idx="57087">
                  <c:v>43645</c:v>
                </c:pt>
                <c:pt idx="57088">
                  <c:v>23811</c:v>
                </c:pt>
                <c:pt idx="57089">
                  <c:v>44511</c:v>
                </c:pt>
                <c:pt idx="57090">
                  <c:v>166753</c:v>
                </c:pt>
                <c:pt idx="57091">
                  <c:v>57176</c:v>
                </c:pt>
                <c:pt idx="57092">
                  <c:v>377670</c:v>
                </c:pt>
                <c:pt idx="57093">
                  <c:v>28518</c:v>
                </c:pt>
                <c:pt idx="57094">
                  <c:v>37407</c:v>
                </c:pt>
                <c:pt idx="57095">
                  <c:v>39156</c:v>
                </c:pt>
                <c:pt idx="57096">
                  <c:v>103230</c:v>
                </c:pt>
                <c:pt idx="57097">
                  <c:v>24233</c:v>
                </c:pt>
                <c:pt idx="57098">
                  <c:v>114979</c:v>
                </c:pt>
                <c:pt idx="57099">
                  <c:v>44642</c:v>
                </c:pt>
                <c:pt idx="57100">
                  <c:v>175933</c:v>
                </c:pt>
                <c:pt idx="57101">
                  <c:v>25891</c:v>
                </c:pt>
                <c:pt idx="57102">
                  <c:v>45258</c:v>
                </c:pt>
                <c:pt idx="57103">
                  <c:v>49530</c:v>
                </c:pt>
                <c:pt idx="57104">
                  <c:v>45452</c:v>
                </c:pt>
                <c:pt idx="57105">
                  <c:v>43629</c:v>
                </c:pt>
                <c:pt idx="57106">
                  <c:v>21429</c:v>
                </c:pt>
                <c:pt idx="57107">
                  <c:v>29831</c:v>
                </c:pt>
                <c:pt idx="57108">
                  <c:v>65884</c:v>
                </c:pt>
                <c:pt idx="57109">
                  <c:v>22631</c:v>
                </c:pt>
                <c:pt idx="57110">
                  <c:v>69012</c:v>
                </c:pt>
                <c:pt idx="57111">
                  <c:v>34483</c:v>
                </c:pt>
                <c:pt idx="57112">
                  <c:v>145030</c:v>
                </c:pt>
                <c:pt idx="57113">
                  <c:v>64407</c:v>
                </c:pt>
                <c:pt idx="57114">
                  <c:v>24684</c:v>
                </c:pt>
                <c:pt idx="57115">
                  <c:v>85865</c:v>
                </c:pt>
                <c:pt idx="57116">
                  <c:v>36492</c:v>
                </c:pt>
                <c:pt idx="57117">
                  <c:v>44761</c:v>
                </c:pt>
                <c:pt idx="57118">
                  <c:v>43811</c:v>
                </c:pt>
                <c:pt idx="57119">
                  <c:v>33532</c:v>
                </c:pt>
                <c:pt idx="57120">
                  <c:v>82412</c:v>
                </c:pt>
                <c:pt idx="57121">
                  <c:v>63359</c:v>
                </c:pt>
                <c:pt idx="57122">
                  <c:v>24705</c:v>
                </c:pt>
                <c:pt idx="57123">
                  <c:v>31538</c:v>
                </c:pt>
                <c:pt idx="57124">
                  <c:v>46078</c:v>
                </c:pt>
                <c:pt idx="57125">
                  <c:v>33976</c:v>
                </c:pt>
                <c:pt idx="57126">
                  <c:v>58926</c:v>
                </c:pt>
                <c:pt idx="57127">
                  <c:v>31015</c:v>
                </c:pt>
                <c:pt idx="57128">
                  <c:v>25369</c:v>
                </c:pt>
                <c:pt idx="57129">
                  <c:v>58690</c:v>
                </c:pt>
                <c:pt idx="57130">
                  <c:v>26227</c:v>
                </c:pt>
                <c:pt idx="57131">
                  <c:v>37207</c:v>
                </c:pt>
                <c:pt idx="57132">
                  <c:v>26764</c:v>
                </c:pt>
                <c:pt idx="57133">
                  <c:v>42475</c:v>
                </c:pt>
                <c:pt idx="57134">
                  <c:v>79270</c:v>
                </c:pt>
                <c:pt idx="57135">
                  <c:v>62575</c:v>
                </c:pt>
                <c:pt idx="57136">
                  <c:v>29805</c:v>
                </c:pt>
                <c:pt idx="57137">
                  <c:v>55071</c:v>
                </c:pt>
                <c:pt idx="57138">
                  <c:v>31345</c:v>
                </c:pt>
                <c:pt idx="57139">
                  <c:v>29409</c:v>
                </c:pt>
                <c:pt idx="57140">
                  <c:v>55322</c:v>
                </c:pt>
                <c:pt idx="57141">
                  <c:v>31549</c:v>
                </c:pt>
                <c:pt idx="57142">
                  <c:v>44498</c:v>
                </c:pt>
                <c:pt idx="57143">
                  <c:v>54506</c:v>
                </c:pt>
                <c:pt idx="57144">
                  <c:v>52405</c:v>
                </c:pt>
                <c:pt idx="57145">
                  <c:v>45383</c:v>
                </c:pt>
                <c:pt idx="57146">
                  <c:v>32436</c:v>
                </c:pt>
                <c:pt idx="57147">
                  <c:v>36577</c:v>
                </c:pt>
                <c:pt idx="57148">
                  <c:v>26484</c:v>
                </c:pt>
                <c:pt idx="57149">
                  <c:v>107617</c:v>
                </c:pt>
                <c:pt idx="57150">
                  <c:v>69883</c:v>
                </c:pt>
                <c:pt idx="57151">
                  <c:v>52886</c:v>
                </c:pt>
                <c:pt idx="57152">
                  <c:v>94884</c:v>
                </c:pt>
                <c:pt idx="57153">
                  <c:v>32114</c:v>
                </c:pt>
                <c:pt idx="57154">
                  <c:v>55683</c:v>
                </c:pt>
                <c:pt idx="57155">
                  <c:v>46967</c:v>
                </c:pt>
                <c:pt idx="57156">
                  <c:v>77117</c:v>
                </c:pt>
                <c:pt idx="57157">
                  <c:v>64265</c:v>
                </c:pt>
                <c:pt idx="57158">
                  <c:v>41676</c:v>
                </c:pt>
                <c:pt idx="57159">
                  <c:v>98945</c:v>
                </c:pt>
                <c:pt idx="57160">
                  <c:v>176205</c:v>
                </c:pt>
                <c:pt idx="57161">
                  <c:v>26090</c:v>
                </c:pt>
                <c:pt idx="57162">
                  <c:v>137339</c:v>
                </c:pt>
                <c:pt idx="57163">
                  <c:v>24396</c:v>
                </c:pt>
                <c:pt idx="57164">
                  <c:v>27755</c:v>
                </c:pt>
                <c:pt idx="57165">
                  <c:v>35568</c:v>
                </c:pt>
                <c:pt idx="57166">
                  <c:v>26862</c:v>
                </c:pt>
                <c:pt idx="57167">
                  <c:v>61723</c:v>
                </c:pt>
                <c:pt idx="57168">
                  <c:v>39681</c:v>
                </c:pt>
                <c:pt idx="57169">
                  <c:v>34033</c:v>
                </c:pt>
                <c:pt idx="57170">
                  <c:v>251101</c:v>
                </c:pt>
                <c:pt idx="57171">
                  <c:v>27982</c:v>
                </c:pt>
                <c:pt idx="57172">
                  <c:v>96009</c:v>
                </c:pt>
                <c:pt idx="57173">
                  <c:v>45958</c:v>
                </c:pt>
                <c:pt idx="57174">
                  <c:v>376788</c:v>
                </c:pt>
                <c:pt idx="57175">
                  <c:v>95623</c:v>
                </c:pt>
                <c:pt idx="57176">
                  <c:v>23019</c:v>
                </c:pt>
                <c:pt idx="57177">
                  <c:v>42612</c:v>
                </c:pt>
                <c:pt idx="57178">
                  <c:v>34633</c:v>
                </c:pt>
                <c:pt idx="57179">
                  <c:v>36263</c:v>
                </c:pt>
                <c:pt idx="57180">
                  <c:v>140068</c:v>
                </c:pt>
                <c:pt idx="57181">
                  <c:v>90206</c:v>
                </c:pt>
                <c:pt idx="57182">
                  <c:v>105260</c:v>
                </c:pt>
                <c:pt idx="57183">
                  <c:v>49051</c:v>
                </c:pt>
                <c:pt idx="57184">
                  <c:v>40518</c:v>
                </c:pt>
                <c:pt idx="57185">
                  <c:v>141165</c:v>
                </c:pt>
                <c:pt idx="57186">
                  <c:v>42743</c:v>
                </c:pt>
                <c:pt idx="57187">
                  <c:v>39014</c:v>
                </c:pt>
                <c:pt idx="57188">
                  <c:v>70750</c:v>
                </c:pt>
                <c:pt idx="57189">
                  <c:v>25788</c:v>
                </c:pt>
                <c:pt idx="57190">
                  <c:v>37661</c:v>
                </c:pt>
                <c:pt idx="57191">
                  <c:v>30620</c:v>
                </c:pt>
                <c:pt idx="57192">
                  <c:v>222226</c:v>
                </c:pt>
                <c:pt idx="57193">
                  <c:v>60828</c:v>
                </c:pt>
                <c:pt idx="57194">
                  <c:v>19517</c:v>
                </c:pt>
                <c:pt idx="57195">
                  <c:v>26712</c:v>
                </c:pt>
                <c:pt idx="57196">
                  <c:v>56821</c:v>
                </c:pt>
                <c:pt idx="57197">
                  <c:v>25728</c:v>
                </c:pt>
                <c:pt idx="57198">
                  <c:v>44752</c:v>
                </c:pt>
                <c:pt idx="57199">
                  <c:v>48863</c:v>
                </c:pt>
                <c:pt idx="57200">
                  <c:v>36800</c:v>
                </c:pt>
                <c:pt idx="57201">
                  <c:v>87815</c:v>
                </c:pt>
                <c:pt idx="57202">
                  <c:v>136297</c:v>
                </c:pt>
                <c:pt idx="57203">
                  <c:v>30543</c:v>
                </c:pt>
                <c:pt idx="57204">
                  <c:v>43530</c:v>
                </c:pt>
                <c:pt idx="57205">
                  <c:v>117397</c:v>
                </c:pt>
                <c:pt idx="57206">
                  <c:v>317705</c:v>
                </c:pt>
                <c:pt idx="57207">
                  <c:v>31105</c:v>
                </c:pt>
                <c:pt idx="57208">
                  <c:v>33178</c:v>
                </c:pt>
                <c:pt idx="57209">
                  <c:v>111995</c:v>
                </c:pt>
                <c:pt idx="57210">
                  <c:v>188771</c:v>
                </c:pt>
                <c:pt idx="57211">
                  <c:v>37873</c:v>
                </c:pt>
                <c:pt idx="57212">
                  <c:v>61543</c:v>
                </c:pt>
                <c:pt idx="57213">
                  <c:v>41834</c:v>
                </c:pt>
                <c:pt idx="57214">
                  <c:v>26387</c:v>
                </c:pt>
                <c:pt idx="57215">
                  <c:v>53854</c:v>
                </c:pt>
                <c:pt idx="57216">
                  <c:v>79355</c:v>
                </c:pt>
                <c:pt idx="57217">
                  <c:v>45388</c:v>
                </c:pt>
                <c:pt idx="57218">
                  <c:v>35670</c:v>
                </c:pt>
                <c:pt idx="57219">
                  <c:v>48006</c:v>
                </c:pt>
                <c:pt idx="57220">
                  <c:v>41827</c:v>
                </c:pt>
                <c:pt idx="57221">
                  <c:v>22844</c:v>
                </c:pt>
                <c:pt idx="57222">
                  <c:v>171491</c:v>
                </c:pt>
                <c:pt idx="57223">
                  <c:v>122065</c:v>
                </c:pt>
                <c:pt idx="57224">
                  <c:v>133696</c:v>
                </c:pt>
                <c:pt idx="57225">
                  <c:v>54817</c:v>
                </c:pt>
                <c:pt idx="57226">
                  <c:v>29904</c:v>
                </c:pt>
                <c:pt idx="57227">
                  <c:v>68119</c:v>
                </c:pt>
                <c:pt idx="57228">
                  <c:v>47668</c:v>
                </c:pt>
                <c:pt idx="57229">
                  <c:v>101447</c:v>
                </c:pt>
                <c:pt idx="57230">
                  <c:v>40988</c:v>
                </c:pt>
                <c:pt idx="57231">
                  <c:v>52997</c:v>
                </c:pt>
                <c:pt idx="57232">
                  <c:v>55491</c:v>
                </c:pt>
                <c:pt idx="57233">
                  <c:v>61887</c:v>
                </c:pt>
                <c:pt idx="57234">
                  <c:v>29269</c:v>
                </c:pt>
                <c:pt idx="57235">
                  <c:v>40636</c:v>
                </c:pt>
                <c:pt idx="57236">
                  <c:v>32326</c:v>
                </c:pt>
                <c:pt idx="57237">
                  <c:v>40856</c:v>
                </c:pt>
                <c:pt idx="57238">
                  <c:v>30799</c:v>
                </c:pt>
                <c:pt idx="57239">
                  <c:v>26173</c:v>
                </c:pt>
                <c:pt idx="57240">
                  <c:v>168828</c:v>
                </c:pt>
                <c:pt idx="57241">
                  <c:v>79807</c:v>
                </c:pt>
                <c:pt idx="57242">
                  <c:v>27424</c:v>
                </c:pt>
                <c:pt idx="57243">
                  <c:v>25367</c:v>
                </c:pt>
                <c:pt idx="57244">
                  <c:v>80863</c:v>
                </c:pt>
                <c:pt idx="57245">
                  <c:v>37248</c:v>
                </c:pt>
                <c:pt idx="57246">
                  <c:v>82525</c:v>
                </c:pt>
                <c:pt idx="57247">
                  <c:v>54136</c:v>
                </c:pt>
                <c:pt idx="57248">
                  <c:v>31099</c:v>
                </c:pt>
                <c:pt idx="57249">
                  <c:v>15000</c:v>
                </c:pt>
                <c:pt idx="57250">
                  <c:v>33734</c:v>
                </c:pt>
                <c:pt idx="57251">
                  <c:v>55981</c:v>
                </c:pt>
                <c:pt idx="57252">
                  <c:v>37522</c:v>
                </c:pt>
                <c:pt idx="57253">
                  <c:v>20224</c:v>
                </c:pt>
                <c:pt idx="57254">
                  <c:v>27315</c:v>
                </c:pt>
                <c:pt idx="57255">
                  <c:v>23648</c:v>
                </c:pt>
                <c:pt idx="57256">
                  <c:v>27156</c:v>
                </c:pt>
                <c:pt idx="57257">
                  <c:v>145114</c:v>
                </c:pt>
                <c:pt idx="57258">
                  <c:v>48284</c:v>
                </c:pt>
                <c:pt idx="57259">
                  <c:v>26410</c:v>
                </c:pt>
                <c:pt idx="57260">
                  <c:v>86035</c:v>
                </c:pt>
                <c:pt idx="57261">
                  <c:v>50321</c:v>
                </c:pt>
                <c:pt idx="57262">
                  <c:v>38497</c:v>
                </c:pt>
                <c:pt idx="57263">
                  <c:v>26553</c:v>
                </c:pt>
                <c:pt idx="57264">
                  <c:v>93270</c:v>
                </c:pt>
                <c:pt idx="57265">
                  <c:v>192446</c:v>
                </c:pt>
                <c:pt idx="57266">
                  <c:v>35516</c:v>
                </c:pt>
                <c:pt idx="57267">
                  <c:v>35465</c:v>
                </c:pt>
                <c:pt idx="57268">
                  <c:v>49128</c:v>
                </c:pt>
                <c:pt idx="57269">
                  <c:v>59254</c:v>
                </c:pt>
                <c:pt idx="57270">
                  <c:v>34713</c:v>
                </c:pt>
                <c:pt idx="57271">
                  <c:v>88472</c:v>
                </c:pt>
                <c:pt idx="57272">
                  <c:v>40355</c:v>
                </c:pt>
                <c:pt idx="57273">
                  <c:v>129864</c:v>
                </c:pt>
                <c:pt idx="57274">
                  <c:v>35295</c:v>
                </c:pt>
                <c:pt idx="57275">
                  <c:v>29161</c:v>
                </c:pt>
                <c:pt idx="57276">
                  <c:v>126580</c:v>
                </c:pt>
                <c:pt idx="57277">
                  <c:v>81980</c:v>
                </c:pt>
                <c:pt idx="57278">
                  <c:v>28404</c:v>
                </c:pt>
                <c:pt idx="57279">
                  <c:v>25762</c:v>
                </c:pt>
                <c:pt idx="57280">
                  <c:v>60995</c:v>
                </c:pt>
                <c:pt idx="57281">
                  <c:v>40473</c:v>
                </c:pt>
                <c:pt idx="57282">
                  <c:v>43618</c:v>
                </c:pt>
                <c:pt idx="57283">
                  <c:v>44326</c:v>
                </c:pt>
                <c:pt idx="57284">
                  <c:v>33185</c:v>
                </c:pt>
                <c:pt idx="57285">
                  <c:v>55144</c:v>
                </c:pt>
                <c:pt idx="57286">
                  <c:v>39190</c:v>
                </c:pt>
                <c:pt idx="57287">
                  <c:v>43876</c:v>
                </c:pt>
                <c:pt idx="57288">
                  <c:v>53543</c:v>
                </c:pt>
                <c:pt idx="57289">
                  <c:v>51536</c:v>
                </c:pt>
                <c:pt idx="57290">
                  <c:v>288187</c:v>
                </c:pt>
                <c:pt idx="57291">
                  <c:v>67877</c:v>
                </c:pt>
                <c:pt idx="57292">
                  <c:v>57258</c:v>
                </c:pt>
                <c:pt idx="57293">
                  <c:v>24544</c:v>
                </c:pt>
                <c:pt idx="57294">
                  <c:v>61328</c:v>
                </c:pt>
                <c:pt idx="57295">
                  <c:v>55351</c:v>
                </c:pt>
                <c:pt idx="57296">
                  <c:v>37377</c:v>
                </c:pt>
                <c:pt idx="57297">
                  <c:v>57158</c:v>
                </c:pt>
                <c:pt idx="57298">
                  <c:v>27657</c:v>
                </c:pt>
                <c:pt idx="57299">
                  <c:v>87729</c:v>
                </c:pt>
                <c:pt idx="57300">
                  <c:v>60225</c:v>
                </c:pt>
                <c:pt idx="57301">
                  <c:v>35443</c:v>
                </c:pt>
                <c:pt idx="57302">
                  <c:v>25804</c:v>
                </c:pt>
                <c:pt idx="57303">
                  <c:v>29701</c:v>
                </c:pt>
                <c:pt idx="57304">
                  <c:v>54444</c:v>
                </c:pt>
                <c:pt idx="57305">
                  <c:v>80208</c:v>
                </c:pt>
                <c:pt idx="57306">
                  <c:v>123237</c:v>
                </c:pt>
                <c:pt idx="57307">
                  <c:v>55679</c:v>
                </c:pt>
                <c:pt idx="57308">
                  <c:v>55253</c:v>
                </c:pt>
                <c:pt idx="57309">
                  <c:v>23221</c:v>
                </c:pt>
                <c:pt idx="57310">
                  <c:v>164035</c:v>
                </c:pt>
                <c:pt idx="57311">
                  <c:v>80791</c:v>
                </c:pt>
                <c:pt idx="57312">
                  <c:v>33584</c:v>
                </c:pt>
                <c:pt idx="57313">
                  <c:v>49919</c:v>
                </c:pt>
                <c:pt idx="57314">
                  <c:v>28081</c:v>
                </c:pt>
                <c:pt idx="57315">
                  <c:v>71764</c:v>
                </c:pt>
                <c:pt idx="57316">
                  <c:v>127146</c:v>
                </c:pt>
                <c:pt idx="57317">
                  <c:v>24380</c:v>
                </c:pt>
                <c:pt idx="57318">
                  <c:v>62797</c:v>
                </c:pt>
                <c:pt idx="57319">
                  <c:v>53229</c:v>
                </c:pt>
                <c:pt idx="57320">
                  <c:v>31904</c:v>
                </c:pt>
                <c:pt idx="57321">
                  <c:v>119452</c:v>
                </c:pt>
                <c:pt idx="57322">
                  <c:v>40759</c:v>
                </c:pt>
                <c:pt idx="57323">
                  <c:v>32327</c:v>
                </c:pt>
                <c:pt idx="57324">
                  <c:v>25449</c:v>
                </c:pt>
                <c:pt idx="57325">
                  <c:v>41387</c:v>
                </c:pt>
                <c:pt idx="57326">
                  <c:v>46774</c:v>
                </c:pt>
                <c:pt idx="57327">
                  <c:v>53040</c:v>
                </c:pt>
                <c:pt idx="57328">
                  <c:v>26283</c:v>
                </c:pt>
                <c:pt idx="57329">
                  <c:v>29458</c:v>
                </c:pt>
                <c:pt idx="57330">
                  <c:v>48732</c:v>
                </c:pt>
                <c:pt idx="57331">
                  <c:v>65995</c:v>
                </c:pt>
                <c:pt idx="57332">
                  <c:v>30972</c:v>
                </c:pt>
                <c:pt idx="57333">
                  <c:v>116695</c:v>
                </c:pt>
                <c:pt idx="57334">
                  <c:v>32451</c:v>
                </c:pt>
                <c:pt idx="57335">
                  <c:v>29074</c:v>
                </c:pt>
                <c:pt idx="57336">
                  <c:v>72328</c:v>
                </c:pt>
                <c:pt idx="57337">
                  <c:v>55266</c:v>
                </c:pt>
                <c:pt idx="57338">
                  <c:v>31877</c:v>
                </c:pt>
                <c:pt idx="57339">
                  <c:v>50659</c:v>
                </c:pt>
                <c:pt idx="57340">
                  <c:v>29792</c:v>
                </c:pt>
                <c:pt idx="57341">
                  <c:v>38703</c:v>
                </c:pt>
                <c:pt idx="57342">
                  <c:v>101631</c:v>
                </c:pt>
                <c:pt idx="57343">
                  <c:v>37263</c:v>
                </c:pt>
                <c:pt idx="57344">
                  <c:v>42020</c:v>
                </c:pt>
                <c:pt idx="57345">
                  <c:v>32505</c:v>
                </c:pt>
                <c:pt idx="57346">
                  <c:v>27706</c:v>
                </c:pt>
                <c:pt idx="57347">
                  <c:v>45101</c:v>
                </c:pt>
                <c:pt idx="57348">
                  <c:v>58480</c:v>
                </c:pt>
                <c:pt idx="57349">
                  <c:v>44567</c:v>
                </c:pt>
                <c:pt idx="57350">
                  <c:v>48783</c:v>
                </c:pt>
                <c:pt idx="57351">
                  <c:v>34056</c:v>
                </c:pt>
                <c:pt idx="57352">
                  <c:v>107452</c:v>
                </c:pt>
                <c:pt idx="57353">
                  <c:v>39081</c:v>
                </c:pt>
                <c:pt idx="57354">
                  <c:v>38219</c:v>
                </c:pt>
                <c:pt idx="57355">
                  <c:v>39226</c:v>
                </c:pt>
                <c:pt idx="57356">
                  <c:v>84195</c:v>
                </c:pt>
                <c:pt idx="57357">
                  <c:v>43266</c:v>
                </c:pt>
                <c:pt idx="57358">
                  <c:v>172374</c:v>
                </c:pt>
                <c:pt idx="57359">
                  <c:v>33774</c:v>
                </c:pt>
                <c:pt idx="57360">
                  <c:v>34223</c:v>
                </c:pt>
                <c:pt idx="57361">
                  <c:v>159232</c:v>
                </c:pt>
                <c:pt idx="57362">
                  <c:v>25697</c:v>
                </c:pt>
                <c:pt idx="57363">
                  <c:v>67116</c:v>
                </c:pt>
                <c:pt idx="57364">
                  <c:v>33063</c:v>
                </c:pt>
                <c:pt idx="57365">
                  <c:v>72950</c:v>
                </c:pt>
                <c:pt idx="57366">
                  <c:v>60329</c:v>
                </c:pt>
                <c:pt idx="57367">
                  <c:v>46080</c:v>
                </c:pt>
                <c:pt idx="57368">
                  <c:v>35314</c:v>
                </c:pt>
                <c:pt idx="57369">
                  <c:v>98351</c:v>
                </c:pt>
                <c:pt idx="57370">
                  <c:v>30804</c:v>
                </c:pt>
                <c:pt idx="57371">
                  <c:v>31706</c:v>
                </c:pt>
                <c:pt idx="57372">
                  <c:v>26583</c:v>
                </c:pt>
                <c:pt idx="57373">
                  <c:v>39592</c:v>
                </c:pt>
                <c:pt idx="57374">
                  <c:v>61929</c:v>
                </c:pt>
                <c:pt idx="57375">
                  <c:v>56011</c:v>
                </c:pt>
                <c:pt idx="57376">
                  <c:v>227375</c:v>
                </c:pt>
                <c:pt idx="57377">
                  <c:v>26471</c:v>
                </c:pt>
                <c:pt idx="57378">
                  <c:v>42666</c:v>
                </c:pt>
                <c:pt idx="57379">
                  <c:v>91112</c:v>
                </c:pt>
                <c:pt idx="57380">
                  <c:v>252274</c:v>
                </c:pt>
                <c:pt idx="57381">
                  <c:v>31279</c:v>
                </c:pt>
                <c:pt idx="57382">
                  <c:v>36542</c:v>
                </c:pt>
                <c:pt idx="57383">
                  <c:v>27403</c:v>
                </c:pt>
                <c:pt idx="57384">
                  <c:v>52272</c:v>
                </c:pt>
                <c:pt idx="57385">
                  <c:v>32850</c:v>
                </c:pt>
                <c:pt idx="57386">
                  <c:v>22706</c:v>
                </c:pt>
                <c:pt idx="57387">
                  <c:v>28189</c:v>
                </c:pt>
                <c:pt idx="57388">
                  <c:v>42783</c:v>
                </c:pt>
                <c:pt idx="57389">
                  <c:v>86834</c:v>
                </c:pt>
                <c:pt idx="57390">
                  <c:v>33368</c:v>
                </c:pt>
                <c:pt idx="57391">
                  <c:v>138772</c:v>
                </c:pt>
                <c:pt idx="57392">
                  <c:v>36587</c:v>
                </c:pt>
                <c:pt idx="57393">
                  <c:v>313798</c:v>
                </c:pt>
                <c:pt idx="57394">
                  <c:v>27287</c:v>
                </c:pt>
                <c:pt idx="57395">
                  <c:v>39017</c:v>
                </c:pt>
                <c:pt idx="57396">
                  <c:v>64647</c:v>
                </c:pt>
                <c:pt idx="57397">
                  <c:v>133299</c:v>
                </c:pt>
                <c:pt idx="57398">
                  <c:v>27078</c:v>
                </c:pt>
                <c:pt idx="57399">
                  <c:v>43615</c:v>
                </c:pt>
                <c:pt idx="57400">
                  <c:v>33836</c:v>
                </c:pt>
                <c:pt idx="57401">
                  <c:v>92389</c:v>
                </c:pt>
                <c:pt idx="57402">
                  <c:v>58842</c:v>
                </c:pt>
                <c:pt idx="57403">
                  <c:v>31636</c:v>
                </c:pt>
                <c:pt idx="57404">
                  <c:v>36739</c:v>
                </c:pt>
                <c:pt idx="57405">
                  <c:v>57148</c:v>
                </c:pt>
                <c:pt idx="57406">
                  <c:v>94853</c:v>
                </c:pt>
                <c:pt idx="57407">
                  <c:v>27600</c:v>
                </c:pt>
                <c:pt idx="57408">
                  <c:v>80976</c:v>
                </c:pt>
                <c:pt idx="57409">
                  <c:v>43313</c:v>
                </c:pt>
                <c:pt idx="57410">
                  <c:v>138142</c:v>
                </c:pt>
                <c:pt idx="57411">
                  <c:v>34686</c:v>
                </c:pt>
                <c:pt idx="57412">
                  <c:v>31333</c:v>
                </c:pt>
                <c:pt idx="57413">
                  <c:v>28436</c:v>
                </c:pt>
                <c:pt idx="57414">
                  <c:v>49557</c:v>
                </c:pt>
                <c:pt idx="57415">
                  <c:v>30242</c:v>
                </c:pt>
                <c:pt idx="57416">
                  <c:v>22807</c:v>
                </c:pt>
                <c:pt idx="57417">
                  <c:v>41949</c:v>
                </c:pt>
                <c:pt idx="57418">
                  <c:v>51449</c:v>
                </c:pt>
                <c:pt idx="57419">
                  <c:v>320415</c:v>
                </c:pt>
                <c:pt idx="57420">
                  <c:v>83403</c:v>
                </c:pt>
                <c:pt idx="57421">
                  <c:v>116957</c:v>
                </c:pt>
                <c:pt idx="57422">
                  <c:v>47935</c:v>
                </c:pt>
                <c:pt idx="57423">
                  <c:v>35957</c:v>
                </c:pt>
                <c:pt idx="57424">
                  <c:v>62877</c:v>
                </c:pt>
                <c:pt idx="57425">
                  <c:v>42262</c:v>
                </c:pt>
                <c:pt idx="57426">
                  <c:v>25498</c:v>
                </c:pt>
                <c:pt idx="57427">
                  <c:v>34037</c:v>
                </c:pt>
                <c:pt idx="57428">
                  <c:v>42709</c:v>
                </c:pt>
                <c:pt idx="57429">
                  <c:v>32631</c:v>
                </c:pt>
                <c:pt idx="57430">
                  <c:v>35019</c:v>
                </c:pt>
                <c:pt idx="57431">
                  <c:v>31738</c:v>
                </c:pt>
                <c:pt idx="57432">
                  <c:v>29467</c:v>
                </c:pt>
                <c:pt idx="57433">
                  <c:v>48524</c:v>
                </c:pt>
                <c:pt idx="57434">
                  <c:v>234882</c:v>
                </c:pt>
                <c:pt idx="57435">
                  <c:v>33886</c:v>
                </c:pt>
                <c:pt idx="57436">
                  <c:v>27545</c:v>
                </c:pt>
                <c:pt idx="57437">
                  <c:v>61716</c:v>
                </c:pt>
                <c:pt idx="57438">
                  <c:v>34482</c:v>
                </c:pt>
                <c:pt idx="57439">
                  <c:v>72919</c:v>
                </c:pt>
                <c:pt idx="57440">
                  <c:v>25325</c:v>
                </c:pt>
                <c:pt idx="57441">
                  <c:v>41877</c:v>
                </c:pt>
                <c:pt idx="57442">
                  <c:v>48136</c:v>
                </c:pt>
                <c:pt idx="57443">
                  <c:v>38795</c:v>
                </c:pt>
                <c:pt idx="57444">
                  <c:v>28552</c:v>
                </c:pt>
                <c:pt idx="57445">
                  <c:v>33981</c:v>
                </c:pt>
                <c:pt idx="57446">
                  <c:v>34274</c:v>
                </c:pt>
                <c:pt idx="57447">
                  <c:v>27870</c:v>
                </c:pt>
                <c:pt idx="57448">
                  <c:v>97730</c:v>
                </c:pt>
                <c:pt idx="57449">
                  <c:v>24732</c:v>
                </c:pt>
                <c:pt idx="57450">
                  <c:v>38019</c:v>
                </c:pt>
                <c:pt idx="57451">
                  <c:v>23981</c:v>
                </c:pt>
                <c:pt idx="57452">
                  <c:v>36022</c:v>
                </c:pt>
                <c:pt idx="57453">
                  <c:v>26386</c:v>
                </c:pt>
                <c:pt idx="57454">
                  <c:v>106794</c:v>
                </c:pt>
                <c:pt idx="57455">
                  <c:v>60929</c:v>
                </c:pt>
                <c:pt idx="57456">
                  <c:v>33139</c:v>
                </c:pt>
                <c:pt idx="57457">
                  <c:v>34329</c:v>
                </c:pt>
                <c:pt idx="57458">
                  <c:v>36760</c:v>
                </c:pt>
                <c:pt idx="57459">
                  <c:v>44376</c:v>
                </c:pt>
                <c:pt idx="57460">
                  <c:v>72707</c:v>
                </c:pt>
                <c:pt idx="57461">
                  <c:v>62700</c:v>
                </c:pt>
                <c:pt idx="57462">
                  <c:v>30572</c:v>
                </c:pt>
                <c:pt idx="57463">
                  <c:v>32371</c:v>
                </c:pt>
                <c:pt idx="57464">
                  <c:v>45356</c:v>
                </c:pt>
                <c:pt idx="57465">
                  <c:v>32380</c:v>
                </c:pt>
                <c:pt idx="57466">
                  <c:v>92948</c:v>
                </c:pt>
                <c:pt idx="57467">
                  <c:v>31864</c:v>
                </c:pt>
                <c:pt idx="57468">
                  <c:v>74415</c:v>
                </c:pt>
                <c:pt idx="57469">
                  <c:v>60169</c:v>
                </c:pt>
                <c:pt idx="57470">
                  <c:v>72137</c:v>
                </c:pt>
                <c:pt idx="57471">
                  <c:v>67916</c:v>
                </c:pt>
                <c:pt idx="57472">
                  <c:v>47404</c:v>
                </c:pt>
                <c:pt idx="57473">
                  <c:v>105883</c:v>
                </c:pt>
                <c:pt idx="57474">
                  <c:v>29660</c:v>
                </c:pt>
                <c:pt idx="57475">
                  <c:v>45336</c:v>
                </c:pt>
                <c:pt idx="57476">
                  <c:v>97790</c:v>
                </c:pt>
                <c:pt idx="57477">
                  <c:v>43321</c:v>
                </c:pt>
                <c:pt idx="57478">
                  <c:v>33541</c:v>
                </c:pt>
                <c:pt idx="57479">
                  <c:v>78706</c:v>
                </c:pt>
                <c:pt idx="57480">
                  <c:v>52668</c:v>
                </c:pt>
                <c:pt idx="57481">
                  <c:v>30313</c:v>
                </c:pt>
                <c:pt idx="57482">
                  <c:v>148798</c:v>
                </c:pt>
                <c:pt idx="57483">
                  <c:v>31953</c:v>
                </c:pt>
                <c:pt idx="57484">
                  <c:v>40690</c:v>
                </c:pt>
                <c:pt idx="57485">
                  <c:v>38468</c:v>
                </c:pt>
                <c:pt idx="57486">
                  <c:v>32102</c:v>
                </c:pt>
                <c:pt idx="57487">
                  <c:v>26760</c:v>
                </c:pt>
                <c:pt idx="57488">
                  <c:v>29715</c:v>
                </c:pt>
                <c:pt idx="57489">
                  <c:v>43821</c:v>
                </c:pt>
                <c:pt idx="57490">
                  <c:v>50987</c:v>
                </c:pt>
                <c:pt idx="57491">
                  <c:v>110565</c:v>
                </c:pt>
                <c:pt idx="57492">
                  <c:v>57642</c:v>
                </c:pt>
                <c:pt idx="57493">
                  <c:v>47738</c:v>
                </c:pt>
                <c:pt idx="57494">
                  <c:v>56295</c:v>
                </c:pt>
                <c:pt idx="57495">
                  <c:v>36946</c:v>
                </c:pt>
                <c:pt idx="57496">
                  <c:v>77436</c:v>
                </c:pt>
                <c:pt idx="57497">
                  <c:v>31448</c:v>
                </c:pt>
                <c:pt idx="57498">
                  <c:v>40048</c:v>
                </c:pt>
                <c:pt idx="57499">
                  <c:v>65977</c:v>
                </c:pt>
                <c:pt idx="57500">
                  <c:v>58771</c:v>
                </c:pt>
                <c:pt idx="57501">
                  <c:v>85495</c:v>
                </c:pt>
                <c:pt idx="57502">
                  <c:v>32848</c:v>
                </c:pt>
                <c:pt idx="57503">
                  <c:v>68991</c:v>
                </c:pt>
                <c:pt idx="57504">
                  <c:v>37686</c:v>
                </c:pt>
                <c:pt idx="57505">
                  <c:v>25535</c:v>
                </c:pt>
                <c:pt idx="57506">
                  <c:v>87482</c:v>
                </c:pt>
                <c:pt idx="57507">
                  <c:v>60325</c:v>
                </c:pt>
                <c:pt idx="57508">
                  <c:v>45930</c:v>
                </c:pt>
                <c:pt idx="57509">
                  <c:v>45765</c:v>
                </c:pt>
                <c:pt idx="57510">
                  <c:v>193342</c:v>
                </c:pt>
                <c:pt idx="57511">
                  <c:v>89235</c:v>
                </c:pt>
                <c:pt idx="57512">
                  <c:v>31290</c:v>
                </c:pt>
                <c:pt idx="57513">
                  <c:v>45166</c:v>
                </c:pt>
                <c:pt idx="57514">
                  <c:v>59123</c:v>
                </c:pt>
                <c:pt idx="57515">
                  <c:v>35674</c:v>
                </c:pt>
                <c:pt idx="57516">
                  <c:v>36661</c:v>
                </c:pt>
                <c:pt idx="57517">
                  <c:v>25128</c:v>
                </c:pt>
                <c:pt idx="57518">
                  <c:v>37256</c:v>
                </c:pt>
                <c:pt idx="57519">
                  <c:v>35073</c:v>
                </c:pt>
                <c:pt idx="57520">
                  <c:v>30958</c:v>
                </c:pt>
                <c:pt idx="57521">
                  <c:v>24620</c:v>
                </c:pt>
                <c:pt idx="57522">
                  <c:v>63851</c:v>
                </c:pt>
                <c:pt idx="57523">
                  <c:v>54421</c:v>
                </c:pt>
                <c:pt idx="57524">
                  <c:v>52336</c:v>
                </c:pt>
                <c:pt idx="57525">
                  <c:v>22940</c:v>
                </c:pt>
                <c:pt idx="57526">
                  <c:v>70023</c:v>
                </c:pt>
                <c:pt idx="57527">
                  <c:v>25878</c:v>
                </c:pt>
                <c:pt idx="57528">
                  <c:v>78644</c:v>
                </c:pt>
                <c:pt idx="57529">
                  <c:v>26417</c:v>
                </c:pt>
                <c:pt idx="57530">
                  <c:v>36346</c:v>
                </c:pt>
                <c:pt idx="57531">
                  <c:v>161207</c:v>
                </c:pt>
                <c:pt idx="57532">
                  <c:v>44025</c:v>
                </c:pt>
                <c:pt idx="57533">
                  <c:v>20458</c:v>
                </c:pt>
                <c:pt idx="57534">
                  <c:v>19626</c:v>
                </c:pt>
                <c:pt idx="57535">
                  <c:v>51052</c:v>
                </c:pt>
                <c:pt idx="57536">
                  <c:v>31397</c:v>
                </c:pt>
                <c:pt idx="57537">
                  <c:v>33022</c:v>
                </c:pt>
                <c:pt idx="57538">
                  <c:v>21996</c:v>
                </c:pt>
                <c:pt idx="57539">
                  <c:v>22159</c:v>
                </c:pt>
                <c:pt idx="57540">
                  <c:v>89297</c:v>
                </c:pt>
                <c:pt idx="57541">
                  <c:v>39778</c:v>
                </c:pt>
                <c:pt idx="57542">
                  <c:v>26226</c:v>
                </c:pt>
                <c:pt idx="57543">
                  <c:v>157136</c:v>
                </c:pt>
                <c:pt idx="57544">
                  <c:v>28725</c:v>
                </c:pt>
                <c:pt idx="57545">
                  <c:v>66139</c:v>
                </c:pt>
                <c:pt idx="57546">
                  <c:v>105579</c:v>
                </c:pt>
                <c:pt idx="57547">
                  <c:v>49919</c:v>
                </c:pt>
                <c:pt idx="57548">
                  <c:v>25406</c:v>
                </c:pt>
                <c:pt idx="57549">
                  <c:v>124654</c:v>
                </c:pt>
                <c:pt idx="57550">
                  <c:v>68019</c:v>
                </c:pt>
                <c:pt idx="57551">
                  <c:v>126381</c:v>
                </c:pt>
                <c:pt idx="57552">
                  <c:v>43849</c:v>
                </c:pt>
                <c:pt idx="57553">
                  <c:v>41445</c:v>
                </c:pt>
                <c:pt idx="57554">
                  <c:v>201040</c:v>
                </c:pt>
                <c:pt idx="57555">
                  <c:v>50070</c:v>
                </c:pt>
                <c:pt idx="57556">
                  <c:v>138343</c:v>
                </c:pt>
                <c:pt idx="57557">
                  <c:v>44532</c:v>
                </c:pt>
                <c:pt idx="57558">
                  <c:v>36911</c:v>
                </c:pt>
                <c:pt idx="57559">
                  <c:v>29456</c:v>
                </c:pt>
                <c:pt idx="57560">
                  <c:v>67025</c:v>
                </c:pt>
                <c:pt idx="57561">
                  <c:v>106106</c:v>
                </c:pt>
                <c:pt idx="57562">
                  <c:v>144276</c:v>
                </c:pt>
                <c:pt idx="57563">
                  <c:v>25164</c:v>
                </c:pt>
                <c:pt idx="57564">
                  <c:v>43181</c:v>
                </c:pt>
                <c:pt idx="57565">
                  <c:v>63447</c:v>
                </c:pt>
                <c:pt idx="57566">
                  <c:v>32914</c:v>
                </c:pt>
                <c:pt idx="57567">
                  <c:v>81105</c:v>
                </c:pt>
                <c:pt idx="57568">
                  <c:v>36078</c:v>
                </c:pt>
                <c:pt idx="57569">
                  <c:v>24429</c:v>
                </c:pt>
                <c:pt idx="57570">
                  <c:v>43132</c:v>
                </c:pt>
                <c:pt idx="57571">
                  <c:v>64663</c:v>
                </c:pt>
                <c:pt idx="57572">
                  <c:v>36283</c:v>
                </c:pt>
                <c:pt idx="57573">
                  <c:v>57016</c:v>
                </c:pt>
                <c:pt idx="57574">
                  <c:v>137509</c:v>
                </c:pt>
                <c:pt idx="57575">
                  <c:v>26747</c:v>
                </c:pt>
                <c:pt idx="57576">
                  <c:v>45515</c:v>
                </c:pt>
                <c:pt idx="57577">
                  <c:v>25918</c:v>
                </c:pt>
                <c:pt idx="57578">
                  <c:v>50784</c:v>
                </c:pt>
                <c:pt idx="57579">
                  <c:v>26533</c:v>
                </c:pt>
                <c:pt idx="57580">
                  <c:v>35988</c:v>
                </c:pt>
                <c:pt idx="57581">
                  <c:v>31314</c:v>
                </c:pt>
                <c:pt idx="57582">
                  <c:v>39275</c:v>
                </c:pt>
                <c:pt idx="57583">
                  <c:v>168113</c:v>
                </c:pt>
                <c:pt idx="57584">
                  <c:v>62889</c:v>
                </c:pt>
                <c:pt idx="57585">
                  <c:v>205331</c:v>
                </c:pt>
                <c:pt idx="57586">
                  <c:v>54357</c:v>
                </c:pt>
                <c:pt idx="57587">
                  <c:v>96200</c:v>
                </c:pt>
                <c:pt idx="57588">
                  <c:v>28513</c:v>
                </c:pt>
                <c:pt idx="57589">
                  <c:v>71619</c:v>
                </c:pt>
                <c:pt idx="57590">
                  <c:v>96098</c:v>
                </c:pt>
                <c:pt idx="57591">
                  <c:v>267806</c:v>
                </c:pt>
                <c:pt idx="57592">
                  <c:v>40989</c:v>
                </c:pt>
                <c:pt idx="57593">
                  <c:v>25040</c:v>
                </c:pt>
                <c:pt idx="57594">
                  <c:v>30969</c:v>
                </c:pt>
                <c:pt idx="57595">
                  <c:v>24902</c:v>
                </c:pt>
                <c:pt idx="57596">
                  <c:v>22954</c:v>
                </c:pt>
                <c:pt idx="57597">
                  <c:v>40069</c:v>
                </c:pt>
                <c:pt idx="57598">
                  <c:v>35839</c:v>
                </c:pt>
                <c:pt idx="57599">
                  <c:v>28715</c:v>
                </c:pt>
                <c:pt idx="57600">
                  <c:v>29988</c:v>
                </c:pt>
                <c:pt idx="57601">
                  <c:v>51329</c:v>
                </c:pt>
                <c:pt idx="57602">
                  <c:v>88120</c:v>
                </c:pt>
                <c:pt idx="57603">
                  <c:v>160750</c:v>
                </c:pt>
                <c:pt idx="57604">
                  <c:v>36420</c:v>
                </c:pt>
                <c:pt idx="57605">
                  <c:v>73971</c:v>
                </c:pt>
                <c:pt idx="57606">
                  <c:v>45573</c:v>
                </c:pt>
                <c:pt idx="57607">
                  <c:v>41746</c:v>
                </c:pt>
                <c:pt idx="57608">
                  <c:v>25387</c:v>
                </c:pt>
                <c:pt idx="57609">
                  <c:v>39458</c:v>
                </c:pt>
                <c:pt idx="57610">
                  <c:v>31736</c:v>
                </c:pt>
                <c:pt idx="57611">
                  <c:v>23580</c:v>
                </c:pt>
                <c:pt idx="57612">
                  <c:v>50941</c:v>
                </c:pt>
                <c:pt idx="57613">
                  <c:v>39477</c:v>
                </c:pt>
                <c:pt idx="57614">
                  <c:v>44331</c:v>
                </c:pt>
                <c:pt idx="57615">
                  <c:v>125264</c:v>
                </c:pt>
                <c:pt idx="57616">
                  <c:v>63173</c:v>
                </c:pt>
                <c:pt idx="57617">
                  <c:v>38979</c:v>
                </c:pt>
                <c:pt idx="57618">
                  <c:v>26692</c:v>
                </c:pt>
                <c:pt idx="57619">
                  <c:v>29463</c:v>
                </c:pt>
                <c:pt idx="57620">
                  <c:v>31786</c:v>
                </c:pt>
                <c:pt idx="57621">
                  <c:v>90292</c:v>
                </c:pt>
                <c:pt idx="57622">
                  <c:v>32110</c:v>
                </c:pt>
                <c:pt idx="57623">
                  <c:v>47821</c:v>
                </c:pt>
                <c:pt idx="57624">
                  <c:v>26297</c:v>
                </c:pt>
                <c:pt idx="57625">
                  <c:v>25838</c:v>
                </c:pt>
                <c:pt idx="57626">
                  <c:v>36031</c:v>
                </c:pt>
                <c:pt idx="57627">
                  <c:v>29309</c:v>
                </c:pt>
                <c:pt idx="57628">
                  <c:v>199071</c:v>
                </c:pt>
                <c:pt idx="57629">
                  <c:v>44936</c:v>
                </c:pt>
                <c:pt idx="57630">
                  <c:v>39958</c:v>
                </c:pt>
                <c:pt idx="57631">
                  <c:v>158008</c:v>
                </c:pt>
                <c:pt idx="57632">
                  <c:v>45875</c:v>
                </c:pt>
                <c:pt idx="57633">
                  <c:v>21474</c:v>
                </c:pt>
                <c:pt idx="57634">
                  <c:v>38823</c:v>
                </c:pt>
                <c:pt idx="57635">
                  <c:v>39674</c:v>
                </c:pt>
                <c:pt idx="57636">
                  <c:v>37216</c:v>
                </c:pt>
                <c:pt idx="57637">
                  <c:v>40708</c:v>
                </c:pt>
                <c:pt idx="57638">
                  <c:v>32141</c:v>
                </c:pt>
                <c:pt idx="57639">
                  <c:v>30221</c:v>
                </c:pt>
                <c:pt idx="57640">
                  <c:v>34732</c:v>
                </c:pt>
                <c:pt idx="57641">
                  <c:v>78494</c:v>
                </c:pt>
                <c:pt idx="57642">
                  <c:v>25405</c:v>
                </c:pt>
                <c:pt idx="57643">
                  <c:v>28955</c:v>
                </c:pt>
                <c:pt idx="57644">
                  <c:v>125586</c:v>
                </c:pt>
                <c:pt idx="57645">
                  <c:v>49095</c:v>
                </c:pt>
                <c:pt idx="57646">
                  <c:v>158425</c:v>
                </c:pt>
                <c:pt idx="57647">
                  <c:v>47993</c:v>
                </c:pt>
                <c:pt idx="57648">
                  <c:v>47647</c:v>
                </c:pt>
                <c:pt idx="57649">
                  <c:v>49026</c:v>
                </c:pt>
                <c:pt idx="57650">
                  <c:v>54478</c:v>
                </c:pt>
                <c:pt idx="57651">
                  <c:v>70783</c:v>
                </c:pt>
                <c:pt idx="57652">
                  <c:v>35656</c:v>
                </c:pt>
                <c:pt idx="57653">
                  <c:v>83358</c:v>
                </c:pt>
                <c:pt idx="57654">
                  <c:v>55305</c:v>
                </c:pt>
                <c:pt idx="57655">
                  <c:v>27981</c:v>
                </c:pt>
                <c:pt idx="57656">
                  <c:v>95095</c:v>
                </c:pt>
                <c:pt idx="57657">
                  <c:v>46321</c:v>
                </c:pt>
                <c:pt idx="57658">
                  <c:v>50216</c:v>
                </c:pt>
                <c:pt idx="57659">
                  <c:v>44788</c:v>
                </c:pt>
                <c:pt idx="57660">
                  <c:v>81123</c:v>
                </c:pt>
                <c:pt idx="57661">
                  <c:v>36765</c:v>
                </c:pt>
                <c:pt idx="57662">
                  <c:v>32911</c:v>
                </c:pt>
                <c:pt idx="57663">
                  <c:v>114330</c:v>
                </c:pt>
                <c:pt idx="57664">
                  <c:v>38878</c:v>
                </c:pt>
                <c:pt idx="57665">
                  <c:v>34949</c:v>
                </c:pt>
                <c:pt idx="57666">
                  <c:v>263976</c:v>
                </c:pt>
                <c:pt idx="57667">
                  <c:v>127666</c:v>
                </c:pt>
                <c:pt idx="57668">
                  <c:v>50627</c:v>
                </c:pt>
                <c:pt idx="57669">
                  <c:v>133369</c:v>
                </c:pt>
                <c:pt idx="57670">
                  <c:v>74112</c:v>
                </c:pt>
                <c:pt idx="57671">
                  <c:v>74774</c:v>
                </c:pt>
                <c:pt idx="57672">
                  <c:v>52789</c:v>
                </c:pt>
                <c:pt idx="57673">
                  <c:v>115047</c:v>
                </c:pt>
                <c:pt idx="57674">
                  <c:v>52977</c:v>
                </c:pt>
                <c:pt idx="57675">
                  <c:v>54012</c:v>
                </c:pt>
                <c:pt idx="57676">
                  <c:v>36246</c:v>
                </c:pt>
                <c:pt idx="57677">
                  <c:v>39830</c:v>
                </c:pt>
                <c:pt idx="57678">
                  <c:v>354983</c:v>
                </c:pt>
                <c:pt idx="57679">
                  <c:v>110841</c:v>
                </c:pt>
                <c:pt idx="57680">
                  <c:v>44818</c:v>
                </c:pt>
                <c:pt idx="57681">
                  <c:v>30554</c:v>
                </c:pt>
                <c:pt idx="57682">
                  <c:v>26839</c:v>
                </c:pt>
                <c:pt idx="57683">
                  <c:v>28072</c:v>
                </c:pt>
                <c:pt idx="57684">
                  <c:v>39087</c:v>
                </c:pt>
                <c:pt idx="57685">
                  <c:v>37614</c:v>
                </c:pt>
                <c:pt idx="57686">
                  <c:v>31970</c:v>
                </c:pt>
                <c:pt idx="57687">
                  <c:v>43716</c:v>
                </c:pt>
                <c:pt idx="57688">
                  <c:v>112606</c:v>
                </c:pt>
                <c:pt idx="57689">
                  <c:v>240293</c:v>
                </c:pt>
                <c:pt idx="57690">
                  <c:v>47020</c:v>
                </c:pt>
                <c:pt idx="57691">
                  <c:v>26420</c:v>
                </c:pt>
                <c:pt idx="57692">
                  <c:v>137161</c:v>
                </c:pt>
                <c:pt idx="57693">
                  <c:v>40531</c:v>
                </c:pt>
                <c:pt idx="57694">
                  <c:v>35398</c:v>
                </c:pt>
                <c:pt idx="57695">
                  <c:v>98659</c:v>
                </c:pt>
                <c:pt idx="57696">
                  <c:v>35724</c:v>
                </c:pt>
                <c:pt idx="57697">
                  <c:v>322025</c:v>
                </c:pt>
                <c:pt idx="57698">
                  <c:v>38098</c:v>
                </c:pt>
                <c:pt idx="57699">
                  <c:v>42742</c:v>
                </c:pt>
                <c:pt idx="57700">
                  <c:v>23822</c:v>
                </c:pt>
                <c:pt idx="57701">
                  <c:v>75794</c:v>
                </c:pt>
                <c:pt idx="57702">
                  <c:v>59053</c:v>
                </c:pt>
                <c:pt idx="57703">
                  <c:v>44985</c:v>
                </c:pt>
                <c:pt idx="57704">
                  <c:v>102710</c:v>
                </c:pt>
                <c:pt idx="57705">
                  <c:v>38393</c:v>
                </c:pt>
                <c:pt idx="57706">
                  <c:v>41075</c:v>
                </c:pt>
                <c:pt idx="57707">
                  <c:v>25373</c:v>
                </c:pt>
                <c:pt idx="57708">
                  <c:v>29555</c:v>
                </c:pt>
                <c:pt idx="57709">
                  <c:v>86575</c:v>
                </c:pt>
                <c:pt idx="57710">
                  <c:v>58990</c:v>
                </c:pt>
                <c:pt idx="57711">
                  <c:v>44186</c:v>
                </c:pt>
                <c:pt idx="57712">
                  <c:v>28278</c:v>
                </c:pt>
                <c:pt idx="57713">
                  <c:v>58013</c:v>
                </c:pt>
                <c:pt idx="57714">
                  <c:v>47750</c:v>
                </c:pt>
                <c:pt idx="57715">
                  <c:v>43501</c:v>
                </c:pt>
                <c:pt idx="57716">
                  <c:v>45511</c:v>
                </c:pt>
                <c:pt idx="57717">
                  <c:v>39960</c:v>
                </c:pt>
                <c:pt idx="57718">
                  <c:v>40907</c:v>
                </c:pt>
                <c:pt idx="57719">
                  <c:v>60506</c:v>
                </c:pt>
                <c:pt idx="57720">
                  <c:v>37420</c:v>
                </c:pt>
                <c:pt idx="57721">
                  <c:v>24510</c:v>
                </c:pt>
                <c:pt idx="57722">
                  <c:v>121306</c:v>
                </c:pt>
                <c:pt idx="57723">
                  <c:v>51018</c:v>
                </c:pt>
                <c:pt idx="57724">
                  <c:v>247390</c:v>
                </c:pt>
                <c:pt idx="57725">
                  <c:v>56436</c:v>
                </c:pt>
                <c:pt idx="57726">
                  <c:v>31504</c:v>
                </c:pt>
                <c:pt idx="57727">
                  <c:v>37723</c:v>
                </c:pt>
                <c:pt idx="57728">
                  <c:v>104593</c:v>
                </c:pt>
                <c:pt idx="57729">
                  <c:v>46958</c:v>
                </c:pt>
                <c:pt idx="57730">
                  <c:v>39741</c:v>
                </c:pt>
                <c:pt idx="57731">
                  <c:v>310187</c:v>
                </c:pt>
                <c:pt idx="57732">
                  <c:v>31620</c:v>
                </c:pt>
                <c:pt idx="57733">
                  <c:v>29816</c:v>
                </c:pt>
                <c:pt idx="57734">
                  <c:v>36292</c:v>
                </c:pt>
                <c:pt idx="57735">
                  <c:v>70148</c:v>
                </c:pt>
                <c:pt idx="57736">
                  <c:v>66023</c:v>
                </c:pt>
                <c:pt idx="57737">
                  <c:v>47354</c:v>
                </c:pt>
                <c:pt idx="57738">
                  <c:v>34469</c:v>
                </c:pt>
                <c:pt idx="57739">
                  <c:v>43057</c:v>
                </c:pt>
                <c:pt idx="57740">
                  <c:v>73286</c:v>
                </c:pt>
                <c:pt idx="57741">
                  <c:v>76454</c:v>
                </c:pt>
                <c:pt idx="57742">
                  <c:v>106854</c:v>
                </c:pt>
                <c:pt idx="57743">
                  <c:v>151437</c:v>
                </c:pt>
                <c:pt idx="57744">
                  <c:v>40477</c:v>
                </c:pt>
                <c:pt idx="57745">
                  <c:v>37213</c:v>
                </c:pt>
                <c:pt idx="57746">
                  <c:v>42838</c:v>
                </c:pt>
                <c:pt idx="57747">
                  <c:v>24837</c:v>
                </c:pt>
                <c:pt idx="57748">
                  <c:v>70558</c:v>
                </c:pt>
                <c:pt idx="57749">
                  <c:v>27279</c:v>
                </c:pt>
                <c:pt idx="57750">
                  <c:v>160387</c:v>
                </c:pt>
                <c:pt idx="57751">
                  <c:v>67890</c:v>
                </c:pt>
                <c:pt idx="57752">
                  <c:v>22356</c:v>
                </c:pt>
                <c:pt idx="57753">
                  <c:v>50557</c:v>
                </c:pt>
                <c:pt idx="57754">
                  <c:v>45143</c:v>
                </c:pt>
                <c:pt idx="57755">
                  <c:v>25464</c:v>
                </c:pt>
                <c:pt idx="57756">
                  <c:v>47026</c:v>
                </c:pt>
                <c:pt idx="57757">
                  <c:v>123477</c:v>
                </c:pt>
                <c:pt idx="57758">
                  <c:v>221553</c:v>
                </c:pt>
                <c:pt idx="57759">
                  <c:v>47582</c:v>
                </c:pt>
                <c:pt idx="57760">
                  <c:v>22495</c:v>
                </c:pt>
                <c:pt idx="57761">
                  <c:v>25005</c:v>
                </c:pt>
                <c:pt idx="57762">
                  <c:v>69003</c:v>
                </c:pt>
                <c:pt idx="57763">
                  <c:v>44744</c:v>
                </c:pt>
                <c:pt idx="57764">
                  <c:v>30904</c:v>
                </c:pt>
                <c:pt idx="57765">
                  <c:v>23455</c:v>
                </c:pt>
                <c:pt idx="57766">
                  <c:v>24483</c:v>
                </c:pt>
                <c:pt idx="57767">
                  <c:v>224666</c:v>
                </c:pt>
                <c:pt idx="57768">
                  <c:v>185720</c:v>
                </c:pt>
                <c:pt idx="57769">
                  <c:v>29331</c:v>
                </c:pt>
                <c:pt idx="57770">
                  <c:v>44044</c:v>
                </c:pt>
                <c:pt idx="57771">
                  <c:v>23208</c:v>
                </c:pt>
                <c:pt idx="57772">
                  <c:v>98421</c:v>
                </c:pt>
                <c:pt idx="57773">
                  <c:v>30846</c:v>
                </c:pt>
                <c:pt idx="57774">
                  <c:v>40652</c:v>
                </c:pt>
                <c:pt idx="57775">
                  <c:v>65760</c:v>
                </c:pt>
                <c:pt idx="57776">
                  <c:v>46861</c:v>
                </c:pt>
                <c:pt idx="57777">
                  <c:v>148715</c:v>
                </c:pt>
                <c:pt idx="57778">
                  <c:v>50072</c:v>
                </c:pt>
                <c:pt idx="57779">
                  <c:v>54741</c:v>
                </c:pt>
                <c:pt idx="57780">
                  <c:v>46576</c:v>
                </c:pt>
                <c:pt idx="57781">
                  <c:v>37669</c:v>
                </c:pt>
                <c:pt idx="57782">
                  <c:v>61744</c:v>
                </c:pt>
                <c:pt idx="57783">
                  <c:v>137808</c:v>
                </c:pt>
                <c:pt idx="57784">
                  <c:v>26122</c:v>
                </c:pt>
                <c:pt idx="57785">
                  <c:v>85862</c:v>
                </c:pt>
                <c:pt idx="57786">
                  <c:v>21728</c:v>
                </c:pt>
                <c:pt idx="57787">
                  <c:v>42212</c:v>
                </c:pt>
                <c:pt idx="57788">
                  <c:v>40415</c:v>
                </c:pt>
                <c:pt idx="57789">
                  <c:v>36017</c:v>
                </c:pt>
                <c:pt idx="57790">
                  <c:v>52176</c:v>
                </c:pt>
                <c:pt idx="57791">
                  <c:v>130048</c:v>
                </c:pt>
                <c:pt idx="57792">
                  <c:v>58424</c:v>
                </c:pt>
                <c:pt idx="57793">
                  <c:v>66736</c:v>
                </c:pt>
                <c:pt idx="57794">
                  <c:v>53231</c:v>
                </c:pt>
                <c:pt idx="57795">
                  <c:v>24839</c:v>
                </c:pt>
                <c:pt idx="57796">
                  <c:v>116154</c:v>
                </c:pt>
                <c:pt idx="57797">
                  <c:v>34185</c:v>
                </c:pt>
                <c:pt idx="57798">
                  <c:v>178601</c:v>
                </c:pt>
                <c:pt idx="57799">
                  <c:v>44091</c:v>
                </c:pt>
                <c:pt idx="57800">
                  <c:v>81955</c:v>
                </c:pt>
                <c:pt idx="57801">
                  <c:v>37585</c:v>
                </c:pt>
                <c:pt idx="57802">
                  <c:v>162885</c:v>
                </c:pt>
                <c:pt idx="57803">
                  <c:v>42459</c:v>
                </c:pt>
                <c:pt idx="57804">
                  <c:v>37172</c:v>
                </c:pt>
                <c:pt idx="57805">
                  <c:v>53869</c:v>
                </c:pt>
                <c:pt idx="57806">
                  <c:v>27097</c:v>
                </c:pt>
                <c:pt idx="57807">
                  <c:v>117468</c:v>
                </c:pt>
                <c:pt idx="57808">
                  <c:v>29087</c:v>
                </c:pt>
                <c:pt idx="57809">
                  <c:v>54368</c:v>
                </c:pt>
                <c:pt idx="57810">
                  <c:v>25992</c:v>
                </c:pt>
                <c:pt idx="57811">
                  <c:v>44780</c:v>
                </c:pt>
                <c:pt idx="57812">
                  <c:v>64781</c:v>
                </c:pt>
                <c:pt idx="57813">
                  <c:v>222619</c:v>
                </c:pt>
                <c:pt idx="57814">
                  <c:v>33977</c:v>
                </c:pt>
                <c:pt idx="57815">
                  <c:v>215374</c:v>
                </c:pt>
                <c:pt idx="57816">
                  <c:v>31838</c:v>
                </c:pt>
                <c:pt idx="57817">
                  <c:v>26795</c:v>
                </c:pt>
                <c:pt idx="57818">
                  <c:v>31240</c:v>
                </c:pt>
                <c:pt idx="57819">
                  <c:v>28492</c:v>
                </c:pt>
                <c:pt idx="57820">
                  <c:v>55934</c:v>
                </c:pt>
                <c:pt idx="57821">
                  <c:v>37288</c:v>
                </c:pt>
                <c:pt idx="57822">
                  <c:v>163608</c:v>
                </c:pt>
                <c:pt idx="57823">
                  <c:v>31427</c:v>
                </c:pt>
                <c:pt idx="57824">
                  <c:v>75027</c:v>
                </c:pt>
                <c:pt idx="57825">
                  <c:v>24668</c:v>
                </c:pt>
                <c:pt idx="57826">
                  <c:v>189558</c:v>
                </c:pt>
                <c:pt idx="57827">
                  <c:v>32138</c:v>
                </c:pt>
                <c:pt idx="57828">
                  <c:v>25623</c:v>
                </c:pt>
                <c:pt idx="57829">
                  <c:v>56616</c:v>
                </c:pt>
                <c:pt idx="57830">
                  <c:v>33549</c:v>
                </c:pt>
                <c:pt idx="57831">
                  <c:v>29558</c:v>
                </c:pt>
                <c:pt idx="57832">
                  <c:v>684197</c:v>
                </c:pt>
                <c:pt idx="57833">
                  <c:v>25891</c:v>
                </c:pt>
                <c:pt idx="57834">
                  <c:v>37819</c:v>
                </c:pt>
                <c:pt idx="57835">
                  <c:v>31854</c:v>
                </c:pt>
                <c:pt idx="57836">
                  <c:v>88489</c:v>
                </c:pt>
                <c:pt idx="57837">
                  <c:v>23795</c:v>
                </c:pt>
                <c:pt idx="57838">
                  <c:v>24895</c:v>
                </c:pt>
                <c:pt idx="57839">
                  <c:v>67312</c:v>
                </c:pt>
                <c:pt idx="57840">
                  <c:v>37798</c:v>
                </c:pt>
                <c:pt idx="57841">
                  <c:v>33143</c:v>
                </c:pt>
                <c:pt idx="57842">
                  <c:v>212858</c:v>
                </c:pt>
                <c:pt idx="57843">
                  <c:v>29125</c:v>
                </c:pt>
                <c:pt idx="57844">
                  <c:v>52887</c:v>
                </c:pt>
                <c:pt idx="57845">
                  <c:v>26906</c:v>
                </c:pt>
                <c:pt idx="57846">
                  <c:v>39254</c:v>
                </c:pt>
                <c:pt idx="57847">
                  <c:v>40992</c:v>
                </c:pt>
                <c:pt idx="57848">
                  <c:v>61370</c:v>
                </c:pt>
                <c:pt idx="57849">
                  <c:v>35659</c:v>
                </c:pt>
                <c:pt idx="57850">
                  <c:v>33253</c:v>
                </c:pt>
                <c:pt idx="57851">
                  <c:v>48926</c:v>
                </c:pt>
                <c:pt idx="57852">
                  <c:v>24091</c:v>
                </c:pt>
                <c:pt idx="57853">
                  <c:v>33965</c:v>
                </c:pt>
                <c:pt idx="57854">
                  <c:v>88948</c:v>
                </c:pt>
                <c:pt idx="57855">
                  <c:v>54484</c:v>
                </c:pt>
                <c:pt idx="57856">
                  <c:v>32418</c:v>
                </c:pt>
                <c:pt idx="57857">
                  <c:v>159629</c:v>
                </c:pt>
                <c:pt idx="57858">
                  <c:v>53441</c:v>
                </c:pt>
                <c:pt idx="57859">
                  <c:v>45581</c:v>
                </c:pt>
                <c:pt idx="57860">
                  <c:v>35506</c:v>
                </c:pt>
                <c:pt idx="57861">
                  <c:v>30090</c:v>
                </c:pt>
                <c:pt idx="57862">
                  <c:v>43069</c:v>
                </c:pt>
                <c:pt idx="57863">
                  <c:v>98354</c:v>
                </c:pt>
                <c:pt idx="57864">
                  <c:v>71218</c:v>
                </c:pt>
                <c:pt idx="57865">
                  <c:v>40199</c:v>
                </c:pt>
                <c:pt idx="57866">
                  <c:v>28981</c:v>
                </c:pt>
                <c:pt idx="57867">
                  <c:v>24399</c:v>
                </c:pt>
                <c:pt idx="57868">
                  <c:v>48638</c:v>
                </c:pt>
                <c:pt idx="57869">
                  <c:v>109258</c:v>
                </c:pt>
                <c:pt idx="57870">
                  <c:v>40521</c:v>
                </c:pt>
                <c:pt idx="57871">
                  <c:v>29121</c:v>
                </c:pt>
                <c:pt idx="57872">
                  <c:v>56497</c:v>
                </c:pt>
                <c:pt idx="57873">
                  <c:v>56576</c:v>
                </c:pt>
                <c:pt idx="57874">
                  <c:v>63014</c:v>
                </c:pt>
                <c:pt idx="57875">
                  <c:v>138977</c:v>
                </c:pt>
                <c:pt idx="57876">
                  <c:v>28750</c:v>
                </c:pt>
                <c:pt idx="57877">
                  <c:v>37683</c:v>
                </c:pt>
                <c:pt idx="57878">
                  <c:v>27076</c:v>
                </c:pt>
                <c:pt idx="57879">
                  <c:v>64236</c:v>
                </c:pt>
                <c:pt idx="57880">
                  <c:v>45921</c:v>
                </c:pt>
                <c:pt idx="57881">
                  <c:v>39186</c:v>
                </c:pt>
                <c:pt idx="57882">
                  <c:v>44635</c:v>
                </c:pt>
                <c:pt idx="57883">
                  <c:v>39073</c:v>
                </c:pt>
                <c:pt idx="57884">
                  <c:v>26461</c:v>
                </c:pt>
                <c:pt idx="57885">
                  <c:v>36893</c:v>
                </c:pt>
                <c:pt idx="57886">
                  <c:v>42120</c:v>
                </c:pt>
                <c:pt idx="57887">
                  <c:v>27872</c:v>
                </c:pt>
                <c:pt idx="57888">
                  <c:v>71134</c:v>
                </c:pt>
                <c:pt idx="57889">
                  <c:v>24832</c:v>
                </c:pt>
                <c:pt idx="57890">
                  <c:v>34205</c:v>
                </c:pt>
                <c:pt idx="57891">
                  <c:v>32239</c:v>
                </c:pt>
                <c:pt idx="57892">
                  <c:v>24905</c:v>
                </c:pt>
                <c:pt idx="57893">
                  <c:v>29925</c:v>
                </c:pt>
                <c:pt idx="57894">
                  <c:v>31750</c:v>
                </c:pt>
                <c:pt idx="57895">
                  <c:v>81578</c:v>
                </c:pt>
                <c:pt idx="57896">
                  <c:v>52174</c:v>
                </c:pt>
                <c:pt idx="57897">
                  <c:v>88931</c:v>
                </c:pt>
                <c:pt idx="57898">
                  <c:v>36161</c:v>
                </c:pt>
                <c:pt idx="57899">
                  <c:v>58756</c:v>
                </c:pt>
                <c:pt idx="57900">
                  <c:v>35575</c:v>
                </c:pt>
                <c:pt idx="57901">
                  <c:v>31995</c:v>
                </c:pt>
                <c:pt idx="57902">
                  <c:v>28616</c:v>
                </c:pt>
                <c:pt idx="57903">
                  <c:v>87269</c:v>
                </c:pt>
                <c:pt idx="57904">
                  <c:v>24268</c:v>
                </c:pt>
                <c:pt idx="57905">
                  <c:v>108385</c:v>
                </c:pt>
                <c:pt idx="57906">
                  <c:v>55315</c:v>
                </c:pt>
                <c:pt idx="57907">
                  <c:v>33893</c:v>
                </c:pt>
                <c:pt idx="57908">
                  <c:v>32054</c:v>
                </c:pt>
                <c:pt idx="57909">
                  <c:v>87551</c:v>
                </c:pt>
                <c:pt idx="57910">
                  <c:v>100846</c:v>
                </c:pt>
                <c:pt idx="57911">
                  <c:v>22396</c:v>
                </c:pt>
                <c:pt idx="57912">
                  <c:v>80173</c:v>
                </c:pt>
                <c:pt idx="57913">
                  <c:v>34199</c:v>
                </c:pt>
                <c:pt idx="57914">
                  <c:v>39563</c:v>
                </c:pt>
                <c:pt idx="57915">
                  <c:v>40587</c:v>
                </c:pt>
                <c:pt idx="57916">
                  <c:v>35854</c:v>
                </c:pt>
                <c:pt idx="57917">
                  <c:v>34048</c:v>
                </c:pt>
                <c:pt idx="57918">
                  <c:v>45065</c:v>
                </c:pt>
                <c:pt idx="57919">
                  <c:v>41742</c:v>
                </c:pt>
                <c:pt idx="57920">
                  <c:v>69062</c:v>
                </c:pt>
                <c:pt idx="57921">
                  <c:v>36225</c:v>
                </c:pt>
                <c:pt idx="57922">
                  <c:v>39471</c:v>
                </c:pt>
                <c:pt idx="57923">
                  <c:v>113792</c:v>
                </c:pt>
                <c:pt idx="57924">
                  <c:v>48302</c:v>
                </c:pt>
                <c:pt idx="57925">
                  <c:v>40068</c:v>
                </c:pt>
                <c:pt idx="57926">
                  <c:v>26497</c:v>
                </c:pt>
                <c:pt idx="57927">
                  <c:v>46927</c:v>
                </c:pt>
                <c:pt idx="57928">
                  <c:v>24700</c:v>
                </c:pt>
                <c:pt idx="57929">
                  <c:v>32128</c:v>
                </c:pt>
                <c:pt idx="57930">
                  <c:v>23442</c:v>
                </c:pt>
                <c:pt idx="57931">
                  <c:v>72598</c:v>
                </c:pt>
                <c:pt idx="57932">
                  <c:v>34432</c:v>
                </c:pt>
                <c:pt idx="57933">
                  <c:v>28113</c:v>
                </c:pt>
                <c:pt idx="57934">
                  <c:v>36106</c:v>
                </c:pt>
                <c:pt idx="57935">
                  <c:v>96842</c:v>
                </c:pt>
                <c:pt idx="57936">
                  <c:v>81285</c:v>
                </c:pt>
                <c:pt idx="57937">
                  <c:v>38239</c:v>
                </c:pt>
                <c:pt idx="57938">
                  <c:v>58831</c:v>
                </c:pt>
                <c:pt idx="57939">
                  <c:v>44933</c:v>
                </c:pt>
                <c:pt idx="57940">
                  <c:v>18781</c:v>
                </c:pt>
                <c:pt idx="57941">
                  <c:v>38150</c:v>
                </c:pt>
                <c:pt idx="57942">
                  <c:v>28747</c:v>
                </c:pt>
                <c:pt idx="57943">
                  <c:v>43189</c:v>
                </c:pt>
                <c:pt idx="57944">
                  <c:v>47362</c:v>
                </c:pt>
                <c:pt idx="57945">
                  <c:v>122065</c:v>
                </c:pt>
                <c:pt idx="57946">
                  <c:v>52174</c:v>
                </c:pt>
                <c:pt idx="57947">
                  <c:v>55080</c:v>
                </c:pt>
                <c:pt idx="57948">
                  <c:v>23021</c:v>
                </c:pt>
                <c:pt idx="57949">
                  <c:v>47104</c:v>
                </c:pt>
                <c:pt idx="57950">
                  <c:v>77751</c:v>
                </c:pt>
                <c:pt idx="57951">
                  <c:v>35055</c:v>
                </c:pt>
                <c:pt idx="57952">
                  <c:v>28926</c:v>
                </c:pt>
                <c:pt idx="57953">
                  <c:v>49712</c:v>
                </c:pt>
                <c:pt idx="57954">
                  <c:v>56399</c:v>
                </c:pt>
                <c:pt idx="57955">
                  <c:v>37613</c:v>
                </c:pt>
                <c:pt idx="57956">
                  <c:v>87779</c:v>
                </c:pt>
                <c:pt idx="57957">
                  <c:v>111985</c:v>
                </c:pt>
                <c:pt idx="57958">
                  <c:v>31027</c:v>
                </c:pt>
                <c:pt idx="57959">
                  <c:v>69985</c:v>
                </c:pt>
                <c:pt idx="57960">
                  <c:v>43756</c:v>
                </c:pt>
                <c:pt idx="57961">
                  <c:v>35230</c:v>
                </c:pt>
                <c:pt idx="57962">
                  <c:v>78873</c:v>
                </c:pt>
                <c:pt idx="57963">
                  <c:v>43713</c:v>
                </c:pt>
                <c:pt idx="57964">
                  <c:v>21641</c:v>
                </c:pt>
                <c:pt idx="57965">
                  <c:v>79483</c:v>
                </c:pt>
                <c:pt idx="57966">
                  <c:v>123665</c:v>
                </c:pt>
                <c:pt idx="57967">
                  <c:v>27736</c:v>
                </c:pt>
                <c:pt idx="57968">
                  <c:v>91480</c:v>
                </c:pt>
                <c:pt idx="57969">
                  <c:v>32525</c:v>
                </c:pt>
                <c:pt idx="57970">
                  <c:v>37191</c:v>
                </c:pt>
                <c:pt idx="57971">
                  <c:v>34316</c:v>
                </c:pt>
                <c:pt idx="57972">
                  <c:v>20295</c:v>
                </c:pt>
                <c:pt idx="57973">
                  <c:v>38049</c:v>
                </c:pt>
                <c:pt idx="57974">
                  <c:v>59373</c:v>
                </c:pt>
                <c:pt idx="57975">
                  <c:v>33813</c:v>
                </c:pt>
                <c:pt idx="57976">
                  <c:v>62549</c:v>
                </c:pt>
                <c:pt idx="57977">
                  <c:v>50227</c:v>
                </c:pt>
                <c:pt idx="57978">
                  <c:v>249494</c:v>
                </c:pt>
                <c:pt idx="57979">
                  <c:v>82192</c:v>
                </c:pt>
                <c:pt idx="57980">
                  <c:v>23072</c:v>
                </c:pt>
                <c:pt idx="57981">
                  <c:v>28391</c:v>
                </c:pt>
                <c:pt idx="57982">
                  <c:v>26013</c:v>
                </c:pt>
                <c:pt idx="57983">
                  <c:v>46757</c:v>
                </c:pt>
                <c:pt idx="57984">
                  <c:v>33088</c:v>
                </c:pt>
                <c:pt idx="57985">
                  <c:v>28717</c:v>
                </c:pt>
                <c:pt idx="57986">
                  <c:v>83651</c:v>
                </c:pt>
                <c:pt idx="57987">
                  <c:v>31611</c:v>
                </c:pt>
                <c:pt idx="57988">
                  <c:v>33771</c:v>
                </c:pt>
                <c:pt idx="57989">
                  <c:v>23187</c:v>
                </c:pt>
                <c:pt idx="57990">
                  <c:v>104959</c:v>
                </c:pt>
                <c:pt idx="57991">
                  <c:v>47994</c:v>
                </c:pt>
                <c:pt idx="57992">
                  <c:v>52112</c:v>
                </c:pt>
                <c:pt idx="57993">
                  <c:v>33967</c:v>
                </c:pt>
                <c:pt idx="57994">
                  <c:v>28417</c:v>
                </c:pt>
                <c:pt idx="57995">
                  <c:v>53111</c:v>
                </c:pt>
                <c:pt idx="57996">
                  <c:v>124113</c:v>
                </c:pt>
                <c:pt idx="57997">
                  <c:v>48379</c:v>
                </c:pt>
                <c:pt idx="57998">
                  <c:v>31751</c:v>
                </c:pt>
                <c:pt idx="57999">
                  <c:v>45618</c:v>
                </c:pt>
                <c:pt idx="58000">
                  <c:v>47867</c:v>
                </c:pt>
                <c:pt idx="58001">
                  <c:v>37722</c:v>
                </c:pt>
                <c:pt idx="58002">
                  <c:v>43790</c:v>
                </c:pt>
                <c:pt idx="58003">
                  <c:v>24346</c:v>
                </c:pt>
                <c:pt idx="58004">
                  <c:v>37202</c:v>
                </c:pt>
                <c:pt idx="58005">
                  <c:v>39018</c:v>
                </c:pt>
                <c:pt idx="58006">
                  <c:v>30910</c:v>
                </c:pt>
                <c:pt idx="58007">
                  <c:v>22062</c:v>
                </c:pt>
                <c:pt idx="58008">
                  <c:v>70214</c:v>
                </c:pt>
                <c:pt idx="58009">
                  <c:v>128957</c:v>
                </c:pt>
                <c:pt idx="58010">
                  <c:v>59031</c:v>
                </c:pt>
                <c:pt idx="58011">
                  <c:v>39483</c:v>
                </c:pt>
                <c:pt idx="58012">
                  <c:v>26584</c:v>
                </c:pt>
                <c:pt idx="58013">
                  <c:v>257654</c:v>
                </c:pt>
                <c:pt idx="58014">
                  <c:v>71205</c:v>
                </c:pt>
                <c:pt idx="58015">
                  <c:v>68167</c:v>
                </c:pt>
                <c:pt idx="58016">
                  <c:v>26910</c:v>
                </c:pt>
                <c:pt idx="58017">
                  <c:v>83226</c:v>
                </c:pt>
                <c:pt idx="58018">
                  <c:v>52696</c:v>
                </c:pt>
                <c:pt idx="58019">
                  <c:v>59149</c:v>
                </c:pt>
                <c:pt idx="58020">
                  <c:v>38107</c:v>
                </c:pt>
                <c:pt idx="58021">
                  <c:v>24215</c:v>
                </c:pt>
                <c:pt idx="58022">
                  <c:v>86555</c:v>
                </c:pt>
                <c:pt idx="58023">
                  <c:v>49159</c:v>
                </c:pt>
                <c:pt idx="58024">
                  <c:v>34115</c:v>
                </c:pt>
                <c:pt idx="58025">
                  <c:v>29558</c:v>
                </c:pt>
                <c:pt idx="58026">
                  <c:v>106108</c:v>
                </c:pt>
                <c:pt idx="58027">
                  <c:v>27087</c:v>
                </c:pt>
                <c:pt idx="58028">
                  <c:v>32406</c:v>
                </c:pt>
                <c:pt idx="58029">
                  <c:v>25895</c:v>
                </c:pt>
                <c:pt idx="58030">
                  <c:v>77694</c:v>
                </c:pt>
                <c:pt idx="58031">
                  <c:v>33735</c:v>
                </c:pt>
                <c:pt idx="58032">
                  <c:v>30608</c:v>
                </c:pt>
                <c:pt idx="58033">
                  <c:v>126089</c:v>
                </c:pt>
                <c:pt idx="58034">
                  <c:v>41913</c:v>
                </c:pt>
                <c:pt idx="58035">
                  <c:v>25404</c:v>
                </c:pt>
                <c:pt idx="58036">
                  <c:v>44531</c:v>
                </c:pt>
                <c:pt idx="58037">
                  <c:v>134805</c:v>
                </c:pt>
                <c:pt idx="58038">
                  <c:v>37316</c:v>
                </c:pt>
                <c:pt idx="58039">
                  <c:v>24723</c:v>
                </c:pt>
                <c:pt idx="58040">
                  <c:v>47358</c:v>
                </c:pt>
                <c:pt idx="58041">
                  <c:v>72400</c:v>
                </c:pt>
                <c:pt idx="58042">
                  <c:v>116136</c:v>
                </c:pt>
                <c:pt idx="58043">
                  <c:v>25618</c:v>
                </c:pt>
                <c:pt idx="58044">
                  <c:v>30042</c:v>
                </c:pt>
                <c:pt idx="58045">
                  <c:v>34696</c:v>
                </c:pt>
                <c:pt idx="58046">
                  <c:v>57629</c:v>
                </c:pt>
                <c:pt idx="58047">
                  <c:v>43169</c:v>
                </c:pt>
                <c:pt idx="58048">
                  <c:v>111584</c:v>
                </c:pt>
                <c:pt idx="58049">
                  <c:v>84484</c:v>
                </c:pt>
                <c:pt idx="58050">
                  <c:v>44592</c:v>
                </c:pt>
                <c:pt idx="58051">
                  <c:v>42339</c:v>
                </c:pt>
                <c:pt idx="58052">
                  <c:v>75093</c:v>
                </c:pt>
                <c:pt idx="58053">
                  <c:v>33136</c:v>
                </c:pt>
                <c:pt idx="58054">
                  <c:v>43091</c:v>
                </c:pt>
                <c:pt idx="58055">
                  <c:v>27606</c:v>
                </c:pt>
                <c:pt idx="58056">
                  <c:v>108113</c:v>
                </c:pt>
                <c:pt idx="58057">
                  <c:v>113484</c:v>
                </c:pt>
                <c:pt idx="58058">
                  <c:v>112089</c:v>
                </c:pt>
                <c:pt idx="58059">
                  <c:v>40998</c:v>
                </c:pt>
                <c:pt idx="58060">
                  <c:v>70984</c:v>
                </c:pt>
                <c:pt idx="58061">
                  <c:v>43879</c:v>
                </c:pt>
                <c:pt idx="58062">
                  <c:v>31762</c:v>
                </c:pt>
                <c:pt idx="58063">
                  <c:v>77909</c:v>
                </c:pt>
                <c:pt idx="58064">
                  <c:v>88968</c:v>
                </c:pt>
                <c:pt idx="58065">
                  <c:v>46665</c:v>
                </c:pt>
                <c:pt idx="58066">
                  <c:v>75573</c:v>
                </c:pt>
                <c:pt idx="58067">
                  <c:v>45605</c:v>
                </c:pt>
                <c:pt idx="58068">
                  <c:v>61868</c:v>
                </c:pt>
                <c:pt idx="58069">
                  <c:v>45637</c:v>
                </c:pt>
                <c:pt idx="58070">
                  <c:v>38177</c:v>
                </c:pt>
                <c:pt idx="58071">
                  <c:v>157080</c:v>
                </c:pt>
                <c:pt idx="58072">
                  <c:v>158266</c:v>
                </c:pt>
                <c:pt idx="58073">
                  <c:v>50152</c:v>
                </c:pt>
                <c:pt idx="58074">
                  <c:v>130735</c:v>
                </c:pt>
                <c:pt idx="58075">
                  <c:v>47596</c:v>
                </c:pt>
                <c:pt idx="58076">
                  <c:v>27696</c:v>
                </c:pt>
                <c:pt idx="58077">
                  <c:v>35801</c:v>
                </c:pt>
                <c:pt idx="58078">
                  <c:v>23490</c:v>
                </c:pt>
                <c:pt idx="58079">
                  <c:v>43010</c:v>
                </c:pt>
                <c:pt idx="58080">
                  <c:v>106353</c:v>
                </c:pt>
                <c:pt idx="58081">
                  <c:v>245220</c:v>
                </c:pt>
                <c:pt idx="58082">
                  <c:v>42670</c:v>
                </c:pt>
                <c:pt idx="58083">
                  <c:v>30207</c:v>
                </c:pt>
                <c:pt idx="58084">
                  <c:v>55707</c:v>
                </c:pt>
                <c:pt idx="58085">
                  <c:v>27629</c:v>
                </c:pt>
                <c:pt idx="58086">
                  <c:v>74748</c:v>
                </c:pt>
                <c:pt idx="58087">
                  <c:v>86554</c:v>
                </c:pt>
                <c:pt idx="58088">
                  <c:v>23680</c:v>
                </c:pt>
                <c:pt idx="58089">
                  <c:v>37117</c:v>
                </c:pt>
                <c:pt idx="58090">
                  <c:v>33523</c:v>
                </c:pt>
                <c:pt idx="58091">
                  <c:v>74238</c:v>
                </c:pt>
                <c:pt idx="58092">
                  <c:v>29597</c:v>
                </c:pt>
                <c:pt idx="58093">
                  <c:v>29701</c:v>
                </c:pt>
                <c:pt idx="58094">
                  <c:v>104651</c:v>
                </c:pt>
                <c:pt idx="58095">
                  <c:v>113887</c:v>
                </c:pt>
                <c:pt idx="58096">
                  <c:v>31031</c:v>
                </c:pt>
                <c:pt idx="58097">
                  <c:v>125723</c:v>
                </c:pt>
                <c:pt idx="58098">
                  <c:v>177552</c:v>
                </c:pt>
                <c:pt idx="58099">
                  <c:v>49446</c:v>
                </c:pt>
                <c:pt idx="58100">
                  <c:v>65601</c:v>
                </c:pt>
                <c:pt idx="58101">
                  <c:v>74994</c:v>
                </c:pt>
                <c:pt idx="58102">
                  <c:v>91570</c:v>
                </c:pt>
                <c:pt idx="58103">
                  <c:v>63487</c:v>
                </c:pt>
                <c:pt idx="58104">
                  <c:v>49447</c:v>
                </c:pt>
                <c:pt idx="58105">
                  <c:v>95100</c:v>
                </c:pt>
                <c:pt idx="58106">
                  <c:v>51661</c:v>
                </c:pt>
                <c:pt idx="58107">
                  <c:v>38465</c:v>
                </c:pt>
                <c:pt idx="58108">
                  <c:v>30967</c:v>
                </c:pt>
                <c:pt idx="58109">
                  <c:v>48632</c:v>
                </c:pt>
                <c:pt idx="58110">
                  <c:v>74180</c:v>
                </c:pt>
                <c:pt idx="58111">
                  <c:v>38338</c:v>
                </c:pt>
                <c:pt idx="58112">
                  <c:v>27351</c:v>
                </c:pt>
                <c:pt idx="58113">
                  <c:v>41670</c:v>
                </c:pt>
                <c:pt idx="58114">
                  <c:v>49283</c:v>
                </c:pt>
                <c:pt idx="58115">
                  <c:v>64931</c:v>
                </c:pt>
                <c:pt idx="58116">
                  <c:v>39671</c:v>
                </c:pt>
                <c:pt idx="58117">
                  <c:v>58312</c:v>
                </c:pt>
                <c:pt idx="58118">
                  <c:v>148751</c:v>
                </c:pt>
                <c:pt idx="58119">
                  <c:v>63208</c:v>
                </c:pt>
                <c:pt idx="58120">
                  <c:v>31785</c:v>
                </c:pt>
                <c:pt idx="58121">
                  <c:v>23623</c:v>
                </c:pt>
                <c:pt idx="58122">
                  <c:v>23687</c:v>
                </c:pt>
                <c:pt idx="58123">
                  <c:v>27380</c:v>
                </c:pt>
                <c:pt idx="58124">
                  <c:v>43538</c:v>
                </c:pt>
                <c:pt idx="58125">
                  <c:v>68740</c:v>
                </c:pt>
                <c:pt idx="58126">
                  <c:v>39889</c:v>
                </c:pt>
                <c:pt idx="58127">
                  <c:v>51234</c:v>
                </c:pt>
                <c:pt idx="58128">
                  <c:v>30143</c:v>
                </c:pt>
                <c:pt idx="58129">
                  <c:v>98725</c:v>
                </c:pt>
                <c:pt idx="58130">
                  <c:v>29441</c:v>
                </c:pt>
                <c:pt idx="58131">
                  <c:v>51956</c:v>
                </c:pt>
                <c:pt idx="58132">
                  <c:v>55847</c:v>
                </c:pt>
                <c:pt idx="58133">
                  <c:v>32060</c:v>
                </c:pt>
                <c:pt idx="58134">
                  <c:v>26256</c:v>
                </c:pt>
                <c:pt idx="58135">
                  <c:v>38832</c:v>
                </c:pt>
                <c:pt idx="58136">
                  <c:v>53388</c:v>
                </c:pt>
                <c:pt idx="58137">
                  <c:v>25438</c:v>
                </c:pt>
                <c:pt idx="58138">
                  <c:v>48867</c:v>
                </c:pt>
                <c:pt idx="58139">
                  <c:v>40945</c:v>
                </c:pt>
                <c:pt idx="58140">
                  <c:v>34654</c:v>
                </c:pt>
                <c:pt idx="58141">
                  <c:v>84568</c:v>
                </c:pt>
                <c:pt idx="58142">
                  <c:v>38125</c:v>
                </c:pt>
                <c:pt idx="58143">
                  <c:v>42306</c:v>
                </c:pt>
                <c:pt idx="58144">
                  <c:v>101131</c:v>
                </c:pt>
                <c:pt idx="58145">
                  <c:v>64141</c:v>
                </c:pt>
                <c:pt idx="58146">
                  <c:v>167901</c:v>
                </c:pt>
                <c:pt idx="58147">
                  <c:v>36649</c:v>
                </c:pt>
                <c:pt idx="58148">
                  <c:v>71710</c:v>
                </c:pt>
                <c:pt idx="58149">
                  <c:v>45664</c:v>
                </c:pt>
                <c:pt idx="58150">
                  <c:v>53715</c:v>
                </c:pt>
                <c:pt idx="58151">
                  <c:v>38571</c:v>
                </c:pt>
                <c:pt idx="58152">
                  <c:v>67299</c:v>
                </c:pt>
                <c:pt idx="58153">
                  <c:v>44845</c:v>
                </c:pt>
                <c:pt idx="58154">
                  <c:v>24488</c:v>
                </c:pt>
                <c:pt idx="58155">
                  <c:v>40973</c:v>
                </c:pt>
                <c:pt idx="58156">
                  <c:v>61600</c:v>
                </c:pt>
                <c:pt idx="58157">
                  <c:v>52503</c:v>
                </c:pt>
                <c:pt idx="58158">
                  <c:v>73251</c:v>
                </c:pt>
                <c:pt idx="58159">
                  <c:v>91110</c:v>
                </c:pt>
                <c:pt idx="58160">
                  <c:v>151417</c:v>
                </c:pt>
                <c:pt idx="58161">
                  <c:v>66446</c:v>
                </c:pt>
                <c:pt idx="58162">
                  <c:v>42025</c:v>
                </c:pt>
                <c:pt idx="58163">
                  <c:v>30269</c:v>
                </c:pt>
                <c:pt idx="58164">
                  <c:v>38916</c:v>
                </c:pt>
                <c:pt idx="58165">
                  <c:v>104291</c:v>
                </c:pt>
                <c:pt idx="58166">
                  <c:v>33805</c:v>
                </c:pt>
                <c:pt idx="58167">
                  <c:v>43680</c:v>
                </c:pt>
                <c:pt idx="58168">
                  <c:v>43134</c:v>
                </c:pt>
                <c:pt idx="58169">
                  <c:v>33768</c:v>
                </c:pt>
                <c:pt idx="58170">
                  <c:v>55358</c:v>
                </c:pt>
                <c:pt idx="58171">
                  <c:v>33216</c:v>
                </c:pt>
                <c:pt idx="58172">
                  <c:v>37057</c:v>
                </c:pt>
                <c:pt idx="58173">
                  <c:v>44314</c:v>
                </c:pt>
                <c:pt idx="58174">
                  <c:v>41441</c:v>
                </c:pt>
                <c:pt idx="58175">
                  <c:v>42608</c:v>
                </c:pt>
                <c:pt idx="58176">
                  <c:v>41547</c:v>
                </c:pt>
                <c:pt idx="58177">
                  <c:v>24823</c:v>
                </c:pt>
                <c:pt idx="58178">
                  <c:v>54723</c:v>
                </c:pt>
                <c:pt idx="58179">
                  <c:v>247650</c:v>
                </c:pt>
                <c:pt idx="58180">
                  <c:v>57513</c:v>
                </c:pt>
                <c:pt idx="58181">
                  <c:v>38433</c:v>
                </c:pt>
                <c:pt idx="58182">
                  <c:v>42157</c:v>
                </c:pt>
                <c:pt idx="58183">
                  <c:v>27181</c:v>
                </c:pt>
                <c:pt idx="58184">
                  <c:v>25639</c:v>
                </c:pt>
                <c:pt idx="58185">
                  <c:v>45236</c:v>
                </c:pt>
                <c:pt idx="58186">
                  <c:v>29071</c:v>
                </c:pt>
                <c:pt idx="58187">
                  <c:v>47280</c:v>
                </c:pt>
                <c:pt idx="58188">
                  <c:v>24262</c:v>
                </c:pt>
                <c:pt idx="58189">
                  <c:v>334880</c:v>
                </c:pt>
                <c:pt idx="58190">
                  <c:v>205773</c:v>
                </c:pt>
                <c:pt idx="58191">
                  <c:v>40417</c:v>
                </c:pt>
                <c:pt idx="58192">
                  <c:v>82746</c:v>
                </c:pt>
                <c:pt idx="58193">
                  <c:v>43000</c:v>
                </c:pt>
                <c:pt idx="58194">
                  <c:v>62598</c:v>
                </c:pt>
                <c:pt idx="58195">
                  <c:v>33411</c:v>
                </c:pt>
                <c:pt idx="58196">
                  <c:v>56219</c:v>
                </c:pt>
                <c:pt idx="58197">
                  <c:v>37662</c:v>
                </c:pt>
                <c:pt idx="58198">
                  <c:v>37072</c:v>
                </c:pt>
                <c:pt idx="58199">
                  <c:v>69515</c:v>
                </c:pt>
                <c:pt idx="58200">
                  <c:v>39656</c:v>
                </c:pt>
                <c:pt idx="58201">
                  <c:v>44044</c:v>
                </c:pt>
                <c:pt idx="58202">
                  <c:v>59677</c:v>
                </c:pt>
                <c:pt idx="58203">
                  <c:v>48212</c:v>
                </c:pt>
                <c:pt idx="58204">
                  <c:v>29889</c:v>
                </c:pt>
                <c:pt idx="58205">
                  <c:v>33676</c:v>
                </c:pt>
                <c:pt idx="58206">
                  <c:v>59544</c:v>
                </c:pt>
                <c:pt idx="58207">
                  <c:v>29172</c:v>
                </c:pt>
                <c:pt idx="58208">
                  <c:v>53949</c:v>
                </c:pt>
                <c:pt idx="58209">
                  <c:v>48973</c:v>
                </c:pt>
                <c:pt idx="58210">
                  <c:v>49986</c:v>
                </c:pt>
                <c:pt idx="58211">
                  <c:v>93757</c:v>
                </c:pt>
                <c:pt idx="58212">
                  <c:v>84939</c:v>
                </c:pt>
                <c:pt idx="58213">
                  <c:v>46831</c:v>
                </c:pt>
                <c:pt idx="58214">
                  <c:v>24629</c:v>
                </c:pt>
                <c:pt idx="58215">
                  <c:v>23002</c:v>
                </c:pt>
                <c:pt idx="58216">
                  <c:v>74190</c:v>
                </c:pt>
                <c:pt idx="58217">
                  <c:v>42634</c:v>
                </c:pt>
                <c:pt idx="58218">
                  <c:v>37966</c:v>
                </c:pt>
                <c:pt idx="58219">
                  <c:v>46083</c:v>
                </c:pt>
                <c:pt idx="58220">
                  <c:v>224768</c:v>
                </c:pt>
                <c:pt idx="58221">
                  <c:v>22890</c:v>
                </c:pt>
                <c:pt idx="58222">
                  <c:v>28775</c:v>
                </c:pt>
                <c:pt idx="58223">
                  <c:v>22035</c:v>
                </c:pt>
                <c:pt idx="58224">
                  <c:v>35467</c:v>
                </c:pt>
                <c:pt idx="58225">
                  <c:v>35973</c:v>
                </c:pt>
                <c:pt idx="58226">
                  <c:v>75041</c:v>
                </c:pt>
                <c:pt idx="58227">
                  <c:v>47795</c:v>
                </c:pt>
                <c:pt idx="58228">
                  <c:v>37651</c:v>
                </c:pt>
                <c:pt idx="58229">
                  <c:v>25477</c:v>
                </c:pt>
                <c:pt idx="58230">
                  <c:v>32910</c:v>
                </c:pt>
                <c:pt idx="58231">
                  <c:v>24834</c:v>
                </c:pt>
                <c:pt idx="58232">
                  <c:v>31090</c:v>
                </c:pt>
                <c:pt idx="58233">
                  <c:v>53749</c:v>
                </c:pt>
                <c:pt idx="58234">
                  <c:v>81102</c:v>
                </c:pt>
                <c:pt idx="58235">
                  <c:v>60238</c:v>
                </c:pt>
                <c:pt idx="58236">
                  <c:v>33881</c:v>
                </c:pt>
                <c:pt idx="58237">
                  <c:v>40379</c:v>
                </c:pt>
                <c:pt idx="58238">
                  <c:v>95440</c:v>
                </c:pt>
                <c:pt idx="58239">
                  <c:v>46151</c:v>
                </c:pt>
                <c:pt idx="58240">
                  <c:v>34448</c:v>
                </c:pt>
                <c:pt idx="58241">
                  <c:v>54508</c:v>
                </c:pt>
                <c:pt idx="58242">
                  <c:v>23569</c:v>
                </c:pt>
                <c:pt idx="58243">
                  <c:v>64400</c:v>
                </c:pt>
                <c:pt idx="58244">
                  <c:v>37673</c:v>
                </c:pt>
                <c:pt idx="58245">
                  <c:v>288777</c:v>
                </c:pt>
                <c:pt idx="58246">
                  <c:v>29514</c:v>
                </c:pt>
                <c:pt idx="58247">
                  <c:v>60831</c:v>
                </c:pt>
                <c:pt idx="58248">
                  <c:v>48573</c:v>
                </c:pt>
                <c:pt idx="58249">
                  <c:v>32392</c:v>
                </c:pt>
                <c:pt idx="58250">
                  <c:v>26270</c:v>
                </c:pt>
                <c:pt idx="58251">
                  <c:v>41476</c:v>
                </c:pt>
                <c:pt idx="58252">
                  <c:v>67956</c:v>
                </c:pt>
                <c:pt idx="58253">
                  <c:v>27205</c:v>
                </c:pt>
                <c:pt idx="58254">
                  <c:v>34187</c:v>
                </c:pt>
                <c:pt idx="58255">
                  <c:v>48248</c:v>
                </c:pt>
                <c:pt idx="58256">
                  <c:v>45612</c:v>
                </c:pt>
                <c:pt idx="58257">
                  <c:v>31597</c:v>
                </c:pt>
                <c:pt idx="58258">
                  <c:v>106374</c:v>
                </c:pt>
                <c:pt idx="58259">
                  <c:v>41670</c:v>
                </c:pt>
                <c:pt idx="58260">
                  <c:v>26151</c:v>
                </c:pt>
                <c:pt idx="58261">
                  <c:v>39891</c:v>
                </c:pt>
                <c:pt idx="58262">
                  <c:v>36702</c:v>
                </c:pt>
                <c:pt idx="58263">
                  <c:v>74253</c:v>
                </c:pt>
                <c:pt idx="58264">
                  <c:v>80426</c:v>
                </c:pt>
                <c:pt idx="58265">
                  <c:v>38090</c:v>
                </c:pt>
                <c:pt idx="58266">
                  <c:v>27621</c:v>
                </c:pt>
                <c:pt idx="58267">
                  <c:v>63957</c:v>
                </c:pt>
                <c:pt idx="58268">
                  <c:v>37204</c:v>
                </c:pt>
                <c:pt idx="58269">
                  <c:v>40983</c:v>
                </c:pt>
                <c:pt idx="58270">
                  <c:v>102746</c:v>
                </c:pt>
                <c:pt idx="58271">
                  <c:v>35281</c:v>
                </c:pt>
                <c:pt idx="58272">
                  <c:v>23320</c:v>
                </c:pt>
                <c:pt idx="58273">
                  <c:v>279169</c:v>
                </c:pt>
                <c:pt idx="58274">
                  <c:v>44413</c:v>
                </c:pt>
                <c:pt idx="58275">
                  <c:v>70392</c:v>
                </c:pt>
                <c:pt idx="58276">
                  <c:v>47773</c:v>
                </c:pt>
                <c:pt idx="58277">
                  <c:v>22978</c:v>
                </c:pt>
                <c:pt idx="58278">
                  <c:v>25737</c:v>
                </c:pt>
                <c:pt idx="58279">
                  <c:v>38802</c:v>
                </c:pt>
                <c:pt idx="58280">
                  <c:v>41391</c:v>
                </c:pt>
                <c:pt idx="58281">
                  <c:v>41134</c:v>
                </c:pt>
                <c:pt idx="58282">
                  <c:v>43821</c:v>
                </c:pt>
                <c:pt idx="58283">
                  <c:v>96517</c:v>
                </c:pt>
                <c:pt idx="58284">
                  <c:v>44552</c:v>
                </c:pt>
                <c:pt idx="58285">
                  <c:v>53111</c:v>
                </c:pt>
                <c:pt idx="58286">
                  <c:v>51748</c:v>
                </c:pt>
                <c:pt idx="58287">
                  <c:v>60745</c:v>
                </c:pt>
                <c:pt idx="58288">
                  <c:v>38221</c:v>
                </c:pt>
                <c:pt idx="58289">
                  <c:v>27388</c:v>
                </c:pt>
                <c:pt idx="58290">
                  <c:v>46180</c:v>
                </c:pt>
                <c:pt idx="58291">
                  <c:v>120083</c:v>
                </c:pt>
                <c:pt idx="58292">
                  <c:v>36675</c:v>
                </c:pt>
                <c:pt idx="58293">
                  <c:v>40254</c:v>
                </c:pt>
                <c:pt idx="58294">
                  <c:v>78011</c:v>
                </c:pt>
                <c:pt idx="58295">
                  <c:v>47697</c:v>
                </c:pt>
                <c:pt idx="58296">
                  <c:v>178965</c:v>
                </c:pt>
                <c:pt idx="58297">
                  <c:v>31061</c:v>
                </c:pt>
                <c:pt idx="58298">
                  <c:v>48910</c:v>
                </c:pt>
                <c:pt idx="58299">
                  <c:v>131878</c:v>
                </c:pt>
                <c:pt idx="58300">
                  <c:v>143569</c:v>
                </c:pt>
                <c:pt idx="58301">
                  <c:v>124534</c:v>
                </c:pt>
                <c:pt idx="58302">
                  <c:v>47924</c:v>
                </c:pt>
                <c:pt idx="58303">
                  <c:v>44756</c:v>
                </c:pt>
                <c:pt idx="58304">
                  <c:v>70781</c:v>
                </c:pt>
                <c:pt idx="58305">
                  <c:v>167120</c:v>
                </c:pt>
                <c:pt idx="58306">
                  <c:v>47343</c:v>
                </c:pt>
                <c:pt idx="58307">
                  <c:v>52242</c:v>
                </c:pt>
                <c:pt idx="58308">
                  <c:v>40072</c:v>
                </c:pt>
                <c:pt idx="58309">
                  <c:v>41041</c:v>
                </c:pt>
                <c:pt idx="58310">
                  <c:v>20974</c:v>
                </c:pt>
                <c:pt idx="58311">
                  <c:v>42954</c:v>
                </c:pt>
                <c:pt idx="58312">
                  <c:v>34101</c:v>
                </c:pt>
                <c:pt idx="58313">
                  <c:v>137594</c:v>
                </c:pt>
                <c:pt idx="58314">
                  <c:v>38373</c:v>
                </c:pt>
                <c:pt idx="58315">
                  <c:v>28526</c:v>
                </c:pt>
                <c:pt idx="58316">
                  <c:v>37024</c:v>
                </c:pt>
                <c:pt idx="58317">
                  <c:v>44969</c:v>
                </c:pt>
                <c:pt idx="58318">
                  <c:v>190577</c:v>
                </c:pt>
                <c:pt idx="58319">
                  <c:v>41449</c:v>
                </c:pt>
                <c:pt idx="58320">
                  <c:v>36787</c:v>
                </c:pt>
                <c:pt idx="58321">
                  <c:v>28341</c:v>
                </c:pt>
                <c:pt idx="58322">
                  <c:v>102778</c:v>
                </c:pt>
                <c:pt idx="58323">
                  <c:v>44665</c:v>
                </c:pt>
                <c:pt idx="58324">
                  <c:v>115419</c:v>
                </c:pt>
                <c:pt idx="58325">
                  <c:v>28228</c:v>
                </c:pt>
                <c:pt idx="58326">
                  <c:v>76131</c:v>
                </c:pt>
                <c:pt idx="58327">
                  <c:v>22702</c:v>
                </c:pt>
                <c:pt idx="58328">
                  <c:v>28899</c:v>
                </c:pt>
                <c:pt idx="58329">
                  <c:v>105528</c:v>
                </c:pt>
                <c:pt idx="58330">
                  <c:v>31080</c:v>
                </c:pt>
                <c:pt idx="58331">
                  <c:v>61760</c:v>
                </c:pt>
                <c:pt idx="58332">
                  <c:v>217673</c:v>
                </c:pt>
                <c:pt idx="58333">
                  <c:v>46396</c:v>
                </c:pt>
                <c:pt idx="58334">
                  <c:v>61494</c:v>
                </c:pt>
                <c:pt idx="58335">
                  <c:v>23588</c:v>
                </c:pt>
                <c:pt idx="58336">
                  <c:v>27488</c:v>
                </c:pt>
                <c:pt idx="58337">
                  <c:v>42148</c:v>
                </c:pt>
                <c:pt idx="58338">
                  <c:v>30296</c:v>
                </c:pt>
                <c:pt idx="58339">
                  <c:v>26283</c:v>
                </c:pt>
                <c:pt idx="58340">
                  <c:v>26677</c:v>
                </c:pt>
                <c:pt idx="58341">
                  <c:v>30569</c:v>
                </c:pt>
                <c:pt idx="58342">
                  <c:v>48617</c:v>
                </c:pt>
                <c:pt idx="58343">
                  <c:v>158052</c:v>
                </c:pt>
                <c:pt idx="58344">
                  <c:v>45060</c:v>
                </c:pt>
                <c:pt idx="58345">
                  <c:v>46974</c:v>
                </c:pt>
                <c:pt idx="58346">
                  <c:v>46190</c:v>
                </c:pt>
                <c:pt idx="58347">
                  <c:v>127573</c:v>
                </c:pt>
                <c:pt idx="58348">
                  <c:v>30524</c:v>
                </c:pt>
                <c:pt idx="58349">
                  <c:v>52357</c:v>
                </c:pt>
                <c:pt idx="58350">
                  <c:v>51057</c:v>
                </c:pt>
                <c:pt idx="58351">
                  <c:v>112948</c:v>
                </c:pt>
                <c:pt idx="58352">
                  <c:v>34723</c:v>
                </c:pt>
                <c:pt idx="58353">
                  <c:v>61448</c:v>
                </c:pt>
                <c:pt idx="58354">
                  <c:v>32088</c:v>
                </c:pt>
                <c:pt idx="58355">
                  <c:v>34619</c:v>
                </c:pt>
                <c:pt idx="58356">
                  <c:v>32589</c:v>
                </c:pt>
                <c:pt idx="58357">
                  <c:v>39318</c:v>
                </c:pt>
                <c:pt idx="58358">
                  <c:v>28415</c:v>
                </c:pt>
                <c:pt idx="58359">
                  <c:v>57806</c:v>
                </c:pt>
                <c:pt idx="58360">
                  <c:v>113210</c:v>
                </c:pt>
                <c:pt idx="58361">
                  <c:v>25921</c:v>
                </c:pt>
                <c:pt idx="58362">
                  <c:v>21859</c:v>
                </c:pt>
                <c:pt idx="58363">
                  <c:v>68772</c:v>
                </c:pt>
                <c:pt idx="58364">
                  <c:v>28474</c:v>
                </c:pt>
                <c:pt idx="58365">
                  <c:v>99326</c:v>
                </c:pt>
                <c:pt idx="58366">
                  <c:v>24728</c:v>
                </c:pt>
                <c:pt idx="58367">
                  <c:v>42167</c:v>
                </c:pt>
                <c:pt idx="58368">
                  <c:v>47221</c:v>
                </c:pt>
                <c:pt idx="58369">
                  <c:v>74052</c:v>
                </c:pt>
                <c:pt idx="58370">
                  <c:v>47191</c:v>
                </c:pt>
                <c:pt idx="58371">
                  <c:v>30037</c:v>
                </c:pt>
                <c:pt idx="58372">
                  <c:v>129110</c:v>
                </c:pt>
                <c:pt idx="58373">
                  <c:v>48933</c:v>
                </c:pt>
                <c:pt idx="58374">
                  <c:v>35086</c:v>
                </c:pt>
                <c:pt idx="58375">
                  <c:v>50795</c:v>
                </c:pt>
                <c:pt idx="58376">
                  <c:v>74816</c:v>
                </c:pt>
                <c:pt idx="58377">
                  <c:v>107062</c:v>
                </c:pt>
                <c:pt idx="58378">
                  <c:v>132147</c:v>
                </c:pt>
                <c:pt idx="58379">
                  <c:v>55608</c:v>
                </c:pt>
                <c:pt idx="58380">
                  <c:v>96131</c:v>
                </c:pt>
                <c:pt idx="58381">
                  <c:v>45488</c:v>
                </c:pt>
                <c:pt idx="58382">
                  <c:v>33451</c:v>
                </c:pt>
                <c:pt idx="58383">
                  <c:v>33356</c:v>
                </c:pt>
                <c:pt idx="58384">
                  <c:v>39926</c:v>
                </c:pt>
                <c:pt idx="58385">
                  <c:v>29578</c:v>
                </c:pt>
                <c:pt idx="58386">
                  <c:v>35853</c:v>
                </c:pt>
                <c:pt idx="58387">
                  <c:v>35593</c:v>
                </c:pt>
                <c:pt idx="58388">
                  <c:v>104901</c:v>
                </c:pt>
                <c:pt idx="58389">
                  <c:v>35858</c:v>
                </c:pt>
                <c:pt idx="58390">
                  <c:v>262545</c:v>
                </c:pt>
                <c:pt idx="58391">
                  <c:v>72898</c:v>
                </c:pt>
                <c:pt idx="58392">
                  <c:v>26776</c:v>
                </c:pt>
                <c:pt idx="58393">
                  <c:v>68071</c:v>
                </c:pt>
                <c:pt idx="58394">
                  <c:v>144145</c:v>
                </c:pt>
                <c:pt idx="58395">
                  <c:v>30096</c:v>
                </c:pt>
                <c:pt idx="58396">
                  <c:v>21300</c:v>
                </c:pt>
                <c:pt idx="58397">
                  <c:v>79288</c:v>
                </c:pt>
                <c:pt idx="58398">
                  <c:v>90215</c:v>
                </c:pt>
                <c:pt idx="58399">
                  <c:v>33426</c:v>
                </c:pt>
                <c:pt idx="58400">
                  <c:v>92480</c:v>
                </c:pt>
                <c:pt idx="58401">
                  <c:v>24832</c:v>
                </c:pt>
                <c:pt idx="58402">
                  <c:v>50026</c:v>
                </c:pt>
                <c:pt idx="58403">
                  <c:v>26448</c:v>
                </c:pt>
                <c:pt idx="58404">
                  <c:v>69755</c:v>
                </c:pt>
                <c:pt idx="58405">
                  <c:v>27806</c:v>
                </c:pt>
                <c:pt idx="58406">
                  <c:v>55071</c:v>
                </c:pt>
                <c:pt idx="58407">
                  <c:v>20325</c:v>
                </c:pt>
                <c:pt idx="58408">
                  <c:v>47896</c:v>
                </c:pt>
                <c:pt idx="58409">
                  <c:v>34892</c:v>
                </c:pt>
                <c:pt idx="58410">
                  <c:v>72661</c:v>
                </c:pt>
                <c:pt idx="58411">
                  <c:v>34792</c:v>
                </c:pt>
                <c:pt idx="58412">
                  <c:v>25331</c:v>
                </c:pt>
                <c:pt idx="58413">
                  <c:v>23127</c:v>
                </c:pt>
                <c:pt idx="58414">
                  <c:v>39645</c:v>
                </c:pt>
                <c:pt idx="58415">
                  <c:v>34386</c:v>
                </c:pt>
                <c:pt idx="58416">
                  <c:v>38332</c:v>
                </c:pt>
                <c:pt idx="58417">
                  <c:v>24095</c:v>
                </c:pt>
                <c:pt idx="58418">
                  <c:v>170337</c:v>
                </c:pt>
                <c:pt idx="58419">
                  <c:v>69274</c:v>
                </c:pt>
                <c:pt idx="58420">
                  <c:v>24815</c:v>
                </c:pt>
                <c:pt idx="58421">
                  <c:v>37341</c:v>
                </c:pt>
                <c:pt idx="58422">
                  <c:v>69622</c:v>
                </c:pt>
                <c:pt idx="58423">
                  <c:v>39989</c:v>
                </c:pt>
                <c:pt idx="58424">
                  <c:v>42777</c:v>
                </c:pt>
                <c:pt idx="58425">
                  <c:v>303130</c:v>
                </c:pt>
                <c:pt idx="58426">
                  <c:v>41756</c:v>
                </c:pt>
                <c:pt idx="58427">
                  <c:v>32506</c:v>
                </c:pt>
                <c:pt idx="58428">
                  <c:v>40990</c:v>
                </c:pt>
                <c:pt idx="58429">
                  <c:v>44007</c:v>
                </c:pt>
                <c:pt idx="58430">
                  <c:v>57473</c:v>
                </c:pt>
                <c:pt idx="58431">
                  <c:v>75162</c:v>
                </c:pt>
                <c:pt idx="58432">
                  <c:v>31589</c:v>
                </c:pt>
                <c:pt idx="58433">
                  <c:v>40203</c:v>
                </c:pt>
                <c:pt idx="58434">
                  <c:v>36636</c:v>
                </c:pt>
                <c:pt idx="58435">
                  <c:v>52200</c:v>
                </c:pt>
                <c:pt idx="58436">
                  <c:v>127536</c:v>
                </c:pt>
                <c:pt idx="58437">
                  <c:v>119512</c:v>
                </c:pt>
                <c:pt idx="58438">
                  <c:v>45470</c:v>
                </c:pt>
                <c:pt idx="58439">
                  <c:v>45150</c:v>
                </c:pt>
                <c:pt idx="58440">
                  <c:v>45328</c:v>
                </c:pt>
                <c:pt idx="58441">
                  <c:v>47071</c:v>
                </c:pt>
                <c:pt idx="58442">
                  <c:v>31990</c:v>
                </c:pt>
                <c:pt idx="58443">
                  <c:v>32784</c:v>
                </c:pt>
                <c:pt idx="58444">
                  <c:v>95357</c:v>
                </c:pt>
                <c:pt idx="58445">
                  <c:v>53462</c:v>
                </c:pt>
                <c:pt idx="58446">
                  <c:v>32857</c:v>
                </c:pt>
                <c:pt idx="58447">
                  <c:v>55279</c:v>
                </c:pt>
                <c:pt idx="58448">
                  <c:v>39729</c:v>
                </c:pt>
                <c:pt idx="58449">
                  <c:v>32334</c:v>
                </c:pt>
                <c:pt idx="58450">
                  <c:v>31474</c:v>
                </c:pt>
                <c:pt idx="58451">
                  <c:v>44680</c:v>
                </c:pt>
                <c:pt idx="58452">
                  <c:v>128186</c:v>
                </c:pt>
                <c:pt idx="58453">
                  <c:v>30373</c:v>
                </c:pt>
                <c:pt idx="58454">
                  <c:v>83775</c:v>
                </c:pt>
                <c:pt idx="58455">
                  <c:v>58223</c:v>
                </c:pt>
                <c:pt idx="58456">
                  <c:v>66660</c:v>
                </c:pt>
                <c:pt idx="58457">
                  <c:v>161179</c:v>
                </c:pt>
                <c:pt idx="58458">
                  <c:v>96445</c:v>
                </c:pt>
                <c:pt idx="58459">
                  <c:v>30182</c:v>
                </c:pt>
                <c:pt idx="58460">
                  <c:v>19608</c:v>
                </c:pt>
                <c:pt idx="58461">
                  <c:v>21139</c:v>
                </c:pt>
                <c:pt idx="58462">
                  <c:v>52243</c:v>
                </c:pt>
                <c:pt idx="58463">
                  <c:v>28882</c:v>
                </c:pt>
                <c:pt idx="58464">
                  <c:v>44272</c:v>
                </c:pt>
                <c:pt idx="58465">
                  <c:v>171267</c:v>
                </c:pt>
                <c:pt idx="58466">
                  <c:v>44414</c:v>
                </c:pt>
                <c:pt idx="58467">
                  <c:v>39185</c:v>
                </c:pt>
                <c:pt idx="58468">
                  <c:v>25619</c:v>
                </c:pt>
                <c:pt idx="58469">
                  <c:v>82574</c:v>
                </c:pt>
                <c:pt idx="58470">
                  <c:v>104382</c:v>
                </c:pt>
                <c:pt idx="58471">
                  <c:v>53055</c:v>
                </c:pt>
                <c:pt idx="58472">
                  <c:v>35824</c:v>
                </c:pt>
                <c:pt idx="58473">
                  <c:v>34254</c:v>
                </c:pt>
                <c:pt idx="58474">
                  <c:v>49577</c:v>
                </c:pt>
                <c:pt idx="58475">
                  <c:v>140333</c:v>
                </c:pt>
                <c:pt idx="58476">
                  <c:v>36845</c:v>
                </c:pt>
                <c:pt idx="58477">
                  <c:v>46686</c:v>
                </c:pt>
                <c:pt idx="58478">
                  <c:v>39368</c:v>
                </c:pt>
                <c:pt idx="58479">
                  <c:v>77438</c:v>
                </c:pt>
                <c:pt idx="58480">
                  <c:v>30547</c:v>
                </c:pt>
                <c:pt idx="58481">
                  <c:v>53491</c:v>
                </c:pt>
                <c:pt idx="58482">
                  <c:v>339087</c:v>
                </c:pt>
                <c:pt idx="58483">
                  <c:v>71672</c:v>
                </c:pt>
                <c:pt idx="58484">
                  <c:v>93176</c:v>
                </c:pt>
                <c:pt idx="58485">
                  <c:v>48954</c:v>
                </c:pt>
                <c:pt idx="58486">
                  <c:v>108754</c:v>
                </c:pt>
                <c:pt idx="58487">
                  <c:v>129303</c:v>
                </c:pt>
                <c:pt idx="58488">
                  <c:v>126875</c:v>
                </c:pt>
                <c:pt idx="58489">
                  <c:v>194380</c:v>
                </c:pt>
                <c:pt idx="58490">
                  <c:v>27118</c:v>
                </c:pt>
                <c:pt idx="58491">
                  <c:v>28362</c:v>
                </c:pt>
                <c:pt idx="58492">
                  <c:v>70939</c:v>
                </c:pt>
                <c:pt idx="58493">
                  <c:v>43615</c:v>
                </c:pt>
                <c:pt idx="58494">
                  <c:v>74694</c:v>
                </c:pt>
                <c:pt idx="58495">
                  <c:v>37863</c:v>
                </c:pt>
                <c:pt idx="58496">
                  <c:v>31186</c:v>
                </c:pt>
                <c:pt idx="58497">
                  <c:v>41308</c:v>
                </c:pt>
                <c:pt idx="58498">
                  <c:v>22300</c:v>
                </c:pt>
                <c:pt idx="58499">
                  <c:v>69083</c:v>
                </c:pt>
                <c:pt idx="58500">
                  <c:v>40598</c:v>
                </c:pt>
                <c:pt idx="58501">
                  <c:v>40314</c:v>
                </c:pt>
                <c:pt idx="58502">
                  <c:v>34922</c:v>
                </c:pt>
                <c:pt idx="58503">
                  <c:v>38567</c:v>
                </c:pt>
                <c:pt idx="58504">
                  <c:v>61585</c:v>
                </c:pt>
                <c:pt idx="58505">
                  <c:v>49167</c:v>
                </c:pt>
                <c:pt idx="58506">
                  <c:v>170880</c:v>
                </c:pt>
                <c:pt idx="58507">
                  <c:v>55965</c:v>
                </c:pt>
                <c:pt idx="58508">
                  <c:v>33198</c:v>
                </c:pt>
                <c:pt idx="58509">
                  <c:v>54313</c:v>
                </c:pt>
                <c:pt idx="58510">
                  <c:v>38841</c:v>
                </c:pt>
                <c:pt idx="58511">
                  <c:v>59980</c:v>
                </c:pt>
                <c:pt idx="58512">
                  <c:v>25581</c:v>
                </c:pt>
                <c:pt idx="58513">
                  <c:v>79982</c:v>
                </c:pt>
                <c:pt idx="58514">
                  <c:v>52149</c:v>
                </c:pt>
                <c:pt idx="58515">
                  <c:v>40354</c:v>
                </c:pt>
                <c:pt idx="58516">
                  <c:v>84184</c:v>
                </c:pt>
                <c:pt idx="58517">
                  <c:v>109439</c:v>
                </c:pt>
                <c:pt idx="58518">
                  <c:v>116730</c:v>
                </c:pt>
                <c:pt idx="58519">
                  <c:v>377714</c:v>
                </c:pt>
                <c:pt idx="58520">
                  <c:v>44727</c:v>
                </c:pt>
                <c:pt idx="58521">
                  <c:v>50855</c:v>
                </c:pt>
                <c:pt idx="58522">
                  <c:v>22391</c:v>
                </c:pt>
                <c:pt idx="58523">
                  <c:v>30807</c:v>
                </c:pt>
                <c:pt idx="58524">
                  <c:v>137263</c:v>
                </c:pt>
                <c:pt idx="58525">
                  <c:v>68003</c:v>
                </c:pt>
                <c:pt idx="58526">
                  <c:v>23363</c:v>
                </c:pt>
                <c:pt idx="58527">
                  <c:v>44656</c:v>
                </c:pt>
                <c:pt idx="58528">
                  <c:v>23592</c:v>
                </c:pt>
                <c:pt idx="58529">
                  <c:v>45153</c:v>
                </c:pt>
                <c:pt idx="58530">
                  <c:v>27713</c:v>
                </c:pt>
                <c:pt idx="58531">
                  <c:v>123079</c:v>
                </c:pt>
                <c:pt idx="58532">
                  <c:v>31057</c:v>
                </c:pt>
                <c:pt idx="58533">
                  <c:v>80460</c:v>
                </c:pt>
                <c:pt idx="58534">
                  <c:v>62169</c:v>
                </c:pt>
                <c:pt idx="58535">
                  <c:v>42441</c:v>
                </c:pt>
                <c:pt idx="58536">
                  <c:v>29320</c:v>
                </c:pt>
                <c:pt idx="58537">
                  <c:v>47890</c:v>
                </c:pt>
                <c:pt idx="58538">
                  <c:v>15000</c:v>
                </c:pt>
                <c:pt idx="58539">
                  <c:v>79818</c:v>
                </c:pt>
                <c:pt idx="58540">
                  <c:v>41783</c:v>
                </c:pt>
                <c:pt idx="58541">
                  <c:v>47279</c:v>
                </c:pt>
                <c:pt idx="58542">
                  <c:v>43293</c:v>
                </c:pt>
                <c:pt idx="58543">
                  <c:v>62252</c:v>
                </c:pt>
                <c:pt idx="58544">
                  <c:v>119865</c:v>
                </c:pt>
                <c:pt idx="58545">
                  <c:v>31309</c:v>
                </c:pt>
                <c:pt idx="58546">
                  <c:v>72157</c:v>
                </c:pt>
                <c:pt idx="58547">
                  <c:v>161552</c:v>
                </c:pt>
                <c:pt idx="58548">
                  <c:v>46592</c:v>
                </c:pt>
                <c:pt idx="58549">
                  <c:v>22426</c:v>
                </c:pt>
                <c:pt idx="58550">
                  <c:v>38813</c:v>
                </c:pt>
                <c:pt idx="58551">
                  <c:v>54498</c:v>
                </c:pt>
                <c:pt idx="58552">
                  <c:v>163149</c:v>
                </c:pt>
                <c:pt idx="58553">
                  <c:v>60644</c:v>
                </c:pt>
                <c:pt idx="58554">
                  <c:v>26972</c:v>
                </c:pt>
                <c:pt idx="58555">
                  <c:v>40825</c:v>
                </c:pt>
                <c:pt idx="58556">
                  <c:v>58815</c:v>
                </c:pt>
                <c:pt idx="58557">
                  <c:v>189702</c:v>
                </c:pt>
                <c:pt idx="58558">
                  <c:v>82141</c:v>
                </c:pt>
                <c:pt idx="58559">
                  <c:v>26760</c:v>
                </c:pt>
                <c:pt idx="58560">
                  <c:v>28490</c:v>
                </c:pt>
                <c:pt idx="58561">
                  <c:v>70693</c:v>
                </c:pt>
                <c:pt idx="58562">
                  <c:v>37362</c:v>
                </c:pt>
                <c:pt idx="58563">
                  <c:v>85323</c:v>
                </c:pt>
                <c:pt idx="58564">
                  <c:v>153311</c:v>
                </c:pt>
                <c:pt idx="58565">
                  <c:v>47550</c:v>
                </c:pt>
                <c:pt idx="58566">
                  <c:v>46963</c:v>
                </c:pt>
                <c:pt idx="58567">
                  <c:v>47554</c:v>
                </c:pt>
                <c:pt idx="58568">
                  <c:v>24965</c:v>
                </c:pt>
                <c:pt idx="58569">
                  <c:v>38989</c:v>
                </c:pt>
                <c:pt idx="58570">
                  <c:v>39489</c:v>
                </c:pt>
                <c:pt idx="58571">
                  <c:v>55523</c:v>
                </c:pt>
                <c:pt idx="58572">
                  <c:v>47482</c:v>
                </c:pt>
                <c:pt idx="58573">
                  <c:v>36414</c:v>
                </c:pt>
                <c:pt idx="58574">
                  <c:v>40872</c:v>
                </c:pt>
                <c:pt idx="58575">
                  <c:v>23184</c:v>
                </c:pt>
                <c:pt idx="58576">
                  <c:v>44407</c:v>
                </c:pt>
                <c:pt idx="58577">
                  <c:v>45203</c:v>
                </c:pt>
                <c:pt idx="58578">
                  <c:v>29035</c:v>
                </c:pt>
                <c:pt idx="58579">
                  <c:v>63232</c:v>
                </c:pt>
                <c:pt idx="58580">
                  <c:v>28551</c:v>
                </c:pt>
                <c:pt idx="58581">
                  <c:v>108977</c:v>
                </c:pt>
                <c:pt idx="58582">
                  <c:v>42870</c:v>
                </c:pt>
                <c:pt idx="58583">
                  <c:v>41806</c:v>
                </c:pt>
                <c:pt idx="58584">
                  <c:v>59313</c:v>
                </c:pt>
                <c:pt idx="58585">
                  <c:v>101027</c:v>
                </c:pt>
                <c:pt idx="58586">
                  <c:v>31224</c:v>
                </c:pt>
                <c:pt idx="58587">
                  <c:v>53179</c:v>
                </c:pt>
                <c:pt idx="58588">
                  <c:v>58769</c:v>
                </c:pt>
                <c:pt idx="58589">
                  <c:v>61366</c:v>
                </c:pt>
                <c:pt idx="58590">
                  <c:v>224609</c:v>
                </c:pt>
                <c:pt idx="58591">
                  <c:v>38569</c:v>
                </c:pt>
                <c:pt idx="58592">
                  <c:v>25238</c:v>
                </c:pt>
                <c:pt idx="58593">
                  <c:v>213384</c:v>
                </c:pt>
                <c:pt idx="58594">
                  <c:v>40754</c:v>
                </c:pt>
                <c:pt idx="58595">
                  <c:v>45676</c:v>
                </c:pt>
                <c:pt idx="58596">
                  <c:v>96934</c:v>
                </c:pt>
                <c:pt idx="58597">
                  <c:v>92595</c:v>
                </c:pt>
                <c:pt idx="58598">
                  <c:v>26765</c:v>
                </c:pt>
                <c:pt idx="58599">
                  <c:v>53210</c:v>
                </c:pt>
                <c:pt idx="58600">
                  <c:v>28270</c:v>
                </c:pt>
                <c:pt idx="58601">
                  <c:v>51320</c:v>
                </c:pt>
                <c:pt idx="58602">
                  <c:v>35303</c:v>
                </c:pt>
                <c:pt idx="58603">
                  <c:v>106101</c:v>
                </c:pt>
                <c:pt idx="58604">
                  <c:v>32548</c:v>
                </c:pt>
                <c:pt idx="58605">
                  <c:v>64428</c:v>
                </c:pt>
                <c:pt idx="58606">
                  <c:v>227661</c:v>
                </c:pt>
                <c:pt idx="58607">
                  <c:v>24166</c:v>
                </c:pt>
                <c:pt idx="58608">
                  <c:v>125334</c:v>
                </c:pt>
                <c:pt idx="58609">
                  <c:v>234638</c:v>
                </c:pt>
                <c:pt idx="58610">
                  <c:v>29588</c:v>
                </c:pt>
                <c:pt idx="58611">
                  <c:v>177018</c:v>
                </c:pt>
                <c:pt idx="58612">
                  <c:v>194819</c:v>
                </c:pt>
                <c:pt idx="58613">
                  <c:v>31305</c:v>
                </c:pt>
                <c:pt idx="58614">
                  <c:v>42138</c:v>
                </c:pt>
                <c:pt idx="58615">
                  <c:v>28947</c:v>
                </c:pt>
                <c:pt idx="58616">
                  <c:v>15000</c:v>
                </c:pt>
                <c:pt idx="58617">
                  <c:v>33580</c:v>
                </c:pt>
                <c:pt idx="58618">
                  <c:v>39072</c:v>
                </c:pt>
                <c:pt idx="58619">
                  <c:v>28389</c:v>
                </c:pt>
                <c:pt idx="58620">
                  <c:v>62855</c:v>
                </c:pt>
                <c:pt idx="58621">
                  <c:v>51507</c:v>
                </c:pt>
                <c:pt idx="58622">
                  <c:v>52393</c:v>
                </c:pt>
                <c:pt idx="58623">
                  <c:v>29904</c:v>
                </c:pt>
                <c:pt idx="58624">
                  <c:v>84645</c:v>
                </c:pt>
                <c:pt idx="58625">
                  <c:v>56721</c:v>
                </c:pt>
                <c:pt idx="58626">
                  <c:v>162764</c:v>
                </c:pt>
                <c:pt idx="58627">
                  <c:v>142309</c:v>
                </c:pt>
                <c:pt idx="58628">
                  <c:v>31517</c:v>
                </c:pt>
                <c:pt idx="58629">
                  <c:v>46436</c:v>
                </c:pt>
                <c:pt idx="58630">
                  <c:v>40019</c:v>
                </c:pt>
                <c:pt idx="58631">
                  <c:v>29587</c:v>
                </c:pt>
                <c:pt idx="58632">
                  <c:v>51568</c:v>
                </c:pt>
                <c:pt idx="58633">
                  <c:v>44111</c:v>
                </c:pt>
                <c:pt idx="58634">
                  <c:v>41828</c:v>
                </c:pt>
                <c:pt idx="58635">
                  <c:v>39412</c:v>
                </c:pt>
                <c:pt idx="58636">
                  <c:v>41388</c:v>
                </c:pt>
                <c:pt idx="58637">
                  <c:v>39464</c:v>
                </c:pt>
                <c:pt idx="58638">
                  <c:v>107657</c:v>
                </c:pt>
                <c:pt idx="58639">
                  <c:v>54539</c:v>
                </c:pt>
                <c:pt idx="58640">
                  <c:v>35215</c:v>
                </c:pt>
                <c:pt idx="58641">
                  <c:v>104288</c:v>
                </c:pt>
                <c:pt idx="58642">
                  <c:v>61392</c:v>
                </c:pt>
                <c:pt idx="58643">
                  <c:v>58950</c:v>
                </c:pt>
                <c:pt idx="58644">
                  <c:v>36317</c:v>
                </c:pt>
                <c:pt idx="58645">
                  <c:v>43173</c:v>
                </c:pt>
                <c:pt idx="58646">
                  <c:v>61605</c:v>
                </c:pt>
                <c:pt idx="58647">
                  <c:v>43878</c:v>
                </c:pt>
                <c:pt idx="58648">
                  <c:v>41354</c:v>
                </c:pt>
                <c:pt idx="58649">
                  <c:v>213278</c:v>
                </c:pt>
                <c:pt idx="58650">
                  <c:v>33925</c:v>
                </c:pt>
                <c:pt idx="58651">
                  <c:v>26936</c:v>
                </c:pt>
                <c:pt idx="58652">
                  <c:v>39339</c:v>
                </c:pt>
                <c:pt idx="58653">
                  <c:v>23700</c:v>
                </c:pt>
                <c:pt idx="58654">
                  <c:v>139307</c:v>
                </c:pt>
                <c:pt idx="58655">
                  <c:v>74863</c:v>
                </c:pt>
                <c:pt idx="58656">
                  <c:v>63556</c:v>
                </c:pt>
                <c:pt idx="58657">
                  <c:v>22981</c:v>
                </c:pt>
                <c:pt idx="58658">
                  <c:v>30466</c:v>
                </c:pt>
                <c:pt idx="58659">
                  <c:v>110577</c:v>
                </c:pt>
                <c:pt idx="58660">
                  <c:v>60384</c:v>
                </c:pt>
                <c:pt idx="58661">
                  <c:v>26907</c:v>
                </c:pt>
                <c:pt idx="58662">
                  <c:v>27783</c:v>
                </c:pt>
                <c:pt idx="58663">
                  <c:v>127812</c:v>
                </c:pt>
                <c:pt idx="58664">
                  <c:v>28277</c:v>
                </c:pt>
                <c:pt idx="58665">
                  <c:v>417800</c:v>
                </c:pt>
                <c:pt idx="58666">
                  <c:v>44388</c:v>
                </c:pt>
                <c:pt idx="58667">
                  <c:v>121146</c:v>
                </c:pt>
                <c:pt idx="58668">
                  <c:v>27963</c:v>
                </c:pt>
                <c:pt idx="58669">
                  <c:v>35697</c:v>
                </c:pt>
                <c:pt idx="58670">
                  <c:v>60792</c:v>
                </c:pt>
                <c:pt idx="58671">
                  <c:v>43568</c:v>
                </c:pt>
                <c:pt idx="58672">
                  <c:v>51707</c:v>
                </c:pt>
                <c:pt idx="58673">
                  <c:v>44536</c:v>
                </c:pt>
                <c:pt idx="58674">
                  <c:v>263564</c:v>
                </c:pt>
                <c:pt idx="58675">
                  <c:v>50229</c:v>
                </c:pt>
                <c:pt idx="58676">
                  <c:v>89389</c:v>
                </c:pt>
                <c:pt idx="58677">
                  <c:v>43463</c:v>
                </c:pt>
                <c:pt idx="58678">
                  <c:v>40047</c:v>
                </c:pt>
                <c:pt idx="58679">
                  <c:v>29240</c:v>
                </c:pt>
                <c:pt idx="58680">
                  <c:v>49179</c:v>
                </c:pt>
                <c:pt idx="58681">
                  <c:v>40945</c:v>
                </c:pt>
                <c:pt idx="58682">
                  <c:v>195369</c:v>
                </c:pt>
                <c:pt idx="58683">
                  <c:v>38045</c:v>
                </c:pt>
                <c:pt idx="58684">
                  <c:v>26712</c:v>
                </c:pt>
                <c:pt idx="58685">
                  <c:v>49812</c:v>
                </c:pt>
                <c:pt idx="58686">
                  <c:v>127463</c:v>
                </c:pt>
                <c:pt idx="58687">
                  <c:v>36649</c:v>
                </c:pt>
                <c:pt idx="58688">
                  <c:v>29715</c:v>
                </c:pt>
                <c:pt idx="58689">
                  <c:v>38509</c:v>
                </c:pt>
                <c:pt idx="58690">
                  <c:v>92832</c:v>
                </c:pt>
                <c:pt idx="58691">
                  <c:v>43677</c:v>
                </c:pt>
                <c:pt idx="58692">
                  <c:v>45993</c:v>
                </c:pt>
                <c:pt idx="58693">
                  <c:v>57369</c:v>
                </c:pt>
                <c:pt idx="58694">
                  <c:v>40566</c:v>
                </c:pt>
                <c:pt idx="58695">
                  <c:v>41283</c:v>
                </c:pt>
                <c:pt idx="58696">
                  <c:v>66433</c:v>
                </c:pt>
                <c:pt idx="58697">
                  <c:v>33730</c:v>
                </c:pt>
                <c:pt idx="58698">
                  <c:v>94674</c:v>
                </c:pt>
                <c:pt idx="58699">
                  <c:v>39279</c:v>
                </c:pt>
                <c:pt idx="58700">
                  <c:v>31236</c:v>
                </c:pt>
                <c:pt idx="58701">
                  <c:v>38671</c:v>
                </c:pt>
                <c:pt idx="58702">
                  <c:v>75978</c:v>
                </c:pt>
                <c:pt idx="58703">
                  <c:v>39143</c:v>
                </c:pt>
                <c:pt idx="58704">
                  <c:v>28878</c:v>
                </c:pt>
                <c:pt idx="58705">
                  <c:v>37056</c:v>
                </c:pt>
                <c:pt idx="58706">
                  <c:v>153900</c:v>
                </c:pt>
                <c:pt idx="58707">
                  <c:v>285750</c:v>
                </c:pt>
                <c:pt idx="58708">
                  <c:v>34657</c:v>
                </c:pt>
                <c:pt idx="58709">
                  <c:v>38529</c:v>
                </c:pt>
                <c:pt idx="58710">
                  <c:v>86238</c:v>
                </c:pt>
                <c:pt idx="58711">
                  <c:v>25615</c:v>
                </c:pt>
                <c:pt idx="58712">
                  <c:v>32851</c:v>
                </c:pt>
                <c:pt idx="58713">
                  <c:v>24638</c:v>
                </c:pt>
                <c:pt idx="58714">
                  <c:v>43485</c:v>
                </c:pt>
                <c:pt idx="58715">
                  <c:v>42044</c:v>
                </c:pt>
                <c:pt idx="58716">
                  <c:v>76994</c:v>
                </c:pt>
                <c:pt idx="58717">
                  <c:v>71108</c:v>
                </c:pt>
                <c:pt idx="58718">
                  <c:v>25425</c:v>
                </c:pt>
                <c:pt idx="58719">
                  <c:v>46376</c:v>
                </c:pt>
                <c:pt idx="58720">
                  <c:v>45652</c:v>
                </c:pt>
                <c:pt idx="58721">
                  <c:v>73557</c:v>
                </c:pt>
                <c:pt idx="58722">
                  <c:v>42457</c:v>
                </c:pt>
                <c:pt idx="58723">
                  <c:v>32085</c:v>
                </c:pt>
                <c:pt idx="58724">
                  <c:v>31052</c:v>
                </c:pt>
                <c:pt idx="58725">
                  <c:v>72395</c:v>
                </c:pt>
                <c:pt idx="58726">
                  <c:v>27196</c:v>
                </c:pt>
                <c:pt idx="58727">
                  <c:v>48897</c:v>
                </c:pt>
                <c:pt idx="58728">
                  <c:v>23027</c:v>
                </c:pt>
                <c:pt idx="58729">
                  <c:v>25739</c:v>
                </c:pt>
                <c:pt idx="58730">
                  <c:v>73752</c:v>
                </c:pt>
                <c:pt idx="58731">
                  <c:v>23425</c:v>
                </c:pt>
                <c:pt idx="58732">
                  <c:v>40236</c:v>
                </c:pt>
                <c:pt idx="58733">
                  <c:v>60823</c:v>
                </c:pt>
                <c:pt idx="58734">
                  <c:v>135760</c:v>
                </c:pt>
                <c:pt idx="58735">
                  <c:v>96442</c:v>
                </c:pt>
                <c:pt idx="58736">
                  <c:v>43076</c:v>
                </c:pt>
                <c:pt idx="58737">
                  <c:v>144884</c:v>
                </c:pt>
                <c:pt idx="58738">
                  <c:v>25576</c:v>
                </c:pt>
                <c:pt idx="58739">
                  <c:v>88457</c:v>
                </c:pt>
                <c:pt idx="58740">
                  <c:v>75950</c:v>
                </c:pt>
                <c:pt idx="58741">
                  <c:v>31567</c:v>
                </c:pt>
                <c:pt idx="58742">
                  <c:v>163098</c:v>
                </c:pt>
                <c:pt idx="58743">
                  <c:v>25789</c:v>
                </c:pt>
                <c:pt idx="58744">
                  <c:v>27327</c:v>
                </c:pt>
                <c:pt idx="58745">
                  <c:v>30599</c:v>
                </c:pt>
                <c:pt idx="58746">
                  <c:v>41287</c:v>
                </c:pt>
                <c:pt idx="58747">
                  <c:v>47750</c:v>
                </c:pt>
                <c:pt idx="58748">
                  <c:v>56086</c:v>
                </c:pt>
                <c:pt idx="58749">
                  <c:v>25080</c:v>
                </c:pt>
                <c:pt idx="58750">
                  <c:v>40271</c:v>
                </c:pt>
                <c:pt idx="58751">
                  <c:v>35918</c:v>
                </c:pt>
                <c:pt idx="58752">
                  <c:v>52338</c:v>
                </c:pt>
                <c:pt idx="58753">
                  <c:v>27672</c:v>
                </c:pt>
                <c:pt idx="58754">
                  <c:v>34201</c:v>
                </c:pt>
                <c:pt idx="58755">
                  <c:v>28295</c:v>
                </c:pt>
                <c:pt idx="58756">
                  <c:v>29356</c:v>
                </c:pt>
                <c:pt idx="58757">
                  <c:v>36646</c:v>
                </c:pt>
                <c:pt idx="58758">
                  <c:v>25460</c:v>
                </c:pt>
                <c:pt idx="58759">
                  <c:v>25935</c:v>
                </c:pt>
                <c:pt idx="58760">
                  <c:v>32920</c:v>
                </c:pt>
                <c:pt idx="58761">
                  <c:v>56548</c:v>
                </c:pt>
                <c:pt idx="58762">
                  <c:v>24928</c:v>
                </c:pt>
                <c:pt idx="58763">
                  <c:v>67154</c:v>
                </c:pt>
                <c:pt idx="58764">
                  <c:v>82126</c:v>
                </c:pt>
                <c:pt idx="58765">
                  <c:v>33612</c:v>
                </c:pt>
                <c:pt idx="58766">
                  <c:v>32625</c:v>
                </c:pt>
                <c:pt idx="58767">
                  <c:v>50840</c:v>
                </c:pt>
                <c:pt idx="58768">
                  <c:v>46444</c:v>
                </c:pt>
                <c:pt idx="58769">
                  <c:v>32402</c:v>
                </c:pt>
                <c:pt idx="58770">
                  <c:v>38315</c:v>
                </c:pt>
                <c:pt idx="58771">
                  <c:v>50169</c:v>
                </c:pt>
                <c:pt idx="58772">
                  <c:v>102550</c:v>
                </c:pt>
                <c:pt idx="58773">
                  <c:v>67588</c:v>
                </c:pt>
                <c:pt idx="58774">
                  <c:v>138197</c:v>
                </c:pt>
                <c:pt idx="58775">
                  <c:v>38744</c:v>
                </c:pt>
                <c:pt idx="58776">
                  <c:v>34871</c:v>
                </c:pt>
                <c:pt idx="58777">
                  <c:v>42398</c:v>
                </c:pt>
                <c:pt idx="58778">
                  <c:v>45047</c:v>
                </c:pt>
                <c:pt idx="58779">
                  <c:v>34319</c:v>
                </c:pt>
                <c:pt idx="58780">
                  <c:v>26856</c:v>
                </c:pt>
                <c:pt idx="58781">
                  <c:v>22997</c:v>
                </c:pt>
                <c:pt idx="58782">
                  <c:v>32399</c:v>
                </c:pt>
                <c:pt idx="58783">
                  <c:v>55647</c:v>
                </c:pt>
                <c:pt idx="58784">
                  <c:v>351610</c:v>
                </c:pt>
                <c:pt idx="58785">
                  <c:v>71951</c:v>
                </c:pt>
                <c:pt idx="58786">
                  <c:v>114064</c:v>
                </c:pt>
                <c:pt idx="58787">
                  <c:v>39685</c:v>
                </c:pt>
                <c:pt idx="58788">
                  <c:v>25701</c:v>
                </c:pt>
                <c:pt idx="58789">
                  <c:v>40061</c:v>
                </c:pt>
                <c:pt idx="58790">
                  <c:v>72692</c:v>
                </c:pt>
                <c:pt idx="58791">
                  <c:v>40659</c:v>
                </c:pt>
                <c:pt idx="58792">
                  <c:v>76388</c:v>
                </c:pt>
                <c:pt idx="58793">
                  <c:v>74872</c:v>
                </c:pt>
                <c:pt idx="58794">
                  <c:v>69680</c:v>
                </c:pt>
                <c:pt idx="58795">
                  <c:v>33483</c:v>
                </c:pt>
                <c:pt idx="58796">
                  <c:v>40501</c:v>
                </c:pt>
                <c:pt idx="58797">
                  <c:v>51647</c:v>
                </c:pt>
                <c:pt idx="58798">
                  <c:v>63063</c:v>
                </c:pt>
                <c:pt idx="58799">
                  <c:v>37310</c:v>
                </c:pt>
                <c:pt idx="58800">
                  <c:v>20656</c:v>
                </c:pt>
                <c:pt idx="58801">
                  <c:v>27778</c:v>
                </c:pt>
                <c:pt idx="58802">
                  <c:v>76621</c:v>
                </c:pt>
                <c:pt idx="58803">
                  <c:v>43990</c:v>
                </c:pt>
                <c:pt idx="58804">
                  <c:v>86254</c:v>
                </c:pt>
                <c:pt idx="58805">
                  <c:v>49693</c:v>
                </c:pt>
                <c:pt idx="58806">
                  <c:v>27106</c:v>
                </c:pt>
                <c:pt idx="58807">
                  <c:v>248552</c:v>
                </c:pt>
                <c:pt idx="58808">
                  <c:v>25256</c:v>
                </c:pt>
                <c:pt idx="58809">
                  <c:v>45015</c:v>
                </c:pt>
                <c:pt idx="58810">
                  <c:v>48134</c:v>
                </c:pt>
                <c:pt idx="58811">
                  <c:v>121718</c:v>
                </c:pt>
                <c:pt idx="58812">
                  <c:v>24093</c:v>
                </c:pt>
                <c:pt idx="58813">
                  <c:v>40995</c:v>
                </c:pt>
                <c:pt idx="58814">
                  <c:v>38078</c:v>
                </c:pt>
                <c:pt idx="58815">
                  <c:v>31795</c:v>
                </c:pt>
                <c:pt idx="58816">
                  <c:v>26787</c:v>
                </c:pt>
                <c:pt idx="58817">
                  <c:v>32622</c:v>
                </c:pt>
                <c:pt idx="58818">
                  <c:v>30623</c:v>
                </c:pt>
                <c:pt idx="58819">
                  <c:v>53094</c:v>
                </c:pt>
                <c:pt idx="58820">
                  <c:v>44633</c:v>
                </c:pt>
                <c:pt idx="58821">
                  <c:v>25408</c:v>
                </c:pt>
                <c:pt idx="58822">
                  <c:v>120701</c:v>
                </c:pt>
                <c:pt idx="58823">
                  <c:v>69877</c:v>
                </c:pt>
                <c:pt idx="58824">
                  <c:v>169236</c:v>
                </c:pt>
                <c:pt idx="58825">
                  <c:v>51673</c:v>
                </c:pt>
                <c:pt idx="58826">
                  <c:v>21854</c:v>
                </c:pt>
                <c:pt idx="58827">
                  <c:v>39065</c:v>
                </c:pt>
                <c:pt idx="58828">
                  <c:v>80515</c:v>
                </c:pt>
                <c:pt idx="58829">
                  <c:v>305554</c:v>
                </c:pt>
                <c:pt idx="58830">
                  <c:v>19742</c:v>
                </c:pt>
                <c:pt idx="58831">
                  <c:v>105294</c:v>
                </c:pt>
                <c:pt idx="58832">
                  <c:v>120036</c:v>
                </c:pt>
                <c:pt idx="58833">
                  <c:v>54571</c:v>
                </c:pt>
                <c:pt idx="58834">
                  <c:v>83195</c:v>
                </c:pt>
                <c:pt idx="58835">
                  <c:v>108707</c:v>
                </c:pt>
                <c:pt idx="58836">
                  <c:v>97695</c:v>
                </c:pt>
                <c:pt idx="58837">
                  <c:v>51977</c:v>
                </c:pt>
                <c:pt idx="58838">
                  <c:v>24566</c:v>
                </c:pt>
                <c:pt idx="58839">
                  <c:v>27422</c:v>
                </c:pt>
                <c:pt idx="58840">
                  <c:v>28196</c:v>
                </c:pt>
                <c:pt idx="58841">
                  <c:v>28443</c:v>
                </c:pt>
                <c:pt idx="58842">
                  <c:v>38309</c:v>
                </c:pt>
                <c:pt idx="58843">
                  <c:v>28559</c:v>
                </c:pt>
                <c:pt idx="58844">
                  <c:v>55136</c:v>
                </c:pt>
                <c:pt idx="58845">
                  <c:v>24788</c:v>
                </c:pt>
                <c:pt idx="58846">
                  <c:v>96361</c:v>
                </c:pt>
                <c:pt idx="58847">
                  <c:v>47809</c:v>
                </c:pt>
                <c:pt idx="58848">
                  <c:v>28331</c:v>
                </c:pt>
                <c:pt idx="58849">
                  <c:v>26563</c:v>
                </c:pt>
                <c:pt idx="58850">
                  <c:v>38143</c:v>
                </c:pt>
                <c:pt idx="58851">
                  <c:v>91035</c:v>
                </c:pt>
                <c:pt idx="58852">
                  <c:v>57742</c:v>
                </c:pt>
                <c:pt idx="58853">
                  <c:v>266677</c:v>
                </c:pt>
                <c:pt idx="58854">
                  <c:v>27575</c:v>
                </c:pt>
                <c:pt idx="58855">
                  <c:v>403895</c:v>
                </c:pt>
                <c:pt idx="58856">
                  <c:v>33799</c:v>
                </c:pt>
                <c:pt idx="58857">
                  <c:v>42268</c:v>
                </c:pt>
                <c:pt idx="58858">
                  <c:v>130800</c:v>
                </c:pt>
                <c:pt idx="58859">
                  <c:v>30988</c:v>
                </c:pt>
                <c:pt idx="58860">
                  <c:v>172348</c:v>
                </c:pt>
                <c:pt idx="58861">
                  <c:v>61892</c:v>
                </c:pt>
                <c:pt idx="58862">
                  <c:v>36707</c:v>
                </c:pt>
                <c:pt idx="58863">
                  <c:v>33811</c:v>
                </c:pt>
                <c:pt idx="58864">
                  <c:v>34862</c:v>
                </c:pt>
                <c:pt idx="58865">
                  <c:v>29551</c:v>
                </c:pt>
                <c:pt idx="58866">
                  <c:v>23436</c:v>
                </c:pt>
                <c:pt idx="58867">
                  <c:v>36145</c:v>
                </c:pt>
                <c:pt idx="58868">
                  <c:v>93363</c:v>
                </c:pt>
                <c:pt idx="58869">
                  <c:v>98290</c:v>
                </c:pt>
                <c:pt idx="58870">
                  <c:v>37569</c:v>
                </c:pt>
                <c:pt idx="58871">
                  <c:v>24702</c:v>
                </c:pt>
                <c:pt idx="58872">
                  <c:v>49735</c:v>
                </c:pt>
                <c:pt idx="58873">
                  <c:v>28270</c:v>
                </c:pt>
                <c:pt idx="58874">
                  <c:v>32157</c:v>
                </c:pt>
                <c:pt idx="58875">
                  <c:v>55971</c:v>
                </c:pt>
                <c:pt idx="58876">
                  <c:v>68952</c:v>
                </c:pt>
                <c:pt idx="58877">
                  <c:v>35418</c:v>
                </c:pt>
                <c:pt idx="58878">
                  <c:v>72192</c:v>
                </c:pt>
                <c:pt idx="58879">
                  <c:v>59028</c:v>
                </c:pt>
                <c:pt idx="58880">
                  <c:v>54804</c:v>
                </c:pt>
                <c:pt idx="58881">
                  <c:v>145737</c:v>
                </c:pt>
                <c:pt idx="58882">
                  <c:v>73342</c:v>
                </c:pt>
                <c:pt idx="58883">
                  <c:v>73696</c:v>
                </c:pt>
                <c:pt idx="58884">
                  <c:v>37600</c:v>
                </c:pt>
                <c:pt idx="58885">
                  <c:v>69041</c:v>
                </c:pt>
                <c:pt idx="58886">
                  <c:v>57218</c:v>
                </c:pt>
                <c:pt idx="58887">
                  <c:v>79029</c:v>
                </c:pt>
                <c:pt idx="58888">
                  <c:v>40956</c:v>
                </c:pt>
                <c:pt idx="58889">
                  <c:v>159937</c:v>
                </c:pt>
                <c:pt idx="58890">
                  <c:v>118165</c:v>
                </c:pt>
                <c:pt idx="58891">
                  <c:v>35340</c:v>
                </c:pt>
                <c:pt idx="58892">
                  <c:v>48357</c:v>
                </c:pt>
                <c:pt idx="58893">
                  <c:v>41881</c:v>
                </c:pt>
                <c:pt idx="58894">
                  <c:v>37885</c:v>
                </c:pt>
                <c:pt idx="58895">
                  <c:v>58240</c:v>
                </c:pt>
                <c:pt idx="58896">
                  <c:v>41172</c:v>
                </c:pt>
                <c:pt idx="58897">
                  <c:v>139382</c:v>
                </c:pt>
                <c:pt idx="58898">
                  <c:v>52869</c:v>
                </c:pt>
                <c:pt idx="58899">
                  <c:v>50527</c:v>
                </c:pt>
                <c:pt idx="58900">
                  <c:v>69162</c:v>
                </c:pt>
                <c:pt idx="58901">
                  <c:v>31904</c:v>
                </c:pt>
                <c:pt idx="58902">
                  <c:v>38314</c:v>
                </c:pt>
                <c:pt idx="58903">
                  <c:v>47628</c:v>
                </c:pt>
                <c:pt idx="58904">
                  <c:v>42721</c:v>
                </c:pt>
                <c:pt idx="58905">
                  <c:v>100779</c:v>
                </c:pt>
                <c:pt idx="58906">
                  <c:v>78538</c:v>
                </c:pt>
                <c:pt idx="58907">
                  <c:v>25815</c:v>
                </c:pt>
                <c:pt idx="58908">
                  <c:v>48935</c:v>
                </c:pt>
                <c:pt idx="58909">
                  <c:v>25823</c:v>
                </c:pt>
                <c:pt idx="58910">
                  <c:v>40554</c:v>
                </c:pt>
                <c:pt idx="58911">
                  <c:v>28618</c:v>
                </c:pt>
                <c:pt idx="58912">
                  <c:v>48978</c:v>
                </c:pt>
                <c:pt idx="58913">
                  <c:v>30767</c:v>
                </c:pt>
                <c:pt idx="58914">
                  <c:v>39518</c:v>
                </c:pt>
                <c:pt idx="58915">
                  <c:v>25640</c:v>
                </c:pt>
                <c:pt idx="58916">
                  <c:v>22157</c:v>
                </c:pt>
                <c:pt idx="58917">
                  <c:v>22312</c:v>
                </c:pt>
                <c:pt idx="58918">
                  <c:v>61940</c:v>
                </c:pt>
                <c:pt idx="58919">
                  <c:v>22764</c:v>
                </c:pt>
                <c:pt idx="58920">
                  <c:v>64995</c:v>
                </c:pt>
                <c:pt idx="58921">
                  <c:v>31694</c:v>
                </c:pt>
                <c:pt idx="58922">
                  <c:v>54508</c:v>
                </c:pt>
                <c:pt idx="58923">
                  <c:v>30104</c:v>
                </c:pt>
                <c:pt idx="58924">
                  <c:v>38392</c:v>
                </c:pt>
                <c:pt idx="58925">
                  <c:v>37783</c:v>
                </c:pt>
                <c:pt idx="58926">
                  <c:v>24379</c:v>
                </c:pt>
                <c:pt idx="58927">
                  <c:v>77921</c:v>
                </c:pt>
                <c:pt idx="58928">
                  <c:v>41906</c:v>
                </c:pt>
                <c:pt idx="58929">
                  <c:v>25605</c:v>
                </c:pt>
                <c:pt idx="58930">
                  <c:v>26920</c:v>
                </c:pt>
                <c:pt idx="58931">
                  <c:v>147484</c:v>
                </c:pt>
                <c:pt idx="58932">
                  <c:v>56569</c:v>
                </c:pt>
                <c:pt idx="58933">
                  <c:v>54920</c:v>
                </c:pt>
                <c:pt idx="58934">
                  <c:v>66605</c:v>
                </c:pt>
                <c:pt idx="58935">
                  <c:v>24052</c:v>
                </c:pt>
                <c:pt idx="58936">
                  <c:v>53254</c:v>
                </c:pt>
                <c:pt idx="58937">
                  <c:v>38838</c:v>
                </c:pt>
                <c:pt idx="58938">
                  <c:v>64191</c:v>
                </c:pt>
                <c:pt idx="58939">
                  <c:v>101613</c:v>
                </c:pt>
                <c:pt idx="58940">
                  <c:v>32965</c:v>
                </c:pt>
                <c:pt idx="58941">
                  <c:v>70619</c:v>
                </c:pt>
                <c:pt idx="58942">
                  <c:v>27399</c:v>
                </c:pt>
                <c:pt idx="58943">
                  <c:v>39306</c:v>
                </c:pt>
                <c:pt idx="58944">
                  <c:v>63185</c:v>
                </c:pt>
                <c:pt idx="58945">
                  <c:v>59883</c:v>
                </c:pt>
                <c:pt idx="58946">
                  <c:v>30236</c:v>
                </c:pt>
                <c:pt idx="58947">
                  <c:v>89462</c:v>
                </c:pt>
                <c:pt idx="58948">
                  <c:v>27197</c:v>
                </c:pt>
                <c:pt idx="58949">
                  <c:v>24254</c:v>
                </c:pt>
                <c:pt idx="58950">
                  <c:v>34810</c:v>
                </c:pt>
                <c:pt idx="58951">
                  <c:v>37603</c:v>
                </c:pt>
                <c:pt idx="58952">
                  <c:v>70700</c:v>
                </c:pt>
                <c:pt idx="58953">
                  <c:v>64264</c:v>
                </c:pt>
                <c:pt idx="58954">
                  <c:v>40504</c:v>
                </c:pt>
                <c:pt idx="58955">
                  <c:v>47349</c:v>
                </c:pt>
                <c:pt idx="58956">
                  <c:v>26006</c:v>
                </c:pt>
                <c:pt idx="58957">
                  <c:v>80927</c:v>
                </c:pt>
                <c:pt idx="58958">
                  <c:v>44601</c:v>
                </c:pt>
                <c:pt idx="58959">
                  <c:v>98191</c:v>
                </c:pt>
                <c:pt idx="58960">
                  <c:v>49553</c:v>
                </c:pt>
                <c:pt idx="58961">
                  <c:v>31165</c:v>
                </c:pt>
                <c:pt idx="58962">
                  <c:v>119336</c:v>
                </c:pt>
                <c:pt idx="58963">
                  <c:v>21814</c:v>
                </c:pt>
                <c:pt idx="58964">
                  <c:v>197730</c:v>
                </c:pt>
                <c:pt idx="58965">
                  <c:v>114947</c:v>
                </c:pt>
                <c:pt idx="58966">
                  <c:v>26216</c:v>
                </c:pt>
                <c:pt idx="58967">
                  <c:v>56924</c:v>
                </c:pt>
                <c:pt idx="58968">
                  <c:v>93779</c:v>
                </c:pt>
                <c:pt idx="58969">
                  <c:v>62338</c:v>
                </c:pt>
                <c:pt idx="58970">
                  <c:v>32000</c:v>
                </c:pt>
                <c:pt idx="58971">
                  <c:v>147248</c:v>
                </c:pt>
                <c:pt idx="58972">
                  <c:v>28378</c:v>
                </c:pt>
                <c:pt idx="58973">
                  <c:v>28360</c:v>
                </c:pt>
                <c:pt idx="58974">
                  <c:v>64589</c:v>
                </c:pt>
                <c:pt idx="58975">
                  <c:v>61912</c:v>
                </c:pt>
                <c:pt idx="58976">
                  <c:v>40056</c:v>
                </c:pt>
                <c:pt idx="58977">
                  <c:v>249155</c:v>
                </c:pt>
                <c:pt idx="58978">
                  <c:v>51618</c:v>
                </c:pt>
                <c:pt idx="58979">
                  <c:v>61783</c:v>
                </c:pt>
                <c:pt idx="58980">
                  <c:v>53748</c:v>
                </c:pt>
                <c:pt idx="58981">
                  <c:v>24211</c:v>
                </c:pt>
                <c:pt idx="58982">
                  <c:v>63310</c:v>
                </c:pt>
                <c:pt idx="58983">
                  <c:v>37370</c:v>
                </c:pt>
                <c:pt idx="58984">
                  <c:v>63235</c:v>
                </c:pt>
                <c:pt idx="58985">
                  <c:v>33074</c:v>
                </c:pt>
                <c:pt idx="58986">
                  <c:v>98771</c:v>
                </c:pt>
                <c:pt idx="58987">
                  <c:v>42555</c:v>
                </c:pt>
                <c:pt idx="58988">
                  <c:v>26980</c:v>
                </c:pt>
                <c:pt idx="58989">
                  <c:v>44616</c:v>
                </c:pt>
                <c:pt idx="58990">
                  <c:v>284187</c:v>
                </c:pt>
                <c:pt idx="58991">
                  <c:v>22578</c:v>
                </c:pt>
                <c:pt idx="58992">
                  <c:v>46522</c:v>
                </c:pt>
                <c:pt idx="58993">
                  <c:v>32930</c:v>
                </c:pt>
                <c:pt idx="58994">
                  <c:v>28832</c:v>
                </c:pt>
                <c:pt idx="58995">
                  <c:v>78353</c:v>
                </c:pt>
                <c:pt idx="58996">
                  <c:v>29683</c:v>
                </c:pt>
                <c:pt idx="58997">
                  <c:v>44586</c:v>
                </c:pt>
                <c:pt idx="58998">
                  <c:v>48124</c:v>
                </c:pt>
                <c:pt idx="58999">
                  <c:v>33761</c:v>
                </c:pt>
                <c:pt idx="59000">
                  <c:v>55591</c:v>
                </c:pt>
                <c:pt idx="59001">
                  <c:v>31606</c:v>
                </c:pt>
                <c:pt idx="59002">
                  <c:v>43034</c:v>
                </c:pt>
                <c:pt idx="59003">
                  <c:v>53443</c:v>
                </c:pt>
                <c:pt idx="59004">
                  <c:v>24850</c:v>
                </c:pt>
                <c:pt idx="59005">
                  <c:v>38621</c:v>
                </c:pt>
                <c:pt idx="59006">
                  <c:v>59090</c:v>
                </c:pt>
                <c:pt idx="59007">
                  <c:v>48725</c:v>
                </c:pt>
                <c:pt idx="59008">
                  <c:v>33607</c:v>
                </c:pt>
                <c:pt idx="59009">
                  <c:v>74240</c:v>
                </c:pt>
                <c:pt idx="59010">
                  <c:v>27067</c:v>
                </c:pt>
                <c:pt idx="59011">
                  <c:v>42576</c:v>
                </c:pt>
                <c:pt idx="59012">
                  <c:v>28336</c:v>
                </c:pt>
                <c:pt idx="59013">
                  <c:v>28375</c:v>
                </c:pt>
                <c:pt idx="59014">
                  <c:v>66459</c:v>
                </c:pt>
                <c:pt idx="59015">
                  <c:v>80235</c:v>
                </c:pt>
                <c:pt idx="59016">
                  <c:v>33705</c:v>
                </c:pt>
                <c:pt idx="59017">
                  <c:v>63927</c:v>
                </c:pt>
                <c:pt idx="59018">
                  <c:v>46306</c:v>
                </c:pt>
                <c:pt idx="59019">
                  <c:v>31939</c:v>
                </c:pt>
                <c:pt idx="59020">
                  <c:v>67517</c:v>
                </c:pt>
                <c:pt idx="59021">
                  <c:v>53798</c:v>
                </c:pt>
                <c:pt idx="59022">
                  <c:v>183643</c:v>
                </c:pt>
                <c:pt idx="59023">
                  <c:v>43100</c:v>
                </c:pt>
                <c:pt idx="59024">
                  <c:v>27705</c:v>
                </c:pt>
                <c:pt idx="59025">
                  <c:v>69127</c:v>
                </c:pt>
                <c:pt idx="59026">
                  <c:v>31134</c:v>
                </c:pt>
                <c:pt idx="59027">
                  <c:v>34600</c:v>
                </c:pt>
                <c:pt idx="59028">
                  <c:v>48619</c:v>
                </c:pt>
                <c:pt idx="59029">
                  <c:v>136151</c:v>
                </c:pt>
                <c:pt idx="59030">
                  <c:v>30684</c:v>
                </c:pt>
                <c:pt idx="59031">
                  <c:v>68734</c:v>
                </c:pt>
                <c:pt idx="59032">
                  <c:v>46734</c:v>
                </c:pt>
                <c:pt idx="59033">
                  <c:v>25154</c:v>
                </c:pt>
                <c:pt idx="59034">
                  <c:v>62361</c:v>
                </c:pt>
                <c:pt idx="59035">
                  <c:v>58038</c:v>
                </c:pt>
                <c:pt idx="59036">
                  <c:v>47167</c:v>
                </c:pt>
                <c:pt idx="59037">
                  <c:v>30695</c:v>
                </c:pt>
                <c:pt idx="59038">
                  <c:v>38988</c:v>
                </c:pt>
                <c:pt idx="59039">
                  <c:v>47877</c:v>
                </c:pt>
                <c:pt idx="59040">
                  <c:v>169982</c:v>
                </c:pt>
                <c:pt idx="59041">
                  <c:v>32152</c:v>
                </c:pt>
                <c:pt idx="59042">
                  <c:v>40885</c:v>
                </c:pt>
                <c:pt idx="59043">
                  <c:v>38002</c:v>
                </c:pt>
                <c:pt idx="59044">
                  <c:v>226359</c:v>
                </c:pt>
                <c:pt idx="59045">
                  <c:v>37958</c:v>
                </c:pt>
                <c:pt idx="59046">
                  <c:v>45906</c:v>
                </c:pt>
                <c:pt idx="59047">
                  <c:v>75550</c:v>
                </c:pt>
                <c:pt idx="59048">
                  <c:v>25393</c:v>
                </c:pt>
                <c:pt idx="59049">
                  <c:v>30147</c:v>
                </c:pt>
                <c:pt idx="59050">
                  <c:v>32380</c:v>
                </c:pt>
                <c:pt idx="59051">
                  <c:v>22788</c:v>
                </c:pt>
                <c:pt idx="59052">
                  <c:v>33888</c:v>
                </c:pt>
                <c:pt idx="59053">
                  <c:v>58379</c:v>
                </c:pt>
                <c:pt idx="59054">
                  <c:v>46917</c:v>
                </c:pt>
                <c:pt idx="59055">
                  <c:v>50422</c:v>
                </c:pt>
                <c:pt idx="59056">
                  <c:v>38196</c:v>
                </c:pt>
                <c:pt idx="59057">
                  <c:v>24267</c:v>
                </c:pt>
                <c:pt idx="59058">
                  <c:v>35046</c:v>
                </c:pt>
                <c:pt idx="59059">
                  <c:v>26375</c:v>
                </c:pt>
                <c:pt idx="59060">
                  <c:v>39867</c:v>
                </c:pt>
                <c:pt idx="59061">
                  <c:v>52446</c:v>
                </c:pt>
                <c:pt idx="59062">
                  <c:v>36682</c:v>
                </c:pt>
                <c:pt idx="59063">
                  <c:v>141850</c:v>
                </c:pt>
                <c:pt idx="59064">
                  <c:v>29081</c:v>
                </c:pt>
                <c:pt idx="59065">
                  <c:v>98304</c:v>
                </c:pt>
                <c:pt idx="59066">
                  <c:v>25442</c:v>
                </c:pt>
                <c:pt idx="59067">
                  <c:v>97423</c:v>
                </c:pt>
                <c:pt idx="59068">
                  <c:v>44404</c:v>
                </c:pt>
                <c:pt idx="59069">
                  <c:v>38362</c:v>
                </c:pt>
                <c:pt idx="59070">
                  <c:v>43684</c:v>
                </c:pt>
                <c:pt idx="59071">
                  <c:v>45230</c:v>
                </c:pt>
                <c:pt idx="59072">
                  <c:v>440234</c:v>
                </c:pt>
                <c:pt idx="59073">
                  <c:v>32833</c:v>
                </c:pt>
                <c:pt idx="59074">
                  <c:v>22955</c:v>
                </c:pt>
                <c:pt idx="59075">
                  <c:v>113733</c:v>
                </c:pt>
                <c:pt idx="59076">
                  <c:v>19233</c:v>
                </c:pt>
                <c:pt idx="59077">
                  <c:v>55716</c:v>
                </c:pt>
                <c:pt idx="59078">
                  <c:v>23018</c:v>
                </c:pt>
                <c:pt idx="59079">
                  <c:v>142213</c:v>
                </c:pt>
                <c:pt idx="59080">
                  <c:v>22530</c:v>
                </c:pt>
                <c:pt idx="59081">
                  <c:v>50413</c:v>
                </c:pt>
                <c:pt idx="59082">
                  <c:v>27681</c:v>
                </c:pt>
                <c:pt idx="59083">
                  <c:v>45351</c:v>
                </c:pt>
                <c:pt idx="59084">
                  <c:v>25147</c:v>
                </c:pt>
                <c:pt idx="59085">
                  <c:v>44389</c:v>
                </c:pt>
                <c:pt idx="59086">
                  <c:v>230092</c:v>
                </c:pt>
                <c:pt idx="59087">
                  <c:v>35150</c:v>
                </c:pt>
                <c:pt idx="59088">
                  <c:v>41276</c:v>
                </c:pt>
                <c:pt idx="59089">
                  <c:v>44252</c:v>
                </c:pt>
                <c:pt idx="59090">
                  <c:v>25477</c:v>
                </c:pt>
                <c:pt idx="59091">
                  <c:v>31161</c:v>
                </c:pt>
                <c:pt idx="59092">
                  <c:v>62452</c:v>
                </c:pt>
                <c:pt idx="59093">
                  <c:v>37754</c:v>
                </c:pt>
                <c:pt idx="59094">
                  <c:v>58171</c:v>
                </c:pt>
                <c:pt idx="59095">
                  <c:v>33634</c:v>
                </c:pt>
                <c:pt idx="59096">
                  <c:v>34408</c:v>
                </c:pt>
                <c:pt idx="59097">
                  <c:v>34651</c:v>
                </c:pt>
                <c:pt idx="59098">
                  <c:v>188983</c:v>
                </c:pt>
                <c:pt idx="59099">
                  <c:v>21577</c:v>
                </c:pt>
                <c:pt idx="59100">
                  <c:v>57626</c:v>
                </c:pt>
                <c:pt idx="59101">
                  <c:v>30460</c:v>
                </c:pt>
                <c:pt idx="59102">
                  <c:v>21842</c:v>
                </c:pt>
                <c:pt idx="59103">
                  <c:v>34601</c:v>
                </c:pt>
                <c:pt idx="59104">
                  <c:v>153362</c:v>
                </c:pt>
                <c:pt idx="59105">
                  <c:v>41304</c:v>
                </c:pt>
                <c:pt idx="59106">
                  <c:v>37416</c:v>
                </c:pt>
                <c:pt idx="59107">
                  <c:v>106019</c:v>
                </c:pt>
                <c:pt idx="59108">
                  <c:v>41923</c:v>
                </c:pt>
                <c:pt idx="59109">
                  <c:v>31715</c:v>
                </c:pt>
                <c:pt idx="59110">
                  <c:v>33623</c:v>
                </c:pt>
                <c:pt idx="59111">
                  <c:v>88113</c:v>
                </c:pt>
                <c:pt idx="59112">
                  <c:v>181506</c:v>
                </c:pt>
                <c:pt idx="59113">
                  <c:v>30789</c:v>
                </c:pt>
                <c:pt idx="59114">
                  <c:v>56234</c:v>
                </c:pt>
                <c:pt idx="59115">
                  <c:v>25693</c:v>
                </c:pt>
                <c:pt idx="59116">
                  <c:v>40359</c:v>
                </c:pt>
                <c:pt idx="59117">
                  <c:v>155448</c:v>
                </c:pt>
                <c:pt idx="59118">
                  <c:v>26576</c:v>
                </c:pt>
                <c:pt idx="59119">
                  <c:v>83326</c:v>
                </c:pt>
                <c:pt idx="59120">
                  <c:v>35727</c:v>
                </c:pt>
                <c:pt idx="59121">
                  <c:v>50230</c:v>
                </c:pt>
                <c:pt idx="59122">
                  <c:v>22548</c:v>
                </c:pt>
                <c:pt idx="59123">
                  <c:v>31249</c:v>
                </c:pt>
                <c:pt idx="59124">
                  <c:v>143734</c:v>
                </c:pt>
                <c:pt idx="59125">
                  <c:v>27880</c:v>
                </c:pt>
                <c:pt idx="59126">
                  <c:v>121499</c:v>
                </c:pt>
                <c:pt idx="59127">
                  <c:v>166470</c:v>
                </c:pt>
                <c:pt idx="59128">
                  <c:v>47062</c:v>
                </c:pt>
                <c:pt idx="59129">
                  <c:v>211874</c:v>
                </c:pt>
                <c:pt idx="59130">
                  <c:v>34199</c:v>
                </c:pt>
                <c:pt idx="59131">
                  <c:v>23385</c:v>
                </c:pt>
                <c:pt idx="59132">
                  <c:v>26788</c:v>
                </c:pt>
                <c:pt idx="59133">
                  <c:v>42391</c:v>
                </c:pt>
                <c:pt idx="59134">
                  <c:v>53393</c:v>
                </c:pt>
                <c:pt idx="59135">
                  <c:v>49831</c:v>
                </c:pt>
                <c:pt idx="59136">
                  <c:v>32061</c:v>
                </c:pt>
                <c:pt idx="59137">
                  <c:v>203473</c:v>
                </c:pt>
                <c:pt idx="59138">
                  <c:v>52736</c:v>
                </c:pt>
                <c:pt idx="59139">
                  <c:v>29448</c:v>
                </c:pt>
                <c:pt idx="59140">
                  <c:v>48187</c:v>
                </c:pt>
                <c:pt idx="59141">
                  <c:v>292566</c:v>
                </c:pt>
                <c:pt idx="59142">
                  <c:v>49480</c:v>
                </c:pt>
                <c:pt idx="59143">
                  <c:v>39432</c:v>
                </c:pt>
                <c:pt idx="59144">
                  <c:v>40598</c:v>
                </c:pt>
                <c:pt idx="59145">
                  <c:v>82418</c:v>
                </c:pt>
                <c:pt idx="59146">
                  <c:v>50711</c:v>
                </c:pt>
                <c:pt idx="59147">
                  <c:v>148930</c:v>
                </c:pt>
                <c:pt idx="59148">
                  <c:v>34706</c:v>
                </c:pt>
                <c:pt idx="59149">
                  <c:v>45689</c:v>
                </c:pt>
                <c:pt idx="59150">
                  <c:v>114090</c:v>
                </c:pt>
                <c:pt idx="59151">
                  <c:v>24503</c:v>
                </c:pt>
                <c:pt idx="59152">
                  <c:v>25272</c:v>
                </c:pt>
                <c:pt idx="59153">
                  <c:v>37717</c:v>
                </c:pt>
                <c:pt idx="59154">
                  <c:v>24415</c:v>
                </c:pt>
                <c:pt idx="59155">
                  <c:v>36515</c:v>
                </c:pt>
                <c:pt idx="59156">
                  <c:v>41940</c:v>
                </c:pt>
                <c:pt idx="59157">
                  <c:v>60576</c:v>
                </c:pt>
                <c:pt idx="59158">
                  <c:v>116281</c:v>
                </c:pt>
                <c:pt idx="59159">
                  <c:v>24264</c:v>
                </c:pt>
                <c:pt idx="59160">
                  <c:v>30173</c:v>
                </c:pt>
                <c:pt idx="59161">
                  <c:v>109869</c:v>
                </c:pt>
                <c:pt idx="59162">
                  <c:v>54886</c:v>
                </c:pt>
                <c:pt idx="59163">
                  <c:v>30127</c:v>
                </c:pt>
                <c:pt idx="59164">
                  <c:v>34806</c:v>
                </c:pt>
                <c:pt idx="59165">
                  <c:v>27973</c:v>
                </c:pt>
                <c:pt idx="59166">
                  <c:v>38589</c:v>
                </c:pt>
                <c:pt idx="59167">
                  <c:v>105214</c:v>
                </c:pt>
                <c:pt idx="59168">
                  <c:v>31364</c:v>
                </c:pt>
                <c:pt idx="59169">
                  <c:v>35557</c:v>
                </c:pt>
                <c:pt idx="59170">
                  <c:v>68495</c:v>
                </c:pt>
                <c:pt idx="59171">
                  <c:v>47353</c:v>
                </c:pt>
                <c:pt idx="59172">
                  <c:v>116712</c:v>
                </c:pt>
                <c:pt idx="59173">
                  <c:v>38350</c:v>
                </c:pt>
                <c:pt idx="59174">
                  <c:v>42045</c:v>
                </c:pt>
                <c:pt idx="59175">
                  <c:v>64202</c:v>
                </c:pt>
                <c:pt idx="59176">
                  <c:v>53748</c:v>
                </c:pt>
                <c:pt idx="59177">
                  <c:v>86410</c:v>
                </c:pt>
                <c:pt idx="59178">
                  <c:v>46326</c:v>
                </c:pt>
                <c:pt idx="59179">
                  <c:v>27452</c:v>
                </c:pt>
                <c:pt idx="59180">
                  <c:v>33116</c:v>
                </c:pt>
                <c:pt idx="59181">
                  <c:v>69978</c:v>
                </c:pt>
                <c:pt idx="59182">
                  <c:v>28618</c:v>
                </c:pt>
                <c:pt idx="59183">
                  <c:v>66530</c:v>
                </c:pt>
                <c:pt idx="59184">
                  <c:v>25272</c:v>
                </c:pt>
                <c:pt idx="59185">
                  <c:v>32534</c:v>
                </c:pt>
                <c:pt idx="59186">
                  <c:v>164502</c:v>
                </c:pt>
                <c:pt idx="59187">
                  <c:v>129479</c:v>
                </c:pt>
                <c:pt idx="59188">
                  <c:v>37627</c:v>
                </c:pt>
                <c:pt idx="59189">
                  <c:v>177952</c:v>
                </c:pt>
                <c:pt idx="59190">
                  <c:v>43402</c:v>
                </c:pt>
                <c:pt idx="59191">
                  <c:v>49571</c:v>
                </c:pt>
                <c:pt idx="59192">
                  <c:v>44712</c:v>
                </c:pt>
                <c:pt idx="59193">
                  <c:v>31279</c:v>
                </c:pt>
                <c:pt idx="59194">
                  <c:v>147994</c:v>
                </c:pt>
                <c:pt idx="59195">
                  <c:v>72649</c:v>
                </c:pt>
                <c:pt idx="59196">
                  <c:v>46851</c:v>
                </c:pt>
                <c:pt idx="59197">
                  <c:v>81696</c:v>
                </c:pt>
                <c:pt idx="59198">
                  <c:v>46538</c:v>
                </c:pt>
                <c:pt idx="59199">
                  <c:v>175354</c:v>
                </c:pt>
                <c:pt idx="59200">
                  <c:v>37197</c:v>
                </c:pt>
                <c:pt idx="59201">
                  <c:v>33814</c:v>
                </c:pt>
                <c:pt idx="59202">
                  <c:v>36774</c:v>
                </c:pt>
                <c:pt idx="59203">
                  <c:v>37902</c:v>
                </c:pt>
                <c:pt idx="59204">
                  <c:v>42139</c:v>
                </c:pt>
                <c:pt idx="59205">
                  <c:v>107952</c:v>
                </c:pt>
                <c:pt idx="59206">
                  <c:v>23554</c:v>
                </c:pt>
                <c:pt idx="59207">
                  <c:v>22890</c:v>
                </c:pt>
                <c:pt idx="59208">
                  <c:v>24166</c:v>
                </c:pt>
                <c:pt idx="59209">
                  <c:v>51931</c:v>
                </c:pt>
                <c:pt idx="59210">
                  <c:v>40735</c:v>
                </c:pt>
                <c:pt idx="59211">
                  <c:v>32309</c:v>
                </c:pt>
                <c:pt idx="59212">
                  <c:v>53895</c:v>
                </c:pt>
                <c:pt idx="59213">
                  <c:v>60773</c:v>
                </c:pt>
                <c:pt idx="59214">
                  <c:v>51086</c:v>
                </c:pt>
                <c:pt idx="59215">
                  <c:v>36785</c:v>
                </c:pt>
                <c:pt idx="59216">
                  <c:v>132060</c:v>
                </c:pt>
                <c:pt idx="59217">
                  <c:v>40360</c:v>
                </c:pt>
                <c:pt idx="59218">
                  <c:v>72376</c:v>
                </c:pt>
                <c:pt idx="59219">
                  <c:v>53511</c:v>
                </c:pt>
                <c:pt idx="59220">
                  <c:v>34218</c:v>
                </c:pt>
                <c:pt idx="59221">
                  <c:v>20788</c:v>
                </c:pt>
                <c:pt idx="59222">
                  <c:v>26273</c:v>
                </c:pt>
                <c:pt idx="59223">
                  <c:v>140136</c:v>
                </c:pt>
                <c:pt idx="59224">
                  <c:v>50018</c:v>
                </c:pt>
                <c:pt idx="59225">
                  <c:v>23097</c:v>
                </c:pt>
                <c:pt idx="59226">
                  <c:v>44055</c:v>
                </c:pt>
                <c:pt idx="59227">
                  <c:v>157954</c:v>
                </c:pt>
                <c:pt idx="59228">
                  <c:v>34282</c:v>
                </c:pt>
                <c:pt idx="59229">
                  <c:v>168666</c:v>
                </c:pt>
                <c:pt idx="59230">
                  <c:v>33862</c:v>
                </c:pt>
                <c:pt idx="59231">
                  <c:v>23802</c:v>
                </c:pt>
                <c:pt idx="59232">
                  <c:v>36454</c:v>
                </c:pt>
                <c:pt idx="59233">
                  <c:v>21388</c:v>
                </c:pt>
                <c:pt idx="59234">
                  <c:v>26454</c:v>
                </c:pt>
                <c:pt idx="59235">
                  <c:v>100778</c:v>
                </c:pt>
                <c:pt idx="59236">
                  <c:v>23909</c:v>
                </c:pt>
                <c:pt idx="59237">
                  <c:v>108492</c:v>
                </c:pt>
                <c:pt idx="59238">
                  <c:v>49157</c:v>
                </c:pt>
                <c:pt idx="59239">
                  <c:v>32372</c:v>
                </c:pt>
                <c:pt idx="59240">
                  <c:v>27314</c:v>
                </c:pt>
                <c:pt idx="59241">
                  <c:v>24176</c:v>
                </c:pt>
                <c:pt idx="59242">
                  <c:v>82120</c:v>
                </c:pt>
                <c:pt idx="59243">
                  <c:v>46528</c:v>
                </c:pt>
                <c:pt idx="59244">
                  <c:v>26659</c:v>
                </c:pt>
                <c:pt idx="59245">
                  <c:v>61353</c:v>
                </c:pt>
                <c:pt idx="59246">
                  <c:v>45207</c:v>
                </c:pt>
                <c:pt idx="59247">
                  <c:v>24464</c:v>
                </c:pt>
                <c:pt idx="59248">
                  <c:v>93362</c:v>
                </c:pt>
                <c:pt idx="59249">
                  <c:v>581583</c:v>
                </c:pt>
                <c:pt idx="59250">
                  <c:v>33414</c:v>
                </c:pt>
                <c:pt idx="59251">
                  <c:v>131231</c:v>
                </c:pt>
                <c:pt idx="59252">
                  <c:v>104644</c:v>
                </c:pt>
                <c:pt idx="59253">
                  <c:v>32191</c:v>
                </c:pt>
                <c:pt idx="59254">
                  <c:v>41298</c:v>
                </c:pt>
                <c:pt idx="59255">
                  <c:v>30729</c:v>
                </c:pt>
                <c:pt idx="59256">
                  <c:v>34045</c:v>
                </c:pt>
                <c:pt idx="59257">
                  <c:v>105379</c:v>
                </c:pt>
                <c:pt idx="59258">
                  <c:v>34444</c:v>
                </c:pt>
                <c:pt idx="59259">
                  <c:v>38089</c:v>
                </c:pt>
                <c:pt idx="59260">
                  <c:v>46047</c:v>
                </c:pt>
                <c:pt idx="59261">
                  <c:v>127176</c:v>
                </c:pt>
                <c:pt idx="59262">
                  <c:v>96706</c:v>
                </c:pt>
                <c:pt idx="59263">
                  <c:v>40793</c:v>
                </c:pt>
                <c:pt idx="59264">
                  <c:v>32088</c:v>
                </c:pt>
                <c:pt idx="59265">
                  <c:v>91055</c:v>
                </c:pt>
                <c:pt idx="59266">
                  <c:v>84394</c:v>
                </c:pt>
                <c:pt idx="59267">
                  <c:v>46836</c:v>
                </c:pt>
                <c:pt idx="59268">
                  <c:v>43747</c:v>
                </c:pt>
                <c:pt idx="59269">
                  <c:v>39129</c:v>
                </c:pt>
                <c:pt idx="59270">
                  <c:v>38244</c:v>
                </c:pt>
                <c:pt idx="59271">
                  <c:v>201340</c:v>
                </c:pt>
                <c:pt idx="59272">
                  <c:v>59025</c:v>
                </c:pt>
                <c:pt idx="59273">
                  <c:v>71659</c:v>
                </c:pt>
                <c:pt idx="59274">
                  <c:v>30869</c:v>
                </c:pt>
                <c:pt idx="59275">
                  <c:v>81950</c:v>
                </c:pt>
                <c:pt idx="59276">
                  <c:v>38571</c:v>
                </c:pt>
                <c:pt idx="59277">
                  <c:v>25692</c:v>
                </c:pt>
                <c:pt idx="59278">
                  <c:v>48778</c:v>
                </c:pt>
                <c:pt idx="59279">
                  <c:v>122587</c:v>
                </c:pt>
                <c:pt idx="59280">
                  <c:v>41748</c:v>
                </c:pt>
                <c:pt idx="59281">
                  <c:v>54738</c:v>
                </c:pt>
                <c:pt idx="59282">
                  <c:v>42638</c:v>
                </c:pt>
                <c:pt idx="59283">
                  <c:v>26706</c:v>
                </c:pt>
                <c:pt idx="59284">
                  <c:v>27790</c:v>
                </c:pt>
                <c:pt idx="59285">
                  <c:v>29464</c:v>
                </c:pt>
                <c:pt idx="59286">
                  <c:v>35524</c:v>
                </c:pt>
                <c:pt idx="59287">
                  <c:v>264561</c:v>
                </c:pt>
                <c:pt idx="59288">
                  <c:v>118782</c:v>
                </c:pt>
                <c:pt idx="59289">
                  <c:v>247479</c:v>
                </c:pt>
                <c:pt idx="59290">
                  <c:v>33157</c:v>
                </c:pt>
                <c:pt idx="59291">
                  <c:v>89472</c:v>
                </c:pt>
                <c:pt idx="59292">
                  <c:v>80338</c:v>
                </c:pt>
                <c:pt idx="59293">
                  <c:v>40265</c:v>
                </c:pt>
                <c:pt idx="59294">
                  <c:v>30640</c:v>
                </c:pt>
                <c:pt idx="59295">
                  <c:v>27434</c:v>
                </c:pt>
                <c:pt idx="59296">
                  <c:v>26397</c:v>
                </c:pt>
                <c:pt idx="59297">
                  <c:v>21227</c:v>
                </c:pt>
                <c:pt idx="59298">
                  <c:v>46944</c:v>
                </c:pt>
                <c:pt idx="59299">
                  <c:v>52709</c:v>
                </c:pt>
                <c:pt idx="59300">
                  <c:v>30010</c:v>
                </c:pt>
                <c:pt idx="59301">
                  <c:v>22293</c:v>
                </c:pt>
                <c:pt idx="59302">
                  <c:v>32306</c:v>
                </c:pt>
                <c:pt idx="59303">
                  <c:v>63442</c:v>
                </c:pt>
                <c:pt idx="59304">
                  <c:v>50660</c:v>
                </c:pt>
                <c:pt idx="59305">
                  <c:v>53055</c:v>
                </c:pt>
                <c:pt idx="59306">
                  <c:v>37846</c:v>
                </c:pt>
                <c:pt idx="59307">
                  <c:v>35919</c:v>
                </c:pt>
                <c:pt idx="59308">
                  <c:v>37749</c:v>
                </c:pt>
                <c:pt idx="59309">
                  <c:v>30323</c:v>
                </c:pt>
                <c:pt idx="59310">
                  <c:v>35560</c:v>
                </c:pt>
                <c:pt idx="59311">
                  <c:v>44074</c:v>
                </c:pt>
                <c:pt idx="59312">
                  <c:v>24898</c:v>
                </c:pt>
                <c:pt idx="59313">
                  <c:v>22506</c:v>
                </c:pt>
                <c:pt idx="59314">
                  <c:v>216637</c:v>
                </c:pt>
                <c:pt idx="59315">
                  <c:v>85689</c:v>
                </c:pt>
                <c:pt idx="59316">
                  <c:v>25315</c:v>
                </c:pt>
                <c:pt idx="59317">
                  <c:v>130626</c:v>
                </c:pt>
                <c:pt idx="59318">
                  <c:v>235053</c:v>
                </c:pt>
                <c:pt idx="59319">
                  <c:v>58474</c:v>
                </c:pt>
                <c:pt idx="59320">
                  <c:v>31709</c:v>
                </c:pt>
                <c:pt idx="59321">
                  <c:v>141429</c:v>
                </c:pt>
                <c:pt idx="59322">
                  <c:v>31151</c:v>
                </c:pt>
                <c:pt idx="59323">
                  <c:v>31153</c:v>
                </c:pt>
                <c:pt idx="59324">
                  <c:v>47711</c:v>
                </c:pt>
                <c:pt idx="59325">
                  <c:v>30223</c:v>
                </c:pt>
                <c:pt idx="59326">
                  <c:v>138984</c:v>
                </c:pt>
                <c:pt idx="59327">
                  <c:v>51060</c:v>
                </c:pt>
                <c:pt idx="59328">
                  <c:v>42733</c:v>
                </c:pt>
                <c:pt idx="59329">
                  <c:v>34088</c:v>
                </c:pt>
                <c:pt idx="59330">
                  <c:v>44686</c:v>
                </c:pt>
                <c:pt idx="59331">
                  <c:v>62311</c:v>
                </c:pt>
                <c:pt idx="59332">
                  <c:v>38873</c:v>
                </c:pt>
                <c:pt idx="59333">
                  <c:v>35580</c:v>
                </c:pt>
                <c:pt idx="59334">
                  <c:v>26218</c:v>
                </c:pt>
                <c:pt idx="59335">
                  <c:v>33404</c:v>
                </c:pt>
                <c:pt idx="59336">
                  <c:v>34903</c:v>
                </c:pt>
                <c:pt idx="59337">
                  <c:v>38197</c:v>
                </c:pt>
                <c:pt idx="59338">
                  <c:v>53107</c:v>
                </c:pt>
                <c:pt idx="59339">
                  <c:v>22540</c:v>
                </c:pt>
                <c:pt idx="59340">
                  <c:v>54255</c:v>
                </c:pt>
                <c:pt idx="59341">
                  <c:v>29308</c:v>
                </c:pt>
                <c:pt idx="59342">
                  <c:v>99364</c:v>
                </c:pt>
                <c:pt idx="59343">
                  <c:v>132122</c:v>
                </c:pt>
                <c:pt idx="59344">
                  <c:v>32160</c:v>
                </c:pt>
                <c:pt idx="59345">
                  <c:v>67302</c:v>
                </c:pt>
                <c:pt idx="59346">
                  <c:v>198532</c:v>
                </c:pt>
                <c:pt idx="59347">
                  <c:v>53488</c:v>
                </c:pt>
                <c:pt idx="59348">
                  <c:v>46250</c:v>
                </c:pt>
                <c:pt idx="59349">
                  <c:v>31528</c:v>
                </c:pt>
                <c:pt idx="59350">
                  <c:v>37354</c:v>
                </c:pt>
                <c:pt idx="59351">
                  <c:v>40433</c:v>
                </c:pt>
                <c:pt idx="59352">
                  <c:v>50904</c:v>
                </c:pt>
                <c:pt idx="59353">
                  <c:v>28943</c:v>
                </c:pt>
                <c:pt idx="59354">
                  <c:v>474933</c:v>
                </c:pt>
                <c:pt idx="59355">
                  <c:v>47053</c:v>
                </c:pt>
                <c:pt idx="59356">
                  <c:v>41816</c:v>
                </c:pt>
                <c:pt idx="59357">
                  <c:v>44938</c:v>
                </c:pt>
                <c:pt idx="59358">
                  <c:v>31624</c:v>
                </c:pt>
                <c:pt idx="59359">
                  <c:v>47342</c:v>
                </c:pt>
                <c:pt idx="59360">
                  <c:v>84960</c:v>
                </c:pt>
                <c:pt idx="59361">
                  <c:v>128744</c:v>
                </c:pt>
                <c:pt idx="59362">
                  <c:v>32428</c:v>
                </c:pt>
                <c:pt idx="59363">
                  <c:v>37877</c:v>
                </c:pt>
                <c:pt idx="59364">
                  <c:v>37386</c:v>
                </c:pt>
                <c:pt idx="59365">
                  <c:v>114038</c:v>
                </c:pt>
                <c:pt idx="59366">
                  <c:v>98101</c:v>
                </c:pt>
                <c:pt idx="59367">
                  <c:v>33796</c:v>
                </c:pt>
                <c:pt idx="59368">
                  <c:v>33189</c:v>
                </c:pt>
                <c:pt idx="59369">
                  <c:v>58787</c:v>
                </c:pt>
                <c:pt idx="59370">
                  <c:v>54648</c:v>
                </c:pt>
                <c:pt idx="59371">
                  <c:v>41611</c:v>
                </c:pt>
                <c:pt idx="59372">
                  <c:v>37961</c:v>
                </c:pt>
                <c:pt idx="59373">
                  <c:v>94950</c:v>
                </c:pt>
                <c:pt idx="59374">
                  <c:v>149810</c:v>
                </c:pt>
                <c:pt idx="59375">
                  <c:v>110640</c:v>
                </c:pt>
                <c:pt idx="59376">
                  <c:v>39412</c:v>
                </c:pt>
                <c:pt idx="59377">
                  <c:v>43537</c:v>
                </c:pt>
                <c:pt idx="59378">
                  <c:v>28282</c:v>
                </c:pt>
                <c:pt idx="59379">
                  <c:v>36553</c:v>
                </c:pt>
                <c:pt idx="59380">
                  <c:v>53286</c:v>
                </c:pt>
                <c:pt idx="59381">
                  <c:v>31602</c:v>
                </c:pt>
                <c:pt idx="59382">
                  <c:v>97357</c:v>
                </c:pt>
                <c:pt idx="59383">
                  <c:v>124266</c:v>
                </c:pt>
                <c:pt idx="59384">
                  <c:v>382414</c:v>
                </c:pt>
                <c:pt idx="59385">
                  <c:v>27080</c:v>
                </c:pt>
                <c:pt idx="59386">
                  <c:v>27153</c:v>
                </c:pt>
                <c:pt idx="59387">
                  <c:v>72696</c:v>
                </c:pt>
                <c:pt idx="59388">
                  <c:v>120687</c:v>
                </c:pt>
                <c:pt idx="59389">
                  <c:v>21638</c:v>
                </c:pt>
                <c:pt idx="59390">
                  <c:v>44434</c:v>
                </c:pt>
                <c:pt idx="59391">
                  <c:v>34329</c:v>
                </c:pt>
                <c:pt idx="59392">
                  <c:v>107920</c:v>
                </c:pt>
                <c:pt idx="59393">
                  <c:v>30589</c:v>
                </c:pt>
                <c:pt idx="59394">
                  <c:v>37271</c:v>
                </c:pt>
                <c:pt idx="59395">
                  <c:v>203322</c:v>
                </c:pt>
                <c:pt idx="59396">
                  <c:v>70053</c:v>
                </c:pt>
                <c:pt idx="59397">
                  <c:v>46005</c:v>
                </c:pt>
                <c:pt idx="59398">
                  <c:v>28735</c:v>
                </c:pt>
                <c:pt idx="59399">
                  <c:v>37382</c:v>
                </c:pt>
                <c:pt idx="59400">
                  <c:v>42782</c:v>
                </c:pt>
                <c:pt idx="59401">
                  <c:v>121136</c:v>
                </c:pt>
                <c:pt idx="59402">
                  <c:v>35233</c:v>
                </c:pt>
                <c:pt idx="59403">
                  <c:v>118844</c:v>
                </c:pt>
                <c:pt idx="59404">
                  <c:v>47072</c:v>
                </c:pt>
                <c:pt idx="59405">
                  <c:v>34701</c:v>
                </c:pt>
                <c:pt idx="59406">
                  <c:v>43309</c:v>
                </c:pt>
                <c:pt idx="59407">
                  <c:v>132335</c:v>
                </c:pt>
                <c:pt idx="59408">
                  <c:v>221817</c:v>
                </c:pt>
                <c:pt idx="59409">
                  <c:v>34308</c:v>
                </c:pt>
                <c:pt idx="59410">
                  <c:v>28648</c:v>
                </c:pt>
                <c:pt idx="59411">
                  <c:v>24386</c:v>
                </c:pt>
                <c:pt idx="59412">
                  <c:v>127198</c:v>
                </c:pt>
                <c:pt idx="59413">
                  <c:v>112395</c:v>
                </c:pt>
                <c:pt idx="59414">
                  <c:v>96809</c:v>
                </c:pt>
                <c:pt idx="59415">
                  <c:v>31481</c:v>
                </c:pt>
                <c:pt idx="59416">
                  <c:v>40511</c:v>
                </c:pt>
                <c:pt idx="59417">
                  <c:v>42245</c:v>
                </c:pt>
                <c:pt idx="59418">
                  <c:v>24317</c:v>
                </c:pt>
                <c:pt idx="59419">
                  <c:v>79967</c:v>
                </c:pt>
                <c:pt idx="59420">
                  <c:v>46783</c:v>
                </c:pt>
                <c:pt idx="59421">
                  <c:v>41133</c:v>
                </c:pt>
                <c:pt idx="59422">
                  <c:v>266131</c:v>
                </c:pt>
                <c:pt idx="59423">
                  <c:v>29317</c:v>
                </c:pt>
                <c:pt idx="59424">
                  <c:v>23580</c:v>
                </c:pt>
                <c:pt idx="59425">
                  <c:v>49272</c:v>
                </c:pt>
                <c:pt idx="59426">
                  <c:v>41430</c:v>
                </c:pt>
                <c:pt idx="59427">
                  <c:v>50490</c:v>
                </c:pt>
                <c:pt idx="59428">
                  <c:v>26303</c:v>
                </c:pt>
                <c:pt idx="59429">
                  <c:v>150030</c:v>
                </c:pt>
                <c:pt idx="59430">
                  <c:v>81319</c:v>
                </c:pt>
                <c:pt idx="59431">
                  <c:v>184453</c:v>
                </c:pt>
                <c:pt idx="59432">
                  <c:v>35749</c:v>
                </c:pt>
                <c:pt idx="59433">
                  <c:v>32073</c:v>
                </c:pt>
                <c:pt idx="59434">
                  <c:v>65839</c:v>
                </c:pt>
                <c:pt idx="59435">
                  <c:v>49816</c:v>
                </c:pt>
                <c:pt idx="59436">
                  <c:v>40312</c:v>
                </c:pt>
                <c:pt idx="59437">
                  <c:v>70506</c:v>
                </c:pt>
                <c:pt idx="59438">
                  <c:v>32432</c:v>
                </c:pt>
                <c:pt idx="59439">
                  <c:v>27638</c:v>
                </c:pt>
                <c:pt idx="59440">
                  <c:v>154319</c:v>
                </c:pt>
                <c:pt idx="59441">
                  <c:v>134126</c:v>
                </c:pt>
                <c:pt idx="59442">
                  <c:v>24214</c:v>
                </c:pt>
                <c:pt idx="59443">
                  <c:v>27061</c:v>
                </c:pt>
                <c:pt idx="59444">
                  <c:v>48487</c:v>
                </c:pt>
                <c:pt idx="59445">
                  <c:v>51505</c:v>
                </c:pt>
                <c:pt idx="59446">
                  <c:v>75399</c:v>
                </c:pt>
                <c:pt idx="59447">
                  <c:v>30566</c:v>
                </c:pt>
                <c:pt idx="59448">
                  <c:v>28798</c:v>
                </c:pt>
                <c:pt idx="59449">
                  <c:v>40286</c:v>
                </c:pt>
                <c:pt idx="59450">
                  <c:v>50796</c:v>
                </c:pt>
                <c:pt idx="59451">
                  <c:v>64103</c:v>
                </c:pt>
                <c:pt idx="59452">
                  <c:v>158034</c:v>
                </c:pt>
                <c:pt idx="59453">
                  <c:v>89266</c:v>
                </c:pt>
                <c:pt idx="59454">
                  <c:v>80719</c:v>
                </c:pt>
                <c:pt idx="59455">
                  <c:v>28819</c:v>
                </c:pt>
                <c:pt idx="59456">
                  <c:v>41196</c:v>
                </c:pt>
                <c:pt idx="59457">
                  <c:v>85038</c:v>
                </c:pt>
                <c:pt idx="59458">
                  <c:v>35723</c:v>
                </c:pt>
                <c:pt idx="59459">
                  <c:v>76725</c:v>
                </c:pt>
                <c:pt idx="59460">
                  <c:v>40680</c:v>
                </c:pt>
                <c:pt idx="59461">
                  <c:v>54323</c:v>
                </c:pt>
                <c:pt idx="59462">
                  <c:v>110861</c:v>
                </c:pt>
                <c:pt idx="59463">
                  <c:v>57520</c:v>
                </c:pt>
                <c:pt idx="59464">
                  <c:v>209288</c:v>
                </c:pt>
                <c:pt idx="59465">
                  <c:v>87701</c:v>
                </c:pt>
                <c:pt idx="59466">
                  <c:v>53046</c:v>
                </c:pt>
                <c:pt idx="59467">
                  <c:v>193306</c:v>
                </c:pt>
                <c:pt idx="59468">
                  <c:v>74291</c:v>
                </c:pt>
                <c:pt idx="59469">
                  <c:v>40918</c:v>
                </c:pt>
                <c:pt idx="59470">
                  <c:v>86481</c:v>
                </c:pt>
                <c:pt idx="59471">
                  <c:v>69073</c:v>
                </c:pt>
                <c:pt idx="59472">
                  <c:v>111652</c:v>
                </c:pt>
                <c:pt idx="59473">
                  <c:v>28040</c:v>
                </c:pt>
                <c:pt idx="59474">
                  <c:v>35855</c:v>
                </c:pt>
                <c:pt idx="59475">
                  <c:v>23465</c:v>
                </c:pt>
                <c:pt idx="59476">
                  <c:v>34197</c:v>
                </c:pt>
                <c:pt idx="59477">
                  <c:v>24075</c:v>
                </c:pt>
                <c:pt idx="59478">
                  <c:v>41122</c:v>
                </c:pt>
                <c:pt idx="59479">
                  <c:v>28668</c:v>
                </c:pt>
                <c:pt idx="59480">
                  <c:v>29804</c:v>
                </c:pt>
                <c:pt idx="59481">
                  <c:v>64788</c:v>
                </c:pt>
                <c:pt idx="59482">
                  <c:v>26486</c:v>
                </c:pt>
                <c:pt idx="59483">
                  <c:v>43865</c:v>
                </c:pt>
                <c:pt idx="59484">
                  <c:v>189246</c:v>
                </c:pt>
                <c:pt idx="59485">
                  <c:v>28617</c:v>
                </c:pt>
                <c:pt idx="59486">
                  <c:v>32953</c:v>
                </c:pt>
                <c:pt idx="59487">
                  <c:v>40307</c:v>
                </c:pt>
                <c:pt idx="59488">
                  <c:v>58177</c:v>
                </c:pt>
                <c:pt idx="59489">
                  <c:v>24836</c:v>
                </c:pt>
                <c:pt idx="59490">
                  <c:v>32943</c:v>
                </c:pt>
                <c:pt idx="59491">
                  <c:v>31426</c:v>
                </c:pt>
                <c:pt idx="59492">
                  <c:v>67233</c:v>
                </c:pt>
                <c:pt idx="59493">
                  <c:v>27333</c:v>
                </c:pt>
                <c:pt idx="59494">
                  <c:v>57753</c:v>
                </c:pt>
                <c:pt idx="59495">
                  <c:v>54002</c:v>
                </c:pt>
                <c:pt idx="59496">
                  <c:v>75373</c:v>
                </c:pt>
                <c:pt idx="59497">
                  <c:v>102335</c:v>
                </c:pt>
                <c:pt idx="59498">
                  <c:v>153833</c:v>
                </c:pt>
                <c:pt idx="59499">
                  <c:v>30735</c:v>
                </c:pt>
                <c:pt idx="59500">
                  <c:v>41147</c:v>
                </c:pt>
                <c:pt idx="59501">
                  <c:v>26508</c:v>
                </c:pt>
                <c:pt idx="59502">
                  <c:v>58467</c:v>
                </c:pt>
                <c:pt idx="59503">
                  <c:v>30633</c:v>
                </c:pt>
                <c:pt idx="59504">
                  <c:v>39784</c:v>
                </c:pt>
                <c:pt idx="59505">
                  <c:v>83146</c:v>
                </c:pt>
                <c:pt idx="59506">
                  <c:v>39181</c:v>
                </c:pt>
                <c:pt idx="59507">
                  <c:v>41964</c:v>
                </c:pt>
                <c:pt idx="59508">
                  <c:v>37568</c:v>
                </c:pt>
                <c:pt idx="59509">
                  <c:v>408569</c:v>
                </c:pt>
                <c:pt idx="59510">
                  <c:v>213857</c:v>
                </c:pt>
                <c:pt idx="59511">
                  <c:v>81948</c:v>
                </c:pt>
                <c:pt idx="59512">
                  <c:v>31429</c:v>
                </c:pt>
                <c:pt idx="59513">
                  <c:v>306130</c:v>
                </c:pt>
                <c:pt idx="59514">
                  <c:v>29840</c:v>
                </c:pt>
                <c:pt idx="59515">
                  <c:v>62122</c:v>
                </c:pt>
                <c:pt idx="59516">
                  <c:v>140752</c:v>
                </c:pt>
                <c:pt idx="59517">
                  <c:v>36692</c:v>
                </c:pt>
                <c:pt idx="59518">
                  <c:v>39302</c:v>
                </c:pt>
                <c:pt idx="59519">
                  <c:v>49373</c:v>
                </c:pt>
                <c:pt idx="59520">
                  <c:v>34344</c:v>
                </c:pt>
                <c:pt idx="59521">
                  <c:v>46443</c:v>
                </c:pt>
                <c:pt idx="59522">
                  <c:v>63510</c:v>
                </c:pt>
                <c:pt idx="59523">
                  <c:v>26705</c:v>
                </c:pt>
                <c:pt idx="59524">
                  <c:v>29824</c:v>
                </c:pt>
                <c:pt idx="59525">
                  <c:v>127375</c:v>
                </c:pt>
                <c:pt idx="59526">
                  <c:v>19491</c:v>
                </c:pt>
                <c:pt idx="59527">
                  <c:v>27469</c:v>
                </c:pt>
                <c:pt idx="59528">
                  <c:v>47306</c:v>
                </c:pt>
                <c:pt idx="59529">
                  <c:v>31930</c:v>
                </c:pt>
                <c:pt idx="59530">
                  <c:v>61976</c:v>
                </c:pt>
                <c:pt idx="59531">
                  <c:v>53868</c:v>
                </c:pt>
                <c:pt idx="59532">
                  <c:v>27320</c:v>
                </c:pt>
                <c:pt idx="59533">
                  <c:v>55154</c:v>
                </c:pt>
                <c:pt idx="59534">
                  <c:v>34021</c:v>
                </c:pt>
                <c:pt idx="59535">
                  <c:v>44488</c:v>
                </c:pt>
                <c:pt idx="59536">
                  <c:v>27475</c:v>
                </c:pt>
                <c:pt idx="59537">
                  <c:v>68986</c:v>
                </c:pt>
                <c:pt idx="59538">
                  <c:v>124965</c:v>
                </c:pt>
                <c:pt idx="59539">
                  <c:v>184243</c:v>
                </c:pt>
                <c:pt idx="59540">
                  <c:v>36956</c:v>
                </c:pt>
                <c:pt idx="59541">
                  <c:v>53768</c:v>
                </c:pt>
                <c:pt idx="59542">
                  <c:v>32935</c:v>
                </c:pt>
                <c:pt idx="59543">
                  <c:v>37996</c:v>
                </c:pt>
                <c:pt idx="59544">
                  <c:v>26132</c:v>
                </c:pt>
                <c:pt idx="59545">
                  <c:v>42544</c:v>
                </c:pt>
                <c:pt idx="59546">
                  <c:v>41253</c:v>
                </c:pt>
                <c:pt idx="59547">
                  <c:v>33167</c:v>
                </c:pt>
                <c:pt idx="59548">
                  <c:v>24338</c:v>
                </c:pt>
                <c:pt idx="59549">
                  <c:v>53283</c:v>
                </c:pt>
                <c:pt idx="59550">
                  <c:v>132670</c:v>
                </c:pt>
                <c:pt idx="59551">
                  <c:v>36695</c:v>
                </c:pt>
                <c:pt idx="59552">
                  <c:v>43746</c:v>
                </c:pt>
                <c:pt idx="59553">
                  <c:v>323451</c:v>
                </c:pt>
                <c:pt idx="59554">
                  <c:v>48795</c:v>
                </c:pt>
                <c:pt idx="59555">
                  <c:v>29896</c:v>
                </c:pt>
                <c:pt idx="59556">
                  <c:v>48470</c:v>
                </c:pt>
                <c:pt idx="59557">
                  <c:v>67896</c:v>
                </c:pt>
                <c:pt idx="59558">
                  <c:v>49045</c:v>
                </c:pt>
                <c:pt idx="59559">
                  <c:v>38907</c:v>
                </c:pt>
                <c:pt idx="59560">
                  <c:v>36134</c:v>
                </c:pt>
                <c:pt idx="59561">
                  <c:v>51643</c:v>
                </c:pt>
                <c:pt idx="59562">
                  <c:v>31055</c:v>
                </c:pt>
                <c:pt idx="59563">
                  <c:v>37922</c:v>
                </c:pt>
                <c:pt idx="59564">
                  <c:v>43069</c:v>
                </c:pt>
                <c:pt idx="59565">
                  <c:v>49209</c:v>
                </c:pt>
                <c:pt idx="59566">
                  <c:v>31204</c:v>
                </c:pt>
                <c:pt idx="59567">
                  <c:v>63076</c:v>
                </c:pt>
                <c:pt idx="59568">
                  <c:v>44979</c:v>
                </c:pt>
                <c:pt idx="59569">
                  <c:v>134217</c:v>
                </c:pt>
                <c:pt idx="59570">
                  <c:v>52204</c:v>
                </c:pt>
                <c:pt idx="59571">
                  <c:v>47682</c:v>
                </c:pt>
                <c:pt idx="59572">
                  <c:v>18980</c:v>
                </c:pt>
                <c:pt idx="59573">
                  <c:v>52688</c:v>
                </c:pt>
                <c:pt idx="59574">
                  <c:v>47524</c:v>
                </c:pt>
                <c:pt idx="59575">
                  <c:v>36656</c:v>
                </c:pt>
                <c:pt idx="59576">
                  <c:v>20797</c:v>
                </c:pt>
                <c:pt idx="59577">
                  <c:v>75953</c:v>
                </c:pt>
                <c:pt idx="59578">
                  <c:v>106139</c:v>
                </c:pt>
                <c:pt idx="59579">
                  <c:v>65160</c:v>
                </c:pt>
                <c:pt idx="59580">
                  <c:v>56702</c:v>
                </c:pt>
                <c:pt idx="59581">
                  <c:v>56369</c:v>
                </c:pt>
                <c:pt idx="59582">
                  <c:v>58021</c:v>
                </c:pt>
                <c:pt idx="59583">
                  <c:v>36448</c:v>
                </c:pt>
                <c:pt idx="59584">
                  <c:v>38666</c:v>
                </c:pt>
                <c:pt idx="59585">
                  <c:v>39816</c:v>
                </c:pt>
                <c:pt idx="59586">
                  <c:v>52393</c:v>
                </c:pt>
                <c:pt idx="59587">
                  <c:v>68224</c:v>
                </c:pt>
                <c:pt idx="59588">
                  <c:v>40927</c:v>
                </c:pt>
                <c:pt idx="59589">
                  <c:v>42996</c:v>
                </c:pt>
                <c:pt idx="59590">
                  <c:v>45755</c:v>
                </c:pt>
                <c:pt idx="59591">
                  <c:v>41342</c:v>
                </c:pt>
                <c:pt idx="59592">
                  <c:v>187269</c:v>
                </c:pt>
                <c:pt idx="59593">
                  <c:v>75617</c:v>
                </c:pt>
                <c:pt idx="59594">
                  <c:v>220401</c:v>
                </c:pt>
                <c:pt idx="59595">
                  <c:v>30392</c:v>
                </c:pt>
                <c:pt idx="59596">
                  <c:v>58913</c:v>
                </c:pt>
                <c:pt idx="59597">
                  <c:v>42696</c:v>
                </c:pt>
                <c:pt idx="59598">
                  <c:v>27782</c:v>
                </c:pt>
                <c:pt idx="59599">
                  <c:v>32673</c:v>
                </c:pt>
                <c:pt idx="59600">
                  <c:v>34302</c:v>
                </c:pt>
                <c:pt idx="59601">
                  <c:v>41620</c:v>
                </c:pt>
                <c:pt idx="59602">
                  <c:v>27557</c:v>
                </c:pt>
                <c:pt idx="59603">
                  <c:v>149482</c:v>
                </c:pt>
                <c:pt idx="59604">
                  <c:v>42420</c:v>
                </c:pt>
                <c:pt idx="59605">
                  <c:v>67006</c:v>
                </c:pt>
                <c:pt idx="59606">
                  <c:v>32674</c:v>
                </c:pt>
                <c:pt idx="59607">
                  <c:v>24512</c:v>
                </c:pt>
                <c:pt idx="59608">
                  <c:v>59094</c:v>
                </c:pt>
                <c:pt idx="59609">
                  <c:v>24773</c:v>
                </c:pt>
                <c:pt idx="59610">
                  <c:v>47897</c:v>
                </c:pt>
                <c:pt idx="59611">
                  <c:v>29173</c:v>
                </c:pt>
                <c:pt idx="59612">
                  <c:v>60029</c:v>
                </c:pt>
                <c:pt idx="59613">
                  <c:v>85597</c:v>
                </c:pt>
                <c:pt idx="59614">
                  <c:v>51502</c:v>
                </c:pt>
                <c:pt idx="59615">
                  <c:v>30927</c:v>
                </c:pt>
                <c:pt idx="59616">
                  <c:v>39248</c:v>
                </c:pt>
                <c:pt idx="59617">
                  <c:v>28734</c:v>
                </c:pt>
                <c:pt idx="59618">
                  <c:v>28006</c:v>
                </c:pt>
                <c:pt idx="59619">
                  <c:v>33437</c:v>
                </c:pt>
                <c:pt idx="59620">
                  <c:v>24656</c:v>
                </c:pt>
                <c:pt idx="59621">
                  <c:v>65110</c:v>
                </c:pt>
                <c:pt idx="59622">
                  <c:v>35262</c:v>
                </c:pt>
                <c:pt idx="59623">
                  <c:v>37193</c:v>
                </c:pt>
                <c:pt idx="59624">
                  <c:v>26375</c:v>
                </c:pt>
                <c:pt idx="59625">
                  <c:v>47116</c:v>
                </c:pt>
                <c:pt idx="59626">
                  <c:v>62903</c:v>
                </c:pt>
                <c:pt idx="59627">
                  <c:v>43283</c:v>
                </c:pt>
                <c:pt idx="59628">
                  <c:v>54177</c:v>
                </c:pt>
                <c:pt idx="59629">
                  <c:v>24109</c:v>
                </c:pt>
                <c:pt idx="59630">
                  <c:v>22447</c:v>
                </c:pt>
                <c:pt idx="59631">
                  <c:v>42210</c:v>
                </c:pt>
                <c:pt idx="59632">
                  <c:v>41066</c:v>
                </c:pt>
                <c:pt idx="59633">
                  <c:v>35456</c:v>
                </c:pt>
                <c:pt idx="59634">
                  <c:v>48565</c:v>
                </c:pt>
                <c:pt idx="59635">
                  <c:v>70802</c:v>
                </c:pt>
                <c:pt idx="59636">
                  <c:v>93346</c:v>
                </c:pt>
                <c:pt idx="59637">
                  <c:v>48238</c:v>
                </c:pt>
                <c:pt idx="59638">
                  <c:v>61496</c:v>
                </c:pt>
                <c:pt idx="59639">
                  <c:v>28848</c:v>
                </c:pt>
                <c:pt idx="59640">
                  <c:v>41466</c:v>
                </c:pt>
                <c:pt idx="59641">
                  <c:v>46855</c:v>
                </c:pt>
                <c:pt idx="59642">
                  <c:v>29609</c:v>
                </c:pt>
                <c:pt idx="59643">
                  <c:v>30677</c:v>
                </c:pt>
                <c:pt idx="59644">
                  <c:v>27452</c:v>
                </c:pt>
                <c:pt idx="59645">
                  <c:v>23643</c:v>
                </c:pt>
                <c:pt idx="59646">
                  <c:v>91415</c:v>
                </c:pt>
                <c:pt idx="59647">
                  <c:v>27204</c:v>
                </c:pt>
                <c:pt idx="59648">
                  <c:v>73595</c:v>
                </c:pt>
                <c:pt idx="59649">
                  <c:v>32612</c:v>
                </c:pt>
                <c:pt idx="59650">
                  <c:v>85430</c:v>
                </c:pt>
                <c:pt idx="59651">
                  <c:v>147422</c:v>
                </c:pt>
                <c:pt idx="59652">
                  <c:v>125953</c:v>
                </c:pt>
                <c:pt idx="59653">
                  <c:v>61059</c:v>
                </c:pt>
                <c:pt idx="59654">
                  <c:v>44286</c:v>
                </c:pt>
                <c:pt idx="59655">
                  <c:v>152083</c:v>
                </c:pt>
                <c:pt idx="59656">
                  <c:v>29812</c:v>
                </c:pt>
                <c:pt idx="59657">
                  <c:v>76795</c:v>
                </c:pt>
                <c:pt idx="59658">
                  <c:v>40287</c:v>
                </c:pt>
                <c:pt idx="59659">
                  <c:v>222742</c:v>
                </c:pt>
                <c:pt idx="59660">
                  <c:v>37042</c:v>
                </c:pt>
                <c:pt idx="59661">
                  <c:v>160288</c:v>
                </c:pt>
                <c:pt idx="59662">
                  <c:v>35153</c:v>
                </c:pt>
                <c:pt idx="59663">
                  <c:v>23387</c:v>
                </c:pt>
                <c:pt idx="59664">
                  <c:v>61304</c:v>
                </c:pt>
                <c:pt idx="59665">
                  <c:v>287172</c:v>
                </c:pt>
                <c:pt idx="59666">
                  <c:v>49155</c:v>
                </c:pt>
                <c:pt idx="59667">
                  <c:v>58679</c:v>
                </c:pt>
                <c:pt idx="59668">
                  <c:v>74048</c:v>
                </c:pt>
                <c:pt idx="59669">
                  <c:v>27408</c:v>
                </c:pt>
                <c:pt idx="59670">
                  <c:v>40977</c:v>
                </c:pt>
                <c:pt idx="59671">
                  <c:v>31761</c:v>
                </c:pt>
                <c:pt idx="59672">
                  <c:v>66959</c:v>
                </c:pt>
                <c:pt idx="59673">
                  <c:v>40803</c:v>
                </c:pt>
                <c:pt idx="59674">
                  <c:v>52851</c:v>
                </c:pt>
                <c:pt idx="59675">
                  <c:v>144035</c:v>
                </c:pt>
                <c:pt idx="59676">
                  <c:v>31146</c:v>
                </c:pt>
                <c:pt idx="59677">
                  <c:v>29885</c:v>
                </c:pt>
                <c:pt idx="59678">
                  <c:v>43962</c:v>
                </c:pt>
                <c:pt idx="59679">
                  <c:v>30522</c:v>
                </c:pt>
                <c:pt idx="59680">
                  <c:v>95399</c:v>
                </c:pt>
                <c:pt idx="59681">
                  <c:v>49353</c:v>
                </c:pt>
                <c:pt idx="59682">
                  <c:v>160891</c:v>
                </c:pt>
                <c:pt idx="59683">
                  <c:v>492207</c:v>
                </c:pt>
                <c:pt idx="59684">
                  <c:v>67110</c:v>
                </c:pt>
                <c:pt idx="59685">
                  <c:v>69361</c:v>
                </c:pt>
                <c:pt idx="59686">
                  <c:v>32222</c:v>
                </c:pt>
                <c:pt idx="59687">
                  <c:v>46193</c:v>
                </c:pt>
                <c:pt idx="59688">
                  <c:v>42478</c:v>
                </c:pt>
                <c:pt idx="59689">
                  <c:v>72150</c:v>
                </c:pt>
                <c:pt idx="59690">
                  <c:v>53152</c:v>
                </c:pt>
                <c:pt idx="59691">
                  <c:v>42441</c:v>
                </c:pt>
                <c:pt idx="59692">
                  <c:v>56212</c:v>
                </c:pt>
                <c:pt idx="59693">
                  <c:v>29641</c:v>
                </c:pt>
                <c:pt idx="59694">
                  <c:v>28962</c:v>
                </c:pt>
                <c:pt idx="59695">
                  <c:v>32623</c:v>
                </c:pt>
                <c:pt idx="59696">
                  <c:v>45397</c:v>
                </c:pt>
                <c:pt idx="59697">
                  <c:v>26567</c:v>
                </c:pt>
                <c:pt idx="59698">
                  <c:v>42896</c:v>
                </c:pt>
                <c:pt idx="59699">
                  <c:v>42401</c:v>
                </c:pt>
                <c:pt idx="59700">
                  <c:v>41079</c:v>
                </c:pt>
                <c:pt idx="59701">
                  <c:v>189951</c:v>
                </c:pt>
                <c:pt idx="59702">
                  <c:v>34760</c:v>
                </c:pt>
                <c:pt idx="59703">
                  <c:v>84269</c:v>
                </c:pt>
                <c:pt idx="59704">
                  <c:v>30683</c:v>
                </c:pt>
                <c:pt idx="59705">
                  <c:v>49516</c:v>
                </c:pt>
                <c:pt idx="59706">
                  <c:v>41136</c:v>
                </c:pt>
                <c:pt idx="59707">
                  <c:v>105896</c:v>
                </c:pt>
                <c:pt idx="59708">
                  <c:v>197465</c:v>
                </c:pt>
                <c:pt idx="59709">
                  <c:v>49233</c:v>
                </c:pt>
                <c:pt idx="59710">
                  <c:v>67147</c:v>
                </c:pt>
                <c:pt idx="59711">
                  <c:v>126989</c:v>
                </c:pt>
                <c:pt idx="59712">
                  <c:v>116223</c:v>
                </c:pt>
                <c:pt idx="59713">
                  <c:v>33702</c:v>
                </c:pt>
                <c:pt idx="59714">
                  <c:v>57414</c:v>
                </c:pt>
                <c:pt idx="59715">
                  <c:v>28666</c:v>
                </c:pt>
                <c:pt idx="59716">
                  <c:v>59464</c:v>
                </c:pt>
                <c:pt idx="59717">
                  <c:v>200804</c:v>
                </c:pt>
                <c:pt idx="59718">
                  <c:v>59742</c:v>
                </c:pt>
                <c:pt idx="59719">
                  <c:v>37313</c:v>
                </c:pt>
                <c:pt idx="59720">
                  <c:v>27006</c:v>
                </c:pt>
                <c:pt idx="59721">
                  <c:v>26657</c:v>
                </c:pt>
                <c:pt idx="59722">
                  <c:v>69505</c:v>
                </c:pt>
                <c:pt idx="59723">
                  <c:v>92937</c:v>
                </c:pt>
                <c:pt idx="59724">
                  <c:v>40272</c:v>
                </c:pt>
                <c:pt idx="59725">
                  <c:v>27393</c:v>
                </c:pt>
                <c:pt idx="59726">
                  <c:v>52154</c:v>
                </c:pt>
                <c:pt idx="59727">
                  <c:v>43614</c:v>
                </c:pt>
                <c:pt idx="59728">
                  <c:v>31283</c:v>
                </c:pt>
                <c:pt idx="59729">
                  <c:v>35234</c:v>
                </c:pt>
                <c:pt idx="59730">
                  <c:v>63666</c:v>
                </c:pt>
                <c:pt idx="59731">
                  <c:v>50776</c:v>
                </c:pt>
                <c:pt idx="59732">
                  <c:v>46565</c:v>
                </c:pt>
                <c:pt idx="59733">
                  <c:v>43045</c:v>
                </c:pt>
                <c:pt idx="59734">
                  <c:v>28823</c:v>
                </c:pt>
                <c:pt idx="59735">
                  <c:v>112944</c:v>
                </c:pt>
                <c:pt idx="59736">
                  <c:v>34551</c:v>
                </c:pt>
                <c:pt idx="59737">
                  <c:v>57256</c:v>
                </c:pt>
                <c:pt idx="59738">
                  <c:v>31808</c:v>
                </c:pt>
                <c:pt idx="59739">
                  <c:v>31973</c:v>
                </c:pt>
                <c:pt idx="59740">
                  <c:v>27887</c:v>
                </c:pt>
                <c:pt idx="59741">
                  <c:v>37934</c:v>
                </c:pt>
                <c:pt idx="59742">
                  <c:v>86000</c:v>
                </c:pt>
                <c:pt idx="59743">
                  <c:v>85085</c:v>
                </c:pt>
                <c:pt idx="59744">
                  <c:v>43035</c:v>
                </c:pt>
                <c:pt idx="59745">
                  <c:v>95149</c:v>
                </c:pt>
                <c:pt idx="59746">
                  <c:v>28276</c:v>
                </c:pt>
                <c:pt idx="59747">
                  <c:v>140667</c:v>
                </c:pt>
                <c:pt idx="59748">
                  <c:v>49281</c:v>
                </c:pt>
                <c:pt idx="59749">
                  <c:v>50862</c:v>
                </c:pt>
                <c:pt idx="59750">
                  <c:v>36075</c:v>
                </c:pt>
                <c:pt idx="59751">
                  <c:v>109518</c:v>
                </c:pt>
                <c:pt idx="59752">
                  <c:v>31177</c:v>
                </c:pt>
                <c:pt idx="59753">
                  <c:v>32747</c:v>
                </c:pt>
                <c:pt idx="59754">
                  <c:v>34123</c:v>
                </c:pt>
                <c:pt idx="59755">
                  <c:v>195205</c:v>
                </c:pt>
                <c:pt idx="59756">
                  <c:v>147706</c:v>
                </c:pt>
                <c:pt idx="59757">
                  <c:v>40630</c:v>
                </c:pt>
                <c:pt idx="59758">
                  <c:v>76925</c:v>
                </c:pt>
                <c:pt idx="59759">
                  <c:v>40453</c:v>
                </c:pt>
                <c:pt idx="59760">
                  <c:v>80343</c:v>
                </c:pt>
                <c:pt idx="59761">
                  <c:v>26969</c:v>
                </c:pt>
                <c:pt idx="59762">
                  <c:v>47895</c:v>
                </c:pt>
                <c:pt idx="59763">
                  <c:v>94746</c:v>
                </c:pt>
                <c:pt idx="59764">
                  <c:v>26019</c:v>
                </c:pt>
                <c:pt idx="59765">
                  <c:v>27749</c:v>
                </c:pt>
                <c:pt idx="59766">
                  <c:v>180427</c:v>
                </c:pt>
                <c:pt idx="59767">
                  <c:v>24820</c:v>
                </c:pt>
                <c:pt idx="59768">
                  <c:v>36588</c:v>
                </c:pt>
                <c:pt idx="59769">
                  <c:v>39329</c:v>
                </c:pt>
                <c:pt idx="59770">
                  <c:v>59565</c:v>
                </c:pt>
                <c:pt idx="59771">
                  <c:v>35785</c:v>
                </c:pt>
                <c:pt idx="59772">
                  <c:v>48018</c:v>
                </c:pt>
                <c:pt idx="59773">
                  <c:v>64141</c:v>
                </c:pt>
                <c:pt idx="59774">
                  <c:v>44494</c:v>
                </c:pt>
                <c:pt idx="59775">
                  <c:v>38941</c:v>
                </c:pt>
                <c:pt idx="59776">
                  <c:v>45621</c:v>
                </c:pt>
                <c:pt idx="59777">
                  <c:v>43600</c:v>
                </c:pt>
                <c:pt idx="59778">
                  <c:v>38961</c:v>
                </c:pt>
                <c:pt idx="59779">
                  <c:v>47338</c:v>
                </c:pt>
                <c:pt idx="59780">
                  <c:v>137008</c:v>
                </c:pt>
                <c:pt idx="59781">
                  <c:v>56202</c:v>
                </c:pt>
                <c:pt idx="59782">
                  <c:v>48187</c:v>
                </c:pt>
                <c:pt idx="59783">
                  <c:v>53516</c:v>
                </c:pt>
                <c:pt idx="59784">
                  <c:v>78431</c:v>
                </c:pt>
                <c:pt idx="59785">
                  <c:v>24367</c:v>
                </c:pt>
                <c:pt idx="59786">
                  <c:v>60686</c:v>
                </c:pt>
                <c:pt idx="59787">
                  <c:v>83699</c:v>
                </c:pt>
                <c:pt idx="59788">
                  <c:v>77239</c:v>
                </c:pt>
                <c:pt idx="59789">
                  <c:v>27451</c:v>
                </c:pt>
                <c:pt idx="59790">
                  <c:v>38501</c:v>
                </c:pt>
                <c:pt idx="59791">
                  <c:v>31460</c:v>
                </c:pt>
                <c:pt idx="59792">
                  <c:v>29914</c:v>
                </c:pt>
                <c:pt idx="59793">
                  <c:v>39842</c:v>
                </c:pt>
                <c:pt idx="59794">
                  <c:v>39692</c:v>
                </c:pt>
                <c:pt idx="59795">
                  <c:v>156713</c:v>
                </c:pt>
                <c:pt idx="59796">
                  <c:v>56911</c:v>
                </c:pt>
                <c:pt idx="59797">
                  <c:v>39687</c:v>
                </c:pt>
                <c:pt idx="59798">
                  <c:v>39880</c:v>
                </c:pt>
                <c:pt idx="59799">
                  <c:v>25016</c:v>
                </c:pt>
                <c:pt idx="59800">
                  <c:v>38151</c:v>
                </c:pt>
                <c:pt idx="59801">
                  <c:v>86623</c:v>
                </c:pt>
                <c:pt idx="59802">
                  <c:v>39273</c:v>
                </c:pt>
                <c:pt idx="59803">
                  <c:v>39937</c:v>
                </c:pt>
                <c:pt idx="59804">
                  <c:v>33606</c:v>
                </c:pt>
                <c:pt idx="59805">
                  <c:v>37411</c:v>
                </c:pt>
                <c:pt idx="59806">
                  <c:v>52527</c:v>
                </c:pt>
                <c:pt idx="59807">
                  <c:v>72801</c:v>
                </c:pt>
                <c:pt idx="59808">
                  <c:v>29542</c:v>
                </c:pt>
                <c:pt idx="59809">
                  <c:v>88907</c:v>
                </c:pt>
                <c:pt idx="59810">
                  <c:v>29885</c:v>
                </c:pt>
                <c:pt idx="59811">
                  <c:v>51818</c:v>
                </c:pt>
                <c:pt idx="59812">
                  <c:v>38884</c:v>
                </c:pt>
                <c:pt idx="59813">
                  <c:v>25087</c:v>
                </c:pt>
                <c:pt idx="59814">
                  <c:v>35209</c:v>
                </c:pt>
                <c:pt idx="59815">
                  <c:v>60662</c:v>
                </c:pt>
                <c:pt idx="59816">
                  <c:v>68769</c:v>
                </c:pt>
                <c:pt idx="59817">
                  <c:v>23807</c:v>
                </c:pt>
                <c:pt idx="59818">
                  <c:v>20926</c:v>
                </c:pt>
                <c:pt idx="59819">
                  <c:v>24061</c:v>
                </c:pt>
                <c:pt idx="59820">
                  <c:v>45047</c:v>
                </c:pt>
                <c:pt idx="59821">
                  <c:v>38253</c:v>
                </c:pt>
                <c:pt idx="59822">
                  <c:v>52895</c:v>
                </c:pt>
                <c:pt idx="59823">
                  <c:v>68994</c:v>
                </c:pt>
                <c:pt idx="59824">
                  <c:v>34692</c:v>
                </c:pt>
                <c:pt idx="59825">
                  <c:v>20741</c:v>
                </c:pt>
                <c:pt idx="59826">
                  <c:v>68115</c:v>
                </c:pt>
                <c:pt idx="59827">
                  <c:v>29741</c:v>
                </c:pt>
                <c:pt idx="59828">
                  <c:v>42786</c:v>
                </c:pt>
                <c:pt idx="59829">
                  <c:v>34636</c:v>
                </c:pt>
                <c:pt idx="59830">
                  <c:v>46689</c:v>
                </c:pt>
                <c:pt idx="59831">
                  <c:v>21908</c:v>
                </c:pt>
                <c:pt idx="59832">
                  <c:v>48616</c:v>
                </c:pt>
                <c:pt idx="59833">
                  <c:v>102643</c:v>
                </c:pt>
                <c:pt idx="59834">
                  <c:v>61056</c:v>
                </c:pt>
                <c:pt idx="59835">
                  <c:v>80501</c:v>
                </c:pt>
                <c:pt idx="59836">
                  <c:v>76673</c:v>
                </c:pt>
                <c:pt idx="59837">
                  <c:v>105982</c:v>
                </c:pt>
                <c:pt idx="59838">
                  <c:v>34665</c:v>
                </c:pt>
                <c:pt idx="59839">
                  <c:v>26586</c:v>
                </c:pt>
                <c:pt idx="59840">
                  <c:v>117826</c:v>
                </c:pt>
                <c:pt idx="59841">
                  <c:v>36336</c:v>
                </c:pt>
                <c:pt idx="59842">
                  <c:v>131633</c:v>
                </c:pt>
                <c:pt idx="59843">
                  <c:v>35934</c:v>
                </c:pt>
                <c:pt idx="59844">
                  <c:v>38758</c:v>
                </c:pt>
                <c:pt idx="59845">
                  <c:v>24314</c:v>
                </c:pt>
                <c:pt idx="59846">
                  <c:v>129135</c:v>
                </c:pt>
                <c:pt idx="59847">
                  <c:v>20389</c:v>
                </c:pt>
                <c:pt idx="59848">
                  <c:v>29048</c:v>
                </c:pt>
                <c:pt idx="59849">
                  <c:v>80937</c:v>
                </c:pt>
                <c:pt idx="59850">
                  <c:v>121822</c:v>
                </c:pt>
                <c:pt idx="59851">
                  <c:v>32942</c:v>
                </c:pt>
                <c:pt idx="59852">
                  <c:v>87611</c:v>
                </c:pt>
                <c:pt idx="59853">
                  <c:v>31942</c:v>
                </c:pt>
                <c:pt idx="59854">
                  <c:v>25057</c:v>
                </c:pt>
                <c:pt idx="59855">
                  <c:v>47388</c:v>
                </c:pt>
                <c:pt idx="59856">
                  <c:v>72446</c:v>
                </c:pt>
                <c:pt idx="59857">
                  <c:v>35030</c:v>
                </c:pt>
                <c:pt idx="59858">
                  <c:v>53540</c:v>
                </c:pt>
                <c:pt idx="59859">
                  <c:v>34161</c:v>
                </c:pt>
                <c:pt idx="59860">
                  <c:v>39324</c:v>
                </c:pt>
                <c:pt idx="59861">
                  <c:v>34016</c:v>
                </c:pt>
                <c:pt idx="59862">
                  <c:v>64643</c:v>
                </c:pt>
                <c:pt idx="59863">
                  <c:v>74791</c:v>
                </c:pt>
                <c:pt idx="59864">
                  <c:v>107565</c:v>
                </c:pt>
                <c:pt idx="59865">
                  <c:v>51948</c:v>
                </c:pt>
                <c:pt idx="59866">
                  <c:v>23849</c:v>
                </c:pt>
                <c:pt idx="59867">
                  <c:v>46342</c:v>
                </c:pt>
                <c:pt idx="59868">
                  <c:v>81164</c:v>
                </c:pt>
                <c:pt idx="59869">
                  <c:v>37188</c:v>
                </c:pt>
                <c:pt idx="59870">
                  <c:v>52733</c:v>
                </c:pt>
                <c:pt idx="59871">
                  <c:v>56751</c:v>
                </c:pt>
                <c:pt idx="59872">
                  <c:v>118889</c:v>
                </c:pt>
                <c:pt idx="59873">
                  <c:v>70901</c:v>
                </c:pt>
                <c:pt idx="59874">
                  <c:v>32752</c:v>
                </c:pt>
                <c:pt idx="59875">
                  <c:v>185935</c:v>
                </c:pt>
                <c:pt idx="59876">
                  <c:v>45857</c:v>
                </c:pt>
                <c:pt idx="59877">
                  <c:v>36111</c:v>
                </c:pt>
                <c:pt idx="59878">
                  <c:v>37054</c:v>
                </c:pt>
                <c:pt idx="59879">
                  <c:v>32844</c:v>
                </c:pt>
                <c:pt idx="59880">
                  <c:v>164638</c:v>
                </c:pt>
                <c:pt idx="59881">
                  <c:v>65140</c:v>
                </c:pt>
                <c:pt idx="59882">
                  <c:v>49534</c:v>
                </c:pt>
                <c:pt idx="59883">
                  <c:v>26122</c:v>
                </c:pt>
                <c:pt idx="59884">
                  <c:v>77173</c:v>
                </c:pt>
                <c:pt idx="59885">
                  <c:v>47552</c:v>
                </c:pt>
                <c:pt idx="59886">
                  <c:v>49179</c:v>
                </c:pt>
                <c:pt idx="59887">
                  <c:v>44404</c:v>
                </c:pt>
                <c:pt idx="59888">
                  <c:v>49728</c:v>
                </c:pt>
                <c:pt idx="59889">
                  <c:v>153656</c:v>
                </c:pt>
                <c:pt idx="59890">
                  <c:v>24087</c:v>
                </c:pt>
                <c:pt idx="59891">
                  <c:v>34508</c:v>
                </c:pt>
                <c:pt idx="59892">
                  <c:v>104237</c:v>
                </c:pt>
                <c:pt idx="59893">
                  <c:v>35437</c:v>
                </c:pt>
                <c:pt idx="59894">
                  <c:v>30969</c:v>
                </c:pt>
                <c:pt idx="59895">
                  <c:v>28894</c:v>
                </c:pt>
                <c:pt idx="59896">
                  <c:v>37925</c:v>
                </c:pt>
                <c:pt idx="59897">
                  <c:v>41401</c:v>
                </c:pt>
                <c:pt idx="59898">
                  <c:v>44098</c:v>
                </c:pt>
                <c:pt idx="59899">
                  <c:v>619643</c:v>
                </c:pt>
                <c:pt idx="59900">
                  <c:v>27222</c:v>
                </c:pt>
                <c:pt idx="59901">
                  <c:v>38277</c:v>
                </c:pt>
                <c:pt idx="59902">
                  <c:v>194369</c:v>
                </c:pt>
                <c:pt idx="59903">
                  <c:v>45013</c:v>
                </c:pt>
                <c:pt idx="59904">
                  <c:v>43400</c:v>
                </c:pt>
                <c:pt idx="59905">
                  <c:v>40862</c:v>
                </c:pt>
                <c:pt idx="59906">
                  <c:v>466348</c:v>
                </c:pt>
                <c:pt idx="59907">
                  <c:v>165220</c:v>
                </c:pt>
                <c:pt idx="59908">
                  <c:v>26581</c:v>
                </c:pt>
                <c:pt idx="59909">
                  <c:v>34847</c:v>
                </c:pt>
                <c:pt idx="59910">
                  <c:v>50573</c:v>
                </c:pt>
                <c:pt idx="59911">
                  <c:v>53201</c:v>
                </c:pt>
                <c:pt idx="59912">
                  <c:v>82700</c:v>
                </c:pt>
                <c:pt idx="59913">
                  <c:v>39872</c:v>
                </c:pt>
                <c:pt idx="59914">
                  <c:v>34776</c:v>
                </c:pt>
                <c:pt idx="59915">
                  <c:v>90567</c:v>
                </c:pt>
                <c:pt idx="59916">
                  <c:v>121933</c:v>
                </c:pt>
                <c:pt idx="59917">
                  <c:v>33045</c:v>
                </c:pt>
                <c:pt idx="59918">
                  <c:v>47561</c:v>
                </c:pt>
                <c:pt idx="59919">
                  <c:v>44768</c:v>
                </c:pt>
                <c:pt idx="59920">
                  <c:v>37068</c:v>
                </c:pt>
                <c:pt idx="59921">
                  <c:v>40855</c:v>
                </c:pt>
                <c:pt idx="59922">
                  <c:v>39354</c:v>
                </c:pt>
                <c:pt idx="59923">
                  <c:v>25873</c:v>
                </c:pt>
                <c:pt idx="59924">
                  <c:v>75156</c:v>
                </c:pt>
                <c:pt idx="59925">
                  <c:v>44999</c:v>
                </c:pt>
                <c:pt idx="59926">
                  <c:v>27838</c:v>
                </c:pt>
                <c:pt idx="59927">
                  <c:v>51783</c:v>
                </c:pt>
                <c:pt idx="59928">
                  <c:v>61359</c:v>
                </c:pt>
                <c:pt idx="59929">
                  <c:v>25187</c:v>
                </c:pt>
                <c:pt idx="59930">
                  <c:v>65712</c:v>
                </c:pt>
                <c:pt idx="59931">
                  <c:v>171121</c:v>
                </c:pt>
                <c:pt idx="59932">
                  <c:v>316390</c:v>
                </c:pt>
                <c:pt idx="59933">
                  <c:v>36686</c:v>
                </c:pt>
                <c:pt idx="59934">
                  <c:v>58721</c:v>
                </c:pt>
                <c:pt idx="59935">
                  <c:v>33603</c:v>
                </c:pt>
                <c:pt idx="59936">
                  <c:v>205313</c:v>
                </c:pt>
                <c:pt idx="59937">
                  <c:v>64942</c:v>
                </c:pt>
                <c:pt idx="59938">
                  <c:v>52206</c:v>
                </c:pt>
                <c:pt idx="59939">
                  <c:v>46711</c:v>
                </c:pt>
                <c:pt idx="59940">
                  <c:v>25490</c:v>
                </c:pt>
                <c:pt idx="59941">
                  <c:v>22916</c:v>
                </c:pt>
                <c:pt idx="59942">
                  <c:v>37826</c:v>
                </c:pt>
                <c:pt idx="59943">
                  <c:v>35459</c:v>
                </c:pt>
                <c:pt idx="59944">
                  <c:v>64347</c:v>
                </c:pt>
                <c:pt idx="59945">
                  <c:v>27625</c:v>
                </c:pt>
                <c:pt idx="59946">
                  <c:v>28050</c:v>
                </c:pt>
                <c:pt idx="59947">
                  <c:v>45505</c:v>
                </c:pt>
                <c:pt idx="59948">
                  <c:v>97907</c:v>
                </c:pt>
                <c:pt idx="59949">
                  <c:v>47289</c:v>
                </c:pt>
                <c:pt idx="59950">
                  <c:v>48658</c:v>
                </c:pt>
                <c:pt idx="59951">
                  <c:v>171352</c:v>
                </c:pt>
                <c:pt idx="59952">
                  <c:v>33504</c:v>
                </c:pt>
                <c:pt idx="59953">
                  <c:v>33261</c:v>
                </c:pt>
                <c:pt idx="59954">
                  <c:v>52176</c:v>
                </c:pt>
                <c:pt idx="59955">
                  <c:v>59447</c:v>
                </c:pt>
                <c:pt idx="59956">
                  <c:v>49133</c:v>
                </c:pt>
                <c:pt idx="59957">
                  <c:v>40247</c:v>
                </c:pt>
                <c:pt idx="59958">
                  <c:v>33955</c:v>
                </c:pt>
                <c:pt idx="59959">
                  <c:v>123642</c:v>
                </c:pt>
                <c:pt idx="59960">
                  <c:v>59908</c:v>
                </c:pt>
                <c:pt idx="59961">
                  <c:v>35051</c:v>
                </c:pt>
                <c:pt idx="59962">
                  <c:v>41425</c:v>
                </c:pt>
                <c:pt idx="59963">
                  <c:v>25544</c:v>
                </c:pt>
                <c:pt idx="59964">
                  <c:v>42438</c:v>
                </c:pt>
                <c:pt idx="59965">
                  <c:v>109678</c:v>
                </c:pt>
                <c:pt idx="59966">
                  <c:v>178707</c:v>
                </c:pt>
                <c:pt idx="59967">
                  <c:v>146257</c:v>
                </c:pt>
                <c:pt idx="59968">
                  <c:v>64833</c:v>
                </c:pt>
                <c:pt idx="59969">
                  <c:v>21262</c:v>
                </c:pt>
                <c:pt idx="59970">
                  <c:v>68411</c:v>
                </c:pt>
                <c:pt idx="59971">
                  <c:v>58230</c:v>
                </c:pt>
                <c:pt idx="59972">
                  <c:v>152214</c:v>
                </c:pt>
                <c:pt idx="59973">
                  <c:v>29381</c:v>
                </c:pt>
                <c:pt idx="59974">
                  <c:v>63196</c:v>
                </c:pt>
                <c:pt idx="59975">
                  <c:v>41588</c:v>
                </c:pt>
                <c:pt idx="59976">
                  <c:v>63550</c:v>
                </c:pt>
                <c:pt idx="59977">
                  <c:v>29944</c:v>
                </c:pt>
                <c:pt idx="59978">
                  <c:v>95071</c:v>
                </c:pt>
                <c:pt idx="59979">
                  <c:v>39155</c:v>
                </c:pt>
                <c:pt idx="59980">
                  <c:v>169265</c:v>
                </c:pt>
                <c:pt idx="59981">
                  <c:v>28032</c:v>
                </c:pt>
                <c:pt idx="59982">
                  <c:v>30346</c:v>
                </c:pt>
                <c:pt idx="59983">
                  <c:v>37805</c:v>
                </c:pt>
                <c:pt idx="59984">
                  <c:v>35782</c:v>
                </c:pt>
                <c:pt idx="59985">
                  <c:v>142432</c:v>
                </c:pt>
                <c:pt idx="59986">
                  <c:v>74007</c:v>
                </c:pt>
                <c:pt idx="59987">
                  <c:v>39541</c:v>
                </c:pt>
                <c:pt idx="59988">
                  <c:v>33795</c:v>
                </c:pt>
                <c:pt idx="59989">
                  <c:v>43204</c:v>
                </c:pt>
                <c:pt idx="59990">
                  <c:v>48314</c:v>
                </c:pt>
                <c:pt idx="59991">
                  <c:v>30882</c:v>
                </c:pt>
                <c:pt idx="59992">
                  <c:v>117179</c:v>
                </c:pt>
                <c:pt idx="59993">
                  <c:v>25074</c:v>
                </c:pt>
                <c:pt idx="59994">
                  <c:v>49050</c:v>
                </c:pt>
                <c:pt idx="59995">
                  <c:v>38609</c:v>
                </c:pt>
                <c:pt idx="59996">
                  <c:v>22078</c:v>
                </c:pt>
                <c:pt idx="59997">
                  <c:v>32641</c:v>
                </c:pt>
                <c:pt idx="59998">
                  <c:v>42532</c:v>
                </c:pt>
                <c:pt idx="59999">
                  <c:v>75822</c:v>
                </c:pt>
                <c:pt idx="60000">
                  <c:v>42228</c:v>
                </c:pt>
                <c:pt idx="60001">
                  <c:v>62818</c:v>
                </c:pt>
                <c:pt idx="60002">
                  <c:v>77069</c:v>
                </c:pt>
                <c:pt idx="60003">
                  <c:v>32473</c:v>
                </c:pt>
                <c:pt idx="60004">
                  <c:v>63423</c:v>
                </c:pt>
                <c:pt idx="60005">
                  <c:v>120218</c:v>
                </c:pt>
                <c:pt idx="60006">
                  <c:v>33754</c:v>
                </c:pt>
                <c:pt idx="60007">
                  <c:v>31229</c:v>
                </c:pt>
                <c:pt idx="60008">
                  <c:v>37916</c:v>
                </c:pt>
                <c:pt idx="60009">
                  <c:v>52543</c:v>
                </c:pt>
                <c:pt idx="60010">
                  <c:v>319804</c:v>
                </c:pt>
                <c:pt idx="60011">
                  <c:v>41398</c:v>
                </c:pt>
                <c:pt idx="60012">
                  <c:v>73914</c:v>
                </c:pt>
                <c:pt idx="60013">
                  <c:v>41856</c:v>
                </c:pt>
                <c:pt idx="60014">
                  <c:v>37254</c:v>
                </c:pt>
                <c:pt idx="60015">
                  <c:v>41237</c:v>
                </c:pt>
                <c:pt idx="60016">
                  <c:v>41421</c:v>
                </c:pt>
                <c:pt idx="60017">
                  <c:v>152055</c:v>
                </c:pt>
                <c:pt idx="60018">
                  <c:v>102755</c:v>
                </c:pt>
                <c:pt idx="60019">
                  <c:v>33482</c:v>
                </c:pt>
                <c:pt idx="60020">
                  <c:v>41089</c:v>
                </c:pt>
                <c:pt idx="60021">
                  <c:v>29207</c:v>
                </c:pt>
                <c:pt idx="60022">
                  <c:v>44213</c:v>
                </c:pt>
                <c:pt idx="60023">
                  <c:v>33728</c:v>
                </c:pt>
                <c:pt idx="60024">
                  <c:v>112802</c:v>
                </c:pt>
                <c:pt idx="60025">
                  <c:v>89537</c:v>
                </c:pt>
                <c:pt idx="60026">
                  <c:v>37942</c:v>
                </c:pt>
                <c:pt idx="60027">
                  <c:v>112013</c:v>
                </c:pt>
                <c:pt idx="60028">
                  <c:v>32276</c:v>
                </c:pt>
                <c:pt idx="60029">
                  <c:v>25684</c:v>
                </c:pt>
                <c:pt idx="60030">
                  <c:v>65522</c:v>
                </c:pt>
                <c:pt idx="60031">
                  <c:v>93626</c:v>
                </c:pt>
                <c:pt idx="60032">
                  <c:v>40218</c:v>
                </c:pt>
                <c:pt idx="60033">
                  <c:v>56180</c:v>
                </c:pt>
                <c:pt idx="60034">
                  <c:v>28446</c:v>
                </c:pt>
                <c:pt idx="60035">
                  <c:v>41314</c:v>
                </c:pt>
                <c:pt idx="60036">
                  <c:v>160473</c:v>
                </c:pt>
                <c:pt idx="60037">
                  <c:v>27136</c:v>
                </c:pt>
                <c:pt idx="60038">
                  <c:v>50947</c:v>
                </c:pt>
                <c:pt idx="60039">
                  <c:v>60969</c:v>
                </c:pt>
                <c:pt idx="60040">
                  <c:v>36381</c:v>
                </c:pt>
                <c:pt idx="60041">
                  <c:v>31769</c:v>
                </c:pt>
                <c:pt idx="60042">
                  <c:v>25237</c:v>
                </c:pt>
                <c:pt idx="60043">
                  <c:v>34752</c:v>
                </c:pt>
                <c:pt idx="60044">
                  <c:v>278066</c:v>
                </c:pt>
                <c:pt idx="60045">
                  <c:v>96221</c:v>
                </c:pt>
                <c:pt idx="60046">
                  <c:v>27577</c:v>
                </c:pt>
                <c:pt idx="60047">
                  <c:v>26126</c:v>
                </c:pt>
                <c:pt idx="60048">
                  <c:v>43847</c:v>
                </c:pt>
                <c:pt idx="60049">
                  <c:v>31166</c:v>
                </c:pt>
                <c:pt idx="60050">
                  <c:v>47935</c:v>
                </c:pt>
                <c:pt idx="60051">
                  <c:v>113204</c:v>
                </c:pt>
                <c:pt idx="60052">
                  <c:v>164146</c:v>
                </c:pt>
                <c:pt idx="60053">
                  <c:v>64144</c:v>
                </c:pt>
                <c:pt idx="60054">
                  <c:v>89361</c:v>
                </c:pt>
                <c:pt idx="60055">
                  <c:v>28870</c:v>
                </c:pt>
                <c:pt idx="60056">
                  <c:v>27933</c:v>
                </c:pt>
                <c:pt idx="60057">
                  <c:v>95174</c:v>
                </c:pt>
                <c:pt idx="60058">
                  <c:v>37775</c:v>
                </c:pt>
                <c:pt idx="60059">
                  <c:v>46848</c:v>
                </c:pt>
                <c:pt idx="60060">
                  <c:v>24047</c:v>
                </c:pt>
                <c:pt idx="60061">
                  <c:v>88048</c:v>
                </c:pt>
                <c:pt idx="60062">
                  <c:v>34534</c:v>
                </c:pt>
                <c:pt idx="60063">
                  <c:v>33330</c:v>
                </c:pt>
                <c:pt idx="60064">
                  <c:v>78618</c:v>
                </c:pt>
                <c:pt idx="60065">
                  <c:v>58285</c:v>
                </c:pt>
                <c:pt idx="60066">
                  <c:v>177565</c:v>
                </c:pt>
                <c:pt idx="60067">
                  <c:v>113129</c:v>
                </c:pt>
                <c:pt idx="60068">
                  <c:v>31992</c:v>
                </c:pt>
                <c:pt idx="60069">
                  <c:v>36531</c:v>
                </c:pt>
                <c:pt idx="60070">
                  <c:v>26748</c:v>
                </c:pt>
                <c:pt idx="60071">
                  <c:v>35478</c:v>
                </c:pt>
                <c:pt idx="60072">
                  <c:v>24376</c:v>
                </c:pt>
                <c:pt idx="60073">
                  <c:v>81328</c:v>
                </c:pt>
                <c:pt idx="60074">
                  <c:v>34041</c:v>
                </c:pt>
                <c:pt idx="60075">
                  <c:v>120989</c:v>
                </c:pt>
                <c:pt idx="60076">
                  <c:v>32911</c:v>
                </c:pt>
                <c:pt idx="60077">
                  <c:v>24133</c:v>
                </c:pt>
                <c:pt idx="60078">
                  <c:v>23057</c:v>
                </c:pt>
                <c:pt idx="60079">
                  <c:v>29448</c:v>
                </c:pt>
                <c:pt idx="60080">
                  <c:v>48450</c:v>
                </c:pt>
                <c:pt idx="60081">
                  <c:v>199332</c:v>
                </c:pt>
                <c:pt idx="60082">
                  <c:v>43906</c:v>
                </c:pt>
                <c:pt idx="60083">
                  <c:v>39813</c:v>
                </c:pt>
                <c:pt idx="60084">
                  <c:v>35737</c:v>
                </c:pt>
                <c:pt idx="60085">
                  <c:v>49467</c:v>
                </c:pt>
                <c:pt idx="60086">
                  <c:v>40942</c:v>
                </c:pt>
                <c:pt idx="60087">
                  <c:v>45451</c:v>
                </c:pt>
                <c:pt idx="60088">
                  <c:v>69434</c:v>
                </c:pt>
                <c:pt idx="60089">
                  <c:v>25257</c:v>
                </c:pt>
                <c:pt idx="60090">
                  <c:v>108694</c:v>
                </c:pt>
                <c:pt idx="60091">
                  <c:v>39651</c:v>
                </c:pt>
                <c:pt idx="60092">
                  <c:v>156738</c:v>
                </c:pt>
                <c:pt idx="60093">
                  <c:v>38317</c:v>
                </c:pt>
                <c:pt idx="60094">
                  <c:v>28050</c:v>
                </c:pt>
                <c:pt idx="60095">
                  <c:v>60714</c:v>
                </c:pt>
                <c:pt idx="60096">
                  <c:v>29939</c:v>
                </c:pt>
                <c:pt idx="60097">
                  <c:v>64148</c:v>
                </c:pt>
                <c:pt idx="60098">
                  <c:v>38222</c:v>
                </c:pt>
                <c:pt idx="60099">
                  <c:v>41719</c:v>
                </c:pt>
                <c:pt idx="60100">
                  <c:v>34563</c:v>
                </c:pt>
                <c:pt idx="60101">
                  <c:v>26126</c:v>
                </c:pt>
                <c:pt idx="60102">
                  <c:v>31703</c:v>
                </c:pt>
                <c:pt idx="60103">
                  <c:v>38211</c:v>
                </c:pt>
                <c:pt idx="60104">
                  <c:v>65836</c:v>
                </c:pt>
                <c:pt idx="60105">
                  <c:v>57757</c:v>
                </c:pt>
                <c:pt idx="60106">
                  <c:v>32500</c:v>
                </c:pt>
                <c:pt idx="60107">
                  <c:v>53879</c:v>
                </c:pt>
                <c:pt idx="60108">
                  <c:v>36196</c:v>
                </c:pt>
                <c:pt idx="60109">
                  <c:v>150689</c:v>
                </c:pt>
                <c:pt idx="60110">
                  <c:v>57480</c:v>
                </c:pt>
                <c:pt idx="60111">
                  <c:v>32084</c:v>
                </c:pt>
                <c:pt idx="60112">
                  <c:v>36141</c:v>
                </c:pt>
                <c:pt idx="60113">
                  <c:v>32177</c:v>
                </c:pt>
                <c:pt idx="60114">
                  <c:v>22802</c:v>
                </c:pt>
                <c:pt idx="60115">
                  <c:v>118742</c:v>
                </c:pt>
                <c:pt idx="60116">
                  <c:v>95990</c:v>
                </c:pt>
                <c:pt idx="60117">
                  <c:v>21907</c:v>
                </c:pt>
                <c:pt idx="60118">
                  <c:v>27369</c:v>
                </c:pt>
                <c:pt idx="60119">
                  <c:v>135977</c:v>
                </c:pt>
                <c:pt idx="60120">
                  <c:v>34643</c:v>
                </c:pt>
                <c:pt idx="60121">
                  <c:v>23275</c:v>
                </c:pt>
                <c:pt idx="60122">
                  <c:v>36569</c:v>
                </c:pt>
                <c:pt idx="60123">
                  <c:v>40754</c:v>
                </c:pt>
                <c:pt idx="60124">
                  <c:v>96004</c:v>
                </c:pt>
                <c:pt idx="60125">
                  <c:v>43542</c:v>
                </c:pt>
                <c:pt idx="60126">
                  <c:v>40213</c:v>
                </c:pt>
                <c:pt idx="60127">
                  <c:v>122961</c:v>
                </c:pt>
                <c:pt idx="60128">
                  <c:v>41638</c:v>
                </c:pt>
                <c:pt idx="60129">
                  <c:v>49301</c:v>
                </c:pt>
                <c:pt idx="60130">
                  <c:v>211184</c:v>
                </c:pt>
                <c:pt idx="60131">
                  <c:v>41141</c:v>
                </c:pt>
                <c:pt idx="60132">
                  <c:v>36106</c:v>
                </c:pt>
                <c:pt idx="60133">
                  <c:v>25281</c:v>
                </c:pt>
                <c:pt idx="60134">
                  <c:v>268861</c:v>
                </c:pt>
                <c:pt idx="60135">
                  <c:v>40625</c:v>
                </c:pt>
                <c:pt idx="60136">
                  <c:v>29348</c:v>
                </c:pt>
                <c:pt idx="60137">
                  <c:v>96156</c:v>
                </c:pt>
                <c:pt idx="60138">
                  <c:v>32688</c:v>
                </c:pt>
                <c:pt idx="60139">
                  <c:v>34974</c:v>
                </c:pt>
                <c:pt idx="60140">
                  <c:v>26179</c:v>
                </c:pt>
                <c:pt idx="60141">
                  <c:v>34611</c:v>
                </c:pt>
                <c:pt idx="60142">
                  <c:v>99642</c:v>
                </c:pt>
                <c:pt idx="60143">
                  <c:v>200609</c:v>
                </c:pt>
                <c:pt idx="60144">
                  <c:v>33482</c:v>
                </c:pt>
                <c:pt idx="60145">
                  <c:v>40065</c:v>
                </c:pt>
                <c:pt idx="60146">
                  <c:v>25571</c:v>
                </c:pt>
                <c:pt idx="60147">
                  <c:v>45631</c:v>
                </c:pt>
                <c:pt idx="60148">
                  <c:v>76661</c:v>
                </c:pt>
                <c:pt idx="60149">
                  <c:v>30432</c:v>
                </c:pt>
                <c:pt idx="60150">
                  <c:v>93914</c:v>
                </c:pt>
                <c:pt idx="60151">
                  <c:v>38342</c:v>
                </c:pt>
                <c:pt idx="60152">
                  <c:v>25530</c:v>
                </c:pt>
                <c:pt idx="60153">
                  <c:v>42393</c:v>
                </c:pt>
                <c:pt idx="60154">
                  <c:v>100145</c:v>
                </c:pt>
                <c:pt idx="60155">
                  <c:v>28839</c:v>
                </c:pt>
                <c:pt idx="60156">
                  <c:v>88083</c:v>
                </c:pt>
                <c:pt idx="60157">
                  <c:v>21531</c:v>
                </c:pt>
                <c:pt idx="60158">
                  <c:v>46601</c:v>
                </c:pt>
                <c:pt idx="60159">
                  <c:v>70230</c:v>
                </c:pt>
                <c:pt idx="60160">
                  <c:v>24078</c:v>
                </c:pt>
                <c:pt idx="60161">
                  <c:v>42106</c:v>
                </c:pt>
                <c:pt idx="60162">
                  <c:v>23809</c:v>
                </c:pt>
                <c:pt idx="60163">
                  <c:v>81794</c:v>
                </c:pt>
                <c:pt idx="60164">
                  <c:v>55720</c:v>
                </c:pt>
                <c:pt idx="60165">
                  <c:v>33536</c:v>
                </c:pt>
                <c:pt idx="60166">
                  <c:v>72086</c:v>
                </c:pt>
                <c:pt idx="60167">
                  <c:v>102507</c:v>
                </c:pt>
                <c:pt idx="60168">
                  <c:v>32293</c:v>
                </c:pt>
                <c:pt idx="60169">
                  <c:v>19726</c:v>
                </c:pt>
                <c:pt idx="60170">
                  <c:v>89698</c:v>
                </c:pt>
                <c:pt idx="60171">
                  <c:v>53993</c:v>
                </c:pt>
                <c:pt idx="60172">
                  <c:v>69221</c:v>
                </c:pt>
                <c:pt idx="60173">
                  <c:v>242171</c:v>
                </c:pt>
                <c:pt idx="60174">
                  <c:v>27167</c:v>
                </c:pt>
                <c:pt idx="60175">
                  <c:v>335878</c:v>
                </c:pt>
                <c:pt idx="60176">
                  <c:v>88021</c:v>
                </c:pt>
                <c:pt idx="60177">
                  <c:v>27650</c:v>
                </c:pt>
                <c:pt idx="60178">
                  <c:v>49867</c:v>
                </c:pt>
                <c:pt idx="60179">
                  <c:v>44118</c:v>
                </c:pt>
                <c:pt idx="60180">
                  <c:v>28186</c:v>
                </c:pt>
                <c:pt idx="60181">
                  <c:v>91407</c:v>
                </c:pt>
                <c:pt idx="60182">
                  <c:v>48602</c:v>
                </c:pt>
                <c:pt idx="60183">
                  <c:v>55784</c:v>
                </c:pt>
                <c:pt idx="60184">
                  <c:v>40320</c:v>
                </c:pt>
                <c:pt idx="60185">
                  <c:v>39613</c:v>
                </c:pt>
                <c:pt idx="60186">
                  <c:v>244003</c:v>
                </c:pt>
                <c:pt idx="60187">
                  <c:v>39958</c:v>
                </c:pt>
                <c:pt idx="60188">
                  <c:v>229960</c:v>
                </c:pt>
                <c:pt idx="60189">
                  <c:v>43522</c:v>
                </c:pt>
                <c:pt idx="60190">
                  <c:v>44647</c:v>
                </c:pt>
                <c:pt idx="60191">
                  <c:v>62980</c:v>
                </c:pt>
                <c:pt idx="60192">
                  <c:v>27382</c:v>
                </c:pt>
                <c:pt idx="60193">
                  <c:v>67292</c:v>
                </c:pt>
                <c:pt idx="60194">
                  <c:v>47808</c:v>
                </c:pt>
                <c:pt idx="60195">
                  <c:v>249237</c:v>
                </c:pt>
                <c:pt idx="60196">
                  <c:v>59877</c:v>
                </c:pt>
                <c:pt idx="60197">
                  <c:v>149069</c:v>
                </c:pt>
                <c:pt idx="60198">
                  <c:v>54929</c:v>
                </c:pt>
                <c:pt idx="60199">
                  <c:v>69602</c:v>
                </c:pt>
                <c:pt idx="60200">
                  <c:v>40616</c:v>
                </c:pt>
                <c:pt idx="60201">
                  <c:v>31645</c:v>
                </c:pt>
                <c:pt idx="60202">
                  <c:v>113872</c:v>
                </c:pt>
                <c:pt idx="60203">
                  <c:v>30704</c:v>
                </c:pt>
                <c:pt idx="60204">
                  <c:v>90942</c:v>
                </c:pt>
                <c:pt idx="60205">
                  <c:v>38645</c:v>
                </c:pt>
                <c:pt idx="60206">
                  <c:v>26695</c:v>
                </c:pt>
                <c:pt idx="60207">
                  <c:v>31252</c:v>
                </c:pt>
                <c:pt idx="60208">
                  <c:v>60664</c:v>
                </c:pt>
                <c:pt idx="60209">
                  <c:v>45771</c:v>
                </c:pt>
                <c:pt idx="60210">
                  <c:v>35962</c:v>
                </c:pt>
                <c:pt idx="60211">
                  <c:v>50626</c:v>
                </c:pt>
                <c:pt idx="60212">
                  <c:v>43871</c:v>
                </c:pt>
                <c:pt idx="60213">
                  <c:v>50303</c:v>
                </c:pt>
                <c:pt idx="60214">
                  <c:v>41764</c:v>
                </c:pt>
                <c:pt idx="60215">
                  <c:v>44726</c:v>
                </c:pt>
                <c:pt idx="60216">
                  <c:v>221343</c:v>
                </c:pt>
                <c:pt idx="60217">
                  <c:v>195338</c:v>
                </c:pt>
                <c:pt idx="60218">
                  <c:v>115841</c:v>
                </c:pt>
                <c:pt idx="60219">
                  <c:v>100390</c:v>
                </c:pt>
                <c:pt idx="60220">
                  <c:v>24250</c:v>
                </c:pt>
                <c:pt idx="60221">
                  <c:v>154548</c:v>
                </c:pt>
                <c:pt idx="60222">
                  <c:v>38114</c:v>
                </c:pt>
                <c:pt idx="60223">
                  <c:v>59732</c:v>
                </c:pt>
                <c:pt idx="60224">
                  <c:v>56651</c:v>
                </c:pt>
                <c:pt idx="60225">
                  <c:v>32473</c:v>
                </c:pt>
                <c:pt idx="60226">
                  <c:v>37001</c:v>
                </c:pt>
                <c:pt idx="60227">
                  <c:v>22498</c:v>
                </c:pt>
                <c:pt idx="60228">
                  <c:v>51356</c:v>
                </c:pt>
                <c:pt idx="60229">
                  <c:v>47766</c:v>
                </c:pt>
                <c:pt idx="60230">
                  <c:v>73468</c:v>
                </c:pt>
                <c:pt idx="60231">
                  <c:v>63543</c:v>
                </c:pt>
                <c:pt idx="60232">
                  <c:v>47203</c:v>
                </c:pt>
                <c:pt idx="60233">
                  <c:v>28854</c:v>
                </c:pt>
                <c:pt idx="60234">
                  <c:v>36066</c:v>
                </c:pt>
                <c:pt idx="60235">
                  <c:v>61545</c:v>
                </c:pt>
                <c:pt idx="60236">
                  <c:v>28409</c:v>
                </c:pt>
                <c:pt idx="60237">
                  <c:v>47904</c:v>
                </c:pt>
                <c:pt idx="60238">
                  <c:v>40896</c:v>
                </c:pt>
                <c:pt idx="60239">
                  <c:v>32779</c:v>
                </c:pt>
                <c:pt idx="60240">
                  <c:v>64582</c:v>
                </c:pt>
                <c:pt idx="60241">
                  <c:v>39785</c:v>
                </c:pt>
                <c:pt idx="60242">
                  <c:v>75595</c:v>
                </c:pt>
                <c:pt idx="60243">
                  <c:v>34071</c:v>
                </c:pt>
                <c:pt idx="60244">
                  <c:v>62625</c:v>
                </c:pt>
                <c:pt idx="60245">
                  <c:v>45456</c:v>
                </c:pt>
                <c:pt idx="60246">
                  <c:v>31456</c:v>
                </c:pt>
                <c:pt idx="60247">
                  <c:v>67139</c:v>
                </c:pt>
                <c:pt idx="60248">
                  <c:v>35656</c:v>
                </c:pt>
                <c:pt idx="60249">
                  <c:v>77208</c:v>
                </c:pt>
                <c:pt idx="60250">
                  <c:v>41516</c:v>
                </c:pt>
                <c:pt idx="60251">
                  <c:v>42599</c:v>
                </c:pt>
                <c:pt idx="60252">
                  <c:v>28163</c:v>
                </c:pt>
                <c:pt idx="60253">
                  <c:v>115423</c:v>
                </c:pt>
                <c:pt idx="60254">
                  <c:v>24680</c:v>
                </c:pt>
                <c:pt idx="60255">
                  <c:v>133514</c:v>
                </c:pt>
                <c:pt idx="60256">
                  <c:v>54479</c:v>
                </c:pt>
                <c:pt idx="60257">
                  <c:v>100613</c:v>
                </c:pt>
                <c:pt idx="60258">
                  <c:v>152150</c:v>
                </c:pt>
                <c:pt idx="60259">
                  <c:v>34723</c:v>
                </c:pt>
                <c:pt idx="60260">
                  <c:v>372422</c:v>
                </c:pt>
                <c:pt idx="60261">
                  <c:v>190077</c:v>
                </c:pt>
                <c:pt idx="60262">
                  <c:v>29791</c:v>
                </c:pt>
                <c:pt idx="60263">
                  <c:v>29923</c:v>
                </c:pt>
                <c:pt idx="60264">
                  <c:v>31560</c:v>
                </c:pt>
                <c:pt idx="60265">
                  <c:v>32001</c:v>
                </c:pt>
                <c:pt idx="60266">
                  <c:v>55842</c:v>
                </c:pt>
                <c:pt idx="60267">
                  <c:v>51831</c:v>
                </c:pt>
                <c:pt idx="60268">
                  <c:v>39666</c:v>
                </c:pt>
                <c:pt idx="60269">
                  <c:v>68245</c:v>
                </c:pt>
                <c:pt idx="60270">
                  <c:v>29742</c:v>
                </c:pt>
                <c:pt idx="60271">
                  <c:v>52058</c:v>
                </c:pt>
                <c:pt idx="60272">
                  <c:v>33193</c:v>
                </c:pt>
                <c:pt idx="60273">
                  <c:v>24249</c:v>
                </c:pt>
                <c:pt idx="60274">
                  <c:v>37680</c:v>
                </c:pt>
                <c:pt idx="60275">
                  <c:v>47323</c:v>
                </c:pt>
                <c:pt idx="60276">
                  <c:v>48404</c:v>
                </c:pt>
                <c:pt idx="60277">
                  <c:v>46631</c:v>
                </c:pt>
                <c:pt idx="60278">
                  <c:v>79725</c:v>
                </c:pt>
                <c:pt idx="60279">
                  <c:v>28379</c:v>
                </c:pt>
                <c:pt idx="60280">
                  <c:v>48671</c:v>
                </c:pt>
                <c:pt idx="60281">
                  <c:v>41136</c:v>
                </c:pt>
                <c:pt idx="60282">
                  <c:v>33184</c:v>
                </c:pt>
                <c:pt idx="60283">
                  <c:v>40763</c:v>
                </c:pt>
                <c:pt idx="60284">
                  <c:v>29658</c:v>
                </c:pt>
                <c:pt idx="60285">
                  <c:v>41745</c:v>
                </c:pt>
                <c:pt idx="60286">
                  <c:v>41927</c:v>
                </c:pt>
                <c:pt idx="60287">
                  <c:v>41748</c:v>
                </c:pt>
                <c:pt idx="60288">
                  <c:v>55220</c:v>
                </c:pt>
                <c:pt idx="60289">
                  <c:v>42177</c:v>
                </c:pt>
                <c:pt idx="60290">
                  <c:v>42539</c:v>
                </c:pt>
                <c:pt idx="60291">
                  <c:v>38621</c:v>
                </c:pt>
                <c:pt idx="60292">
                  <c:v>60778</c:v>
                </c:pt>
                <c:pt idx="60293">
                  <c:v>153469</c:v>
                </c:pt>
                <c:pt idx="60294">
                  <c:v>50288</c:v>
                </c:pt>
                <c:pt idx="60295">
                  <c:v>101611</c:v>
                </c:pt>
                <c:pt idx="60296">
                  <c:v>15000</c:v>
                </c:pt>
                <c:pt idx="60297">
                  <c:v>56798</c:v>
                </c:pt>
                <c:pt idx="60298">
                  <c:v>112010</c:v>
                </c:pt>
                <c:pt idx="60299">
                  <c:v>26621</c:v>
                </c:pt>
                <c:pt idx="60300">
                  <c:v>34079</c:v>
                </c:pt>
                <c:pt idx="60301">
                  <c:v>40005</c:v>
                </c:pt>
                <c:pt idx="60302">
                  <c:v>32369</c:v>
                </c:pt>
                <c:pt idx="60303">
                  <c:v>35573</c:v>
                </c:pt>
                <c:pt idx="60304">
                  <c:v>29980</c:v>
                </c:pt>
                <c:pt idx="60305">
                  <c:v>45393</c:v>
                </c:pt>
                <c:pt idx="60306">
                  <c:v>39551</c:v>
                </c:pt>
                <c:pt idx="60307">
                  <c:v>49347</c:v>
                </c:pt>
                <c:pt idx="60308">
                  <c:v>142539</c:v>
                </c:pt>
                <c:pt idx="60309">
                  <c:v>55630</c:v>
                </c:pt>
                <c:pt idx="60310">
                  <c:v>27276</c:v>
                </c:pt>
                <c:pt idx="60311">
                  <c:v>24921</c:v>
                </c:pt>
                <c:pt idx="60312">
                  <c:v>24755</c:v>
                </c:pt>
                <c:pt idx="60313">
                  <c:v>27716</c:v>
                </c:pt>
                <c:pt idx="60314">
                  <c:v>35051</c:v>
                </c:pt>
                <c:pt idx="60315">
                  <c:v>40356</c:v>
                </c:pt>
                <c:pt idx="60316">
                  <c:v>93955</c:v>
                </c:pt>
                <c:pt idx="60317">
                  <c:v>41898</c:v>
                </c:pt>
                <c:pt idx="60318">
                  <c:v>34296</c:v>
                </c:pt>
                <c:pt idx="60319">
                  <c:v>40353</c:v>
                </c:pt>
                <c:pt idx="60320">
                  <c:v>105291</c:v>
                </c:pt>
                <c:pt idx="60321">
                  <c:v>344267</c:v>
                </c:pt>
                <c:pt idx="60322">
                  <c:v>127584</c:v>
                </c:pt>
                <c:pt idx="60323">
                  <c:v>32930</c:v>
                </c:pt>
                <c:pt idx="60324">
                  <c:v>29397</c:v>
                </c:pt>
                <c:pt idx="60325">
                  <c:v>30738</c:v>
                </c:pt>
                <c:pt idx="60326">
                  <c:v>33452</c:v>
                </c:pt>
                <c:pt idx="60327">
                  <c:v>69030</c:v>
                </c:pt>
                <c:pt idx="60328">
                  <c:v>24206</c:v>
                </c:pt>
                <c:pt idx="60329">
                  <c:v>33981</c:v>
                </c:pt>
                <c:pt idx="60330">
                  <c:v>33365</c:v>
                </c:pt>
                <c:pt idx="60331">
                  <c:v>29631</c:v>
                </c:pt>
                <c:pt idx="60332">
                  <c:v>44678</c:v>
                </c:pt>
                <c:pt idx="60333">
                  <c:v>36448</c:v>
                </c:pt>
                <c:pt idx="60334">
                  <c:v>40729</c:v>
                </c:pt>
                <c:pt idx="60335">
                  <c:v>21506</c:v>
                </c:pt>
                <c:pt idx="60336">
                  <c:v>28828</c:v>
                </c:pt>
                <c:pt idx="60337">
                  <c:v>35368</c:v>
                </c:pt>
                <c:pt idx="60338">
                  <c:v>105371</c:v>
                </c:pt>
                <c:pt idx="60339">
                  <c:v>152468</c:v>
                </c:pt>
                <c:pt idx="60340">
                  <c:v>44050</c:v>
                </c:pt>
                <c:pt idx="60341">
                  <c:v>106608</c:v>
                </c:pt>
                <c:pt idx="60342">
                  <c:v>88466</c:v>
                </c:pt>
                <c:pt idx="60343">
                  <c:v>58492</c:v>
                </c:pt>
                <c:pt idx="60344">
                  <c:v>22958</c:v>
                </c:pt>
                <c:pt idx="60345">
                  <c:v>111490</c:v>
                </c:pt>
                <c:pt idx="60346">
                  <c:v>58957</c:v>
                </c:pt>
                <c:pt idx="60347">
                  <c:v>48632</c:v>
                </c:pt>
                <c:pt idx="60348">
                  <c:v>54642</c:v>
                </c:pt>
                <c:pt idx="60349">
                  <c:v>32070</c:v>
                </c:pt>
                <c:pt idx="60350">
                  <c:v>26599</c:v>
                </c:pt>
                <c:pt idx="60351">
                  <c:v>91289</c:v>
                </c:pt>
                <c:pt idx="60352">
                  <c:v>33680</c:v>
                </c:pt>
                <c:pt idx="60353">
                  <c:v>77348</c:v>
                </c:pt>
                <c:pt idx="60354">
                  <c:v>37210</c:v>
                </c:pt>
                <c:pt idx="60355">
                  <c:v>43191</c:v>
                </c:pt>
                <c:pt idx="60356">
                  <c:v>21495</c:v>
                </c:pt>
                <c:pt idx="60357">
                  <c:v>52581</c:v>
                </c:pt>
                <c:pt idx="60358">
                  <c:v>126381</c:v>
                </c:pt>
                <c:pt idx="60359">
                  <c:v>41103</c:v>
                </c:pt>
                <c:pt idx="60360">
                  <c:v>53878</c:v>
                </c:pt>
                <c:pt idx="60361">
                  <c:v>26354</c:v>
                </c:pt>
                <c:pt idx="60362">
                  <c:v>41096</c:v>
                </c:pt>
                <c:pt idx="60363">
                  <c:v>62350</c:v>
                </c:pt>
                <c:pt idx="60364">
                  <c:v>58325</c:v>
                </c:pt>
                <c:pt idx="60365">
                  <c:v>157526</c:v>
                </c:pt>
                <c:pt idx="60366">
                  <c:v>35676</c:v>
                </c:pt>
                <c:pt idx="60367">
                  <c:v>147788</c:v>
                </c:pt>
                <c:pt idx="60368">
                  <c:v>34234</c:v>
                </c:pt>
                <c:pt idx="60369">
                  <c:v>49113</c:v>
                </c:pt>
                <c:pt idx="60370">
                  <c:v>130185</c:v>
                </c:pt>
                <c:pt idx="60371">
                  <c:v>276023</c:v>
                </c:pt>
                <c:pt idx="60372">
                  <c:v>272690</c:v>
                </c:pt>
                <c:pt idx="60373">
                  <c:v>44469</c:v>
                </c:pt>
                <c:pt idx="60374">
                  <c:v>35349</c:v>
                </c:pt>
                <c:pt idx="60375">
                  <c:v>33884</c:v>
                </c:pt>
                <c:pt idx="60376">
                  <c:v>88562</c:v>
                </c:pt>
                <c:pt idx="60377">
                  <c:v>42764</c:v>
                </c:pt>
                <c:pt idx="60378">
                  <c:v>234898</c:v>
                </c:pt>
                <c:pt idx="60379">
                  <c:v>25836</c:v>
                </c:pt>
                <c:pt idx="60380">
                  <c:v>161085</c:v>
                </c:pt>
                <c:pt idx="60381">
                  <c:v>80377</c:v>
                </c:pt>
                <c:pt idx="60382">
                  <c:v>246561</c:v>
                </c:pt>
                <c:pt idx="60383">
                  <c:v>38964</c:v>
                </c:pt>
                <c:pt idx="60384">
                  <c:v>47265</c:v>
                </c:pt>
                <c:pt idx="60385">
                  <c:v>45662</c:v>
                </c:pt>
                <c:pt idx="60386">
                  <c:v>63124</c:v>
                </c:pt>
                <c:pt idx="60387">
                  <c:v>49842</c:v>
                </c:pt>
                <c:pt idx="60388">
                  <c:v>30535</c:v>
                </c:pt>
                <c:pt idx="60389">
                  <c:v>200230</c:v>
                </c:pt>
                <c:pt idx="60390">
                  <c:v>22816</c:v>
                </c:pt>
                <c:pt idx="60391">
                  <c:v>30799</c:v>
                </c:pt>
                <c:pt idx="60392">
                  <c:v>43255</c:v>
                </c:pt>
                <c:pt idx="60393">
                  <c:v>36980</c:v>
                </c:pt>
                <c:pt idx="60394">
                  <c:v>120137</c:v>
                </c:pt>
                <c:pt idx="60395">
                  <c:v>74433</c:v>
                </c:pt>
                <c:pt idx="60396">
                  <c:v>77115</c:v>
                </c:pt>
                <c:pt idx="60397">
                  <c:v>72880</c:v>
                </c:pt>
                <c:pt idx="60398">
                  <c:v>31908</c:v>
                </c:pt>
                <c:pt idx="60399">
                  <c:v>25993</c:v>
                </c:pt>
                <c:pt idx="60400">
                  <c:v>66993</c:v>
                </c:pt>
                <c:pt idx="60401">
                  <c:v>54231</c:v>
                </c:pt>
                <c:pt idx="60402">
                  <c:v>166193</c:v>
                </c:pt>
                <c:pt idx="60403">
                  <c:v>42995</c:v>
                </c:pt>
                <c:pt idx="60404">
                  <c:v>26095</c:v>
                </c:pt>
                <c:pt idx="60405">
                  <c:v>62944</c:v>
                </c:pt>
                <c:pt idx="60406">
                  <c:v>160794</c:v>
                </c:pt>
                <c:pt idx="60407">
                  <c:v>21179</c:v>
                </c:pt>
                <c:pt idx="60408">
                  <c:v>38760</c:v>
                </c:pt>
                <c:pt idx="60409">
                  <c:v>30039</c:v>
                </c:pt>
                <c:pt idx="60410">
                  <c:v>62339</c:v>
                </c:pt>
                <c:pt idx="60411">
                  <c:v>21572</c:v>
                </c:pt>
                <c:pt idx="60412">
                  <c:v>39474</c:v>
                </c:pt>
                <c:pt idx="60413">
                  <c:v>23281</c:v>
                </c:pt>
                <c:pt idx="60414">
                  <c:v>76861</c:v>
                </c:pt>
                <c:pt idx="60415">
                  <c:v>24909</c:v>
                </c:pt>
                <c:pt idx="60416">
                  <c:v>35287</c:v>
                </c:pt>
                <c:pt idx="60417">
                  <c:v>60614</c:v>
                </c:pt>
                <c:pt idx="60418">
                  <c:v>35525</c:v>
                </c:pt>
                <c:pt idx="60419">
                  <c:v>50146</c:v>
                </c:pt>
                <c:pt idx="60420">
                  <c:v>26334</c:v>
                </c:pt>
                <c:pt idx="60421">
                  <c:v>66951</c:v>
                </c:pt>
                <c:pt idx="60422">
                  <c:v>37093</c:v>
                </c:pt>
                <c:pt idx="60423">
                  <c:v>28397</c:v>
                </c:pt>
                <c:pt idx="60424">
                  <c:v>60603</c:v>
                </c:pt>
                <c:pt idx="60425">
                  <c:v>110894</c:v>
                </c:pt>
                <c:pt idx="60426">
                  <c:v>31788</c:v>
                </c:pt>
                <c:pt idx="60427">
                  <c:v>74848</c:v>
                </c:pt>
                <c:pt idx="60428">
                  <c:v>45398</c:v>
                </c:pt>
                <c:pt idx="60429">
                  <c:v>39934</c:v>
                </c:pt>
                <c:pt idx="60430">
                  <c:v>25437</c:v>
                </c:pt>
                <c:pt idx="60431">
                  <c:v>46989</c:v>
                </c:pt>
                <c:pt idx="60432">
                  <c:v>44253</c:v>
                </c:pt>
                <c:pt idx="60433">
                  <c:v>38302</c:v>
                </c:pt>
                <c:pt idx="60434">
                  <c:v>117004</c:v>
                </c:pt>
                <c:pt idx="60435">
                  <c:v>75186</c:v>
                </c:pt>
                <c:pt idx="60436">
                  <c:v>36516</c:v>
                </c:pt>
                <c:pt idx="60437">
                  <c:v>32808</c:v>
                </c:pt>
                <c:pt idx="60438">
                  <c:v>44589</c:v>
                </c:pt>
                <c:pt idx="60439">
                  <c:v>42572</c:v>
                </c:pt>
                <c:pt idx="60440">
                  <c:v>41949</c:v>
                </c:pt>
                <c:pt idx="60441">
                  <c:v>54944</c:v>
                </c:pt>
                <c:pt idx="60442">
                  <c:v>21403</c:v>
                </c:pt>
                <c:pt idx="60443">
                  <c:v>38659</c:v>
                </c:pt>
                <c:pt idx="60444">
                  <c:v>34964</c:v>
                </c:pt>
                <c:pt idx="60445">
                  <c:v>28157</c:v>
                </c:pt>
                <c:pt idx="60446">
                  <c:v>41229</c:v>
                </c:pt>
                <c:pt idx="60447">
                  <c:v>43997</c:v>
                </c:pt>
                <c:pt idx="60448">
                  <c:v>32280</c:v>
                </c:pt>
                <c:pt idx="60449">
                  <c:v>38414</c:v>
                </c:pt>
                <c:pt idx="60450">
                  <c:v>47489</c:v>
                </c:pt>
                <c:pt idx="60451">
                  <c:v>31230</c:v>
                </c:pt>
                <c:pt idx="60452">
                  <c:v>213243</c:v>
                </c:pt>
                <c:pt idx="60453">
                  <c:v>29481</c:v>
                </c:pt>
                <c:pt idx="60454">
                  <c:v>54291</c:v>
                </c:pt>
                <c:pt idx="60455">
                  <c:v>58579</c:v>
                </c:pt>
                <c:pt idx="60456">
                  <c:v>34216</c:v>
                </c:pt>
                <c:pt idx="60457">
                  <c:v>26247</c:v>
                </c:pt>
                <c:pt idx="60458">
                  <c:v>182598</c:v>
                </c:pt>
                <c:pt idx="60459">
                  <c:v>89448</c:v>
                </c:pt>
                <c:pt idx="60460">
                  <c:v>128514</c:v>
                </c:pt>
                <c:pt idx="60461">
                  <c:v>44961</c:v>
                </c:pt>
                <c:pt idx="60462">
                  <c:v>33852</c:v>
                </c:pt>
                <c:pt idx="60463">
                  <c:v>28066</c:v>
                </c:pt>
                <c:pt idx="60464">
                  <c:v>27434</c:v>
                </c:pt>
                <c:pt idx="60465">
                  <c:v>39648</c:v>
                </c:pt>
                <c:pt idx="60466">
                  <c:v>55152</c:v>
                </c:pt>
                <c:pt idx="60467">
                  <c:v>39572</c:v>
                </c:pt>
                <c:pt idx="60468">
                  <c:v>37481</c:v>
                </c:pt>
                <c:pt idx="60469">
                  <c:v>35289</c:v>
                </c:pt>
                <c:pt idx="60470">
                  <c:v>84982</c:v>
                </c:pt>
                <c:pt idx="60471">
                  <c:v>36592</c:v>
                </c:pt>
                <c:pt idx="60472">
                  <c:v>49357</c:v>
                </c:pt>
                <c:pt idx="60473">
                  <c:v>31907</c:v>
                </c:pt>
                <c:pt idx="60474">
                  <c:v>22451</c:v>
                </c:pt>
                <c:pt idx="60475">
                  <c:v>31115</c:v>
                </c:pt>
                <c:pt idx="60476">
                  <c:v>31965</c:v>
                </c:pt>
                <c:pt idx="60477">
                  <c:v>204775</c:v>
                </c:pt>
                <c:pt idx="60478">
                  <c:v>94167</c:v>
                </c:pt>
                <c:pt idx="60479">
                  <c:v>54623</c:v>
                </c:pt>
                <c:pt idx="60480">
                  <c:v>40047</c:v>
                </c:pt>
                <c:pt idx="60481">
                  <c:v>22839</c:v>
                </c:pt>
                <c:pt idx="60482">
                  <c:v>174560</c:v>
                </c:pt>
                <c:pt idx="60483">
                  <c:v>51574</c:v>
                </c:pt>
                <c:pt idx="60484">
                  <c:v>71296</c:v>
                </c:pt>
                <c:pt idx="60485">
                  <c:v>54226</c:v>
                </c:pt>
                <c:pt idx="60486">
                  <c:v>23002</c:v>
                </c:pt>
                <c:pt idx="60487">
                  <c:v>76918</c:v>
                </c:pt>
                <c:pt idx="60488">
                  <c:v>74697</c:v>
                </c:pt>
                <c:pt idx="60489">
                  <c:v>108734</c:v>
                </c:pt>
                <c:pt idx="60490">
                  <c:v>35517</c:v>
                </c:pt>
                <c:pt idx="60491">
                  <c:v>114558</c:v>
                </c:pt>
                <c:pt idx="60492">
                  <c:v>129411</c:v>
                </c:pt>
                <c:pt idx="60493">
                  <c:v>32110</c:v>
                </c:pt>
                <c:pt idx="60494">
                  <c:v>24522</c:v>
                </c:pt>
                <c:pt idx="60495">
                  <c:v>34892</c:v>
                </c:pt>
                <c:pt idx="60496">
                  <c:v>30598</c:v>
                </c:pt>
                <c:pt idx="60497">
                  <c:v>28089</c:v>
                </c:pt>
                <c:pt idx="60498">
                  <c:v>27548</c:v>
                </c:pt>
                <c:pt idx="60499">
                  <c:v>28443</c:v>
                </c:pt>
                <c:pt idx="60500">
                  <c:v>21865</c:v>
                </c:pt>
                <c:pt idx="60501">
                  <c:v>23942</c:v>
                </c:pt>
                <c:pt idx="60502">
                  <c:v>240355</c:v>
                </c:pt>
                <c:pt idx="60503">
                  <c:v>32221</c:v>
                </c:pt>
                <c:pt idx="60504">
                  <c:v>142200</c:v>
                </c:pt>
                <c:pt idx="60505">
                  <c:v>53543</c:v>
                </c:pt>
                <c:pt idx="60506">
                  <c:v>72893</c:v>
                </c:pt>
                <c:pt idx="60507">
                  <c:v>106773</c:v>
                </c:pt>
                <c:pt idx="60508">
                  <c:v>37041</c:v>
                </c:pt>
                <c:pt idx="60509">
                  <c:v>48558</c:v>
                </c:pt>
                <c:pt idx="60510">
                  <c:v>65352</c:v>
                </c:pt>
                <c:pt idx="60511">
                  <c:v>44325</c:v>
                </c:pt>
                <c:pt idx="60512">
                  <c:v>34916</c:v>
                </c:pt>
                <c:pt idx="60513">
                  <c:v>33968</c:v>
                </c:pt>
                <c:pt idx="60514">
                  <c:v>27501</c:v>
                </c:pt>
                <c:pt idx="60515">
                  <c:v>24727</c:v>
                </c:pt>
                <c:pt idx="60516">
                  <c:v>46007</c:v>
                </c:pt>
                <c:pt idx="60517">
                  <c:v>46958</c:v>
                </c:pt>
                <c:pt idx="60518">
                  <c:v>215002</c:v>
                </c:pt>
                <c:pt idx="60519">
                  <c:v>37659</c:v>
                </c:pt>
                <c:pt idx="60520">
                  <c:v>36522</c:v>
                </c:pt>
                <c:pt idx="60521">
                  <c:v>111052</c:v>
                </c:pt>
                <c:pt idx="60522">
                  <c:v>35845</c:v>
                </c:pt>
                <c:pt idx="60523">
                  <c:v>142250</c:v>
                </c:pt>
                <c:pt idx="60524">
                  <c:v>26850</c:v>
                </c:pt>
                <c:pt idx="60525">
                  <c:v>26247</c:v>
                </c:pt>
                <c:pt idx="60526">
                  <c:v>65386</c:v>
                </c:pt>
                <c:pt idx="60527">
                  <c:v>40770</c:v>
                </c:pt>
                <c:pt idx="60528">
                  <c:v>39841</c:v>
                </c:pt>
                <c:pt idx="60529">
                  <c:v>52241</c:v>
                </c:pt>
                <c:pt idx="60530">
                  <c:v>46243</c:v>
                </c:pt>
                <c:pt idx="60531">
                  <c:v>65891</c:v>
                </c:pt>
                <c:pt idx="60532">
                  <c:v>38615</c:v>
                </c:pt>
                <c:pt idx="60533">
                  <c:v>40492</c:v>
                </c:pt>
                <c:pt idx="60534">
                  <c:v>56399</c:v>
                </c:pt>
                <c:pt idx="60535">
                  <c:v>41480</c:v>
                </c:pt>
                <c:pt idx="60536">
                  <c:v>40518</c:v>
                </c:pt>
                <c:pt idx="60537">
                  <c:v>109447</c:v>
                </c:pt>
                <c:pt idx="60538">
                  <c:v>51236</c:v>
                </c:pt>
                <c:pt idx="60539">
                  <c:v>26294</c:v>
                </c:pt>
                <c:pt idx="60540">
                  <c:v>30590</c:v>
                </c:pt>
                <c:pt idx="60541">
                  <c:v>30791</c:v>
                </c:pt>
                <c:pt idx="60542">
                  <c:v>31279</c:v>
                </c:pt>
                <c:pt idx="60543">
                  <c:v>36652</c:v>
                </c:pt>
                <c:pt idx="60544">
                  <c:v>48934</c:v>
                </c:pt>
                <c:pt idx="60545">
                  <c:v>28615</c:v>
                </c:pt>
                <c:pt idx="60546">
                  <c:v>24682</c:v>
                </c:pt>
                <c:pt idx="60547">
                  <c:v>49090</c:v>
                </c:pt>
                <c:pt idx="60548">
                  <c:v>37652</c:v>
                </c:pt>
                <c:pt idx="60549">
                  <c:v>79675</c:v>
                </c:pt>
                <c:pt idx="60550">
                  <c:v>241401</c:v>
                </c:pt>
                <c:pt idx="60551">
                  <c:v>36550</c:v>
                </c:pt>
                <c:pt idx="60552">
                  <c:v>27166</c:v>
                </c:pt>
                <c:pt idx="60553">
                  <c:v>34033</c:v>
                </c:pt>
                <c:pt idx="60554">
                  <c:v>32034</c:v>
                </c:pt>
                <c:pt idx="60555">
                  <c:v>46031</c:v>
                </c:pt>
                <c:pt idx="60556">
                  <c:v>63020</c:v>
                </c:pt>
                <c:pt idx="60557">
                  <c:v>35596</c:v>
                </c:pt>
                <c:pt idx="60558">
                  <c:v>42155</c:v>
                </c:pt>
                <c:pt idx="60559">
                  <c:v>159608</c:v>
                </c:pt>
                <c:pt idx="60560">
                  <c:v>42558</c:v>
                </c:pt>
                <c:pt idx="60561">
                  <c:v>26822</c:v>
                </c:pt>
                <c:pt idx="60562">
                  <c:v>60624</c:v>
                </c:pt>
                <c:pt idx="60563">
                  <c:v>37169</c:v>
                </c:pt>
                <c:pt idx="60564">
                  <c:v>42802</c:v>
                </c:pt>
                <c:pt idx="60565">
                  <c:v>42053</c:v>
                </c:pt>
                <c:pt idx="60566">
                  <c:v>23808</c:v>
                </c:pt>
                <c:pt idx="60567">
                  <c:v>53994</c:v>
                </c:pt>
                <c:pt idx="60568">
                  <c:v>91575</c:v>
                </c:pt>
                <c:pt idx="60569">
                  <c:v>101818</c:v>
                </c:pt>
                <c:pt idx="60570">
                  <c:v>45367</c:v>
                </c:pt>
                <c:pt idx="60571">
                  <c:v>40378</c:v>
                </c:pt>
                <c:pt idx="60572">
                  <c:v>59976</c:v>
                </c:pt>
                <c:pt idx="60573">
                  <c:v>49873</c:v>
                </c:pt>
                <c:pt idx="60574">
                  <c:v>25031</c:v>
                </c:pt>
                <c:pt idx="60575">
                  <c:v>22859</c:v>
                </c:pt>
                <c:pt idx="60576">
                  <c:v>143048</c:v>
                </c:pt>
                <c:pt idx="60577">
                  <c:v>30664</c:v>
                </c:pt>
                <c:pt idx="60578">
                  <c:v>45392</c:v>
                </c:pt>
                <c:pt idx="60579">
                  <c:v>23468</c:v>
                </c:pt>
                <c:pt idx="60580">
                  <c:v>34351</c:v>
                </c:pt>
                <c:pt idx="60581">
                  <c:v>84795</c:v>
                </c:pt>
                <c:pt idx="60582">
                  <c:v>84252</c:v>
                </c:pt>
                <c:pt idx="60583">
                  <c:v>49210</c:v>
                </c:pt>
                <c:pt idx="60584">
                  <c:v>33331</c:v>
                </c:pt>
                <c:pt idx="60585">
                  <c:v>30117</c:v>
                </c:pt>
                <c:pt idx="60586">
                  <c:v>27255</c:v>
                </c:pt>
                <c:pt idx="60587">
                  <c:v>43138</c:v>
                </c:pt>
                <c:pt idx="60588">
                  <c:v>25570</c:v>
                </c:pt>
                <c:pt idx="60589">
                  <c:v>34464</c:v>
                </c:pt>
                <c:pt idx="60590">
                  <c:v>111517</c:v>
                </c:pt>
                <c:pt idx="60591">
                  <c:v>101078</c:v>
                </c:pt>
                <c:pt idx="60592">
                  <c:v>40309</c:v>
                </c:pt>
                <c:pt idx="60593">
                  <c:v>55296</c:v>
                </c:pt>
                <c:pt idx="60594">
                  <c:v>90128</c:v>
                </c:pt>
                <c:pt idx="60595">
                  <c:v>64996</c:v>
                </c:pt>
                <c:pt idx="60596">
                  <c:v>25971</c:v>
                </c:pt>
                <c:pt idx="60597">
                  <c:v>40896</c:v>
                </c:pt>
                <c:pt idx="60598">
                  <c:v>116837</c:v>
                </c:pt>
                <c:pt idx="60599">
                  <c:v>37609</c:v>
                </c:pt>
                <c:pt idx="60600">
                  <c:v>41203</c:v>
                </c:pt>
                <c:pt idx="60601">
                  <c:v>45528</c:v>
                </c:pt>
                <c:pt idx="60602">
                  <c:v>26764</c:v>
                </c:pt>
                <c:pt idx="60603">
                  <c:v>37472</c:v>
                </c:pt>
                <c:pt idx="60604">
                  <c:v>219759</c:v>
                </c:pt>
                <c:pt idx="60605">
                  <c:v>55570</c:v>
                </c:pt>
                <c:pt idx="60606">
                  <c:v>66091</c:v>
                </c:pt>
                <c:pt idx="60607">
                  <c:v>23479</c:v>
                </c:pt>
                <c:pt idx="60608">
                  <c:v>39544</c:v>
                </c:pt>
                <c:pt idx="60609">
                  <c:v>41186</c:v>
                </c:pt>
                <c:pt idx="60610">
                  <c:v>37765</c:v>
                </c:pt>
                <c:pt idx="60611">
                  <c:v>26464</c:v>
                </c:pt>
                <c:pt idx="60612">
                  <c:v>31364</c:v>
                </c:pt>
                <c:pt idx="60613">
                  <c:v>111270</c:v>
                </c:pt>
                <c:pt idx="60614">
                  <c:v>191079</c:v>
                </c:pt>
                <c:pt idx="60615">
                  <c:v>40765</c:v>
                </c:pt>
                <c:pt idx="60616">
                  <c:v>31017</c:v>
                </c:pt>
                <c:pt idx="60617">
                  <c:v>71997</c:v>
                </c:pt>
                <c:pt idx="60618">
                  <c:v>38486</c:v>
                </c:pt>
                <c:pt idx="60619">
                  <c:v>61051</c:v>
                </c:pt>
                <c:pt idx="60620">
                  <c:v>52083</c:v>
                </c:pt>
                <c:pt idx="60621">
                  <c:v>49408</c:v>
                </c:pt>
                <c:pt idx="60622">
                  <c:v>48216</c:v>
                </c:pt>
                <c:pt idx="60623">
                  <c:v>57527</c:v>
                </c:pt>
                <c:pt idx="60624">
                  <c:v>103993</c:v>
                </c:pt>
                <c:pt idx="60625">
                  <c:v>23912</c:v>
                </c:pt>
                <c:pt idx="60626">
                  <c:v>23441</c:v>
                </c:pt>
                <c:pt idx="60627">
                  <c:v>36453</c:v>
                </c:pt>
                <c:pt idx="60628">
                  <c:v>25312</c:v>
                </c:pt>
                <c:pt idx="60629">
                  <c:v>55159</c:v>
                </c:pt>
                <c:pt idx="60630">
                  <c:v>34620</c:v>
                </c:pt>
                <c:pt idx="60631">
                  <c:v>41627</c:v>
                </c:pt>
                <c:pt idx="60632">
                  <c:v>45676</c:v>
                </c:pt>
                <c:pt idx="60633">
                  <c:v>32983</c:v>
                </c:pt>
                <c:pt idx="60634">
                  <c:v>105033</c:v>
                </c:pt>
                <c:pt idx="60635">
                  <c:v>115813</c:v>
                </c:pt>
                <c:pt idx="60636">
                  <c:v>51610</c:v>
                </c:pt>
                <c:pt idx="60637">
                  <c:v>156285</c:v>
                </c:pt>
                <c:pt idx="60638">
                  <c:v>40852</c:v>
                </c:pt>
                <c:pt idx="60639">
                  <c:v>65680</c:v>
                </c:pt>
                <c:pt idx="60640">
                  <c:v>115534</c:v>
                </c:pt>
                <c:pt idx="60641">
                  <c:v>110321</c:v>
                </c:pt>
                <c:pt idx="60642">
                  <c:v>88459</c:v>
                </c:pt>
                <c:pt idx="60643">
                  <c:v>48441</c:v>
                </c:pt>
                <c:pt idx="60644">
                  <c:v>23502</c:v>
                </c:pt>
                <c:pt idx="60645">
                  <c:v>97220</c:v>
                </c:pt>
                <c:pt idx="60646">
                  <c:v>59845</c:v>
                </c:pt>
                <c:pt idx="60647">
                  <c:v>37811</c:v>
                </c:pt>
                <c:pt idx="60648">
                  <c:v>49380</c:v>
                </c:pt>
                <c:pt idx="60649">
                  <c:v>56039</c:v>
                </c:pt>
                <c:pt idx="60650">
                  <c:v>52174</c:v>
                </c:pt>
                <c:pt idx="60651">
                  <c:v>38972</c:v>
                </c:pt>
                <c:pt idx="60652">
                  <c:v>69359</c:v>
                </c:pt>
                <c:pt idx="60653">
                  <c:v>69001</c:v>
                </c:pt>
                <c:pt idx="60654">
                  <c:v>50752</c:v>
                </c:pt>
                <c:pt idx="60655">
                  <c:v>41662</c:v>
                </c:pt>
                <c:pt idx="60656">
                  <c:v>50148</c:v>
                </c:pt>
                <c:pt idx="60657">
                  <c:v>26114</c:v>
                </c:pt>
                <c:pt idx="60658">
                  <c:v>113147</c:v>
                </c:pt>
                <c:pt idx="60659">
                  <c:v>115754</c:v>
                </c:pt>
                <c:pt idx="60660">
                  <c:v>142313</c:v>
                </c:pt>
                <c:pt idx="60661">
                  <c:v>40328</c:v>
                </c:pt>
                <c:pt idx="60662">
                  <c:v>45960</c:v>
                </c:pt>
                <c:pt idx="60663">
                  <c:v>24477</c:v>
                </c:pt>
                <c:pt idx="60664">
                  <c:v>62116</c:v>
                </c:pt>
                <c:pt idx="60665">
                  <c:v>27530</c:v>
                </c:pt>
                <c:pt idx="60666">
                  <c:v>125783</c:v>
                </c:pt>
                <c:pt idx="60667">
                  <c:v>102645</c:v>
                </c:pt>
                <c:pt idx="60668">
                  <c:v>50249</c:v>
                </c:pt>
                <c:pt idx="60669">
                  <c:v>104455</c:v>
                </c:pt>
                <c:pt idx="60670">
                  <c:v>25201</c:v>
                </c:pt>
                <c:pt idx="60671">
                  <c:v>26792</c:v>
                </c:pt>
                <c:pt idx="60672">
                  <c:v>30871</c:v>
                </c:pt>
                <c:pt idx="60673">
                  <c:v>25443</c:v>
                </c:pt>
                <c:pt idx="60674">
                  <c:v>79165</c:v>
                </c:pt>
                <c:pt idx="60675">
                  <c:v>156768</c:v>
                </c:pt>
                <c:pt idx="60676">
                  <c:v>41782</c:v>
                </c:pt>
                <c:pt idx="60677">
                  <c:v>42077</c:v>
                </c:pt>
                <c:pt idx="60678">
                  <c:v>48343</c:v>
                </c:pt>
                <c:pt idx="60679">
                  <c:v>181305</c:v>
                </c:pt>
                <c:pt idx="60680">
                  <c:v>50751</c:v>
                </c:pt>
                <c:pt idx="60681">
                  <c:v>21422</c:v>
                </c:pt>
                <c:pt idx="60682">
                  <c:v>78660</c:v>
                </c:pt>
                <c:pt idx="60683">
                  <c:v>91404</c:v>
                </c:pt>
                <c:pt idx="60684">
                  <c:v>30759</c:v>
                </c:pt>
                <c:pt idx="60685">
                  <c:v>28472</c:v>
                </c:pt>
                <c:pt idx="60686">
                  <c:v>86957</c:v>
                </c:pt>
                <c:pt idx="60687">
                  <c:v>27029</c:v>
                </c:pt>
                <c:pt idx="60688">
                  <c:v>108417</c:v>
                </c:pt>
                <c:pt idx="60689">
                  <c:v>47900</c:v>
                </c:pt>
                <c:pt idx="60690">
                  <c:v>32632</c:v>
                </c:pt>
                <c:pt idx="60691">
                  <c:v>40602</c:v>
                </c:pt>
                <c:pt idx="60692">
                  <c:v>26895</c:v>
                </c:pt>
                <c:pt idx="60693">
                  <c:v>52513</c:v>
                </c:pt>
                <c:pt idx="60694">
                  <c:v>49945</c:v>
                </c:pt>
                <c:pt idx="60695">
                  <c:v>29141</c:v>
                </c:pt>
                <c:pt idx="60696">
                  <c:v>48864</c:v>
                </c:pt>
                <c:pt idx="60697">
                  <c:v>146776</c:v>
                </c:pt>
                <c:pt idx="60698">
                  <c:v>34168</c:v>
                </c:pt>
                <c:pt idx="60699">
                  <c:v>37190</c:v>
                </c:pt>
                <c:pt idx="60700">
                  <c:v>61684</c:v>
                </c:pt>
                <c:pt idx="60701">
                  <c:v>50046</c:v>
                </c:pt>
                <c:pt idx="60702">
                  <c:v>52384</c:v>
                </c:pt>
                <c:pt idx="60703">
                  <c:v>54180</c:v>
                </c:pt>
                <c:pt idx="60704">
                  <c:v>45936</c:v>
                </c:pt>
                <c:pt idx="60705">
                  <c:v>32825</c:v>
                </c:pt>
                <c:pt idx="60706">
                  <c:v>38073</c:v>
                </c:pt>
                <c:pt idx="60707">
                  <c:v>24503</c:v>
                </c:pt>
                <c:pt idx="60708">
                  <c:v>177730</c:v>
                </c:pt>
                <c:pt idx="60709">
                  <c:v>24121</c:v>
                </c:pt>
                <c:pt idx="60710">
                  <c:v>25816</c:v>
                </c:pt>
                <c:pt idx="60711">
                  <c:v>64790</c:v>
                </c:pt>
                <c:pt idx="60712">
                  <c:v>66856</c:v>
                </c:pt>
                <c:pt idx="60713">
                  <c:v>26105</c:v>
                </c:pt>
                <c:pt idx="60714">
                  <c:v>59410</c:v>
                </c:pt>
                <c:pt idx="60715">
                  <c:v>37882</c:v>
                </c:pt>
                <c:pt idx="60716">
                  <c:v>36220</c:v>
                </c:pt>
                <c:pt idx="60717">
                  <c:v>61020</c:v>
                </c:pt>
                <c:pt idx="60718">
                  <c:v>61176</c:v>
                </c:pt>
                <c:pt idx="60719">
                  <c:v>36625</c:v>
                </c:pt>
                <c:pt idx="60720">
                  <c:v>64135</c:v>
                </c:pt>
                <c:pt idx="60721">
                  <c:v>32463</c:v>
                </c:pt>
                <c:pt idx="60722">
                  <c:v>39691</c:v>
                </c:pt>
                <c:pt idx="60723">
                  <c:v>45271</c:v>
                </c:pt>
                <c:pt idx="60724">
                  <c:v>44955</c:v>
                </c:pt>
                <c:pt idx="60725">
                  <c:v>32585</c:v>
                </c:pt>
                <c:pt idx="60726">
                  <c:v>39500</c:v>
                </c:pt>
                <c:pt idx="60727">
                  <c:v>110325</c:v>
                </c:pt>
                <c:pt idx="60728">
                  <c:v>41817</c:v>
                </c:pt>
                <c:pt idx="60729">
                  <c:v>36604</c:v>
                </c:pt>
                <c:pt idx="60730">
                  <c:v>99547</c:v>
                </c:pt>
                <c:pt idx="60731">
                  <c:v>32000</c:v>
                </c:pt>
                <c:pt idx="60732">
                  <c:v>102377</c:v>
                </c:pt>
                <c:pt idx="60733">
                  <c:v>29946</c:v>
                </c:pt>
                <c:pt idx="60734">
                  <c:v>30308</c:v>
                </c:pt>
                <c:pt idx="60735">
                  <c:v>38603</c:v>
                </c:pt>
                <c:pt idx="60736">
                  <c:v>49344</c:v>
                </c:pt>
                <c:pt idx="60737">
                  <c:v>36743</c:v>
                </c:pt>
                <c:pt idx="60738">
                  <c:v>21951</c:v>
                </c:pt>
                <c:pt idx="60739">
                  <c:v>68149</c:v>
                </c:pt>
                <c:pt idx="60740">
                  <c:v>39571</c:v>
                </c:pt>
                <c:pt idx="60741">
                  <c:v>40936</c:v>
                </c:pt>
                <c:pt idx="60742">
                  <c:v>31199</c:v>
                </c:pt>
                <c:pt idx="60743">
                  <c:v>44127</c:v>
                </c:pt>
                <c:pt idx="60744">
                  <c:v>55350</c:v>
                </c:pt>
                <c:pt idx="60745">
                  <c:v>40971</c:v>
                </c:pt>
                <c:pt idx="60746">
                  <c:v>37942</c:v>
                </c:pt>
                <c:pt idx="60747">
                  <c:v>34224</c:v>
                </c:pt>
                <c:pt idx="60748">
                  <c:v>42154</c:v>
                </c:pt>
                <c:pt idx="60749">
                  <c:v>27891</c:v>
                </c:pt>
                <c:pt idx="60750">
                  <c:v>61171</c:v>
                </c:pt>
                <c:pt idx="60751">
                  <c:v>40111</c:v>
                </c:pt>
                <c:pt idx="60752">
                  <c:v>36896</c:v>
                </c:pt>
                <c:pt idx="60753">
                  <c:v>46244</c:v>
                </c:pt>
                <c:pt idx="60754">
                  <c:v>73131</c:v>
                </c:pt>
                <c:pt idx="60755">
                  <c:v>85121</c:v>
                </c:pt>
                <c:pt idx="60756">
                  <c:v>39600</c:v>
                </c:pt>
                <c:pt idx="60757">
                  <c:v>73183</c:v>
                </c:pt>
                <c:pt idx="60758">
                  <c:v>23351</c:v>
                </c:pt>
                <c:pt idx="60759">
                  <c:v>34328</c:v>
                </c:pt>
                <c:pt idx="60760">
                  <c:v>54227</c:v>
                </c:pt>
                <c:pt idx="60761">
                  <c:v>40380</c:v>
                </c:pt>
                <c:pt idx="60762">
                  <c:v>34315</c:v>
                </c:pt>
                <c:pt idx="60763">
                  <c:v>47739</c:v>
                </c:pt>
                <c:pt idx="60764">
                  <c:v>24175</c:v>
                </c:pt>
                <c:pt idx="60765">
                  <c:v>34662</c:v>
                </c:pt>
                <c:pt idx="60766">
                  <c:v>65339</c:v>
                </c:pt>
                <c:pt idx="60767">
                  <c:v>47657</c:v>
                </c:pt>
                <c:pt idx="60768">
                  <c:v>31689</c:v>
                </c:pt>
                <c:pt idx="60769">
                  <c:v>105924</c:v>
                </c:pt>
                <c:pt idx="60770">
                  <c:v>56019</c:v>
                </c:pt>
                <c:pt idx="60771">
                  <c:v>22073</c:v>
                </c:pt>
                <c:pt idx="60772">
                  <c:v>73480</c:v>
                </c:pt>
                <c:pt idx="60773">
                  <c:v>54671</c:v>
                </c:pt>
                <c:pt idx="60774">
                  <c:v>103055</c:v>
                </c:pt>
                <c:pt idx="60775">
                  <c:v>50536</c:v>
                </c:pt>
                <c:pt idx="60776">
                  <c:v>86002</c:v>
                </c:pt>
                <c:pt idx="60777">
                  <c:v>40359</c:v>
                </c:pt>
                <c:pt idx="60778">
                  <c:v>26865</c:v>
                </c:pt>
                <c:pt idx="60779">
                  <c:v>40484</c:v>
                </c:pt>
                <c:pt idx="60780">
                  <c:v>45410</c:v>
                </c:pt>
                <c:pt idx="60781">
                  <c:v>43286</c:v>
                </c:pt>
                <c:pt idx="60782">
                  <c:v>133297</c:v>
                </c:pt>
                <c:pt idx="60783">
                  <c:v>237973</c:v>
                </c:pt>
                <c:pt idx="60784">
                  <c:v>43607</c:v>
                </c:pt>
                <c:pt idx="60785">
                  <c:v>25745</c:v>
                </c:pt>
                <c:pt idx="60786">
                  <c:v>415959</c:v>
                </c:pt>
                <c:pt idx="60787">
                  <c:v>22812</c:v>
                </c:pt>
                <c:pt idx="60788">
                  <c:v>70916</c:v>
                </c:pt>
                <c:pt idx="60789">
                  <c:v>130105</c:v>
                </c:pt>
                <c:pt idx="60790">
                  <c:v>41184</c:v>
                </c:pt>
                <c:pt idx="60791">
                  <c:v>21997</c:v>
                </c:pt>
                <c:pt idx="60792">
                  <c:v>93499</c:v>
                </c:pt>
                <c:pt idx="60793">
                  <c:v>229081</c:v>
                </c:pt>
                <c:pt idx="60794">
                  <c:v>73076</c:v>
                </c:pt>
                <c:pt idx="60795">
                  <c:v>35392</c:v>
                </c:pt>
                <c:pt idx="60796">
                  <c:v>45909</c:v>
                </c:pt>
                <c:pt idx="60797">
                  <c:v>49152</c:v>
                </c:pt>
                <c:pt idx="60798">
                  <c:v>29155</c:v>
                </c:pt>
                <c:pt idx="60799">
                  <c:v>25087</c:v>
                </c:pt>
                <c:pt idx="60800">
                  <c:v>113665</c:v>
                </c:pt>
                <c:pt idx="60801">
                  <c:v>59184</c:v>
                </c:pt>
                <c:pt idx="60802">
                  <c:v>56544</c:v>
                </c:pt>
                <c:pt idx="60803">
                  <c:v>33336</c:v>
                </c:pt>
                <c:pt idx="60804">
                  <c:v>38991</c:v>
                </c:pt>
                <c:pt idx="60805">
                  <c:v>43553</c:v>
                </c:pt>
                <c:pt idx="60806">
                  <c:v>28252</c:v>
                </c:pt>
                <c:pt idx="60807">
                  <c:v>52404</c:v>
                </c:pt>
                <c:pt idx="60808">
                  <c:v>61716</c:v>
                </c:pt>
                <c:pt idx="60809">
                  <c:v>99678</c:v>
                </c:pt>
                <c:pt idx="60810">
                  <c:v>23241</c:v>
                </c:pt>
                <c:pt idx="60811">
                  <c:v>43905</c:v>
                </c:pt>
                <c:pt idx="60812">
                  <c:v>40816</c:v>
                </c:pt>
                <c:pt idx="60813">
                  <c:v>45392</c:v>
                </c:pt>
                <c:pt idx="60814">
                  <c:v>32271</c:v>
                </c:pt>
                <c:pt idx="60815">
                  <c:v>277939</c:v>
                </c:pt>
                <c:pt idx="60816">
                  <c:v>22211</c:v>
                </c:pt>
                <c:pt idx="60817">
                  <c:v>74040</c:v>
                </c:pt>
                <c:pt idx="60818">
                  <c:v>55963</c:v>
                </c:pt>
                <c:pt idx="60819">
                  <c:v>32487</c:v>
                </c:pt>
                <c:pt idx="60820">
                  <c:v>34459</c:v>
                </c:pt>
                <c:pt idx="60821">
                  <c:v>38323</c:v>
                </c:pt>
                <c:pt idx="60822">
                  <c:v>243758</c:v>
                </c:pt>
                <c:pt idx="60823">
                  <c:v>120649</c:v>
                </c:pt>
                <c:pt idx="60824">
                  <c:v>63691</c:v>
                </c:pt>
                <c:pt idx="60825">
                  <c:v>47694</c:v>
                </c:pt>
                <c:pt idx="60826">
                  <c:v>61129</c:v>
                </c:pt>
                <c:pt idx="60827">
                  <c:v>46946</c:v>
                </c:pt>
                <c:pt idx="60828">
                  <c:v>35057</c:v>
                </c:pt>
                <c:pt idx="60829">
                  <c:v>58764</c:v>
                </c:pt>
                <c:pt idx="60830">
                  <c:v>45505</c:v>
                </c:pt>
                <c:pt idx="60831">
                  <c:v>53376</c:v>
                </c:pt>
                <c:pt idx="60832">
                  <c:v>64027</c:v>
                </c:pt>
                <c:pt idx="60833">
                  <c:v>27449</c:v>
                </c:pt>
                <c:pt idx="60834">
                  <c:v>49757</c:v>
                </c:pt>
                <c:pt idx="60835">
                  <c:v>110415</c:v>
                </c:pt>
                <c:pt idx="60836">
                  <c:v>48682</c:v>
                </c:pt>
                <c:pt idx="60837">
                  <c:v>33669</c:v>
                </c:pt>
                <c:pt idx="60838">
                  <c:v>36630</c:v>
                </c:pt>
                <c:pt idx="60839">
                  <c:v>42416</c:v>
                </c:pt>
                <c:pt idx="60840">
                  <c:v>76973</c:v>
                </c:pt>
                <c:pt idx="60841">
                  <c:v>42515</c:v>
                </c:pt>
                <c:pt idx="60842">
                  <c:v>32863</c:v>
                </c:pt>
                <c:pt idx="60843">
                  <c:v>67994</c:v>
                </c:pt>
                <c:pt idx="60844">
                  <c:v>42048</c:v>
                </c:pt>
                <c:pt idx="60845">
                  <c:v>29400</c:v>
                </c:pt>
                <c:pt idx="60846">
                  <c:v>33017</c:v>
                </c:pt>
                <c:pt idx="60847">
                  <c:v>256432</c:v>
                </c:pt>
                <c:pt idx="60848">
                  <c:v>36279</c:v>
                </c:pt>
                <c:pt idx="60849">
                  <c:v>51067</c:v>
                </c:pt>
                <c:pt idx="60850">
                  <c:v>52948</c:v>
                </c:pt>
                <c:pt idx="60851">
                  <c:v>39978</c:v>
                </c:pt>
                <c:pt idx="60852">
                  <c:v>26696</c:v>
                </c:pt>
                <c:pt idx="60853">
                  <c:v>42322</c:v>
                </c:pt>
                <c:pt idx="60854">
                  <c:v>35556</c:v>
                </c:pt>
                <c:pt idx="60855">
                  <c:v>33021</c:v>
                </c:pt>
                <c:pt idx="60856">
                  <c:v>44676</c:v>
                </c:pt>
                <c:pt idx="60857">
                  <c:v>34662</c:v>
                </c:pt>
                <c:pt idx="60858">
                  <c:v>50006</c:v>
                </c:pt>
                <c:pt idx="60859">
                  <c:v>36812</c:v>
                </c:pt>
                <c:pt idx="60860">
                  <c:v>25784</c:v>
                </c:pt>
                <c:pt idx="60861">
                  <c:v>88990</c:v>
                </c:pt>
                <c:pt idx="60862">
                  <c:v>30310</c:v>
                </c:pt>
                <c:pt idx="60863">
                  <c:v>39577</c:v>
                </c:pt>
                <c:pt idx="60864">
                  <c:v>42358</c:v>
                </c:pt>
                <c:pt idx="60865">
                  <c:v>34485</c:v>
                </c:pt>
                <c:pt idx="60866">
                  <c:v>33579</c:v>
                </c:pt>
                <c:pt idx="60867">
                  <c:v>78051</c:v>
                </c:pt>
                <c:pt idx="60868">
                  <c:v>22488</c:v>
                </c:pt>
                <c:pt idx="60869">
                  <c:v>37251</c:v>
                </c:pt>
                <c:pt idx="60870">
                  <c:v>55983</c:v>
                </c:pt>
                <c:pt idx="60871">
                  <c:v>72940</c:v>
                </c:pt>
                <c:pt idx="60872">
                  <c:v>37953</c:v>
                </c:pt>
                <c:pt idx="60873">
                  <c:v>80909</c:v>
                </c:pt>
                <c:pt idx="60874">
                  <c:v>25449</c:v>
                </c:pt>
                <c:pt idx="60875">
                  <c:v>84750</c:v>
                </c:pt>
                <c:pt idx="60876">
                  <c:v>66572</c:v>
                </c:pt>
                <c:pt idx="60877">
                  <c:v>99380</c:v>
                </c:pt>
                <c:pt idx="60878">
                  <c:v>45925</c:v>
                </c:pt>
                <c:pt idx="60879">
                  <c:v>102944</c:v>
                </c:pt>
                <c:pt idx="60880">
                  <c:v>72335</c:v>
                </c:pt>
                <c:pt idx="60881">
                  <c:v>146835</c:v>
                </c:pt>
                <c:pt idx="60882">
                  <c:v>38724</c:v>
                </c:pt>
                <c:pt idx="60883">
                  <c:v>98106</c:v>
                </c:pt>
                <c:pt idx="60884">
                  <c:v>40250</c:v>
                </c:pt>
                <c:pt idx="60885">
                  <c:v>50100</c:v>
                </c:pt>
                <c:pt idx="60886">
                  <c:v>38805</c:v>
                </c:pt>
                <c:pt idx="60887">
                  <c:v>98752</c:v>
                </c:pt>
                <c:pt idx="60888">
                  <c:v>29020</c:v>
                </c:pt>
                <c:pt idx="60889">
                  <c:v>52802</c:v>
                </c:pt>
                <c:pt idx="60890">
                  <c:v>42037</c:v>
                </c:pt>
                <c:pt idx="60891">
                  <c:v>57861</c:v>
                </c:pt>
                <c:pt idx="60892">
                  <c:v>26289</c:v>
                </c:pt>
                <c:pt idx="60893">
                  <c:v>30570</c:v>
                </c:pt>
                <c:pt idx="60894">
                  <c:v>50206</c:v>
                </c:pt>
                <c:pt idx="60895">
                  <c:v>38774</c:v>
                </c:pt>
                <c:pt idx="60896">
                  <c:v>43712</c:v>
                </c:pt>
                <c:pt idx="60897">
                  <c:v>49866</c:v>
                </c:pt>
                <c:pt idx="60898">
                  <c:v>30964</c:v>
                </c:pt>
                <c:pt idx="60899">
                  <c:v>193392</c:v>
                </c:pt>
                <c:pt idx="60900">
                  <c:v>38115</c:v>
                </c:pt>
                <c:pt idx="60901">
                  <c:v>45525</c:v>
                </c:pt>
                <c:pt idx="60902">
                  <c:v>99513</c:v>
                </c:pt>
                <c:pt idx="60903">
                  <c:v>48153</c:v>
                </c:pt>
                <c:pt idx="60904">
                  <c:v>33544</c:v>
                </c:pt>
                <c:pt idx="60905">
                  <c:v>70031</c:v>
                </c:pt>
                <c:pt idx="60906">
                  <c:v>49056</c:v>
                </c:pt>
                <c:pt idx="60907">
                  <c:v>26956</c:v>
                </c:pt>
                <c:pt idx="60908">
                  <c:v>40462</c:v>
                </c:pt>
                <c:pt idx="60909">
                  <c:v>128667</c:v>
                </c:pt>
                <c:pt idx="60910">
                  <c:v>90121</c:v>
                </c:pt>
                <c:pt idx="60911">
                  <c:v>39426</c:v>
                </c:pt>
                <c:pt idx="60912">
                  <c:v>29174</c:v>
                </c:pt>
                <c:pt idx="60913">
                  <c:v>31205</c:v>
                </c:pt>
                <c:pt idx="60914">
                  <c:v>34392</c:v>
                </c:pt>
                <c:pt idx="60915">
                  <c:v>22497</c:v>
                </c:pt>
                <c:pt idx="60916">
                  <c:v>23643</c:v>
                </c:pt>
                <c:pt idx="60917">
                  <c:v>31169</c:v>
                </c:pt>
                <c:pt idx="60918">
                  <c:v>46093</c:v>
                </c:pt>
                <c:pt idx="60919">
                  <c:v>76333</c:v>
                </c:pt>
                <c:pt idx="60920">
                  <c:v>46109</c:v>
                </c:pt>
                <c:pt idx="60921">
                  <c:v>176113</c:v>
                </c:pt>
                <c:pt idx="60922">
                  <c:v>218419</c:v>
                </c:pt>
                <c:pt idx="60923">
                  <c:v>27262</c:v>
                </c:pt>
                <c:pt idx="60924">
                  <c:v>24355</c:v>
                </c:pt>
                <c:pt idx="60925">
                  <c:v>77996</c:v>
                </c:pt>
                <c:pt idx="60926">
                  <c:v>29699</c:v>
                </c:pt>
                <c:pt idx="60927">
                  <c:v>56512</c:v>
                </c:pt>
                <c:pt idx="60928">
                  <c:v>63520</c:v>
                </c:pt>
                <c:pt idx="60929">
                  <c:v>42938</c:v>
                </c:pt>
                <c:pt idx="60930">
                  <c:v>40740</c:v>
                </c:pt>
                <c:pt idx="60931">
                  <c:v>41503</c:v>
                </c:pt>
                <c:pt idx="60932">
                  <c:v>392646</c:v>
                </c:pt>
                <c:pt idx="60933">
                  <c:v>25848</c:v>
                </c:pt>
                <c:pt idx="60934">
                  <c:v>54891</c:v>
                </c:pt>
                <c:pt idx="60935">
                  <c:v>28863</c:v>
                </c:pt>
                <c:pt idx="60936">
                  <c:v>33667</c:v>
                </c:pt>
                <c:pt idx="60937">
                  <c:v>53607</c:v>
                </c:pt>
                <c:pt idx="60938">
                  <c:v>72408</c:v>
                </c:pt>
                <c:pt idx="60939">
                  <c:v>28161</c:v>
                </c:pt>
                <c:pt idx="60940">
                  <c:v>30408</c:v>
                </c:pt>
                <c:pt idx="60941">
                  <c:v>46780</c:v>
                </c:pt>
                <c:pt idx="60942">
                  <c:v>67765</c:v>
                </c:pt>
                <c:pt idx="60943">
                  <c:v>62113</c:v>
                </c:pt>
                <c:pt idx="60944">
                  <c:v>77843</c:v>
                </c:pt>
                <c:pt idx="60945">
                  <c:v>198780</c:v>
                </c:pt>
                <c:pt idx="60946">
                  <c:v>57776</c:v>
                </c:pt>
                <c:pt idx="60947">
                  <c:v>60118</c:v>
                </c:pt>
                <c:pt idx="60948">
                  <c:v>55324</c:v>
                </c:pt>
                <c:pt idx="60949">
                  <c:v>31094</c:v>
                </c:pt>
                <c:pt idx="60950">
                  <c:v>28608</c:v>
                </c:pt>
                <c:pt idx="60951">
                  <c:v>67919</c:v>
                </c:pt>
                <c:pt idx="60952">
                  <c:v>33938</c:v>
                </c:pt>
                <c:pt idx="60953">
                  <c:v>30444</c:v>
                </c:pt>
                <c:pt idx="60954">
                  <c:v>81388</c:v>
                </c:pt>
                <c:pt idx="60955">
                  <c:v>55464</c:v>
                </c:pt>
                <c:pt idx="60956">
                  <c:v>60073</c:v>
                </c:pt>
                <c:pt idx="60957">
                  <c:v>55371</c:v>
                </c:pt>
                <c:pt idx="60958">
                  <c:v>26092</c:v>
                </c:pt>
                <c:pt idx="60959">
                  <c:v>22044</c:v>
                </c:pt>
                <c:pt idx="60960">
                  <c:v>104605</c:v>
                </c:pt>
                <c:pt idx="60961">
                  <c:v>81279</c:v>
                </c:pt>
                <c:pt idx="60962">
                  <c:v>97751</c:v>
                </c:pt>
                <c:pt idx="60963">
                  <c:v>23089</c:v>
                </c:pt>
                <c:pt idx="60964">
                  <c:v>37943</c:v>
                </c:pt>
                <c:pt idx="60965">
                  <c:v>47834</c:v>
                </c:pt>
                <c:pt idx="60966">
                  <c:v>44000</c:v>
                </c:pt>
                <c:pt idx="60967">
                  <c:v>50146</c:v>
                </c:pt>
                <c:pt idx="60968">
                  <c:v>26089</c:v>
                </c:pt>
                <c:pt idx="60969">
                  <c:v>76669</c:v>
                </c:pt>
                <c:pt idx="60970">
                  <c:v>29676</c:v>
                </c:pt>
                <c:pt idx="60971">
                  <c:v>110297</c:v>
                </c:pt>
                <c:pt idx="60972">
                  <c:v>37640</c:v>
                </c:pt>
                <c:pt idx="60973">
                  <c:v>42516</c:v>
                </c:pt>
                <c:pt idx="60974">
                  <c:v>45991</c:v>
                </c:pt>
                <c:pt idx="60975">
                  <c:v>31737</c:v>
                </c:pt>
                <c:pt idx="60976">
                  <c:v>184430</c:v>
                </c:pt>
                <c:pt idx="60977">
                  <c:v>133490</c:v>
                </c:pt>
                <c:pt idx="60978">
                  <c:v>27155</c:v>
                </c:pt>
                <c:pt idx="60979">
                  <c:v>53775</c:v>
                </c:pt>
                <c:pt idx="60980">
                  <c:v>50662</c:v>
                </c:pt>
                <c:pt idx="60981">
                  <c:v>30642</c:v>
                </c:pt>
                <c:pt idx="60982">
                  <c:v>49390</c:v>
                </c:pt>
                <c:pt idx="60983">
                  <c:v>44140</c:v>
                </c:pt>
                <c:pt idx="60984">
                  <c:v>89878</c:v>
                </c:pt>
                <c:pt idx="60985">
                  <c:v>28826</c:v>
                </c:pt>
                <c:pt idx="60986">
                  <c:v>47591</c:v>
                </c:pt>
                <c:pt idx="60987">
                  <c:v>46255</c:v>
                </c:pt>
                <c:pt idx="60988">
                  <c:v>28648</c:v>
                </c:pt>
                <c:pt idx="60989">
                  <c:v>27962</c:v>
                </c:pt>
                <c:pt idx="60990">
                  <c:v>42786</c:v>
                </c:pt>
                <c:pt idx="60991">
                  <c:v>43706</c:v>
                </c:pt>
                <c:pt idx="60992">
                  <c:v>33586</c:v>
                </c:pt>
                <c:pt idx="60993">
                  <c:v>68524</c:v>
                </c:pt>
                <c:pt idx="60994">
                  <c:v>85515</c:v>
                </c:pt>
                <c:pt idx="60995">
                  <c:v>45147</c:v>
                </c:pt>
                <c:pt idx="60996">
                  <c:v>155661</c:v>
                </c:pt>
                <c:pt idx="60997">
                  <c:v>118581</c:v>
                </c:pt>
                <c:pt idx="60998">
                  <c:v>29587</c:v>
                </c:pt>
                <c:pt idx="60999">
                  <c:v>28193</c:v>
                </c:pt>
                <c:pt idx="61000">
                  <c:v>30591</c:v>
                </c:pt>
                <c:pt idx="61001">
                  <c:v>25019</c:v>
                </c:pt>
                <c:pt idx="61002">
                  <c:v>90804</c:v>
                </c:pt>
                <c:pt idx="61003">
                  <c:v>23901</c:v>
                </c:pt>
                <c:pt idx="61004">
                  <c:v>30195</c:v>
                </c:pt>
                <c:pt idx="61005">
                  <c:v>136877</c:v>
                </c:pt>
                <c:pt idx="61006">
                  <c:v>173481</c:v>
                </c:pt>
                <c:pt idx="61007">
                  <c:v>45404</c:v>
                </c:pt>
                <c:pt idx="61008">
                  <c:v>34694</c:v>
                </c:pt>
                <c:pt idx="61009">
                  <c:v>30216</c:v>
                </c:pt>
                <c:pt idx="61010">
                  <c:v>34691</c:v>
                </c:pt>
                <c:pt idx="61011">
                  <c:v>46413</c:v>
                </c:pt>
                <c:pt idx="61012">
                  <c:v>34886</c:v>
                </c:pt>
                <c:pt idx="61013">
                  <c:v>96717</c:v>
                </c:pt>
                <c:pt idx="61014">
                  <c:v>111954</c:v>
                </c:pt>
                <c:pt idx="61015">
                  <c:v>58199</c:v>
                </c:pt>
                <c:pt idx="61016">
                  <c:v>41865</c:v>
                </c:pt>
                <c:pt idx="61017">
                  <c:v>50067</c:v>
                </c:pt>
                <c:pt idx="61018">
                  <c:v>77900</c:v>
                </c:pt>
                <c:pt idx="61019">
                  <c:v>24327</c:v>
                </c:pt>
                <c:pt idx="61020">
                  <c:v>41999</c:v>
                </c:pt>
                <c:pt idx="61021">
                  <c:v>141607</c:v>
                </c:pt>
                <c:pt idx="61022">
                  <c:v>30515</c:v>
                </c:pt>
                <c:pt idx="61023">
                  <c:v>33942</c:v>
                </c:pt>
                <c:pt idx="61024">
                  <c:v>46731</c:v>
                </c:pt>
                <c:pt idx="61025">
                  <c:v>35421</c:v>
                </c:pt>
                <c:pt idx="61026">
                  <c:v>30627</c:v>
                </c:pt>
                <c:pt idx="61027">
                  <c:v>277369</c:v>
                </c:pt>
                <c:pt idx="61028">
                  <c:v>34875</c:v>
                </c:pt>
                <c:pt idx="61029">
                  <c:v>42478</c:v>
                </c:pt>
                <c:pt idx="61030">
                  <c:v>30342</c:v>
                </c:pt>
                <c:pt idx="61031">
                  <c:v>64398</c:v>
                </c:pt>
                <c:pt idx="61032">
                  <c:v>53789</c:v>
                </c:pt>
                <c:pt idx="61033">
                  <c:v>32322</c:v>
                </c:pt>
                <c:pt idx="61034">
                  <c:v>23969</c:v>
                </c:pt>
                <c:pt idx="61035">
                  <c:v>115731</c:v>
                </c:pt>
                <c:pt idx="61036">
                  <c:v>51290</c:v>
                </c:pt>
                <c:pt idx="61037">
                  <c:v>44776</c:v>
                </c:pt>
                <c:pt idx="61038">
                  <c:v>40623</c:v>
                </c:pt>
                <c:pt idx="61039">
                  <c:v>82810</c:v>
                </c:pt>
                <c:pt idx="61040">
                  <c:v>34829</c:v>
                </c:pt>
                <c:pt idx="61041">
                  <c:v>29805</c:v>
                </c:pt>
                <c:pt idx="61042">
                  <c:v>23372</c:v>
                </c:pt>
                <c:pt idx="61043">
                  <c:v>84840</c:v>
                </c:pt>
                <c:pt idx="61044">
                  <c:v>61275</c:v>
                </c:pt>
                <c:pt idx="61045">
                  <c:v>45372</c:v>
                </c:pt>
                <c:pt idx="61046">
                  <c:v>55202</c:v>
                </c:pt>
                <c:pt idx="61047">
                  <c:v>39470</c:v>
                </c:pt>
                <c:pt idx="61048">
                  <c:v>72927</c:v>
                </c:pt>
                <c:pt idx="61049">
                  <c:v>125783</c:v>
                </c:pt>
                <c:pt idx="61050">
                  <c:v>34032</c:v>
                </c:pt>
                <c:pt idx="61051">
                  <c:v>44246</c:v>
                </c:pt>
                <c:pt idx="61052">
                  <c:v>92952</c:v>
                </c:pt>
                <c:pt idx="61053">
                  <c:v>73499</c:v>
                </c:pt>
                <c:pt idx="61054">
                  <c:v>88706</c:v>
                </c:pt>
                <c:pt idx="61055">
                  <c:v>115009</c:v>
                </c:pt>
                <c:pt idx="61056">
                  <c:v>57017</c:v>
                </c:pt>
                <c:pt idx="61057">
                  <c:v>41659</c:v>
                </c:pt>
                <c:pt idx="61058">
                  <c:v>34409</c:v>
                </c:pt>
                <c:pt idx="61059">
                  <c:v>40054</c:v>
                </c:pt>
                <c:pt idx="61060">
                  <c:v>53476</c:v>
                </c:pt>
                <c:pt idx="61061">
                  <c:v>45299</c:v>
                </c:pt>
                <c:pt idx="61062">
                  <c:v>247736</c:v>
                </c:pt>
                <c:pt idx="61063">
                  <c:v>80633</c:v>
                </c:pt>
                <c:pt idx="61064">
                  <c:v>46460</c:v>
                </c:pt>
                <c:pt idx="61065">
                  <c:v>34101</c:v>
                </c:pt>
                <c:pt idx="61066">
                  <c:v>159436</c:v>
                </c:pt>
                <c:pt idx="61067">
                  <c:v>55223</c:v>
                </c:pt>
                <c:pt idx="61068">
                  <c:v>28378</c:v>
                </c:pt>
                <c:pt idx="61069">
                  <c:v>55512</c:v>
                </c:pt>
                <c:pt idx="61070">
                  <c:v>33368</c:v>
                </c:pt>
                <c:pt idx="61071">
                  <c:v>155204</c:v>
                </c:pt>
                <c:pt idx="61072">
                  <c:v>40023</c:v>
                </c:pt>
                <c:pt idx="61073">
                  <c:v>69929</c:v>
                </c:pt>
                <c:pt idx="61074">
                  <c:v>78863</c:v>
                </c:pt>
                <c:pt idx="61075">
                  <c:v>50190</c:v>
                </c:pt>
                <c:pt idx="61076">
                  <c:v>61566</c:v>
                </c:pt>
                <c:pt idx="61077">
                  <c:v>34384</c:v>
                </c:pt>
                <c:pt idx="61078">
                  <c:v>28163</c:v>
                </c:pt>
                <c:pt idx="61079">
                  <c:v>48179</c:v>
                </c:pt>
                <c:pt idx="61080">
                  <c:v>116463</c:v>
                </c:pt>
                <c:pt idx="61081">
                  <c:v>33586</c:v>
                </c:pt>
                <c:pt idx="61082">
                  <c:v>35388</c:v>
                </c:pt>
                <c:pt idx="61083">
                  <c:v>34232</c:v>
                </c:pt>
                <c:pt idx="61084">
                  <c:v>183765</c:v>
                </c:pt>
                <c:pt idx="61085">
                  <c:v>280509</c:v>
                </c:pt>
                <c:pt idx="61086">
                  <c:v>75493</c:v>
                </c:pt>
                <c:pt idx="61087">
                  <c:v>41380</c:v>
                </c:pt>
                <c:pt idx="61088">
                  <c:v>256813</c:v>
                </c:pt>
                <c:pt idx="61089">
                  <c:v>27765</c:v>
                </c:pt>
                <c:pt idx="61090">
                  <c:v>27960</c:v>
                </c:pt>
                <c:pt idx="61091">
                  <c:v>53593</c:v>
                </c:pt>
                <c:pt idx="61092">
                  <c:v>44339</c:v>
                </c:pt>
                <c:pt idx="61093">
                  <c:v>114686</c:v>
                </c:pt>
                <c:pt idx="61094">
                  <c:v>326232</c:v>
                </c:pt>
                <c:pt idx="61095">
                  <c:v>68436</c:v>
                </c:pt>
                <c:pt idx="61096">
                  <c:v>35781</c:v>
                </c:pt>
                <c:pt idx="61097">
                  <c:v>47907</c:v>
                </c:pt>
                <c:pt idx="61098">
                  <c:v>74504</c:v>
                </c:pt>
                <c:pt idx="61099">
                  <c:v>32502</c:v>
                </c:pt>
                <c:pt idx="61100">
                  <c:v>64685</c:v>
                </c:pt>
                <c:pt idx="61101">
                  <c:v>47958</c:v>
                </c:pt>
                <c:pt idx="61102">
                  <c:v>36135</c:v>
                </c:pt>
                <c:pt idx="61103">
                  <c:v>27332</c:v>
                </c:pt>
                <c:pt idx="61104">
                  <c:v>120300</c:v>
                </c:pt>
                <c:pt idx="61105">
                  <c:v>329386</c:v>
                </c:pt>
                <c:pt idx="61106">
                  <c:v>110643</c:v>
                </c:pt>
                <c:pt idx="61107">
                  <c:v>23867</c:v>
                </c:pt>
                <c:pt idx="61108">
                  <c:v>30103</c:v>
                </c:pt>
                <c:pt idx="61109">
                  <c:v>81256</c:v>
                </c:pt>
                <c:pt idx="61110">
                  <c:v>34308</c:v>
                </c:pt>
                <c:pt idx="61111">
                  <c:v>30286</c:v>
                </c:pt>
                <c:pt idx="61112">
                  <c:v>53895</c:v>
                </c:pt>
                <c:pt idx="61113">
                  <c:v>61172</c:v>
                </c:pt>
                <c:pt idx="61114">
                  <c:v>31714</c:v>
                </c:pt>
                <c:pt idx="61115">
                  <c:v>26785</c:v>
                </c:pt>
                <c:pt idx="61116">
                  <c:v>53279</c:v>
                </c:pt>
                <c:pt idx="61117">
                  <c:v>55244</c:v>
                </c:pt>
                <c:pt idx="61118">
                  <c:v>56199</c:v>
                </c:pt>
                <c:pt idx="61119">
                  <c:v>40695</c:v>
                </c:pt>
                <c:pt idx="61120">
                  <c:v>53469</c:v>
                </c:pt>
                <c:pt idx="61121">
                  <c:v>50280</c:v>
                </c:pt>
                <c:pt idx="61122">
                  <c:v>51704</c:v>
                </c:pt>
                <c:pt idx="61123">
                  <c:v>65795</c:v>
                </c:pt>
                <c:pt idx="61124">
                  <c:v>21574</c:v>
                </c:pt>
                <c:pt idx="61125">
                  <c:v>41346</c:v>
                </c:pt>
                <c:pt idx="61126">
                  <c:v>29479</c:v>
                </c:pt>
                <c:pt idx="61127">
                  <c:v>32299</c:v>
                </c:pt>
                <c:pt idx="61128">
                  <c:v>22806</c:v>
                </c:pt>
                <c:pt idx="61129">
                  <c:v>37443</c:v>
                </c:pt>
                <c:pt idx="61130">
                  <c:v>38661</c:v>
                </c:pt>
                <c:pt idx="61131">
                  <c:v>45928</c:v>
                </c:pt>
                <c:pt idx="61132">
                  <c:v>43886</c:v>
                </c:pt>
                <c:pt idx="61133">
                  <c:v>31264</c:v>
                </c:pt>
                <c:pt idx="61134">
                  <c:v>28868</c:v>
                </c:pt>
                <c:pt idx="61135">
                  <c:v>60748</c:v>
                </c:pt>
                <c:pt idx="61136">
                  <c:v>53809</c:v>
                </c:pt>
                <c:pt idx="61137">
                  <c:v>37891</c:v>
                </c:pt>
                <c:pt idx="61138">
                  <c:v>47425</c:v>
                </c:pt>
                <c:pt idx="61139">
                  <c:v>31663</c:v>
                </c:pt>
                <c:pt idx="61140">
                  <c:v>37350</c:v>
                </c:pt>
                <c:pt idx="61141">
                  <c:v>23576</c:v>
                </c:pt>
                <c:pt idx="61142">
                  <c:v>29283</c:v>
                </c:pt>
                <c:pt idx="61143">
                  <c:v>20007</c:v>
                </c:pt>
                <c:pt idx="61144">
                  <c:v>39941</c:v>
                </c:pt>
                <c:pt idx="61145">
                  <c:v>103342</c:v>
                </c:pt>
                <c:pt idx="61146">
                  <c:v>122830</c:v>
                </c:pt>
                <c:pt idx="61147">
                  <c:v>29475</c:v>
                </c:pt>
                <c:pt idx="61148">
                  <c:v>43903</c:v>
                </c:pt>
                <c:pt idx="61149">
                  <c:v>60739</c:v>
                </c:pt>
                <c:pt idx="61150">
                  <c:v>124280</c:v>
                </c:pt>
                <c:pt idx="61151">
                  <c:v>61145</c:v>
                </c:pt>
                <c:pt idx="61152">
                  <c:v>97607</c:v>
                </c:pt>
                <c:pt idx="61153">
                  <c:v>43516</c:v>
                </c:pt>
                <c:pt idx="61154">
                  <c:v>35651</c:v>
                </c:pt>
                <c:pt idx="61155">
                  <c:v>56204</c:v>
                </c:pt>
                <c:pt idx="61156">
                  <c:v>51852</c:v>
                </c:pt>
                <c:pt idx="61157">
                  <c:v>106637</c:v>
                </c:pt>
                <c:pt idx="61158">
                  <c:v>118748</c:v>
                </c:pt>
                <c:pt idx="61159">
                  <c:v>38552</c:v>
                </c:pt>
                <c:pt idx="61160">
                  <c:v>44422</c:v>
                </c:pt>
                <c:pt idx="61161">
                  <c:v>34351</c:v>
                </c:pt>
                <c:pt idx="61162">
                  <c:v>57063</c:v>
                </c:pt>
                <c:pt idx="61163">
                  <c:v>73554</c:v>
                </c:pt>
                <c:pt idx="61164">
                  <c:v>42796</c:v>
                </c:pt>
                <c:pt idx="61165">
                  <c:v>39898</c:v>
                </c:pt>
                <c:pt idx="61166">
                  <c:v>49053</c:v>
                </c:pt>
                <c:pt idx="61167">
                  <c:v>49681</c:v>
                </c:pt>
                <c:pt idx="61168">
                  <c:v>38097</c:v>
                </c:pt>
                <c:pt idx="61169">
                  <c:v>46294</c:v>
                </c:pt>
                <c:pt idx="61170">
                  <c:v>240147</c:v>
                </c:pt>
                <c:pt idx="61171">
                  <c:v>159762</c:v>
                </c:pt>
                <c:pt idx="61172">
                  <c:v>32185</c:v>
                </c:pt>
                <c:pt idx="61173">
                  <c:v>25638</c:v>
                </c:pt>
                <c:pt idx="61174">
                  <c:v>49588</c:v>
                </c:pt>
                <c:pt idx="61175">
                  <c:v>26642</c:v>
                </c:pt>
                <c:pt idx="61176">
                  <c:v>59913</c:v>
                </c:pt>
                <c:pt idx="61177">
                  <c:v>28670</c:v>
                </c:pt>
                <c:pt idx="61178">
                  <c:v>184961</c:v>
                </c:pt>
                <c:pt idx="61179">
                  <c:v>76570</c:v>
                </c:pt>
                <c:pt idx="61180">
                  <c:v>28739</c:v>
                </c:pt>
                <c:pt idx="61181">
                  <c:v>187537</c:v>
                </c:pt>
                <c:pt idx="61182">
                  <c:v>34777</c:v>
                </c:pt>
                <c:pt idx="61183">
                  <c:v>23148</c:v>
                </c:pt>
                <c:pt idx="61184">
                  <c:v>124518</c:v>
                </c:pt>
                <c:pt idx="61185">
                  <c:v>52778</c:v>
                </c:pt>
                <c:pt idx="61186">
                  <c:v>29472</c:v>
                </c:pt>
                <c:pt idx="61187">
                  <c:v>42563</c:v>
                </c:pt>
                <c:pt idx="61188">
                  <c:v>27537</c:v>
                </c:pt>
                <c:pt idx="61189">
                  <c:v>82650</c:v>
                </c:pt>
                <c:pt idx="61190">
                  <c:v>47857</c:v>
                </c:pt>
                <c:pt idx="61191">
                  <c:v>66688</c:v>
                </c:pt>
                <c:pt idx="61192">
                  <c:v>62844</c:v>
                </c:pt>
                <c:pt idx="61193">
                  <c:v>46930</c:v>
                </c:pt>
                <c:pt idx="61194">
                  <c:v>33638</c:v>
                </c:pt>
                <c:pt idx="61195">
                  <c:v>51911</c:v>
                </c:pt>
                <c:pt idx="61196">
                  <c:v>35309</c:v>
                </c:pt>
                <c:pt idx="61197">
                  <c:v>30445</c:v>
                </c:pt>
                <c:pt idx="61198">
                  <c:v>62034</c:v>
                </c:pt>
                <c:pt idx="61199">
                  <c:v>61477</c:v>
                </c:pt>
                <c:pt idx="61200">
                  <c:v>61468</c:v>
                </c:pt>
                <c:pt idx="61201">
                  <c:v>49079</c:v>
                </c:pt>
                <c:pt idx="61202">
                  <c:v>45079</c:v>
                </c:pt>
                <c:pt idx="61203">
                  <c:v>20401</c:v>
                </c:pt>
                <c:pt idx="61204">
                  <c:v>24080</c:v>
                </c:pt>
                <c:pt idx="61205">
                  <c:v>52857</c:v>
                </c:pt>
                <c:pt idx="61206">
                  <c:v>51515</c:v>
                </c:pt>
                <c:pt idx="61207">
                  <c:v>228368</c:v>
                </c:pt>
                <c:pt idx="61208">
                  <c:v>114949</c:v>
                </c:pt>
                <c:pt idx="61209">
                  <c:v>81575</c:v>
                </c:pt>
                <c:pt idx="61210">
                  <c:v>228540</c:v>
                </c:pt>
                <c:pt idx="61211">
                  <c:v>65021</c:v>
                </c:pt>
                <c:pt idx="61212">
                  <c:v>61591</c:v>
                </c:pt>
                <c:pt idx="61213">
                  <c:v>92003</c:v>
                </c:pt>
                <c:pt idx="61214">
                  <c:v>25696</c:v>
                </c:pt>
                <c:pt idx="61215">
                  <c:v>76004</c:v>
                </c:pt>
                <c:pt idx="61216">
                  <c:v>115177</c:v>
                </c:pt>
                <c:pt idx="61217">
                  <c:v>31253</c:v>
                </c:pt>
                <c:pt idx="61218">
                  <c:v>42836</c:v>
                </c:pt>
                <c:pt idx="61219">
                  <c:v>43634</c:v>
                </c:pt>
                <c:pt idx="61220">
                  <c:v>120693</c:v>
                </c:pt>
                <c:pt idx="61221">
                  <c:v>68462</c:v>
                </c:pt>
                <c:pt idx="61222">
                  <c:v>29327</c:v>
                </c:pt>
                <c:pt idx="61223">
                  <c:v>31525</c:v>
                </c:pt>
                <c:pt idx="61224">
                  <c:v>29070</c:v>
                </c:pt>
                <c:pt idx="61225">
                  <c:v>45969</c:v>
                </c:pt>
                <c:pt idx="61226">
                  <c:v>38899</c:v>
                </c:pt>
                <c:pt idx="61227">
                  <c:v>47583</c:v>
                </c:pt>
                <c:pt idx="61228">
                  <c:v>34072</c:v>
                </c:pt>
                <c:pt idx="61229">
                  <c:v>44308</c:v>
                </c:pt>
                <c:pt idx="61230">
                  <c:v>67910</c:v>
                </c:pt>
                <c:pt idx="61231">
                  <c:v>57023</c:v>
                </c:pt>
                <c:pt idx="61232">
                  <c:v>27711</c:v>
                </c:pt>
                <c:pt idx="61233">
                  <c:v>41790</c:v>
                </c:pt>
                <c:pt idx="61234">
                  <c:v>57398</c:v>
                </c:pt>
                <c:pt idx="61235">
                  <c:v>37413</c:v>
                </c:pt>
                <c:pt idx="61236">
                  <c:v>39145</c:v>
                </c:pt>
                <c:pt idx="61237">
                  <c:v>50509</c:v>
                </c:pt>
                <c:pt idx="61238">
                  <c:v>31406</c:v>
                </c:pt>
                <c:pt idx="61239">
                  <c:v>46577</c:v>
                </c:pt>
                <c:pt idx="61240">
                  <c:v>50401</c:v>
                </c:pt>
                <c:pt idx="61241">
                  <c:v>41235</c:v>
                </c:pt>
                <c:pt idx="61242">
                  <c:v>34682</c:v>
                </c:pt>
                <c:pt idx="61243">
                  <c:v>58829</c:v>
                </c:pt>
                <c:pt idx="61244">
                  <c:v>30901</c:v>
                </c:pt>
                <c:pt idx="61245">
                  <c:v>60524</c:v>
                </c:pt>
                <c:pt idx="61246">
                  <c:v>31586</c:v>
                </c:pt>
                <c:pt idx="61247">
                  <c:v>180574</c:v>
                </c:pt>
                <c:pt idx="61248">
                  <c:v>46399</c:v>
                </c:pt>
                <c:pt idx="61249">
                  <c:v>43203</c:v>
                </c:pt>
                <c:pt idx="61250">
                  <c:v>65110</c:v>
                </c:pt>
                <c:pt idx="61251">
                  <c:v>35957</c:v>
                </c:pt>
                <c:pt idx="61252">
                  <c:v>60767</c:v>
                </c:pt>
                <c:pt idx="61253">
                  <c:v>66585</c:v>
                </c:pt>
                <c:pt idx="61254">
                  <c:v>35977</c:v>
                </c:pt>
                <c:pt idx="61255">
                  <c:v>50891</c:v>
                </c:pt>
                <c:pt idx="61256">
                  <c:v>69926</c:v>
                </c:pt>
                <c:pt idx="61257">
                  <c:v>97581</c:v>
                </c:pt>
                <c:pt idx="61258">
                  <c:v>53905</c:v>
                </c:pt>
                <c:pt idx="61259">
                  <c:v>48687</c:v>
                </c:pt>
                <c:pt idx="61260">
                  <c:v>24910</c:v>
                </c:pt>
                <c:pt idx="61261">
                  <c:v>36970</c:v>
                </c:pt>
                <c:pt idx="61262">
                  <c:v>59460</c:v>
                </c:pt>
                <c:pt idx="61263">
                  <c:v>37916</c:v>
                </c:pt>
                <c:pt idx="61264">
                  <c:v>47350</c:v>
                </c:pt>
                <c:pt idx="61265">
                  <c:v>53036</c:v>
                </c:pt>
                <c:pt idx="61266">
                  <c:v>32136</c:v>
                </c:pt>
                <c:pt idx="61267">
                  <c:v>93428</c:v>
                </c:pt>
                <c:pt idx="61268">
                  <c:v>37368</c:v>
                </c:pt>
                <c:pt idx="61269">
                  <c:v>23491</c:v>
                </c:pt>
                <c:pt idx="61270">
                  <c:v>41306</c:v>
                </c:pt>
                <c:pt idx="61271">
                  <c:v>42412</c:v>
                </c:pt>
                <c:pt idx="61272">
                  <c:v>42312</c:v>
                </c:pt>
                <c:pt idx="61273">
                  <c:v>54314</c:v>
                </c:pt>
                <c:pt idx="61274">
                  <c:v>43896</c:v>
                </c:pt>
                <c:pt idx="61275">
                  <c:v>28797</c:v>
                </c:pt>
                <c:pt idx="61276">
                  <c:v>59827</c:v>
                </c:pt>
                <c:pt idx="61277">
                  <c:v>55744</c:v>
                </c:pt>
                <c:pt idx="61278">
                  <c:v>80466</c:v>
                </c:pt>
                <c:pt idx="61279">
                  <c:v>28220</c:v>
                </c:pt>
                <c:pt idx="61280">
                  <c:v>125243</c:v>
                </c:pt>
                <c:pt idx="61281">
                  <c:v>82535</c:v>
                </c:pt>
                <c:pt idx="61282">
                  <c:v>74098</c:v>
                </c:pt>
                <c:pt idx="61283">
                  <c:v>43664</c:v>
                </c:pt>
                <c:pt idx="61284">
                  <c:v>43471</c:v>
                </c:pt>
                <c:pt idx="61285">
                  <c:v>260221</c:v>
                </c:pt>
                <c:pt idx="61286">
                  <c:v>25388</c:v>
                </c:pt>
                <c:pt idx="61287">
                  <c:v>42352</c:v>
                </c:pt>
                <c:pt idx="61288">
                  <c:v>100610</c:v>
                </c:pt>
                <c:pt idx="61289">
                  <c:v>27293</c:v>
                </c:pt>
                <c:pt idx="61290">
                  <c:v>30044</c:v>
                </c:pt>
                <c:pt idx="61291">
                  <c:v>41541</c:v>
                </c:pt>
                <c:pt idx="61292">
                  <c:v>42617</c:v>
                </c:pt>
                <c:pt idx="61293">
                  <c:v>50636</c:v>
                </c:pt>
                <c:pt idx="61294">
                  <c:v>166769</c:v>
                </c:pt>
                <c:pt idx="61295">
                  <c:v>69648</c:v>
                </c:pt>
                <c:pt idx="61296">
                  <c:v>43202</c:v>
                </c:pt>
                <c:pt idx="61297">
                  <c:v>76907</c:v>
                </c:pt>
                <c:pt idx="61298">
                  <c:v>42191</c:v>
                </c:pt>
                <c:pt idx="61299">
                  <c:v>42364</c:v>
                </c:pt>
                <c:pt idx="61300">
                  <c:v>71545</c:v>
                </c:pt>
                <c:pt idx="61301">
                  <c:v>43219</c:v>
                </c:pt>
                <c:pt idx="61302">
                  <c:v>50675</c:v>
                </c:pt>
                <c:pt idx="61303">
                  <c:v>38533</c:v>
                </c:pt>
                <c:pt idx="61304">
                  <c:v>48173</c:v>
                </c:pt>
                <c:pt idx="61305">
                  <c:v>88370</c:v>
                </c:pt>
                <c:pt idx="61306">
                  <c:v>33581</c:v>
                </c:pt>
                <c:pt idx="61307">
                  <c:v>28272</c:v>
                </c:pt>
                <c:pt idx="61308">
                  <c:v>37545</c:v>
                </c:pt>
                <c:pt idx="61309">
                  <c:v>54254</c:v>
                </c:pt>
                <c:pt idx="61310">
                  <c:v>39186</c:v>
                </c:pt>
                <c:pt idx="61311">
                  <c:v>107582</c:v>
                </c:pt>
                <c:pt idx="61312">
                  <c:v>54728</c:v>
                </c:pt>
                <c:pt idx="61313">
                  <c:v>44245</c:v>
                </c:pt>
                <c:pt idx="61314">
                  <c:v>50337</c:v>
                </c:pt>
                <c:pt idx="61315">
                  <c:v>37020</c:v>
                </c:pt>
                <c:pt idx="61316">
                  <c:v>36656</c:v>
                </c:pt>
                <c:pt idx="61317">
                  <c:v>23271</c:v>
                </c:pt>
                <c:pt idx="61318">
                  <c:v>98112</c:v>
                </c:pt>
                <c:pt idx="61319">
                  <c:v>38106</c:v>
                </c:pt>
                <c:pt idx="61320">
                  <c:v>35864</c:v>
                </c:pt>
                <c:pt idx="61321">
                  <c:v>57111</c:v>
                </c:pt>
                <c:pt idx="61322">
                  <c:v>52127</c:v>
                </c:pt>
                <c:pt idx="61323">
                  <c:v>26892</c:v>
                </c:pt>
                <c:pt idx="61324">
                  <c:v>45689</c:v>
                </c:pt>
                <c:pt idx="61325">
                  <c:v>94471</c:v>
                </c:pt>
                <c:pt idx="61326">
                  <c:v>31360</c:v>
                </c:pt>
                <c:pt idx="61327">
                  <c:v>38367</c:v>
                </c:pt>
                <c:pt idx="61328">
                  <c:v>40959</c:v>
                </c:pt>
                <c:pt idx="61329">
                  <c:v>52583</c:v>
                </c:pt>
                <c:pt idx="61330">
                  <c:v>33099</c:v>
                </c:pt>
                <c:pt idx="61331">
                  <c:v>48802</c:v>
                </c:pt>
                <c:pt idx="61332">
                  <c:v>36902</c:v>
                </c:pt>
                <c:pt idx="61333">
                  <c:v>103357</c:v>
                </c:pt>
                <c:pt idx="61334">
                  <c:v>18541</c:v>
                </c:pt>
                <c:pt idx="61335">
                  <c:v>38622</c:v>
                </c:pt>
                <c:pt idx="61336">
                  <c:v>35711</c:v>
                </c:pt>
                <c:pt idx="61337">
                  <c:v>23707</c:v>
                </c:pt>
                <c:pt idx="61338">
                  <c:v>95138</c:v>
                </c:pt>
                <c:pt idx="61339">
                  <c:v>25169</c:v>
                </c:pt>
                <c:pt idx="61340">
                  <c:v>41261</c:v>
                </c:pt>
                <c:pt idx="61341">
                  <c:v>54691</c:v>
                </c:pt>
                <c:pt idx="61342">
                  <c:v>36379</c:v>
                </c:pt>
                <c:pt idx="61343">
                  <c:v>39522</c:v>
                </c:pt>
                <c:pt idx="61344">
                  <c:v>35034</c:v>
                </c:pt>
                <c:pt idx="61345">
                  <c:v>202462</c:v>
                </c:pt>
                <c:pt idx="61346">
                  <c:v>29489</c:v>
                </c:pt>
                <c:pt idx="61347">
                  <c:v>48429</c:v>
                </c:pt>
                <c:pt idx="61348">
                  <c:v>77792</c:v>
                </c:pt>
                <c:pt idx="61349">
                  <c:v>48359</c:v>
                </c:pt>
                <c:pt idx="61350">
                  <c:v>85192</c:v>
                </c:pt>
                <c:pt idx="61351">
                  <c:v>52491</c:v>
                </c:pt>
                <c:pt idx="61352">
                  <c:v>36047</c:v>
                </c:pt>
                <c:pt idx="61353">
                  <c:v>81940</c:v>
                </c:pt>
                <c:pt idx="61354">
                  <c:v>44464</c:v>
                </c:pt>
                <c:pt idx="61355">
                  <c:v>99935</c:v>
                </c:pt>
                <c:pt idx="61356">
                  <c:v>65957</c:v>
                </c:pt>
                <c:pt idx="61357">
                  <c:v>31338</c:v>
                </c:pt>
                <c:pt idx="61358">
                  <c:v>39617</c:v>
                </c:pt>
                <c:pt idx="61359">
                  <c:v>35921</c:v>
                </c:pt>
                <c:pt idx="61360">
                  <c:v>37397</c:v>
                </c:pt>
                <c:pt idx="61361">
                  <c:v>43286</c:v>
                </c:pt>
                <c:pt idx="61362">
                  <c:v>328908</c:v>
                </c:pt>
                <c:pt idx="61363">
                  <c:v>72809</c:v>
                </c:pt>
                <c:pt idx="61364">
                  <c:v>50277</c:v>
                </c:pt>
                <c:pt idx="61365">
                  <c:v>25426</c:v>
                </c:pt>
                <c:pt idx="61366">
                  <c:v>45485</c:v>
                </c:pt>
                <c:pt idx="61367">
                  <c:v>23221</c:v>
                </c:pt>
                <c:pt idx="61368">
                  <c:v>25873</c:v>
                </c:pt>
                <c:pt idx="61369">
                  <c:v>36611</c:v>
                </c:pt>
                <c:pt idx="61370">
                  <c:v>49770</c:v>
                </c:pt>
                <c:pt idx="61371">
                  <c:v>38301</c:v>
                </c:pt>
                <c:pt idx="61372">
                  <c:v>40457</c:v>
                </c:pt>
                <c:pt idx="61373">
                  <c:v>28257</c:v>
                </c:pt>
                <c:pt idx="61374">
                  <c:v>192336</c:v>
                </c:pt>
                <c:pt idx="61375">
                  <c:v>275049</c:v>
                </c:pt>
                <c:pt idx="61376">
                  <c:v>55232</c:v>
                </c:pt>
                <c:pt idx="61377">
                  <c:v>64259</c:v>
                </c:pt>
                <c:pt idx="61378">
                  <c:v>51159</c:v>
                </c:pt>
                <c:pt idx="61379">
                  <c:v>28696</c:v>
                </c:pt>
                <c:pt idx="61380">
                  <c:v>41865</c:v>
                </c:pt>
                <c:pt idx="61381">
                  <c:v>38282</c:v>
                </c:pt>
                <c:pt idx="61382">
                  <c:v>32841</c:v>
                </c:pt>
                <c:pt idx="61383">
                  <c:v>33611</c:v>
                </c:pt>
                <c:pt idx="61384">
                  <c:v>59155</c:v>
                </c:pt>
                <c:pt idx="61385">
                  <c:v>84206</c:v>
                </c:pt>
                <c:pt idx="61386">
                  <c:v>240042</c:v>
                </c:pt>
                <c:pt idx="61387">
                  <c:v>81432</c:v>
                </c:pt>
                <c:pt idx="61388">
                  <c:v>27721</c:v>
                </c:pt>
                <c:pt idx="61389">
                  <c:v>40683</c:v>
                </c:pt>
                <c:pt idx="61390">
                  <c:v>29142</c:v>
                </c:pt>
                <c:pt idx="61391">
                  <c:v>88818</c:v>
                </c:pt>
                <c:pt idx="61392">
                  <c:v>42045</c:v>
                </c:pt>
                <c:pt idx="61393">
                  <c:v>35623</c:v>
                </c:pt>
                <c:pt idx="61394">
                  <c:v>32520</c:v>
                </c:pt>
                <c:pt idx="61395">
                  <c:v>51183</c:v>
                </c:pt>
                <c:pt idx="61396">
                  <c:v>27303</c:v>
                </c:pt>
                <c:pt idx="61397">
                  <c:v>23862</c:v>
                </c:pt>
                <c:pt idx="61398">
                  <c:v>40842</c:v>
                </c:pt>
                <c:pt idx="61399">
                  <c:v>36704</c:v>
                </c:pt>
                <c:pt idx="61400">
                  <c:v>47268</c:v>
                </c:pt>
                <c:pt idx="61401">
                  <c:v>43625</c:v>
                </c:pt>
                <c:pt idx="61402">
                  <c:v>37272</c:v>
                </c:pt>
                <c:pt idx="61403">
                  <c:v>33414</c:v>
                </c:pt>
                <c:pt idx="61404">
                  <c:v>22091</c:v>
                </c:pt>
                <c:pt idx="61405">
                  <c:v>29561</c:v>
                </c:pt>
                <c:pt idx="61406">
                  <c:v>63116</c:v>
                </c:pt>
                <c:pt idx="61407">
                  <c:v>49654</c:v>
                </c:pt>
                <c:pt idx="61408">
                  <c:v>63408</c:v>
                </c:pt>
                <c:pt idx="61409">
                  <c:v>44225</c:v>
                </c:pt>
                <c:pt idx="61410">
                  <c:v>110767</c:v>
                </c:pt>
                <c:pt idx="61411">
                  <c:v>40642</c:v>
                </c:pt>
                <c:pt idx="61412">
                  <c:v>57661</c:v>
                </c:pt>
                <c:pt idx="61413">
                  <c:v>53528</c:v>
                </c:pt>
                <c:pt idx="61414">
                  <c:v>40703</c:v>
                </c:pt>
                <c:pt idx="61415">
                  <c:v>31828</c:v>
                </c:pt>
                <c:pt idx="61416">
                  <c:v>56673</c:v>
                </c:pt>
                <c:pt idx="61417">
                  <c:v>24580</c:v>
                </c:pt>
                <c:pt idx="61418">
                  <c:v>21372</c:v>
                </c:pt>
                <c:pt idx="61419">
                  <c:v>112649</c:v>
                </c:pt>
                <c:pt idx="61420">
                  <c:v>44407</c:v>
                </c:pt>
                <c:pt idx="61421">
                  <c:v>40169</c:v>
                </c:pt>
                <c:pt idx="61422">
                  <c:v>26544</c:v>
                </c:pt>
                <c:pt idx="61423">
                  <c:v>94248</c:v>
                </c:pt>
                <c:pt idx="61424">
                  <c:v>32708</c:v>
                </c:pt>
                <c:pt idx="61425">
                  <c:v>53874</c:v>
                </c:pt>
                <c:pt idx="61426">
                  <c:v>27687</c:v>
                </c:pt>
                <c:pt idx="61427">
                  <c:v>42449</c:v>
                </c:pt>
                <c:pt idx="61428">
                  <c:v>26243</c:v>
                </c:pt>
                <c:pt idx="61429">
                  <c:v>56016</c:v>
                </c:pt>
                <c:pt idx="61430">
                  <c:v>36060</c:v>
                </c:pt>
                <c:pt idx="61431">
                  <c:v>33836</c:v>
                </c:pt>
                <c:pt idx="61432">
                  <c:v>82194</c:v>
                </c:pt>
                <c:pt idx="61433">
                  <c:v>281969</c:v>
                </c:pt>
                <c:pt idx="61434">
                  <c:v>190593</c:v>
                </c:pt>
                <c:pt idx="61435">
                  <c:v>52894</c:v>
                </c:pt>
                <c:pt idx="61436">
                  <c:v>38709</c:v>
                </c:pt>
                <c:pt idx="61437">
                  <c:v>44239</c:v>
                </c:pt>
                <c:pt idx="61438">
                  <c:v>60082</c:v>
                </c:pt>
                <c:pt idx="61439">
                  <c:v>62939</c:v>
                </c:pt>
                <c:pt idx="61440">
                  <c:v>49992</c:v>
                </c:pt>
                <c:pt idx="61441">
                  <c:v>51783</c:v>
                </c:pt>
                <c:pt idx="61442">
                  <c:v>37906</c:v>
                </c:pt>
                <c:pt idx="61443">
                  <c:v>21530</c:v>
                </c:pt>
                <c:pt idx="61444">
                  <c:v>58421</c:v>
                </c:pt>
                <c:pt idx="61445">
                  <c:v>78787</c:v>
                </c:pt>
                <c:pt idx="61446">
                  <c:v>32369</c:v>
                </c:pt>
                <c:pt idx="61447">
                  <c:v>43312</c:v>
                </c:pt>
                <c:pt idx="61448">
                  <c:v>45938</c:v>
                </c:pt>
                <c:pt idx="61449">
                  <c:v>32095</c:v>
                </c:pt>
                <c:pt idx="61450">
                  <c:v>59224</c:v>
                </c:pt>
                <c:pt idx="61451">
                  <c:v>53900</c:v>
                </c:pt>
                <c:pt idx="61452">
                  <c:v>44184</c:v>
                </c:pt>
                <c:pt idx="61453">
                  <c:v>215447</c:v>
                </c:pt>
                <c:pt idx="61454">
                  <c:v>45918</c:v>
                </c:pt>
                <c:pt idx="61455">
                  <c:v>40240</c:v>
                </c:pt>
                <c:pt idx="61456">
                  <c:v>51359</c:v>
                </c:pt>
                <c:pt idx="61457">
                  <c:v>90431</c:v>
                </c:pt>
                <c:pt idx="61458">
                  <c:v>103118</c:v>
                </c:pt>
                <c:pt idx="61459">
                  <c:v>23083</c:v>
                </c:pt>
                <c:pt idx="61460">
                  <c:v>118190</c:v>
                </c:pt>
                <c:pt idx="61461">
                  <c:v>109450</c:v>
                </c:pt>
                <c:pt idx="61462">
                  <c:v>41979</c:v>
                </c:pt>
                <c:pt idx="61463">
                  <c:v>166306</c:v>
                </c:pt>
                <c:pt idx="61464">
                  <c:v>27907</c:v>
                </c:pt>
                <c:pt idx="61465">
                  <c:v>25405</c:v>
                </c:pt>
                <c:pt idx="61466">
                  <c:v>162436</c:v>
                </c:pt>
                <c:pt idx="61467">
                  <c:v>51069</c:v>
                </c:pt>
                <c:pt idx="61468">
                  <c:v>42962</c:v>
                </c:pt>
                <c:pt idx="61469">
                  <c:v>25812</c:v>
                </c:pt>
                <c:pt idx="61470">
                  <c:v>33916</c:v>
                </c:pt>
                <c:pt idx="61471">
                  <c:v>102459</c:v>
                </c:pt>
                <c:pt idx="61472">
                  <c:v>26348</c:v>
                </c:pt>
                <c:pt idx="61473">
                  <c:v>125625</c:v>
                </c:pt>
                <c:pt idx="61474">
                  <c:v>102396</c:v>
                </c:pt>
                <c:pt idx="61475">
                  <c:v>25109</c:v>
                </c:pt>
                <c:pt idx="61476">
                  <c:v>44918</c:v>
                </c:pt>
                <c:pt idx="61477">
                  <c:v>32518</c:v>
                </c:pt>
                <c:pt idx="61478">
                  <c:v>42918</c:v>
                </c:pt>
                <c:pt idx="61479">
                  <c:v>35294</c:v>
                </c:pt>
                <c:pt idx="61480">
                  <c:v>240661</c:v>
                </c:pt>
                <c:pt idx="61481">
                  <c:v>33651</c:v>
                </c:pt>
                <c:pt idx="61482">
                  <c:v>30956</c:v>
                </c:pt>
                <c:pt idx="61483">
                  <c:v>37405</c:v>
                </c:pt>
                <c:pt idx="61484">
                  <c:v>23157</c:v>
                </c:pt>
                <c:pt idx="61485">
                  <c:v>59196</c:v>
                </c:pt>
                <c:pt idx="61486">
                  <c:v>95494</c:v>
                </c:pt>
                <c:pt idx="61487">
                  <c:v>43643</c:v>
                </c:pt>
                <c:pt idx="61488">
                  <c:v>36857</c:v>
                </c:pt>
                <c:pt idx="61489">
                  <c:v>57887</c:v>
                </c:pt>
                <c:pt idx="61490">
                  <c:v>53155</c:v>
                </c:pt>
                <c:pt idx="61491">
                  <c:v>27022</c:v>
                </c:pt>
                <c:pt idx="61492">
                  <c:v>116271</c:v>
                </c:pt>
                <c:pt idx="61493">
                  <c:v>36457</c:v>
                </c:pt>
                <c:pt idx="61494">
                  <c:v>30446</c:v>
                </c:pt>
                <c:pt idx="61495">
                  <c:v>26104</c:v>
                </c:pt>
                <c:pt idx="61496">
                  <c:v>58815</c:v>
                </c:pt>
                <c:pt idx="61497">
                  <c:v>34699</c:v>
                </c:pt>
                <c:pt idx="61498">
                  <c:v>43020</c:v>
                </c:pt>
                <c:pt idx="61499">
                  <c:v>121165</c:v>
                </c:pt>
                <c:pt idx="61500">
                  <c:v>75930</c:v>
                </c:pt>
                <c:pt idx="61501">
                  <c:v>33101</c:v>
                </c:pt>
                <c:pt idx="61502">
                  <c:v>31469</c:v>
                </c:pt>
                <c:pt idx="61503">
                  <c:v>39766</c:v>
                </c:pt>
                <c:pt idx="61504">
                  <c:v>43865</c:v>
                </c:pt>
                <c:pt idx="61505">
                  <c:v>29380</c:v>
                </c:pt>
                <c:pt idx="61506">
                  <c:v>24100</c:v>
                </c:pt>
                <c:pt idx="61507">
                  <c:v>56488</c:v>
                </c:pt>
                <c:pt idx="61508">
                  <c:v>63031</c:v>
                </c:pt>
                <c:pt idx="61509">
                  <c:v>23642</c:v>
                </c:pt>
                <c:pt idx="61510">
                  <c:v>33625</c:v>
                </c:pt>
                <c:pt idx="61511">
                  <c:v>80636</c:v>
                </c:pt>
                <c:pt idx="61512">
                  <c:v>26658</c:v>
                </c:pt>
                <c:pt idx="61513">
                  <c:v>272315</c:v>
                </c:pt>
                <c:pt idx="61514">
                  <c:v>39457</c:v>
                </c:pt>
                <c:pt idx="61515">
                  <c:v>45694</c:v>
                </c:pt>
                <c:pt idx="61516">
                  <c:v>95944</c:v>
                </c:pt>
                <c:pt idx="61517">
                  <c:v>44954</c:v>
                </c:pt>
                <c:pt idx="61518">
                  <c:v>36538</c:v>
                </c:pt>
                <c:pt idx="61519">
                  <c:v>75184</c:v>
                </c:pt>
                <c:pt idx="61520">
                  <c:v>64913</c:v>
                </c:pt>
                <c:pt idx="61521">
                  <c:v>51785</c:v>
                </c:pt>
                <c:pt idx="61522">
                  <c:v>26053</c:v>
                </c:pt>
                <c:pt idx="61523">
                  <c:v>35068</c:v>
                </c:pt>
                <c:pt idx="61524">
                  <c:v>43733</c:v>
                </c:pt>
                <c:pt idx="61525">
                  <c:v>48795</c:v>
                </c:pt>
                <c:pt idx="61526">
                  <c:v>78170</c:v>
                </c:pt>
                <c:pt idx="61527">
                  <c:v>52703</c:v>
                </c:pt>
                <c:pt idx="61528">
                  <c:v>33256</c:v>
                </c:pt>
                <c:pt idx="61529">
                  <c:v>45731</c:v>
                </c:pt>
                <c:pt idx="61530">
                  <c:v>71121</c:v>
                </c:pt>
                <c:pt idx="61531">
                  <c:v>98452</c:v>
                </c:pt>
                <c:pt idx="61532">
                  <c:v>35020</c:v>
                </c:pt>
                <c:pt idx="61533">
                  <c:v>52547</c:v>
                </c:pt>
                <c:pt idx="61534">
                  <c:v>24279</c:v>
                </c:pt>
                <c:pt idx="61535">
                  <c:v>29016</c:v>
                </c:pt>
                <c:pt idx="61536">
                  <c:v>52020</c:v>
                </c:pt>
                <c:pt idx="61537">
                  <c:v>27327</c:v>
                </c:pt>
                <c:pt idx="61538">
                  <c:v>53098</c:v>
                </c:pt>
                <c:pt idx="61539">
                  <c:v>36264</c:v>
                </c:pt>
                <c:pt idx="61540">
                  <c:v>59311</c:v>
                </c:pt>
                <c:pt idx="61541">
                  <c:v>23226</c:v>
                </c:pt>
                <c:pt idx="61542">
                  <c:v>39037</c:v>
                </c:pt>
                <c:pt idx="61543">
                  <c:v>32091</c:v>
                </c:pt>
                <c:pt idx="61544">
                  <c:v>280343</c:v>
                </c:pt>
                <c:pt idx="61545">
                  <c:v>73901</c:v>
                </c:pt>
                <c:pt idx="61546">
                  <c:v>65907</c:v>
                </c:pt>
                <c:pt idx="61547">
                  <c:v>26815</c:v>
                </c:pt>
                <c:pt idx="61548">
                  <c:v>58590</c:v>
                </c:pt>
                <c:pt idx="61549">
                  <c:v>29884</c:v>
                </c:pt>
                <c:pt idx="61550">
                  <c:v>122869</c:v>
                </c:pt>
                <c:pt idx="61551">
                  <c:v>24201</c:v>
                </c:pt>
                <c:pt idx="61552">
                  <c:v>56631</c:v>
                </c:pt>
                <c:pt idx="61553">
                  <c:v>22970</c:v>
                </c:pt>
                <c:pt idx="61554">
                  <c:v>95901</c:v>
                </c:pt>
                <c:pt idx="61555">
                  <c:v>106061</c:v>
                </c:pt>
                <c:pt idx="61556">
                  <c:v>62144</c:v>
                </c:pt>
                <c:pt idx="61557">
                  <c:v>32067</c:v>
                </c:pt>
                <c:pt idx="61558">
                  <c:v>26560</c:v>
                </c:pt>
                <c:pt idx="61559">
                  <c:v>33457</c:v>
                </c:pt>
                <c:pt idx="61560">
                  <c:v>51943</c:v>
                </c:pt>
                <c:pt idx="61561">
                  <c:v>34084</c:v>
                </c:pt>
                <c:pt idx="61562">
                  <c:v>36533</c:v>
                </c:pt>
                <c:pt idx="61563">
                  <c:v>40675</c:v>
                </c:pt>
                <c:pt idx="61564">
                  <c:v>227819</c:v>
                </c:pt>
                <c:pt idx="61565">
                  <c:v>33486</c:v>
                </c:pt>
                <c:pt idx="61566">
                  <c:v>43698</c:v>
                </c:pt>
                <c:pt idx="61567">
                  <c:v>50962</c:v>
                </c:pt>
                <c:pt idx="61568">
                  <c:v>123830</c:v>
                </c:pt>
                <c:pt idx="61569">
                  <c:v>56076</c:v>
                </c:pt>
                <c:pt idx="61570">
                  <c:v>39106</c:v>
                </c:pt>
                <c:pt idx="61571">
                  <c:v>60594</c:v>
                </c:pt>
                <c:pt idx="61572">
                  <c:v>139298</c:v>
                </c:pt>
                <c:pt idx="61573">
                  <c:v>97243</c:v>
                </c:pt>
                <c:pt idx="61574">
                  <c:v>58644</c:v>
                </c:pt>
                <c:pt idx="61575">
                  <c:v>28030</c:v>
                </c:pt>
                <c:pt idx="61576">
                  <c:v>28903</c:v>
                </c:pt>
                <c:pt idx="61577">
                  <c:v>101553</c:v>
                </c:pt>
                <c:pt idx="61578">
                  <c:v>58159</c:v>
                </c:pt>
                <c:pt idx="61579">
                  <c:v>36851</c:v>
                </c:pt>
                <c:pt idx="61580">
                  <c:v>75107</c:v>
                </c:pt>
                <c:pt idx="61581">
                  <c:v>31070</c:v>
                </c:pt>
                <c:pt idx="61582">
                  <c:v>37423</c:v>
                </c:pt>
                <c:pt idx="61583">
                  <c:v>27759</c:v>
                </c:pt>
                <c:pt idx="61584">
                  <c:v>55464</c:v>
                </c:pt>
                <c:pt idx="61585">
                  <c:v>41917</c:v>
                </c:pt>
                <c:pt idx="61586">
                  <c:v>41063</c:v>
                </c:pt>
                <c:pt idx="61587">
                  <c:v>21597</c:v>
                </c:pt>
                <c:pt idx="61588">
                  <c:v>61928</c:v>
                </c:pt>
                <c:pt idx="61589">
                  <c:v>23604</c:v>
                </c:pt>
                <c:pt idx="61590">
                  <c:v>35459</c:v>
                </c:pt>
                <c:pt idx="61591">
                  <c:v>41733</c:v>
                </c:pt>
                <c:pt idx="61592">
                  <c:v>28727</c:v>
                </c:pt>
                <c:pt idx="61593">
                  <c:v>42410</c:v>
                </c:pt>
                <c:pt idx="61594">
                  <c:v>33219</c:v>
                </c:pt>
                <c:pt idx="61595">
                  <c:v>96962</c:v>
                </c:pt>
                <c:pt idx="61596">
                  <c:v>35093</c:v>
                </c:pt>
                <c:pt idx="61597">
                  <c:v>41364</c:v>
                </c:pt>
                <c:pt idx="61598">
                  <c:v>28551</c:v>
                </c:pt>
                <c:pt idx="61599">
                  <c:v>42402</c:v>
                </c:pt>
                <c:pt idx="61600">
                  <c:v>51248</c:v>
                </c:pt>
                <c:pt idx="61601">
                  <c:v>40975</c:v>
                </c:pt>
                <c:pt idx="61602">
                  <c:v>84796</c:v>
                </c:pt>
                <c:pt idx="61603">
                  <c:v>32977</c:v>
                </c:pt>
                <c:pt idx="61604">
                  <c:v>61181</c:v>
                </c:pt>
                <c:pt idx="61605">
                  <c:v>53677</c:v>
                </c:pt>
                <c:pt idx="61606">
                  <c:v>25096</c:v>
                </c:pt>
                <c:pt idx="61607">
                  <c:v>56182</c:v>
                </c:pt>
                <c:pt idx="61608">
                  <c:v>32522</c:v>
                </c:pt>
                <c:pt idx="61609">
                  <c:v>27903</c:v>
                </c:pt>
                <c:pt idx="61610">
                  <c:v>50910</c:v>
                </c:pt>
                <c:pt idx="61611">
                  <c:v>88775</c:v>
                </c:pt>
                <c:pt idx="61612">
                  <c:v>37272</c:v>
                </c:pt>
                <c:pt idx="61613">
                  <c:v>36429</c:v>
                </c:pt>
                <c:pt idx="61614">
                  <c:v>24732</c:v>
                </c:pt>
                <c:pt idx="61615">
                  <c:v>36802</c:v>
                </c:pt>
                <c:pt idx="61616">
                  <c:v>15000</c:v>
                </c:pt>
                <c:pt idx="61617">
                  <c:v>24727</c:v>
                </c:pt>
                <c:pt idx="61618">
                  <c:v>37899</c:v>
                </c:pt>
                <c:pt idx="61619">
                  <c:v>131954</c:v>
                </c:pt>
                <c:pt idx="61620">
                  <c:v>30571</c:v>
                </c:pt>
                <c:pt idx="61621">
                  <c:v>40884</c:v>
                </c:pt>
                <c:pt idx="61622">
                  <c:v>39097</c:v>
                </c:pt>
                <c:pt idx="61623">
                  <c:v>52900</c:v>
                </c:pt>
                <c:pt idx="61624">
                  <c:v>34536</c:v>
                </c:pt>
                <c:pt idx="61625">
                  <c:v>47665</c:v>
                </c:pt>
                <c:pt idx="61626">
                  <c:v>40297</c:v>
                </c:pt>
                <c:pt idx="61627">
                  <c:v>23065</c:v>
                </c:pt>
                <c:pt idx="61628">
                  <c:v>54682</c:v>
                </c:pt>
                <c:pt idx="61629">
                  <c:v>31671</c:v>
                </c:pt>
                <c:pt idx="61630">
                  <c:v>135279</c:v>
                </c:pt>
                <c:pt idx="61631">
                  <c:v>26109</c:v>
                </c:pt>
                <c:pt idx="61632">
                  <c:v>135834</c:v>
                </c:pt>
                <c:pt idx="61633">
                  <c:v>83904</c:v>
                </c:pt>
                <c:pt idx="61634">
                  <c:v>38630</c:v>
                </c:pt>
                <c:pt idx="61635">
                  <c:v>38109</c:v>
                </c:pt>
                <c:pt idx="61636">
                  <c:v>56004</c:v>
                </c:pt>
                <c:pt idx="61637">
                  <c:v>57300</c:v>
                </c:pt>
                <c:pt idx="61638">
                  <c:v>32834</c:v>
                </c:pt>
                <c:pt idx="61639">
                  <c:v>35326</c:v>
                </c:pt>
                <c:pt idx="61640">
                  <c:v>92745</c:v>
                </c:pt>
                <c:pt idx="61641">
                  <c:v>22020</c:v>
                </c:pt>
                <c:pt idx="61642">
                  <c:v>42847</c:v>
                </c:pt>
                <c:pt idx="61643">
                  <c:v>41672</c:v>
                </c:pt>
                <c:pt idx="61644">
                  <c:v>30948</c:v>
                </c:pt>
                <c:pt idx="61645">
                  <c:v>47256</c:v>
                </c:pt>
                <c:pt idx="61646">
                  <c:v>125898</c:v>
                </c:pt>
                <c:pt idx="61647">
                  <c:v>88408</c:v>
                </c:pt>
                <c:pt idx="61648">
                  <c:v>107358</c:v>
                </c:pt>
                <c:pt idx="61649">
                  <c:v>113047</c:v>
                </c:pt>
                <c:pt idx="61650">
                  <c:v>39515</c:v>
                </c:pt>
                <c:pt idx="61651">
                  <c:v>33387</c:v>
                </c:pt>
                <c:pt idx="61652">
                  <c:v>38969</c:v>
                </c:pt>
                <c:pt idx="61653">
                  <c:v>24904</c:v>
                </c:pt>
                <c:pt idx="61654">
                  <c:v>53814</c:v>
                </c:pt>
                <c:pt idx="61655">
                  <c:v>26064</c:v>
                </c:pt>
                <c:pt idx="61656">
                  <c:v>19486</c:v>
                </c:pt>
                <c:pt idx="61657">
                  <c:v>179132</c:v>
                </c:pt>
                <c:pt idx="61658">
                  <c:v>23834</c:v>
                </c:pt>
                <c:pt idx="61659">
                  <c:v>33703</c:v>
                </c:pt>
                <c:pt idx="61660">
                  <c:v>216255</c:v>
                </c:pt>
                <c:pt idx="61661">
                  <c:v>32289</c:v>
                </c:pt>
                <c:pt idx="61662">
                  <c:v>37693</c:v>
                </c:pt>
                <c:pt idx="61663">
                  <c:v>45098</c:v>
                </c:pt>
                <c:pt idx="61664">
                  <c:v>42325</c:v>
                </c:pt>
                <c:pt idx="61665">
                  <c:v>43578</c:v>
                </c:pt>
                <c:pt idx="61666">
                  <c:v>44372</c:v>
                </c:pt>
                <c:pt idx="61667">
                  <c:v>40505</c:v>
                </c:pt>
                <c:pt idx="61668">
                  <c:v>33236</c:v>
                </c:pt>
                <c:pt idx="61669">
                  <c:v>271583</c:v>
                </c:pt>
                <c:pt idx="61670">
                  <c:v>28280</c:v>
                </c:pt>
                <c:pt idx="61671">
                  <c:v>35721</c:v>
                </c:pt>
                <c:pt idx="61672">
                  <c:v>33610</c:v>
                </c:pt>
                <c:pt idx="61673">
                  <c:v>22897</c:v>
                </c:pt>
                <c:pt idx="61674">
                  <c:v>47905</c:v>
                </c:pt>
                <c:pt idx="61675">
                  <c:v>33505</c:v>
                </c:pt>
                <c:pt idx="61676">
                  <c:v>36853</c:v>
                </c:pt>
                <c:pt idx="61677">
                  <c:v>23912</c:v>
                </c:pt>
                <c:pt idx="61678">
                  <c:v>62221</c:v>
                </c:pt>
                <c:pt idx="61679">
                  <c:v>24902</c:v>
                </c:pt>
                <c:pt idx="61680">
                  <c:v>41528</c:v>
                </c:pt>
                <c:pt idx="61681">
                  <c:v>191812</c:v>
                </c:pt>
                <c:pt idx="61682">
                  <c:v>71554</c:v>
                </c:pt>
                <c:pt idx="61683">
                  <c:v>38673</c:v>
                </c:pt>
                <c:pt idx="61684">
                  <c:v>107196</c:v>
                </c:pt>
                <c:pt idx="61685">
                  <c:v>29935</c:v>
                </c:pt>
                <c:pt idx="61686">
                  <c:v>80002</c:v>
                </c:pt>
                <c:pt idx="61687">
                  <c:v>41839</c:v>
                </c:pt>
                <c:pt idx="61688">
                  <c:v>134880</c:v>
                </c:pt>
                <c:pt idx="61689">
                  <c:v>109510</c:v>
                </c:pt>
                <c:pt idx="61690">
                  <c:v>101340</c:v>
                </c:pt>
                <c:pt idx="61691">
                  <c:v>182703</c:v>
                </c:pt>
                <c:pt idx="61692">
                  <c:v>26304</c:v>
                </c:pt>
                <c:pt idx="61693">
                  <c:v>24682</c:v>
                </c:pt>
                <c:pt idx="61694">
                  <c:v>30202</c:v>
                </c:pt>
                <c:pt idx="61695">
                  <c:v>40115</c:v>
                </c:pt>
                <c:pt idx="61696">
                  <c:v>51698</c:v>
                </c:pt>
                <c:pt idx="61697">
                  <c:v>37352</c:v>
                </c:pt>
                <c:pt idx="61698">
                  <c:v>111037</c:v>
                </c:pt>
                <c:pt idx="61699">
                  <c:v>23863</c:v>
                </c:pt>
                <c:pt idx="61700">
                  <c:v>26352</c:v>
                </c:pt>
                <c:pt idx="61701">
                  <c:v>31963</c:v>
                </c:pt>
                <c:pt idx="61702">
                  <c:v>39914</c:v>
                </c:pt>
                <c:pt idx="61703">
                  <c:v>84064</c:v>
                </c:pt>
                <c:pt idx="61704">
                  <c:v>34921</c:v>
                </c:pt>
                <c:pt idx="61705">
                  <c:v>45537</c:v>
                </c:pt>
                <c:pt idx="61706">
                  <c:v>88378</c:v>
                </c:pt>
                <c:pt idx="61707">
                  <c:v>43944</c:v>
                </c:pt>
                <c:pt idx="61708">
                  <c:v>37265</c:v>
                </c:pt>
                <c:pt idx="61709">
                  <c:v>48987</c:v>
                </c:pt>
                <c:pt idx="61710">
                  <c:v>42491</c:v>
                </c:pt>
                <c:pt idx="61711">
                  <c:v>26098</c:v>
                </c:pt>
                <c:pt idx="61712">
                  <c:v>62204</c:v>
                </c:pt>
                <c:pt idx="61713">
                  <c:v>25790</c:v>
                </c:pt>
                <c:pt idx="61714">
                  <c:v>43155</c:v>
                </c:pt>
                <c:pt idx="61715">
                  <c:v>52881</c:v>
                </c:pt>
                <c:pt idx="61716">
                  <c:v>28665</c:v>
                </c:pt>
                <c:pt idx="61717">
                  <c:v>48461</c:v>
                </c:pt>
                <c:pt idx="61718">
                  <c:v>96075</c:v>
                </c:pt>
                <c:pt idx="61719">
                  <c:v>45007</c:v>
                </c:pt>
                <c:pt idx="61720">
                  <c:v>169275</c:v>
                </c:pt>
                <c:pt idx="61721">
                  <c:v>74774</c:v>
                </c:pt>
                <c:pt idx="61722">
                  <c:v>64132</c:v>
                </c:pt>
                <c:pt idx="61723">
                  <c:v>31767</c:v>
                </c:pt>
                <c:pt idx="61724">
                  <c:v>43319</c:v>
                </c:pt>
                <c:pt idx="61725">
                  <c:v>139308</c:v>
                </c:pt>
                <c:pt idx="61726">
                  <c:v>51174</c:v>
                </c:pt>
                <c:pt idx="61727">
                  <c:v>154561</c:v>
                </c:pt>
                <c:pt idx="61728">
                  <c:v>45804</c:v>
                </c:pt>
                <c:pt idx="61729">
                  <c:v>28918</c:v>
                </c:pt>
                <c:pt idx="61730">
                  <c:v>36506</c:v>
                </c:pt>
                <c:pt idx="61731">
                  <c:v>35324</c:v>
                </c:pt>
                <c:pt idx="61732">
                  <c:v>32074</c:v>
                </c:pt>
                <c:pt idx="61733">
                  <c:v>62203</c:v>
                </c:pt>
                <c:pt idx="61734">
                  <c:v>184896</c:v>
                </c:pt>
                <c:pt idx="61735">
                  <c:v>127919</c:v>
                </c:pt>
                <c:pt idx="61736">
                  <c:v>25777</c:v>
                </c:pt>
                <c:pt idx="61737">
                  <c:v>59192</c:v>
                </c:pt>
                <c:pt idx="61738">
                  <c:v>33043</c:v>
                </c:pt>
                <c:pt idx="61739">
                  <c:v>194051</c:v>
                </c:pt>
                <c:pt idx="61740">
                  <c:v>51372</c:v>
                </c:pt>
                <c:pt idx="61741">
                  <c:v>91450</c:v>
                </c:pt>
                <c:pt idx="61742">
                  <c:v>58731</c:v>
                </c:pt>
                <c:pt idx="61743">
                  <c:v>50936</c:v>
                </c:pt>
                <c:pt idx="61744">
                  <c:v>161566</c:v>
                </c:pt>
                <c:pt idx="61745">
                  <c:v>42660</c:v>
                </c:pt>
                <c:pt idx="61746">
                  <c:v>69373</c:v>
                </c:pt>
                <c:pt idx="61747">
                  <c:v>58607</c:v>
                </c:pt>
                <c:pt idx="61748">
                  <c:v>146332</c:v>
                </c:pt>
                <c:pt idx="61749">
                  <c:v>23074</c:v>
                </c:pt>
                <c:pt idx="61750">
                  <c:v>21679</c:v>
                </c:pt>
                <c:pt idx="61751">
                  <c:v>31134</c:v>
                </c:pt>
                <c:pt idx="61752">
                  <c:v>61224</c:v>
                </c:pt>
                <c:pt idx="61753">
                  <c:v>89599</c:v>
                </c:pt>
                <c:pt idx="61754">
                  <c:v>60411</c:v>
                </c:pt>
                <c:pt idx="61755">
                  <c:v>24176</c:v>
                </c:pt>
                <c:pt idx="61756">
                  <c:v>38867</c:v>
                </c:pt>
                <c:pt idx="61757">
                  <c:v>210698</c:v>
                </c:pt>
                <c:pt idx="61758">
                  <c:v>26497</c:v>
                </c:pt>
                <c:pt idx="61759">
                  <c:v>65348</c:v>
                </c:pt>
                <c:pt idx="61760">
                  <c:v>38510</c:v>
                </c:pt>
                <c:pt idx="61761">
                  <c:v>50767</c:v>
                </c:pt>
                <c:pt idx="61762">
                  <c:v>47370</c:v>
                </c:pt>
                <c:pt idx="61763">
                  <c:v>65546</c:v>
                </c:pt>
                <c:pt idx="61764">
                  <c:v>38980</c:v>
                </c:pt>
                <c:pt idx="61765">
                  <c:v>236081</c:v>
                </c:pt>
                <c:pt idx="61766">
                  <c:v>27780</c:v>
                </c:pt>
                <c:pt idx="61767">
                  <c:v>41757</c:v>
                </c:pt>
                <c:pt idx="61768">
                  <c:v>32823</c:v>
                </c:pt>
                <c:pt idx="61769">
                  <c:v>105222</c:v>
                </c:pt>
                <c:pt idx="61770">
                  <c:v>25994</c:v>
                </c:pt>
                <c:pt idx="61771">
                  <c:v>42147</c:v>
                </c:pt>
                <c:pt idx="61772">
                  <c:v>58561</c:v>
                </c:pt>
                <c:pt idx="61773">
                  <c:v>26502</c:v>
                </c:pt>
                <c:pt idx="61774">
                  <c:v>232381</c:v>
                </c:pt>
                <c:pt idx="61775">
                  <c:v>29591</c:v>
                </c:pt>
                <c:pt idx="61776">
                  <c:v>47956</c:v>
                </c:pt>
                <c:pt idx="61777">
                  <c:v>40533</c:v>
                </c:pt>
                <c:pt idx="61778">
                  <c:v>43072</c:v>
                </c:pt>
                <c:pt idx="61779">
                  <c:v>71670</c:v>
                </c:pt>
                <c:pt idx="61780">
                  <c:v>39947</c:v>
                </c:pt>
                <c:pt idx="61781">
                  <c:v>36218</c:v>
                </c:pt>
                <c:pt idx="61782">
                  <c:v>99150</c:v>
                </c:pt>
                <c:pt idx="61783">
                  <c:v>30289</c:v>
                </c:pt>
                <c:pt idx="61784">
                  <c:v>87272</c:v>
                </c:pt>
                <c:pt idx="61785">
                  <c:v>39316</c:v>
                </c:pt>
                <c:pt idx="61786">
                  <c:v>101678</c:v>
                </c:pt>
                <c:pt idx="61787">
                  <c:v>59348</c:v>
                </c:pt>
                <c:pt idx="61788">
                  <c:v>73012</c:v>
                </c:pt>
                <c:pt idx="61789">
                  <c:v>149801</c:v>
                </c:pt>
                <c:pt idx="61790">
                  <c:v>66694</c:v>
                </c:pt>
                <c:pt idx="61791">
                  <c:v>64860</c:v>
                </c:pt>
                <c:pt idx="61792">
                  <c:v>147365</c:v>
                </c:pt>
                <c:pt idx="61793">
                  <c:v>33842</c:v>
                </c:pt>
                <c:pt idx="61794">
                  <c:v>56705</c:v>
                </c:pt>
                <c:pt idx="61795">
                  <c:v>27238</c:v>
                </c:pt>
                <c:pt idx="61796">
                  <c:v>52596</c:v>
                </c:pt>
                <c:pt idx="61797">
                  <c:v>92337</c:v>
                </c:pt>
                <c:pt idx="61798">
                  <c:v>32956</c:v>
                </c:pt>
                <c:pt idx="61799">
                  <c:v>35781</c:v>
                </c:pt>
                <c:pt idx="61800">
                  <c:v>183887</c:v>
                </c:pt>
                <c:pt idx="61801">
                  <c:v>34619</c:v>
                </c:pt>
                <c:pt idx="61802">
                  <c:v>94457</c:v>
                </c:pt>
                <c:pt idx="61803">
                  <c:v>75259</c:v>
                </c:pt>
                <c:pt idx="61804">
                  <c:v>141183</c:v>
                </c:pt>
                <c:pt idx="61805">
                  <c:v>24938</c:v>
                </c:pt>
                <c:pt idx="61806">
                  <c:v>54811</c:v>
                </c:pt>
                <c:pt idx="61807">
                  <c:v>91374</c:v>
                </c:pt>
                <c:pt idx="61808">
                  <c:v>104550</c:v>
                </c:pt>
                <c:pt idx="61809">
                  <c:v>186094</c:v>
                </c:pt>
                <c:pt idx="61810">
                  <c:v>29328</c:v>
                </c:pt>
                <c:pt idx="61811">
                  <c:v>40212</c:v>
                </c:pt>
                <c:pt idx="61812">
                  <c:v>25776</c:v>
                </c:pt>
                <c:pt idx="61813">
                  <c:v>39980</c:v>
                </c:pt>
                <c:pt idx="61814">
                  <c:v>40297</c:v>
                </c:pt>
                <c:pt idx="61815">
                  <c:v>36595</c:v>
                </c:pt>
                <c:pt idx="61816">
                  <c:v>71065</c:v>
                </c:pt>
                <c:pt idx="61817">
                  <c:v>63214</c:v>
                </c:pt>
                <c:pt idx="61818">
                  <c:v>54201</c:v>
                </c:pt>
                <c:pt idx="61819">
                  <c:v>37438</c:v>
                </c:pt>
                <c:pt idx="61820">
                  <c:v>33506</c:v>
                </c:pt>
                <c:pt idx="61821">
                  <c:v>26308</c:v>
                </c:pt>
                <c:pt idx="61822">
                  <c:v>40482</c:v>
                </c:pt>
                <c:pt idx="61823">
                  <c:v>47166</c:v>
                </c:pt>
                <c:pt idx="61824">
                  <c:v>29517</c:v>
                </c:pt>
                <c:pt idx="61825">
                  <c:v>34230</c:v>
                </c:pt>
                <c:pt idx="61826">
                  <c:v>92060</c:v>
                </c:pt>
                <c:pt idx="61827">
                  <c:v>25675</c:v>
                </c:pt>
                <c:pt idx="61828">
                  <c:v>33049</c:v>
                </c:pt>
                <c:pt idx="61829">
                  <c:v>27806</c:v>
                </c:pt>
                <c:pt idx="61830">
                  <c:v>40811</c:v>
                </c:pt>
                <c:pt idx="61831">
                  <c:v>55009</c:v>
                </c:pt>
                <c:pt idx="61832">
                  <c:v>28789</c:v>
                </c:pt>
                <c:pt idx="61833">
                  <c:v>95499</c:v>
                </c:pt>
                <c:pt idx="61834">
                  <c:v>28048</c:v>
                </c:pt>
                <c:pt idx="61835">
                  <c:v>25847</c:v>
                </c:pt>
                <c:pt idx="61836">
                  <c:v>25076</c:v>
                </c:pt>
                <c:pt idx="61837">
                  <c:v>68524</c:v>
                </c:pt>
                <c:pt idx="61838">
                  <c:v>27832</c:v>
                </c:pt>
                <c:pt idx="61839">
                  <c:v>187635</c:v>
                </c:pt>
                <c:pt idx="61840">
                  <c:v>46560</c:v>
                </c:pt>
                <c:pt idx="61841">
                  <c:v>22030</c:v>
                </c:pt>
                <c:pt idx="61842">
                  <c:v>28518</c:v>
                </c:pt>
                <c:pt idx="61843">
                  <c:v>23882</c:v>
                </c:pt>
                <c:pt idx="61844">
                  <c:v>53167</c:v>
                </c:pt>
                <c:pt idx="61845">
                  <c:v>26029</c:v>
                </c:pt>
                <c:pt idx="61846">
                  <c:v>33399</c:v>
                </c:pt>
                <c:pt idx="61847">
                  <c:v>56101</c:v>
                </c:pt>
                <c:pt idx="61848">
                  <c:v>53502</c:v>
                </c:pt>
                <c:pt idx="61849">
                  <c:v>31059</c:v>
                </c:pt>
                <c:pt idx="61850">
                  <c:v>40117</c:v>
                </c:pt>
                <c:pt idx="61851">
                  <c:v>42493</c:v>
                </c:pt>
                <c:pt idx="61852">
                  <c:v>52740</c:v>
                </c:pt>
                <c:pt idx="61853">
                  <c:v>26833</c:v>
                </c:pt>
                <c:pt idx="61854">
                  <c:v>120825</c:v>
                </c:pt>
                <c:pt idx="61855">
                  <c:v>25138</c:v>
                </c:pt>
                <c:pt idx="61856">
                  <c:v>57573</c:v>
                </c:pt>
                <c:pt idx="61857">
                  <c:v>44549</c:v>
                </c:pt>
                <c:pt idx="61858">
                  <c:v>44082</c:v>
                </c:pt>
                <c:pt idx="61859">
                  <c:v>29377</c:v>
                </c:pt>
                <c:pt idx="61860">
                  <c:v>62328</c:v>
                </c:pt>
                <c:pt idx="61861">
                  <c:v>89570</c:v>
                </c:pt>
                <c:pt idx="61862">
                  <c:v>71746</c:v>
                </c:pt>
                <c:pt idx="61863">
                  <c:v>39411</c:v>
                </c:pt>
                <c:pt idx="61864">
                  <c:v>53860</c:v>
                </c:pt>
                <c:pt idx="61865">
                  <c:v>41841</c:v>
                </c:pt>
                <c:pt idx="61866">
                  <c:v>46258</c:v>
                </c:pt>
                <c:pt idx="61867">
                  <c:v>120262</c:v>
                </c:pt>
                <c:pt idx="61868">
                  <c:v>114748</c:v>
                </c:pt>
                <c:pt idx="61869">
                  <c:v>35052</c:v>
                </c:pt>
                <c:pt idx="61870">
                  <c:v>26118</c:v>
                </c:pt>
                <c:pt idx="61871">
                  <c:v>35214</c:v>
                </c:pt>
                <c:pt idx="61872">
                  <c:v>58342</c:v>
                </c:pt>
                <c:pt idx="61873">
                  <c:v>24266</c:v>
                </c:pt>
                <c:pt idx="61874">
                  <c:v>31826</c:v>
                </c:pt>
                <c:pt idx="61875">
                  <c:v>22301</c:v>
                </c:pt>
                <c:pt idx="61876">
                  <c:v>44204</c:v>
                </c:pt>
                <c:pt idx="61877">
                  <c:v>86169</c:v>
                </c:pt>
                <c:pt idx="61878">
                  <c:v>39918</c:v>
                </c:pt>
                <c:pt idx="61879">
                  <c:v>169608</c:v>
                </c:pt>
                <c:pt idx="61880">
                  <c:v>54779</c:v>
                </c:pt>
                <c:pt idx="61881">
                  <c:v>31373</c:v>
                </c:pt>
                <c:pt idx="61882">
                  <c:v>24665</c:v>
                </c:pt>
                <c:pt idx="61883">
                  <c:v>44617</c:v>
                </c:pt>
                <c:pt idx="61884">
                  <c:v>32510</c:v>
                </c:pt>
                <c:pt idx="61885">
                  <c:v>89995</c:v>
                </c:pt>
                <c:pt idx="61886">
                  <c:v>46473</c:v>
                </c:pt>
                <c:pt idx="61887">
                  <c:v>24421</c:v>
                </c:pt>
                <c:pt idx="61888">
                  <c:v>37828</c:v>
                </c:pt>
                <c:pt idx="61889">
                  <c:v>64953</c:v>
                </c:pt>
                <c:pt idx="61890">
                  <c:v>51620</c:v>
                </c:pt>
                <c:pt idx="61891">
                  <c:v>44550</c:v>
                </c:pt>
                <c:pt idx="61892">
                  <c:v>49813</c:v>
                </c:pt>
                <c:pt idx="61893">
                  <c:v>41330</c:v>
                </c:pt>
                <c:pt idx="61894">
                  <c:v>41367</c:v>
                </c:pt>
                <c:pt idx="61895">
                  <c:v>22986</c:v>
                </c:pt>
                <c:pt idx="61896">
                  <c:v>55390</c:v>
                </c:pt>
                <c:pt idx="61897">
                  <c:v>36026</c:v>
                </c:pt>
                <c:pt idx="61898">
                  <c:v>36810</c:v>
                </c:pt>
                <c:pt idx="61899">
                  <c:v>24925</c:v>
                </c:pt>
                <c:pt idx="61900">
                  <c:v>103323</c:v>
                </c:pt>
                <c:pt idx="61901">
                  <c:v>45397</c:v>
                </c:pt>
                <c:pt idx="61902">
                  <c:v>29139</c:v>
                </c:pt>
                <c:pt idx="61903">
                  <c:v>60459</c:v>
                </c:pt>
                <c:pt idx="61904">
                  <c:v>27853</c:v>
                </c:pt>
                <c:pt idx="61905">
                  <c:v>91295</c:v>
                </c:pt>
                <c:pt idx="61906">
                  <c:v>29321</c:v>
                </c:pt>
                <c:pt idx="61907">
                  <c:v>108285</c:v>
                </c:pt>
                <c:pt idx="61908">
                  <c:v>44686</c:v>
                </c:pt>
                <c:pt idx="61909">
                  <c:v>28646</c:v>
                </c:pt>
                <c:pt idx="61910">
                  <c:v>38958</c:v>
                </c:pt>
                <c:pt idx="61911">
                  <c:v>26963</c:v>
                </c:pt>
                <c:pt idx="61912">
                  <c:v>401123</c:v>
                </c:pt>
                <c:pt idx="61913">
                  <c:v>74119</c:v>
                </c:pt>
                <c:pt idx="61914">
                  <c:v>22516</c:v>
                </c:pt>
                <c:pt idx="61915">
                  <c:v>26405</c:v>
                </c:pt>
                <c:pt idx="61916">
                  <c:v>131602</c:v>
                </c:pt>
                <c:pt idx="61917">
                  <c:v>24791</c:v>
                </c:pt>
                <c:pt idx="61918">
                  <c:v>47422</c:v>
                </c:pt>
                <c:pt idx="61919">
                  <c:v>174890</c:v>
                </c:pt>
                <c:pt idx="61920">
                  <c:v>44504</c:v>
                </c:pt>
                <c:pt idx="61921">
                  <c:v>54342</c:v>
                </c:pt>
                <c:pt idx="61922">
                  <c:v>31892</c:v>
                </c:pt>
                <c:pt idx="61923">
                  <c:v>53639</c:v>
                </c:pt>
                <c:pt idx="61924">
                  <c:v>36413</c:v>
                </c:pt>
                <c:pt idx="61925">
                  <c:v>41363</c:v>
                </c:pt>
                <c:pt idx="61926">
                  <c:v>51060</c:v>
                </c:pt>
                <c:pt idx="61927">
                  <c:v>45660</c:v>
                </c:pt>
                <c:pt idx="61928">
                  <c:v>32664</c:v>
                </c:pt>
                <c:pt idx="61929">
                  <c:v>66799</c:v>
                </c:pt>
                <c:pt idx="61930">
                  <c:v>58039</c:v>
                </c:pt>
                <c:pt idx="61931">
                  <c:v>124188</c:v>
                </c:pt>
                <c:pt idx="61932">
                  <c:v>37021</c:v>
                </c:pt>
                <c:pt idx="61933">
                  <c:v>35363</c:v>
                </c:pt>
                <c:pt idx="61934">
                  <c:v>38992</c:v>
                </c:pt>
                <c:pt idx="61935">
                  <c:v>50925</c:v>
                </c:pt>
                <c:pt idx="61936">
                  <c:v>178227</c:v>
                </c:pt>
                <c:pt idx="61937">
                  <c:v>40706</c:v>
                </c:pt>
                <c:pt idx="61938">
                  <c:v>50733</c:v>
                </c:pt>
                <c:pt idx="61939">
                  <c:v>22802</c:v>
                </c:pt>
                <c:pt idx="61940">
                  <c:v>37064</c:v>
                </c:pt>
                <c:pt idx="61941">
                  <c:v>36923</c:v>
                </c:pt>
                <c:pt idx="61942">
                  <c:v>54864</c:v>
                </c:pt>
                <c:pt idx="61943">
                  <c:v>54182</c:v>
                </c:pt>
                <c:pt idx="61944">
                  <c:v>46765</c:v>
                </c:pt>
                <c:pt idx="61945">
                  <c:v>42890</c:v>
                </c:pt>
                <c:pt idx="61946">
                  <c:v>23305</c:v>
                </c:pt>
                <c:pt idx="61947">
                  <c:v>114446</c:v>
                </c:pt>
                <c:pt idx="61948">
                  <c:v>37309</c:v>
                </c:pt>
                <c:pt idx="61949">
                  <c:v>148701</c:v>
                </c:pt>
                <c:pt idx="61950">
                  <c:v>55951</c:v>
                </c:pt>
                <c:pt idx="61951">
                  <c:v>27957</c:v>
                </c:pt>
                <c:pt idx="61952">
                  <c:v>123540</c:v>
                </c:pt>
                <c:pt idx="61953">
                  <c:v>64593</c:v>
                </c:pt>
                <c:pt idx="61954">
                  <c:v>29416</c:v>
                </c:pt>
                <c:pt idx="61955">
                  <c:v>150268</c:v>
                </c:pt>
                <c:pt idx="61956">
                  <c:v>59280</c:v>
                </c:pt>
                <c:pt idx="61957">
                  <c:v>40960</c:v>
                </c:pt>
                <c:pt idx="61958">
                  <c:v>39112</c:v>
                </c:pt>
                <c:pt idx="61959">
                  <c:v>35730</c:v>
                </c:pt>
                <c:pt idx="61960">
                  <c:v>39560</c:v>
                </c:pt>
                <c:pt idx="61961">
                  <c:v>35893</c:v>
                </c:pt>
                <c:pt idx="61962">
                  <c:v>29226</c:v>
                </c:pt>
                <c:pt idx="61963">
                  <c:v>27816</c:v>
                </c:pt>
                <c:pt idx="61964">
                  <c:v>39297</c:v>
                </c:pt>
                <c:pt idx="61965">
                  <c:v>23068</c:v>
                </c:pt>
                <c:pt idx="61966">
                  <c:v>69492</c:v>
                </c:pt>
                <c:pt idx="61967">
                  <c:v>38684</c:v>
                </c:pt>
                <c:pt idx="61968">
                  <c:v>39631</c:v>
                </c:pt>
                <c:pt idx="61969">
                  <c:v>161696</c:v>
                </c:pt>
                <c:pt idx="61970">
                  <c:v>67457</c:v>
                </c:pt>
                <c:pt idx="61971">
                  <c:v>30546</c:v>
                </c:pt>
                <c:pt idx="61972">
                  <c:v>38225</c:v>
                </c:pt>
                <c:pt idx="61973">
                  <c:v>75043</c:v>
                </c:pt>
                <c:pt idx="61974">
                  <c:v>40468</c:v>
                </c:pt>
                <c:pt idx="61975">
                  <c:v>27666</c:v>
                </c:pt>
                <c:pt idx="61976">
                  <c:v>38086</c:v>
                </c:pt>
                <c:pt idx="61977">
                  <c:v>40674</c:v>
                </c:pt>
                <c:pt idx="61978">
                  <c:v>104217</c:v>
                </c:pt>
                <c:pt idx="61979">
                  <c:v>155322</c:v>
                </c:pt>
                <c:pt idx="61980">
                  <c:v>121851</c:v>
                </c:pt>
                <c:pt idx="61981">
                  <c:v>41208</c:v>
                </c:pt>
                <c:pt idx="61982">
                  <c:v>25492</c:v>
                </c:pt>
                <c:pt idx="61983">
                  <c:v>40079</c:v>
                </c:pt>
                <c:pt idx="61984">
                  <c:v>76028</c:v>
                </c:pt>
                <c:pt idx="61985">
                  <c:v>113293</c:v>
                </c:pt>
                <c:pt idx="61986">
                  <c:v>46133</c:v>
                </c:pt>
                <c:pt idx="61987">
                  <c:v>25612</c:v>
                </c:pt>
                <c:pt idx="61988">
                  <c:v>213060</c:v>
                </c:pt>
                <c:pt idx="61989">
                  <c:v>35347</c:v>
                </c:pt>
                <c:pt idx="61990">
                  <c:v>24760</c:v>
                </c:pt>
                <c:pt idx="61991">
                  <c:v>32265</c:v>
                </c:pt>
                <c:pt idx="61992">
                  <c:v>47107</c:v>
                </c:pt>
                <c:pt idx="61993">
                  <c:v>26406</c:v>
                </c:pt>
                <c:pt idx="61994">
                  <c:v>43275</c:v>
                </c:pt>
                <c:pt idx="61995">
                  <c:v>34978</c:v>
                </c:pt>
                <c:pt idx="61996">
                  <c:v>33371</c:v>
                </c:pt>
                <c:pt idx="61997">
                  <c:v>208287</c:v>
                </c:pt>
                <c:pt idx="61998">
                  <c:v>40005</c:v>
                </c:pt>
                <c:pt idx="61999">
                  <c:v>32360</c:v>
                </c:pt>
                <c:pt idx="62000">
                  <c:v>49740</c:v>
                </c:pt>
                <c:pt idx="62001">
                  <c:v>23336</c:v>
                </c:pt>
                <c:pt idx="62002">
                  <c:v>77235</c:v>
                </c:pt>
                <c:pt idx="62003">
                  <c:v>29451</c:v>
                </c:pt>
                <c:pt idx="62004">
                  <c:v>82103</c:v>
                </c:pt>
                <c:pt idx="62005">
                  <c:v>46647</c:v>
                </c:pt>
                <c:pt idx="62006">
                  <c:v>140161</c:v>
                </c:pt>
                <c:pt idx="62007">
                  <c:v>30793</c:v>
                </c:pt>
                <c:pt idx="62008">
                  <c:v>36998</c:v>
                </c:pt>
                <c:pt idx="62009">
                  <c:v>89435</c:v>
                </c:pt>
                <c:pt idx="62010">
                  <c:v>80388</c:v>
                </c:pt>
                <c:pt idx="62011">
                  <c:v>37732</c:v>
                </c:pt>
                <c:pt idx="62012">
                  <c:v>36156</c:v>
                </c:pt>
                <c:pt idx="62013">
                  <c:v>45985</c:v>
                </c:pt>
                <c:pt idx="62014">
                  <c:v>30028</c:v>
                </c:pt>
                <c:pt idx="62015">
                  <c:v>63165</c:v>
                </c:pt>
                <c:pt idx="62016">
                  <c:v>23087</c:v>
                </c:pt>
                <c:pt idx="62017">
                  <c:v>55120</c:v>
                </c:pt>
                <c:pt idx="62018">
                  <c:v>25630</c:v>
                </c:pt>
                <c:pt idx="62019">
                  <c:v>94139</c:v>
                </c:pt>
                <c:pt idx="62020">
                  <c:v>39012</c:v>
                </c:pt>
                <c:pt idx="62021">
                  <c:v>34857</c:v>
                </c:pt>
                <c:pt idx="62022">
                  <c:v>29482</c:v>
                </c:pt>
                <c:pt idx="62023">
                  <c:v>38594</c:v>
                </c:pt>
                <c:pt idx="62024">
                  <c:v>46770</c:v>
                </c:pt>
                <c:pt idx="62025">
                  <c:v>31353</c:v>
                </c:pt>
                <c:pt idx="62026">
                  <c:v>25733</c:v>
                </c:pt>
                <c:pt idx="62027">
                  <c:v>53563</c:v>
                </c:pt>
                <c:pt idx="62028">
                  <c:v>45867</c:v>
                </c:pt>
                <c:pt idx="62029">
                  <c:v>142308</c:v>
                </c:pt>
                <c:pt idx="62030">
                  <c:v>28631</c:v>
                </c:pt>
                <c:pt idx="62031">
                  <c:v>47069</c:v>
                </c:pt>
                <c:pt idx="62032">
                  <c:v>26768</c:v>
                </c:pt>
                <c:pt idx="62033">
                  <c:v>71612</c:v>
                </c:pt>
                <c:pt idx="62034">
                  <c:v>78786</c:v>
                </c:pt>
                <c:pt idx="62035">
                  <c:v>37750</c:v>
                </c:pt>
                <c:pt idx="62036">
                  <c:v>36522</c:v>
                </c:pt>
                <c:pt idx="62037">
                  <c:v>101159</c:v>
                </c:pt>
                <c:pt idx="62038">
                  <c:v>37513</c:v>
                </c:pt>
                <c:pt idx="62039">
                  <c:v>38753</c:v>
                </c:pt>
                <c:pt idx="62040">
                  <c:v>55301</c:v>
                </c:pt>
                <c:pt idx="62041">
                  <c:v>33659</c:v>
                </c:pt>
                <c:pt idx="62042">
                  <c:v>34264</c:v>
                </c:pt>
                <c:pt idx="62043">
                  <c:v>202110</c:v>
                </c:pt>
                <c:pt idx="62044">
                  <c:v>28928</c:v>
                </c:pt>
                <c:pt idx="62045">
                  <c:v>24409</c:v>
                </c:pt>
                <c:pt idx="62046">
                  <c:v>73806</c:v>
                </c:pt>
                <c:pt idx="62047">
                  <c:v>67177</c:v>
                </c:pt>
                <c:pt idx="62048">
                  <c:v>27809</c:v>
                </c:pt>
                <c:pt idx="62049">
                  <c:v>62232</c:v>
                </c:pt>
                <c:pt idx="62050">
                  <c:v>30771</c:v>
                </c:pt>
                <c:pt idx="62051">
                  <c:v>35167</c:v>
                </c:pt>
                <c:pt idx="62052">
                  <c:v>69211</c:v>
                </c:pt>
                <c:pt idx="62053">
                  <c:v>30542</c:v>
                </c:pt>
                <c:pt idx="62054">
                  <c:v>45763</c:v>
                </c:pt>
                <c:pt idx="62055">
                  <c:v>44182</c:v>
                </c:pt>
                <c:pt idx="62056">
                  <c:v>39783</c:v>
                </c:pt>
                <c:pt idx="62057">
                  <c:v>27868</c:v>
                </c:pt>
                <c:pt idx="62058">
                  <c:v>81930</c:v>
                </c:pt>
                <c:pt idx="62059">
                  <c:v>49979</c:v>
                </c:pt>
                <c:pt idx="62060">
                  <c:v>50823</c:v>
                </c:pt>
                <c:pt idx="62061">
                  <c:v>380354</c:v>
                </c:pt>
                <c:pt idx="62062">
                  <c:v>24513</c:v>
                </c:pt>
                <c:pt idx="62063">
                  <c:v>268985</c:v>
                </c:pt>
                <c:pt idx="62064">
                  <c:v>54046</c:v>
                </c:pt>
                <c:pt idx="62065">
                  <c:v>57871</c:v>
                </c:pt>
                <c:pt idx="62066">
                  <c:v>58679</c:v>
                </c:pt>
                <c:pt idx="62067">
                  <c:v>22303</c:v>
                </c:pt>
                <c:pt idx="62068">
                  <c:v>41360</c:v>
                </c:pt>
                <c:pt idx="62069">
                  <c:v>37779</c:v>
                </c:pt>
                <c:pt idx="62070">
                  <c:v>37319</c:v>
                </c:pt>
                <c:pt idx="62071">
                  <c:v>41579</c:v>
                </c:pt>
                <c:pt idx="62072">
                  <c:v>63616</c:v>
                </c:pt>
                <c:pt idx="62073">
                  <c:v>43071</c:v>
                </c:pt>
                <c:pt idx="62074">
                  <c:v>39505</c:v>
                </c:pt>
                <c:pt idx="62075">
                  <c:v>24499</c:v>
                </c:pt>
                <c:pt idx="62076">
                  <c:v>52277</c:v>
                </c:pt>
                <c:pt idx="62077">
                  <c:v>45002</c:v>
                </c:pt>
                <c:pt idx="62078">
                  <c:v>73572</c:v>
                </c:pt>
                <c:pt idx="62079">
                  <c:v>40768</c:v>
                </c:pt>
                <c:pt idx="62080">
                  <c:v>31791</c:v>
                </c:pt>
                <c:pt idx="62081">
                  <c:v>33746</c:v>
                </c:pt>
                <c:pt idx="62082">
                  <c:v>33112</c:v>
                </c:pt>
                <c:pt idx="62083">
                  <c:v>44076</c:v>
                </c:pt>
                <c:pt idx="62084">
                  <c:v>44927</c:v>
                </c:pt>
                <c:pt idx="62085">
                  <c:v>179923</c:v>
                </c:pt>
                <c:pt idx="62086">
                  <c:v>37128</c:v>
                </c:pt>
                <c:pt idx="62087">
                  <c:v>49771</c:v>
                </c:pt>
                <c:pt idx="62088">
                  <c:v>119061</c:v>
                </c:pt>
                <c:pt idx="62089">
                  <c:v>37784</c:v>
                </c:pt>
                <c:pt idx="62090">
                  <c:v>70127</c:v>
                </c:pt>
                <c:pt idx="62091">
                  <c:v>95893</c:v>
                </c:pt>
                <c:pt idx="62092">
                  <c:v>25732</c:v>
                </c:pt>
                <c:pt idx="62093">
                  <c:v>28204</c:v>
                </c:pt>
                <c:pt idx="62094">
                  <c:v>45790</c:v>
                </c:pt>
                <c:pt idx="62095">
                  <c:v>324927</c:v>
                </c:pt>
                <c:pt idx="62096">
                  <c:v>42734</c:v>
                </c:pt>
                <c:pt idx="62097">
                  <c:v>48058</c:v>
                </c:pt>
                <c:pt idx="62098">
                  <c:v>21366</c:v>
                </c:pt>
                <c:pt idx="62099">
                  <c:v>46130</c:v>
                </c:pt>
                <c:pt idx="62100">
                  <c:v>256811</c:v>
                </c:pt>
                <c:pt idx="62101">
                  <c:v>52198</c:v>
                </c:pt>
                <c:pt idx="62102">
                  <c:v>62223</c:v>
                </c:pt>
                <c:pt idx="62103">
                  <c:v>29770</c:v>
                </c:pt>
                <c:pt idx="62104">
                  <c:v>33428</c:v>
                </c:pt>
                <c:pt idx="62105">
                  <c:v>91524</c:v>
                </c:pt>
                <c:pt idx="62106">
                  <c:v>46215</c:v>
                </c:pt>
                <c:pt idx="62107">
                  <c:v>37952</c:v>
                </c:pt>
                <c:pt idx="62108">
                  <c:v>35371</c:v>
                </c:pt>
                <c:pt idx="62109">
                  <c:v>50171</c:v>
                </c:pt>
                <c:pt idx="62110">
                  <c:v>118693</c:v>
                </c:pt>
                <c:pt idx="62111">
                  <c:v>143693</c:v>
                </c:pt>
                <c:pt idx="62112">
                  <c:v>101968</c:v>
                </c:pt>
                <c:pt idx="62113">
                  <c:v>40601</c:v>
                </c:pt>
                <c:pt idx="62114">
                  <c:v>57816</c:v>
                </c:pt>
                <c:pt idx="62115">
                  <c:v>57073</c:v>
                </c:pt>
                <c:pt idx="62116">
                  <c:v>45598</c:v>
                </c:pt>
                <c:pt idx="62117">
                  <c:v>38577</c:v>
                </c:pt>
                <c:pt idx="62118">
                  <c:v>31926</c:v>
                </c:pt>
                <c:pt idx="62119">
                  <c:v>31794</c:v>
                </c:pt>
                <c:pt idx="62120">
                  <c:v>43488</c:v>
                </c:pt>
                <c:pt idx="62121">
                  <c:v>48636</c:v>
                </c:pt>
                <c:pt idx="62122">
                  <c:v>59953</c:v>
                </c:pt>
                <c:pt idx="62123">
                  <c:v>135744</c:v>
                </c:pt>
                <c:pt idx="62124">
                  <c:v>28255</c:v>
                </c:pt>
                <c:pt idx="62125">
                  <c:v>112286</c:v>
                </c:pt>
                <c:pt idx="62126">
                  <c:v>34581</c:v>
                </c:pt>
                <c:pt idx="62127">
                  <c:v>38279</c:v>
                </c:pt>
                <c:pt idx="62128">
                  <c:v>34076</c:v>
                </c:pt>
                <c:pt idx="62129">
                  <c:v>62718</c:v>
                </c:pt>
                <c:pt idx="62130">
                  <c:v>38511</c:v>
                </c:pt>
                <c:pt idx="62131">
                  <c:v>176927</c:v>
                </c:pt>
                <c:pt idx="62132">
                  <c:v>50106</c:v>
                </c:pt>
                <c:pt idx="62133">
                  <c:v>34554</c:v>
                </c:pt>
                <c:pt idx="62134">
                  <c:v>33459</c:v>
                </c:pt>
                <c:pt idx="62135">
                  <c:v>255787</c:v>
                </c:pt>
                <c:pt idx="62136">
                  <c:v>45602</c:v>
                </c:pt>
                <c:pt idx="62137">
                  <c:v>33846</c:v>
                </c:pt>
                <c:pt idx="62138">
                  <c:v>53846</c:v>
                </c:pt>
                <c:pt idx="62139">
                  <c:v>113170</c:v>
                </c:pt>
                <c:pt idx="62140">
                  <c:v>54357</c:v>
                </c:pt>
                <c:pt idx="62141">
                  <c:v>34265</c:v>
                </c:pt>
                <c:pt idx="62142">
                  <c:v>36538</c:v>
                </c:pt>
                <c:pt idx="62143">
                  <c:v>50181</c:v>
                </c:pt>
                <c:pt idx="62144">
                  <c:v>32486</c:v>
                </c:pt>
                <c:pt idx="62145">
                  <c:v>46274</c:v>
                </c:pt>
                <c:pt idx="62146">
                  <c:v>48644</c:v>
                </c:pt>
                <c:pt idx="62147">
                  <c:v>62779</c:v>
                </c:pt>
                <c:pt idx="62148">
                  <c:v>25246</c:v>
                </c:pt>
                <c:pt idx="62149">
                  <c:v>42292</c:v>
                </c:pt>
                <c:pt idx="62150">
                  <c:v>52560</c:v>
                </c:pt>
                <c:pt idx="62151">
                  <c:v>127409</c:v>
                </c:pt>
                <c:pt idx="62152">
                  <c:v>66136</c:v>
                </c:pt>
                <c:pt idx="62153">
                  <c:v>51380</c:v>
                </c:pt>
                <c:pt idx="62154">
                  <c:v>30017</c:v>
                </c:pt>
                <c:pt idx="62155">
                  <c:v>208775</c:v>
                </c:pt>
                <c:pt idx="62156">
                  <c:v>84120</c:v>
                </c:pt>
                <c:pt idx="62157">
                  <c:v>52038</c:v>
                </c:pt>
                <c:pt idx="62158">
                  <c:v>114334</c:v>
                </c:pt>
                <c:pt idx="62159">
                  <c:v>63051</c:v>
                </c:pt>
                <c:pt idx="62160">
                  <c:v>37335</c:v>
                </c:pt>
                <c:pt idx="62161">
                  <c:v>46710</c:v>
                </c:pt>
                <c:pt idx="62162">
                  <c:v>25299</c:v>
                </c:pt>
                <c:pt idx="62163">
                  <c:v>77716</c:v>
                </c:pt>
                <c:pt idx="62164">
                  <c:v>32878</c:v>
                </c:pt>
                <c:pt idx="62165">
                  <c:v>60326</c:v>
                </c:pt>
                <c:pt idx="62166">
                  <c:v>29010</c:v>
                </c:pt>
                <c:pt idx="62167">
                  <c:v>49070</c:v>
                </c:pt>
                <c:pt idx="62168">
                  <c:v>43818</c:v>
                </c:pt>
                <c:pt idx="62169">
                  <c:v>34387</c:v>
                </c:pt>
                <c:pt idx="62170">
                  <c:v>76915</c:v>
                </c:pt>
                <c:pt idx="62171">
                  <c:v>80913</c:v>
                </c:pt>
                <c:pt idx="62172">
                  <c:v>42981</c:v>
                </c:pt>
                <c:pt idx="62173">
                  <c:v>53993</c:v>
                </c:pt>
                <c:pt idx="62174">
                  <c:v>33583</c:v>
                </c:pt>
                <c:pt idx="62175">
                  <c:v>76784</c:v>
                </c:pt>
                <c:pt idx="62176">
                  <c:v>51342</c:v>
                </c:pt>
                <c:pt idx="62177">
                  <c:v>21913</c:v>
                </c:pt>
                <c:pt idx="62178">
                  <c:v>170323</c:v>
                </c:pt>
                <c:pt idx="62179">
                  <c:v>58682</c:v>
                </c:pt>
                <c:pt idx="62180">
                  <c:v>55843</c:v>
                </c:pt>
                <c:pt idx="62181">
                  <c:v>29948</c:v>
                </c:pt>
                <c:pt idx="62182">
                  <c:v>27436</c:v>
                </c:pt>
                <c:pt idx="62183">
                  <c:v>37181</c:v>
                </c:pt>
                <c:pt idx="62184">
                  <c:v>83788</c:v>
                </c:pt>
                <c:pt idx="62185">
                  <c:v>157862</c:v>
                </c:pt>
                <c:pt idx="62186">
                  <c:v>186777</c:v>
                </c:pt>
                <c:pt idx="62187">
                  <c:v>24169</c:v>
                </c:pt>
                <c:pt idx="62188">
                  <c:v>24562</c:v>
                </c:pt>
                <c:pt idx="62189">
                  <c:v>39916</c:v>
                </c:pt>
                <c:pt idx="62190">
                  <c:v>85300</c:v>
                </c:pt>
                <c:pt idx="62191">
                  <c:v>61589</c:v>
                </c:pt>
                <c:pt idx="62192">
                  <c:v>92821</c:v>
                </c:pt>
                <c:pt idx="62193">
                  <c:v>141437</c:v>
                </c:pt>
                <c:pt idx="62194">
                  <c:v>30231</c:v>
                </c:pt>
                <c:pt idx="62195">
                  <c:v>28080</c:v>
                </c:pt>
                <c:pt idx="62196">
                  <c:v>50214</c:v>
                </c:pt>
                <c:pt idx="62197">
                  <c:v>41907</c:v>
                </c:pt>
                <c:pt idx="62198">
                  <c:v>157312</c:v>
                </c:pt>
                <c:pt idx="62199">
                  <c:v>22922</c:v>
                </c:pt>
                <c:pt idx="62200">
                  <c:v>37434</c:v>
                </c:pt>
                <c:pt idx="62201">
                  <c:v>36739</c:v>
                </c:pt>
                <c:pt idx="62202">
                  <c:v>52707</c:v>
                </c:pt>
                <c:pt idx="62203">
                  <c:v>36373</c:v>
                </c:pt>
                <c:pt idx="62204">
                  <c:v>124563</c:v>
                </c:pt>
                <c:pt idx="62205">
                  <c:v>26677</c:v>
                </c:pt>
                <c:pt idx="62206">
                  <c:v>33666</c:v>
                </c:pt>
                <c:pt idx="62207">
                  <c:v>82846</c:v>
                </c:pt>
                <c:pt idx="62208">
                  <c:v>56150</c:v>
                </c:pt>
                <c:pt idx="62209">
                  <c:v>56167</c:v>
                </c:pt>
                <c:pt idx="62210">
                  <c:v>34810</c:v>
                </c:pt>
                <c:pt idx="62211">
                  <c:v>41339</c:v>
                </c:pt>
                <c:pt idx="62212">
                  <c:v>25469</c:v>
                </c:pt>
                <c:pt idx="62213">
                  <c:v>38446</c:v>
                </c:pt>
                <c:pt idx="62214">
                  <c:v>26963</c:v>
                </c:pt>
                <c:pt idx="62215">
                  <c:v>33612</c:v>
                </c:pt>
                <c:pt idx="62216">
                  <c:v>30264</c:v>
                </c:pt>
                <c:pt idx="62217">
                  <c:v>139514</c:v>
                </c:pt>
                <c:pt idx="62218">
                  <c:v>85028</c:v>
                </c:pt>
                <c:pt idx="62219">
                  <c:v>24305</c:v>
                </c:pt>
                <c:pt idx="62220">
                  <c:v>70586</c:v>
                </c:pt>
                <c:pt idx="62221">
                  <c:v>66868</c:v>
                </c:pt>
                <c:pt idx="62222">
                  <c:v>22857</c:v>
                </c:pt>
                <c:pt idx="62223">
                  <c:v>71625</c:v>
                </c:pt>
                <c:pt idx="62224">
                  <c:v>77094</c:v>
                </c:pt>
                <c:pt idx="62225">
                  <c:v>119846</c:v>
                </c:pt>
                <c:pt idx="62226">
                  <c:v>32938</c:v>
                </c:pt>
                <c:pt idx="62227">
                  <c:v>48391</c:v>
                </c:pt>
                <c:pt idx="62228">
                  <c:v>28104</c:v>
                </c:pt>
                <c:pt idx="62229">
                  <c:v>36042</c:v>
                </c:pt>
                <c:pt idx="62230">
                  <c:v>100545</c:v>
                </c:pt>
                <c:pt idx="62231">
                  <c:v>47757</c:v>
                </c:pt>
                <c:pt idx="62232">
                  <c:v>45866</c:v>
                </c:pt>
                <c:pt idx="62233">
                  <c:v>69240</c:v>
                </c:pt>
                <c:pt idx="62234">
                  <c:v>92426</c:v>
                </c:pt>
                <c:pt idx="62235">
                  <c:v>31856</c:v>
                </c:pt>
                <c:pt idx="62236">
                  <c:v>38921</c:v>
                </c:pt>
                <c:pt idx="62237">
                  <c:v>28331</c:v>
                </c:pt>
                <c:pt idx="62238">
                  <c:v>27157</c:v>
                </c:pt>
                <c:pt idx="62239">
                  <c:v>102009</c:v>
                </c:pt>
                <c:pt idx="62240">
                  <c:v>82097</c:v>
                </c:pt>
                <c:pt idx="62241">
                  <c:v>40884</c:v>
                </c:pt>
                <c:pt idx="62242">
                  <c:v>55420</c:v>
                </c:pt>
                <c:pt idx="62243">
                  <c:v>41233</c:v>
                </c:pt>
                <c:pt idx="62244">
                  <c:v>21775</c:v>
                </c:pt>
                <c:pt idx="62245">
                  <c:v>30974</c:v>
                </c:pt>
                <c:pt idx="62246">
                  <c:v>32771</c:v>
                </c:pt>
                <c:pt idx="62247">
                  <c:v>44983</c:v>
                </c:pt>
                <c:pt idx="62248">
                  <c:v>44160</c:v>
                </c:pt>
                <c:pt idx="62249">
                  <c:v>58471</c:v>
                </c:pt>
                <c:pt idx="62250">
                  <c:v>119644</c:v>
                </c:pt>
                <c:pt idx="62251">
                  <c:v>42887</c:v>
                </c:pt>
                <c:pt idx="62252">
                  <c:v>63857</c:v>
                </c:pt>
                <c:pt idx="62253">
                  <c:v>41746</c:v>
                </c:pt>
                <c:pt idx="62254">
                  <c:v>26089</c:v>
                </c:pt>
                <c:pt idx="62255">
                  <c:v>56494</c:v>
                </c:pt>
                <c:pt idx="62256">
                  <c:v>26370</c:v>
                </c:pt>
                <c:pt idx="62257">
                  <c:v>35868</c:v>
                </c:pt>
                <c:pt idx="62258">
                  <c:v>43279</c:v>
                </c:pt>
                <c:pt idx="62259">
                  <c:v>28442</c:v>
                </c:pt>
                <c:pt idx="62260">
                  <c:v>124880</c:v>
                </c:pt>
                <c:pt idx="62261">
                  <c:v>26076</c:v>
                </c:pt>
                <c:pt idx="62262">
                  <c:v>29756</c:v>
                </c:pt>
                <c:pt idx="62263">
                  <c:v>80024</c:v>
                </c:pt>
                <c:pt idx="62264">
                  <c:v>27291</c:v>
                </c:pt>
                <c:pt idx="62265">
                  <c:v>50890</c:v>
                </c:pt>
                <c:pt idx="62266">
                  <c:v>76274</c:v>
                </c:pt>
                <c:pt idx="62267">
                  <c:v>32107</c:v>
                </c:pt>
                <c:pt idx="62268">
                  <c:v>42025</c:v>
                </c:pt>
                <c:pt idx="62269">
                  <c:v>54925</c:v>
                </c:pt>
                <c:pt idx="62270">
                  <c:v>34235</c:v>
                </c:pt>
                <c:pt idx="62271">
                  <c:v>21932</c:v>
                </c:pt>
                <c:pt idx="62272">
                  <c:v>32577</c:v>
                </c:pt>
                <c:pt idx="62273">
                  <c:v>32522</c:v>
                </c:pt>
                <c:pt idx="62274">
                  <c:v>62045</c:v>
                </c:pt>
                <c:pt idx="62275">
                  <c:v>24390</c:v>
                </c:pt>
                <c:pt idx="62276">
                  <c:v>54959</c:v>
                </c:pt>
                <c:pt idx="62277">
                  <c:v>27195</c:v>
                </c:pt>
                <c:pt idx="62278">
                  <c:v>34031</c:v>
                </c:pt>
                <c:pt idx="62279">
                  <c:v>52348</c:v>
                </c:pt>
                <c:pt idx="62280">
                  <c:v>42018</c:v>
                </c:pt>
                <c:pt idx="62281">
                  <c:v>28642</c:v>
                </c:pt>
                <c:pt idx="62282">
                  <c:v>58884</c:v>
                </c:pt>
                <c:pt idx="62283">
                  <c:v>121293</c:v>
                </c:pt>
                <c:pt idx="62284">
                  <c:v>65303</c:v>
                </c:pt>
                <c:pt idx="62285">
                  <c:v>50665</c:v>
                </c:pt>
                <c:pt idx="62286">
                  <c:v>79870</c:v>
                </c:pt>
                <c:pt idx="62287">
                  <c:v>25752</c:v>
                </c:pt>
                <c:pt idx="62288">
                  <c:v>165742</c:v>
                </c:pt>
                <c:pt idx="62289">
                  <c:v>25261</c:v>
                </c:pt>
                <c:pt idx="62290">
                  <c:v>37631</c:v>
                </c:pt>
                <c:pt idx="62291">
                  <c:v>93058</c:v>
                </c:pt>
                <c:pt idx="62292">
                  <c:v>64870</c:v>
                </c:pt>
                <c:pt idx="62293">
                  <c:v>52460</c:v>
                </c:pt>
                <c:pt idx="62294">
                  <c:v>232680</c:v>
                </c:pt>
                <c:pt idx="62295">
                  <c:v>140458</c:v>
                </c:pt>
                <c:pt idx="62296">
                  <c:v>31725</c:v>
                </c:pt>
                <c:pt idx="62297">
                  <c:v>54311</c:v>
                </c:pt>
                <c:pt idx="62298">
                  <c:v>62267</c:v>
                </c:pt>
                <c:pt idx="62299">
                  <c:v>125771</c:v>
                </c:pt>
                <c:pt idx="62300">
                  <c:v>30817</c:v>
                </c:pt>
                <c:pt idx="62301">
                  <c:v>41543</c:v>
                </c:pt>
                <c:pt idx="62302">
                  <c:v>56396</c:v>
                </c:pt>
                <c:pt idx="62303">
                  <c:v>42911</c:v>
                </c:pt>
                <c:pt idx="62304">
                  <c:v>20421</c:v>
                </c:pt>
                <c:pt idx="62305">
                  <c:v>45624</c:v>
                </c:pt>
                <c:pt idx="62306">
                  <c:v>27725</c:v>
                </c:pt>
                <c:pt idx="62307">
                  <c:v>42605</c:v>
                </c:pt>
                <c:pt idx="62308">
                  <c:v>64591</c:v>
                </c:pt>
                <c:pt idx="62309">
                  <c:v>31945</c:v>
                </c:pt>
                <c:pt idx="62310">
                  <c:v>148777</c:v>
                </c:pt>
                <c:pt idx="62311">
                  <c:v>35109</c:v>
                </c:pt>
                <c:pt idx="62312">
                  <c:v>86246</c:v>
                </c:pt>
                <c:pt idx="62313">
                  <c:v>53272</c:v>
                </c:pt>
                <c:pt idx="62314">
                  <c:v>20694</c:v>
                </c:pt>
                <c:pt idx="62315">
                  <c:v>38867</c:v>
                </c:pt>
                <c:pt idx="62316">
                  <c:v>71625</c:v>
                </c:pt>
                <c:pt idx="62317">
                  <c:v>73192</c:v>
                </c:pt>
                <c:pt idx="62318">
                  <c:v>47035</c:v>
                </c:pt>
                <c:pt idx="62319">
                  <c:v>142164</c:v>
                </c:pt>
                <c:pt idx="62320">
                  <c:v>31325</c:v>
                </c:pt>
                <c:pt idx="62321">
                  <c:v>28637</c:v>
                </c:pt>
                <c:pt idx="62322">
                  <c:v>36358</c:v>
                </c:pt>
                <c:pt idx="62323">
                  <c:v>42435</c:v>
                </c:pt>
                <c:pt idx="62324">
                  <c:v>43196</c:v>
                </c:pt>
                <c:pt idx="62325">
                  <c:v>25371</c:v>
                </c:pt>
                <c:pt idx="62326">
                  <c:v>32631</c:v>
                </c:pt>
                <c:pt idx="62327">
                  <c:v>36690</c:v>
                </c:pt>
                <c:pt idx="62328">
                  <c:v>38744</c:v>
                </c:pt>
                <c:pt idx="62329">
                  <c:v>43826</c:v>
                </c:pt>
                <c:pt idx="62330">
                  <c:v>41726</c:v>
                </c:pt>
                <c:pt idx="62331">
                  <c:v>104538</c:v>
                </c:pt>
                <c:pt idx="62332">
                  <c:v>48496</c:v>
                </c:pt>
                <c:pt idx="62333">
                  <c:v>121991</c:v>
                </c:pt>
                <c:pt idx="62334">
                  <c:v>67698</c:v>
                </c:pt>
                <c:pt idx="62335">
                  <c:v>59471</c:v>
                </c:pt>
                <c:pt idx="62336">
                  <c:v>25290</c:v>
                </c:pt>
                <c:pt idx="62337">
                  <c:v>21041</c:v>
                </c:pt>
                <c:pt idx="62338">
                  <c:v>23253</c:v>
                </c:pt>
                <c:pt idx="62339">
                  <c:v>99324</c:v>
                </c:pt>
                <c:pt idx="62340">
                  <c:v>45559</c:v>
                </c:pt>
                <c:pt idx="62341">
                  <c:v>38399</c:v>
                </c:pt>
                <c:pt idx="62342">
                  <c:v>58912</c:v>
                </c:pt>
                <c:pt idx="62343">
                  <c:v>40148</c:v>
                </c:pt>
                <c:pt idx="62344">
                  <c:v>54977</c:v>
                </c:pt>
                <c:pt idx="62345">
                  <c:v>41990</c:v>
                </c:pt>
                <c:pt idx="62346">
                  <c:v>45812</c:v>
                </c:pt>
                <c:pt idx="62347">
                  <c:v>235382</c:v>
                </c:pt>
                <c:pt idx="62348">
                  <c:v>36033</c:v>
                </c:pt>
                <c:pt idx="62349">
                  <c:v>33840</c:v>
                </c:pt>
                <c:pt idx="62350">
                  <c:v>59822</c:v>
                </c:pt>
                <c:pt idx="62351">
                  <c:v>31330</c:v>
                </c:pt>
                <c:pt idx="62352">
                  <c:v>82418</c:v>
                </c:pt>
                <c:pt idx="62353">
                  <c:v>47987</c:v>
                </c:pt>
                <c:pt idx="62354">
                  <c:v>121683</c:v>
                </c:pt>
                <c:pt idx="62355">
                  <c:v>45025</c:v>
                </c:pt>
                <c:pt idx="62356">
                  <c:v>41621</c:v>
                </c:pt>
                <c:pt idx="62357">
                  <c:v>214637</c:v>
                </c:pt>
                <c:pt idx="62358">
                  <c:v>40764</c:v>
                </c:pt>
                <c:pt idx="62359">
                  <c:v>57049</c:v>
                </c:pt>
                <c:pt idx="62360">
                  <c:v>59091</c:v>
                </c:pt>
                <c:pt idx="62361">
                  <c:v>44185</c:v>
                </c:pt>
                <c:pt idx="62362">
                  <c:v>88350</c:v>
                </c:pt>
                <c:pt idx="62363">
                  <c:v>43886</c:v>
                </c:pt>
                <c:pt idx="62364">
                  <c:v>161376</c:v>
                </c:pt>
                <c:pt idx="62365">
                  <c:v>37389</c:v>
                </c:pt>
                <c:pt idx="62366">
                  <c:v>170692</c:v>
                </c:pt>
                <c:pt idx="62367">
                  <c:v>48599</c:v>
                </c:pt>
                <c:pt idx="62368">
                  <c:v>32009</c:v>
                </c:pt>
                <c:pt idx="62369">
                  <c:v>118950</c:v>
                </c:pt>
                <c:pt idx="62370">
                  <c:v>30588</c:v>
                </c:pt>
                <c:pt idx="62371">
                  <c:v>129915</c:v>
                </c:pt>
                <c:pt idx="62372">
                  <c:v>108532</c:v>
                </c:pt>
                <c:pt idx="62373">
                  <c:v>46763</c:v>
                </c:pt>
                <c:pt idx="62374">
                  <c:v>37902</c:v>
                </c:pt>
                <c:pt idx="62375">
                  <c:v>37530</c:v>
                </c:pt>
                <c:pt idx="62376">
                  <c:v>33896</c:v>
                </c:pt>
                <c:pt idx="62377">
                  <c:v>34987</c:v>
                </c:pt>
                <c:pt idx="62378">
                  <c:v>48904</c:v>
                </c:pt>
                <c:pt idx="62379">
                  <c:v>41791</c:v>
                </c:pt>
                <c:pt idx="62380">
                  <c:v>85481</c:v>
                </c:pt>
                <c:pt idx="62381">
                  <c:v>41265</c:v>
                </c:pt>
                <c:pt idx="62382">
                  <c:v>25951</c:v>
                </c:pt>
                <c:pt idx="62383">
                  <c:v>25191</c:v>
                </c:pt>
                <c:pt idx="62384">
                  <c:v>105211</c:v>
                </c:pt>
                <c:pt idx="62385">
                  <c:v>35969</c:v>
                </c:pt>
                <c:pt idx="62386">
                  <c:v>36435</c:v>
                </c:pt>
                <c:pt idx="62387">
                  <c:v>117244</c:v>
                </c:pt>
                <c:pt idx="62388">
                  <c:v>39963</c:v>
                </c:pt>
                <c:pt idx="62389">
                  <c:v>95186</c:v>
                </c:pt>
                <c:pt idx="62390">
                  <c:v>42601</c:v>
                </c:pt>
                <c:pt idx="62391">
                  <c:v>67699</c:v>
                </c:pt>
                <c:pt idx="62392">
                  <c:v>25906</c:v>
                </c:pt>
                <c:pt idx="62393">
                  <c:v>41811</c:v>
                </c:pt>
                <c:pt idx="62394">
                  <c:v>39218</c:v>
                </c:pt>
                <c:pt idx="62395">
                  <c:v>51226</c:v>
                </c:pt>
                <c:pt idx="62396">
                  <c:v>28877</c:v>
                </c:pt>
                <c:pt idx="62397">
                  <c:v>92670</c:v>
                </c:pt>
                <c:pt idx="62398">
                  <c:v>236013</c:v>
                </c:pt>
                <c:pt idx="62399">
                  <c:v>29412</c:v>
                </c:pt>
                <c:pt idx="62400">
                  <c:v>44294</c:v>
                </c:pt>
                <c:pt idx="62401">
                  <c:v>118170</c:v>
                </c:pt>
                <c:pt idx="62402">
                  <c:v>38745</c:v>
                </c:pt>
                <c:pt idx="62403">
                  <c:v>63818</c:v>
                </c:pt>
                <c:pt idx="62404">
                  <c:v>35091</c:v>
                </c:pt>
                <c:pt idx="62405">
                  <c:v>62881</c:v>
                </c:pt>
                <c:pt idx="62406">
                  <c:v>71423</c:v>
                </c:pt>
                <c:pt idx="62407">
                  <c:v>91777</c:v>
                </c:pt>
                <c:pt idx="62408">
                  <c:v>36459</c:v>
                </c:pt>
                <c:pt idx="62409">
                  <c:v>42685</c:v>
                </c:pt>
                <c:pt idx="62410">
                  <c:v>27455</c:v>
                </c:pt>
                <c:pt idx="62411">
                  <c:v>131282</c:v>
                </c:pt>
                <c:pt idx="62412">
                  <c:v>97373</c:v>
                </c:pt>
                <c:pt idx="62413">
                  <c:v>106927</c:v>
                </c:pt>
                <c:pt idx="62414">
                  <c:v>52877</c:v>
                </c:pt>
                <c:pt idx="62415">
                  <c:v>33008</c:v>
                </c:pt>
                <c:pt idx="62416">
                  <c:v>35196</c:v>
                </c:pt>
                <c:pt idx="62417">
                  <c:v>68458</c:v>
                </c:pt>
                <c:pt idx="62418">
                  <c:v>23035</c:v>
                </c:pt>
                <c:pt idx="62419">
                  <c:v>62782</c:v>
                </c:pt>
                <c:pt idx="62420">
                  <c:v>133424</c:v>
                </c:pt>
                <c:pt idx="62421">
                  <c:v>33781</c:v>
                </c:pt>
                <c:pt idx="62422">
                  <c:v>37793</c:v>
                </c:pt>
                <c:pt idx="62423">
                  <c:v>30174</c:v>
                </c:pt>
                <c:pt idx="62424">
                  <c:v>63500</c:v>
                </c:pt>
                <c:pt idx="62425">
                  <c:v>48200</c:v>
                </c:pt>
                <c:pt idx="62426">
                  <c:v>112354</c:v>
                </c:pt>
                <c:pt idx="62427">
                  <c:v>57928</c:v>
                </c:pt>
                <c:pt idx="62428">
                  <c:v>22152</c:v>
                </c:pt>
                <c:pt idx="62429">
                  <c:v>24784</c:v>
                </c:pt>
                <c:pt idx="62430">
                  <c:v>40497</c:v>
                </c:pt>
                <c:pt idx="62431">
                  <c:v>41426</c:v>
                </c:pt>
                <c:pt idx="62432">
                  <c:v>24089</c:v>
                </c:pt>
                <c:pt idx="62433">
                  <c:v>143017</c:v>
                </c:pt>
                <c:pt idx="62434">
                  <c:v>47378</c:v>
                </c:pt>
                <c:pt idx="62435">
                  <c:v>41353</c:v>
                </c:pt>
                <c:pt idx="62436">
                  <c:v>44365</c:v>
                </c:pt>
                <c:pt idx="62437">
                  <c:v>28491</c:v>
                </c:pt>
                <c:pt idx="62438">
                  <c:v>40925</c:v>
                </c:pt>
                <c:pt idx="62439">
                  <c:v>80555</c:v>
                </c:pt>
                <c:pt idx="62440">
                  <c:v>46573</c:v>
                </c:pt>
                <c:pt idx="62441">
                  <c:v>43805</c:v>
                </c:pt>
                <c:pt idx="62442">
                  <c:v>27132</c:v>
                </c:pt>
                <c:pt idx="62443">
                  <c:v>48594</c:v>
                </c:pt>
                <c:pt idx="62444">
                  <c:v>28888</c:v>
                </c:pt>
                <c:pt idx="62445">
                  <c:v>192591</c:v>
                </c:pt>
                <c:pt idx="62446">
                  <c:v>35749</c:v>
                </c:pt>
                <c:pt idx="62447">
                  <c:v>65164</c:v>
                </c:pt>
                <c:pt idx="62448">
                  <c:v>25453</c:v>
                </c:pt>
                <c:pt idx="62449">
                  <c:v>25720</c:v>
                </c:pt>
                <c:pt idx="62450">
                  <c:v>36304</c:v>
                </c:pt>
                <c:pt idx="62451">
                  <c:v>50999</c:v>
                </c:pt>
                <c:pt idx="62452">
                  <c:v>81045</c:v>
                </c:pt>
                <c:pt idx="62453">
                  <c:v>38170</c:v>
                </c:pt>
                <c:pt idx="62454">
                  <c:v>36758</c:v>
                </c:pt>
                <c:pt idx="62455">
                  <c:v>37153</c:v>
                </c:pt>
                <c:pt idx="62456">
                  <c:v>57503</c:v>
                </c:pt>
                <c:pt idx="62457">
                  <c:v>93278</c:v>
                </c:pt>
                <c:pt idx="62458">
                  <c:v>36868</c:v>
                </c:pt>
                <c:pt idx="62459">
                  <c:v>75327</c:v>
                </c:pt>
                <c:pt idx="62460">
                  <c:v>28586</c:v>
                </c:pt>
                <c:pt idx="62461">
                  <c:v>39233</c:v>
                </c:pt>
                <c:pt idx="62462">
                  <c:v>203992</c:v>
                </c:pt>
                <c:pt idx="62463">
                  <c:v>38849</c:v>
                </c:pt>
                <c:pt idx="62464">
                  <c:v>125621</c:v>
                </c:pt>
                <c:pt idx="62465">
                  <c:v>50788</c:v>
                </c:pt>
                <c:pt idx="62466">
                  <c:v>41054</c:v>
                </c:pt>
                <c:pt idx="62467">
                  <c:v>186302</c:v>
                </c:pt>
                <c:pt idx="62468">
                  <c:v>41397</c:v>
                </c:pt>
                <c:pt idx="62469">
                  <c:v>50313</c:v>
                </c:pt>
                <c:pt idx="62470">
                  <c:v>32106</c:v>
                </c:pt>
                <c:pt idx="62471">
                  <c:v>37108</c:v>
                </c:pt>
                <c:pt idx="62472">
                  <c:v>34458</c:v>
                </c:pt>
                <c:pt idx="62473">
                  <c:v>30812</c:v>
                </c:pt>
                <c:pt idx="62474">
                  <c:v>30627</c:v>
                </c:pt>
                <c:pt idx="62475">
                  <c:v>58332</c:v>
                </c:pt>
                <c:pt idx="62476">
                  <c:v>25355</c:v>
                </c:pt>
                <c:pt idx="62477">
                  <c:v>38575</c:v>
                </c:pt>
                <c:pt idx="62478">
                  <c:v>59766</c:v>
                </c:pt>
                <c:pt idx="62479">
                  <c:v>87711</c:v>
                </c:pt>
                <c:pt idx="62480">
                  <c:v>23682</c:v>
                </c:pt>
                <c:pt idx="62481">
                  <c:v>44076</c:v>
                </c:pt>
                <c:pt idx="62482">
                  <c:v>40162</c:v>
                </c:pt>
                <c:pt idx="62483">
                  <c:v>114705</c:v>
                </c:pt>
                <c:pt idx="62484">
                  <c:v>45461</c:v>
                </c:pt>
                <c:pt idx="62485">
                  <c:v>72031</c:v>
                </c:pt>
                <c:pt idx="62486">
                  <c:v>48013</c:v>
                </c:pt>
                <c:pt idx="62487">
                  <c:v>27475</c:v>
                </c:pt>
                <c:pt idx="62488">
                  <c:v>50509</c:v>
                </c:pt>
                <c:pt idx="62489">
                  <c:v>36858</c:v>
                </c:pt>
                <c:pt idx="62490">
                  <c:v>32152</c:v>
                </c:pt>
                <c:pt idx="62491">
                  <c:v>24159</c:v>
                </c:pt>
                <c:pt idx="62492">
                  <c:v>25731</c:v>
                </c:pt>
                <c:pt idx="62493">
                  <c:v>74445</c:v>
                </c:pt>
                <c:pt idx="62494">
                  <c:v>53696</c:v>
                </c:pt>
                <c:pt idx="62495">
                  <c:v>44399</c:v>
                </c:pt>
                <c:pt idx="62496">
                  <c:v>80000</c:v>
                </c:pt>
                <c:pt idx="62497">
                  <c:v>21216</c:v>
                </c:pt>
                <c:pt idx="62498">
                  <c:v>50707</c:v>
                </c:pt>
                <c:pt idx="62499">
                  <c:v>34890</c:v>
                </c:pt>
                <c:pt idx="62500">
                  <c:v>197082</c:v>
                </c:pt>
                <c:pt idx="62501">
                  <c:v>40122</c:v>
                </c:pt>
                <c:pt idx="62502">
                  <c:v>145208</c:v>
                </c:pt>
                <c:pt idx="62503">
                  <c:v>56809</c:v>
                </c:pt>
                <c:pt idx="62504">
                  <c:v>430404</c:v>
                </c:pt>
                <c:pt idx="62505">
                  <c:v>105133</c:v>
                </c:pt>
                <c:pt idx="62506">
                  <c:v>62011</c:v>
                </c:pt>
                <c:pt idx="62507">
                  <c:v>291676</c:v>
                </c:pt>
                <c:pt idx="62508">
                  <c:v>134927</c:v>
                </c:pt>
                <c:pt idx="62509">
                  <c:v>99253</c:v>
                </c:pt>
                <c:pt idx="62510">
                  <c:v>35550</c:v>
                </c:pt>
                <c:pt idx="62511">
                  <c:v>35759</c:v>
                </c:pt>
                <c:pt idx="62512">
                  <c:v>53450</c:v>
                </c:pt>
                <c:pt idx="62513">
                  <c:v>23853</c:v>
                </c:pt>
                <c:pt idx="62514">
                  <c:v>21464</c:v>
                </c:pt>
                <c:pt idx="62515">
                  <c:v>126960</c:v>
                </c:pt>
                <c:pt idx="62516">
                  <c:v>38070</c:v>
                </c:pt>
                <c:pt idx="62517">
                  <c:v>47910</c:v>
                </c:pt>
                <c:pt idx="62518">
                  <c:v>57461</c:v>
                </c:pt>
                <c:pt idx="62519">
                  <c:v>52737</c:v>
                </c:pt>
                <c:pt idx="62520">
                  <c:v>86674</c:v>
                </c:pt>
                <c:pt idx="62521">
                  <c:v>33773</c:v>
                </c:pt>
                <c:pt idx="62522">
                  <c:v>199781</c:v>
                </c:pt>
                <c:pt idx="62523">
                  <c:v>55871</c:v>
                </c:pt>
                <c:pt idx="62524">
                  <c:v>90932</c:v>
                </c:pt>
                <c:pt idx="62525">
                  <c:v>88221</c:v>
                </c:pt>
                <c:pt idx="62526">
                  <c:v>47923</c:v>
                </c:pt>
                <c:pt idx="62527">
                  <c:v>191016</c:v>
                </c:pt>
                <c:pt idx="62528">
                  <c:v>39848</c:v>
                </c:pt>
                <c:pt idx="62529">
                  <c:v>31684</c:v>
                </c:pt>
                <c:pt idx="62530">
                  <c:v>71426</c:v>
                </c:pt>
                <c:pt idx="62531">
                  <c:v>33804</c:v>
                </c:pt>
                <c:pt idx="62532">
                  <c:v>65737</c:v>
                </c:pt>
                <c:pt idx="62533">
                  <c:v>44251</c:v>
                </c:pt>
                <c:pt idx="62534">
                  <c:v>23519</c:v>
                </c:pt>
                <c:pt idx="62535">
                  <c:v>25361</c:v>
                </c:pt>
                <c:pt idx="62536">
                  <c:v>42142</c:v>
                </c:pt>
                <c:pt idx="62537">
                  <c:v>34155</c:v>
                </c:pt>
                <c:pt idx="62538">
                  <c:v>35121</c:v>
                </c:pt>
                <c:pt idx="62539">
                  <c:v>39114</c:v>
                </c:pt>
                <c:pt idx="62540">
                  <c:v>29838</c:v>
                </c:pt>
                <c:pt idx="62541">
                  <c:v>60179</c:v>
                </c:pt>
                <c:pt idx="62542">
                  <c:v>45117</c:v>
                </c:pt>
                <c:pt idx="62543">
                  <c:v>117270</c:v>
                </c:pt>
                <c:pt idx="62544">
                  <c:v>93839</c:v>
                </c:pt>
                <c:pt idx="62545">
                  <c:v>24569</c:v>
                </c:pt>
                <c:pt idx="62546">
                  <c:v>39528</c:v>
                </c:pt>
                <c:pt idx="62547">
                  <c:v>47840</c:v>
                </c:pt>
                <c:pt idx="62548">
                  <c:v>24656</c:v>
                </c:pt>
                <c:pt idx="62549">
                  <c:v>65199</c:v>
                </c:pt>
                <c:pt idx="62550">
                  <c:v>31607</c:v>
                </c:pt>
                <c:pt idx="62551">
                  <c:v>33022</c:v>
                </c:pt>
                <c:pt idx="62552">
                  <c:v>49833</c:v>
                </c:pt>
                <c:pt idx="62553">
                  <c:v>60099</c:v>
                </c:pt>
                <c:pt idx="62554">
                  <c:v>31879</c:v>
                </c:pt>
                <c:pt idx="62555">
                  <c:v>30546</c:v>
                </c:pt>
                <c:pt idx="62556">
                  <c:v>113826</c:v>
                </c:pt>
                <c:pt idx="62557">
                  <c:v>21560</c:v>
                </c:pt>
                <c:pt idx="62558">
                  <c:v>80968</c:v>
                </c:pt>
                <c:pt idx="62559">
                  <c:v>42197</c:v>
                </c:pt>
                <c:pt idx="62560">
                  <c:v>26523</c:v>
                </c:pt>
                <c:pt idx="62561">
                  <c:v>70259</c:v>
                </c:pt>
                <c:pt idx="62562">
                  <c:v>87197</c:v>
                </c:pt>
                <c:pt idx="62563">
                  <c:v>70549</c:v>
                </c:pt>
                <c:pt idx="62564">
                  <c:v>28979</c:v>
                </c:pt>
                <c:pt idx="62565">
                  <c:v>43196</c:v>
                </c:pt>
                <c:pt idx="62566">
                  <c:v>29356</c:v>
                </c:pt>
                <c:pt idx="62567">
                  <c:v>74585</c:v>
                </c:pt>
                <c:pt idx="62568">
                  <c:v>175478</c:v>
                </c:pt>
                <c:pt idx="62569">
                  <c:v>67573</c:v>
                </c:pt>
                <c:pt idx="62570">
                  <c:v>38727</c:v>
                </c:pt>
                <c:pt idx="62571">
                  <c:v>37717</c:v>
                </c:pt>
                <c:pt idx="62572">
                  <c:v>39741</c:v>
                </c:pt>
                <c:pt idx="62573">
                  <c:v>36725</c:v>
                </c:pt>
                <c:pt idx="62574">
                  <c:v>39701</c:v>
                </c:pt>
                <c:pt idx="62575">
                  <c:v>41582</c:v>
                </c:pt>
                <c:pt idx="62576">
                  <c:v>21684</c:v>
                </c:pt>
                <c:pt idx="62577">
                  <c:v>65279</c:v>
                </c:pt>
                <c:pt idx="62578">
                  <c:v>37900</c:v>
                </c:pt>
                <c:pt idx="62579">
                  <c:v>15000</c:v>
                </c:pt>
                <c:pt idx="62580">
                  <c:v>24765</c:v>
                </c:pt>
                <c:pt idx="62581">
                  <c:v>68374</c:v>
                </c:pt>
                <c:pt idx="62582">
                  <c:v>46355</c:v>
                </c:pt>
                <c:pt idx="62583">
                  <c:v>60303</c:v>
                </c:pt>
                <c:pt idx="62584">
                  <c:v>63874</c:v>
                </c:pt>
                <c:pt idx="62585">
                  <c:v>34472</c:v>
                </c:pt>
                <c:pt idx="62586">
                  <c:v>34584</c:v>
                </c:pt>
                <c:pt idx="62587">
                  <c:v>42221</c:v>
                </c:pt>
                <c:pt idx="62588">
                  <c:v>35837</c:v>
                </c:pt>
                <c:pt idx="62589">
                  <c:v>82321</c:v>
                </c:pt>
                <c:pt idx="62590">
                  <c:v>35911</c:v>
                </c:pt>
                <c:pt idx="62591">
                  <c:v>39441</c:v>
                </c:pt>
                <c:pt idx="62592">
                  <c:v>45706</c:v>
                </c:pt>
                <c:pt idx="62593">
                  <c:v>41232</c:v>
                </c:pt>
                <c:pt idx="62594">
                  <c:v>127222</c:v>
                </c:pt>
                <c:pt idx="62595">
                  <c:v>181398</c:v>
                </c:pt>
                <c:pt idx="62596">
                  <c:v>267154</c:v>
                </c:pt>
                <c:pt idx="62597">
                  <c:v>33226</c:v>
                </c:pt>
                <c:pt idx="62598">
                  <c:v>81662</c:v>
                </c:pt>
                <c:pt idx="62599">
                  <c:v>25186</c:v>
                </c:pt>
                <c:pt idx="62600">
                  <c:v>52928</c:v>
                </c:pt>
                <c:pt idx="62601">
                  <c:v>32656</c:v>
                </c:pt>
                <c:pt idx="62602">
                  <c:v>86197</c:v>
                </c:pt>
                <c:pt idx="62603">
                  <c:v>24247</c:v>
                </c:pt>
                <c:pt idx="62604">
                  <c:v>170253</c:v>
                </c:pt>
                <c:pt idx="62605">
                  <c:v>28118</c:v>
                </c:pt>
                <c:pt idx="62606">
                  <c:v>42356</c:v>
                </c:pt>
                <c:pt idx="62607">
                  <c:v>148932</c:v>
                </c:pt>
                <c:pt idx="62608">
                  <c:v>31536</c:v>
                </c:pt>
                <c:pt idx="62609">
                  <c:v>327818</c:v>
                </c:pt>
                <c:pt idx="62610">
                  <c:v>32564</c:v>
                </c:pt>
                <c:pt idx="62611">
                  <c:v>23325</c:v>
                </c:pt>
                <c:pt idx="62612">
                  <c:v>24648</c:v>
                </c:pt>
                <c:pt idx="62613">
                  <c:v>23648</c:v>
                </c:pt>
                <c:pt idx="62614">
                  <c:v>40190</c:v>
                </c:pt>
                <c:pt idx="62615">
                  <c:v>34968</c:v>
                </c:pt>
                <c:pt idx="62616">
                  <c:v>45370</c:v>
                </c:pt>
                <c:pt idx="62617">
                  <c:v>59632</c:v>
                </c:pt>
                <c:pt idx="62618">
                  <c:v>38309</c:v>
                </c:pt>
                <c:pt idx="62619">
                  <c:v>51417</c:v>
                </c:pt>
                <c:pt idx="62620">
                  <c:v>63005</c:v>
                </c:pt>
                <c:pt idx="62621">
                  <c:v>34523</c:v>
                </c:pt>
                <c:pt idx="62622">
                  <c:v>44287</c:v>
                </c:pt>
                <c:pt idx="62623">
                  <c:v>92234</c:v>
                </c:pt>
                <c:pt idx="62624">
                  <c:v>78628</c:v>
                </c:pt>
                <c:pt idx="62625">
                  <c:v>83231</c:v>
                </c:pt>
                <c:pt idx="62626">
                  <c:v>94122</c:v>
                </c:pt>
                <c:pt idx="62627">
                  <c:v>37250</c:v>
                </c:pt>
                <c:pt idx="62628">
                  <c:v>38302</c:v>
                </c:pt>
                <c:pt idx="62629">
                  <c:v>36012</c:v>
                </c:pt>
                <c:pt idx="62630">
                  <c:v>23320</c:v>
                </c:pt>
                <c:pt idx="62631">
                  <c:v>48429</c:v>
                </c:pt>
                <c:pt idx="62632">
                  <c:v>69515</c:v>
                </c:pt>
                <c:pt idx="62633">
                  <c:v>84480</c:v>
                </c:pt>
                <c:pt idx="62634">
                  <c:v>26650</c:v>
                </c:pt>
                <c:pt idx="62635">
                  <c:v>99848</c:v>
                </c:pt>
                <c:pt idx="62636">
                  <c:v>82596</c:v>
                </c:pt>
                <c:pt idx="62637">
                  <c:v>35850</c:v>
                </c:pt>
                <c:pt idx="62638">
                  <c:v>130840</c:v>
                </c:pt>
                <c:pt idx="62639">
                  <c:v>85589</c:v>
                </c:pt>
                <c:pt idx="62640">
                  <c:v>20552</c:v>
                </c:pt>
                <c:pt idx="62641">
                  <c:v>53248</c:v>
                </c:pt>
                <c:pt idx="62642">
                  <c:v>37719</c:v>
                </c:pt>
                <c:pt idx="62643">
                  <c:v>56160</c:v>
                </c:pt>
                <c:pt idx="62644">
                  <c:v>32415</c:v>
                </c:pt>
                <c:pt idx="62645">
                  <c:v>29393</c:v>
                </c:pt>
                <c:pt idx="62646">
                  <c:v>31623</c:v>
                </c:pt>
                <c:pt idx="62647">
                  <c:v>46726</c:v>
                </c:pt>
                <c:pt idx="62648">
                  <c:v>41016</c:v>
                </c:pt>
                <c:pt idx="62649">
                  <c:v>40220</c:v>
                </c:pt>
                <c:pt idx="62650">
                  <c:v>58934</c:v>
                </c:pt>
                <c:pt idx="62651">
                  <c:v>37806</c:v>
                </c:pt>
                <c:pt idx="62652">
                  <c:v>29294</c:v>
                </c:pt>
                <c:pt idx="62653">
                  <c:v>37815</c:v>
                </c:pt>
                <c:pt idx="62654">
                  <c:v>19531</c:v>
                </c:pt>
                <c:pt idx="62655">
                  <c:v>34048</c:v>
                </c:pt>
                <c:pt idx="62656">
                  <c:v>39769</c:v>
                </c:pt>
                <c:pt idx="62657">
                  <c:v>78719</c:v>
                </c:pt>
                <c:pt idx="62658">
                  <c:v>82197</c:v>
                </c:pt>
                <c:pt idx="62659">
                  <c:v>115305</c:v>
                </c:pt>
                <c:pt idx="62660">
                  <c:v>22020</c:v>
                </c:pt>
                <c:pt idx="62661">
                  <c:v>44544</c:v>
                </c:pt>
                <c:pt idx="62662">
                  <c:v>41283</c:v>
                </c:pt>
                <c:pt idx="62663">
                  <c:v>46644</c:v>
                </c:pt>
                <c:pt idx="62664">
                  <c:v>44291</c:v>
                </c:pt>
                <c:pt idx="62665">
                  <c:v>110383</c:v>
                </c:pt>
                <c:pt idx="62666">
                  <c:v>89630</c:v>
                </c:pt>
                <c:pt idx="62667">
                  <c:v>45786</c:v>
                </c:pt>
                <c:pt idx="62668">
                  <c:v>23251</c:v>
                </c:pt>
                <c:pt idx="62669">
                  <c:v>49819</c:v>
                </c:pt>
                <c:pt idx="62670">
                  <c:v>222535</c:v>
                </c:pt>
                <c:pt idx="62671">
                  <c:v>61601</c:v>
                </c:pt>
                <c:pt idx="62672">
                  <c:v>95568</c:v>
                </c:pt>
                <c:pt idx="62673">
                  <c:v>43146</c:v>
                </c:pt>
                <c:pt idx="62674">
                  <c:v>46856</c:v>
                </c:pt>
                <c:pt idx="62675">
                  <c:v>42276</c:v>
                </c:pt>
                <c:pt idx="62676">
                  <c:v>77485</c:v>
                </c:pt>
                <c:pt idx="62677">
                  <c:v>51696</c:v>
                </c:pt>
                <c:pt idx="62678">
                  <c:v>52925</c:v>
                </c:pt>
                <c:pt idx="62679">
                  <c:v>165083</c:v>
                </c:pt>
                <c:pt idx="62680">
                  <c:v>236333</c:v>
                </c:pt>
                <c:pt idx="62681">
                  <c:v>115664</c:v>
                </c:pt>
                <c:pt idx="62682">
                  <c:v>62518</c:v>
                </c:pt>
                <c:pt idx="62683">
                  <c:v>37528</c:v>
                </c:pt>
                <c:pt idx="62684">
                  <c:v>25118</c:v>
                </c:pt>
                <c:pt idx="62685">
                  <c:v>56461</c:v>
                </c:pt>
                <c:pt idx="62686">
                  <c:v>222289</c:v>
                </c:pt>
                <c:pt idx="62687">
                  <c:v>179916</c:v>
                </c:pt>
                <c:pt idx="62688">
                  <c:v>117565</c:v>
                </c:pt>
                <c:pt idx="62689">
                  <c:v>30943</c:v>
                </c:pt>
                <c:pt idx="62690">
                  <c:v>32590</c:v>
                </c:pt>
                <c:pt idx="62691">
                  <c:v>41969</c:v>
                </c:pt>
                <c:pt idx="62692">
                  <c:v>92647</c:v>
                </c:pt>
                <c:pt idx="62693">
                  <c:v>39452</c:v>
                </c:pt>
                <c:pt idx="62694">
                  <c:v>48679</c:v>
                </c:pt>
                <c:pt idx="62695">
                  <c:v>202627</c:v>
                </c:pt>
                <c:pt idx="62696">
                  <c:v>81765</c:v>
                </c:pt>
                <c:pt idx="62697">
                  <c:v>62212</c:v>
                </c:pt>
                <c:pt idx="62698">
                  <c:v>126099</c:v>
                </c:pt>
                <c:pt idx="62699">
                  <c:v>28191</c:v>
                </c:pt>
                <c:pt idx="62700">
                  <c:v>40405</c:v>
                </c:pt>
                <c:pt idx="62701">
                  <c:v>40356</c:v>
                </c:pt>
                <c:pt idx="62702">
                  <c:v>27635</c:v>
                </c:pt>
                <c:pt idx="62703">
                  <c:v>39033</c:v>
                </c:pt>
                <c:pt idx="62704">
                  <c:v>24970</c:v>
                </c:pt>
                <c:pt idx="62705">
                  <c:v>25885</c:v>
                </c:pt>
                <c:pt idx="62706">
                  <c:v>37341</c:v>
                </c:pt>
                <c:pt idx="62707">
                  <c:v>57386</c:v>
                </c:pt>
                <c:pt idx="62708">
                  <c:v>40488</c:v>
                </c:pt>
                <c:pt idx="62709">
                  <c:v>44974</c:v>
                </c:pt>
                <c:pt idx="62710">
                  <c:v>137833</c:v>
                </c:pt>
                <c:pt idx="62711">
                  <c:v>54655</c:v>
                </c:pt>
                <c:pt idx="62712">
                  <c:v>119528</c:v>
                </c:pt>
                <c:pt idx="62713">
                  <c:v>58151</c:v>
                </c:pt>
                <c:pt idx="62714">
                  <c:v>63839</c:v>
                </c:pt>
                <c:pt idx="62715">
                  <c:v>47997</c:v>
                </c:pt>
                <c:pt idx="62716">
                  <c:v>31774</c:v>
                </c:pt>
                <c:pt idx="62717">
                  <c:v>89012</c:v>
                </c:pt>
                <c:pt idx="62718">
                  <c:v>53781</c:v>
                </c:pt>
                <c:pt idx="62719">
                  <c:v>28525</c:v>
                </c:pt>
                <c:pt idx="62720">
                  <c:v>32451</c:v>
                </c:pt>
                <c:pt idx="62721">
                  <c:v>24448</c:v>
                </c:pt>
                <c:pt idx="62722">
                  <c:v>29301</c:v>
                </c:pt>
                <c:pt idx="62723">
                  <c:v>59454</c:v>
                </c:pt>
                <c:pt idx="62724">
                  <c:v>119779</c:v>
                </c:pt>
                <c:pt idx="62725">
                  <c:v>75739</c:v>
                </c:pt>
                <c:pt idx="62726">
                  <c:v>47464</c:v>
                </c:pt>
                <c:pt idx="62727">
                  <c:v>49083</c:v>
                </c:pt>
                <c:pt idx="62728">
                  <c:v>70897</c:v>
                </c:pt>
                <c:pt idx="62729">
                  <c:v>31105</c:v>
                </c:pt>
                <c:pt idx="62730">
                  <c:v>59163</c:v>
                </c:pt>
                <c:pt idx="62731">
                  <c:v>23858</c:v>
                </c:pt>
                <c:pt idx="62732">
                  <c:v>73316</c:v>
                </c:pt>
                <c:pt idx="62733">
                  <c:v>183687</c:v>
                </c:pt>
                <c:pt idx="62734">
                  <c:v>24207</c:v>
                </c:pt>
                <c:pt idx="62735">
                  <c:v>42209</c:v>
                </c:pt>
                <c:pt idx="62736">
                  <c:v>47806</c:v>
                </c:pt>
                <c:pt idx="62737">
                  <c:v>36748</c:v>
                </c:pt>
                <c:pt idx="62738">
                  <c:v>25825</c:v>
                </c:pt>
                <c:pt idx="62739">
                  <c:v>18471</c:v>
                </c:pt>
                <c:pt idx="62740">
                  <c:v>24878</c:v>
                </c:pt>
                <c:pt idx="62741">
                  <c:v>36094</c:v>
                </c:pt>
                <c:pt idx="62742">
                  <c:v>47474</c:v>
                </c:pt>
                <c:pt idx="62743">
                  <c:v>66168</c:v>
                </c:pt>
                <c:pt idx="62744">
                  <c:v>57099</c:v>
                </c:pt>
                <c:pt idx="62745">
                  <c:v>84447</c:v>
                </c:pt>
                <c:pt idx="62746">
                  <c:v>24902</c:v>
                </c:pt>
                <c:pt idx="62747">
                  <c:v>48072</c:v>
                </c:pt>
                <c:pt idx="62748">
                  <c:v>47416</c:v>
                </c:pt>
                <c:pt idx="62749">
                  <c:v>27385</c:v>
                </c:pt>
                <c:pt idx="62750">
                  <c:v>31276</c:v>
                </c:pt>
                <c:pt idx="62751">
                  <c:v>53655</c:v>
                </c:pt>
                <c:pt idx="62752">
                  <c:v>52236</c:v>
                </c:pt>
                <c:pt idx="62753">
                  <c:v>210198</c:v>
                </c:pt>
                <c:pt idx="62754">
                  <c:v>113806</c:v>
                </c:pt>
                <c:pt idx="62755">
                  <c:v>209951</c:v>
                </c:pt>
                <c:pt idx="62756">
                  <c:v>83914</c:v>
                </c:pt>
                <c:pt idx="62757">
                  <c:v>43884</c:v>
                </c:pt>
                <c:pt idx="62758">
                  <c:v>79333</c:v>
                </c:pt>
                <c:pt idx="62759">
                  <c:v>30241</c:v>
                </c:pt>
                <c:pt idx="62760">
                  <c:v>331164</c:v>
                </c:pt>
                <c:pt idx="62761">
                  <c:v>58400</c:v>
                </c:pt>
                <c:pt idx="62762">
                  <c:v>32378</c:v>
                </c:pt>
                <c:pt idx="62763">
                  <c:v>110901</c:v>
                </c:pt>
                <c:pt idx="62764">
                  <c:v>43063</c:v>
                </c:pt>
                <c:pt idx="62765">
                  <c:v>21609</c:v>
                </c:pt>
                <c:pt idx="62766">
                  <c:v>28721</c:v>
                </c:pt>
                <c:pt idx="62767">
                  <c:v>48382</c:v>
                </c:pt>
                <c:pt idx="62768">
                  <c:v>26771</c:v>
                </c:pt>
                <c:pt idx="62769">
                  <c:v>47731</c:v>
                </c:pt>
                <c:pt idx="62770">
                  <c:v>80050</c:v>
                </c:pt>
                <c:pt idx="62771">
                  <c:v>81235</c:v>
                </c:pt>
                <c:pt idx="62772">
                  <c:v>41527</c:v>
                </c:pt>
                <c:pt idx="62773">
                  <c:v>31185</c:v>
                </c:pt>
                <c:pt idx="62774">
                  <c:v>100359</c:v>
                </c:pt>
                <c:pt idx="62775">
                  <c:v>104017</c:v>
                </c:pt>
                <c:pt idx="62776">
                  <c:v>66698</c:v>
                </c:pt>
                <c:pt idx="62777">
                  <c:v>99456</c:v>
                </c:pt>
                <c:pt idx="62778">
                  <c:v>43111</c:v>
                </c:pt>
                <c:pt idx="62779">
                  <c:v>123522</c:v>
                </c:pt>
                <c:pt idx="62780">
                  <c:v>26085</c:v>
                </c:pt>
                <c:pt idx="62781">
                  <c:v>59657</c:v>
                </c:pt>
                <c:pt idx="62782">
                  <c:v>34377</c:v>
                </c:pt>
                <c:pt idx="62783">
                  <c:v>40167</c:v>
                </c:pt>
                <c:pt idx="62784">
                  <c:v>24958</c:v>
                </c:pt>
                <c:pt idx="62785">
                  <c:v>25848</c:v>
                </c:pt>
                <c:pt idx="62786">
                  <c:v>217537</c:v>
                </c:pt>
                <c:pt idx="62787">
                  <c:v>44488</c:v>
                </c:pt>
                <c:pt idx="62788">
                  <c:v>22502</c:v>
                </c:pt>
                <c:pt idx="62789">
                  <c:v>27761</c:v>
                </c:pt>
                <c:pt idx="62790">
                  <c:v>107340</c:v>
                </c:pt>
                <c:pt idx="62791">
                  <c:v>24249</c:v>
                </c:pt>
                <c:pt idx="62792">
                  <c:v>47564</c:v>
                </c:pt>
                <c:pt idx="62793">
                  <c:v>43782</c:v>
                </c:pt>
                <c:pt idx="62794">
                  <c:v>27473</c:v>
                </c:pt>
                <c:pt idx="62795">
                  <c:v>42717</c:v>
                </c:pt>
                <c:pt idx="62796">
                  <c:v>46453</c:v>
                </c:pt>
                <c:pt idx="62797">
                  <c:v>34733</c:v>
                </c:pt>
                <c:pt idx="62798">
                  <c:v>37117</c:v>
                </c:pt>
                <c:pt idx="62799">
                  <c:v>125452</c:v>
                </c:pt>
                <c:pt idx="62800">
                  <c:v>97759</c:v>
                </c:pt>
                <c:pt idx="62801">
                  <c:v>138263</c:v>
                </c:pt>
                <c:pt idx="62802">
                  <c:v>253622</c:v>
                </c:pt>
                <c:pt idx="62803">
                  <c:v>32151</c:v>
                </c:pt>
                <c:pt idx="62804">
                  <c:v>28475</c:v>
                </c:pt>
                <c:pt idx="62805">
                  <c:v>39473</c:v>
                </c:pt>
                <c:pt idx="62806">
                  <c:v>65379</c:v>
                </c:pt>
                <c:pt idx="62807">
                  <c:v>30713</c:v>
                </c:pt>
                <c:pt idx="62808">
                  <c:v>78552</c:v>
                </c:pt>
                <c:pt idx="62809">
                  <c:v>61028</c:v>
                </c:pt>
                <c:pt idx="62810">
                  <c:v>33312</c:v>
                </c:pt>
                <c:pt idx="62811">
                  <c:v>57017</c:v>
                </c:pt>
                <c:pt idx="62812">
                  <c:v>51987</c:v>
                </c:pt>
                <c:pt idx="62813">
                  <c:v>58653</c:v>
                </c:pt>
                <c:pt idx="62814">
                  <c:v>25867</c:v>
                </c:pt>
                <c:pt idx="62815">
                  <c:v>23192</c:v>
                </c:pt>
                <c:pt idx="62816">
                  <c:v>33409</c:v>
                </c:pt>
                <c:pt idx="62817">
                  <c:v>28955</c:v>
                </c:pt>
                <c:pt idx="62818">
                  <c:v>50894</c:v>
                </c:pt>
                <c:pt idx="62819">
                  <c:v>25106</c:v>
                </c:pt>
                <c:pt idx="62820">
                  <c:v>79305</c:v>
                </c:pt>
                <c:pt idx="62821">
                  <c:v>50032</c:v>
                </c:pt>
                <c:pt idx="62822">
                  <c:v>29634</c:v>
                </c:pt>
                <c:pt idx="62823">
                  <c:v>127200</c:v>
                </c:pt>
                <c:pt idx="62824">
                  <c:v>47765</c:v>
                </c:pt>
                <c:pt idx="62825">
                  <c:v>24589</c:v>
                </c:pt>
                <c:pt idx="62826">
                  <c:v>20546</c:v>
                </c:pt>
                <c:pt idx="62827">
                  <c:v>42348</c:v>
                </c:pt>
                <c:pt idx="62828">
                  <c:v>31652</c:v>
                </c:pt>
                <c:pt idx="62829">
                  <c:v>25568</c:v>
                </c:pt>
                <c:pt idx="62830">
                  <c:v>42403</c:v>
                </c:pt>
                <c:pt idx="62831">
                  <c:v>39211</c:v>
                </c:pt>
                <c:pt idx="62832">
                  <c:v>88309</c:v>
                </c:pt>
                <c:pt idx="62833">
                  <c:v>24148</c:v>
                </c:pt>
                <c:pt idx="62834">
                  <c:v>237678</c:v>
                </c:pt>
                <c:pt idx="62835">
                  <c:v>28048</c:v>
                </c:pt>
                <c:pt idx="62836">
                  <c:v>40631</c:v>
                </c:pt>
                <c:pt idx="62837">
                  <c:v>22116</c:v>
                </c:pt>
                <c:pt idx="62838">
                  <c:v>40912</c:v>
                </c:pt>
                <c:pt idx="62839">
                  <c:v>21695</c:v>
                </c:pt>
                <c:pt idx="62840">
                  <c:v>72125</c:v>
                </c:pt>
                <c:pt idx="62841">
                  <c:v>25511</c:v>
                </c:pt>
                <c:pt idx="62842">
                  <c:v>43460</c:v>
                </c:pt>
                <c:pt idx="62843">
                  <c:v>24648</c:v>
                </c:pt>
                <c:pt idx="62844">
                  <c:v>50774</c:v>
                </c:pt>
                <c:pt idx="62845">
                  <c:v>34776</c:v>
                </c:pt>
                <c:pt idx="62846">
                  <c:v>49171</c:v>
                </c:pt>
                <c:pt idx="62847">
                  <c:v>51603</c:v>
                </c:pt>
                <c:pt idx="62848">
                  <c:v>144110</c:v>
                </c:pt>
                <c:pt idx="62849">
                  <c:v>39131</c:v>
                </c:pt>
                <c:pt idx="62850">
                  <c:v>42978</c:v>
                </c:pt>
                <c:pt idx="62851">
                  <c:v>64619</c:v>
                </c:pt>
                <c:pt idx="62852">
                  <c:v>25680</c:v>
                </c:pt>
                <c:pt idx="62853">
                  <c:v>39079</c:v>
                </c:pt>
                <c:pt idx="62854">
                  <c:v>39870</c:v>
                </c:pt>
                <c:pt idx="62855">
                  <c:v>40208</c:v>
                </c:pt>
                <c:pt idx="62856">
                  <c:v>38320</c:v>
                </c:pt>
                <c:pt idx="62857">
                  <c:v>102561</c:v>
                </c:pt>
                <c:pt idx="62858">
                  <c:v>68936</c:v>
                </c:pt>
                <c:pt idx="62859">
                  <c:v>46039</c:v>
                </c:pt>
                <c:pt idx="62860">
                  <c:v>32991</c:v>
                </c:pt>
                <c:pt idx="62861">
                  <c:v>53332</c:v>
                </c:pt>
                <c:pt idx="62862">
                  <c:v>102133</c:v>
                </c:pt>
                <c:pt idx="62863">
                  <c:v>116236</c:v>
                </c:pt>
                <c:pt idx="62864">
                  <c:v>25803</c:v>
                </c:pt>
                <c:pt idx="62865">
                  <c:v>40295</c:v>
                </c:pt>
                <c:pt idx="62866">
                  <c:v>246381</c:v>
                </c:pt>
                <c:pt idx="62867">
                  <c:v>22941</c:v>
                </c:pt>
                <c:pt idx="62868">
                  <c:v>21825</c:v>
                </c:pt>
                <c:pt idx="62869">
                  <c:v>67521</c:v>
                </c:pt>
                <c:pt idx="62870">
                  <c:v>44087</c:v>
                </c:pt>
                <c:pt idx="62871">
                  <c:v>97074</c:v>
                </c:pt>
                <c:pt idx="62872">
                  <c:v>47436</c:v>
                </c:pt>
                <c:pt idx="62873">
                  <c:v>30009</c:v>
                </c:pt>
                <c:pt idx="62874">
                  <c:v>28773</c:v>
                </c:pt>
                <c:pt idx="62875">
                  <c:v>101501</c:v>
                </c:pt>
                <c:pt idx="62876">
                  <c:v>71868</c:v>
                </c:pt>
                <c:pt idx="62877">
                  <c:v>38841</c:v>
                </c:pt>
                <c:pt idx="62878">
                  <c:v>26783</c:v>
                </c:pt>
                <c:pt idx="62879">
                  <c:v>45919</c:v>
                </c:pt>
                <c:pt idx="62880">
                  <c:v>26501</c:v>
                </c:pt>
                <c:pt idx="62881">
                  <c:v>51265</c:v>
                </c:pt>
                <c:pt idx="62882">
                  <c:v>58795</c:v>
                </c:pt>
                <c:pt idx="62883">
                  <c:v>44062</c:v>
                </c:pt>
                <c:pt idx="62884">
                  <c:v>156580</c:v>
                </c:pt>
                <c:pt idx="62885">
                  <c:v>84804</c:v>
                </c:pt>
                <c:pt idx="62886">
                  <c:v>30271</c:v>
                </c:pt>
                <c:pt idx="62887">
                  <c:v>34177</c:v>
                </c:pt>
                <c:pt idx="62888">
                  <c:v>52759</c:v>
                </c:pt>
                <c:pt idx="62889">
                  <c:v>50006</c:v>
                </c:pt>
                <c:pt idx="62890">
                  <c:v>124816</c:v>
                </c:pt>
                <c:pt idx="62891">
                  <c:v>30851</c:v>
                </c:pt>
                <c:pt idx="62892">
                  <c:v>86542</c:v>
                </c:pt>
                <c:pt idx="62893">
                  <c:v>48545</c:v>
                </c:pt>
                <c:pt idx="62894">
                  <c:v>122168</c:v>
                </c:pt>
                <c:pt idx="62895">
                  <c:v>24132</c:v>
                </c:pt>
                <c:pt idx="62896">
                  <c:v>26051</c:v>
                </c:pt>
                <c:pt idx="62897">
                  <c:v>46311</c:v>
                </c:pt>
                <c:pt idx="62898">
                  <c:v>38086</c:v>
                </c:pt>
                <c:pt idx="62899">
                  <c:v>45876</c:v>
                </c:pt>
                <c:pt idx="62900">
                  <c:v>38333</c:v>
                </c:pt>
                <c:pt idx="62901">
                  <c:v>59260</c:v>
                </c:pt>
                <c:pt idx="62902">
                  <c:v>21381</c:v>
                </c:pt>
                <c:pt idx="62903">
                  <c:v>39939</c:v>
                </c:pt>
                <c:pt idx="62904">
                  <c:v>32965</c:v>
                </c:pt>
                <c:pt idx="62905">
                  <c:v>62281</c:v>
                </c:pt>
                <c:pt idx="62906">
                  <c:v>41784</c:v>
                </c:pt>
                <c:pt idx="62907">
                  <c:v>33351</c:v>
                </c:pt>
                <c:pt idx="62908">
                  <c:v>46592</c:v>
                </c:pt>
                <c:pt idx="62909">
                  <c:v>23551</c:v>
                </c:pt>
                <c:pt idx="62910">
                  <c:v>24420</c:v>
                </c:pt>
                <c:pt idx="62911">
                  <c:v>23455</c:v>
                </c:pt>
                <c:pt idx="62912">
                  <c:v>19132</c:v>
                </c:pt>
                <c:pt idx="62913">
                  <c:v>33784</c:v>
                </c:pt>
                <c:pt idx="62914">
                  <c:v>41865</c:v>
                </c:pt>
                <c:pt idx="62915">
                  <c:v>23095</c:v>
                </c:pt>
                <c:pt idx="62916">
                  <c:v>73188</c:v>
                </c:pt>
                <c:pt idx="62917">
                  <c:v>55063</c:v>
                </c:pt>
                <c:pt idx="62918">
                  <c:v>101276</c:v>
                </c:pt>
                <c:pt idx="62919">
                  <c:v>33542</c:v>
                </c:pt>
                <c:pt idx="62920">
                  <c:v>25615</c:v>
                </c:pt>
                <c:pt idx="62921">
                  <c:v>37460</c:v>
                </c:pt>
                <c:pt idx="62922">
                  <c:v>130624</c:v>
                </c:pt>
                <c:pt idx="62923">
                  <c:v>33445</c:v>
                </c:pt>
                <c:pt idx="62924">
                  <c:v>25334</c:v>
                </c:pt>
                <c:pt idx="62925">
                  <c:v>25005</c:v>
                </c:pt>
                <c:pt idx="62926">
                  <c:v>23494</c:v>
                </c:pt>
                <c:pt idx="62927">
                  <c:v>41613</c:v>
                </c:pt>
                <c:pt idx="62928">
                  <c:v>288921</c:v>
                </c:pt>
                <c:pt idx="62929">
                  <c:v>45433</c:v>
                </c:pt>
                <c:pt idx="62930">
                  <c:v>51334</c:v>
                </c:pt>
                <c:pt idx="62931">
                  <c:v>48462</c:v>
                </c:pt>
                <c:pt idx="62932">
                  <c:v>264617</c:v>
                </c:pt>
                <c:pt idx="62933">
                  <c:v>35583</c:v>
                </c:pt>
                <c:pt idx="62934">
                  <c:v>43673</c:v>
                </c:pt>
                <c:pt idx="62935">
                  <c:v>48085</c:v>
                </c:pt>
                <c:pt idx="62936">
                  <c:v>34042</c:v>
                </c:pt>
                <c:pt idx="62937">
                  <c:v>44104</c:v>
                </c:pt>
                <c:pt idx="62938">
                  <c:v>165299</c:v>
                </c:pt>
                <c:pt idx="62939">
                  <c:v>28252</c:v>
                </c:pt>
                <c:pt idx="62940">
                  <c:v>36065</c:v>
                </c:pt>
                <c:pt idx="62941">
                  <c:v>220498</c:v>
                </c:pt>
                <c:pt idx="62942">
                  <c:v>102502</c:v>
                </c:pt>
                <c:pt idx="62943">
                  <c:v>29357</c:v>
                </c:pt>
                <c:pt idx="62944">
                  <c:v>94282</c:v>
                </c:pt>
                <c:pt idx="62945">
                  <c:v>65745</c:v>
                </c:pt>
                <c:pt idx="62946">
                  <c:v>25765</c:v>
                </c:pt>
                <c:pt idx="62947">
                  <c:v>58074</c:v>
                </c:pt>
                <c:pt idx="62948">
                  <c:v>23939</c:v>
                </c:pt>
                <c:pt idx="62949">
                  <c:v>30828</c:v>
                </c:pt>
                <c:pt idx="62950">
                  <c:v>48949</c:v>
                </c:pt>
                <c:pt idx="62951">
                  <c:v>40921</c:v>
                </c:pt>
                <c:pt idx="62952">
                  <c:v>159705</c:v>
                </c:pt>
                <c:pt idx="62953">
                  <c:v>42567</c:v>
                </c:pt>
                <c:pt idx="62954">
                  <c:v>51203</c:v>
                </c:pt>
                <c:pt idx="62955">
                  <c:v>41686</c:v>
                </c:pt>
                <c:pt idx="62956">
                  <c:v>32780</c:v>
                </c:pt>
                <c:pt idx="62957">
                  <c:v>36399</c:v>
                </c:pt>
                <c:pt idx="62958">
                  <c:v>30354</c:v>
                </c:pt>
                <c:pt idx="62959">
                  <c:v>22467</c:v>
                </c:pt>
                <c:pt idx="62960">
                  <c:v>61585</c:v>
                </c:pt>
                <c:pt idx="62961">
                  <c:v>70055</c:v>
                </c:pt>
                <c:pt idx="62962">
                  <c:v>32566</c:v>
                </c:pt>
                <c:pt idx="62963">
                  <c:v>80113</c:v>
                </c:pt>
                <c:pt idx="62964">
                  <c:v>43733</c:v>
                </c:pt>
                <c:pt idx="62965">
                  <c:v>38261</c:v>
                </c:pt>
                <c:pt idx="62966">
                  <c:v>33394</c:v>
                </c:pt>
                <c:pt idx="62967">
                  <c:v>40799</c:v>
                </c:pt>
                <c:pt idx="62968">
                  <c:v>33068</c:v>
                </c:pt>
                <c:pt idx="62969">
                  <c:v>44198</c:v>
                </c:pt>
                <c:pt idx="62970">
                  <c:v>110011</c:v>
                </c:pt>
                <c:pt idx="62971">
                  <c:v>157332</c:v>
                </c:pt>
                <c:pt idx="62972">
                  <c:v>81508</c:v>
                </c:pt>
                <c:pt idx="62973">
                  <c:v>116422</c:v>
                </c:pt>
                <c:pt idx="62974">
                  <c:v>53389</c:v>
                </c:pt>
                <c:pt idx="62975">
                  <c:v>26946</c:v>
                </c:pt>
                <c:pt idx="62976">
                  <c:v>38693</c:v>
                </c:pt>
                <c:pt idx="62977">
                  <c:v>30802</c:v>
                </c:pt>
                <c:pt idx="62978">
                  <c:v>95095</c:v>
                </c:pt>
                <c:pt idx="62979">
                  <c:v>39625</c:v>
                </c:pt>
                <c:pt idx="62980">
                  <c:v>33803</c:v>
                </c:pt>
                <c:pt idx="62981">
                  <c:v>34526</c:v>
                </c:pt>
                <c:pt idx="62982">
                  <c:v>32192</c:v>
                </c:pt>
                <c:pt idx="62983">
                  <c:v>51801</c:v>
                </c:pt>
                <c:pt idx="62984">
                  <c:v>29773</c:v>
                </c:pt>
                <c:pt idx="62985">
                  <c:v>19613</c:v>
                </c:pt>
                <c:pt idx="62986">
                  <c:v>37543</c:v>
                </c:pt>
                <c:pt idx="62987">
                  <c:v>34062</c:v>
                </c:pt>
                <c:pt idx="62988">
                  <c:v>103687</c:v>
                </c:pt>
                <c:pt idx="62989">
                  <c:v>42404</c:v>
                </c:pt>
                <c:pt idx="62990">
                  <c:v>26880</c:v>
                </c:pt>
                <c:pt idx="62991">
                  <c:v>39900</c:v>
                </c:pt>
                <c:pt idx="62992">
                  <c:v>46981</c:v>
                </c:pt>
                <c:pt idx="62993">
                  <c:v>23317</c:v>
                </c:pt>
                <c:pt idx="62994">
                  <c:v>25616</c:v>
                </c:pt>
                <c:pt idx="62995">
                  <c:v>39353</c:v>
                </c:pt>
                <c:pt idx="62996">
                  <c:v>214985</c:v>
                </c:pt>
                <c:pt idx="62997">
                  <c:v>73660</c:v>
                </c:pt>
                <c:pt idx="62998">
                  <c:v>134092</c:v>
                </c:pt>
                <c:pt idx="62999">
                  <c:v>46247</c:v>
                </c:pt>
                <c:pt idx="63000">
                  <c:v>53842</c:v>
                </c:pt>
                <c:pt idx="63001">
                  <c:v>35240</c:v>
                </c:pt>
                <c:pt idx="63002">
                  <c:v>36868</c:v>
                </c:pt>
                <c:pt idx="63003">
                  <c:v>68354</c:v>
                </c:pt>
                <c:pt idx="63004">
                  <c:v>79663</c:v>
                </c:pt>
                <c:pt idx="63005">
                  <c:v>49386</c:v>
                </c:pt>
                <c:pt idx="63006">
                  <c:v>67534</c:v>
                </c:pt>
                <c:pt idx="63007">
                  <c:v>90912</c:v>
                </c:pt>
                <c:pt idx="63008">
                  <c:v>27931</c:v>
                </c:pt>
                <c:pt idx="63009">
                  <c:v>35772</c:v>
                </c:pt>
                <c:pt idx="63010">
                  <c:v>31266</c:v>
                </c:pt>
                <c:pt idx="63011">
                  <c:v>57545</c:v>
                </c:pt>
                <c:pt idx="63012">
                  <c:v>78718</c:v>
                </c:pt>
                <c:pt idx="63013">
                  <c:v>177509</c:v>
                </c:pt>
                <c:pt idx="63014">
                  <c:v>39542</c:v>
                </c:pt>
                <c:pt idx="63015">
                  <c:v>25375</c:v>
                </c:pt>
                <c:pt idx="63016">
                  <c:v>45237</c:v>
                </c:pt>
                <c:pt idx="63017">
                  <c:v>32049</c:v>
                </c:pt>
                <c:pt idx="63018">
                  <c:v>31729</c:v>
                </c:pt>
                <c:pt idx="63019">
                  <c:v>39605</c:v>
                </c:pt>
                <c:pt idx="63020">
                  <c:v>65348</c:v>
                </c:pt>
                <c:pt idx="63021">
                  <c:v>32312</c:v>
                </c:pt>
                <c:pt idx="63022">
                  <c:v>339512</c:v>
                </c:pt>
                <c:pt idx="63023">
                  <c:v>149368</c:v>
                </c:pt>
                <c:pt idx="63024">
                  <c:v>66855</c:v>
                </c:pt>
                <c:pt idx="63025">
                  <c:v>24022</c:v>
                </c:pt>
                <c:pt idx="63026">
                  <c:v>91310</c:v>
                </c:pt>
                <c:pt idx="63027">
                  <c:v>28164</c:v>
                </c:pt>
                <c:pt idx="63028">
                  <c:v>171151</c:v>
                </c:pt>
                <c:pt idx="63029">
                  <c:v>36538</c:v>
                </c:pt>
                <c:pt idx="63030">
                  <c:v>62159</c:v>
                </c:pt>
                <c:pt idx="63031">
                  <c:v>37615</c:v>
                </c:pt>
                <c:pt idx="63032">
                  <c:v>42496</c:v>
                </c:pt>
                <c:pt idx="63033">
                  <c:v>53939</c:v>
                </c:pt>
                <c:pt idx="63034">
                  <c:v>59588</c:v>
                </c:pt>
                <c:pt idx="63035">
                  <c:v>20437</c:v>
                </c:pt>
                <c:pt idx="63036">
                  <c:v>44693</c:v>
                </c:pt>
                <c:pt idx="63037">
                  <c:v>52066</c:v>
                </c:pt>
                <c:pt idx="63038">
                  <c:v>136151</c:v>
                </c:pt>
                <c:pt idx="63039">
                  <c:v>52225</c:v>
                </c:pt>
                <c:pt idx="63040">
                  <c:v>37028</c:v>
                </c:pt>
                <c:pt idx="63041">
                  <c:v>34980</c:v>
                </c:pt>
                <c:pt idx="63042">
                  <c:v>408516</c:v>
                </c:pt>
                <c:pt idx="63043">
                  <c:v>103834</c:v>
                </c:pt>
                <c:pt idx="63044">
                  <c:v>35263</c:v>
                </c:pt>
                <c:pt idx="63045">
                  <c:v>38736</c:v>
                </c:pt>
                <c:pt idx="63046">
                  <c:v>102478</c:v>
                </c:pt>
                <c:pt idx="63047">
                  <c:v>27567</c:v>
                </c:pt>
                <c:pt idx="63048">
                  <c:v>75424</c:v>
                </c:pt>
                <c:pt idx="63049">
                  <c:v>40654</c:v>
                </c:pt>
                <c:pt idx="63050">
                  <c:v>31524</c:v>
                </c:pt>
                <c:pt idx="63051">
                  <c:v>41792</c:v>
                </c:pt>
                <c:pt idx="63052">
                  <c:v>102967</c:v>
                </c:pt>
                <c:pt idx="63053">
                  <c:v>51929</c:v>
                </c:pt>
                <c:pt idx="63054">
                  <c:v>39836</c:v>
                </c:pt>
                <c:pt idx="63055">
                  <c:v>21672</c:v>
                </c:pt>
                <c:pt idx="63056">
                  <c:v>43535</c:v>
                </c:pt>
                <c:pt idx="63057">
                  <c:v>30101</c:v>
                </c:pt>
                <c:pt idx="63058">
                  <c:v>191470</c:v>
                </c:pt>
                <c:pt idx="63059">
                  <c:v>58354</c:v>
                </c:pt>
                <c:pt idx="63060">
                  <c:v>24180</c:v>
                </c:pt>
                <c:pt idx="63061">
                  <c:v>59093</c:v>
                </c:pt>
                <c:pt idx="63062">
                  <c:v>32381</c:v>
                </c:pt>
                <c:pt idx="63063">
                  <c:v>70359</c:v>
                </c:pt>
                <c:pt idx="63064">
                  <c:v>63578</c:v>
                </c:pt>
                <c:pt idx="63065">
                  <c:v>37746</c:v>
                </c:pt>
                <c:pt idx="63066">
                  <c:v>39204</c:v>
                </c:pt>
                <c:pt idx="63067">
                  <c:v>46451</c:v>
                </c:pt>
                <c:pt idx="63068">
                  <c:v>44720</c:v>
                </c:pt>
                <c:pt idx="63069">
                  <c:v>84596</c:v>
                </c:pt>
                <c:pt idx="63070">
                  <c:v>29700</c:v>
                </c:pt>
                <c:pt idx="63071">
                  <c:v>34840</c:v>
                </c:pt>
                <c:pt idx="63072">
                  <c:v>36703</c:v>
                </c:pt>
                <c:pt idx="63073">
                  <c:v>52148</c:v>
                </c:pt>
                <c:pt idx="63074">
                  <c:v>53922</c:v>
                </c:pt>
                <c:pt idx="63075">
                  <c:v>34820</c:v>
                </c:pt>
                <c:pt idx="63076">
                  <c:v>36199</c:v>
                </c:pt>
                <c:pt idx="63077">
                  <c:v>41845</c:v>
                </c:pt>
                <c:pt idx="63078">
                  <c:v>26163</c:v>
                </c:pt>
                <c:pt idx="63079">
                  <c:v>240728</c:v>
                </c:pt>
                <c:pt idx="63080">
                  <c:v>46586</c:v>
                </c:pt>
                <c:pt idx="63081">
                  <c:v>104159</c:v>
                </c:pt>
                <c:pt idx="63082">
                  <c:v>144072</c:v>
                </c:pt>
                <c:pt idx="63083">
                  <c:v>40740</c:v>
                </c:pt>
                <c:pt idx="63084">
                  <c:v>34997</c:v>
                </c:pt>
                <c:pt idx="63085">
                  <c:v>92579</c:v>
                </c:pt>
                <c:pt idx="63086">
                  <c:v>141032</c:v>
                </c:pt>
                <c:pt idx="63087">
                  <c:v>142603</c:v>
                </c:pt>
                <c:pt idx="63088">
                  <c:v>79739</c:v>
                </c:pt>
                <c:pt idx="63089">
                  <c:v>32308</c:v>
                </c:pt>
                <c:pt idx="63090">
                  <c:v>19816</c:v>
                </c:pt>
                <c:pt idx="63091">
                  <c:v>29536</c:v>
                </c:pt>
                <c:pt idx="63092">
                  <c:v>134587</c:v>
                </c:pt>
                <c:pt idx="63093">
                  <c:v>78975</c:v>
                </c:pt>
                <c:pt idx="63094">
                  <c:v>32458</c:v>
                </c:pt>
                <c:pt idx="63095">
                  <c:v>35255</c:v>
                </c:pt>
                <c:pt idx="63096">
                  <c:v>61369</c:v>
                </c:pt>
                <c:pt idx="63097">
                  <c:v>25299</c:v>
                </c:pt>
                <c:pt idx="63098">
                  <c:v>28015</c:v>
                </c:pt>
                <c:pt idx="63099">
                  <c:v>29792</c:v>
                </c:pt>
                <c:pt idx="63100">
                  <c:v>30956</c:v>
                </c:pt>
                <c:pt idx="63101">
                  <c:v>156979</c:v>
                </c:pt>
                <c:pt idx="63102">
                  <c:v>35019</c:v>
                </c:pt>
                <c:pt idx="63103">
                  <c:v>72719</c:v>
                </c:pt>
                <c:pt idx="63104">
                  <c:v>30803</c:v>
                </c:pt>
                <c:pt idx="63105">
                  <c:v>62616</c:v>
                </c:pt>
                <c:pt idx="63106">
                  <c:v>38542</c:v>
                </c:pt>
                <c:pt idx="63107">
                  <c:v>30228</c:v>
                </c:pt>
                <c:pt idx="63108">
                  <c:v>36360</c:v>
                </c:pt>
                <c:pt idx="63109">
                  <c:v>169122</c:v>
                </c:pt>
                <c:pt idx="63110">
                  <c:v>79251</c:v>
                </c:pt>
                <c:pt idx="63111">
                  <c:v>163106</c:v>
                </c:pt>
                <c:pt idx="63112">
                  <c:v>65967</c:v>
                </c:pt>
                <c:pt idx="63113">
                  <c:v>35992</c:v>
                </c:pt>
                <c:pt idx="63114">
                  <c:v>37343</c:v>
                </c:pt>
                <c:pt idx="63115">
                  <c:v>23769</c:v>
                </c:pt>
                <c:pt idx="63116">
                  <c:v>91203</c:v>
                </c:pt>
                <c:pt idx="63117">
                  <c:v>70047</c:v>
                </c:pt>
                <c:pt idx="63118">
                  <c:v>51921</c:v>
                </c:pt>
                <c:pt idx="63119">
                  <c:v>32989</c:v>
                </c:pt>
                <c:pt idx="63120">
                  <c:v>23942</c:v>
                </c:pt>
                <c:pt idx="63121">
                  <c:v>69590</c:v>
                </c:pt>
                <c:pt idx="63122">
                  <c:v>23921</c:v>
                </c:pt>
                <c:pt idx="63123">
                  <c:v>86398</c:v>
                </c:pt>
                <c:pt idx="63124">
                  <c:v>22083</c:v>
                </c:pt>
                <c:pt idx="63125">
                  <c:v>107866</c:v>
                </c:pt>
                <c:pt idx="63126">
                  <c:v>59968</c:v>
                </c:pt>
                <c:pt idx="63127">
                  <c:v>28487</c:v>
                </c:pt>
                <c:pt idx="63128">
                  <c:v>41828</c:v>
                </c:pt>
                <c:pt idx="63129">
                  <c:v>129936</c:v>
                </c:pt>
                <c:pt idx="63130">
                  <c:v>37819</c:v>
                </c:pt>
                <c:pt idx="63131">
                  <c:v>21605</c:v>
                </c:pt>
                <c:pt idx="63132">
                  <c:v>57743</c:v>
                </c:pt>
                <c:pt idx="63133">
                  <c:v>87658</c:v>
                </c:pt>
                <c:pt idx="63134">
                  <c:v>168343</c:v>
                </c:pt>
                <c:pt idx="63135">
                  <c:v>46409</c:v>
                </c:pt>
                <c:pt idx="63136">
                  <c:v>107645</c:v>
                </c:pt>
                <c:pt idx="63137">
                  <c:v>26444</c:v>
                </c:pt>
                <c:pt idx="63138">
                  <c:v>99533</c:v>
                </c:pt>
                <c:pt idx="63139">
                  <c:v>25959</c:v>
                </c:pt>
                <c:pt idx="63140">
                  <c:v>52842</c:v>
                </c:pt>
                <c:pt idx="63141">
                  <c:v>32004</c:v>
                </c:pt>
                <c:pt idx="63142">
                  <c:v>43820</c:v>
                </c:pt>
                <c:pt idx="63143">
                  <c:v>41114</c:v>
                </c:pt>
                <c:pt idx="63144">
                  <c:v>41300</c:v>
                </c:pt>
                <c:pt idx="63145">
                  <c:v>28246</c:v>
                </c:pt>
                <c:pt idx="63146">
                  <c:v>48252</c:v>
                </c:pt>
                <c:pt idx="63147">
                  <c:v>47664</c:v>
                </c:pt>
                <c:pt idx="63148">
                  <c:v>57534</c:v>
                </c:pt>
                <c:pt idx="63149">
                  <c:v>72549</c:v>
                </c:pt>
                <c:pt idx="63150">
                  <c:v>21998</c:v>
                </c:pt>
                <c:pt idx="63151">
                  <c:v>28193</c:v>
                </c:pt>
                <c:pt idx="63152">
                  <c:v>42659</c:v>
                </c:pt>
                <c:pt idx="63153">
                  <c:v>40218</c:v>
                </c:pt>
                <c:pt idx="63154">
                  <c:v>42399</c:v>
                </c:pt>
                <c:pt idx="63155">
                  <c:v>24178</c:v>
                </c:pt>
                <c:pt idx="63156">
                  <c:v>25504</c:v>
                </c:pt>
                <c:pt idx="63157">
                  <c:v>40184</c:v>
                </c:pt>
                <c:pt idx="63158">
                  <c:v>72736</c:v>
                </c:pt>
                <c:pt idx="63159">
                  <c:v>40956</c:v>
                </c:pt>
                <c:pt idx="63160">
                  <c:v>33690</c:v>
                </c:pt>
                <c:pt idx="63161">
                  <c:v>123434</c:v>
                </c:pt>
                <c:pt idx="63162">
                  <c:v>44153</c:v>
                </c:pt>
                <c:pt idx="63163">
                  <c:v>24633</c:v>
                </c:pt>
                <c:pt idx="63164">
                  <c:v>40796</c:v>
                </c:pt>
                <c:pt idx="63165">
                  <c:v>43569</c:v>
                </c:pt>
                <c:pt idx="63166">
                  <c:v>56956</c:v>
                </c:pt>
                <c:pt idx="63167">
                  <c:v>43009</c:v>
                </c:pt>
                <c:pt idx="63168">
                  <c:v>23711</c:v>
                </c:pt>
                <c:pt idx="63169">
                  <c:v>25446</c:v>
                </c:pt>
                <c:pt idx="63170">
                  <c:v>37984</c:v>
                </c:pt>
                <c:pt idx="63171">
                  <c:v>92513</c:v>
                </c:pt>
                <c:pt idx="63172">
                  <c:v>33616</c:v>
                </c:pt>
                <c:pt idx="63173">
                  <c:v>30282</c:v>
                </c:pt>
                <c:pt idx="63174">
                  <c:v>50210</c:v>
                </c:pt>
                <c:pt idx="63175">
                  <c:v>113712</c:v>
                </c:pt>
                <c:pt idx="63176">
                  <c:v>35822</c:v>
                </c:pt>
                <c:pt idx="63177">
                  <c:v>41440</c:v>
                </c:pt>
                <c:pt idx="63178">
                  <c:v>67277</c:v>
                </c:pt>
                <c:pt idx="63179">
                  <c:v>44483</c:v>
                </c:pt>
                <c:pt idx="63180">
                  <c:v>62499</c:v>
                </c:pt>
                <c:pt idx="63181">
                  <c:v>29165</c:v>
                </c:pt>
                <c:pt idx="63182">
                  <c:v>42580</c:v>
                </c:pt>
                <c:pt idx="63183">
                  <c:v>41139</c:v>
                </c:pt>
                <c:pt idx="63184">
                  <c:v>58481</c:v>
                </c:pt>
                <c:pt idx="63185">
                  <c:v>21932</c:v>
                </c:pt>
                <c:pt idx="63186">
                  <c:v>206244</c:v>
                </c:pt>
                <c:pt idx="63187">
                  <c:v>41283</c:v>
                </c:pt>
                <c:pt idx="63188">
                  <c:v>107503</c:v>
                </c:pt>
                <c:pt idx="63189">
                  <c:v>50692</c:v>
                </c:pt>
                <c:pt idx="63190">
                  <c:v>23816</c:v>
                </c:pt>
                <c:pt idx="63191">
                  <c:v>45198</c:v>
                </c:pt>
                <c:pt idx="63192">
                  <c:v>149292</c:v>
                </c:pt>
                <c:pt idx="63193">
                  <c:v>22066</c:v>
                </c:pt>
                <c:pt idx="63194">
                  <c:v>40880</c:v>
                </c:pt>
                <c:pt idx="63195">
                  <c:v>47591</c:v>
                </c:pt>
                <c:pt idx="63196">
                  <c:v>29696</c:v>
                </c:pt>
                <c:pt idx="63197">
                  <c:v>95702</c:v>
                </c:pt>
                <c:pt idx="63198">
                  <c:v>91281</c:v>
                </c:pt>
                <c:pt idx="63199">
                  <c:v>43344</c:v>
                </c:pt>
                <c:pt idx="63200">
                  <c:v>75779</c:v>
                </c:pt>
                <c:pt idx="63201">
                  <c:v>128976</c:v>
                </c:pt>
                <c:pt idx="63202">
                  <c:v>28068</c:v>
                </c:pt>
                <c:pt idx="63203">
                  <c:v>73542</c:v>
                </c:pt>
                <c:pt idx="63204">
                  <c:v>77430</c:v>
                </c:pt>
                <c:pt idx="63205">
                  <c:v>54344</c:v>
                </c:pt>
                <c:pt idx="63206">
                  <c:v>34048</c:v>
                </c:pt>
                <c:pt idx="63207">
                  <c:v>42130</c:v>
                </c:pt>
                <c:pt idx="63208">
                  <c:v>37110</c:v>
                </c:pt>
                <c:pt idx="63209">
                  <c:v>71995</c:v>
                </c:pt>
                <c:pt idx="63210">
                  <c:v>32123</c:v>
                </c:pt>
                <c:pt idx="63211">
                  <c:v>90755</c:v>
                </c:pt>
                <c:pt idx="63212">
                  <c:v>56207</c:v>
                </c:pt>
                <c:pt idx="63213">
                  <c:v>125956</c:v>
                </c:pt>
                <c:pt idx="63214">
                  <c:v>26419</c:v>
                </c:pt>
                <c:pt idx="63215">
                  <c:v>42029</c:v>
                </c:pt>
                <c:pt idx="63216">
                  <c:v>33432</c:v>
                </c:pt>
                <c:pt idx="63217">
                  <c:v>68776</c:v>
                </c:pt>
                <c:pt idx="63218">
                  <c:v>25000</c:v>
                </c:pt>
                <c:pt idx="63219">
                  <c:v>61917</c:v>
                </c:pt>
                <c:pt idx="63220">
                  <c:v>49610</c:v>
                </c:pt>
                <c:pt idx="63221">
                  <c:v>111351</c:v>
                </c:pt>
                <c:pt idx="63222">
                  <c:v>27610</c:v>
                </c:pt>
                <c:pt idx="63223">
                  <c:v>32087</c:v>
                </c:pt>
                <c:pt idx="63224">
                  <c:v>28580</c:v>
                </c:pt>
                <c:pt idx="63225">
                  <c:v>35081</c:v>
                </c:pt>
                <c:pt idx="63226">
                  <c:v>34756</c:v>
                </c:pt>
                <c:pt idx="63227">
                  <c:v>25817</c:v>
                </c:pt>
                <c:pt idx="63228">
                  <c:v>36451</c:v>
                </c:pt>
                <c:pt idx="63229">
                  <c:v>76217</c:v>
                </c:pt>
                <c:pt idx="63230">
                  <c:v>84490</c:v>
                </c:pt>
                <c:pt idx="63231">
                  <c:v>30805</c:v>
                </c:pt>
                <c:pt idx="63232">
                  <c:v>62222</c:v>
                </c:pt>
                <c:pt idx="63233">
                  <c:v>131241</c:v>
                </c:pt>
                <c:pt idx="63234">
                  <c:v>28073</c:v>
                </c:pt>
                <c:pt idx="63235">
                  <c:v>26381</c:v>
                </c:pt>
                <c:pt idx="63236">
                  <c:v>22907</c:v>
                </c:pt>
                <c:pt idx="63237">
                  <c:v>44733</c:v>
                </c:pt>
                <c:pt idx="63238">
                  <c:v>39603</c:v>
                </c:pt>
                <c:pt idx="63239">
                  <c:v>77075</c:v>
                </c:pt>
                <c:pt idx="63240">
                  <c:v>162622</c:v>
                </c:pt>
                <c:pt idx="63241">
                  <c:v>89184</c:v>
                </c:pt>
                <c:pt idx="63242">
                  <c:v>65289</c:v>
                </c:pt>
                <c:pt idx="63243">
                  <c:v>204646</c:v>
                </c:pt>
                <c:pt idx="63244">
                  <c:v>45581</c:v>
                </c:pt>
                <c:pt idx="63245">
                  <c:v>28121</c:v>
                </c:pt>
                <c:pt idx="63246">
                  <c:v>36354</c:v>
                </c:pt>
                <c:pt idx="63247">
                  <c:v>72563</c:v>
                </c:pt>
                <c:pt idx="63248">
                  <c:v>82732</c:v>
                </c:pt>
                <c:pt idx="63249">
                  <c:v>84832</c:v>
                </c:pt>
                <c:pt idx="63250">
                  <c:v>52185</c:v>
                </c:pt>
                <c:pt idx="63251">
                  <c:v>46565</c:v>
                </c:pt>
                <c:pt idx="63252">
                  <c:v>88523</c:v>
                </c:pt>
                <c:pt idx="63253">
                  <c:v>24790</c:v>
                </c:pt>
                <c:pt idx="63254">
                  <c:v>63747</c:v>
                </c:pt>
                <c:pt idx="63255">
                  <c:v>34548</c:v>
                </c:pt>
                <c:pt idx="63256">
                  <c:v>45941</c:v>
                </c:pt>
                <c:pt idx="63257">
                  <c:v>109494</c:v>
                </c:pt>
                <c:pt idx="63258">
                  <c:v>85542</c:v>
                </c:pt>
                <c:pt idx="63259">
                  <c:v>116149</c:v>
                </c:pt>
                <c:pt idx="63260">
                  <c:v>66363</c:v>
                </c:pt>
                <c:pt idx="63261">
                  <c:v>193868</c:v>
                </c:pt>
                <c:pt idx="63262">
                  <c:v>249947</c:v>
                </c:pt>
                <c:pt idx="63263">
                  <c:v>39322</c:v>
                </c:pt>
                <c:pt idx="63264">
                  <c:v>101155</c:v>
                </c:pt>
                <c:pt idx="63265">
                  <c:v>41200</c:v>
                </c:pt>
                <c:pt idx="63266">
                  <c:v>84297</c:v>
                </c:pt>
                <c:pt idx="63267">
                  <c:v>41663</c:v>
                </c:pt>
                <c:pt idx="63268">
                  <c:v>51445</c:v>
                </c:pt>
                <c:pt idx="63269">
                  <c:v>33942</c:v>
                </c:pt>
                <c:pt idx="63270">
                  <c:v>32272</c:v>
                </c:pt>
                <c:pt idx="63271">
                  <c:v>130181</c:v>
                </c:pt>
                <c:pt idx="63272">
                  <c:v>62762</c:v>
                </c:pt>
                <c:pt idx="63273">
                  <c:v>45383</c:v>
                </c:pt>
                <c:pt idx="63274">
                  <c:v>84804</c:v>
                </c:pt>
                <c:pt idx="63275">
                  <c:v>88156</c:v>
                </c:pt>
                <c:pt idx="63276">
                  <c:v>65185</c:v>
                </c:pt>
                <c:pt idx="63277">
                  <c:v>22490</c:v>
                </c:pt>
                <c:pt idx="63278">
                  <c:v>113051</c:v>
                </c:pt>
                <c:pt idx="63279">
                  <c:v>24334</c:v>
                </c:pt>
                <c:pt idx="63280">
                  <c:v>45820</c:v>
                </c:pt>
                <c:pt idx="63281">
                  <c:v>37483</c:v>
                </c:pt>
                <c:pt idx="63282">
                  <c:v>80848</c:v>
                </c:pt>
                <c:pt idx="63283">
                  <c:v>28139</c:v>
                </c:pt>
                <c:pt idx="63284">
                  <c:v>28869</c:v>
                </c:pt>
                <c:pt idx="63285">
                  <c:v>102450</c:v>
                </c:pt>
                <c:pt idx="63286">
                  <c:v>35783</c:v>
                </c:pt>
                <c:pt idx="63287">
                  <c:v>53405</c:v>
                </c:pt>
                <c:pt idx="63288">
                  <c:v>44473</c:v>
                </c:pt>
                <c:pt idx="63289">
                  <c:v>37439</c:v>
                </c:pt>
                <c:pt idx="63290">
                  <c:v>37773</c:v>
                </c:pt>
                <c:pt idx="63291">
                  <c:v>39977</c:v>
                </c:pt>
                <c:pt idx="63292">
                  <c:v>21832</c:v>
                </c:pt>
                <c:pt idx="63293">
                  <c:v>74509</c:v>
                </c:pt>
                <c:pt idx="63294">
                  <c:v>29498</c:v>
                </c:pt>
                <c:pt idx="63295">
                  <c:v>28100</c:v>
                </c:pt>
                <c:pt idx="63296">
                  <c:v>35429</c:v>
                </c:pt>
                <c:pt idx="63297">
                  <c:v>68978</c:v>
                </c:pt>
                <c:pt idx="63298">
                  <c:v>27746</c:v>
                </c:pt>
                <c:pt idx="63299">
                  <c:v>54051</c:v>
                </c:pt>
                <c:pt idx="63300">
                  <c:v>48612</c:v>
                </c:pt>
                <c:pt idx="63301">
                  <c:v>86001</c:v>
                </c:pt>
                <c:pt idx="63302">
                  <c:v>42254</c:v>
                </c:pt>
                <c:pt idx="63303">
                  <c:v>42348</c:v>
                </c:pt>
                <c:pt idx="63304">
                  <c:v>26052</c:v>
                </c:pt>
                <c:pt idx="63305">
                  <c:v>25030</c:v>
                </c:pt>
                <c:pt idx="63306">
                  <c:v>29557</c:v>
                </c:pt>
                <c:pt idx="63307">
                  <c:v>68102</c:v>
                </c:pt>
                <c:pt idx="63308">
                  <c:v>32720</c:v>
                </c:pt>
                <c:pt idx="63309">
                  <c:v>47501</c:v>
                </c:pt>
                <c:pt idx="63310">
                  <c:v>101216</c:v>
                </c:pt>
                <c:pt idx="63311">
                  <c:v>54594</c:v>
                </c:pt>
                <c:pt idx="63312">
                  <c:v>74705</c:v>
                </c:pt>
                <c:pt idx="63313">
                  <c:v>27424</c:v>
                </c:pt>
                <c:pt idx="63314">
                  <c:v>26923</c:v>
                </c:pt>
                <c:pt idx="63315">
                  <c:v>37261</c:v>
                </c:pt>
                <c:pt idx="63316">
                  <c:v>31678</c:v>
                </c:pt>
                <c:pt idx="63317">
                  <c:v>92100</c:v>
                </c:pt>
                <c:pt idx="63318">
                  <c:v>72505</c:v>
                </c:pt>
                <c:pt idx="63319">
                  <c:v>28202</c:v>
                </c:pt>
                <c:pt idx="63320">
                  <c:v>95912</c:v>
                </c:pt>
                <c:pt idx="63321">
                  <c:v>26471</c:v>
                </c:pt>
                <c:pt idx="63322">
                  <c:v>36683</c:v>
                </c:pt>
                <c:pt idx="63323">
                  <c:v>95328</c:v>
                </c:pt>
                <c:pt idx="63324">
                  <c:v>42842</c:v>
                </c:pt>
                <c:pt idx="63325">
                  <c:v>66199</c:v>
                </c:pt>
                <c:pt idx="63326">
                  <c:v>66805</c:v>
                </c:pt>
                <c:pt idx="63327">
                  <c:v>229554</c:v>
                </c:pt>
                <c:pt idx="63328">
                  <c:v>23344</c:v>
                </c:pt>
                <c:pt idx="63329">
                  <c:v>42483</c:v>
                </c:pt>
                <c:pt idx="63330">
                  <c:v>37267</c:v>
                </c:pt>
                <c:pt idx="63331">
                  <c:v>158235</c:v>
                </c:pt>
                <c:pt idx="63332">
                  <c:v>24770</c:v>
                </c:pt>
                <c:pt idx="63333">
                  <c:v>185823</c:v>
                </c:pt>
                <c:pt idx="63334">
                  <c:v>66778</c:v>
                </c:pt>
                <c:pt idx="63335">
                  <c:v>34449</c:v>
                </c:pt>
                <c:pt idx="63336">
                  <c:v>30437</c:v>
                </c:pt>
                <c:pt idx="63337">
                  <c:v>54556</c:v>
                </c:pt>
                <c:pt idx="63338">
                  <c:v>46943</c:v>
                </c:pt>
                <c:pt idx="63339">
                  <c:v>34647</c:v>
                </c:pt>
                <c:pt idx="63340">
                  <c:v>110438</c:v>
                </c:pt>
                <c:pt idx="63341">
                  <c:v>34241</c:v>
                </c:pt>
                <c:pt idx="63342">
                  <c:v>28480</c:v>
                </c:pt>
                <c:pt idx="63343">
                  <c:v>25736</c:v>
                </c:pt>
                <c:pt idx="63344">
                  <c:v>24204</c:v>
                </c:pt>
                <c:pt idx="63345">
                  <c:v>21634</c:v>
                </c:pt>
                <c:pt idx="63346">
                  <c:v>31591</c:v>
                </c:pt>
                <c:pt idx="63347">
                  <c:v>47993</c:v>
                </c:pt>
                <c:pt idx="63348">
                  <c:v>64707</c:v>
                </c:pt>
                <c:pt idx="63349">
                  <c:v>50007</c:v>
                </c:pt>
                <c:pt idx="63350">
                  <c:v>144735</c:v>
                </c:pt>
                <c:pt idx="63351">
                  <c:v>35855</c:v>
                </c:pt>
                <c:pt idx="63352">
                  <c:v>34696</c:v>
                </c:pt>
                <c:pt idx="63353">
                  <c:v>28556</c:v>
                </c:pt>
                <c:pt idx="63354">
                  <c:v>189304</c:v>
                </c:pt>
                <c:pt idx="63355">
                  <c:v>133819</c:v>
                </c:pt>
                <c:pt idx="63356">
                  <c:v>39490</c:v>
                </c:pt>
                <c:pt idx="63357">
                  <c:v>76588</c:v>
                </c:pt>
                <c:pt idx="63358">
                  <c:v>60481</c:v>
                </c:pt>
                <c:pt idx="63359">
                  <c:v>44450</c:v>
                </c:pt>
                <c:pt idx="63360">
                  <c:v>25726</c:v>
                </c:pt>
                <c:pt idx="63361">
                  <c:v>39605</c:v>
                </c:pt>
                <c:pt idx="63362">
                  <c:v>66190</c:v>
                </c:pt>
                <c:pt idx="63363">
                  <c:v>87635</c:v>
                </c:pt>
                <c:pt idx="63364">
                  <c:v>28297</c:v>
                </c:pt>
                <c:pt idx="63365">
                  <c:v>42324</c:v>
                </c:pt>
                <c:pt idx="63366">
                  <c:v>59461</c:v>
                </c:pt>
                <c:pt idx="63367">
                  <c:v>21370</c:v>
                </c:pt>
                <c:pt idx="63368">
                  <c:v>41960</c:v>
                </c:pt>
                <c:pt idx="63369">
                  <c:v>37847</c:v>
                </c:pt>
                <c:pt idx="63370">
                  <c:v>86256</c:v>
                </c:pt>
                <c:pt idx="63371">
                  <c:v>33910</c:v>
                </c:pt>
                <c:pt idx="63372">
                  <c:v>39472</c:v>
                </c:pt>
                <c:pt idx="63373">
                  <c:v>36831</c:v>
                </c:pt>
                <c:pt idx="63374">
                  <c:v>34414</c:v>
                </c:pt>
                <c:pt idx="63375">
                  <c:v>136884</c:v>
                </c:pt>
                <c:pt idx="63376">
                  <c:v>25241</c:v>
                </c:pt>
                <c:pt idx="63377">
                  <c:v>81866</c:v>
                </c:pt>
                <c:pt idx="63378">
                  <c:v>70339</c:v>
                </c:pt>
                <c:pt idx="63379">
                  <c:v>45650</c:v>
                </c:pt>
                <c:pt idx="63380">
                  <c:v>36428</c:v>
                </c:pt>
                <c:pt idx="63381">
                  <c:v>47678</c:v>
                </c:pt>
                <c:pt idx="63382">
                  <c:v>136683</c:v>
                </c:pt>
                <c:pt idx="63383">
                  <c:v>66361</c:v>
                </c:pt>
                <c:pt idx="63384">
                  <c:v>116995</c:v>
                </c:pt>
                <c:pt idx="63385">
                  <c:v>31632</c:v>
                </c:pt>
                <c:pt idx="63386">
                  <c:v>30217</c:v>
                </c:pt>
                <c:pt idx="63387">
                  <c:v>36226</c:v>
                </c:pt>
                <c:pt idx="63388">
                  <c:v>32853</c:v>
                </c:pt>
                <c:pt idx="63389">
                  <c:v>40643</c:v>
                </c:pt>
                <c:pt idx="63390">
                  <c:v>24275</c:v>
                </c:pt>
                <c:pt idx="63391">
                  <c:v>76763</c:v>
                </c:pt>
                <c:pt idx="63392">
                  <c:v>131708</c:v>
                </c:pt>
                <c:pt idx="63393">
                  <c:v>38387</c:v>
                </c:pt>
                <c:pt idx="63394">
                  <c:v>24658</c:v>
                </c:pt>
                <c:pt idx="63395">
                  <c:v>44210</c:v>
                </c:pt>
                <c:pt idx="63396">
                  <c:v>23491</c:v>
                </c:pt>
                <c:pt idx="63397">
                  <c:v>61808</c:v>
                </c:pt>
                <c:pt idx="63398">
                  <c:v>40181</c:v>
                </c:pt>
                <c:pt idx="63399">
                  <c:v>38826</c:v>
                </c:pt>
                <c:pt idx="63400">
                  <c:v>41648</c:v>
                </c:pt>
                <c:pt idx="63401">
                  <c:v>33760</c:v>
                </c:pt>
                <c:pt idx="63402">
                  <c:v>222959</c:v>
                </c:pt>
                <c:pt idx="63403">
                  <c:v>51342</c:v>
                </c:pt>
                <c:pt idx="63404">
                  <c:v>25368</c:v>
                </c:pt>
                <c:pt idx="63405">
                  <c:v>29186</c:v>
                </c:pt>
                <c:pt idx="63406">
                  <c:v>34226</c:v>
                </c:pt>
                <c:pt idx="63407">
                  <c:v>63794</c:v>
                </c:pt>
                <c:pt idx="63408">
                  <c:v>56358</c:v>
                </c:pt>
                <c:pt idx="63409">
                  <c:v>109415</c:v>
                </c:pt>
                <c:pt idx="63410">
                  <c:v>50984</c:v>
                </c:pt>
                <c:pt idx="63411">
                  <c:v>78332</c:v>
                </c:pt>
                <c:pt idx="63412">
                  <c:v>34216</c:v>
                </c:pt>
                <c:pt idx="63413">
                  <c:v>162488</c:v>
                </c:pt>
                <c:pt idx="63414">
                  <c:v>27237</c:v>
                </c:pt>
                <c:pt idx="63415">
                  <c:v>70846</c:v>
                </c:pt>
                <c:pt idx="63416">
                  <c:v>43179</c:v>
                </c:pt>
                <c:pt idx="63417">
                  <c:v>114746</c:v>
                </c:pt>
                <c:pt idx="63418">
                  <c:v>233466</c:v>
                </c:pt>
                <c:pt idx="63419">
                  <c:v>48554</c:v>
                </c:pt>
                <c:pt idx="63420">
                  <c:v>27282</c:v>
                </c:pt>
                <c:pt idx="63421">
                  <c:v>37901</c:v>
                </c:pt>
                <c:pt idx="63422">
                  <c:v>26958</c:v>
                </c:pt>
                <c:pt idx="63423">
                  <c:v>96173</c:v>
                </c:pt>
                <c:pt idx="63424">
                  <c:v>225607</c:v>
                </c:pt>
                <c:pt idx="63425">
                  <c:v>92893</c:v>
                </c:pt>
                <c:pt idx="63426">
                  <c:v>91796</c:v>
                </c:pt>
                <c:pt idx="63427">
                  <c:v>68879</c:v>
                </c:pt>
                <c:pt idx="63428">
                  <c:v>49103</c:v>
                </c:pt>
                <c:pt idx="63429">
                  <c:v>38604</c:v>
                </c:pt>
                <c:pt idx="63430">
                  <c:v>133321</c:v>
                </c:pt>
                <c:pt idx="63431">
                  <c:v>71719</c:v>
                </c:pt>
                <c:pt idx="63432">
                  <c:v>59968</c:v>
                </c:pt>
                <c:pt idx="63433">
                  <c:v>100621</c:v>
                </c:pt>
                <c:pt idx="63434">
                  <c:v>43800</c:v>
                </c:pt>
                <c:pt idx="63435">
                  <c:v>84805</c:v>
                </c:pt>
                <c:pt idx="63436">
                  <c:v>44077</c:v>
                </c:pt>
                <c:pt idx="63437">
                  <c:v>44175</c:v>
                </c:pt>
                <c:pt idx="63438">
                  <c:v>23982</c:v>
                </c:pt>
                <c:pt idx="63439">
                  <c:v>33052</c:v>
                </c:pt>
                <c:pt idx="63440">
                  <c:v>159485</c:v>
                </c:pt>
                <c:pt idx="63441">
                  <c:v>22211</c:v>
                </c:pt>
                <c:pt idx="63442">
                  <c:v>25682</c:v>
                </c:pt>
                <c:pt idx="63443">
                  <c:v>37136</c:v>
                </c:pt>
                <c:pt idx="63444">
                  <c:v>29763</c:v>
                </c:pt>
                <c:pt idx="63445">
                  <c:v>25453</c:v>
                </c:pt>
                <c:pt idx="63446">
                  <c:v>148179</c:v>
                </c:pt>
                <c:pt idx="63447">
                  <c:v>60783</c:v>
                </c:pt>
                <c:pt idx="63448">
                  <c:v>39059</c:v>
                </c:pt>
                <c:pt idx="63449">
                  <c:v>34774</c:v>
                </c:pt>
                <c:pt idx="63450">
                  <c:v>32226</c:v>
                </c:pt>
                <c:pt idx="63451">
                  <c:v>149121</c:v>
                </c:pt>
                <c:pt idx="63452">
                  <c:v>32181</c:v>
                </c:pt>
                <c:pt idx="63453">
                  <c:v>43979</c:v>
                </c:pt>
                <c:pt idx="63454">
                  <c:v>87566</c:v>
                </c:pt>
                <c:pt idx="63455">
                  <c:v>42060</c:v>
                </c:pt>
                <c:pt idx="63456">
                  <c:v>44870</c:v>
                </c:pt>
                <c:pt idx="63457">
                  <c:v>22754</c:v>
                </c:pt>
                <c:pt idx="63458">
                  <c:v>30931</c:v>
                </c:pt>
                <c:pt idx="63459">
                  <c:v>73456</c:v>
                </c:pt>
                <c:pt idx="63460">
                  <c:v>61535</c:v>
                </c:pt>
                <c:pt idx="63461">
                  <c:v>27161</c:v>
                </c:pt>
                <c:pt idx="63462">
                  <c:v>127248</c:v>
                </c:pt>
                <c:pt idx="63463">
                  <c:v>32701</c:v>
                </c:pt>
                <c:pt idx="63464">
                  <c:v>43966</c:v>
                </c:pt>
                <c:pt idx="63465">
                  <c:v>87242</c:v>
                </c:pt>
                <c:pt idx="63466">
                  <c:v>90837</c:v>
                </c:pt>
                <c:pt idx="63467">
                  <c:v>51901</c:v>
                </c:pt>
                <c:pt idx="63468">
                  <c:v>52989</c:v>
                </c:pt>
                <c:pt idx="63469">
                  <c:v>55975</c:v>
                </c:pt>
                <c:pt idx="63470">
                  <c:v>153855</c:v>
                </c:pt>
                <c:pt idx="63471">
                  <c:v>57648</c:v>
                </c:pt>
                <c:pt idx="63472">
                  <c:v>49325</c:v>
                </c:pt>
                <c:pt idx="63473">
                  <c:v>37792</c:v>
                </c:pt>
                <c:pt idx="63474">
                  <c:v>40120</c:v>
                </c:pt>
                <c:pt idx="63475">
                  <c:v>31375</c:v>
                </c:pt>
                <c:pt idx="63476">
                  <c:v>30793</c:v>
                </c:pt>
                <c:pt idx="63477">
                  <c:v>170857</c:v>
                </c:pt>
                <c:pt idx="63478">
                  <c:v>64387</c:v>
                </c:pt>
                <c:pt idx="63479">
                  <c:v>29899</c:v>
                </c:pt>
                <c:pt idx="63480">
                  <c:v>36096</c:v>
                </c:pt>
                <c:pt idx="63481">
                  <c:v>52957</c:v>
                </c:pt>
                <c:pt idx="63482">
                  <c:v>42232</c:v>
                </c:pt>
                <c:pt idx="63483">
                  <c:v>33163</c:v>
                </c:pt>
                <c:pt idx="63484">
                  <c:v>26549</c:v>
                </c:pt>
                <c:pt idx="63485">
                  <c:v>53773</c:v>
                </c:pt>
                <c:pt idx="63486">
                  <c:v>32365</c:v>
                </c:pt>
                <c:pt idx="63487">
                  <c:v>29915</c:v>
                </c:pt>
                <c:pt idx="63488">
                  <c:v>44176</c:v>
                </c:pt>
                <c:pt idx="63489">
                  <c:v>53708</c:v>
                </c:pt>
                <c:pt idx="63490">
                  <c:v>29481</c:v>
                </c:pt>
                <c:pt idx="63491">
                  <c:v>29403</c:v>
                </c:pt>
                <c:pt idx="63492">
                  <c:v>43669</c:v>
                </c:pt>
                <c:pt idx="63493">
                  <c:v>212902</c:v>
                </c:pt>
                <c:pt idx="63494">
                  <c:v>41833</c:v>
                </c:pt>
                <c:pt idx="63495">
                  <c:v>43679</c:v>
                </c:pt>
                <c:pt idx="63496">
                  <c:v>66410</c:v>
                </c:pt>
                <c:pt idx="63497">
                  <c:v>36149</c:v>
                </c:pt>
                <c:pt idx="63498">
                  <c:v>29638</c:v>
                </c:pt>
                <c:pt idx="63499">
                  <c:v>132842</c:v>
                </c:pt>
                <c:pt idx="63500">
                  <c:v>38062</c:v>
                </c:pt>
                <c:pt idx="63501">
                  <c:v>26792</c:v>
                </c:pt>
                <c:pt idx="63502">
                  <c:v>320523</c:v>
                </c:pt>
                <c:pt idx="63503">
                  <c:v>61033</c:v>
                </c:pt>
                <c:pt idx="63504">
                  <c:v>49737</c:v>
                </c:pt>
                <c:pt idx="63505">
                  <c:v>22308</c:v>
                </c:pt>
                <c:pt idx="63506">
                  <c:v>83231</c:v>
                </c:pt>
                <c:pt idx="63507">
                  <c:v>27697</c:v>
                </c:pt>
                <c:pt idx="63508">
                  <c:v>34805</c:v>
                </c:pt>
                <c:pt idx="63509">
                  <c:v>65599</c:v>
                </c:pt>
                <c:pt idx="63510">
                  <c:v>29045</c:v>
                </c:pt>
                <c:pt idx="63511">
                  <c:v>52202</c:v>
                </c:pt>
                <c:pt idx="63512">
                  <c:v>31358</c:v>
                </c:pt>
                <c:pt idx="63513">
                  <c:v>36069</c:v>
                </c:pt>
                <c:pt idx="63514">
                  <c:v>27974</c:v>
                </c:pt>
                <c:pt idx="63515">
                  <c:v>39065</c:v>
                </c:pt>
                <c:pt idx="63516">
                  <c:v>47497</c:v>
                </c:pt>
                <c:pt idx="63517">
                  <c:v>33630</c:v>
                </c:pt>
                <c:pt idx="63518">
                  <c:v>48214</c:v>
                </c:pt>
                <c:pt idx="63519">
                  <c:v>26734</c:v>
                </c:pt>
                <c:pt idx="63520">
                  <c:v>56991</c:v>
                </c:pt>
                <c:pt idx="63521">
                  <c:v>34176</c:v>
                </c:pt>
                <c:pt idx="63522">
                  <c:v>27758</c:v>
                </c:pt>
                <c:pt idx="63523">
                  <c:v>144222</c:v>
                </c:pt>
                <c:pt idx="63524">
                  <c:v>22077</c:v>
                </c:pt>
                <c:pt idx="63525">
                  <c:v>156121</c:v>
                </c:pt>
                <c:pt idx="63526">
                  <c:v>32825</c:v>
                </c:pt>
                <c:pt idx="63527">
                  <c:v>250792</c:v>
                </c:pt>
                <c:pt idx="63528">
                  <c:v>24835</c:v>
                </c:pt>
                <c:pt idx="63529">
                  <c:v>70239</c:v>
                </c:pt>
                <c:pt idx="63530">
                  <c:v>48230</c:v>
                </c:pt>
                <c:pt idx="63531">
                  <c:v>46889</c:v>
                </c:pt>
                <c:pt idx="63532">
                  <c:v>45678</c:v>
                </c:pt>
                <c:pt idx="63533">
                  <c:v>37794</c:v>
                </c:pt>
                <c:pt idx="63534">
                  <c:v>86438</c:v>
                </c:pt>
                <c:pt idx="63535">
                  <c:v>48842</c:v>
                </c:pt>
                <c:pt idx="63536">
                  <c:v>118851</c:v>
                </c:pt>
                <c:pt idx="63537">
                  <c:v>54177</c:v>
                </c:pt>
                <c:pt idx="63538">
                  <c:v>57014</c:v>
                </c:pt>
                <c:pt idx="63539">
                  <c:v>131360</c:v>
                </c:pt>
                <c:pt idx="63540">
                  <c:v>88152</c:v>
                </c:pt>
                <c:pt idx="63541">
                  <c:v>41362</c:v>
                </c:pt>
                <c:pt idx="63542">
                  <c:v>53582</c:v>
                </c:pt>
                <c:pt idx="63543">
                  <c:v>26389</c:v>
                </c:pt>
                <c:pt idx="63544">
                  <c:v>49600</c:v>
                </c:pt>
                <c:pt idx="63545">
                  <c:v>29893</c:v>
                </c:pt>
                <c:pt idx="63546">
                  <c:v>35601</c:v>
                </c:pt>
                <c:pt idx="63547">
                  <c:v>39840</c:v>
                </c:pt>
                <c:pt idx="63548">
                  <c:v>41245</c:v>
                </c:pt>
                <c:pt idx="63549">
                  <c:v>58648</c:v>
                </c:pt>
                <c:pt idx="63550">
                  <c:v>70635</c:v>
                </c:pt>
                <c:pt idx="63551">
                  <c:v>33418</c:v>
                </c:pt>
                <c:pt idx="63552">
                  <c:v>26587</c:v>
                </c:pt>
                <c:pt idx="63553">
                  <c:v>117769</c:v>
                </c:pt>
                <c:pt idx="63554">
                  <c:v>50322</c:v>
                </c:pt>
                <c:pt idx="63555">
                  <c:v>41562</c:v>
                </c:pt>
                <c:pt idx="63556">
                  <c:v>26395</c:v>
                </c:pt>
                <c:pt idx="63557">
                  <c:v>28720</c:v>
                </c:pt>
                <c:pt idx="63558">
                  <c:v>49991</c:v>
                </c:pt>
                <c:pt idx="63559">
                  <c:v>63528</c:v>
                </c:pt>
                <c:pt idx="63560">
                  <c:v>51614</c:v>
                </c:pt>
                <c:pt idx="63561">
                  <c:v>136360</c:v>
                </c:pt>
                <c:pt idx="63562">
                  <c:v>40615</c:v>
                </c:pt>
                <c:pt idx="63563">
                  <c:v>48848</c:v>
                </c:pt>
                <c:pt idx="63564">
                  <c:v>40215</c:v>
                </c:pt>
                <c:pt idx="63565">
                  <c:v>27684</c:v>
                </c:pt>
                <c:pt idx="63566">
                  <c:v>49831</c:v>
                </c:pt>
                <c:pt idx="63567">
                  <c:v>34795</c:v>
                </c:pt>
                <c:pt idx="63568">
                  <c:v>31802</c:v>
                </c:pt>
                <c:pt idx="63569">
                  <c:v>38951</c:v>
                </c:pt>
                <c:pt idx="63570">
                  <c:v>36295</c:v>
                </c:pt>
                <c:pt idx="63571">
                  <c:v>24322</c:v>
                </c:pt>
                <c:pt idx="63572">
                  <c:v>38299</c:v>
                </c:pt>
                <c:pt idx="63573">
                  <c:v>36998</c:v>
                </c:pt>
                <c:pt idx="63574">
                  <c:v>22345</c:v>
                </c:pt>
                <c:pt idx="63575">
                  <c:v>42589</c:v>
                </c:pt>
                <c:pt idx="63576">
                  <c:v>96655</c:v>
                </c:pt>
                <c:pt idx="63577">
                  <c:v>132787</c:v>
                </c:pt>
                <c:pt idx="63578">
                  <c:v>249973</c:v>
                </c:pt>
                <c:pt idx="63579">
                  <c:v>135768</c:v>
                </c:pt>
                <c:pt idx="63580">
                  <c:v>48428</c:v>
                </c:pt>
                <c:pt idx="63581">
                  <c:v>25982</c:v>
                </c:pt>
                <c:pt idx="63582">
                  <c:v>33307</c:v>
                </c:pt>
                <c:pt idx="63583">
                  <c:v>48554</c:v>
                </c:pt>
                <c:pt idx="63584">
                  <c:v>41979</c:v>
                </c:pt>
                <c:pt idx="63585">
                  <c:v>53852</c:v>
                </c:pt>
                <c:pt idx="63586">
                  <c:v>41058</c:v>
                </c:pt>
                <c:pt idx="63587">
                  <c:v>98348</c:v>
                </c:pt>
                <c:pt idx="63588">
                  <c:v>28950</c:v>
                </c:pt>
                <c:pt idx="63589">
                  <c:v>35943</c:v>
                </c:pt>
                <c:pt idx="63590">
                  <c:v>34120</c:v>
                </c:pt>
                <c:pt idx="63591">
                  <c:v>23144</c:v>
                </c:pt>
                <c:pt idx="63592">
                  <c:v>25439</c:v>
                </c:pt>
                <c:pt idx="63593">
                  <c:v>157386</c:v>
                </c:pt>
                <c:pt idx="63594">
                  <c:v>20847</c:v>
                </c:pt>
                <c:pt idx="63595">
                  <c:v>40984</c:v>
                </c:pt>
                <c:pt idx="63596">
                  <c:v>42952</c:v>
                </c:pt>
                <c:pt idx="63597">
                  <c:v>30304</c:v>
                </c:pt>
                <c:pt idx="63598">
                  <c:v>44695</c:v>
                </c:pt>
                <c:pt idx="63599">
                  <c:v>111815</c:v>
                </c:pt>
                <c:pt idx="63600">
                  <c:v>94494</c:v>
                </c:pt>
                <c:pt idx="63601">
                  <c:v>48468</c:v>
                </c:pt>
                <c:pt idx="63602">
                  <c:v>157505</c:v>
                </c:pt>
                <c:pt idx="63603">
                  <c:v>47452</c:v>
                </c:pt>
                <c:pt idx="63604">
                  <c:v>36203</c:v>
                </c:pt>
                <c:pt idx="63605">
                  <c:v>74654</c:v>
                </c:pt>
                <c:pt idx="63606">
                  <c:v>36383</c:v>
                </c:pt>
                <c:pt idx="63607">
                  <c:v>25431</c:v>
                </c:pt>
                <c:pt idx="63608">
                  <c:v>47980</c:v>
                </c:pt>
                <c:pt idx="63609">
                  <c:v>29659</c:v>
                </c:pt>
                <c:pt idx="63610">
                  <c:v>36016</c:v>
                </c:pt>
                <c:pt idx="63611">
                  <c:v>24570</c:v>
                </c:pt>
                <c:pt idx="63612">
                  <c:v>43520</c:v>
                </c:pt>
                <c:pt idx="63613">
                  <c:v>28817</c:v>
                </c:pt>
                <c:pt idx="63614">
                  <c:v>38514</c:v>
                </c:pt>
                <c:pt idx="63615">
                  <c:v>85254</c:v>
                </c:pt>
                <c:pt idx="63616">
                  <c:v>35679</c:v>
                </c:pt>
                <c:pt idx="63617">
                  <c:v>26081</c:v>
                </c:pt>
                <c:pt idx="63618">
                  <c:v>62797</c:v>
                </c:pt>
                <c:pt idx="63619">
                  <c:v>51192</c:v>
                </c:pt>
                <c:pt idx="63620">
                  <c:v>60726</c:v>
                </c:pt>
                <c:pt idx="63621">
                  <c:v>32331</c:v>
                </c:pt>
                <c:pt idx="63622">
                  <c:v>22368</c:v>
                </c:pt>
                <c:pt idx="63623">
                  <c:v>44356</c:v>
                </c:pt>
                <c:pt idx="63624">
                  <c:v>56561</c:v>
                </c:pt>
                <c:pt idx="63625">
                  <c:v>42316</c:v>
                </c:pt>
                <c:pt idx="63626">
                  <c:v>26343</c:v>
                </c:pt>
                <c:pt idx="63627">
                  <c:v>182017</c:v>
                </c:pt>
                <c:pt idx="63628">
                  <c:v>75166</c:v>
                </c:pt>
                <c:pt idx="63629">
                  <c:v>44116</c:v>
                </c:pt>
                <c:pt idx="63630">
                  <c:v>37201</c:v>
                </c:pt>
                <c:pt idx="63631">
                  <c:v>43849</c:v>
                </c:pt>
                <c:pt idx="63632">
                  <c:v>122997</c:v>
                </c:pt>
                <c:pt idx="63633">
                  <c:v>30746</c:v>
                </c:pt>
                <c:pt idx="63634">
                  <c:v>34046</c:v>
                </c:pt>
                <c:pt idx="63635">
                  <c:v>48773</c:v>
                </c:pt>
                <c:pt idx="63636">
                  <c:v>33897</c:v>
                </c:pt>
                <c:pt idx="63637">
                  <c:v>36178</c:v>
                </c:pt>
                <c:pt idx="63638">
                  <c:v>32797</c:v>
                </c:pt>
                <c:pt idx="63639">
                  <c:v>29501</c:v>
                </c:pt>
                <c:pt idx="63640">
                  <c:v>38003</c:v>
                </c:pt>
                <c:pt idx="63641">
                  <c:v>24154</c:v>
                </c:pt>
                <c:pt idx="63642">
                  <c:v>60745</c:v>
                </c:pt>
                <c:pt idx="63643">
                  <c:v>81848</c:v>
                </c:pt>
                <c:pt idx="63644">
                  <c:v>93926</c:v>
                </c:pt>
                <c:pt idx="63645">
                  <c:v>34573</c:v>
                </c:pt>
                <c:pt idx="63646">
                  <c:v>116039</c:v>
                </c:pt>
                <c:pt idx="63647">
                  <c:v>55455</c:v>
                </c:pt>
                <c:pt idx="63648">
                  <c:v>39606</c:v>
                </c:pt>
                <c:pt idx="63649">
                  <c:v>52728</c:v>
                </c:pt>
                <c:pt idx="63650">
                  <c:v>38529</c:v>
                </c:pt>
                <c:pt idx="63651">
                  <c:v>119601</c:v>
                </c:pt>
                <c:pt idx="63652">
                  <c:v>124025</c:v>
                </c:pt>
                <c:pt idx="63653">
                  <c:v>21665</c:v>
                </c:pt>
                <c:pt idx="63654">
                  <c:v>23240</c:v>
                </c:pt>
                <c:pt idx="63655">
                  <c:v>38358</c:v>
                </c:pt>
                <c:pt idx="63656">
                  <c:v>174011</c:v>
                </c:pt>
                <c:pt idx="63657">
                  <c:v>19494</c:v>
                </c:pt>
                <c:pt idx="63658">
                  <c:v>23586</c:v>
                </c:pt>
                <c:pt idx="63659">
                  <c:v>126093</c:v>
                </c:pt>
                <c:pt idx="63660">
                  <c:v>62013</c:v>
                </c:pt>
                <c:pt idx="63661">
                  <c:v>40641</c:v>
                </c:pt>
                <c:pt idx="63662">
                  <c:v>31158</c:v>
                </c:pt>
                <c:pt idx="63663">
                  <c:v>23890</c:v>
                </c:pt>
                <c:pt idx="63664">
                  <c:v>43826</c:v>
                </c:pt>
                <c:pt idx="63665">
                  <c:v>24976</c:v>
                </c:pt>
                <c:pt idx="63666">
                  <c:v>43062</c:v>
                </c:pt>
                <c:pt idx="63667">
                  <c:v>25651</c:v>
                </c:pt>
                <c:pt idx="63668">
                  <c:v>52246</c:v>
                </c:pt>
                <c:pt idx="63669">
                  <c:v>34111</c:v>
                </c:pt>
                <c:pt idx="63670">
                  <c:v>72384</c:v>
                </c:pt>
                <c:pt idx="63671">
                  <c:v>38646</c:v>
                </c:pt>
                <c:pt idx="63672">
                  <c:v>54542</c:v>
                </c:pt>
                <c:pt idx="63673">
                  <c:v>56940</c:v>
                </c:pt>
                <c:pt idx="63674">
                  <c:v>35478</c:v>
                </c:pt>
                <c:pt idx="63675">
                  <c:v>29678</c:v>
                </c:pt>
                <c:pt idx="63676">
                  <c:v>23712</c:v>
                </c:pt>
                <c:pt idx="63677">
                  <c:v>113308</c:v>
                </c:pt>
                <c:pt idx="63678">
                  <c:v>24276</c:v>
                </c:pt>
                <c:pt idx="63679">
                  <c:v>128280</c:v>
                </c:pt>
                <c:pt idx="63680">
                  <c:v>35649</c:v>
                </c:pt>
                <c:pt idx="63681">
                  <c:v>99101</c:v>
                </c:pt>
                <c:pt idx="63682">
                  <c:v>62781</c:v>
                </c:pt>
                <c:pt idx="63683">
                  <c:v>24673</c:v>
                </c:pt>
                <c:pt idx="63684">
                  <c:v>163959</c:v>
                </c:pt>
                <c:pt idx="63685">
                  <c:v>49149</c:v>
                </c:pt>
                <c:pt idx="63686">
                  <c:v>24256</c:v>
                </c:pt>
                <c:pt idx="63687">
                  <c:v>157297</c:v>
                </c:pt>
                <c:pt idx="63688">
                  <c:v>222789</c:v>
                </c:pt>
                <c:pt idx="63689">
                  <c:v>28791</c:v>
                </c:pt>
                <c:pt idx="63690">
                  <c:v>176993</c:v>
                </c:pt>
                <c:pt idx="63691">
                  <c:v>61235</c:v>
                </c:pt>
                <c:pt idx="63692">
                  <c:v>24422</c:v>
                </c:pt>
                <c:pt idx="63693">
                  <c:v>45901</c:v>
                </c:pt>
                <c:pt idx="63694">
                  <c:v>201601</c:v>
                </c:pt>
                <c:pt idx="63695">
                  <c:v>141681</c:v>
                </c:pt>
                <c:pt idx="63696">
                  <c:v>37597</c:v>
                </c:pt>
                <c:pt idx="63697">
                  <c:v>56196</c:v>
                </c:pt>
                <c:pt idx="63698">
                  <c:v>94059</c:v>
                </c:pt>
                <c:pt idx="63699">
                  <c:v>69875</c:v>
                </c:pt>
                <c:pt idx="63700">
                  <c:v>44171</c:v>
                </c:pt>
                <c:pt idx="63701">
                  <c:v>21261</c:v>
                </c:pt>
                <c:pt idx="63702">
                  <c:v>21268</c:v>
                </c:pt>
                <c:pt idx="63703">
                  <c:v>43434</c:v>
                </c:pt>
                <c:pt idx="63704">
                  <c:v>54016</c:v>
                </c:pt>
                <c:pt idx="63705">
                  <c:v>34495</c:v>
                </c:pt>
                <c:pt idx="63706">
                  <c:v>24058</c:v>
                </c:pt>
                <c:pt idx="63707">
                  <c:v>127279</c:v>
                </c:pt>
                <c:pt idx="63708">
                  <c:v>60127</c:v>
                </c:pt>
                <c:pt idx="63709">
                  <c:v>35663</c:v>
                </c:pt>
                <c:pt idx="63710">
                  <c:v>224838</c:v>
                </c:pt>
                <c:pt idx="63711">
                  <c:v>64981</c:v>
                </c:pt>
                <c:pt idx="63712">
                  <c:v>26202</c:v>
                </c:pt>
                <c:pt idx="63713">
                  <c:v>42395</c:v>
                </c:pt>
                <c:pt idx="63714">
                  <c:v>120449</c:v>
                </c:pt>
                <c:pt idx="63715">
                  <c:v>23565</c:v>
                </c:pt>
                <c:pt idx="63716">
                  <c:v>43000</c:v>
                </c:pt>
                <c:pt idx="63717">
                  <c:v>73012</c:v>
                </c:pt>
                <c:pt idx="63718">
                  <c:v>30862</c:v>
                </c:pt>
                <c:pt idx="63719">
                  <c:v>26344</c:v>
                </c:pt>
                <c:pt idx="63720">
                  <c:v>26854</c:v>
                </c:pt>
                <c:pt idx="63721">
                  <c:v>32793</c:v>
                </c:pt>
                <c:pt idx="63722">
                  <c:v>88401</c:v>
                </c:pt>
                <c:pt idx="63723">
                  <c:v>36554</c:v>
                </c:pt>
                <c:pt idx="63724">
                  <c:v>67192</c:v>
                </c:pt>
                <c:pt idx="63725">
                  <c:v>29065</c:v>
                </c:pt>
                <c:pt idx="63726">
                  <c:v>32033</c:v>
                </c:pt>
                <c:pt idx="63727">
                  <c:v>22952</c:v>
                </c:pt>
                <c:pt idx="63728">
                  <c:v>34439</c:v>
                </c:pt>
                <c:pt idx="63729">
                  <c:v>54414</c:v>
                </c:pt>
                <c:pt idx="63730">
                  <c:v>77499</c:v>
                </c:pt>
                <c:pt idx="63731">
                  <c:v>35378</c:v>
                </c:pt>
                <c:pt idx="63732">
                  <c:v>48169</c:v>
                </c:pt>
                <c:pt idx="63733">
                  <c:v>36558</c:v>
                </c:pt>
                <c:pt idx="63734">
                  <c:v>31245</c:v>
                </c:pt>
                <c:pt idx="63735">
                  <c:v>81312</c:v>
                </c:pt>
                <c:pt idx="63736">
                  <c:v>29210</c:v>
                </c:pt>
                <c:pt idx="63737">
                  <c:v>97590</c:v>
                </c:pt>
                <c:pt idx="63738">
                  <c:v>23081</c:v>
                </c:pt>
                <c:pt idx="63739">
                  <c:v>194839</c:v>
                </c:pt>
                <c:pt idx="63740">
                  <c:v>89883</c:v>
                </c:pt>
                <c:pt idx="63741">
                  <c:v>152159</c:v>
                </c:pt>
                <c:pt idx="63742">
                  <c:v>44312</c:v>
                </c:pt>
                <c:pt idx="63743">
                  <c:v>46002</c:v>
                </c:pt>
                <c:pt idx="63744">
                  <c:v>23812</c:v>
                </c:pt>
                <c:pt idx="63745">
                  <c:v>64873</c:v>
                </c:pt>
                <c:pt idx="63746">
                  <c:v>38084</c:v>
                </c:pt>
                <c:pt idx="63747">
                  <c:v>34250</c:v>
                </c:pt>
                <c:pt idx="63748">
                  <c:v>69178</c:v>
                </c:pt>
                <c:pt idx="63749">
                  <c:v>28866</c:v>
                </c:pt>
                <c:pt idx="63750">
                  <c:v>57484</c:v>
                </c:pt>
                <c:pt idx="63751">
                  <c:v>32729</c:v>
                </c:pt>
                <c:pt idx="63752">
                  <c:v>149033</c:v>
                </c:pt>
                <c:pt idx="63753">
                  <c:v>36855</c:v>
                </c:pt>
                <c:pt idx="63754">
                  <c:v>49650</c:v>
                </c:pt>
                <c:pt idx="63755">
                  <c:v>22725</c:v>
                </c:pt>
                <c:pt idx="63756">
                  <c:v>50024</c:v>
                </c:pt>
                <c:pt idx="63757">
                  <c:v>41851</c:v>
                </c:pt>
                <c:pt idx="63758">
                  <c:v>63474</c:v>
                </c:pt>
                <c:pt idx="63759">
                  <c:v>26954</c:v>
                </c:pt>
                <c:pt idx="63760">
                  <c:v>41011</c:v>
                </c:pt>
                <c:pt idx="63761">
                  <c:v>133436</c:v>
                </c:pt>
                <c:pt idx="63762">
                  <c:v>39139</c:v>
                </c:pt>
                <c:pt idx="63763">
                  <c:v>42790</c:v>
                </c:pt>
                <c:pt idx="63764">
                  <c:v>21492</c:v>
                </c:pt>
                <c:pt idx="63765">
                  <c:v>52625</c:v>
                </c:pt>
                <c:pt idx="63766">
                  <c:v>28939</c:v>
                </c:pt>
                <c:pt idx="63767">
                  <c:v>42017</c:v>
                </c:pt>
                <c:pt idx="63768">
                  <c:v>49399</c:v>
                </c:pt>
                <c:pt idx="63769">
                  <c:v>299716</c:v>
                </c:pt>
                <c:pt idx="63770">
                  <c:v>69128</c:v>
                </c:pt>
                <c:pt idx="63771">
                  <c:v>62873</c:v>
                </c:pt>
                <c:pt idx="63772">
                  <c:v>61485</c:v>
                </c:pt>
                <c:pt idx="63773">
                  <c:v>63873</c:v>
                </c:pt>
                <c:pt idx="63774">
                  <c:v>28469</c:v>
                </c:pt>
                <c:pt idx="63775">
                  <c:v>36158</c:v>
                </c:pt>
                <c:pt idx="63776">
                  <c:v>30626</c:v>
                </c:pt>
                <c:pt idx="63777">
                  <c:v>27876</c:v>
                </c:pt>
                <c:pt idx="63778">
                  <c:v>31822</c:v>
                </c:pt>
                <c:pt idx="63779">
                  <c:v>31873</c:v>
                </c:pt>
                <c:pt idx="63780">
                  <c:v>61399</c:v>
                </c:pt>
                <c:pt idx="63781">
                  <c:v>21370</c:v>
                </c:pt>
                <c:pt idx="63782">
                  <c:v>32052</c:v>
                </c:pt>
                <c:pt idx="63783">
                  <c:v>48847</c:v>
                </c:pt>
                <c:pt idx="63784">
                  <c:v>58551</c:v>
                </c:pt>
                <c:pt idx="63785">
                  <c:v>125604</c:v>
                </c:pt>
                <c:pt idx="63786">
                  <c:v>44558</c:v>
                </c:pt>
                <c:pt idx="63787">
                  <c:v>32142</c:v>
                </c:pt>
                <c:pt idx="63788">
                  <c:v>69335</c:v>
                </c:pt>
                <c:pt idx="63789">
                  <c:v>28482</c:v>
                </c:pt>
                <c:pt idx="63790">
                  <c:v>40784</c:v>
                </c:pt>
                <c:pt idx="63791">
                  <c:v>39240</c:v>
                </c:pt>
                <c:pt idx="63792">
                  <c:v>44614</c:v>
                </c:pt>
                <c:pt idx="63793">
                  <c:v>45595</c:v>
                </c:pt>
                <c:pt idx="63794">
                  <c:v>45644</c:v>
                </c:pt>
                <c:pt idx="63795">
                  <c:v>184264</c:v>
                </c:pt>
                <c:pt idx="63796">
                  <c:v>37198</c:v>
                </c:pt>
                <c:pt idx="63797">
                  <c:v>44959</c:v>
                </c:pt>
                <c:pt idx="63798">
                  <c:v>90001</c:v>
                </c:pt>
                <c:pt idx="63799">
                  <c:v>57580</c:v>
                </c:pt>
                <c:pt idx="63800">
                  <c:v>44650</c:v>
                </c:pt>
                <c:pt idx="63801">
                  <c:v>125861</c:v>
                </c:pt>
                <c:pt idx="63802">
                  <c:v>43914</c:v>
                </c:pt>
                <c:pt idx="63803">
                  <c:v>60849</c:v>
                </c:pt>
                <c:pt idx="63804">
                  <c:v>24353</c:v>
                </c:pt>
                <c:pt idx="63805">
                  <c:v>34453</c:v>
                </c:pt>
                <c:pt idx="63806">
                  <c:v>42643</c:v>
                </c:pt>
                <c:pt idx="63807">
                  <c:v>90752</c:v>
                </c:pt>
                <c:pt idx="63808">
                  <c:v>45833</c:v>
                </c:pt>
                <c:pt idx="63809">
                  <c:v>36043</c:v>
                </c:pt>
                <c:pt idx="63810">
                  <c:v>26500</c:v>
                </c:pt>
                <c:pt idx="63811">
                  <c:v>376413</c:v>
                </c:pt>
                <c:pt idx="63812">
                  <c:v>30007</c:v>
                </c:pt>
                <c:pt idx="63813">
                  <c:v>30039</c:v>
                </c:pt>
                <c:pt idx="63814">
                  <c:v>220063</c:v>
                </c:pt>
                <c:pt idx="63815">
                  <c:v>32628</c:v>
                </c:pt>
                <c:pt idx="63816">
                  <c:v>49035</c:v>
                </c:pt>
                <c:pt idx="63817">
                  <c:v>63884</c:v>
                </c:pt>
                <c:pt idx="63818">
                  <c:v>25071</c:v>
                </c:pt>
                <c:pt idx="63819">
                  <c:v>21201</c:v>
                </c:pt>
                <c:pt idx="63820">
                  <c:v>60628</c:v>
                </c:pt>
                <c:pt idx="63821">
                  <c:v>43198</c:v>
                </c:pt>
                <c:pt idx="63822">
                  <c:v>79333</c:v>
                </c:pt>
                <c:pt idx="63823">
                  <c:v>32259</c:v>
                </c:pt>
                <c:pt idx="63824">
                  <c:v>34881</c:v>
                </c:pt>
                <c:pt idx="63825">
                  <c:v>29554</c:v>
                </c:pt>
                <c:pt idx="63826">
                  <c:v>75382</c:v>
                </c:pt>
                <c:pt idx="63827">
                  <c:v>269943</c:v>
                </c:pt>
                <c:pt idx="63828">
                  <c:v>53612</c:v>
                </c:pt>
                <c:pt idx="63829">
                  <c:v>29163</c:v>
                </c:pt>
                <c:pt idx="63830">
                  <c:v>40127</c:v>
                </c:pt>
                <c:pt idx="63831">
                  <c:v>30472</c:v>
                </c:pt>
                <c:pt idx="63832">
                  <c:v>82070</c:v>
                </c:pt>
                <c:pt idx="63833">
                  <c:v>33626</c:v>
                </c:pt>
                <c:pt idx="63834">
                  <c:v>35406</c:v>
                </c:pt>
                <c:pt idx="63835">
                  <c:v>20866</c:v>
                </c:pt>
                <c:pt idx="63836">
                  <c:v>25088</c:v>
                </c:pt>
                <c:pt idx="63837">
                  <c:v>29453</c:v>
                </c:pt>
                <c:pt idx="63838">
                  <c:v>30289</c:v>
                </c:pt>
                <c:pt idx="63839">
                  <c:v>153479</c:v>
                </c:pt>
                <c:pt idx="63840">
                  <c:v>67375</c:v>
                </c:pt>
                <c:pt idx="63841">
                  <c:v>32339</c:v>
                </c:pt>
                <c:pt idx="63842">
                  <c:v>23460</c:v>
                </c:pt>
                <c:pt idx="63843">
                  <c:v>57584</c:v>
                </c:pt>
                <c:pt idx="63844">
                  <c:v>96286</c:v>
                </c:pt>
                <c:pt idx="63845">
                  <c:v>41314</c:v>
                </c:pt>
                <c:pt idx="63846">
                  <c:v>44273</c:v>
                </c:pt>
                <c:pt idx="63847">
                  <c:v>116679</c:v>
                </c:pt>
                <c:pt idx="63848">
                  <c:v>42669</c:v>
                </c:pt>
                <c:pt idx="63849">
                  <c:v>120830</c:v>
                </c:pt>
                <c:pt idx="63850">
                  <c:v>24376</c:v>
                </c:pt>
                <c:pt idx="63851">
                  <c:v>31744</c:v>
                </c:pt>
                <c:pt idx="63852">
                  <c:v>46330</c:v>
                </c:pt>
                <c:pt idx="63853">
                  <c:v>53515</c:v>
                </c:pt>
                <c:pt idx="63854">
                  <c:v>27959</c:v>
                </c:pt>
                <c:pt idx="63855">
                  <c:v>52532</c:v>
                </c:pt>
                <c:pt idx="63856">
                  <c:v>29281</c:v>
                </c:pt>
                <c:pt idx="63857">
                  <c:v>189858</c:v>
                </c:pt>
                <c:pt idx="63858">
                  <c:v>97332</c:v>
                </c:pt>
                <c:pt idx="63859">
                  <c:v>32718</c:v>
                </c:pt>
                <c:pt idx="63860">
                  <c:v>119612</c:v>
                </c:pt>
                <c:pt idx="63861">
                  <c:v>146364</c:v>
                </c:pt>
                <c:pt idx="63862">
                  <c:v>25918</c:v>
                </c:pt>
                <c:pt idx="63863">
                  <c:v>36908</c:v>
                </c:pt>
                <c:pt idx="63864">
                  <c:v>67761</c:v>
                </c:pt>
                <c:pt idx="63865">
                  <c:v>33543</c:v>
                </c:pt>
                <c:pt idx="63866">
                  <c:v>38493</c:v>
                </c:pt>
                <c:pt idx="63867">
                  <c:v>43618</c:v>
                </c:pt>
                <c:pt idx="63868">
                  <c:v>23749</c:v>
                </c:pt>
                <c:pt idx="63869">
                  <c:v>48674</c:v>
                </c:pt>
                <c:pt idx="63870">
                  <c:v>33254</c:v>
                </c:pt>
                <c:pt idx="63871">
                  <c:v>57812</c:v>
                </c:pt>
                <c:pt idx="63872">
                  <c:v>25972</c:v>
                </c:pt>
                <c:pt idx="63873">
                  <c:v>69657</c:v>
                </c:pt>
                <c:pt idx="63874">
                  <c:v>36701</c:v>
                </c:pt>
                <c:pt idx="63875">
                  <c:v>103688</c:v>
                </c:pt>
                <c:pt idx="63876">
                  <c:v>30826</c:v>
                </c:pt>
                <c:pt idx="63877">
                  <c:v>36244</c:v>
                </c:pt>
                <c:pt idx="63878">
                  <c:v>160880</c:v>
                </c:pt>
                <c:pt idx="63879">
                  <c:v>83694</c:v>
                </c:pt>
                <c:pt idx="63880">
                  <c:v>75540</c:v>
                </c:pt>
                <c:pt idx="63881">
                  <c:v>48631</c:v>
                </c:pt>
                <c:pt idx="63882">
                  <c:v>246234</c:v>
                </c:pt>
                <c:pt idx="63883">
                  <c:v>51783</c:v>
                </c:pt>
                <c:pt idx="63884">
                  <c:v>32200</c:v>
                </c:pt>
                <c:pt idx="63885">
                  <c:v>38500</c:v>
                </c:pt>
                <c:pt idx="63886">
                  <c:v>35438</c:v>
                </c:pt>
                <c:pt idx="63887">
                  <c:v>177548</c:v>
                </c:pt>
                <c:pt idx="63888">
                  <c:v>145290</c:v>
                </c:pt>
                <c:pt idx="63889">
                  <c:v>23207</c:v>
                </c:pt>
                <c:pt idx="63890">
                  <c:v>64358</c:v>
                </c:pt>
                <c:pt idx="63891">
                  <c:v>28871</c:v>
                </c:pt>
                <c:pt idx="63892">
                  <c:v>41983</c:v>
                </c:pt>
                <c:pt idx="63893">
                  <c:v>26931</c:v>
                </c:pt>
                <c:pt idx="63894">
                  <c:v>54342</c:v>
                </c:pt>
                <c:pt idx="63895">
                  <c:v>28420</c:v>
                </c:pt>
                <c:pt idx="63896">
                  <c:v>31231</c:v>
                </c:pt>
                <c:pt idx="63897">
                  <c:v>41642</c:v>
                </c:pt>
                <c:pt idx="63898">
                  <c:v>59448</c:v>
                </c:pt>
                <c:pt idx="63899">
                  <c:v>46855</c:v>
                </c:pt>
                <c:pt idx="63900">
                  <c:v>40555</c:v>
                </c:pt>
                <c:pt idx="63901">
                  <c:v>46589</c:v>
                </c:pt>
                <c:pt idx="63902">
                  <c:v>171770</c:v>
                </c:pt>
                <c:pt idx="63903">
                  <c:v>35451</c:v>
                </c:pt>
                <c:pt idx="63904">
                  <c:v>32409</c:v>
                </c:pt>
                <c:pt idx="63905">
                  <c:v>98692</c:v>
                </c:pt>
                <c:pt idx="63906">
                  <c:v>214279</c:v>
                </c:pt>
                <c:pt idx="63907">
                  <c:v>33713</c:v>
                </c:pt>
                <c:pt idx="63908">
                  <c:v>66980</c:v>
                </c:pt>
                <c:pt idx="63909">
                  <c:v>24974</c:v>
                </c:pt>
                <c:pt idx="63910">
                  <c:v>100850</c:v>
                </c:pt>
                <c:pt idx="63911">
                  <c:v>185240</c:v>
                </c:pt>
                <c:pt idx="63912">
                  <c:v>108351</c:v>
                </c:pt>
                <c:pt idx="63913">
                  <c:v>134388</c:v>
                </c:pt>
                <c:pt idx="63914">
                  <c:v>29651</c:v>
                </c:pt>
                <c:pt idx="63915">
                  <c:v>61020</c:v>
                </c:pt>
                <c:pt idx="63916">
                  <c:v>78891</c:v>
                </c:pt>
                <c:pt idx="63917">
                  <c:v>21460</c:v>
                </c:pt>
                <c:pt idx="63918">
                  <c:v>29481</c:v>
                </c:pt>
                <c:pt idx="63919">
                  <c:v>44459</c:v>
                </c:pt>
                <c:pt idx="63920">
                  <c:v>103441</c:v>
                </c:pt>
                <c:pt idx="63921">
                  <c:v>94589</c:v>
                </c:pt>
                <c:pt idx="63922">
                  <c:v>32792</c:v>
                </c:pt>
                <c:pt idx="63923">
                  <c:v>25930</c:v>
                </c:pt>
                <c:pt idx="63924">
                  <c:v>32118</c:v>
                </c:pt>
                <c:pt idx="63925">
                  <c:v>130901</c:v>
                </c:pt>
                <c:pt idx="63926">
                  <c:v>31835</c:v>
                </c:pt>
                <c:pt idx="63927">
                  <c:v>30074</c:v>
                </c:pt>
                <c:pt idx="63928">
                  <c:v>20323</c:v>
                </c:pt>
                <c:pt idx="63929">
                  <c:v>97583</c:v>
                </c:pt>
                <c:pt idx="63930">
                  <c:v>24798</c:v>
                </c:pt>
                <c:pt idx="63931">
                  <c:v>33899</c:v>
                </c:pt>
                <c:pt idx="63932">
                  <c:v>149522</c:v>
                </c:pt>
                <c:pt idx="63933">
                  <c:v>41790</c:v>
                </c:pt>
                <c:pt idx="63934">
                  <c:v>44473</c:v>
                </c:pt>
                <c:pt idx="63935">
                  <c:v>42171</c:v>
                </c:pt>
                <c:pt idx="63936">
                  <c:v>58821</c:v>
                </c:pt>
                <c:pt idx="63937">
                  <c:v>59282</c:v>
                </c:pt>
                <c:pt idx="63938">
                  <c:v>22876</c:v>
                </c:pt>
                <c:pt idx="63939">
                  <c:v>37588</c:v>
                </c:pt>
                <c:pt idx="63940">
                  <c:v>36408</c:v>
                </c:pt>
                <c:pt idx="63941">
                  <c:v>44393</c:v>
                </c:pt>
                <c:pt idx="63942">
                  <c:v>42988</c:v>
                </c:pt>
                <c:pt idx="63943">
                  <c:v>30676</c:v>
                </c:pt>
                <c:pt idx="63944">
                  <c:v>64839</c:v>
                </c:pt>
                <c:pt idx="63945">
                  <c:v>25328</c:v>
                </c:pt>
                <c:pt idx="63946">
                  <c:v>31239</c:v>
                </c:pt>
                <c:pt idx="63947">
                  <c:v>37061</c:v>
                </c:pt>
                <c:pt idx="63948">
                  <c:v>29816</c:v>
                </c:pt>
                <c:pt idx="63949">
                  <c:v>70150</c:v>
                </c:pt>
                <c:pt idx="63950">
                  <c:v>60315</c:v>
                </c:pt>
                <c:pt idx="63951">
                  <c:v>27919</c:v>
                </c:pt>
                <c:pt idx="63952">
                  <c:v>39177</c:v>
                </c:pt>
                <c:pt idx="63953">
                  <c:v>43165</c:v>
                </c:pt>
                <c:pt idx="63954">
                  <c:v>33302</c:v>
                </c:pt>
                <c:pt idx="63955">
                  <c:v>30947</c:v>
                </c:pt>
                <c:pt idx="63956">
                  <c:v>33778</c:v>
                </c:pt>
                <c:pt idx="63957">
                  <c:v>155246</c:v>
                </c:pt>
                <c:pt idx="63958">
                  <c:v>38889</c:v>
                </c:pt>
                <c:pt idx="63959">
                  <c:v>33435</c:v>
                </c:pt>
                <c:pt idx="63960">
                  <c:v>29996</c:v>
                </c:pt>
                <c:pt idx="63961">
                  <c:v>22216</c:v>
                </c:pt>
                <c:pt idx="63962">
                  <c:v>36590</c:v>
                </c:pt>
                <c:pt idx="63963">
                  <c:v>101052</c:v>
                </c:pt>
                <c:pt idx="63964">
                  <c:v>39815</c:v>
                </c:pt>
                <c:pt idx="63965">
                  <c:v>36420</c:v>
                </c:pt>
                <c:pt idx="63966">
                  <c:v>38206</c:v>
                </c:pt>
                <c:pt idx="63967">
                  <c:v>116008</c:v>
                </c:pt>
                <c:pt idx="63968">
                  <c:v>29706</c:v>
                </c:pt>
                <c:pt idx="63969">
                  <c:v>49667</c:v>
                </c:pt>
                <c:pt idx="63970">
                  <c:v>38313</c:v>
                </c:pt>
                <c:pt idx="63971">
                  <c:v>27179</c:v>
                </c:pt>
                <c:pt idx="63972">
                  <c:v>78400</c:v>
                </c:pt>
                <c:pt idx="63973">
                  <c:v>67821</c:v>
                </c:pt>
                <c:pt idx="63974">
                  <c:v>55580</c:v>
                </c:pt>
                <c:pt idx="63975">
                  <c:v>34690</c:v>
                </c:pt>
                <c:pt idx="63976">
                  <c:v>185201</c:v>
                </c:pt>
                <c:pt idx="63977">
                  <c:v>112433</c:v>
                </c:pt>
                <c:pt idx="63978">
                  <c:v>26055</c:v>
                </c:pt>
                <c:pt idx="63979">
                  <c:v>23682</c:v>
                </c:pt>
                <c:pt idx="63980">
                  <c:v>27279</c:v>
                </c:pt>
                <c:pt idx="63981">
                  <c:v>35879</c:v>
                </c:pt>
                <c:pt idx="63982">
                  <c:v>23926</c:v>
                </c:pt>
                <c:pt idx="63983">
                  <c:v>50669</c:v>
                </c:pt>
                <c:pt idx="63984">
                  <c:v>39125</c:v>
                </c:pt>
                <c:pt idx="63985">
                  <c:v>86516</c:v>
                </c:pt>
                <c:pt idx="63986">
                  <c:v>35451</c:v>
                </c:pt>
                <c:pt idx="63987">
                  <c:v>59204</c:v>
                </c:pt>
                <c:pt idx="63988">
                  <c:v>132867</c:v>
                </c:pt>
                <c:pt idx="63989">
                  <c:v>47460</c:v>
                </c:pt>
                <c:pt idx="63990">
                  <c:v>40369</c:v>
                </c:pt>
                <c:pt idx="63991">
                  <c:v>84744</c:v>
                </c:pt>
                <c:pt idx="63992">
                  <c:v>146583</c:v>
                </c:pt>
                <c:pt idx="63993">
                  <c:v>38955</c:v>
                </c:pt>
                <c:pt idx="63994">
                  <c:v>25242</c:v>
                </c:pt>
                <c:pt idx="63995">
                  <c:v>32962</c:v>
                </c:pt>
                <c:pt idx="63996">
                  <c:v>40701</c:v>
                </c:pt>
                <c:pt idx="63997">
                  <c:v>21907</c:v>
                </c:pt>
                <c:pt idx="63998">
                  <c:v>22813</c:v>
                </c:pt>
                <c:pt idx="63999">
                  <c:v>36843</c:v>
                </c:pt>
                <c:pt idx="64000">
                  <c:v>34906</c:v>
                </c:pt>
                <c:pt idx="64001">
                  <c:v>46861</c:v>
                </c:pt>
                <c:pt idx="64002">
                  <c:v>25095</c:v>
                </c:pt>
                <c:pt idx="64003">
                  <c:v>27173</c:v>
                </c:pt>
                <c:pt idx="64004">
                  <c:v>40828</c:v>
                </c:pt>
                <c:pt idx="64005">
                  <c:v>44125</c:v>
                </c:pt>
                <c:pt idx="64006">
                  <c:v>55828</c:v>
                </c:pt>
                <c:pt idx="64007">
                  <c:v>42705</c:v>
                </c:pt>
                <c:pt idx="64008">
                  <c:v>34233</c:v>
                </c:pt>
                <c:pt idx="64009">
                  <c:v>44973</c:v>
                </c:pt>
                <c:pt idx="64010">
                  <c:v>47418</c:v>
                </c:pt>
                <c:pt idx="64011">
                  <c:v>51555</c:v>
                </c:pt>
                <c:pt idx="64012">
                  <c:v>33047</c:v>
                </c:pt>
                <c:pt idx="64013">
                  <c:v>70199</c:v>
                </c:pt>
                <c:pt idx="64014">
                  <c:v>122075</c:v>
                </c:pt>
                <c:pt idx="64015">
                  <c:v>49209</c:v>
                </c:pt>
                <c:pt idx="64016">
                  <c:v>37331</c:v>
                </c:pt>
                <c:pt idx="64017">
                  <c:v>29416</c:v>
                </c:pt>
                <c:pt idx="64018">
                  <c:v>73197</c:v>
                </c:pt>
                <c:pt idx="64019">
                  <c:v>34651</c:v>
                </c:pt>
                <c:pt idx="64020">
                  <c:v>38717</c:v>
                </c:pt>
                <c:pt idx="64021">
                  <c:v>55730</c:v>
                </c:pt>
                <c:pt idx="64022">
                  <c:v>51009</c:v>
                </c:pt>
                <c:pt idx="64023">
                  <c:v>20419</c:v>
                </c:pt>
                <c:pt idx="64024">
                  <c:v>24607</c:v>
                </c:pt>
                <c:pt idx="64025">
                  <c:v>27119</c:v>
                </c:pt>
                <c:pt idx="64026">
                  <c:v>36608</c:v>
                </c:pt>
                <c:pt idx="64027">
                  <c:v>33294</c:v>
                </c:pt>
                <c:pt idx="64028">
                  <c:v>24466</c:v>
                </c:pt>
                <c:pt idx="64029">
                  <c:v>98401</c:v>
                </c:pt>
                <c:pt idx="64030">
                  <c:v>113645</c:v>
                </c:pt>
                <c:pt idx="64031">
                  <c:v>41782</c:v>
                </c:pt>
                <c:pt idx="64032">
                  <c:v>35659</c:v>
                </c:pt>
                <c:pt idx="64033">
                  <c:v>29293</c:v>
                </c:pt>
                <c:pt idx="64034">
                  <c:v>29393</c:v>
                </c:pt>
                <c:pt idx="64035">
                  <c:v>47494</c:v>
                </c:pt>
                <c:pt idx="64036">
                  <c:v>65799</c:v>
                </c:pt>
                <c:pt idx="64037">
                  <c:v>281477</c:v>
                </c:pt>
                <c:pt idx="64038">
                  <c:v>79829</c:v>
                </c:pt>
                <c:pt idx="64039">
                  <c:v>145617</c:v>
                </c:pt>
                <c:pt idx="64040">
                  <c:v>53492</c:v>
                </c:pt>
                <c:pt idx="64041">
                  <c:v>88283</c:v>
                </c:pt>
                <c:pt idx="64042">
                  <c:v>68467</c:v>
                </c:pt>
                <c:pt idx="64043">
                  <c:v>39478</c:v>
                </c:pt>
                <c:pt idx="64044">
                  <c:v>22124</c:v>
                </c:pt>
                <c:pt idx="64045">
                  <c:v>37454</c:v>
                </c:pt>
                <c:pt idx="64046">
                  <c:v>37345</c:v>
                </c:pt>
                <c:pt idx="64047">
                  <c:v>191668</c:v>
                </c:pt>
                <c:pt idx="64048">
                  <c:v>42874</c:v>
                </c:pt>
                <c:pt idx="64049">
                  <c:v>79180</c:v>
                </c:pt>
                <c:pt idx="64050">
                  <c:v>25715</c:v>
                </c:pt>
                <c:pt idx="64051">
                  <c:v>38037</c:v>
                </c:pt>
                <c:pt idx="64052">
                  <c:v>43146</c:v>
                </c:pt>
                <c:pt idx="64053">
                  <c:v>43245</c:v>
                </c:pt>
                <c:pt idx="64054">
                  <c:v>39399</c:v>
                </c:pt>
                <c:pt idx="64055">
                  <c:v>65856</c:v>
                </c:pt>
                <c:pt idx="64056">
                  <c:v>62030</c:v>
                </c:pt>
                <c:pt idx="64057">
                  <c:v>76335</c:v>
                </c:pt>
                <c:pt idx="64058">
                  <c:v>39150</c:v>
                </c:pt>
                <c:pt idx="64059">
                  <c:v>53596</c:v>
                </c:pt>
                <c:pt idx="64060">
                  <c:v>25670</c:v>
                </c:pt>
                <c:pt idx="64061">
                  <c:v>174068</c:v>
                </c:pt>
                <c:pt idx="64062">
                  <c:v>274414</c:v>
                </c:pt>
                <c:pt idx="64063">
                  <c:v>35465</c:v>
                </c:pt>
                <c:pt idx="64064">
                  <c:v>26191</c:v>
                </c:pt>
                <c:pt idx="64065">
                  <c:v>30625</c:v>
                </c:pt>
                <c:pt idx="64066">
                  <c:v>35152</c:v>
                </c:pt>
                <c:pt idx="64067">
                  <c:v>92643</c:v>
                </c:pt>
                <c:pt idx="64068">
                  <c:v>52248</c:v>
                </c:pt>
                <c:pt idx="64069">
                  <c:v>52522</c:v>
                </c:pt>
                <c:pt idx="64070">
                  <c:v>35006</c:v>
                </c:pt>
                <c:pt idx="64071">
                  <c:v>47509</c:v>
                </c:pt>
                <c:pt idx="64072">
                  <c:v>145063</c:v>
                </c:pt>
                <c:pt idx="64073">
                  <c:v>38400</c:v>
                </c:pt>
                <c:pt idx="64074">
                  <c:v>32219</c:v>
                </c:pt>
                <c:pt idx="64075">
                  <c:v>34934</c:v>
                </c:pt>
                <c:pt idx="64076">
                  <c:v>197875</c:v>
                </c:pt>
                <c:pt idx="64077">
                  <c:v>45637</c:v>
                </c:pt>
                <c:pt idx="64078">
                  <c:v>35828</c:v>
                </c:pt>
                <c:pt idx="64079">
                  <c:v>95762</c:v>
                </c:pt>
                <c:pt idx="64080">
                  <c:v>156850</c:v>
                </c:pt>
                <c:pt idx="64081">
                  <c:v>38047</c:v>
                </c:pt>
                <c:pt idx="64082">
                  <c:v>38474</c:v>
                </c:pt>
                <c:pt idx="64083">
                  <c:v>86943</c:v>
                </c:pt>
                <c:pt idx="64084">
                  <c:v>36050</c:v>
                </c:pt>
                <c:pt idx="64085">
                  <c:v>89306</c:v>
                </c:pt>
                <c:pt idx="64086">
                  <c:v>56353</c:v>
                </c:pt>
                <c:pt idx="64087">
                  <c:v>40735</c:v>
                </c:pt>
                <c:pt idx="64088">
                  <c:v>44771</c:v>
                </c:pt>
                <c:pt idx="64089">
                  <c:v>51880</c:v>
                </c:pt>
                <c:pt idx="64090">
                  <c:v>24911</c:v>
                </c:pt>
                <c:pt idx="64091">
                  <c:v>27989</c:v>
                </c:pt>
                <c:pt idx="64092">
                  <c:v>38592</c:v>
                </c:pt>
                <c:pt idx="64093">
                  <c:v>23719</c:v>
                </c:pt>
                <c:pt idx="64094">
                  <c:v>37537</c:v>
                </c:pt>
                <c:pt idx="64095">
                  <c:v>35039</c:v>
                </c:pt>
                <c:pt idx="64096">
                  <c:v>60130</c:v>
                </c:pt>
                <c:pt idx="64097">
                  <c:v>102234</c:v>
                </c:pt>
                <c:pt idx="64098">
                  <c:v>63881</c:v>
                </c:pt>
                <c:pt idx="64099">
                  <c:v>25656</c:v>
                </c:pt>
                <c:pt idx="64100">
                  <c:v>43517</c:v>
                </c:pt>
                <c:pt idx="64101">
                  <c:v>52070</c:v>
                </c:pt>
                <c:pt idx="64102">
                  <c:v>50567</c:v>
                </c:pt>
                <c:pt idx="64103">
                  <c:v>24988</c:v>
                </c:pt>
                <c:pt idx="64104">
                  <c:v>70017</c:v>
                </c:pt>
                <c:pt idx="64105">
                  <c:v>98922</c:v>
                </c:pt>
                <c:pt idx="64106">
                  <c:v>54122</c:v>
                </c:pt>
                <c:pt idx="64107">
                  <c:v>23382</c:v>
                </c:pt>
                <c:pt idx="64108">
                  <c:v>47646</c:v>
                </c:pt>
                <c:pt idx="64109">
                  <c:v>24799</c:v>
                </c:pt>
                <c:pt idx="64110">
                  <c:v>62521</c:v>
                </c:pt>
                <c:pt idx="64111">
                  <c:v>211075</c:v>
                </c:pt>
                <c:pt idx="64112">
                  <c:v>49008</c:v>
                </c:pt>
                <c:pt idx="64113">
                  <c:v>30107</c:v>
                </c:pt>
                <c:pt idx="64114">
                  <c:v>39655</c:v>
                </c:pt>
                <c:pt idx="64115">
                  <c:v>121984</c:v>
                </c:pt>
                <c:pt idx="64116">
                  <c:v>42469</c:v>
                </c:pt>
                <c:pt idx="64117">
                  <c:v>115062</c:v>
                </c:pt>
                <c:pt idx="64118">
                  <c:v>23986</c:v>
                </c:pt>
                <c:pt idx="64119">
                  <c:v>55894</c:v>
                </c:pt>
                <c:pt idx="64120">
                  <c:v>27991</c:v>
                </c:pt>
                <c:pt idx="64121">
                  <c:v>44094</c:v>
                </c:pt>
                <c:pt idx="64122">
                  <c:v>22426</c:v>
                </c:pt>
                <c:pt idx="64123">
                  <c:v>54215</c:v>
                </c:pt>
                <c:pt idx="64124">
                  <c:v>37647</c:v>
                </c:pt>
                <c:pt idx="64125">
                  <c:v>106920</c:v>
                </c:pt>
                <c:pt idx="64126">
                  <c:v>55095</c:v>
                </c:pt>
                <c:pt idx="64127">
                  <c:v>25895</c:v>
                </c:pt>
                <c:pt idx="64128">
                  <c:v>38418</c:v>
                </c:pt>
                <c:pt idx="64129">
                  <c:v>40037</c:v>
                </c:pt>
                <c:pt idx="64130">
                  <c:v>134223</c:v>
                </c:pt>
                <c:pt idx="64131">
                  <c:v>50328</c:v>
                </c:pt>
                <c:pt idx="64132">
                  <c:v>107553</c:v>
                </c:pt>
                <c:pt idx="64133">
                  <c:v>79218</c:v>
                </c:pt>
                <c:pt idx="64134">
                  <c:v>209672</c:v>
                </c:pt>
                <c:pt idx="64135">
                  <c:v>78061</c:v>
                </c:pt>
                <c:pt idx="64136">
                  <c:v>212177</c:v>
                </c:pt>
                <c:pt idx="64137">
                  <c:v>45923</c:v>
                </c:pt>
                <c:pt idx="64138">
                  <c:v>25241</c:v>
                </c:pt>
                <c:pt idx="64139">
                  <c:v>38415</c:v>
                </c:pt>
                <c:pt idx="64140">
                  <c:v>35888</c:v>
                </c:pt>
                <c:pt idx="64141">
                  <c:v>84235</c:v>
                </c:pt>
                <c:pt idx="64142">
                  <c:v>37223</c:v>
                </c:pt>
                <c:pt idx="64143">
                  <c:v>166725</c:v>
                </c:pt>
                <c:pt idx="64144">
                  <c:v>70988</c:v>
                </c:pt>
                <c:pt idx="64145">
                  <c:v>86598</c:v>
                </c:pt>
                <c:pt idx="64146">
                  <c:v>42188</c:v>
                </c:pt>
                <c:pt idx="64147">
                  <c:v>166810</c:v>
                </c:pt>
                <c:pt idx="64148">
                  <c:v>30810</c:v>
                </c:pt>
                <c:pt idx="64149">
                  <c:v>31474</c:v>
                </c:pt>
                <c:pt idx="64150">
                  <c:v>25220</c:v>
                </c:pt>
                <c:pt idx="64151">
                  <c:v>60699</c:v>
                </c:pt>
                <c:pt idx="64152">
                  <c:v>48979</c:v>
                </c:pt>
                <c:pt idx="64153">
                  <c:v>36955</c:v>
                </c:pt>
                <c:pt idx="64154">
                  <c:v>31231</c:v>
                </c:pt>
                <c:pt idx="64155">
                  <c:v>30788</c:v>
                </c:pt>
                <c:pt idx="64156">
                  <c:v>135596</c:v>
                </c:pt>
                <c:pt idx="64157">
                  <c:v>106271</c:v>
                </c:pt>
                <c:pt idx="64158">
                  <c:v>45822</c:v>
                </c:pt>
                <c:pt idx="64159">
                  <c:v>52539</c:v>
                </c:pt>
                <c:pt idx="64160">
                  <c:v>103115</c:v>
                </c:pt>
                <c:pt idx="64161">
                  <c:v>85823</c:v>
                </c:pt>
                <c:pt idx="64162">
                  <c:v>39550</c:v>
                </c:pt>
                <c:pt idx="64163">
                  <c:v>106385</c:v>
                </c:pt>
                <c:pt idx="64164">
                  <c:v>33305</c:v>
                </c:pt>
                <c:pt idx="64165">
                  <c:v>30107</c:v>
                </c:pt>
                <c:pt idx="64166">
                  <c:v>61968</c:v>
                </c:pt>
                <c:pt idx="64167">
                  <c:v>104960</c:v>
                </c:pt>
                <c:pt idx="64168">
                  <c:v>46767</c:v>
                </c:pt>
                <c:pt idx="64169">
                  <c:v>49572</c:v>
                </c:pt>
                <c:pt idx="64170">
                  <c:v>24678</c:v>
                </c:pt>
                <c:pt idx="64171">
                  <c:v>98643</c:v>
                </c:pt>
                <c:pt idx="64172">
                  <c:v>82681</c:v>
                </c:pt>
                <c:pt idx="64173">
                  <c:v>34908</c:v>
                </c:pt>
                <c:pt idx="64174">
                  <c:v>85738</c:v>
                </c:pt>
                <c:pt idx="64175">
                  <c:v>65536</c:v>
                </c:pt>
                <c:pt idx="64176">
                  <c:v>67398</c:v>
                </c:pt>
                <c:pt idx="64177">
                  <c:v>36413</c:v>
                </c:pt>
                <c:pt idx="64178">
                  <c:v>151858</c:v>
                </c:pt>
                <c:pt idx="64179">
                  <c:v>21966</c:v>
                </c:pt>
                <c:pt idx="64180">
                  <c:v>28438</c:v>
                </c:pt>
                <c:pt idx="64181">
                  <c:v>43129</c:v>
                </c:pt>
                <c:pt idx="64182">
                  <c:v>55571</c:v>
                </c:pt>
                <c:pt idx="64183">
                  <c:v>28454</c:v>
                </c:pt>
                <c:pt idx="64184">
                  <c:v>35140</c:v>
                </c:pt>
                <c:pt idx="64185">
                  <c:v>35340</c:v>
                </c:pt>
                <c:pt idx="64186">
                  <c:v>41995</c:v>
                </c:pt>
                <c:pt idx="64187">
                  <c:v>21829</c:v>
                </c:pt>
                <c:pt idx="64188">
                  <c:v>216650</c:v>
                </c:pt>
                <c:pt idx="64189">
                  <c:v>26097</c:v>
                </c:pt>
                <c:pt idx="64190">
                  <c:v>24534</c:v>
                </c:pt>
                <c:pt idx="64191">
                  <c:v>178744</c:v>
                </c:pt>
                <c:pt idx="64192">
                  <c:v>50838</c:v>
                </c:pt>
                <c:pt idx="64193">
                  <c:v>151054</c:v>
                </c:pt>
                <c:pt idx="64194">
                  <c:v>120647</c:v>
                </c:pt>
                <c:pt idx="64195">
                  <c:v>47226</c:v>
                </c:pt>
                <c:pt idx="64196">
                  <c:v>56355</c:v>
                </c:pt>
                <c:pt idx="64197">
                  <c:v>221306</c:v>
                </c:pt>
                <c:pt idx="64198">
                  <c:v>45005</c:v>
                </c:pt>
                <c:pt idx="64199">
                  <c:v>25980</c:v>
                </c:pt>
                <c:pt idx="64200">
                  <c:v>54638</c:v>
                </c:pt>
                <c:pt idx="64201">
                  <c:v>19419</c:v>
                </c:pt>
                <c:pt idx="64202">
                  <c:v>125702</c:v>
                </c:pt>
                <c:pt idx="64203">
                  <c:v>40519</c:v>
                </c:pt>
                <c:pt idx="64204">
                  <c:v>54080</c:v>
                </c:pt>
                <c:pt idx="64205">
                  <c:v>40071</c:v>
                </c:pt>
                <c:pt idx="64206">
                  <c:v>47315</c:v>
                </c:pt>
                <c:pt idx="64207">
                  <c:v>44209</c:v>
                </c:pt>
                <c:pt idx="64208">
                  <c:v>33733</c:v>
                </c:pt>
                <c:pt idx="64209">
                  <c:v>73848</c:v>
                </c:pt>
                <c:pt idx="64210">
                  <c:v>81280</c:v>
                </c:pt>
                <c:pt idx="64211">
                  <c:v>73423</c:v>
                </c:pt>
                <c:pt idx="64212">
                  <c:v>126326</c:v>
                </c:pt>
                <c:pt idx="64213">
                  <c:v>71001</c:v>
                </c:pt>
                <c:pt idx="64214">
                  <c:v>35093</c:v>
                </c:pt>
                <c:pt idx="64215">
                  <c:v>22440</c:v>
                </c:pt>
                <c:pt idx="64216">
                  <c:v>31671</c:v>
                </c:pt>
                <c:pt idx="64217">
                  <c:v>30745</c:v>
                </c:pt>
                <c:pt idx="64218">
                  <c:v>38279</c:v>
                </c:pt>
                <c:pt idx="64219">
                  <c:v>47663</c:v>
                </c:pt>
                <c:pt idx="64220">
                  <c:v>37528</c:v>
                </c:pt>
                <c:pt idx="64221">
                  <c:v>42052</c:v>
                </c:pt>
                <c:pt idx="64222">
                  <c:v>23679</c:v>
                </c:pt>
                <c:pt idx="64223">
                  <c:v>134142</c:v>
                </c:pt>
                <c:pt idx="64224">
                  <c:v>45706</c:v>
                </c:pt>
                <c:pt idx="64225">
                  <c:v>111822</c:v>
                </c:pt>
                <c:pt idx="64226">
                  <c:v>64457</c:v>
                </c:pt>
                <c:pt idx="64227">
                  <c:v>28545</c:v>
                </c:pt>
                <c:pt idx="64228">
                  <c:v>35415</c:v>
                </c:pt>
                <c:pt idx="64229">
                  <c:v>30951</c:v>
                </c:pt>
                <c:pt idx="64230">
                  <c:v>61740</c:v>
                </c:pt>
                <c:pt idx="64231">
                  <c:v>34807</c:v>
                </c:pt>
                <c:pt idx="64232">
                  <c:v>44179</c:v>
                </c:pt>
                <c:pt idx="64233">
                  <c:v>22134</c:v>
                </c:pt>
                <c:pt idx="64234">
                  <c:v>47411</c:v>
                </c:pt>
                <c:pt idx="64235">
                  <c:v>81413</c:v>
                </c:pt>
                <c:pt idx="64236">
                  <c:v>31518</c:v>
                </c:pt>
                <c:pt idx="64237">
                  <c:v>150597</c:v>
                </c:pt>
                <c:pt idx="64238">
                  <c:v>31014</c:v>
                </c:pt>
                <c:pt idx="64239">
                  <c:v>22461</c:v>
                </c:pt>
                <c:pt idx="64240">
                  <c:v>26481</c:v>
                </c:pt>
                <c:pt idx="64241">
                  <c:v>22637</c:v>
                </c:pt>
                <c:pt idx="64242">
                  <c:v>25444</c:v>
                </c:pt>
                <c:pt idx="64243">
                  <c:v>20377</c:v>
                </c:pt>
                <c:pt idx="64244">
                  <c:v>21979</c:v>
                </c:pt>
                <c:pt idx="64245">
                  <c:v>26082</c:v>
                </c:pt>
                <c:pt idx="64246">
                  <c:v>74284</c:v>
                </c:pt>
                <c:pt idx="64247">
                  <c:v>45013</c:v>
                </c:pt>
                <c:pt idx="64248">
                  <c:v>74216</c:v>
                </c:pt>
                <c:pt idx="64249">
                  <c:v>34244</c:v>
                </c:pt>
                <c:pt idx="64250">
                  <c:v>61115</c:v>
                </c:pt>
                <c:pt idx="64251">
                  <c:v>105396</c:v>
                </c:pt>
                <c:pt idx="64252">
                  <c:v>207333</c:v>
                </c:pt>
                <c:pt idx="64253">
                  <c:v>27980</c:v>
                </c:pt>
                <c:pt idx="64254">
                  <c:v>38379</c:v>
                </c:pt>
                <c:pt idx="64255">
                  <c:v>35291</c:v>
                </c:pt>
                <c:pt idx="64256">
                  <c:v>97827</c:v>
                </c:pt>
                <c:pt idx="64257">
                  <c:v>41708</c:v>
                </c:pt>
                <c:pt idx="64258">
                  <c:v>41373</c:v>
                </c:pt>
                <c:pt idx="64259">
                  <c:v>213516</c:v>
                </c:pt>
                <c:pt idx="64260">
                  <c:v>47437</c:v>
                </c:pt>
                <c:pt idx="64261">
                  <c:v>37269</c:v>
                </c:pt>
                <c:pt idx="64262">
                  <c:v>40327</c:v>
                </c:pt>
                <c:pt idx="64263">
                  <c:v>283258</c:v>
                </c:pt>
                <c:pt idx="64264">
                  <c:v>20841</c:v>
                </c:pt>
                <c:pt idx="64265">
                  <c:v>28985</c:v>
                </c:pt>
                <c:pt idx="64266">
                  <c:v>28640</c:v>
                </c:pt>
                <c:pt idx="64267">
                  <c:v>59863</c:v>
                </c:pt>
                <c:pt idx="64268">
                  <c:v>56385</c:v>
                </c:pt>
                <c:pt idx="64269">
                  <c:v>79495</c:v>
                </c:pt>
                <c:pt idx="64270">
                  <c:v>88729</c:v>
                </c:pt>
                <c:pt idx="64271">
                  <c:v>41917</c:v>
                </c:pt>
                <c:pt idx="64272">
                  <c:v>38456</c:v>
                </c:pt>
                <c:pt idx="64273">
                  <c:v>28527</c:v>
                </c:pt>
                <c:pt idx="64274">
                  <c:v>23729</c:v>
                </c:pt>
                <c:pt idx="64275">
                  <c:v>54250</c:v>
                </c:pt>
                <c:pt idx="64276">
                  <c:v>23676</c:v>
                </c:pt>
                <c:pt idx="64277">
                  <c:v>26534</c:v>
                </c:pt>
                <c:pt idx="64278">
                  <c:v>29251</c:v>
                </c:pt>
                <c:pt idx="64279">
                  <c:v>26955</c:v>
                </c:pt>
                <c:pt idx="64280">
                  <c:v>46625</c:v>
                </c:pt>
                <c:pt idx="64281">
                  <c:v>39586</c:v>
                </c:pt>
                <c:pt idx="64282">
                  <c:v>119904</c:v>
                </c:pt>
                <c:pt idx="64283">
                  <c:v>37493</c:v>
                </c:pt>
                <c:pt idx="64284">
                  <c:v>58909</c:v>
                </c:pt>
                <c:pt idx="64285">
                  <c:v>29431</c:v>
                </c:pt>
                <c:pt idx="64286">
                  <c:v>41325</c:v>
                </c:pt>
                <c:pt idx="64287">
                  <c:v>64618</c:v>
                </c:pt>
                <c:pt idx="64288">
                  <c:v>44908</c:v>
                </c:pt>
                <c:pt idx="64289">
                  <c:v>145440</c:v>
                </c:pt>
                <c:pt idx="64290">
                  <c:v>39360</c:v>
                </c:pt>
                <c:pt idx="64291">
                  <c:v>68776</c:v>
                </c:pt>
                <c:pt idx="64292">
                  <c:v>125614</c:v>
                </c:pt>
                <c:pt idx="64293">
                  <c:v>71871</c:v>
                </c:pt>
                <c:pt idx="64294">
                  <c:v>22460</c:v>
                </c:pt>
                <c:pt idx="64295">
                  <c:v>152011</c:v>
                </c:pt>
                <c:pt idx="64296">
                  <c:v>28304</c:v>
                </c:pt>
                <c:pt idx="64297">
                  <c:v>185357</c:v>
                </c:pt>
                <c:pt idx="64298">
                  <c:v>78932</c:v>
                </c:pt>
                <c:pt idx="64299">
                  <c:v>88020</c:v>
                </c:pt>
                <c:pt idx="64300">
                  <c:v>33450</c:v>
                </c:pt>
                <c:pt idx="64301">
                  <c:v>35758</c:v>
                </c:pt>
                <c:pt idx="64302">
                  <c:v>127534</c:v>
                </c:pt>
                <c:pt idx="64303">
                  <c:v>22135</c:v>
                </c:pt>
                <c:pt idx="64304">
                  <c:v>43463</c:v>
                </c:pt>
                <c:pt idx="64305">
                  <c:v>120242</c:v>
                </c:pt>
                <c:pt idx="64306">
                  <c:v>35322</c:v>
                </c:pt>
                <c:pt idx="64307">
                  <c:v>106586</c:v>
                </c:pt>
                <c:pt idx="64308">
                  <c:v>64053</c:v>
                </c:pt>
                <c:pt idx="64309">
                  <c:v>82567</c:v>
                </c:pt>
                <c:pt idx="64310">
                  <c:v>57003</c:v>
                </c:pt>
                <c:pt idx="64311">
                  <c:v>88882</c:v>
                </c:pt>
                <c:pt idx="64312">
                  <c:v>30577</c:v>
                </c:pt>
                <c:pt idx="64313">
                  <c:v>64757</c:v>
                </c:pt>
                <c:pt idx="64314">
                  <c:v>73286</c:v>
                </c:pt>
                <c:pt idx="64315">
                  <c:v>67749</c:v>
                </c:pt>
                <c:pt idx="64316">
                  <c:v>38680</c:v>
                </c:pt>
                <c:pt idx="64317">
                  <c:v>31927</c:v>
                </c:pt>
                <c:pt idx="64318">
                  <c:v>29528</c:v>
                </c:pt>
                <c:pt idx="64319">
                  <c:v>62647</c:v>
                </c:pt>
                <c:pt idx="64320">
                  <c:v>64941</c:v>
                </c:pt>
                <c:pt idx="64321">
                  <c:v>62360</c:v>
                </c:pt>
                <c:pt idx="64322">
                  <c:v>69602</c:v>
                </c:pt>
                <c:pt idx="64323">
                  <c:v>51567</c:v>
                </c:pt>
                <c:pt idx="64324">
                  <c:v>37811</c:v>
                </c:pt>
                <c:pt idx="64325">
                  <c:v>106415</c:v>
                </c:pt>
                <c:pt idx="64326">
                  <c:v>35406</c:v>
                </c:pt>
                <c:pt idx="64327">
                  <c:v>51203</c:v>
                </c:pt>
                <c:pt idx="64328">
                  <c:v>35596</c:v>
                </c:pt>
                <c:pt idx="64329">
                  <c:v>31856</c:v>
                </c:pt>
                <c:pt idx="64330">
                  <c:v>60527</c:v>
                </c:pt>
                <c:pt idx="64331">
                  <c:v>59924</c:v>
                </c:pt>
                <c:pt idx="64332">
                  <c:v>39272</c:v>
                </c:pt>
                <c:pt idx="64333">
                  <c:v>40512</c:v>
                </c:pt>
                <c:pt idx="64334">
                  <c:v>72863</c:v>
                </c:pt>
                <c:pt idx="64335">
                  <c:v>42255</c:v>
                </c:pt>
                <c:pt idx="64336">
                  <c:v>25048</c:v>
                </c:pt>
                <c:pt idx="64337">
                  <c:v>38245</c:v>
                </c:pt>
                <c:pt idx="64338">
                  <c:v>43248</c:v>
                </c:pt>
                <c:pt idx="64339">
                  <c:v>28756</c:v>
                </c:pt>
                <c:pt idx="64340">
                  <c:v>32752</c:v>
                </c:pt>
                <c:pt idx="64341">
                  <c:v>113227</c:v>
                </c:pt>
                <c:pt idx="64342">
                  <c:v>28559</c:v>
                </c:pt>
                <c:pt idx="64343">
                  <c:v>31690</c:v>
                </c:pt>
                <c:pt idx="64344">
                  <c:v>56730</c:v>
                </c:pt>
                <c:pt idx="64345">
                  <c:v>48118</c:v>
                </c:pt>
                <c:pt idx="64346">
                  <c:v>26141</c:v>
                </c:pt>
                <c:pt idx="64347">
                  <c:v>54358</c:v>
                </c:pt>
                <c:pt idx="64348">
                  <c:v>31833</c:v>
                </c:pt>
                <c:pt idx="64349">
                  <c:v>29934</c:v>
                </c:pt>
                <c:pt idx="64350">
                  <c:v>23222</c:v>
                </c:pt>
                <c:pt idx="64351">
                  <c:v>26076</c:v>
                </c:pt>
                <c:pt idx="64352">
                  <c:v>35566</c:v>
                </c:pt>
                <c:pt idx="64353">
                  <c:v>25758</c:v>
                </c:pt>
                <c:pt idx="64354">
                  <c:v>61549</c:v>
                </c:pt>
                <c:pt idx="64355">
                  <c:v>27696</c:v>
                </c:pt>
                <c:pt idx="64356">
                  <c:v>29272</c:v>
                </c:pt>
                <c:pt idx="64357">
                  <c:v>116493</c:v>
                </c:pt>
                <c:pt idx="64358">
                  <c:v>26513</c:v>
                </c:pt>
                <c:pt idx="64359">
                  <c:v>33460</c:v>
                </c:pt>
                <c:pt idx="64360">
                  <c:v>77447</c:v>
                </c:pt>
                <c:pt idx="64361">
                  <c:v>28859</c:v>
                </c:pt>
                <c:pt idx="64362">
                  <c:v>36655</c:v>
                </c:pt>
                <c:pt idx="64363">
                  <c:v>70128</c:v>
                </c:pt>
                <c:pt idx="64364">
                  <c:v>28099</c:v>
                </c:pt>
                <c:pt idx="64365">
                  <c:v>55382</c:v>
                </c:pt>
                <c:pt idx="64366">
                  <c:v>24691</c:v>
                </c:pt>
                <c:pt idx="64367">
                  <c:v>61755</c:v>
                </c:pt>
                <c:pt idx="64368">
                  <c:v>42189</c:v>
                </c:pt>
                <c:pt idx="64369">
                  <c:v>40386</c:v>
                </c:pt>
                <c:pt idx="64370">
                  <c:v>113201</c:v>
                </c:pt>
                <c:pt idx="64371">
                  <c:v>178218</c:v>
                </c:pt>
                <c:pt idx="64372">
                  <c:v>82305</c:v>
                </c:pt>
                <c:pt idx="64373">
                  <c:v>38664</c:v>
                </c:pt>
                <c:pt idx="64374">
                  <c:v>94565</c:v>
                </c:pt>
                <c:pt idx="64375">
                  <c:v>33228</c:v>
                </c:pt>
                <c:pt idx="64376">
                  <c:v>70298</c:v>
                </c:pt>
                <c:pt idx="64377">
                  <c:v>40541</c:v>
                </c:pt>
                <c:pt idx="64378">
                  <c:v>132930</c:v>
                </c:pt>
                <c:pt idx="64379">
                  <c:v>49823</c:v>
                </c:pt>
                <c:pt idx="64380">
                  <c:v>37087</c:v>
                </c:pt>
                <c:pt idx="64381">
                  <c:v>145626</c:v>
                </c:pt>
                <c:pt idx="64382">
                  <c:v>29896</c:v>
                </c:pt>
                <c:pt idx="64383">
                  <c:v>42223</c:v>
                </c:pt>
                <c:pt idx="64384">
                  <c:v>66182</c:v>
                </c:pt>
                <c:pt idx="64385">
                  <c:v>44650</c:v>
                </c:pt>
                <c:pt idx="64386">
                  <c:v>37228</c:v>
                </c:pt>
                <c:pt idx="64387">
                  <c:v>40096</c:v>
                </c:pt>
                <c:pt idx="64388">
                  <c:v>42255</c:v>
                </c:pt>
                <c:pt idx="64389">
                  <c:v>28617</c:v>
                </c:pt>
                <c:pt idx="64390">
                  <c:v>63812</c:v>
                </c:pt>
                <c:pt idx="64391">
                  <c:v>35847</c:v>
                </c:pt>
                <c:pt idx="64392">
                  <c:v>28807</c:v>
                </c:pt>
                <c:pt idx="64393">
                  <c:v>25940</c:v>
                </c:pt>
                <c:pt idx="64394">
                  <c:v>31402</c:v>
                </c:pt>
                <c:pt idx="64395">
                  <c:v>19659</c:v>
                </c:pt>
                <c:pt idx="64396">
                  <c:v>64092</c:v>
                </c:pt>
                <c:pt idx="64397">
                  <c:v>34884</c:v>
                </c:pt>
                <c:pt idx="64398">
                  <c:v>44516</c:v>
                </c:pt>
                <c:pt idx="64399">
                  <c:v>37604</c:v>
                </c:pt>
                <c:pt idx="64400">
                  <c:v>33492</c:v>
                </c:pt>
                <c:pt idx="64401">
                  <c:v>34227</c:v>
                </c:pt>
                <c:pt idx="64402">
                  <c:v>38823</c:v>
                </c:pt>
                <c:pt idx="64403">
                  <c:v>62749</c:v>
                </c:pt>
                <c:pt idx="64404">
                  <c:v>28528</c:v>
                </c:pt>
                <c:pt idx="64405">
                  <c:v>50396</c:v>
                </c:pt>
                <c:pt idx="64406">
                  <c:v>38010</c:v>
                </c:pt>
                <c:pt idx="64407">
                  <c:v>109384</c:v>
                </c:pt>
                <c:pt idx="64408">
                  <c:v>30670</c:v>
                </c:pt>
                <c:pt idx="64409">
                  <c:v>31327</c:v>
                </c:pt>
                <c:pt idx="64410">
                  <c:v>175796</c:v>
                </c:pt>
                <c:pt idx="64411">
                  <c:v>27254</c:v>
                </c:pt>
                <c:pt idx="64412">
                  <c:v>26436</c:v>
                </c:pt>
                <c:pt idx="64413">
                  <c:v>34313</c:v>
                </c:pt>
                <c:pt idx="64414">
                  <c:v>34570</c:v>
                </c:pt>
                <c:pt idx="64415">
                  <c:v>42635</c:v>
                </c:pt>
                <c:pt idx="64416">
                  <c:v>36458</c:v>
                </c:pt>
                <c:pt idx="64417">
                  <c:v>27575</c:v>
                </c:pt>
                <c:pt idx="64418">
                  <c:v>49093</c:v>
                </c:pt>
                <c:pt idx="64419">
                  <c:v>57083</c:v>
                </c:pt>
                <c:pt idx="64420">
                  <c:v>61053</c:v>
                </c:pt>
                <c:pt idx="64421">
                  <c:v>40991</c:v>
                </c:pt>
                <c:pt idx="64422">
                  <c:v>47432</c:v>
                </c:pt>
                <c:pt idx="64423">
                  <c:v>79712</c:v>
                </c:pt>
                <c:pt idx="64424">
                  <c:v>50955</c:v>
                </c:pt>
                <c:pt idx="64425">
                  <c:v>25626</c:v>
                </c:pt>
                <c:pt idx="64426">
                  <c:v>31047</c:v>
                </c:pt>
                <c:pt idx="64427">
                  <c:v>43577</c:v>
                </c:pt>
                <c:pt idx="64428">
                  <c:v>35652</c:v>
                </c:pt>
                <c:pt idx="64429">
                  <c:v>34204</c:v>
                </c:pt>
                <c:pt idx="64430">
                  <c:v>159283</c:v>
                </c:pt>
                <c:pt idx="64431">
                  <c:v>48975</c:v>
                </c:pt>
                <c:pt idx="64432">
                  <c:v>100063</c:v>
                </c:pt>
                <c:pt idx="64433">
                  <c:v>116779</c:v>
                </c:pt>
                <c:pt idx="64434">
                  <c:v>31835</c:v>
                </c:pt>
                <c:pt idx="64435">
                  <c:v>24588</c:v>
                </c:pt>
                <c:pt idx="64436">
                  <c:v>47659</c:v>
                </c:pt>
                <c:pt idx="64437">
                  <c:v>33349</c:v>
                </c:pt>
                <c:pt idx="64438">
                  <c:v>79449</c:v>
                </c:pt>
                <c:pt idx="64439">
                  <c:v>41969</c:v>
                </c:pt>
                <c:pt idx="64440">
                  <c:v>42219</c:v>
                </c:pt>
                <c:pt idx="64441">
                  <c:v>103938</c:v>
                </c:pt>
                <c:pt idx="64442">
                  <c:v>30563</c:v>
                </c:pt>
                <c:pt idx="64443">
                  <c:v>34703</c:v>
                </c:pt>
                <c:pt idx="64444">
                  <c:v>21029</c:v>
                </c:pt>
                <c:pt idx="64445">
                  <c:v>303471</c:v>
                </c:pt>
                <c:pt idx="64446">
                  <c:v>44731</c:v>
                </c:pt>
                <c:pt idx="64447">
                  <c:v>27720</c:v>
                </c:pt>
                <c:pt idx="64448">
                  <c:v>31372</c:v>
                </c:pt>
                <c:pt idx="64449">
                  <c:v>90757</c:v>
                </c:pt>
                <c:pt idx="64450">
                  <c:v>276705</c:v>
                </c:pt>
                <c:pt idx="64451">
                  <c:v>450445</c:v>
                </c:pt>
                <c:pt idx="64452">
                  <c:v>78157</c:v>
                </c:pt>
                <c:pt idx="64453">
                  <c:v>25659</c:v>
                </c:pt>
                <c:pt idx="64454">
                  <c:v>23606</c:v>
                </c:pt>
                <c:pt idx="64455">
                  <c:v>36979</c:v>
                </c:pt>
                <c:pt idx="64456">
                  <c:v>36305</c:v>
                </c:pt>
                <c:pt idx="64457">
                  <c:v>40942</c:v>
                </c:pt>
                <c:pt idx="64458">
                  <c:v>36750</c:v>
                </c:pt>
                <c:pt idx="64459">
                  <c:v>265149</c:v>
                </c:pt>
                <c:pt idx="64460">
                  <c:v>45521</c:v>
                </c:pt>
                <c:pt idx="64461">
                  <c:v>62400</c:v>
                </c:pt>
                <c:pt idx="64462">
                  <c:v>31890</c:v>
                </c:pt>
                <c:pt idx="64463">
                  <c:v>28585</c:v>
                </c:pt>
                <c:pt idx="64464">
                  <c:v>25608</c:v>
                </c:pt>
                <c:pt idx="64465">
                  <c:v>104866</c:v>
                </c:pt>
                <c:pt idx="64466">
                  <c:v>25439</c:v>
                </c:pt>
                <c:pt idx="64467">
                  <c:v>22582</c:v>
                </c:pt>
                <c:pt idx="64468">
                  <c:v>178133</c:v>
                </c:pt>
                <c:pt idx="64469">
                  <c:v>67108</c:v>
                </c:pt>
                <c:pt idx="64470">
                  <c:v>50003</c:v>
                </c:pt>
                <c:pt idx="64471">
                  <c:v>53378</c:v>
                </c:pt>
                <c:pt idx="64472">
                  <c:v>29483</c:v>
                </c:pt>
                <c:pt idx="64473">
                  <c:v>234772</c:v>
                </c:pt>
                <c:pt idx="64474">
                  <c:v>116987</c:v>
                </c:pt>
                <c:pt idx="64475">
                  <c:v>45821</c:v>
                </c:pt>
                <c:pt idx="64476">
                  <c:v>38743</c:v>
                </c:pt>
                <c:pt idx="64477">
                  <c:v>56684</c:v>
                </c:pt>
                <c:pt idx="64478">
                  <c:v>129569</c:v>
                </c:pt>
                <c:pt idx="64479">
                  <c:v>176323</c:v>
                </c:pt>
                <c:pt idx="64480">
                  <c:v>32118</c:v>
                </c:pt>
                <c:pt idx="64481">
                  <c:v>21517</c:v>
                </c:pt>
                <c:pt idx="64482">
                  <c:v>35407</c:v>
                </c:pt>
                <c:pt idx="64483">
                  <c:v>100959</c:v>
                </c:pt>
                <c:pt idx="64484">
                  <c:v>31290</c:v>
                </c:pt>
                <c:pt idx="64485">
                  <c:v>123184</c:v>
                </c:pt>
                <c:pt idx="64486">
                  <c:v>294325</c:v>
                </c:pt>
                <c:pt idx="64487">
                  <c:v>33356</c:v>
                </c:pt>
                <c:pt idx="64488">
                  <c:v>27312</c:v>
                </c:pt>
                <c:pt idx="64489">
                  <c:v>107110</c:v>
                </c:pt>
                <c:pt idx="64490">
                  <c:v>41824</c:v>
                </c:pt>
                <c:pt idx="64491">
                  <c:v>40508</c:v>
                </c:pt>
                <c:pt idx="64492">
                  <c:v>25533</c:v>
                </c:pt>
                <c:pt idx="64493">
                  <c:v>143307</c:v>
                </c:pt>
                <c:pt idx="64494">
                  <c:v>27925</c:v>
                </c:pt>
                <c:pt idx="64495">
                  <c:v>27102</c:v>
                </c:pt>
                <c:pt idx="64496">
                  <c:v>131559</c:v>
                </c:pt>
                <c:pt idx="64497">
                  <c:v>37048</c:v>
                </c:pt>
                <c:pt idx="64498">
                  <c:v>94959</c:v>
                </c:pt>
                <c:pt idx="64499">
                  <c:v>90344</c:v>
                </c:pt>
                <c:pt idx="64500">
                  <c:v>41058</c:v>
                </c:pt>
                <c:pt idx="64501">
                  <c:v>35482</c:v>
                </c:pt>
                <c:pt idx="64502">
                  <c:v>91172</c:v>
                </c:pt>
                <c:pt idx="64503">
                  <c:v>49935</c:v>
                </c:pt>
                <c:pt idx="64504">
                  <c:v>48278</c:v>
                </c:pt>
                <c:pt idx="64505">
                  <c:v>23594</c:v>
                </c:pt>
                <c:pt idx="64506">
                  <c:v>36981</c:v>
                </c:pt>
                <c:pt idx="64507">
                  <c:v>126691</c:v>
                </c:pt>
                <c:pt idx="64508">
                  <c:v>237021</c:v>
                </c:pt>
                <c:pt idx="64509">
                  <c:v>277195</c:v>
                </c:pt>
                <c:pt idx="64510">
                  <c:v>29004</c:v>
                </c:pt>
                <c:pt idx="64511">
                  <c:v>25703</c:v>
                </c:pt>
                <c:pt idx="64512">
                  <c:v>21550</c:v>
                </c:pt>
                <c:pt idx="64513">
                  <c:v>64114</c:v>
                </c:pt>
                <c:pt idx="64514">
                  <c:v>111936</c:v>
                </c:pt>
                <c:pt idx="64515">
                  <c:v>88450</c:v>
                </c:pt>
                <c:pt idx="64516">
                  <c:v>25758</c:v>
                </c:pt>
                <c:pt idx="64517">
                  <c:v>82111</c:v>
                </c:pt>
                <c:pt idx="64518">
                  <c:v>88652</c:v>
                </c:pt>
                <c:pt idx="64519">
                  <c:v>40538</c:v>
                </c:pt>
                <c:pt idx="64520">
                  <c:v>83755</c:v>
                </c:pt>
                <c:pt idx="64521">
                  <c:v>321377</c:v>
                </c:pt>
                <c:pt idx="64522">
                  <c:v>31894</c:v>
                </c:pt>
                <c:pt idx="64523">
                  <c:v>35893</c:v>
                </c:pt>
                <c:pt idx="64524">
                  <c:v>235104</c:v>
                </c:pt>
                <c:pt idx="64525">
                  <c:v>25668</c:v>
                </c:pt>
                <c:pt idx="64526">
                  <c:v>60452</c:v>
                </c:pt>
                <c:pt idx="64527">
                  <c:v>33518</c:v>
                </c:pt>
                <c:pt idx="64528">
                  <c:v>70042</c:v>
                </c:pt>
                <c:pt idx="64529">
                  <c:v>44208</c:v>
                </c:pt>
                <c:pt idx="64530">
                  <c:v>57982</c:v>
                </c:pt>
                <c:pt idx="64531">
                  <c:v>64152</c:v>
                </c:pt>
                <c:pt idx="64532">
                  <c:v>93354</c:v>
                </c:pt>
                <c:pt idx="64533">
                  <c:v>27365</c:v>
                </c:pt>
                <c:pt idx="64534">
                  <c:v>37858</c:v>
                </c:pt>
                <c:pt idx="64535">
                  <c:v>37648</c:v>
                </c:pt>
                <c:pt idx="64536">
                  <c:v>46143</c:v>
                </c:pt>
                <c:pt idx="64537">
                  <c:v>25738</c:v>
                </c:pt>
                <c:pt idx="64538">
                  <c:v>29468</c:v>
                </c:pt>
                <c:pt idx="64539">
                  <c:v>49201</c:v>
                </c:pt>
                <c:pt idx="64540">
                  <c:v>22362</c:v>
                </c:pt>
                <c:pt idx="64541">
                  <c:v>93441</c:v>
                </c:pt>
                <c:pt idx="64542">
                  <c:v>49056</c:v>
                </c:pt>
                <c:pt idx="64543">
                  <c:v>128384</c:v>
                </c:pt>
                <c:pt idx="64544">
                  <c:v>39103</c:v>
                </c:pt>
                <c:pt idx="64545">
                  <c:v>49189</c:v>
                </c:pt>
                <c:pt idx="64546">
                  <c:v>206072</c:v>
                </c:pt>
                <c:pt idx="64547">
                  <c:v>50857</c:v>
                </c:pt>
                <c:pt idx="64548">
                  <c:v>25184</c:v>
                </c:pt>
                <c:pt idx="64549">
                  <c:v>29255</c:v>
                </c:pt>
                <c:pt idx="64550">
                  <c:v>26298</c:v>
                </c:pt>
                <c:pt idx="64551">
                  <c:v>39202</c:v>
                </c:pt>
                <c:pt idx="64552">
                  <c:v>15091</c:v>
                </c:pt>
                <c:pt idx="64553">
                  <c:v>78400</c:v>
                </c:pt>
                <c:pt idx="64554">
                  <c:v>43826</c:v>
                </c:pt>
                <c:pt idx="64555">
                  <c:v>32075</c:v>
                </c:pt>
                <c:pt idx="64556">
                  <c:v>26870</c:v>
                </c:pt>
                <c:pt idx="64557">
                  <c:v>26609</c:v>
                </c:pt>
                <c:pt idx="64558">
                  <c:v>93439</c:v>
                </c:pt>
                <c:pt idx="64559">
                  <c:v>36184</c:v>
                </c:pt>
                <c:pt idx="64560">
                  <c:v>198067</c:v>
                </c:pt>
                <c:pt idx="64561">
                  <c:v>81562</c:v>
                </c:pt>
                <c:pt idx="64562">
                  <c:v>42357</c:v>
                </c:pt>
                <c:pt idx="64563">
                  <c:v>23371</c:v>
                </c:pt>
                <c:pt idx="64564">
                  <c:v>22688</c:v>
                </c:pt>
                <c:pt idx="64565">
                  <c:v>23802</c:v>
                </c:pt>
                <c:pt idx="64566">
                  <c:v>22978</c:v>
                </c:pt>
                <c:pt idx="64567">
                  <c:v>57274</c:v>
                </c:pt>
                <c:pt idx="64568">
                  <c:v>46377</c:v>
                </c:pt>
                <c:pt idx="64569">
                  <c:v>41804</c:v>
                </c:pt>
                <c:pt idx="64570">
                  <c:v>37360</c:v>
                </c:pt>
                <c:pt idx="64571">
                  <c:v>36702</c:v>
                </c:pt>
                <c:pt idx="64572">
                  <c:v>24065</c:v>
                </c:pt>
                <c:pt idx="64573">
                  <c:v>29416</c:v>
                </c:pt>
                <c:pt idx="64574">
                  <c:v>45062</c:v>
                </c:pt>
                <c:pt idx="64575">
                  <c:v>24665</c:v>
                </c:pt>
                <c:pt idx="64576">
                  <c:v>27985</c:v>
                </c:pt>
                <c:pt idx="64577">
                  <c:v>47429</c:v>
                </c:pt>
                <c:pt idx="64578">
                  <c:v>65170</c:v>
                </c:pt>
                <c:pt idx="64579">
                  <c:v>46295</c:v>
                </c:pt>
                <c:pt idx="64580">
                  <c:v>30906</c:v>
                </c:pt>
                <c:pt idx="64581">
                  <c:v>21708</c:v>
                </c:pt>
                <c:pt idx="64582">
                  <c:v>24837</c:v>
                </c:pt>
                <c:pt idx="64583">
                  <c:v>43601</c:v>
                </c:pt>
                <c:pt idx="64584">
                  <c:v>50755</c:v>
                </c:pt>
                <c:pt idx="64585">
                  <c:v>25358</c:v>
                </c:pt>
                <c:pt idx="64586">
                  <c:v>60399</c:v>
                </c:pt>
                <c:pt idx="64587">
                  <c:v>84239</c:v>
                </c:pt>
                <c:pt idx="64588">
                  <c:v>29048</c:v>
                </c:pt>
                <c:pt idx="64589">
                  <c:v>23759</c:v>
                </c:pt>
                <c:pt idx="64590">
                  <c:v>46991</c:v>
                </c:pt>
                <c:pt idx="64591">
                  <c:v>144081</c:v>
                </c:pt>
                <c:pt idx="64592">
                  <c:v>154540</c:v>
                </c:pt>
                <c:pt idx="64593">
                  <c:v>81178</c:v>
                </c:pt>
                <c:pt idx="64594">
                  <c:v>25139</c:v>
                </c:pt>
                <c:pt idx="64595">
                  <c:v>33784</c:v>
                </c:pt>
                <c:pt idx="64596">
                  <c:v>33733</c:v>
                </c:pt>
                <c:pt idx="64597">
                  <c:v>23639</c:v>
                </c:pt>
                <c:pt idx="64598">
                  <c:v>66137</c:v>
                </c:pt>
                <c:pt idx="64599">
                  <c:v>40991</c:v>
                </c:pt>
                <c:pt idx="64600">
                  <c:v>41909</c:v>
                </c:pt>
                <c:pt idx="64601">
                  <c:v>57368</c:v>
                </c:pt>
                <c:pt idx="64602">
                  <c:v>39731</c:v>
                </c:pt>
                <c:pt idx="64603">
                  <c:v>27595</c:v>
                </c:pt>
                <c:pt idx="64604">
                  <c:v>24332</c:v>
                </c:pt>
                <c:pt idx="64605">
                  <c:v>35257</c:v>
                </c:pt>
                <c:pt idx="64606">
                  <c:v>35842</c:v>
                </c:pt>
                <c:pt idx="64607">
                  <c:v>18762</c:v>
                </c:pt>
                <c:pt idx="64608">
                  <c:v>23909</c:v>
                </c:pt>
                <c:pt idx="64609">
                  <c:v>43896</c:v>
                </c:pt>
                <c:pt idx="64610">
                  <c:v>35039</c:v>
                </c:pt>
                <c:pt idx="64611">
                  <c:v>57903</c:v>
                </c:pt>
                <c:pt idx="64612">
                  <c:v>45782</c:v>
                </c:pt>
                <c:pt idx="64613">
                  <c:v>40857</c:v>
                </c:pt>
                <c:pt idx="64614">
                  <c:v>40039</c:v>
                </c:pt>
                <c:pt idx="64615">
                  <c:v>126961</c:v>
                </c:pt>
                <c:pt idx="64616">
                  <c:v>29380</c:v>
                </c:pt>
                <c:pt idx="64617">
                  <c:v>39611</c:v>
                </c:pt>
                <c:pt idx="64618">
                  <c:v>40203</c:v>
                </c:pt>
                <c:pt idx="64619">
                  <c:v>27954</c:v>
                </c:pt>
                <c:pt idx="64620">
                  <c:v>45860</c:v>
                </c:pt>
                <c:pt idx="64621">
                  <c:v>104793</c:v>
                </c:pt>
                <c:pt idx="64622">
                  <c:v>42252</c:v>
                </c:pt>
                <c:pt idx="64623">
                  <c:v>62150</c:v>
                </c:pt>
                <c:pt idx="64624">
                  <c:v>104262</c:v>
                </c:pt>
                <c:pt idx="64625">
                  <c:v>33832</c:v>
                </c:pt>
                <c:pt idx="64626">
                  <c:v>146527</c:v>
                </c:pt>
                <c:pt idx="64627">
                  <c:v>65958</c:v>
                </c:pt>
                <c:pt idx="64628">
                  <c:v>49911</c:v>
                </c:pt>
                <c:pt idx="64629">
                  <c:v>52638</c:v>
                </c:pt>
                <c:pt idx="64630">
                  <c:v>28337</c:v>
                </c:pt>
                <c:pt idx="64631">
                  <c:v>26860</c:v>
                </c:pt>
                <c:pt idx="64632">
                  <c:v>35170</c:v>
                </c:pt>
                <c:pt idx="64633">
                  <c:v>37777</c:v>
                </c:pt>
                <c:pt idx="64634">
                  <c:v>36034</c:v>
                </c:pt>
                <c:pt idx="64635">
                  <c:v>39505</c:v>
                </c:pt>
                <c:pt idx="64636">
                  <c:v>52696</c:v>
                </c:pt>
                <c:pt idx="64637">
                  <c:v>57958</c:v>
                </c:pt>
                <c:pt idx="64638">
                  <c:v>30359</c:v>
                </c:pt>
                <c:pt idx="64639">
                  <c:v>38659</c:v>
                </c:pt>
                <c:pt idx="64640">
                  <c:v>27150</c:v>
                </c:pt>
                <c:pt idx="64641">
                  <c:v>109122</c:v>
                </c:pt>
                <c:pt idx="64642">
                  <c:v>40406</c:v>
                </c:pt>
                <c:pt idx="64643">
                  <c:v>52021</c:v>
                </c:pt>
                <c:pt idx="64644">
                  <c:v>144463</c:v>
                </c:pt>
                <c:pt idx="64645">
                  <c:v>24953</c:v>
                </c:pt>
                <c:pt idx="64646">
                  <c:v>30425</c:v>
                </c:pt>
                <c:pt idx="64647">
                  <c:v>57727</c:v>
                </c:pt>
                <c:pt idx="64648">
                  <c:v>32137</c:v>
                </c:pt>
                <c:pt idx="64649">
                  <c:v>38726</c:v>
                </c:pt>
                <c:pt idx="64650">
                  <c:v>42389</c:v>
                </c:pt>
                <c:pt idx="64651">
                  <c:v>32118</c:v>
                </c:pt>
                <c:pt idx="64652">
                  <c:v>119969</c:v>
                </c:pt>
                <c:pt idx="64653">
                  <c:v>33302</c:v>
                </c:pt>
                <c:pt idx="64654">
                  <c:v>26378</c:v>
                </c:pt>
                <c:pt idx="64655">
                  <c:v>30509</c:v>
                </c:pt>
                <c:pt idx="64656">
                  <c:v>105730</c:v>
                </c:pt>
                <c:pt idx="64657">
                  <c:v>29433</c:v>
                </c:pt>
                <c:pt idx="64658">
                  <c:v>45220</c:v>
                </c:pt>
                <c:pt idx="64659">
                  <c:v>92806</c:v>
                </c:pt>
                <c:pt idx="64660">
                  <c:v>31576</c:v>
                </c:pt>
                <c:pt idx="64661">
                  <c:v>53745</c:v>
                </c:pt>
                <c:pt idx="64662">
                  <c:v>36505</c:v>
                </c:pt>
                <c:pt idx="64663">
                  <c:v>175757</c:v>
                </c:pt>
                <c:pt idx="64664">
                  <c:v>25801</c:v>
                </c:pt>
                <c:pt idx="64665">
                  <c:v>238591</c:v>
                </c:pt>
                <c:pt idx="64666">
                  <c:v>76674</c:v>
                </c:pt>
                <c:pt idx="64667">
                  <c:v>37620</c:v>
                </c:pt>
                <c:pt idx="64668">
                  <c:v>121236</c:v>
                </c:pt>
                <c:pt idx="64669">
                  <c:v>58636</c:v>
                </c:pt>
                <c:pt idx="64670">
                  <c:v>38198</c:v>
                </c:pt>
                <c:pt idx="64671">
                  <c:v>28444</c:v>
                </c:pt>
                <c:pt idx="64672">
                  <c:v>22896</c:v>
                </c:pt>
                <c:pt idx="64673">
                  <c:v>27989</c:v>
                </c:pt>
                <c:pt idx="64674">
                  <c:v>55283</c:v>
                </c:pt>
                <c:pt idx="64675">
                  <c:v>26597</c:v>
                </c:pt>
                <c:pt idx="64676">
                  <c:v>25105</c:v>
                </c:pt>
                <c:pt idx="64677">
                  <c:v>38161</c:v>
                </c:pt>
                <c:pt idx="64678">
                  <c:v>29206</c:v>
                </c:pt>
                <c:pt idx="64679">
                  <c:v>108915</c:v>
                </c:pt>
                <c:pt idx="64680">
                  <c:v>376797</c:v>
                </c:pt>
                <c:pt idx="64681">
                  <c:v>78785</c:v>
                </c:pt>
                <c:pt idx="64682">
                  <c:v>25412</c:v>
                </c:pt>
                <c:pt idx="64683">
                  <c:v>1462953</c:v>
                </c:pt>
                <c:pt idx="64684">
                  <c:v>49825</c:v>
                </c:pt>
                <c:pt idx="64685">
                  <c:v>56548</c:v>
                </c:pt>
                <c:pt idx="64686">
                  <c:v>27925</c:v>
                </c:pt>
                <c:pt idx="64687">
                  <c:v>39425</c:v>
                </c:pt>
                <c:pt idx="64688">
                  <c:v>37636</c:v>
                </c:pt>
                <c:pt idx="64689">
                  <c:v>215677</c:v>
                </c:pt>
                <c:pt idx="64690">
                  <c:v>62706</c:v>
                </c:pt>
                <c:pt idx="64691">
                  <c:v>15000</c:v>
                </c:pt>
                <c:pt idx="64692">
                  <c:v>39328</c:v>
                </c:pt>
                <c:pt idx="64693">
                  <c:v>64847</c:v>
                </c:pt>
                <c:pt idx="64694">
                  <c:v>20614</c:v>
                </c:pt>
                <c:pt idx="64695">
                  <c:v>69800</c:v>
                </c:pt>
                <c:pt idx="64696">
                  <c:v>84152</c:v>
                </c:pt>
                <c:pt idx="64697">
                  <c:v>117762</c:v>
                </c:pt>
                <c:pt idx="64698">
                  <c:v>32660</c:v>
                </c:pt>
                <c:pt idx="64699">
                  <c:v>61731</c:v>
                </c:pt>
                <c:pt idx="64700">
                  <c:v>25391</c:v>
                </c:pt>
                <c:pt idx="64701">
                  <c:v>47836</c:v>
                </c:pt>
                <c:pt idx="64702">
                  <c:v>111014</c:v>
                </c:pt>
                <c:pt idx="64703">
                  <c:v>87486</c:v>
                </c:pt>
                <c:pt idx="64704">
                  <c:v>45028</c:v>
                </c:pt>
                <c:pt idx="64705">
                  <c:v>36723</c:v>
                </c:pt>
                <c:pt idx="64706">
                  <c:v>39087</c:v>
                </c:pt>
                <c:pt idx="64707">
                  <c:v>79621</c:v>
                </c:pt>
                <c:pt idx="64708">
                  <c:v>100146</c:v>
                </c:pt>
                <c:pt idx="64709">
                  <c:v>62853</c:v>
                </c:pt>
                <c:pt idx="64710">
                  <c:v>63539</c:v>
                </c:pt>
                <c:pt idx="64711">
                  <c:v>33128</c:v>
                </c:pt>
                <c:pt idx="64712">
                  <c:v>23992</c:v>
                </c:pt>
                <c:pt idx="64713">
                  <c:v>32332</c:v>
                </c:pt>
                <c:pt idx="64714">
                  <c:v>25253</c:v>
                </c:pt>
                <c:pt idx="64715">
                  <c:v>212663</c:v>
                </c:pt>
                <c:pt idx="64716">
                  <c:v>60202</c:v>
                </c:pt>
                <c:pt idx="64717">
                  <c:v>40001</c:v>
                </c:pt>
                <c:pt idx="64718">
                  <c:v>31696</c:v>
                </c:pt>
                <c:pt idx="64719">
                  <c:v>36079</c:v>
                </c:pt>
                <c:pt idx="64720">
                  <c:v>31014</c:v>
                </c:pt>
                <c:pt idx="64721">
                  <c:v>109574</c:v>
                </c:pt>
                <c:pt idx="64722">
                  <c:v>35417</c:v>
                </c:pt>
                <c:pt idx="64723">
                  <c:v>36814</c:v>
                </c:pt>
                <c:pt idx="64724">
                  <c:v>21932</c:v>
                </c:pt>
                <c:pt idx="64725">
                  <c:v>30967</c:v>
                </c:pt>
                <c:pt idx="64726">
                  <c:v>35945</c:v>
                </c:pt>
                <c:pt idx="64727">
                  <c:v>26662</c:v>
                </c:pt>
                <c:pt idx="64728">
                  <c:v>40276</c:v>
                </c:pt>
                <c:pt idx="64729">
                  <c:v>28631</c:v>
                </c:pt>
                <c:pt idx="64730">
                  <c:v>74708</c:v>
                </c:pt>
                <c:pt idx="64731">
                  <c:v>41486</c:v>
                </c:pt>
                <c:pt idx="64732">
                  <c:v>37373</c:v>
                </c:pt>
                <c:pt idx="64733">
                  <c:v>31852</c:v>
                </c:pt>
                <c:pt idx="64734">
                  <c:v>30492</c:v>
                </c:pt>
                <c:pt idx="64735">
                  <c:v>32640</c:v>
                </c:pt>
                <c:pt idx="64736">
                  <c:v>66641</c:v>
                </c:pt>
                <c:pt idx="64737">
                  <c:v>33054</c:v>
                </c:pt>
                <c:pt idx="64738">
                  <c:v>22092</c:v>
                </c:pt>
                <c:pt idx="64739">
                  <c:v>23919</c:v>
                </c:pt>
                <c:pt idx="64740">
                  <c:v>129532</c:v>
                </c:pt>
                <c:pt idx="64741">
                  <c:v>38272</c:v>
                </c:pt>
                <c:pt idx="64742">
                  <c:v>42636</c:v>
                </c:pt>
                <c:pt idx="64743">
                  <c:v>58665</c:v>
                </c:pt>
                <c:pt idx="64744">
                  <c:v>45460</c:v>
                </c:pt>
                <c:pt idx="64745">
                  <c:v>49949</c:v>
                </c:pt>
                <c:pt idx="64746">
                  <c:v>34311</c:v>
                </c:pt>
                <c:pt idx="64747">
                  <c:v>96136</c:v>
                </c:pt>
                <c:pt idx="64748">
                  <c:v>48956</c:v>
                </c:pt>
                <c:pt idx="64749">
                  <c:v>28076</c:v>
                </c:pt>
                <c:pt idx="64750">
                  <c:v>22048</c:v>
                </c:pt>
                <c:pt idx="64751">
                  <c:v>69912</c:v>
                </c:pt>
                <c:pt idx="64752">
                  <c:v>252276</c:v>
                </c:pt>
                <c:pt idx="64753">
                  <c:v>40437</c:v>
                </c:pt>
                <c:pt idx="64754">
                  <c:v>26967</c:v>
                </c:pt>
                <c:pt idx="64755">
                  <c:v>59985</c:v>
                </c:pt>
                <c:pt idx="64756">
                  <c:v>168182</c:v>
                </c:pt>
                <c:pt idx="64757">
                  <c:v>76292</c:v>
                </c:pt>
                <c:pt idx="64758">
                  <c:v>35249</c:v>
                </c:pt>
                <c:pt idx="64759">
                  <c:v>26066</c:v>
                </c:pt>
                <c:pt idx="64760">
                  <c:v>74645</c:v>
                </c:pt>
                <c:pt idx="64761">
                  <c:v>30582</c:v>
                </c:pt>
                <c:pt idx="64762">
                  <c:v>26668</c:v>
                </c:pt>
                <c:pt idx="64763">
                  <c:v>22319</c:v>
                </c:pt>
                <c:pt idx="64764">
                  <c:v>34158</c:v>
                </c:pt>
                <c:pt idx="64765">
                  <c:v>114892</c:v>
                </c:pt>
                <c:pt idx="64766">
                  <c:v>49546</c:v>
                </c:pt>
                <c:pt idx="64767">
                  <c:v>41241</c:v>
                </c:pt>
                <c:pt idx="64768">
                  <c:v>88600</c:v>
                </c:pt>
                <c:pt idx="64769">
                  <c:v>48551</c:v>
                </c:pt>
                <c:pt idx="64770">
                  <c:v>44103</c:v>
                </c:pt>
                <c:pt idx="64771">
                  <c:v>50326</c:v>
                </c:pt>
                <c:pt idx="64772">
                  <c:v>32747</c:v>
                </c:pt>
                <c:pt idx="64773">
                  <c:v>23794</c:v>
                </c:pt>
                <c:pt idx="64774">
                  <c:v>38032</c:v>
                </c:pt>
                <c:pt idx="64775">
                  <c:v>35441</c:v>
                </c:pt>
                <c:pt idx="64776">
                  <c:v>44433</c:v>
                </c:pt>
                <c:pt idx="64777">
                  <c:v>33330</c:v>
                </c:pt>
                <c:pt idx="64778">
                  <c:v>32092</c:v>
                </c:pt>
                <c:pt idx="64779">
                  <c:v>144232</c:v>
                </c:pt>
                <c:pt idx="64780">
                  <c:v>86732</c:v>
                </c:pt>
                <c:pt idx="64781">
                  <c:v>25732</c:v>
                </c:pt>
                <c:pt idx="64782">
                  <c:v>141091</c:v>
                </c:pt>
                <c:pt idx="64783">
                  <c:v>26345</c:v>
                </c:pt>
                <c:pt idx="64784">
                  <c:v>48223</c:v>
                </c:pt>
                <c:pt idx="64785">
                  <c:v>31060</c:v>
                </c:pt>
                <c:pt idx="64786">
                  <c:v>24784</c:v>
                </c:pt>
                <c:pt idx="64787">
                  <c:v>108204</c:v>
                </c:pt>
                <c:pt idx="64788">
                  <c:v>31371</c:v>
                </c:pt>
                <c:pt idx="64789">
                  <c:v>81033</c:v>
                </c:pt>
                <c:pt idx="64790">
                  <c:v>21140</c:v>
                </c:pt>
                <c:pt idx="64791">
                  <c:v>29295</c:v>
                </c:pt>
                <c:pt idx="64792">
                  <c:v>137536</c:v>
                </c:pt>
                <c:pt idx="64793">
                  <c:v>32745</c:v>
                </c:pt>
                <c:pt idx="64794">
                  <c:v>33673</c:v>
                </c:pt>
                <c:pt idx="64795">
                  <c:v>24189</c:v>
                </c:pt>
                <c:pt idx="64796">
                  <c:v>194914</c:v>
                </c:pt>
                <c:pt idx="64797">
                  <c:v>69305</c:v>
                </c:pt>
                <c:pt idx="64798">
                  <c:v>53389</c:v>
                </c:pt>
                <c:pt idx="64799">
                  <c:v>30699</c:v>
                </c:pt>
                <c:pt idx="64800">
                  <c:v>32333</c:v>
                </c:pt>
                <c:pt idx="64801">
                  <c:v>31468</c:v>
                </c:pt>
                <c:pt idx="64802">
                  <c:v>70715</c:v>
                </c:pt>
                <c:pt idx="64803">
                  <c:v>81044</c:v>
                </c:pt>
                <c:pt idx="64804">
                  <c:v>125287</c:v>
                </c:pt>
                <c:pt idx="64805">
                  <c:v>67531</c:v>
                </c:pt>
                <c:pt idx="64806">
                  <c:v>228229</c:v>
                </c:pt>
                <c:pt idx="64807">
                  <c:v>57811</c:v>
                </c:pt>
                <c:pt idx="64808">
                  <c:v>21919</c:v>
                </c:pt>
                <c:pt idx="64809">
                  <c:v>59054</c:v>
                </c:pt>
                <c:pt idx="64810">
                  <c:v>28611</c:v>
                </c:pt>
                <c:pt idx="64811">
                  <c:v>31665</c:v>
                </c:pt>
                <c:pt idx="64812">
                  <c:v>153076</c:v>
                </c:pt>
                <c:pt idx="64813">
                  <c:v>36161</c:v>
                </c:pt>
                <c:pt idx="64814">
                  <c:v>33748</c:v>
                </c:pt>
                <c:pt idx="64815">
                  <c:v>171948</c:v>
                </c:pt>
                <c:pt idx="64816">
                  <c:v>145932</c:v>
                </c:pt>
                <c:pt idx="64817">
                  <c:v>43215</c:v>
                </c:pt>
                <c:pt idx="64818">
                  <c:v>197422</c:v>
                </c:pt>
                <c:pt idx="64819">
                  <c:v>67396</c:v>
                </c:pt>
                <c:pt idx="64820">
                  <c:v>163172</c:v>
                </c:pt>
                <c:pt idx="64821">
                  <c:v>48105</c:v>
                </c:pt>
                <c:pt idx="64822">
                  <c:v>29952</c:v>
                </c:pt>
                <c:pt idx="64823">
                  <c:v>51275</c:v>
                </c:pt>
                <c:pt idx="64824">
                  <c:v>64435</c:v>
                </c:pt>
                <c:pt idx="64825">
                  <c:v>44552</c:v>
                </c:pt>
                <c:pt idx="64826">
                  <c:v>26487</c:v>
                </c:pt>
                <c:pt idx="64827">
                  <c:v>48580</c:v>
                </c:pt>
                <c:pt idx="64828">
                  <c:v>105676</c:v>
                </c:pt>
                <c:pt idx="64829">
                  <c:v>40509</c:v>
                </c:pt>
                <c:pt idx="64830">
                  <c:v>43083</c:v>
                </c:pt>
                <c:pt idx="64831">
                  <c:v>48031</c:v>
                </c:pt>
                <c:pt idx="64832">
                  <c:v>189952</c:v>
                </c:pt>
                <c:pt idx="64833">
                  <c:v>27440</c:v>
                </c:pt>
                <c:pt idx="64834">
                  <c:v>61402</c:v>
                </c:pt>
                <c:pt idx="64835">
                  <c:v>33581</c:v>
                </c:pt>
                <c:pt idx="64836">
                  <c:v>38963</c:v>
                </c:pt>
                <c:pt idx="64837">
                  <c:v>53652</c:v>
                </c:pt>
                <c:pt idx="64838">
                  <c:v>38197</c:v>
                </c:pt>
                <c:pt idx="64839">
                  <c:v>104049</c:v>
                </c:pt>
                <c:pt idx="64840">
                  <c:v>43282</c:v>
                </c:pt>
                <c:pt idx="64841">
                  <c:v>58372</c:v>
                </c:pt>
                <c:pt idx="64842">
                  <c:v>60267</c:v>
                </c:pt>
                <c:pt idx="64843">
                  <c:v>40488</c:v>
                </c:pt>
                <c:pt idx="64844">
                  <c:v>38986</c:v>
                </c:pt>
                <c:pt idx="64845">
                  <c:v>27134</c:v>
                </c:pt>
                <c:pt idx="64846">
                  <c:v>39250</c:v>
                </c:pt>
                <c:pt idx="64847">
                  <c:v>125573</c:v>
                </c:pt>
                <c:pt idx="64848">
                  <c:v>97399</c:v>
                </c:pt>
                <c:pt idx="64849">
                  <c:v>113325</c:v>
                </c:pt>
                <c:pt idx="64850">
                  <c:v>39470</c:v>
                </c:pt>
                <c:pt idx="64851">
                  <c:v>42469</c:v>
                </c:pt>
                <c:pt idx="64852">
                  <c:v>21591</c:v>
                </c:pt>
                <c:pt idx="64853">
                  <c:v>104880</c:v>
                </c:pt>
                <c:pt idx="64854">
                  <c:v>31852</c:v>
                </c:pt>
                <c:pt idx="64855">
                  <c:v>29373</c:v>
                </c:pt>
                <c:pt idx="64856">
                  <c:v>52598</c:v>
                </c:pt>
                <c:pt idx="64857">
                  <c:v>23258</c:v>
                </c:pt>
                <c:pt idx="64858">
                  <c:v>30913</c:v>
                </c:pt>
                <c:pt idx="64859">
                  <c:v>76258</c:v>
                </c:pt>
                <c:pt idx="64860">
                  <c:v>108727</c:v>
                </c:pt>
                <c:pt idx="64861">
                  <c:v>221593</c:v>
                </c:pt>
                <c:pt idx="64862">
                  <c:v>29013</c:v>
                </c:pt>
                <c:pt idx="64863">
                  <c:v>103687</c:v>
                </c:pt>
                <c:pt idx="64864">
                  <c:v>23345</c:v>
                </c:pt>
                <c:pt idx="64865">
                  <c:v>66754</c:v>
                </c:pt>
                <c:pt idx="64866">
                  <c:v>29743</c:v>
                </c:pt>
                <c:pt idx="64867">
                  <c:v>58809</c:v>
                </c:pt>
                <c:pt idx="64868">
                  <c:v>64339</c:v>
                </c:pt>
                <c:pt idx="64869">
                  <c:v>87505</c:v>
                </c:pt>
                <c:pt idx="64870">
                  <c:v>64980</c:v>
                </c:pt>
                <c:pt idx="64871">
                  <c:v>164494</c:v>
                </c:pt>
                <c:pt idx="64872">
                  <c:v>22694</c:v>
                </c:pt>
                <c:pt idx="64873">
                  <c:v>400211</c:v>
                </c:pt>
                <c:pt idx="64874">
                  <c:v>37917</c:v>
                </c:pt>
                <c:pt idx="64875">
                  <c:v>84550</c:v>
                </c:pt>
                <c:pt idx="64876">
                  <c:v>87473</c:v>
                </c:pt>
                <c:pt idx="64877">
                  <c:v>42412</c:v>
                </c:pt>
                <c:pt idx="64878">
                  <c:v>61051</c:v>
                </c:pt>
                <c:pt idx="64879">
                  <c:v>68259</c:v>
                </c:pt>
                <c:pt idx="64880">
                  <c:v>23956</c:v>
                </c:pt>
                <c:pt idx="64881">
                  <c:v>28469</c:v>
                </c:pt>
                <c:pt idx="64882">
                  <c:v>38293</c:v>
                </c:pt>
                <c:pt idx="64883">
                  <c:v>30651</c:v>
                </c:pt>
                <c:pt idx="64884">
                  <c:v>33156</c:v>
                </c:pt>
                <c:pt idx="64885">
                  <c:v>26265</c:v>
                </c:pt>
                <c:pt idx="64886">
                  <c:v>29276</c:v>
                </c:pt>
                <c:pt idx="64887">
                  <c:v>38920</c:v>
                </c:pt>
                <c:pt idx="64888">
                  <c:v>49623</c:v>
                </c:pt>
                <c:pt idx="64889">
                  <c:v>71657</c:v>
                </c:pt>
                <c:pt idx="64890">
                  <c:v>96489</c:v>
                </c:pt>
                <c:pt idx="64891">
                  <c:v>45348</c:v>
                </c:pt>
                <c:pt idx="64892">
                  <c:v>105835</c:v>
                </c:pt>
                <c:pt idx="64893">
                  <c:v>37308</c:v>
                </c:pt>
                <c:pt idx="64894">
                  <c:v>137796</c:v>
                </c:pt>
                <c:pt idx="64895">
                  <c:v>34949</c:v>
                </c:pt>
                <c:pt idx="64896">
                  <c:v>42081</c:v>
                </c:pt>
                <c:pt idx="64897">
                  <c:v>104249</c:v>
                </c:pt>
                <c:pt idx="64898">
                  <c:v>28965</c:v>
                </c:pt>
                <c:pt idx="64899">
                  <c:v>27005</c:v>
                </c:pt>
                <c:pt idx="64900">
                  <c:v>39697</c:v>
                </c:pt>
                <c:pt idx="64901">
                  <c:v>82138</c:v>
                </c:pt>
                <c:pt idx="64902">
                  <c:v>25685</c:v>
                </c:pt>
                <c:pt idx="64903">
                  <c:v>148897</c:v>
                </c:pt>
                <c:pt idx="64904">
                  <c:v>35353</c:v>
                </c:pt>
                <c:pt idx="64905">
                  <c:v>74398</c:v>
                </c:pt>
                <c:pt idx="64906">
                  <c:v>33297</c:v>
                </c:pt>
                <c:pt idx="64907">
                  <c:v>42760</c:v>
                </c:pt>
                <c:pt idx="64908">
                  <c:v>52403</c:v>
                </c:pt>
                <c:pt idx="64909">
                  <c:v>26181</c:v>
                </c:pt>
                <c:pt idx="64910">
                  <c:v>25992</c:v>
                </c:pt>
                <c:pt idx="64911">
                  <c:v>74882</c:v>
                </c:pt>
                <c:pt idx="64912">
                  <c:v>50301</c:v>
                </c:pt>
                <c:pt idx="64913">
                  <c:v>135963</c:v>
                </c:pt>
                <c:pt idx="64914">
                  <c:v>128035</c:v>
                </c:pt>
                <c:pt idx="64915">
                  <c:v>35609</c:v>
                </c:pt>
                <c:pt idx="64916">
                  <c:v>48527</c:v>
                </c:pt>
                <c:pt idx="64917">
                  <c:v>21932</c:v>
                </c:pt>
                <c:pt idx="64918">
                  <c:v>40743</c:v>
                </c:pt>
                <c:pt idx="64919">
                  <c:v>49443</c:v>
                </c:pt>
                <c:pt idx="64920">
                  <c:v>28428</c:v>
                </c:pt>
                <c:pt idx="64921">
                  <c:v>76679</c:v>
                </c:pt>
                <c:pt idx="64922">
                  <c:v>24031</c:v>
                </c:pt>
                <c:pt idx="64923">
                  <c:v>93381</c:v>
                </c:pt>
                <c:pt idx="64924">
                  <c:v>43118</c:v>
                </c:pt>
                <c:pt idx="64925">
                  <c:v>55271</c:v>
                </c:pt>
                <c:pt idx="64926">
                  <c:v>163533</c:v>
                </c:pt>
                <c:pt idx="64927">
                  <c:v>36102</c:v>
                </c:pt>
                <c:pt idx="64928">
                  <c:v>72317</c:v>
                </c:pt>
                <c:pt idx="64929">
                  <c:v>43691</c:v>
                </c:pt>
                <c:pt idx="64930">
                  <c:v>30460</c:v>
                </c:pt>
                <c:pt idx="64931">
                  <c:v>58263</c:v>
                </c:pt>
                <c:pt idx="64932">
                  <c:v>25788</c:v>
                </c:pt>
                <c:pt idx="64933">
                  <c:v>27454</c:v>
                </c:pt>
                <c:pt idx="64934">
                  <c:v>74226</c:v>
                </c:pt>
                <c:pt idx="64935">
                  <c:v>15000</c:v>
                </c:pt>
                <c:pt idx="64936">
                  <c:v>40423</c:v>
                </c:pt>
                <c:pt idx="64937">
                  <c:v>59122</c:v>
                </c:pt>
                <c:pt idx="64938">
                  <c:v>84969</c:v>
                </c:pt>
                <c:pt idx="64939">
                  <c:v>43462</c:v>
                </c:pt>
                <c:pt idx="64940">
                  <c:v>41445</c:v>
                </c:pt>
                <c:pt idx="64941">
                  <c:v>51786</c:v>
                </c:pt>
                <c:pt idx="64942">
                  <c:v>50636</c:v>
                </c:pt>
                <c:pt idx="64943">
                  <c:v>194252</c:v>
                </c:pt>
                <c:pt idx="64944">
                  <c:v>108862</c:v>
                </c:pt>
                <c:pt idx="64945">
                  <c:v>26293</c:v>
                </c:pt>
                <c:pt idx="64946">
                  <c:v>45743</c:v>
                </c:pt>
                <c:pt idx="64947">
                  <c:v>34317</c:v>
                </c:pt>
                <c:pt idx="64948">
                  <c:v>32789</c:v>
                </c:pt>
                <c:pt idx="64949">
                  <c:v>128813</c:v>
                </c:pt>
                <c:pt idx="64950">
                  <c:v>28061</c:v>
                </c:pt>
                <c:pt idx="64951">
                  <c:v>29399</c:v>
                </c:pt>
                <c:pt idx="64952">
                  <c:v>43892</c:v>
                </c:pt>
                <c:pt idx="64953">
                  <c:v>32301</c:v>
                </c:pt>
                <c:pt idx="64954">
                  <c:v>35379</c:v>
                </c:pt>
                <c:pt idx="64955">
                  <c:v>70961</c:v>
                </c:pt>
                <c:pt idx="64956">
                  <c:v>44379</c:v>
                </c:pt>
                <c:pt idx="64957">
                  <c:v>39012</c:v>
                </c:pt>
                <c:pt idx="64958">
                  <c:v>69803</c:v>
                </c:pt>
                <c:pt idx="64959">
                  <c:v>25980</c:v>
                </c:pt>
                <c:pt idx="64960">
                  <c:v>101224</c:v>
                </c:pt>
                <c:pt idx="64961">
                  <c:v>57927</c:v>
                </c:pt>
                <c:pt idx="64962">
                  <c:v>37515</c:v>
                </c:pt>
                <c:pt idx="64963">
                  <c:v>36991</c:v>
                </c:pt>
                <c:pt idx="64964">
                  <c:v>21584</c:v>
                </c:pt>
                <c:pt idx="64965">
                  <c:v>33706</c:v>
                </c:pt>
                <c:pt idx="64966">
                  <c:v>35612</c:v>
                </c:pt>
                <c:pt idx="64967">
                  <c:v>27334</c:v>
                </c:pt>
                <c:pt idx="64968">
                  <c:v>33012</c:v>
                </c:pt>
                <c:pt idx="64969">
                  <c:v>70755</c:v>
                </c:pt>
                <c:pt idx="64970">
                  <c:v>88241</c:v>
                </c:pt>
                <c:pt idx="64971">
                  <c:v>45473</c:v>
                </c:pt>
                <c:pt idx="64972">
                  <c:v>119955</c:v>
                </c:pt>
                <c:pt idx="64973">
                  <c:v>22748</c:v>
                </c:pt>
                <c:pt idx="64974">
                  <c:v>36787</c:v>
                </c:pt>
                <c:pt idx="64975">
                  <c:v>36421</c:v>
                </c:pt>
                <c:pt idx="64976">
                  <c:v>39606</c:v>
                </c:pt>
                <c:pt idx="64977">
                  <c:v>67193</c:v>
                </c:pt>
                <c:pt idx="64978">
                  <c:v>81819</c:v>
                </c:pt>
                <c:pt idx="64979">
                  <c:v>69632</c:v>
                </c:pt>
                <c:pt idx="64980">
                  <c:v>24133</c:v>
                </c:pt>
                <c:pt idx="64981">
                  <c:v>32069</c:v>
                </c:pt>
                <c:pt idx="64982">
                  <c:v>54528</c:v>
                </c:pt>
                <c:pt idx="64983">
                  <c:v>30263</c:v>
                </c:pt>
                <c:pt idx="64984">
                  <c:v>23114</c:v>
                </c:pt>
                <c:pt idx="64985">
                  <c:v>43785</c:v>
                </c:pt>
                <c:pt idx="64986">
                  <c:v>263301</c:v>
                </c:pt>
                <c:pt idx="64987">
                  <c:v>51462</c:v>
                </c:pt>
                <c:pt idx="64988">
                  <c:v>34556</c:v>
                </c:pt>
                <c:pt idx="64989">
                  <c:v>43723</c:v>
                </c:pt>
                <c:pt idx="64990">
                  <c:v>53065</c:v>
                </c:pt>
                <c:pt idx="64991">
                  <c:v>54283</c:v>
                </c:pt>
                <c:pt idx="64992">
                  <c:v>44949</c:v>
                </c:pt>
                <c:pt idx="64993">
                  <c:v>33880</c:v>
                </c:pt>
                <c:pt idx="64994">
                  <c:v>29108</c:v>
                </c:pt>
                <c:pt idx="64995">
                  <c:v>24510</c:v>
                </c:pt>
                <c:pt idx="64996">
                  <c:v>75108</c:v>
                </c:pt>
                <c:pt idx="64997">
                  <c:v>23223</c:v>
                </c:pt>
                <c:pt idx="64998">
                  <c:v>190919</c:v>
                </c:pt>
                <c:pt idx="64999">
                  <c:v>105096</c:v>
                </c:pt>
                <c:pt idx="65000">
                  <c:v>25721</c:v>
                </c:pt>
                <c:pt idx="65001">
                  <c:v>46610</c:v>
                </c:pt>
                <c:pt idx="65002">
                  <c:v>55814</c:v>
                </c:pt>
                <c:pt idx="65003">
                  <c:v>48833</c:v>
                </c:pt>
                <c:pt idx="65004">
                  <c:v>38723</c:v>
                </c:pt>
                <c:pt idx="65005">
                  <c:v>29223</c:v>
                </c:pt>
                <c:pt idx="65006">
                  <c:v>126057</c:v>
                </c:pt>
                <c:pt idx="65007">
                  <c:v>30660</c:v>
                </c:pt>
                <c:pt idx="65008">
                  <c:v>101329</c:v>
                </c:pt>
                <c:pt idx="65009">
                  <c:v>25119</c:v>
                </c:pt>
                <c:pt idx="65010">
                  <c:v>39676</c:v>
                </c:pt>
                <c:pt idx="65011">
                  <c:v>87303</c:v>
                </c:pt>
                <c:pt idx="65012">
                  <c:v>60631</c:v>
                </c:pt>
                <c:pt idx="65013">
                  <c:v>48772</c:v>
                </c:pt>
                <c:pt idx="65014">
                  <c:v>98917</c:v>
                </c:pt>
                <c:pt idx="65015">
                  <c:v>60472</c:v>
                </c:pt>
                <c:pt idx="65016">
                  <c:v>44839</c:v>
                </c:pt>
                <c:pt idx="65017">
                  <c:v>29901</c:v>
                </c:pt>
                <c:pt idx="65018">
                  <c:v>39405</c:v>
                </c:pt>
                <c:pt idx="65019">
                  <c:v>41434</c:v>
                </c:pt>
                <c:pt idx="65020">
                  <c:v>45443</c:v>
                </c:pt>
                <c:pt idx="65021">
                  <c:v>25499</c:v>
                </c:pt>
                <c:pt idx="65022">
                  <c:v>46654</c:v>
                </c:pt>
                <c:pt idx="65023">
                  <c:v>46828</c:v>
                </c:pt>
                <c:pt idx="65024">
                  <c:v>58331</c:v>
                </c:pt>
                <c:pt idx="65025">
                  <c:v>53687</c:v>
                </c:pt>
                <c:pt idx="65026">
                  <c:v>183106</c:v>
                </c:pt>
                <c:pt idx="65027">
                  <c:v>84179</c:v>
                </c:pt>
                <c:pt idx="65028">
                  <c:v>25818</c:v>
                </c:pt>
                <c:pt idx="65029">
                  <c:v>47866</c:v>
                </c:pt>
                <c:pt idx="65030">
                  <c:v>26931</c:v>
                </c:pt>
                <c:pt idx="65031">
                  <c:v>46064</c:v>
                </c:pt>
                <c:pt idx="65032">
                  <c:v>33774</c:v>
                </c:pt>
                <c:pt idx="65033">
                  <c:v>37689</c:v>
                </c:pt>
                <c:pt idx="65034">
                  <c:v>65860</c:v>
                </c:pt>
                <c:pt idx="65035">
                  <c:v>26442</c:v>
                </c:pt>
                <c:pt idx="65036">
                  <c:v>30757</c:v>
                </c:pt>
                <c:pt idx="65037">
                  <c:v>107169</c:v>
                </c:pt>
                <c:pt idx="65038">
                  <c:v>26970</c:v>
                </c:pt>
                <c:pt idx="65039">
                  <c:v>28608</c:v>
                </c:pt>
                <c:pt idx="65040">
                  <c:v>66809</c:v>
                </c:pt>
                <c:pt idx="65041">
                  <c:v>48106</c:v>
                </c:pt>
                <c:pt idx="65042">
                  <c:v>31216</c:v>
                </c:pt>
                <c:pt idx="65043">
                  <c:v>24114</c:v>
                </c:pt>
                <c:pt idx="65044">
                  <c:v>47662</c:v>
                </c:pt>
                <c:pt idx="65045">
                  <c:v>47928</c:v>
                </c:pt>
                <c:pt idx="65046">
                  <c:v>26439</c:v>
                </c:pt>
                <c:pt idx="65047">
                  <c:v>65234</c:v>
                </c:pt>
                <c:pt idx="65048">
                  <c:v>214346</c:v>
                </c:pt>
                <c:pt idx="65049">
                  <c:v>99177</c:v>
                </c:pt>
                <c:pt idx="65050">
                  <c:v>43564</c:v>
                </c:pt>
                <c:pt idx="65051">
                  <c:v>36690</c:v>
                </c:pt>
                <c:pt idx="65052">
                  <c:v>91663</c:v>
                </c:pt>
                <c:pt idx="65053">
                  <c:v>59307</c:v>
                </c:pt>
                <c:pt idx="65054">
                  <c:v>38532</c:v>
                </c:pt>
                <c:pt idx="65055">
                  <c:v>217593</c:v>
                </c:pt>
                <c:pt idx="65056">
                  <c:v>138727</c:v>
                </c:pt>
                <c:pt idx="65057">
                  <c:v>120537</c:v>
                </c:pt>
                <c:pt idx="65058">
                  <c:v>30319</c:v>
                </c:pt>
                <c:pt idx="65059">
                  <c:v>22787</c:v>
                </c:pt>
                <c:pt idx="65060">
                  <c:v>31569</c:v>
                </c:pt>
                <c:pt idx="65061">
                  <c:v>27842</c:v>
                </c:pt>
                <c:pt idx="65062">
                  <c:v>47617</c:v>
                </c:pt>
                <c:pt idx="65063">
                  <c:v>44643</c:v>
                </c:pt>
                <c:pt idx="65064">
                  <c:v>36304</c:v>
                </c:pt>
                <c:pt idx="65065">
                  <c:v>104668</c:v>
                </c:pt>
                <c:pt idx="65066">
                  <c:v>55708</c:v>
                </c:pt>
                <c:pt idx="65067">
                  <c:v>51549</c:v>
                </c:pt>
                <c:pt idx="65068">
                  <c:v>39593</c:v>
                </c:pt>
                <c:pt idx="65069">
                  <c:v>69922</c:v>
                </c:pt>
                <c:pt idx="65070">
                  <c:v>65775</c:v>
                </c:pt>
                <c:pt idx="65071">
                  <c:v>32292</c:v>
                </c:pt>
                <c:pt idx="65072">
                  <c:v>36721</c:v>
                </c:pt>
                <c:pt idx="65073">
                  <c:v>57766</c:v>
                </c:pt>
                <c:pt idx="65074">
                  <c:v>32942</c:v>
                </c:pt>
                <c:pt idx="65075">
                  <c:v>41848</c:v>
                </c:pt>
                <c:pt idx="65076">
                  <c:v>42388</c:v>
                </c:pt>
                <c:pt idx="65077">
                  <c:v>63627</c:v>
                </c:pt>
                <c:pt idx="65078">
                  <c:v>29602</c:v>
                </c:pt>
                <c:pt idx="65079">
                  <c:v>47824</c:v>
                </c:pt>
                <c:pt idx="65080">
                  <c:v>59218</c:v>
                </c:pt>
                <c:pt idx="65081">
                  <c:v>37051</c:v>
                </c:pt>
                <c:pt idx="65082">
                  <c:v>42700</c:v>
                </c:pt>
                <c:pt idx="65083">
                  <c:v>23858</c:v>
                </c:pt>
                <c:pt idx="65084">
                  <c:v>22845</c:v>
                </c:pt>
                <c:pt idx="65085">
                  <c:v>29618</c:v>
                </c:pt>
                <c:pt idx="65086">
                  <c:v>49658</c:v>
                </c:pt>
                <c:pt idx="65087">
                  <c:v>44363</c:v>
                </c:pt>
                <c:pt idx="65088">
                  <c:v>34158</c:v>
                </c:pt>
                <c:pt idx="65089">
                  <c:v>292499</c:v>
                </c:pt>
                <c:pt idx="65090">
                  <c:v>25778</c:v>
                </c:pt>
                <c:pt idx="65091">
                  <c:v>90477</c:v>
                </c:pt>
                <c:pt idx="65092">
                  <c:v>115203</c:v>
                </c:pt>
                <c:pt idx="65093">
                  <c:v>129516</c:v>
                </c:pt>
                <c:pt idx="65094">
                  <c:v>78711</c:v>
                </c:pt>
                <c:pt idx="65095">
                  <c:v>47734</c:v>
                </c:pt>
                <c:pt idx="65096">
                  <c:v>30257</c:v>
                </c:pt>
                <c:pt idx="65097">
                  <c:v>58807</c:v>
                </c:pt>
                <c:pt idx="65098">
                  <c:v>50444</c:v>
                </c:pt>
                <c:pt idx="65099">
                  <c:v>27905</c:v>
                </c:pt>
                <c:pt idx="65100">
                  <c:v>77383</c:v>
                </c:pt>
                <c:pt idx="65101">
                  <c:v>26519</c:v>
                </c:pt>
                <c:pt idx="65102">
                  <c:v>106864</c:v>
                </c:pt>
                <c:pt idx="65103">
                  <c:v>32018</c:v>
                </c:pt>
                <c:pt idx="65104">
                  <c:v>48919</c:v>
                </c:pt>
                <c:pt idx="65105">
                  <c:v>52637</c:v>
                </c:pt>
                <c:pt idx="65106">
                  <c:v>18033</c:v>
                </c:pt>
                <c:pt idx="65107">
                  <c:v>164285</c:v>
                </c:pt>
                <c:pt idx="65108">
                  <c:v>41214</c:v>
                </c:pt>
                <c:pt idx="65109">
                  <c:v>191744</c:v>
                </c:pt>
                <c:pt idx="65110">
                  <c:v>42268</c:v>
                </c:pt>
                <c:pt idx="65111">
                  <c:v>30268</c:v>
                </c:pt>
                <c:pt idx="65112">
                  <c:v>37505</c:v>
                </c:pt>
                <c:pt idx="65113">
                  <c:v>27983</c:v>
                </c:pt>
                <c:pt idx="65114">
                  <c:v>24837</c:v>
                </c:pt>
                <c:pt idx="65115">
                  <c:v>24826</c:v>
                </c:pt>
                <c:pt idx="65116">
                  <c:v>53044</c:v>
                </c:pt>
                <c:pt idx="65117">
                  <c:v>44570</c:v>
                </c:pt>
                <c:pt idx="65118">
                  <c:v>75264</c:v>
                </c:pt>
                <c:pt idx="65119">
                  <c:v>46542</c:v>
                </c:pt>
                <c:pt idx="65120">
                  <c:v>80449</c:v>
                </c:pt>
                <c:pt idx="65121">
                  <c:v>21178</c:v>
                </c:pt>
                <c:pt idx="65122">
                  <c:v>108290</c:v>
                </c:pt>
                <c:pt idx="65123">
                  <c:v>39459</c:v>
                </c:pt>
                <c:pt idx="65124">
                  <c:v>28383</c:v>
                </c:pt>
                <c:pt idx="65125">
                  <c:v>72290</c:v>
                </c:pt>
                <c:pt idx="65126">
                  <c:v>28557</c:v>
                </c:pt>
                <c:pt idx="65127">
                  <c:v>38035</c:v>
                </c:pt>
                <c:pt idx="65128">
                  <c:v>32720</c:v>
                </c:pt>
                <c:pt idx="65129">
                  <c:v>23956</c:v>
                </c:pt>
                <c:pt idx="65130">
                  <c:v>30981</c:v>
                </c:pt>
                <c:pt idx="65131">
                  <c:v>46466</c:v>
                </c:pt>
                <c:pt idx="65132">
                  <c:v>25981</c:v>
                </c:pt>
                <c:pt idx="65133">
                  <c:v>42740</c:v>
                </c:pt>
                <c:pt idx="65134">
                  <c:v>46223</c:v>
                </c:pt>
                <c:pt idx="65135">
                  <c:v>43625</c:v>
                </c:pt>
                <c:pt idx="65136">
                  <c:v>23529</c:v>
                </c:pt>
                <c:pt idx="65137">
                  <c:v>39017</c:v>
                </c:pt>
                <c:pt idx="65138">
                  <c:v>23473</c:v>
                </c:pt>
                <c:pt idx="65139">
                  <c:v>31691</c:v>
                </c:pt>
                <c:pt idx="65140">
                  <c:v>68239</c:v>
                </c:pt>
                <c:pt idx="65141">
                  <c:v>99427</c:v>
                </c:pt>
                <c:pt idx="65142">
                  <c:v>26297</c:v>
                </c:pt>
                <c:pt idx="65143">
                  <c:v>40026</c:v>
                </c:pt>
                <c:pt idx="65144">
                  <c:v>144543</c:v>
                </c:pt>
                <c:pt idx="65145">
                  <c:v>130064</c:v>
                </c:pt>
                <c:pt idx="65146">
                  <c:v>68354</c:v>
                </c:pt>
                <c:pt idx="65147">
                  <c:v>60282</c:v>
                </c:pt>
                <c:pt idx="65148">
                  <c:v>38354</c:v>
                </c:pt>
                <c:pt idx="65149">
                  <c:v>41534</c:v>
                </c:pt>
                <c:pt idx="65150">
                  <c:v>35524</c:v>
                </c:pt>
                <c:pt idx="65151">
                  <c:v>45023</c:v>
                </c:pt>
                <c:pt idx="65152">
                  <c:v>83088</c:v>
                </c:pt>
                <c:pt idx="65153">
                  <c:v>22949</c:v>
                </c:pt>
                <c:pt idx="65154">
                  <c:v>48016</c:v>
                </c:pt>
                <c:pt idx="65155">
                  <c:v>30170</c:v>
                </c:pt>
                <c:pt idx="65156">
                  <c:v>40172</c:v>
                </c:pt>
                <c:pt idx="65157">
                  <c:v>47822</c:v>
                </c:pt>
                <c:pt idx="65158">
                  <c:v>35180</c:v>
                </c:pt>
                <c:pt idx="65159">
                  <c:v>79031</c:v>
                </c:pt>
                <c:pt idx="65160">
                  <c:v>70817</c:v>
                </c:pt>
                <c:pt idx="65161">
                  <c:v>22883</c:v>
                </c:pt>
                <c:pt idx="65162">
                  <c:v>47288</c:v>
                </c:pt>
                <c:pt idx="65163">
                  <c:v>58860</c:v>
                </c:pt>
                <c:pt idx="65164">
                  <c:v>33854</c:v>
                </c:pt>
                <c:pt idx="65165">
                  <c:v>44170</c:v>
                </c:pt>
                <c:pt idx="65166">
                  <c:v>28628</c:v>
                </c:pt>
                <c:pt idx="65167">
                  <c:v>15000</c:v>
                </c:pt>
                <c:pt idx="65168">
                  <c:v>46100</c:v>
                </c:pt>
                <c:pt idx="65169">
                  <c:v>56343</c:v>
                </c:pt>
                <c:pt idx="65170">
                  <c:v>107580</c:v>
                </c:pt>
                <c:pt idx="65171">
                  <c:v>38491</c:v>
                </c:pt>
                <c:pt idx="65172">
                  <c:v>31174</c:v>
                </c:pt>
                <c:pt idx="65173">
                  <c:v>61958</c:v>
                </c:pt>
                <c:pt idx="65174">
                  <c:v>44835</c:v>
                </c:pt>
                <c:pt idx="65175">
                  <c:v>183231</c:v>
                </c:pt>
                <c:pt idx="65176">
                  <c:v>30385</c:v>
                </c:pt>
                <c:pt idx="65177">
                  <c:v>35270</c:v>
                </c:pt>
                <c:pt idx="65178">
                  <c:v>40196</c:v>
                </c:pt>
                <c:pt idx="65179">
                  <c:v>85805</c:v>
                </c:pt>
                <c:pt idx="65180">
                  <c:v>23897</c:v>
                </c:pt>
                <c:pt idx="65181">
                  <c:v>26720</c:v>
                </c:pt>
                <c:pt idx="65182">
                  <c:v>205084</c:v>
                </c:pt>
                <c:pt idx="65183">
                  <c:v>17566</c:v>
                </c:pt>
                <c:pt idx="65184">
                  <c:v>49764</c:v>
                </c:pt>
                <c:pt idx="65185">
                  <c:v>36674</c:v>
                </c:pt>
                <c:pt idx="65186">
                  <c:v>40830</c:v>
                </c:pt>
                <c:pt idx="65187">
                  <c:v>53106</c:v>
                </c:pt>
                <c:pt idx="65188">
                  <c:v>45919</c:v>
                </c:pt>
                <c:pt idx="65189">
                  <c:v>95362</c:v>
                </c:pt>
                <c:pt idx="65190">
                  <c:v>51666</c:v>
                </c:pt>
                <c:pt idx="65191">
                  <c:v>73088</c:v>
                </c:pt>
                <c:pt idx="65192">
                  <c:v>80156</c:v>
                </c:pt>
                <c:pt idx="65193">
                  <c:v>42127</c:v>
                </c:pt>
                <c:pt idx="65194">
                  <c:v>28095</c:v>
                </c:pt>
                <c:pt idx="65195">
                  <c:v>40178</c:v>
                </c:pt>
                <c:pt idx="65196">
                  <c:v>44699</c:v>
                </c:pt>
                <c:pt idx="65197">
                  <c:v>77144</c:v>
                </c:pt>
                <c:pt idx="65198">
                  <c:v>34144</c:v>
                </c:pt>
                <c:pt idx="65199">
                  <c:v>57035</c:v>
                </c:pt>
                <c:pt idx="65200">
                  <c:v>90510</c:v>
                </c:pt>
                <c:pt idx="65201">
                  <c:v>35826</c:v>
                </c:pt>
                <c:pt idx="65202">
                  <c:v>29978</c:v>
                </c:pt>
                <c:pt idx="65203">
                  <c:v>46128</c:v>
                </c:pt>
                <c:pt idx="65204">
                  <c:v>58969</c:v>
                </c:pt>
                <c:pt idx="65205">
                  <c:v>50858</c:v>
                </c:pt>
                <c:pt idx="65206">
                  <c:v>43800</c:v>
                </c:pt>
                <c:pt idx="65207">
                  <c:v>26647</c:v>
                </c:pt>
                <c:pt idx="65208">
                  <c:v>28572</c:v>
                </c:pt>
                <c:pt idx="65209">
                  <c:v>48071</c:v>
                </c:pt>
                <c:pt idx="65210">
                  <c:v>39196</c:v>
                </c:pt>
                <c:pt idx="65211">
                  <c:v>137433</c:v>
                </c:pt>
                <c:pt idx="65212">
                  <c:v>31026</c:v>
                </c:pt>
                <c:pt idx="65213">
                  <c:v>50665</c:v>
                </c:pt>
                <c:pt idx="65214">
                  <c:v>133402</c:v>
                </c:pt>
                <c:pt idx="65215">
                  <c:v>42348</c:v>
                </c:pt>
                <c:pt idx="65216">
                  <c:v>36857</c:v>
                </c:pt>
                <c:pt idx="65217">
                  <c:v>29587</c:v>
                </c:pt>
                <c:pt idx="65218">
                  <c:v>162861</c:v>
                </c:pt>
                <c:pt idx="65219">
                  <c:v>91188</c:v>
                </c:pt>
                <c:pt idx="65220">
                  <c:v>36368</c:v>
                </c:pt>
                <c:pt idx="65221">
                  <c:v>25568</c:v>
                </c:pt>
                <c:pt idx="65222">
                  <c:v>188535</c:v>
                </c:pt>
                <c:pt idx="65223">
                  <c:v>49824</c:v>
                </c:pt>
                <c:pt idx="65224">
                  <c:v>102439</c:v>
                </c:pt>
                <c:pt idx="65225">
                  <c:v>30671</c:v>
                </c:pt>
                <c:pt idx="65226">
                  <c:v>32173</c:v>
                </c:pt>
                <c:pt idx="65227">
                  <c:v>23881</c:v>
                </c:pt>
                <c:pt idx="65228">
                  <c:v>39061</c:v>
                </c:pt>
                <c:pt idx="65229">
                  <c:v>24188</c:v>
                </c:pt>
                <c:pt idx="65230">
                  <c:v>30633</c:v>
                </c:pt>
                <c:pt idx="65231">
                  <c:v>55869</c:v>
                </c:pt>
                <c:pt idx="65232">
                  <c:v>31612</c:v>
                </c:pt>
                <c:pt idx="65233">
                  <c:v>68042</c:v>
                </c:pt>
                <c:pt idx="65234">
                  <c:v>38028</c:v>
                </c:pt>
                <c:pt idx="65235">
                  <c:v>81907</c:v>
                </c:pt>
                <c:pt idx="65236">
                  <c:v>27696</c:v>
                </c:pt>
                <c:pt idx="65237">
                  <c:v>64912</c:v>
                </c:pt>
                <c:pt idx="65238">
                  <c:v>92551</c:v>
                </c:pt>
                <c:pt idx="65239">
                  <c:v>35162</c:v>
                </c:pt>
                <c:pt idx="65240">
                  <c:v>32704</c:v>
                </c:pt>
                <c:pt idx="65241">
                  <c:v>28685</c:v>
                </c:pt>
                <c:pt idx="65242">
                  <c:v>28512</c:v>
                </c:pt>
                <c:pt idx="65243">
                  <c:v>24686</c:v>
                </c:pt>
                <c:pt idx="65244">
                  <c:v>96956</c:v>
                </c:pt>
                <c:pt idx="65245">
                  <c:v>20841</c:v>
                </c:pt>
                <c:pt idx="65246">
                  <c:v>47742</c:v>
                </c:pt>
                <c:pt idx="65247">
                  <c:v>54102</c:v>
                </c:pt>
                <c:pt idx="65248">
                  <c:v>36115</c:v>
                </c:pt>
                <c:pt idx="65249">
                  <c:v>82918</c:v>
                </c:pt>
                <c:pt idx="65250">
                  <c:v>25514</c:v>
                </c:pt>
                <c:pt idx="65251">
                  <c:v>22927</c:v>
                </c:pt>
                <c:pt idx="65252">
                  <c:v>40309</c:v>
                </c:pt>
                <c:pt idx="65253">
                  <c:v>116616</c:v>
                </c:pt>
                <c:pt idx="65254">
                  <c:v>39761</c:v>
                </c:pt>
                <c:pt idx="65255">
                  <c:v>95776</c:v>
                </c:pt>
                <c:pt idx="65256">
                  <c:v>38798</c:v>
                </c:pt>
                <c:pt idx="65257">
                  <c:v>172331</c:v>
                </c:pt>
                <c:pt idx="65258">
                  <c:v>37354</c:v>
                </c:pt>
                <c:pt idx="65259">
                  <c:v>113392</c:v>
                </c:pt>
                <c:pt idx="65260">
                  <c:v>47730</c:v>
                </c:pt>
                <c:pt idx="65261">
                  <c:v>23744</c:v>
                </c:pt>
                <c:pt idx="65262">
                  <c:v>101044</c:v>
                </c:pt>
                <c:pt idx="65263">
                  <c:v>48771</c:v>
                </c:pt>
                <c:pt idx="65264">
                  <c:v>61202</c:v>
                </c:pt>
                <c:pt idx="65265">
                  <c:v>26121</c:v>
                </c:pt>
                <c:pt idx="65266">
                  <c:v>132362</c:v>
                </c:pt>
                <c:pt idx="65267">
                  <c:v>41173</c:v>
                </c:pt>
                <c:pt idx="65268">
                  <c:v>36366</c:v>
                </c:pt>
                <c:pt idx="65269">
                  <c:v>161727</c:v>
                </c:pt>
                <c:pt idx="65270">
                  <c:v>57687</c:v>
                </c:pt>
                <c:pt idx="65271">
                  <c:v>71322</c:v>
                </c:pt>
                <c:pt idx="65272">
                  <c:v>38447</c:v>
                </c:pt>
                <c:pt idx="65273">
                  <c:v>37719</c:v>
                </c:pt>
                <c:pt idx="65274">
                  <c:v>93428</c:v>
                </c:pt>
                <c:pt idx="65275">
                  <c:v>26496</c:v>
                </c:pt>
                <c:pt idx="65276">
                  <c:v>58736</c:v>
                </c:pt>
                <c:pt idx="65277">
                  <c:v>38382</c:v>
                </c:pt>
                <c:pt idx="65278">
                  <c:v>55600</c:v>
                </c:pt>
                <c:pt idx="65279">
                  <c:v>39134</c:v>
                </c:pt>
                <c:pt idx="65280">
                  <c:v>35855</c:v>
                </c:pt>
                <c:pt idx="65281">
                  <c:v>97885</c:v>
                </c:pt>
                <c:pt idx="65282">
                  <c:v>119370</c:v>
                </c:pt>
                <c:pt idx="65283">
                  <c:v>60216</c:v>
                </c:pt>
                <c:pt idx="65284">
                  <c:v>59690</c:v>
                </c:pt>
                <c:pt idx="65285">
                  <c:v>44411</c:v>
                </c:pt>
                <c:pt idx="65286">
                  <c:v>28621</c:v>
                </c:pt>
                <c:pt idx="65287">
                  <c:v>51289</c:v>
                </c:pt>
                <c:pt idx="65288">
                  <c:v>82275</c:v>
                </c:pt>
                <c:pt idx="65289">
                  <c:v>48620</c:v>
                </c:pt>
                <c:pt idx="65290">
                  <c:v>81624</c:v>
                </c:pt>
                <c:pt idx="65291">
                  <c:v>47738</c:v>
                </c:pt>
                <c:pt idx="65292">
                  <c:v>78272</c:v>
                </c:pt>
                <c:pt idx="65293">
                  <c:v>40736</c:v>
                </c:pt>
                <c:pt idx="65294">
                  <c:v>25593</c:v>
                </c:pt>
                <c:pt idx="65295">
                  <c:v>34679</c:v>
                </c:pt>
                <c:pt idx="65296">
                  <c:v>24383</c:v>
                </c:pt>
                <c:pt idx="65297">
                  <c:v>50916</c:v>
                </c:pt>
                <c:pt idx="65298">
                  <c:v>33197</c:v>
                </c:pt>
                <c:pt idx="65299">
                  <c:v>32229</c:v>
                </c:pt>
                <c:pt idx="65300">
                  <c:v>28124</c:v>
                </c:pt>
                <c:pt idx="65301">
                  <c:v>30435</c:v>
                </c:pt>
                <c:pt idx="65302">
                  <c:v>49064</c:v>
                </c:pt>
                <c:pt idx="65303">
                  <c:v>65091</c:v>
                </c:pt>
                <c:pt idx="65304">
                  <c:v>48771</c:v>
                </c:pt>
                <c:pt idx="65305">
                  <c:v>31697</c:v>
                </c:pt>
                <c:pt idx="65306">
                  <c:v>39189</c:v>
                </c:pt>
                <c:pt idx="65307">
                  <c:v>47179</c:v>
                </c:pt>
                <c:pt idx="65308">
                  <c:v>35269</c:v>
                </c:pt>
                <c:pt idx="65309">
                  <c:v>36328</c:v>
                </c:pt>
                <c:pt idx="65310">
                  <c:v>45304</c:v>
                </c:pt>
                <c:pt idx="65311">
                  <c:v>48187</c:v>
                </c:pt>
                <c:pt idx="65312">
                  <c:v>60115</c:v>
                </c:pt>
                <c:pt idx="65313">
                  <c:v>41137</c:v>
                </c:pt>
                <c:pt idx="65314">
                  <c:v>54185</c:v>
                </c:pt>
                <c:pt idx="65315">
                  <c:v>100214</c:v>
                </c:pt>
                <c:pt idx="65316">
                  <c:v>33765</c:v>
                </c:pt>
                <c:pt idx="65317">
                  <c:v>56886</c:v>
                </c:pt>
                <c:pt idx="65318">
                  <c:v>44723</c:v>
                </c:pt>
                <c:pt idx="65319">
                  <c:v>38024</c:v>
                </c:pt>
                <c:pt idx="65320">
                  <c:v>44577</c:v>
                </c:pt>
                <c:pt idx="65321">
                  <c:v>53480</c:v>
                </c:pt>
                <c:pt idx="65322">
                  <c:v>26694</c:v>
                </c:pt>
                <c:pt idx="65323">
                  <c:v>28174</c:v>
                </c:pt>
                <c:pt idx="65324">
                  <c:v>149432</c:v>
                </c:pt>
                <c:pt idx="65325">
                  <c:v>165664</c:v>
                </c:pt>
                <c:pt idx="65326">
                  <c:v>88308</c:v>
                </c:pt>
                <c:pt idx="65327">
                  <c:v>66993</c:v>
                </c:pt>
                <c:pt idx="65328">
                  <c:v>38729</c:v>
                </c:pt>
                <c:pt idx="65329">
                  <c:v>35047</c:v>
                </c:pt>
                <c:pt idx="65330">
                  <c:v>24478</c:v>
                </c:pt>
                <c:pt idx="65331">
                  <c:v>121083</c:v>
                </c:pt>
                <c:pt idx="65332">
                  <c:v>20976</c:v>
                </c:pt>
                <c:pt idx="65333">
                  <c:v>43396</c:v>
                </c:pt>
                <c:pt idx="65334">
                  <c:v>186955</c:v>
                </c:pt>
                <c:pt idx="65335">
                  <c:v>33313</c:v>
                </c:pt>
                <c:pt idx="65336">
                  <c:v>116174</c:v>
                </c:pt>
                <c:pt idx="65337">
                  <c:v>28974</c:v>
                </c:pt>
                <c:pt idx="65338">
                  <c:v>40894</c:v>
                </c:pt>
                <c:pt idx="65339">
                  <c:v>271988</c:v>
                </c:pt>
                <c:pt idx="65340">
                  <c:v>47237</c:v>
                </c:pt>
                <c:pt idx="65341">
                  <c:v>25801</c:v>
                </c:pt>
                <c:pt idx="65342">
                  <c:v>31773</c:v>
                </c:pt>
                <c:pt idx="65343">
                  <c:v>29188</c:v>
                </c:pt>
                <c:pt idx="65344">
                  <c:v>36550</c:v>
                </c:pt>
                <c:pt idx="65345">
                  <c:v>31225</c:v>
                </c:pt>
                <c:pt idx="65346">
                  <c:v>42207</c:v>
                </c:pt>
                <c:pt idx="65347">
                  <c:v>47132</c:v>
                </c:pt>
                <c:pt idx="65348">
                  <c:v>32313</c:v>
                </c:pt>
                <c:pt idx="65349">
                  <c:v>36568</c:v>
                </c:pt>
                <c:pt idx="65350">
                  <c:v>38005</c:v>
                </c:pt>
                <c:pt idx="65351">
                  <c:v>24516</c:v>
                </c:pt>
                <c:pt idx="65352">
                  <c:v>168402</c:v>
                </c:pt>
                <c:pt idx="65353">
                  <c:v>25796</c:v>
                </c:pt>
                <c:pt idx="65354">
                  <c:v>67036</c:v>
                </c:pt>
                <c:pt idx="65355">
                  <c:v>61955</c:v>
                </c:pt>
                <c:pt idx="65356">
                  <c:v>111816</c:v>
                </c:pt>
                <c:pt idx="65357">
                  <c:v>186922</c:v>
                </c:pt>
                <c:pt idx="65358">
                  <c:v>51051</c:v>
                </c:pt>
                <c:pt idx="65359">
                  <c:v>53129</c:v>
                </c:pt>
                <c:pt idx="65360">
                  <c:v>237333</c:v>
                </c:pt>
                <c:pt idx="65361">
                  <c:v>77760</c:v>
                </c:pt>
                <c:pt idx="65362">
                  <c:v>44035</c:v>
                </c:pt>
                <c:pt idx="65363">
                  <c:v>91838</c:v>
                </c:pt>
                <c:pt idx="65364">
                  <c:v>52833</c:v>
                </c:pt>
                <c:pt idx="65365">
                  <c:v>55764</c:v>
                </c:pt>
                <c:pt idx="65366">
                  <c:v>45460</c:v>
                </c:pt>
                <c:pt idx="65367">
                  <c:v>27278</c:v>
                </c:pt>
                <c:pt idx="65368">
                  <c:v>72039</c:v>
                </c:pt>
                <c:pt idx="65369">
                  <c:v>34720</c:v>
                </c:pt>
                <c:pt idx="65370">
                  <c:v>31612</c:v>
                </c:pt>
                <c:pt idx="65371">
                  <c:v>142573</c:v>
                </c:pt>
                <c:pt idx="65372">
                  <c:v>55096</c:v>
                </c:pt>
                <c:pt idx="65373">
                  <c:v>110676</c:v>
                </c:pt>
                <c:pt idx="65374">
                  <c:v>74391</c:v>
                </c:pt>
                <c:pt idx="65375">
                  <c:v>209254</c:v>
                </c:pt>
                <c:pt idx="65376">
                  <c:v>40067</c:v>
                </c:pt>
                <c:pt idx="65377">
                  <c:v>120552</c:v>
                </c:pt>
                <c:pt idx="65378">
                  <c:v>28443</c:v>
                </c:pt>
                <c:pt idx="65379">
                  <c:v>40769</c:v>
                </c:pt>
                <c:pt idx="65380">
                  <c:v>32546</c:v>
                </c:pt>
                <c:pt idx="65381">
                  <c:v>39453</c:v>
                </c:pt>
                <c:pt idx="65382">
                  <c:v>39791</c:v>
                </c:pt>
                <c:pt idx="65383">
                  <c:v>52686</c:v>
                </c:pt>
                <c:pt idx="65384">
                  <c:v>65408</c:v>
                </c:pt>
                <c:pt idx="65385">
                  <c:v>204064</c:v>
                </c:pt>
                <c:pt idx="65386">
                  <c:v>33512</c:v>
                </c:pt>
                <c:pt idx="65387">
                  <c:v>87414</c:v>
                </c:pt>
                <c:pt idx="65388">
                  <c:v>57400</c:v>
                </c:pt>
                <c:pt idx="65389">
                  <c:v>121199</c:v>
                </c:pt>
                <c:pt idx="65390">
                  <c:v>23790</c:v>
                </c:pt>
                <c:pt idx="65391">
                  <c:v>39967</c:v>
                </c:pt>
                <c:pt idx="65392">
                  <c:v>40998</c:v>
                </c:pt>
                <c:pt idx="65393">
                  <c:v>29034</c:v>
                </c:pt>
                <c:pt idx="65394">
                  <c:v>84009</c:v>
                </c:pt>
                <c:pt idx="65395">
                  <c:v>42127</c:v>
                </c:pt>
                <c:pt idx="65396">
                  <c:v>35920</c:v>
                </c:pt>
                <c:pt idx="65397">
                  <c:v>71444</c:v>
                </c:pt>
                <c:pt idx="65398">
                  <c:v>48686</c:v>
                </c:pt>
                <c:pt idx="65399">
                  <c:v>64384</c:v>
                </c:pt>
                <c:pt idx="65400">
                  <c:v>44193</c:v>
                </c:pt>
                <c:pt idx="65401">
                  <c:v>38638</c:v>
                </c:pt>
                <c:pt idx="65402">
                  <c:v>30231</c:v>
                </c:pt>
                <c:pt idx="65403">
                  <c:v>113269</c:v>
                </c:pt>
                <c:pt idx="65404">
                  <c:v>57932</c:v>
                </c:pt>
                <c:pt idx="65405">
                  <c:v>27757</c:v>
                </c:pt>
                <c:pt idx="65406">
                  <c:v>98309</c:v>
                </c:pt>
                <c:pt idx="65407">
                  <c:v>22498</c:v>
                </c:pt>
                <c:pt idx="65408">
                  <c:v>41572</c:v>
                </c:pt>
                <c:pt idx="65409">
                  <c:v>66825</c:v>
                </c:pt>
                <c:pt idx="65410">
                  <c:v>15000</c:v>
                </c:pt>
                <c:pt idx="65411">
                  <c:v>25350</c:v>
                </c:pt>
                <c:pt idx="65412">
                  <c:v>78245</c:v>
                </c:pt>
                <c:pt idx="65413">
                  <c:v>107574</c:v>
                </c:pt>
                <c:pt idx="65414">
                  <c:v>35361</c:v>
                </c:pt>
                <c:pt idx="65415">
                  <c:v>35306</c:v>
                </c:pt>
                <c:pt idx="65416">
                  <c:v>42318</c:v>
                </c:pt>
                <c:pt idx="65417">
                  <c:v>101409</c:v>
                </c:pt>
                <c:pt idx="65418">
                  <c:v>49694</c:v>
                </c:pt>
                <c:pt idx="65419">
                  <c:v>51890</c:v>
                </c:pt>
                <c:pt idx="65420">
                  <c:v>45968</c:v>
                </c:pt>
                <c:pt idx="65421">
                  <c:v>25943</c:v>
                </c:pt>
                <c:pt idx="65422">
                  <c:v>90024</c:v>
                </c:pt>
                <c:pt idx="65423">
                  <c:v>118816</c:v>
                </c:pt>
                <c:pt idx="65424">
                  <c:v>50247</c:v>
                </c:pt>
                <c:pt idx="65425">
                  <c:v>26581</c:v>
                </c:pt>
                <c:pt idx="65426">
                  <c:v>39254</c:v>
                </c:pt>
                <c:pt idx="65427">
                  <c:v>59809</c:v>
                </c:pt>
                <c:pt idx="65428">
                  <c:v>36599</c:v>
                </c:pt>
                <c:pt idx="65429">
                  <c:v>25858</c:v>
                </c:pt>
                <c:pt idx="65430">
                  <c:v>25175</c:v>
                </c:pt>
                <c:pt idx="65431">
                  <c:v>23694</c:v>
                </c:pt>
                <c:pt idx="65432">
                  <c:v>41918</c:v>
                </c:pt>
                <c:pt idx="65433">
                  <c:v>38649</c:v>
                </c:pt>
                <c:pt idx="65434">
                  <c:v>46238</c:v>
                </c:pt>
                <c:pt idx="65435">
                  <c:v>87543</c:v>
                </c:pt>
                <c:pt idx="65436">
                  <c:v>31216</c:v>
                </c:pt>
                <c:pt idx="65437">
                  <c:v>44572</c:v>
                </c:pt>
                <c:pt idx="65438">
                  <c:v>24988</c:v>
                </c:pt>
                <c:pt idx="65439">
                  <c:v>91286</c:v>
                </c:pt>
                <c:pt idx="65440">
                  <c:v>160954</c:v>
                </c:pt>
                <c:pt idx="65441">
                  <c:v>36916</c:v>
                </c:pt>
                <c:pt idx="65442">
                  <c:v>70281</c:v>
                </c:pt>
                <c:pt idx="65443">
                  <c:v>81198</c:v>
                </c:pt>
                <c:pt idx="65444">
                  <c:v>39331</c:v>
                </c:pt>
                <c:pt idx="65445">
                  <c:v>137836</c:v>
                </c:pt>
                <c:pt idx="65446">
                  <c:v>35477</c:v>
                </c:pt>
                <c:pt idx="65447">
                  <c:v>80810</c:v>
                </c:pt>
                <c:pt idx="65448">
                  <c:v>36017</c:v>
                </c:pt>
                <c:pt idx="65449">
                  <c:v>91540</c:v>
                </c:pt>
                <c:pt idx="65450">
                  <c:v>47783</c:v>
                </c:pt>
                <c:pt idx="65451">
                  <c:v>62708</c:v>
                </c:pt>
                <c:pt idx="65452">
                  <c:v>39683</c:v>
                </c:pt>
                <c:pt idx="65453">
                  <c:v>62353</c:v>
                </c:pt>
                <c:pt idx="65454">
                  <c:v>25471</c:v>
                </c:pt>
                <c:pt idx="65455">
                  <c:v>41239</c:v>
                </c:pt>
                <c:pt idx="65456">
                  <c:v>41508</c:v>
                </c:pt>
                <c:pt idx="65457">
                  <c:v>28492</c:v>
                </c:pt>
                <c:pt idx="65458">
                  <c:v>45575</c:v>
                </c:pt>
                <c:pt idx="65459">
                  <c:v>42797</c:v>
                </c:pt>
                <c:pt idx="65460">
                  <c:v>27029</c:v>
                </c:pt>
                <c:pt idx="65461">
                  <c:v>42650</c:v>
                </c:pt>
                <c:pt idx="65462">
                  <c:v>25297</c:v>
                </c:pt>
                <c:pt idx="65463">
                  <c:v>29147</c:v>
                </c:pt>
                <c:pt idx="65464">
                  <c:v>37961</c:v>
                </c:pt>
                <c:pt idx="65465">
                  <c:v>32261</c:v>
                </c:pt>
                <c:pt idx="65466">
                  <c:v>36056</c:v>
                </c:pt>
                <c:pt idx="65467">
                  <c:v>23120</c:v>
                </c:pt>
                <c:pt idx="65468">
                  <c:v>43095</c:v>
                </c:pt>
                <c:pt idx="65469">
                  <c:v>146771</c:v>
                </c:pt>
                <c:pt idx="65470">
                  <c:v>28204</c:v>
                </c:pt>
                <c:pt idx="65471">
                  <c:v>57806</c:v>
                </c:pt>
                <c:pt idx="65472">
                  <c:v>23340</c:v>
                </c:pt>
                <c:pt idx="65473">
                  <c:v>175270</c:v>
                </c:pt>
                <c:pt idx="65474">
                  <c:v>47451</c:v>
                </c:pt>
                <c:pt idx="65475">
                  <c:v>205845</c:v>
                </c:pt>
                <c:pt idx="65476">
                  <c:v>43714</c:v>
                </c:pt>
                <c:pt idx="65477">
                  <c:v>68065</c:v>
                </c:pt>
                <c:pt idx="65478">
                  <c:v>32248</c:v>
                </c:pt>
                <c:pt idx="65479">
                  <c:v>46827</c:v>
                </c:pt>
                <c:pt idx="65480">
                  <c:v>32560</c:v>
                </c:pt>
                <c:pt idx="65481">
                  <c:v>32015</c:v>
                </c:pt>
                <c:pt idx="65482">
                  <c:v>164245</c:v>
                </c:pt>
                <c:pt idx="65483">
                  <c:v>32391</c:v>
                </c:pt>
                <c:pt idx="65484">
                  <c:v>46616</c:v>
                </c:pt>
                <c:pt idx="65485">
                  <c:v>61424</c:v>
                </c:pt>
                <c:pt idx="65486">
                  <c:v>36413</c:v>
                </c:pt>
                <c:pt idx="65487">
                  <c:v>90367</c:v>
                </c:pt>
                <c:pt idx="65488">
                  <c:v>38596</c:v>
                </c:pt>
                <c:pt idx="65489">
                  <c:v>39587</c:v>
                </c:pt>
                <c:pt idx="65490">
                  <c:v>37335</c:v>
                </c:pt>
                <c:pt idx="65491">
                  <c:v>28027</c:v>
                </c:pt>
                <c:pt idx="65492">
                  <c:v>67734</c:v>
                </c:pt>
                <c:pt idx="65493">
                  <c:v>33260</c:v>
                </c:pt>
                <c:pt idx="65494">
                  <c:v>20932</c:v>
                </c:pt>
                <c:pt idx="65495">
                  <c:v>23434</c:v>
                </c:pt>
                <c:pt idx="65496">
                  <c:v>23183</c:v>
                </c:pt>
                <c:pt idx="65497">
                  <c:v>46470</c:v>
                </c:pt>
                <c:pt idx="65498">
                  <c:v>42025</c:v>
                </c:pt>
                <c:pt idx="65499">
                  <c:v>33112</c:v>
                </c:pt>
                <c:pt idx="65500">
                  <c:v>25009</c:v>
                </c:pt>
                <c:pt idx="65501">
                  <c:v>26311</c:v>
                </c:pt>
                <c:pt idx="65502">
                  <c:v>51980</c:v>
                </c:pt>
                <c:pt idx="65503">
                  <c:v>79488</c:v>
                </c:pt>
                <c:pt idx="65504">
                  <c:v>30634</c:v>
                </c:pt>
                <c:pt idx="65505">
                  <c:v>148952</c:v>
                </c:pt>
                <c:pt idx="65506">
                  <c:v>25453</c:v>
                </c:pt>
                <c:pt idx="65507">
                  <c:v>44084</c:v>
                </c:pt>
                <c:pt idx="65508">
                  <c:v>34826</c:v>
                </c:pt>
                <c:pt idx="65509">
                  <c:v>45217</c:v>
                </c:pt>
                <c:pt idx="65510">
                  <c:v>79209</c:v>
                </c:pt>
                <c:pt idx="65511">
                  <c:v>27796</c:v>
                </c:pt>
                <c:pt idx="65512">
                  <c:v>71155</c:v>
                </c:pt>
                <c:pt idx="65513">
                  <c:v>109487</c:v>
                </c:pt>
                <c:pt idx="65514">
                  <c:v>54707</c:v>
                </c:pt>
                <c:pt idx="65515">
                  <c:v>48390</c:v>
                </c:pt>
                <c:pt idx="65516">
                  <c:v>39812</c:v>
                </c:pt>
                <c:pt idx="65517">
                  <c:v>44830</c:v>
                </c:pt>
                <c:pt idx="65518">
                  <c:v>21606</c:v>
                </c:pt>
                <c:pt idx="65519">
                  <c:v>66392</c:v>
                </c:pt>
                <c:pt idx="65520">
                  <c:v>42323</c:v>
                </c:pt>
                <c:pt idx="65521">
                  <c:v>61368</c:v>
                </c:pt>
                <c:pt idx="65522">
                  <c:v>39815</c:v>
                </c:pt>
                <c:pt idx="65523">
                  <c:v>40179</c:v>
                </c:pt>
                <c:pt idx="65524">
                  <c:v>30992</c:v>
                </c:pt>
                <c:pt idx="65525">
                  <c:v>54695</c:v>
                </c:pt>
                <c:pt idx="65526">
                  <c:v>60368</c:v>
                </c:pt>
                <c:pt idx="65527">
                  <c:v>84898</c:v>
                </c:pt>
                <c:pt idx="65528">
                  <c:v>85596</c:v>
                </c:pt>
                <c:pt idx="65529">
                  <c:v>394297</c:v>
                </c:pt>
                <c:pt idx="65530">
                  <c:v>42917</c:v>
                </c:pt>
                <c:pt idx="65531">
                  <c:v>250083</c:v>
                </c:pt>
                <c:pt idx="65532">
                  <c:v>45112</c:v>
                </c:pt>
                <c:pt idx="65533">
                  <c:v>30312</c:v>
                </c:pt>
                <c:pt idx="65534">
                  <c:v>77206</c:v>
                </c:pt>
                <c:pt idx="65535">
                  <c:v>41456</c:v>
                </c:pt>
                <c:pt idx="65536">
                  <c:v>71636</c:v>
                </c:pt>
                <c:pt idx="65537">
                  <c:v>35154</c:v>
                </c:pt>
                <c:pt idx="65538">
                  <c:v>39777</c:v>
                </c:pt>
                <c:pt idx="65539">
                  <c:v>40612</c:v>
                </c:pt>
                <c:pt idx="65540">
                  <c:v>48590</c:v>
                </c:pt>
                <c:pt idx="65541">
                  <c:v>45735</c:v>
                </c:pt>
                <c:pt idx="65542">
                  <c:v>60827</c:v>
                </c:pt>
                <c:pt idx="65543">
                  <c:v>48715</c:v>
                </c:pt>
                <c:pt idx="65544">
                  <c:v>22531</c:v>
                </c:pt>
                <c:pt idx="65545">
                  <c:v>130381</c:v>
                </c:pt>
                <c:pt idx="65546">
                  <c:v>23668</c:v>
                </c:pt>
                <c:pt idx="65547">
                  <c:v>25654</c:v>
                </c:pt>
                <c:pt idx="65548">
                  <c:v>46732</c:v>
                </c:pt>
                <c:pt idx="65549">
                  <c:v>73619</c:v>
                </c:pt>
                <c:pt idx="65550">
                  <c:v>69856</c:v>
                </c:pt>
                <c:pt idx="65551">
                  <c:v>71396</c:v>
                </c:pt>
                <c:pt idx="65552">
                  <c:v>41404</c:v>
                </c:pt>
                <c:pt idx="65553">
                  <c:v>24974</c:v>
                </c:pt>
                <c:pt idx="65554">
                  <c:v>39834</c:v>
                </c:pt>
                <c:pt idx="65555">
                  <c:v>29141</c:v>
                </c:pt>
                <c:pt idx="65556">
                  <c:v>89362</c:v>
                </c:pt>
                <c:pt idx="65557">
                  <c:v>80103</c:v>
                </c:pt>
                <c:pt idx="65558">
                  <c:v>121836</c:v>
                </c:pt>
                <c:pt idx="65559">
                  <c:v>68638</c:v>
                </c:pt>
                <c:pt idx="65560">
                  <c:v>90252</c:v>
                </c:pt>
                <c:pt idx="65561">
                  <c:v>27808</c:v>
                </c:pt>
                <c:pt idx="65562">
                  <c:v>32837</c:v>
                </c:pt>
                <c:pt idx="65563">
                  <c:v>29575</c:v>
                </c:pt>
                <c:pt idx="65564">
                  <c:v>60083</c:v>
                </c:pt>
                <c:pt idx="65565">
                  <c:v>251563</c:v>
                </c:pt>
                <c:pt idx="65566">
                  <c:v>24654</c:v>
                </c:pt>
                <c:pt idx="65567">
                  <c:v>26819</c:v>
                </c:pt>
                <c:pt idx="65568">
                  <c:v>25676</c:v>
                </c:pt>
                <c:pt idx="65569">
                  <c:v>39555</c:v>
                </c:pt>
                <c:pt idx="65570">
                  <c:v>86510</c:v>
                </c:pt>
                <c:pt idx="65571">
                  <c:v>113750</c:v>
                </c:pt>
                <c:pt idx="65572">
                  <c:v>50848</c:v>
                </c:pt>
                <c:pt idx="65573">
                  <c:v>45627</c:v>
                </c:pt>
                <c:pt idx="65574">
                  <c:v>36465</c:v>
                </c:pt>
                <c:pt idx="65575">
                  <c:v>115538</c:v>
                </c:pt>
                <c:pt idx="65576">
                  <c:v>23542</c:v>
                </c:pt>
                <c:pt idx="65577">
                  <c:v>28636</c:v>
                </c:pt>
                <c:pt idx="65578">
                  <c:v>39576</c:v>
                </c:pt>
                <c:pt idx="65579">
                  <c:v>31120</c:v>
                </c:pt>
                <c:pt idx="65580">
                  <c:v>39115</c:v>
                </c:pt>
                <c:pt idx="65581">
                  <c:v>39945</c:v>
                </c:pt>
                <c:pt idx="65582">
                  <c:v>54216</c:v>
                </c:pt>
                <c:pt idx="65583">
                  <c:v>88220</c:v>
                </c:pt>
                <c:pt idx="65584">
                  <c:v>68501</c:v>
                </c:pt>
                <c:pt idx="65585">
                  <c:v>44021</c:v>
                </c:pt>
                <c:pt idx="65586">
                  <c:v>33418</c:v>
                </c:pt>
                <c:pt idx="65587">
                  <c:v>39423</c:v>
                </c:pt>
                <c:pt idx="65588">
                  <c:v>40942</c:v>
                </c:pt>
                <c:pt idx="65589">
                  <c:v>35430</c:v>
                </c:pt>
                <c:pt idx="65590">
                  <c:v>24178</c:v>
                </c:pt>
                <c:pt idx="65591">
                  <c:v>25771</c:v>
                </c:pt>
                <c:pt idx="65592">
                  <c:v>36792</c:v>
                </c:pt>
                <c:pt idx="65593">
                  <c:v>15000</c:v>
                </c:pt>
                <c:pt idx="65594">
                  <c:v>54300</c:v>
                </c:pt>
                <c:pt idx="65595">
                  <c:v>50168</c:v>
                </c:pt>
                <c:pt idx="65596">
                  <c:v>46547</c:v>
                </c:pt>
                <c:pt idx="65597">
                  <c:v>29528</c:v>
                </c:pt>
                <c:pt idx="65598">
                  <c:v>49472</c:v>
                </c:pt>
                <c:pt idx="65599">
                  <c:v>24848</c:v>
                </c:pt>
                <c:pt idx="65600">
                  <c:v>24779</c:v>
                </c:pt>
                <c:pt idx="65601">
                  <c:v>45051</c:v>
                </c:pt>
                <c:pt idx="65602">
                  <c:v>202768</c:v>
                </c:pt>
                <c:pt idx="65603">
                  <c:v>46672</c:v>
                </c:pt>
                <c:pt idx="65604">
                  <c:v>106959</c:v>
                </c:pt>
                <c:pt idx="65605">
                  <c:v>39432</c:v>
                </c:pt>
                <c:pt idx="65606">
                  <c:v>61101</c:v>
                </c:pt>
                <c:pt idx="65607">
                  <c:v>101545</c:v>
                </c:pt>
                <c:pt idx="65608">
                  <c:v>25231</c:v>
                </c:pt>
                <c:pt idx="65609">
                  <c:v>109713</c:v>
                </c:pt>
                <c:pt idx="65610">
                  <c:v>33278</c:v>
                </c:pt>
                <c:pt idx="65611">
                  <c:v>75332</c:v>
                </c:pt>
                <c:pt idx="65612">
                  <c:v>38821</c:v>
                </c:pt>
                <c:pt idx="65613">
                  <c:v>53088</c:v>
                </c:pt>
                <c:pt idx="65614">
                  <c:v>85873</c:v>
                </c:pt>
                <c:pt idx="65615">
                  <c:v>22514</c:v>
                </c:pt>
                <c:pt idx="65616">
                  <c:v>55837</c:v>
                </c:pt>
                <c:pt idx="65617">
                  <c:v>29835</c:v>
                </c:pt>
                <c:pt idx="65618">
                  <c:v>108408</c:v>
                </c:pt>
                <c:pt idx="65619">
                  <c:v>38047</c:v>
                </c:pt>
                <c:pt idx="65620">
                  <c:v>44283</c:v>
                </c:pt>
                <c:pt idx="65621">
                  <c:v>35860</c:v>
                </c:pt>
                <c:pt idx="65622">
                  <c:v>34255</c:v>
                </c:pt>
                <c:pt idx="65623">
                  <c:v>45101</c:v>
                </c:pt>
                <c:pt idx="65624">
                  <c:v>26376</c:v>
                </c:pt>
                <c:pt idx="65625">
                  <c:v>30430</c:v>
                </c:pt>
                <c:pt idx="65626">
                  <c:v>44433</c:v>
                </c:pt>
                <c:pt idx="65627">
                  <c:v>25896</c:v>
                </c:pt>
                <c:pt idx="65628">
                  <c:v>24015</c:v>
                </c:pt>
                <c:pt idx="65629">
                  <c:v>109296</c:v>
                </c:pt>
                <c:pt idx="65630">
                  <c:v>44474</c:v>
                </c:pt>
                <c:pt idx="65631">
                  <c:v>45521</c:v>
                </c:pt>
                <c:pt idx="65632">
                  <c:v>66248</c:v>
                </c:pt>
                <c:pt idx="65633">
                  <c:v>42563</c:v>
                </c:pt>
                <c:pt idx="65634">
                  <c:v>106155</c:v>
                </c:pt>
                <c:pt idx="65635">
                  <c:v>25926</c:v>
                </c:pt>
                <c:pt idx="65636">
                  <c:v>38977</c:v>
                </c:pt>
                <c:pt idx="65637">
                  <c:v>50917</c:v>
                </c:pt>
                <c:pt idx="65638">
                  <c:v>44446</c:v>
                </c:pt>
                <c:pt idx="65639">
                  <c:v>26878</c:v>
                </c:pt>
                <c:pt idx="65640">
                  <c:v>53603</c:v>
                </c:pt>
                <c:pt idx="65641">
                  <c:v>67035</c:v>
                </c:pt>
                <c:pt idx="65642">
                  <c:v>125760</c:v>
                </c:pt>
                <c:pt idx="65643">
                  <c:v>39557</c:v>
                </c:pt>
                <c:pt idx="65644">
                  <c:v>45314</c:v>
                </c:pt>
                <c:pt idx="65645">
                  <c:v>184194</c:v>
                </c:pt>
                <c:pt idx="65646">
                  <c:v>34523</c:v>
                </c:pt>
                <c:pt idx="65647">
                  <c:v>40315</c:v>
                </c:pt>
                <c:pt idx="65648">
                  <c:v>60651</c:v>
                </c:pt>
                <c:pt idx="65649">
                  <c:v>38933</c:v>
                </c:pt>
                <c:pt idx="65650">
                  <c:v>31915</c:v>
                </c:pt>
                <c:pt idx="65651">
                  <c:v>78635</c:v>
                </c:pt>
                <c:pt idx="65652">
                  <c:v>23656</c:v>
                </c:pt>
                <c:pt idx="65653">
                  <c:v>47979</c:v>
                </c:pt>
                <c:pt idx="65654">
                  <c:v>58507</c:v>
                </c:pt>
                <c:pt idx="65655">
                  <c:v>40150</c:v>
                </c:pt>
                <c:pt idx="65656">
                  <c:v>59057</c:v>
                </c:pt>
                <c:pt idx="65657">
                  <c:v>54523</c:v>
                </c:pt>
                <c:pt idx="65658">
                  <c:v>29328</c:v>
                </c:pt>
                <c:pt idx="65659">
                  <c:v>47547</c:v>
                </c:pt>
                <c:pt idx="65660">
                  <c:v>39116</c:v>
                </c:pt>
                <c:pt idx="65661">
                  <c:v>31458</c:v>
                </c:pt>
                <c:pt idx="65662">
                  <c:v>78976</c:v>
                </c:pt>
                <c:pt idx="65663">
                  <c:v>34668</c:v>
                </c:pt>
                <c:pt idx="65664">
                  <c:v>44536</c:v>
                </c:pt>
                <c:pt idx="65665">
                  <c:v>161838</c:v>
                </c:pt>
                <c:pt idx="65666">
                  <c:v>32846</c:v>
                </c:pt>
                <c:pt idx="65667">
                  <c:v>26386</c:v>
                </c:pt>
                <c:pt idx="65668">
                  <c:v>90398</c:v>
                </c:pt>
                <c:pt idx="65669">
                  <c:v>55518</c:v>
                </c:pt>
                <c:pt idx="65670">
                  <c:v>33803</c:v>
                </c:pt>
                <c:pt idx="65671">
                  <c:v>66180</c:v>
                </c:pt>
                <c:pt idx="65672">
                  <c:v>33186</c:v>
                </c:pt>
                <c:pt idx="65673">
                  <c:v>25702</c:v>
                </c:pt>
                <c:pt idx="65674">
                  <c:v>22066</c:v>
                </c:pt>
                <c:pt idx="65675">
                  <c:v>40505</c:v>
                </c:pt>
                <c:pt idx="65676">
                  <c:v>52817</c:v>
                </c:pt>
                <c:pt idx="65677">
                  <c:v>133421</c:v>
                </c:pt>
                <c:pt idx="65678">
                  <c:v>116351</c:v>
                </c:pt>
                <c:pt idx="65679">
                  <c:v>66596</c:v>
                </c:pt>
                <c:pt idx="65680">
                  <c:v>26619</c:v>
                </c:pt>
                <c:pt idx="65681">
                  <c:v>60546</c:v>
                </c:pt>
                <c:pt idx="65682">
                  <c:v>19687</c:v>
                </c:pt>
                <c:pt idx="65683">
                  <c:v>41347</c:v>
                </c:pt>
                <c:pt idx="65684">
                  <c:v>31993</c:v>
                </c:pt>
                <c:pt idx="65685">
                  <c:v>28478</c:v>
                </c:pt>
                <c:pt idx="65686">
                  <c:v>156605</c:v>
                </c:pt>
                <c:pt idx="65687">
                  <c:v>39560</c:v>
                </c:pt>
                <c:pt idx="65688">
                  <c:v>26937</c:v>
                </c:pt>
                <c:pt idx="65689">
                  <c:v>53696</c:v>
                </c:pt>
                <c:pt idx="65690">
                  <c:v>44201</c:v>
                </c:pt>
                <c:pt idx="65691">
                  <c:v>65085</c:v>
                </c:pt>
                <c:pt idx="65692">
                  <c:v>119783</c:v>
                </c:pt>
                <c:pt idx="65693">
                  <c:v>71972</c:v>
                </c:pt>
                <c:pt idx="65694">
                  <c:v>76024</c:v>
                </c:pt>
                <c:pt idx="65695">
                  <c:v>57829</c:v>
                </c:pt>
                <c:pt idx="65696">
                  <c:v>53849</c:v>
                </c:pt>
                <c:pt idx="65697">
                  <c:v>160132</c:v>
                </c:pt>
                <c:pt idx="65698">
                  <c:v>146052</c:v>
                </c:pt>
                <c:pt idx="65699">
                  <c:v>22654</c:v>
                </c:pt>
                <c:pt idx="65700">
                  <c:v>73643</c:v>
                </c:pt>
                <c:pt idx="65701">
                  <c:v>27752</c:v>
                </c:pt>
                <c:pt idx="65702">
                  <c:v>78299</c:v>
                </c:pt>
                <c:pt idx="65703">
                  <c:v>33606</c:v>
                </c:pt>
                <c:pt idx="65704">
                  <c:v>34125</c:v>
                </c:pt>
                <c:pt idx="65705">
                  <c:v>20635</c:v>
                </c:pt>
                <c:pt idx="65706">
                  <c:v>109086</c:v>
                </c:pt>
                <c:pt idx="65707">
                  <c:v>30838</c:v>
                </c:pt>
                <c:pt idx="65708">
                  <c:v>51514</c:v>
                </c:pt>
                <c:pt idx="65709">
                  <c:v>28981</c:v>
                </c:pt>
                <c:pt idx="65710">
                  <c:v>27576</c:v>
                </c:pt>
                <c:pt idx="65711">
                  <c:v>41573</c:v>
                </c:pt>
                <c:pt idx="65712">
                  <c:v>119213</c:v>
                </c:pt>
                <c:pt idx="65713">
                  <c:v>102656</c:v>
                </c:pt>
                <c:pt idx="65714">
                  <c:v>41900</c:v>
                </c:pt>
                <c:pt idx="65715">
                  <c:v>75719</c:v>
                </c:pt>
                <c:pt idx="65716">
                  <c:v>44868</c:v>
                </c:pt>
                <c:pt idx="65717">
                  <c:v>60086</c:v>
                </c:pt>
                <c:pt idx="65718">
                  <c:v>48075</c:v>
                </c:pt>
                <c:pt idx="65719">
                  <c:v>25776</c:v>
                </c:pt>
                <c:pt idx="65720">
                  <c:v>109892</c:v>
                </c:pt>
                <c:pt idx="65721">
                  <c:v>42828</c:v>
                </c:pt>
                <c:pt idx="65722">
                  <c:v>41662</c:v>
                </c:pt>
                <c:pt idx="65723">
                  <c:v>66611</c:v>
                </c:pt>
                <c:pt idx="65724">
                  <c:v>36880</c:v>
                </c:pt>
                <c:pt idx="65725">
                  <c:v>116291</c:v>
                </c:pt>
                <c:pt idx="65726">
                  <c:v>149570</c:v>
                </c:pt>
                <c:pt idx="65727">
                  <c:v>23041</c:v>
                </c:pt>
                <c:pt idx="65728">
                  <c:v>43117</c:v>
                </c:pt>
                <c:pt idx="65729">
                  <c:v>21908</c:v>
                </c:pt>
                <c:pt idx="65730">
                  <c:v>38496</c:v>
                </c:pt>
                <c:pt idx="65731">
                  <c:v>87738</c:v>
                </c:pt>
                <c:pt idx="65732">
                  <c:v>40752</c:v>
                </c:pt>
                <c:pt idx="65733">
                  <c:v>51014</c:v>
                </c:pt>
                <c:pt idx="65734">
                  <c:v>31851</c:v>
                </c:pt>
                <c:pt idx="65735">
                  <c:v>27053</c:v>
                </c:pt>
                <c:pt idx="65736">
                  <c:v>30477</c:v>
                </c:pt>
                <c:pt idx="65737">
                  <c:v>18627</c:v>
                </c:pt>
                <c:pt idx="65738">
                  <c:v>40264</c:v>
                </c:pt>
                <c:pt idx="65739">
                  <c:v>36374</c:v>
                </c:pt>
                <c:pt idx="65740">
                  <c:v>36277</c:v>
                </c:pt>
                <c:pt idx="65741">
                  <c:v>37171</c:v>
                </c:pt>
                <c:pt idx="65742">
                  <c:v>29097</c:v>
                </c:pt>
                <c:pt idx="65743">
                  <c:v>35027</c:v>
                </c:pt>
                <c:pt idx="65744">
                  <c:v>41579</c:v>
                </c:pt>
                <c:pt idx="65745">
                  <c:v>25597</c:v>
                </c:pt>
                <c:pt idx="65746">
                  <c:v>47196</c:v>
                </c:pt>
                <c:pt idx="65747">
                  <c:v>46153</c:v>
                </c:pt>
                <c:pt idx="65748">
                  <c:v>104300</c:v>
                </c:pt>
                <c:pt idx="65749">
                  <c:v>55810</c:v>
                </c:pt>
                <c:pt idx="65750">
                  <c:v>28543</c:v>
                </c:pt>
                <c:pt idx="65751">
                  <c:v>74914</c:v>
                </c:pt>
                <c:pt idx="65752">
                  <c:v>133589</c:v>
                </c:pt>
                <c:pt idx="65753">
                  <c:v>43977</c:v>
                </c:pt>
                <c:pt idx="65754">
                  <c:v>75489</c:v>
                </c:pt>
                <c:pt idx="65755">
                  <c:v>170386</c:v>
                </c:pt>
                <c:pt idx="65756">
                  <c:v>37719</c:v>
                </c:pt>
                <c:pt idx="65757">
                  <c:v>40786</c:v>
                </c:pt>
                <c:pt idx="65758">
                  <c:v>69871</c:v>
                </c:pt>
                <c:pt idx="65759">
                  <c:v>117449</c:v>
                </c:pt>
                <c:pt idx="65760">
                  <c:v>25691</c:v>
                </c:pt>
                <c:pt idx="65761">
                  <c:v>127165</c:v>
                </c:pt>
                <c:pt idx="65762">
                  <c:v>35663</c:v>
                </c:pt>
                <c:pt idx="65763">
                  <c:v>43276</c:v>
                </c:pt>
                <c:pt idx="65764">
                  <c:v>50154</c:v>
                </c:pt>
                <c:pt idx="65765">
                  <c:v>36193</c:v>
                </c:pt>
                <c:pt idx="65766">
                  <c:v>34093</c:v>
                </c:pt>
                <c:pt idx="65767">
                  <c:v>61882</c:v>
                </c:pt>
                <c:pt idx="65768">
                  <c:v>38073</c:v>
                </c:pt>
                <c:pt idx="65769">
                  <c:v>80991</c:v>
                </c:pt>
                <c:pt idx="65770">
                  <c:v>32031</c:v>
                </c:pt>
                <c:pt idx="65771">
                  <c:v>71296</c:v>
                </c:pt>
                <c:pt idx="65772">
                  <c:v>24904</c:v>
                </c:pt>
                <c:pt idx="65773">
                  <c:v>38878</c:v>
                </c:pt>
                <c:pt idx="65774">
                  <c:v>26776</c:v>
                </c:pt>
                <c:pt idx="65775">
                  <c:v>55581</c:v>
                </c:pt>
                <c:pt idx="65776">
                  <c:v>26223</c:v>
                </c:pt>
                <c:pt idx="65777">
                  <c:v>38759</c:v>
                </c:pt>
                <c:pt idx="65778">
                  <c:v>21178</c:v>
                </c:pt>
                <c:pt idx="65779">
                  <c:v>33752</c:v>
                </c:pt>
                <c:pt idx="65780">
                  <c:v>21355</c:v>
                </c:pt>
                <c:pt idx="65781">
                  <c:v>47730</c:v>
                </c:pt>
                <c:pt idx="65782">
                  <c:v>27141</c:v>
                </c:pt>
                <c:pt idx="65783">
                  <c:v>27770</c:v>
                </c:pt>
                <c:pt idx="65784">
                  <c:v>59926</c:v>
                </c:pt>
                <c:pt idx="65785">
                  <c:v>56327</c:v>
                </c:pt>
                <c:pt idx="65786">
                  <c:v>24973</c:v>
                </c:pt>
                <c:pt idx="65787">
                  <c:v>61417</c:v>
                </c:pt>
                <c:pt idx="65788">
                  <c:v>46049</c:v>
                </c:pt>
                <c:pt idx="65789">
                  <c:v>30987</c:v>
                </c:pt>
                <c:pt idx="65790">
                  <c:v>32823</c:v>
                </c:pt>
                <c:pt idx="65791">
                  <c:v>97625</c:v>
                </c:pt>
                <c:pt idx="65792">
                  <c:v>23806</c:v>
                </c:pt>
                <c:pt idx="65793">
                  <c:v>88086</c:v>
                </c:pt>
                <c:pt idx="65794">
                  <c:v>37969</c:v>
                </c:pt>
                <c:pt idx="65795">
                  <c:v>53426</c:v>
                </c:pt>
                <c:pt idx="65796">
                  <c:v>33799</c:v>
                </c:pt>
                <c:pt idx="65797">
                  <c:v>168983</c:v>
                </c:pt>
                <c:pt idx="65798">
                  <c:v>44382</c:v>
                </c:pt>
                <c:pt idx="65799">
                  <c:v>32125</c:v>
                </c:pt>
                <c:pt idx="65800">
                  <c:v>51506</c:v>
                </c:pt>
                <c:pt idx="65801">
                  <c:v>24235</c:v>
                </c:pt>
                <c:pt idx="65802">
                  <c:v>24340</c:v>
                </c:pt>
                <c:pt idx="65803">
                  <c:v>35544</c:v>
                </c:pt>
                <c:pt idx="65804">
                  <c:v>186722</c:v>
                </c:pt>
                <c:pt idx="65805">
                  <c:v>38848</c:v>
                </c:pt>
                <c:pt idx="65806">
                  <c:v>37350</c:v>
                </c:pt>
                <c:pt idx="65807">
                  <c:v>56045</c:v>
                </c:pt>
                <c:pt idx="65808">
                  <c:v>77675</c:v>
                </c:pt>
                <c:pt idx="65809">
                  <c:v>36883</c:v>
                </c:pt>
                <c:pt idx="65810">
                  <c:v>87045</c:v>
                </c:pt>
                <c:pt idx="65811">
                  <c:v>86868</c:v>
                </c:pt>
                <c:pt idx="65812">
                  <c:v>35413</c:v>
                </c:pt>
                <c:pt idx="65813">
                  <c:v>127018</c:v>
                </c:pt>
                <c:pt idx="65814">
                  <c:v>96188</c:v>
                </c:pt>
                <c:pt idx="65815">
                  <c:v>43446</c:v>
                </c:pt>
                <c:pt idx="65816">
                  <c:v>40725</c:v>
                </c:pt>
                <c:pt idx="65817">
                  <c:v>35925</c:v>
                </c:pt>
                <c:pt idx="65818">
                  <c:v>30397</c:v>
                </c:pt>
                <c:pt idx="65819">
                  <c:v>46133</c:v>
                </c:pt>
                <c:pt idx="65820">
                  <c:v>35324</c:v>
                </c:pt>
                <c:pt idx="65821">
                  <c:v>37728</c:v>
                </c:pt>
                <c:pt idx="65822">
                  <c:v>48274</c:v>
                </c:pt>
                <c:pt idx="65823">
                  <c:v>124926</c:v>
                </c:pt>
                <c:pt idx="65824">
                  <c:v>38615</c:v>
                </c:pt>
                <c:pt idx="65825">
                  <c:v>28480</c:v>
                </c:pt>
                <c:pt idx="65826">
                  <c:v>40747</c:v>
                </c:pt>
                <c:pt idx="65827">
                  <c:v>67075</c:v>
                </c:pt>
                <c:pt idx="65828">
                  <c:v>24658</c:v>
                </c:pt>
                <c:pt idx="65829">
                  <c:v>38816</c:v>
                </c:pt>
                <c:pt idx="65830">
                  <c:v>51615</c:v>
                </c:pt>
                <c:pt idx="65831">
                  <c:v>42801</c:v>
                </c:pt>
                <c:pt idx="65832">
                  <c:v>46379</c:v>
                </c:pt>
                <c:pt idx="65833">
                  <c:v>27680</c:v>
                </c:pt>
                <c:pt idx="65834">
                  <c:v>30535</c:v>
                </c:pt>
                <c:pt idx="65835">
                  <c:v>24537</c:v>
                </c:pt>
                <c:pt idx="65836">
                  <c:v>21822</c:v>
                </c:pt>
                <c:pt idx="65837">
                  <c:v>22479</c:v>
                </c:pt>
                <c:pt idx="65838">
                  <c:v>64752</c:v>
                </c:pt>
                <c:pt idx="65839">
                  <c:v>56389</c:v>
                </c:pt>
                <c:pt idx="65840">
                  <c:v>44208</c:v>
                </c:pt>
                <c:pt idx="65841">
                  <c:v>24311</c:v>
                </c:pt>
                <c:pt idx="65842">
                  <c:v>181707</c:v>
                </c:pt>
                <c:pt idx="65843">
                  <c:v>41367</c:v>
                </c:pt>
                <c:pt idx="65844">
                  <c:v>64994</c:v>
                </c:pt>
                <c:pt idx="65845">
                  <c:v>33516</c:v>
                </c:pt>
                <c:pt idx="65846">
                  <c:v>159779</c:v>
                </c:pt>
                <c:pt idx="65847">
                  <c:v>89067</c:v>
                </c:pt>
                <c:pt idx="65848">
                  <c:v>30139</c:v>
                </c:pt>
                <c:pt idx="65849">
                  <c:v>160624</c:v>
                </c:pt>
                <c:pt idx="65850">
                  <c:v>50705</c:v>
                </c:pt>
                <c:pt idx="65851">
                  <c:v>71320</c:v>
                </c:pt>
                <c:pt idx="65852">
                  <c:v>61760</c:v>
                </c:pt>
                <c:pt idx="65853">
                  <c:v>128620</c:v>
                </c:pt>
                <c:pt idx="65854">
                  <c:v>136794</c:v>
                </c:pt>
                <c:pt idx="65855">
                  <c:v>60439</c:v>
                </c:pt>
                <c:pt idx="65856">
                  <c:v>33505</c:v>
                </c:pt>
                <c:pt idx="65857">
                  <c:v>92668</c:v>
                </c:pt>
                <c:pt idx="65858">
                  <c:v>74940</c:v>
                </c:pt>
                <c:pt idx="65859">
                  <c:v>28545</c:v>
                </c:pt>
                <c:pt idx="65860">
                  <c:v>26370</c:v>
                </c:pt>
                <c:pt idx="65861">
                  <c:v>28466</c:v>
                </c:pt>
                <c:pt idx="65862">
                  <c:v>243601</c:v>
                </c:pt>
                <c:pt idx="65863">
                  <c:v>21338</c:v>
                </c:pt>
                <c:pt idx="65864">
                  <c:v>126605</c:v>
                </c:pt>
                <c:pt idx="65865">
                  <c:v>57459</c:v>
                </c:pt>
                <c:pt idx="65866">
                  <c:v>49646</c:v>
                </c:pt>
                <c:pt idx="65867">
                  <c:v>81595</c:v>
                </c:pt>
                <c:pt idx="65868">
                  <c:v>64343</c:v>
                </c:pt>
                <c:pt idx="65869">
                  <c:v>29707</c:v>
                </c:pt>
                <c:pt idx="65870">
                  <c:v>22011</c:v>
                </c:pt>
                <c:pt idx="65871">
                  <c:v>115917</c:v>
                </c:pt>
                <c:pt idx="65872">
                  <c:v>36088</c:v>
                </c:pt>
                <c:pt idx="65873">
                  <c:v>24877</c:v>
                </c:pt>
                <c:pt idx="65874">
                  <c:v>32002</c:v>
                </c:pt>
                <c:pt idx="65875">
                  <c:v>29191</c:v>
                </c:pt>
                <c:pt idx="65876">
                  <c:v>46386</c:v>
                </c:pt>
                <c:pt idx="65877">
                  <c:v>44346</c:v>
                </c:pt>
                <c:pt idx="65878">
                  <c:v>26635</c:v>
                </c:pt>
                <c:pt idx="65879">
                  <c:v>40238</c:v>
                </c:pt>
                <c:pt idx="65880">
                  <c:v>20694</c:v>
                </c:pt>
                <c:pt idx="65881">
                  <c:v>231729</c:v>
                </c:pt>
                <c:pt idx="65882">
                  <c:v>39291</c:v>
                </c:pt>
                <c:pt idx="65883">
                  <c:v>33304</c:v>
                </c:pt>
                <c:pt idx="65884">
                  <c:v>45879</c:v>
                </c:pt>
                <c:pt idx="65885">
                  <c:v>39536</c:v>
                </c:pt>
                <c:pt idx="65886">
                  <c:v>201906</c:v>
                </c:pt>
                <c:pt idx="65887">
                  <c:v>53451</c:v>
                </c:pt>
                <c:pt idx="65888">
                  <c:v>37295</c:v>
                </c:pt>
                <c:pt idx="65889">
                  <c:v>43996</c:v>
                </c:pt>
                <c:pt idx="65890">
                  <c:v>69916</c:v>
                </c:pt>
                <c:pt idx="65891">
                  <c:v>185973</c:v>
                </c:pt>
                <c:pt idx="65892">
                  <c:v>347691</c:v>
                </c:pt>
                <c:pt idx="65893">
                  <c:v>27513</c:v>
                </c:pt>
                <c:pt idx="65894">
                  <c:v>46614</c:v>
                </c:pt>
                <c:pt idx="65895">
                  <c:v>35616</c:v>
                </c:pt>
                <c:pt idx="65896">
                  <c:v>52508</c:v>
                </c:pt>
                <c:pt idx="65897">
                  <c:v>34894</c:v>
                </c:pt>
                <c:pt idx="65898">
                  <c:v>43399</c:v>
                </c:pt>
                <c:pt idx="65899">
                  <c:v>56772</c:v>
                </c:pt>
                <c:pt idx="65900">
                  <c:v>34097</c:v>
                </c:pt>
                <c:pt idx="65901">
                  <c:v>211760</c:v>
                </c:pt>
                <c:pt idx="65902">
                  <c:v>41214</c:v>
                </c:pt>
                <c:pt idx="65903">
                  <c:v>25054</c:v>
                </c:pt>
                <c:pt idx="65904">
                  <c:v>43168</c:v>
                </c:pt>
                <c:pt idx="65905">
                  <c:v>26381</c:v>
                </c:pt>
                <c:pt idx="65906">
                  <c:v>49287</c:v>
                </c:pt>
                <c:pt idx="65907">
                  <c:v>26933</c:v>
                </c:pt>
                <c:pt idx="65908">
                  <c:v>33850</c:v>
                </c:pt>
                <c:pt idx="65909">
                  <c:v>50063</c:v>
                </c:pt>
                <c:pt idx="65910">
                  <c:v>116414</c:v>
                </c:pt>
                <c:pt idx="65911">
                  <c:v>131756</c:v>
                </c:pt>
                <c:pt idx="65912">
                  <c:v>87803</c:v>
                </c:pt>
                <c:pt idx="65913">
                  <c:v>78929</c:v>
                </c:pt>
                <c:pt idx="65914">
                  <c:v>43097</c:v>
                </c:pt>
                <c:pt idx="65915">
                  <c:v>120807</c:v>
                </c:pt>
                <c:pt idx="65916">
                  <c:v>71079</c:v>
                </c:pt>
                <c:pt idx="65917">
                  <c:v>36705</c:v>
                </c:pt>
                <c:pt idx="65918">
                  <c:v>25469</c:v>
                </c:pt>
                <c:pt idx="65919">
                  <c:v>52701</c:v>
                </c:pt>
                <c:pt idx="65920">
                  <c:v>50034</c:v>
                </c:pt>
                <c:pt idx="65921">
                  <c:v>25970</c:v>
                </c:pt>
                <c:pt idx="65922">
                  <c:v>346235</c:v>
                </c:pt>
                <c:pt idx="65923">
                  <c:v>69975</c:v>
                </c:pt>
                <c:pt idx="65924">
                  <c:v>28547</c:v>
                </c:pt>
                <c:pt idx="65925">
                  <c:v>70753</c:v>
                </c:pt>
                <c:pt idx="65926">
                  <c:v>131313</c:v>
                </c:pt>
                <c:pt idx="65927">
                  <c:v>42362</c:v>
                </c:pt>
                <c:pt idx="65928">
                  <c:v>27109</c:v>
                </c:pt>
                <c:pt idx="65929">
                  <c:v>43097</c:v>
                </c:pt>
                <c:pt idx="65930">
                  <c:v>36661</c:v>
                </c:pt>
                <c:pt idx="65931">
                  <c:v>66425</c:v>
                </c:pt>
                <c:pt idx="65932">
                  <c:v>84199</c:v>
                </c:pt>
                <c:pt idx="65933">
                  <c:v>33080</c:v>
                </c:pt>
                <c:pt idx="65934">
                  <c:v>41497</c:v>
                </c:pt>
                <c:pt idx="65935">
                  <c:v>26191</c:v>
                </c:pt>
                <c:pt idx="65936">
                  <c:v>171689</c:v>
                </c:pt>
                <c:pt idx="65937">
                  <c:v>44194</c:v>
                </c:pt>
                <c:pt idx="65938">
                  <c:v>83168</c:v>
                </c:pt>
                <c:pt idx="65939">
                  <c:v>27866</c:v>
                </c:pt>
                <c:pt idx="65940">
                  <c:v>35061</c:v>
                </c:pt>
                <c:pt idx="65941">
                  <c:v>62543</c:v>
                </c:pt>
                <c:pt idx="65942">
                  <c:v>57606</c:v>
                </c:pt>
                <c:pt idx="65943">
                  <c:v>85842</c:v>
                </c:pt>
                <c:pt idx="65944">
                  <c:v>28855</c:v>
                </c:pt>
                <c:pt idx="65945">
                  <c:v>34081</c:v>
                </c:pt>
                <c:pt idx="65946">
                  <c:v>32731</c:v>
                </c:pt>
                <c:pt idx="65947">
                  <c:v>35615</c:v>
                </c:pt>
                <c:pt idx="65948">
                  <c:v>39398</c:v>
                </c:pt>
                <c:pt idx="65949">
                  <c:v>46602</c:v>
                </c:pt>
                <c:pt idx="65950">
                  <c:v>31591</c:v>
                </c:pt>
                <c:pt idx="65951">
                  <c:v>84796</c:v>
                </c:pt>
                <c:pt idx="65952">
                  <c:v>55256</c:v>
                </c:pt>
                <c:pt idx="65953">
                  <c:v>50040</c:v>
                </c:pt>
                <c:pt idx="65954">
                  <c:v>32632</c:v>
                </c:pt>
                <c:pt idx="65955">
                  <c:v>24575</c:v>
                </c:pt>
                <c:pt idx="65956">
                  <c:v>32827</c:v>
                </c:pt>
                <c:pt idx="65957">
                  <c:v>92852</c:v>
                </c:pt>
                <c:pt idx="65958">
                  <c:v>72657</c:v>
                </c:pt>
                <c:pt idx="65959">
                  <c:v>36546</c:v>
                </c:pt>
                <c:pt idx="65960">
                  <c:v>39367</c:v>
                </c:pt>
                <c:pt idx="65961">
                  <c:v>43327</c:v>
                </c:pt>
                <c:pt idx="65962">
                  <c:v>55044</c:v>
                </c:pt>
                <c:pt idx="65963">
                  <c:v>92343</c:v>
                </c:pt>
                <c:pt idx="65964">
                  <c:v>91510</c:v>
                </c:pt>
                <c:pt idx="65965">
                  <c:v>27028</c:v>
                </c:pt>
                <c:pt idx="65966">
                  <c:v>39437</c:v>
                </c:pt>
                <c:pt idx="65967">
                  <c:v>99480</c:v>
                </c:pt>
                <c:pt idx="65968">
                  <c:v>38590</c:v>
                </c:pt>
                <c:pt idx="65969">
                  <c:v>112335</c:v>
                </c:pt>
                <c:pt idx="65970">
                  <c:v>45145</c:v>
                </c:pt>
                <c:pt idx="65971">
                  <c:v>35612</c:v>
                </c:pt>
                <c:pt idx="65972">
                  <c:v>23581</c:v>
                </c:pt>
                <c:pt idx="65973">
                  <c:v>115940</c:v>
                </c:pt>
                <c:pt idx="65974">
                  <c:v>37633</c:v>
                </c:pt>
                <c:pt idx="65975">
                  <c:v>26078</c:v>
                </c:pt>
                <c:pt idx="65976">
                  <c:v>25322</c:v>
                </c:pt>
                <c:pt idx="65977">
                  <c:v>25696</c:v>
                </c:pt>
                <c:pt idx="65978">
                  <c:v>134696</c:v>
                </c:pt>
                <c:pt idx="65979">
                  <c:v>66589</c:v>
                </c:pt>
                <c:pt idx="65980">
                  <c:v>27393</c:v>
                </c:pt>
                <c:pt idx="65981">
                  <c:v>24435</c:v>
                </c:pt>
                <c:pt idx="65982">
                  <c:v>101838</c:v>
                </c:pt>
                <c:pt idx="65983">
                  <c:v>37271</c:v>
                </c:pt>
                <c:pt idx="65984">
                  <c:v>51940</c:v>
                </c:pt>
                <c:pt idx="65985">
                  <c:v>29087</c:v>
                </c:pt>
                <c:pt idx="65986">
                  <c:v>46153</c:v>
                </c:pt>
                <c:pt idx="65987">
                  <c:v>152547</c:v>
                </c:pt>
                <c:pt idx="65988">
                  <c:v>49045</c:v>
                </c:pt>
                <c:pt idx="65989">
                  <c:v>38618</c:v>
                </c:pt>
                <c:pt idx="65990">
                  <c:v>61943</c:v>
                </c:pt>
                <c:pt idx="65991">
                  <c:v>23383</c:v>
                </c:pt>
                <c:pt idx="65992">
                  <c:v>52823</c:v>
                </c:pt>
                <c:pt idx="65993">
                  <c:v>42574</c:v>
                </c:pt>
                <c:pt idx="65994">
                  <c:v>43311</c:v>
                </c:pt>
                <c:pt idx="65995">
                  <c:v>82944</c:v>
                </c:pt>
                <c:pt idx="65996">
                  <c:v>29837</c:v>
                </c:pt>
                <c:pt idx="65997">
                  <c:v>38425</c:v>
                </c:pt>
                <c:pt idx="65998">
                  <c:v>32304</c:v>
                </c:pt>
                <c:pt idx="65999">
                  <c:v>34173</c:v>
                </c:pt>
                <c:pt idx="66000">
                  <c:v>36072</c:v>
                </c:pt>
                <c:pt idx="66001">
                  <c:v>27463</c:v>
                </c:pt>
                <c:pt idx="66002">
                  <c:v>157847</c:v>
                </c:pt>
                <c:pt idx="66003">
                  <c:v>52941</c:v>
                </c:pt>
                <c:pt idx="66004">
                  <c:v>55298</c:v>
                </c:pt>
                <c:pt idx="66005">
                  <c:v>35958</c:v>
                </c:pt>
                <c:pt idx="66006">
                  <c:v>33930</c:v>
                </c:pt>
                <c:pt idx="66007">
                  <c:v>51460</c:v>
                </c:pt>
                <c:pt idx="66008">
                  <c:v>22795</c:v>
                </c:pt>
                <c:pt idx="66009">
                  <c:v>57273</c:v>
                </c:pt>
                <c:pt idx="66010">
                  <c:v>105639</c:v>
                </c:pt>
                <c:pt idx="66011">
                  <c:v>84617</c:v>
                </c:pt>
                <c:pt idx="66012">
                  <c:v>45149</c:v>
                </c:pt>
                <c:pt idx="66013">
                  <c:v>28020</c:v>
                </c:pt>
                <c:pt idx="66014">
                  <c:v>51970</c:v>
                </c:pt>
                <c:pt idx="66015">
                  <c:v>32970</c:v>
                </c:pt>
                <c:pt idx="66016">
                  <c:v>70952</c:v>
                </c:pt>
                <c:pt idx="66017">
                  <c:v>30040</c:v>
                </c:pt>
                <c:pt idx="66018">
                  <c:v>49741</c:v>
                </c:pt>
                <c:pt idx="66019">
                  <c:v>108831</c:v>
                </c:pt>
                <c:pt idx="66020">
                  <c:v>74527</c:v>
                </c:pt>
                <c:pt idx="66021">
                  <c:v>36885</c:v>
                </c:pt>
                <c:pt idx="66022">
                  <c:v>28994</c:v>
                </c:pt>
                <c:pt idx="66023">
                  <c:v>119811</c:v>
                </c:pt>
                <c:pt idx="66024">
                  <c:v>36389</c:v>
                </c:pt>
                <c:pt idx="66025">
                  <c:v>60385</c:v>
                </c:pt>
                <c:pt idx="66026">
                  <c:v>25215</c:v>
                </c:pt>
                <c:pt idx="66027">
                  <c:v>33012</c:v>
                </c:pt>
                <c:pt idx="66028">
                  <c:v>71129</c:v>
                </c:pt>
                <c:pt idx="66029">
                  <c:v>29612</c:v>
                </c:pt>
                <c:pt idx="66030">
                  <c:v>75688</c:v>
                </c:pt>
                <c:pt idx="66031">
                  <c:v>26809</c:v>
                </c:pt>
                <c:pt idx="66032">
                  <c:v>32667</c:v>
                </c:pt>
                <c:pt idx="66033">
                  <c:v>25717</c:v>
                </c:pt>
                <c:pt idx="66034">
                  <c:v>39540</c:v>
                </c:pt>
                <c:pt idx="66035">
                  <c:v>76674</c:v>
                </c:pt>
                <c:pt idx="66036">
                  <c:v>68882</c:v>
                </c:pt>
                <c:pt idx="66037">
                  <c:v>40474</c:v>
                </c:pt>
                <c:pt idx="66038">
                  <c:v>41298</c:v>
                </c:pt>
                <c:pt idx="66039">
                  <c:v>158546</c:v>
                </c:pt>
                <c:pt idx="66040">
                  <c:v>19822</c:v>
                </c:pt>
                <c:pt idx="66041">
                  <c:v>47918</c:v>
                </c:pt>
                <c:pt idx="66042">
                  <c:v>109108</c:v>
                </c:pt>
                <c:pt idx="66043">
                  <c:v>39012</c:v>
                </c:pt>
                <c:pt idx="66044">
                  <c:v>43925</c:v>
                </c:pt>
                <c:pt idx="66045">
                  <c:v>49891</c:v>
                </c:pt>
                <c:pt idx="66046">
                  <c:v>65606</c:v>
                </c:pt>
                <c:pt idx="66047">
                  <c:v>60888</c:v>
                </c:pt>
                <c:pt idx="66048">
                  <c:v>78329</c:v>
                </c:pt>
                <c:pt idx="66049">
                  <c:v>28918</c:v>
                </c:pt>
                <c:pt idx="66050">
                  <c:v>68315</c:v>
                </c:pt>
                <c:pt idx="66051">
                  <c:v>33470</c:v>
                </c:pt>
                <c:pt idx="66052">
                  <c:v>36720</c:v>
                </c:pt>
                <c:pt idx="66053">
                  <c:v>24132</c:v>
                </c:pt>
                <c:pt idx="66054">
                  <c:v>48924</c:v>
                </c:pt>
                <c:pt idx="66055">
                  <c:v>25481</c:v>
                </c:pt>
                <c:pt idx="66056">
                  <c:v>72755</c:v>
                </c:pt>
                <c:pt idx="66057">
                  <c:v>52609</c:v>
                </c:pt>
                <c:pt idx="66058">
                  <c:v>36710</c:v>
                </c:pt>
                <c:pt idx="66059">
                  <c:v>49461</c:v>
                </c:pt>
                <c:pt idx="66060">
                  <c:v>35184</c:v>
                </c:pt>
                <c:pt idx="66061">
                  <c:v>37965</c:v>
                </c:pt>
                <c:pt idx="66062">
                  <c:v>27949</c:v>
                </c:pt>
                <c:pt idx="66063">
                  <c:v>38099</c:v>
                </c:pt>
                <c:pt idx="66064">
                  <c:v>51650</c:v>
                </c:pt>
                <c:pt idx="66065">
                  <c:v>35759</c:v>
                </c:pt>
                <c:pt idx="66066">
                  <c:v>28957</c:v>
                </c:pt>
                <c:pt idx="66067">
                  <c:v>47340</c:v>
                </c:pt>
                <c:pt idx="66068">
                  <c:v>26795</c:v>
                </c:pt>
                <c:pt idx="66069">
                  <c:v>41703</c:v>
                </c:pt>
                <c:pt idx="66070">
                  <c:v>25375</c:v>
                </c:pt>
                <c:pt idx="66071">
                  <c:v>65454</c:v>
                </c:pt>
                <c:pt idx="66072">
                  <c:v>119801</c:v>
                </c:pt>
                <c:pt idx="66073">
                  <c:v>40146</c:v>
                </c:pt>
                <c:pt idx="66074">
                  <c:v>46970</c:v>
                </c:pt>
                <c:pt idx="66075">
                  <c:v>48772</c:v>
                </c:pt>
                <c:pt idx="66076">
                  <c:v>28483</c:v>
                </c:pt>
                <c:pt idx="66077">
                  <c:v>213982</c:v>
                </c:pt>
                <c:pt idx="66078">
                  <c:v>38730</c:v>
                </c:pt>
                <c:pt idx="66079">
                  <c:v>58207</c:v>
                </c:pt>
                <c:pt idx="66080">
                  <c:v>109233</c:v>
                </c:pt>
                <c:pt idx="66081">
                  <c:v>92620</c:v>
                </c:pt>
                <c:pt idx="66082">
                  <c:v>21616</c:v>
                </c:pt>
                <c:pt idx="66083">
                  <c:v>56026</c:v>
                </c:pt>
                <c:pt idx="66084">
                  <c:v>38581</c:v>
                </c:pt>
                <c:pt idx="66085">
                  <c:v>31572</c:v>
                </c:pt>
                <c:pt idx="66086">
                  <c:v>26612</c:v>
                </c:pt>
                <c:pt idx="66087">
                  <c:v>31288</c:v>
                </c:pt>
                <c:pt idx="66088">
                  <c:v>39784</c:v>
                </c:pt>
                <c:pt idx="66089">
                  <c:v>48703</c:v>
                </c:pt>
                <c:pt idx="66090">
                  <c:v>37496</c:v>
                </c:pt>
                <c:pt idx="66091">
                  <c:v>80419</c:v>
                </c:pt>
                <c:pt idx="66092">
                  <c:v>67540</c:v>
                </c:pt>
                <c:pt idx="66093">
                  <c:v>60554</c:v>
                </c:pt>
                <c:pt idx="66094">
                  <c:v>36335</c:v>
                </c:pt>
                <c:pt idx="66095">
                  <c:v>95991</c:v>
                </c:pt>
                <c:pt idx="66096">
                  <c:v>25676</c:v>
                </c:pt>
                <c:pt idx="66097">
                  <c:v>125788</c:v>
                </c:pt>
                <c:pt idx="66098">
                  <c:v>32741</c:v>
                </c:pt>
                <c:pt idx="66099">
                  <c:v>153724</c:v>
                </c:pt>
                <c:pt idx="66100">
                  <c:v>78146</c:v>
                </c:pt>
                <c:pt idx="66101">
                  <c:v>63731</c:v>
                </c:pt>
                <c:pt idx="66102">
                  <c:v>41170</c:v>
                </c:pt>
                <c:pt idx="66103">
                  <c:v>31883</c:v>
                </c:pt>
                <c:pt idx="66104">
                  <c:v>36328</c:v>
                </c:pt>
                <c:pt idx="66105">
                  <c:v>36955</c:v>
                </c:pt>
                <c:pt idx="66106">
                  <c:v>49794</c:v>
                </c:pt>
                <c:pt idx="66107">
                  <c:v>24579</c:v>
                </c:pt>
                <c:pt idx="66108">
                  <c:v>59554</c:v>
                </c:pt>
                <c:pt idx="66109">
                  <c:v>101558</c:v>
                </c:pt>
                <c:pt idx="66110">
                  <c:v>35509</c:v>
                </c:pt>
                <c:pt idx="66111">
                  <c:v>70002</c:v>
                </c:pt>
                <c:pt idx="66112">
                  <c:v>44386</c:v>
                </c:pt>
                <c:pt idx="66113">
                  <c:v>59777</c:v>
                </c:pt>
                <c:pt idx="66114">
                  <c:v>97193</c:v>
                </c:pt>
                <c:pt idx="66115">
                  <c:v>198478</c:v>
                </c:pt>
                <c:pt idx="66116">
                  <c:v>101214</c:v>
                </c:pt>
                <c:pt idx="66117">
                  <c:v>67314</c:v>
                </c:pt>
                <c:pt idx="66118">
                  <c:v>32859</c:v>
                </c:pt>
                <c:pt idx="66119">
                  <c:v>129929</c:v>
                </c:pt>
                <c:pt idx="66120">
                  <c:v>30363</c:v>
                </c:pt>
                <c:pt idx="66121">
                  <c:v>41863</c:v>
                </c:pt>
                <c:pt idx="66122">
                  <c:v>193703</c:v>
                </c:pt>
                <c:pt idx="66123">
                  <c:v>39402</c:v>
                </c:pt>
                <c:pt idx="66124">
                  <c:v>52094</c:v>
                </c:pt>
                <c:pt idx="66125">
                  <c:v>41735</c:v>
                </c:pt>
                <c:pt idx="66126">
                  <c:v>24372</c:v>
                </c:pt>
                <c:pt idx="66127">
                  <c:v>155540</c:v>
                </c:pt>
                <c:pt idx="66128">
                  <c:v>32941</c:v>
                </c:pt>
                <c:pt idx="66129">
                  <c:v>58040</c:v>
                </c:pt>
                <c:pt idx="66130">
                  <c:v>212400</c:v>
                </c:pt>
                <c:pt idx="66131">
                  <c:v>149059</c:v>
                </c:pt>
                <c:pt idx="66132">
                  <c:v>113668</c:v>
                </c:pt>
                <c:pt idx="66133">
                  <c:v>202690</c:v>
                </c:pt>
                <c:pt idx="66134">
                  <c:v>102910</c:v>
                </c:pt>
                <c:pt idx="66135">
                  <c:v>46144</c:v>
                </c:pt>
                <c:pt idx="66136">
                  <c:v>206719</c:v>
                </c:pt>
                <c:pt idx="66137">
                  <c:v>38679</c:v>
                </c:pt>
                <c:pt idx="66138">
                  <c:v>42344</c:v>
                </c:pt>
                <c:pt idx="66139">
                  <c:v>38054</c:v>
                </c:pt>
                <c:pt idx="66140">
                  <c:v>33151</c:v>
                </c:pt>
                <c:pt idx="66141">
                  <c:v>27335</c:v>
                </c:pt>
                <c:pt idx="66142">
                  <c:v>101171</c:v>
                </c:pt>
                <c:pt idx="66143">
                  <c:v>25768</c:v>
                </c:pt>
                <c:pt idx="66144">
                  <c:v>181193</c:v>
                </c:pt>
                <c:pt idx="66145">
                  <c:v>126732</c:v>
                </c:pt>
                <c:pt idx="66146">
                  <c:v>30302</c:v>
                </c:pt>
                <c:pt idx="66147">
                  <c:v>46539</c:v>
                </c:pt>
                <c:pt idx="66148">
                  <c:v>22907</c:v>
                </c:pt>
                <c:pt idx="66149">
                  <c:v>85771</c:v>
                </c:pt>
                <c:pt idx="66150">
                  <c:v>84801</c:v>
                </c:pt>
                <c:pt idx="66151">
                  <c:v>34700</c:v>
                </c:pt>
                <c:pt idx="66152">
                  <c:v>35379</c:v>
                </c:pt>
                <c:pt idx="66153">
                  <c:v>33266</c:v>
                </c:pt>
                <c:pt idx="66154">
                  <c:v>49583</c:v>
                </c:pt>
                <c:pt idx="66155">
                  <c:v>121520</c:v>
                </c:pt>
                <c:pt idx="66156">
                  <c:v>22981</c:v>
                </c:pt>
                <c:pt idx="66157">
                  <c:v>29758</c:v>
                </c:pt>
                <c:pt idx="66158">
                  <c:v>41804</c:v>
                </c:pt>
                <c:pt idx="66159">
                  <c:v>99412</c:v>
                </c:pt>
                <c:pt idx="66160">
                  <c:v>29257</c:v>
                </c:pt>
                <c:pt idx="66161">
                  <c:v>38352</c:v>
                </c:pt>
                <c:pt idx="66162">
                  <c:v>35236</c:v>
                </c:pt>
                <c:pt idx="66163">
                  <c:v>52663</c:v>
                </c:pt>
                <c:pt idx="66164">
                  <c:v>63171</c:v>
                </c:pt>
                <c:pt idx="66165">
                  <c:v>25405</c:v>
                </c:pt>
                <c:pt idx="66166">
                  <c:v>41689</c:v>
                </c:pt>
                <c:pt idx="66167">
                  <c:v>67002</c:v>
                </c:pt>
                <c:pt idx="66168">
                  <c:v>29619</c:v>
                </c:pt>
                <c:pt idx="66169">
                  <c:v>20952</c:v>
                </c:pt>
                <c:pt idx="66170">
                  <c:v>43325</c:v>
                </c:pt>
                <c:pt idx="66171">
                  <c:v>23058</c:v>
                </c:pt>
                <c:pt idx="66172">
                  <c:v>157462</c:v>
                </c:pt>
                <c:pt idx="66173">
                  <c:v>44542</c:v>
                </c:pt>
                <c:pt idx="66174">
                  <c:v>40286</c:v>
                </c:pt>
                <c:pt idx="66175">
                  <c:v>101862</c:v>
                </c:pt>
                <c:pt idx="66176">
                  <c:v>58395</c:v>
                </c:pt>
                <c:pt idx="66177">
                  <c:v>39827</c:v>
                </c:pt>
                <c:pt idx="66178">
                  <c:v>61131</c:v>
                </c:pt>
                <c:pt idx="66179">
                  <c:v>24925</c:v>
                </c:pt>
                <c:pt idx="66180">
                  <c:v>54618</c:v>
                </c:pt>
                <c:pt idx="66181">
                  <c:v>53174</c:v>
                </c:pt>
                <c:pt idx="66182">
                  <c:v>116116</c:v>
                </c:pt>
                <c:pt idx="66183">
                  <c:v>65149</c:v>
                </c:pt>
                <c:pt idx="66184">
                  <c:v>83024</c:v>
                </c:pt>
                <c:pt idx="66185">
                  <c:v>40973</c:v>
                </c:pt>
                <c:pt idx="66186">
                  <c:v>28953</c:v>
                </c:pt>
                <c:pt idx="66187">
                  <c:v>27682</c:v>
                </c:pt>
                <c:pt idx="66188">
                  <c:v>53915</c:v>
                </c:pt>
                <c:pt idx="66189">
                  <c:v>52402</c:v>
                </c:pt>
                <c:pt idx="66190">
                  <c:v>34705</c:v>
                </c:pt>
                <c:pt idx="66191">
                  <c:v>32548</c:v>
                </c:pt>
                <c:pt idx="66192">
                  <c:v>54442</c:v>
                </c:pt>
                <c:pt idx="66193">
                  <c:v>53605</c:v>
                </c:pt>
                <c:pt idx="66194">
                  <c:v>70682</c:v>
                </c:pt>
                <c:pt idx="66195">
                  <c:v>29424</c:v>
                </c:pt>
                <c:pt idx="66196">
                  <c:v>110952</c:v>
                </c:pt>
                <c:pt idx="66197">
                  <c:v>22625</c:v>
                </c:pt>
                <c:pt idx="66198">
                  <c:v>42448</c:v>
                </c:pt>
                <c:pt idx="66199">
                  <c:v>37372</c:v>
                </c:pt>
                <c:pt idx="66200">
                  <c:v>35418</c:v>
                </c:pt>
                <c:pt idx="66201">
                  <c:v>35075</c:v>
                </c:pt>
                <c:pt idx="66202">
                  <c:v>43330</c:v>
                </c:pt>
                <c:pt idx="66203">
                  <c:v>34601</c:v>
                </c:pt>
                <c:pt idx="66204">
                  <c:v>112620</c:v>
                </c:pt>
                <c:pt idx="66205">
                  <c:v>86195</c:v>
                </c:pt>
                <c:pt idx="66206">
                  <c:v>37802</c:v>
                </c:pt>
                <c:pt idx="66207">
                  <c:v>35475</c:v>
                </c:pt>
                <c:pt idx="66208">
                  <c:v>67244</c:v>
                </c:pt>
                <c:pt idx="66209">
                  <c:v>47874</c:v>
                </c:pt>
                <c:pt idx="66210">
                  <c:v>65426</c:v>
                </c:pt>
                <c:pt idx="66211">
                  <c:v>34040</c:v>
                </c:pt>
                <c:pt idx="66212">
                  <c:v>40702</c:v>
                </c:pt>
                <c:pt idx="66213">
                  <c:v>25066</c:v>
                </c:pt>
                <c:pt idx="66214">
                  <c:v>34970</c:v>
                </c:pt>
                <c:pt idx="66215">
                  <c:v>47166</c:v>
                </c:pt>
                <c:pt idx="66216">
                  <c:v>98858</c:v>
                </c:pt>
                <c:pt idx="66217">
                  <c:v>157137</c:v>
                </c:pt>
                <c:pt idx="66218">
                  <c:v>37838</c:v>
                </c:pt>
                <c:pt idx="66219">
                  <c:v>26265</c:v>
                </c:pt>
                <c:pt idx="66220">
                  <c:v>43607</c:v>
                </c:pt>
                <c:pt idx="66221">
                  <c:v>32475</c:v>
                </c:pt>
                <c:pt idx="66222">
                  <c:v>39738</c:v>
                </c:pt>
                <c:pt idx="66223">
                  <c:v>33881</c:v>
                </c:pt>
                <c:pt idx="66224">
                  <c:v>53763</c:v>
                </c:pt>
                <c:pt idx="66225">
                  <c:v>30561</c:v>
                </c:pt>
                <c:pt idx="66226">
                  <c:v>28283</c:v>
                </c:pt>
                <c:pt idx="66227">
                  <c:v>176560</c:v>
                </c:pt>
                <c:pt idx="66228">
                  <c:v>41700</c:v>
                </c:pt>
                <c:pt idx="66229">
                  <c:v>30409</c:v>
                </c:pt>
                <c:pt idx="66230">
                  <c:v>40368</c:v>
                </c:pt>
                <c:pt idx="66231">
                  <c:v>56061</c:v>
                </c:pt>
                <c:pt idx="66232">
                  <c:v>35027</c:v>
                </c:pt>
                <c:pt idx="66233">
                  <c:v>37988</c:v>
                </c:pt>
                <c:pt idx="66234">
                  <c:v>88708</c:v>
                </c:pt>
                <c:pt idx="66235">
                  <c:v>63316</c:v>
                </c:pt>
                <c:pt idx="66236">
                  <c:v>34162</c:v>
                </c:pt>
                <c:pt idx="66237">
                  <c:v>22105</c:v>
                </c:pt>
                <c:pt idx="66238">
                  <c:v>32611</c:v>
                </c:pt>
                <c:pt idx="66239">
                  <c:v>88928</c:v>
                </c:pt>
                <c:pt idx="66240">
                  <c:v>36957</c:v>
                </c:pt>
                <c:pt idx="66241">
                  <c:v>96693</c:v>
                </c:pt>
                <c:pt idx="66242">
                  <c:v>34486</c:v>
                </c:pt>
                <c:pt idx="66243">
                  <c:v>43418</c:v>
                </c:pt>
                <c:pt idx="66244">
                  <c:v>63609</c:v>
                </c:pt>
                <c:pt idx="66245">
                  <c:v>185865</c:v>
                </c:pt>
                <c:pt idx="66246">
                  <c:v>61451</c:v>
                </c:pt>
                <c:pt idx="66247">
                  <c:v>27795</c:v>
                </c:pt>
                <c:pt idx="66248">
                  <c:v>93115</c:v>
                </c:pt>
                <c:pt idx="66249">
                  <c:v>49990</c:v>
                </c:pt>
                <c:pt idx="66250">
                  <c:v>25805</c:v>
                </c:pt>
                <c:pt idx="66251">
                  <c:v>41010</c:v>
                </c:pt>
                <c:pt idx="66252">
                  <c:v>45285</c:v>
                </c:pt>
                <c:pt idx="66253">
                  <c:v>99582</c:v>
                </c:pt>
                <c:pt idx="66254">
                  <c:v>48818</c:v>
                </c:pt>
                <c:pt idx="66255">
                  <c:v>95523</c:v>
                </c:pt>
                <c:pt idx="66256">
                  <c:v>120850</c:v>
                </c:pt>
                <c:pt idx="66257">
                  <c:v>85581</c:v>
                </c:pt>
                <c:pt idx="66258">
                  <c:v>113337</c:v>
                </c:pt>
                <c:pt idx="66259">
                  <c:v>33956</c:v>
                </c:pt>
                <c:pt idx="66260">
                  <c:v>158724</c:v>
                </c:pt>
                <c:pt idx="66261">
                  <c:v>53846</c:v>
                </c:pt>
                <c:pt idx="66262">
                  <c:v>105946</c:v>
                </c:pt>
                <c:pt idx="66263">
                  <c:v>41851</c:v>
                </c:pt>
                <c:pt idx="66264">
                  <c:v>31245</c:v>
                </c:pt>
                <c:pt idx="66265">
                  <c:v>47866</c:v>
                </c:pt>
                <c:pt idx="66266">
                  <c:v>166019</c:v>
                </c:pt>
                <c:pt idx="66267">
                  <c:v>44224</c:v>
                </c:pt>
                <c:pt idx="66268">
                  <c:v>73060</c:v>
                </c:pt>
                <c:pt idx="66269">
                  <c:v>72184</c:v>
                </c:pt>
                <c:pt idx="66270">
                  <c:v>41998</c:v>
                </c:pt>
                <c:pt idx="66271">
                  <c:v>139131</c:v>
                </c:pt>
                <c:pt idx="66272">
                  <c:v>41698</c:v>
                </c:pt>
                <c:pt idx="66273">
                  <c:v>60297</c:v>
                </c:pt>
                <c:pt idx="66274">
                  <c:v>27796</c:v>
                </c:pt>
                <c:pt idx="66275">
                  <c:v>38296</c:v>
                </c:pt>
                <c:pt idx="66276">
                  <c:v>72239</c:v>
                </c:pt>
                <c:pt idx="66277">
                  <c:v>42471</c:v>
                </c:pt>
                <c:pt idx="66278">
                  <c:v>30387</c:v>
                </c:pt>
                <c:pt idx="66279">
                  <c:v>30314</c:v>
                </c:pt>
                <c:pt idx="66280">
                  <c:v>111406</c:v>
                </c:pt>
                <c:pt idx="66281">
                  <c:v>29671</c:v>
                </c:pt>
                <c:pt idx="66282">
                  <c:v>117353</c:v>
                </c:pt>
                <c:pt idx="66283">
                  <c:v>92247</c:v>
                </c:pt>
                <c:pt idx="66284">
                  <c:v>57723</c:v>
                </c:pt>
                <c:pt idx="66285">
                  <c:v>42531</c:v>
                </c:pt>
                <c:pt idx="66286">
                  <c:v>63437</c:v>
                </c:pt>
                <c:pt idx="66287">
                  <c:v>492993</c:v>
                </c:pt>
                <c:pt idx="66288">
                  <c:v>26852</c:v>
                </c:pt>
                <c:pt idx="66289">
                  <c:v>26730</c:v>
                </c:pt>
                <c:pt idx="66290">
                  <c:v>50987</c:v>
                </c:pt>
                <c:pt idx="66291">
                  <c:v>45270</c:v>
                </c:pt>
                <c:pt idx="66292">
                  <c:v>33437</c:v>
                </c:pt>
                <c:pt idx="66293">
                  <c:v>42221</c:v>
                </c:pt>
                <c:pt idx="66294">
                  <c:v>99245</c:v>
                </c:pt>
                <c:pt idx="66295">
                  <c:v>53117</c:v>
                </c:pt>
                <c:pt idx="66296">
                  <c:v>61349</c:v>
                </c:pt>
                <c:pt idx="66297">
                  <c:v>35025</c:v>
                </c:pt>
                <c:pt idx="66298">
                  <c:v>52436</c:v>
                </c:pt>
                <c:pt idx="66299">
                  <c:v>47621</c:v>
                </c:pt>
                <c:pt idx="66300">
                  <c:v>136192</c:v>
                </c:pt>
                <c:pt idx="66301">
                  <c:v>45256</c:v>
                </c:pt>
                <c:pt idx="66302">
                  <c:v>38255</c:v>
                </c:pt>
                <c:pt idx="66303">
                  <c:v>45524</c:v>
                </c:pt>
                <c:pt idx="66304">
                  <c:v>73883</c:v>
                </c:pt>
                <c:pt idx="66305">
                  <c:v>169409</c:v>
                </c:pt>
                <c:pt idx="66306">
                  <c:v>30071</c:v>
                </c:pt>
                <c:pt idx="66307">
                  <c:v>60391</c:v>
                </c:pt>
                <c:pt idx="66308">
                  <c:v>78629</c:v>
                </c:pt>
                <c:pt idx="66309">
                  <c:v>44640</c:v>
                </c:pt>
                <c:pt idx="66310">
                  <c:v>192548</c:v>
                </c:pt>
                <c:pt idx="66311">
                  <c:v>24024</c:v>
                </c:pt>
                <c:pt idx="66312">
                  <c:v>234194</c:v>
                </c:pt>
                <c:pt idx="66313">
                  <c:v>24554</c:v>
                </c:pt>
                <c:pt idx="66314">
                  <c:v>59092</c:v>
                </c:pt>
                <c:pt idx="66315">
                  <c:v>135003</c:v>
                </c:pt>
                <c:pt idx="66316">
                  <c:v>39238</c:v>
                </c:pt>
                <c:pt idx="66317">
                  <c:v>89840</c:v>
                </c:pt>
                <c:pt idx="66318">
                  <c:v>27111</c:v>
                </c:pt>
                <c:pt idx="66319">
                  <c:v>37704</c:v>
                </c:pt>
                <c:pt idx="66320">
                  <c:v>47356</c:v>
                </c:pt>
                <c:pt idx="66321">
                  <c:v>39608</c:v>
                </c:pt>
                <c:pt idx="66322">
                  <c:v>24971</c:v>
                </c:pt>
                <c:pt idx="66323">
                  <c:v>56136</c:v>
                </c:pt>
                <c:pt idx="66324">
                  <c:v>42766</c:v>
                </c:pt>
                <c:pt idx="66325">
                  <c:v>62421</c:v>
                </c:pt>
                <c:pt idx="66326">
                  <c:v>133492</c:v>
                </c:pt>
                <c:pt idx="66327">
                  <c:v>23616</c:v>
                </c:pt>
                <c:pt idx="66328">
                  <c:v>25935</c:v>
                </c:pt>
                <c:pt idx="66329">
                  <c:v>40773</c:v>
                </c:pt>
                <c:pt idx="66330">
                  <c:v>140318</c:v>
                </c:pt>
                <c:pt idx="66331">
                  <c:v>257641</c:v>
                </c:pt>
                <c:pt idx="66332">
                  <c:v>48988</c:v>
                </c:pt>
                <c:pt idx="66333">
                  <c:v>30811</c:v>
                </c:pt>
                <c:pt idx="66334">
                  <c:v>40013</c:v>
                </c:pt>
                <c:pt idx="66335">
                  <c:v>65341</c:v>
                </c:pt>
                <c:pt idx="66336">
                  <c:v>47973</c:v>
                </c:pt>
                <c:pt idx="66337">
                  <c:v>67271</c:v>
                </c:pt>
                <c:pt idx="66338">
                  <c:v>21467</c:v>
                </c:pt>
                <c:pt idx="66339">
                  <c:v>132595</c:v>
                </c:pt>
                <c:pt idx="66340">
                  <c:v>28602</c:v>
                </c:pt>
                <c:pt idx="66341">
                  <c:v>50754</c:v>
                </c:pt>
                <c:pt idx="66342">
                  <c:v>42834</c:v>
                </c:pt>
                <c:pt idx="66343">
                  <c:v>65492</c:v>
                </c:pt>
                <c:pt idx="66344">
                  <c:v>57887</c:v>
                </c:pt>
                <c:pt idx="66345">
                  <c:v>36238</c:v>
                </c:pt>
                <c:pt idx="66346">
                  <c:v>39672</c:v>
                </c:pt>
                <c:pt idx="66347">
                  <c:v>39096</c:v>
                </c:pt>
                <c:pt idx="66348">
                  <c:v>42806</c:v>
                </c:pt>
                <c:pt idx="66349">
                  <c:v>84583</c:v>
                </c:pt>
                <c:pt idx="66350">
                  <c:v>23099</c:v>
                </c:pt>
                <c:pt idx="66351">
                  <c:v>42577</c:v>
                </c:pt>
                <c:pt idx="66352">
                  <c:v>23885</c:v>
                </c:pt>
                <c:pt idx="66353">
                  <c:v>125481</c:v>
                </c:pt>
                <c:pt idx="66354">
                  <c:v>64517</c:v>
                </c:pt>
                <c:pt idx="66355">
                  <c:v>51718</c:v>
                </c:pt>
                <c:pt idx="66356">
                  <c:v>165923</c:v>
                </c:pt>
                <c:pt idx="66357">
                  <c:v>24778</c:v>
                </c:pt>
                <c:pt idx="66358">
                  <c:v>42630</c:v>
                </c:pt>
                <c:pt idx="66359">
                  <c:v>38347</c:v>
                </c:pt>
                <c:pt idx="66360">
                  <c:v>32054</c:v>
                </c:pt>
                <c:pt idx="66361">
                  <c:v>41395</c:v>
                </c:pt>
                <c:pt idx="66362">
                  <c:v>47061</c:v>
                </c:pt>
                <c:pt idx="66363">
                  <c:v>27327</c:v>
                </c:pt>
                <c:pt idx="66364">
                  <c:v>87227</c:v>
                </c:pt>
                <c:pt idx="66365">
                  <c:v>38271</c:v>
                </c:pt>
                <c:pt idx="66366">
                  <c:v>108242</c:v>
                </c:pt>
                <c:pt idx="66367">
                  <c:v>34532</c:v>
                </c:pt>
                <c:pt idx="66368">
                  <c:v>29019</c:v>
                </c:pt>
                <c:pt idx="66369">
                  <c:v>68834</c:v>
                </c:pt>
                <c:pt idx="66370">
                  <c:v>56738</c:v>
                </c:pt>
                <c:pt idx="66371">
                  <c:v>41514</c:v>
                </c:pt>
                <c:pt idx="66372">
                  <c:v>57216</c:v>
                </c:pt>
                <c:pt idx="66373">
                  <c:v>230289</c:v>
                </c:pt>
                <c:pt idx="66374">
                  <c:v>64270</c:v>
                </c:pt>
                <c:pt idx="66375">
                  <c:v>42072</c:v>
                </c:pt>
                <c:pt idx="66376">
                  <c:v>28862</c:v>
                </c:pt>
                <c:pt idx="66377">
                  <c:v>65998</c:v>
                </c:pt>
                <c:pt idx="66378">
                  <c:v>31216</c:v>
                </c:pt>
                <c:pt idx="66379">
                  <c:v>150330</c:v>
                </c:pt>
                <c:pt idx="66380">
                  <c:v>38654</c:v>
                </c:pt>
                <c:pt idx="66381">
                  <c:v>32659</c:v>
                </c:pt>
                <c:pt idx="66382">
                  <c:v>42853</c:v>
                </c:pt>
                <c:pt idx="66383">
                  <c:v>35947</c:v>
                </c:pt>
                <c:pt idx="66384">
                  <c:v>52528</c:v>
                </c:pt>
                <c:pt idx="66385">
                  <c:v>48358</c:v>
                </c:pt>
                <c:pt idx="66386">
                  <c:v>34413</c:v>
                </c:pt>
                <c:pt idx="66387">
                  <c:v>78464</c:v>
                </c:pt>
                <c:pt idx="66388">
                  <c:v>41637</c:v>
                </c:pt>
                <c:pt idx="66389">
                  <c:v>27532</c:v>
                </c:pt>
                <c:pt idx="66390">
                  <c:v>250508</c:v>
                </c:pt>
                <c:pt idx="66391">
                  <c:v>61815</c:v>
                </c:pt>
                <c:pt idx="66392">
                  <c:v>46217</c:v>
                </c:pt>
                <c:pt idx="66393">
                  <c:v>24044</c:v>
                </c:pt>
                <c:pt idx="66394">
                  <c:v>34764</c:v>
                </c:pt>
                <c:pt idx="66395">
                  <c:v>42206</c:v>
                </c:pt>
                <c:pt idx="66396">
                  <c:v>44021</c:v>
                </c:pt>
                <c:pt idx="66397">
                  <c:v>96099</c:v>
                </c:pt>
                <c:pt idx="66398">
                  <c:v>25986</c:v>
                </c:pt>
                <c:pt idx="66399">
                  <c:v>89428</c:v>
                </c:pt>
                <c:pt idx="66400">
                  <c:v>44287</c:v>
                </c:pt>
                <c:pt idx="66401">
                  <c:v>33595</c:v>
                </c:pt>
                <c:pt idx="66402">
                  <c:v>35323</c:v>
                </c:pt>
                <c:pt idx="66403">
                  <c:v>59410</c:v>
                </c:pt>
                <c:pt idx="66404">
                  <c:v>41221</c:v>
                </c:pt>
                <c:pt idx="66405">
                  <c:v>27677</c:v>
                </c:pt>
                <c:pt idx="66406">
                  <c:v>83052</c:v>
                </c:pt>
                <c:pt idx="66407">
                  <c:v>118428</c:v>
                </c:pt>
                <c:pt idx="66408">
                  <c:v>26275</c:v>
                </c:pt>
                <c:pt idx="66409">
                  <c:v>34516</c:v>
                </c:pt>
                <c:pt idx="66410">
                  <c:v>169354</c:v>
                </c:pt>
                <c:pt idx="66411">
                  <c:v>39031</c:v>
                </c:pt>
                <c:pt idx="66412">
                  <c:v>31403</c:v>
                </c:pt>
                <c:pt idx="66413">
                  <c:v>75715</c:v>
                </c:pt>
                <c:pt idx="66414">
                  <c:v>60571</c:v>
                </c:pt>
                <c:pt idx="66415">
                  <c:v>42052</c:v>
                </c:pt>
                <c:pt idx="66416">
                  <c:v>49331</c:v>
                </c:pt>
                <c:pt idx="66417">
                  <c:v>31668</c:v>
                </c:pt>
                <c:pt idx="66418">
                  <c:v>37500</c:v>
                </c:pt>
                <c:pt idx="66419">
                  <c:v>45827</c:v>
                </c:pt>
                <c:pt idx="66420">
                  <c:v>48058</c:v>
                </c:pt>
                <c:pt idx="66421">
                  <c:v>31137</c:v>
                </c:pt>
                <c:pt idx="66422">
                  <c:v>37655</c:v>
                </c:pt>
                <c:pt idx="66423">
                  <c:v>57419</c:v>
                </c:pt>
                <c:pt idx="66424">
                  <c:v>56385</c:v>
                </c:pt>
                <c:pt idx="66425">
                  <c:v>63219</c:v>
                </c:pt>
                <c:pt idx="66426">
                  <c:v>89648</c:v>
                </c:pt>
                <c:pt idx="66427">
                  <c:v>39778</c:v>
                </c:pt>
                <c:pt idx="66428">
                  <c:v>45724</c:v>
                </c:pt>
                <c:pt idx="66429">
                  <c:v>98647</c:v>
                </c:pt>
                <c:pt idx="66430">
                  <c:v>58444</c:v>
                </c:pt>
                <c:pt idx="66431">
                  <c:v>37810</c:v>
                </c:pt>
                <c:pt idx="66432">
                  <c:v>24106</c:v>
                </c:pt>
                <c:pt idx="66433">
                  <c:v>38890</c:v>
                </c:pt>
                <c:pt idx="66434">
                  <c:v>29621</c:v>
                </c:pt>
                <c:pt idx="66435">
                  <c:v>50881</c:v>
                </c:pt>
                <c:pt idx="66436">
                  <c:v>23074</c:v>
                </c:pt>
                <c:pt idx="66437">
                  <c:v>112778</c:v>
                </c:pt>
                <c:pt idx="66438">
                  <c:v>97971</c:v>
                </c:pt>
                <c:pt idx="66439">
                  <c:v>39679</c:v>
                </c:pt>
                <c:pt idx="66440">
                  <c:v>107693</c:v>
                </c:pt>
                <c:pt idx="66441">
                  <c:v>40429</c:v>
                </c:pt>
                <c:pt idx="66442">
                  <c:v>28543</c:v>
                </c:pt>
                <c:pt idx="66443">
                  <c:v>70984</c:v>
                </c:pt>
                <c:pt idx="66444">
                  <c:v>63509</c:v>
                </c:pt>
                <c:pt idx="66445">
                  <c:v>40986</c:v>
                </c:pt>
                <c:pt idx="66446">
                  <c:v>49681</c:v>
                </c:pt>
                <c:pt idx="66447">
                  <c:v>40395</c:v>
                </c:pt>
                <c:pt idx="66448">
                  <c:v>107690</c:v>
                </c:pt>
                <c:pt idx="66449">
                  <c:v>39803</c:v>
                </c:pt>
                <c:pt idx="66450">
                  <c:v>26526</c:v>
                </c:pt>
                <c:pt idx="66451">
                  <c:v>59857</c:v>
                </c:pt>
                <c:pt idx="66452">
                  <c:v>116333</c:v>
                </c:pt>
                <c:pt idx="66453">
                  <c:v>150167</c:v>
                </c:pt>
                <c:pt idx="66454">
                  <c:v>122620</c:v>
                </c:pt>
                <c:pt idx="66455">
                  <c:v>38701</c:v>
                </c:pt>
                <c:pt idx="66456">
                  <c:v>122780</c:v>
                </c:pt>
                <c:pt idx="66457">
                  <c:v>49418</c:v>
                </c:pt>
                <c:pt idx="66458">
                  <c:v>30549</c:v>
                </c:pt>
                <c:pt idx="66459">
                  <c:v>203204</c:v>
                </c:pt>
                <c:pt idx="66460">
                  <c:v>26212</c:v>
                </c:pt>
                <c:pt idx="66461">
                  <c:v>39918</c:v>
                </c:pt>
                <c:pt idx="66462">
                  <c:v>89762</c:v>
                </c:pt>
                <c:pt idx="66463">
                  <c:v>22833</c:v>
                </c:pt>
                <c:pt idx="66464">
                  <c:v>116059</c:v>
                </c:pt>
                <c:pt idx="66465">
                  <c:v>40516</c:v>
                </c:pt>
                <c:pt idx="66466">
                  <c:v>41273</c:v>
                </c:pt>
                <c:pt idx="66467">
                  <c:v>52103</c:v>
                </c:pt>
                <c:pt idx="66468">
                  <c:v>28921</c:v>
                </c:pt>
                <c:pt idx="66469">
                  <c:v>47035</c:v>
                </c:pt>
                <c:pt idx="66470">
                  <c:v>46623</c:v>
                </c:pt>
                <c:pt idx="66471">
                  <c:v>37379</c:v>
                </c:pt>
                <c:pt idx="66472">
                  <c:v>81512</c:v>
                </c:pt>
                <c:pt idx="66473">
                  <c:v>42057</c:v>
                </c:pt>
                <c:pt idx="66474">
                  <c:v>63543</c:v>
                </c:pt>
                <c:pt idx="66475">
                  <c:v>37890</c:v>
                </c:pt>
                <c:pt idx="66476">
                  <c:v>38923</c:v>
                </c:pt>
                <c:pt idx="66477">
                  <c:v>131912</c:v>
                </c:pt>
                <c:pt idx="66478">
                  <c:v>46520</c:v>
                </c:pt>
                <c:pt idx="66479">
                  <c:v>159148</c:v>
                </c:pt>
                <c:pt idx="66480">
                  <c:v>32162</c:v>
                </c:pt>
                <c:pt idx="66481">
                  <c:v>32202</c:v>
                </c:pt>
                <c:pt idx="66482">
                  <c:v>70725</c:v>
                </c:pt>
                <c:pt idx="66483">
                  <c:v>71055</c:v>
                </c:pt>
                <c:pt idx="66484">
                  <c:v>37234</c:v>
                </c:pt>
                <c:pt idx="66485">
                  <c:v>38178</c:v>
                </c:pt>
                <c:pt idx="66486">
                  <c:v>40943</c:v>
                </c:pt>
                <c:pt idx="66487">
                  <c:v>52040</c:v>
                </c:pt>
                <c:pt idx="66488">
                  <c:v>61375</c:v>
                </c:pt>
                <c:pt idx="66489">
                  <c:v>86306</c:v>
                </c:pt>
                <c:pt idx="66490">
                  <c:v>32813</c:v>
                </c:pt>
                <c:pt idx="66491">
                  <c:v>31874</c:v>
                </c:pt>
                <c:pt idx="66492">
                  <c:v>23302</c:v>
                </c:pt>
                <c:pt idx="66493">
                  <c:v>97522</c:v>
                </c:pt>
                <c:pt idx="66494">
                  <c:v>41126</c:v>
                </c:pt>
                <c:pt idx="66495">
                  <c:v>32176</c:v>
                </c:pt>
                <c:pt idx="66496">
                  <c:v>25605</c:v>
                </c:pt>
                <c:pt idx="66497">
                  <c:v>27669</c:v>
                </c:pt>
                <c:pt idx="66498">
                  <c:v>39520</c:v>
                </c:pt>
                <c:pt idx="66499">
                  <c:v>88529</c:v>
                </c:pt>
                <c:pt idx="66500">
                  <c:v>71477</c:v>
                </c:pt>
                <c:pt idx="66501">
                  <c:v>131370</c:v>
                </c:pt>
                <c:pt idx="66502">
                  <c:v>37930</c:v>
                </c:pt>
                <c:pt idx="66503">
                  <c:v>63840</c:v>
                </c:pt>
                <c:pt idx="66504">
                  <c:v>26078</c:v>
                </c:pt>
                <c:pt idx="66505">
                  <c:v>27896</c:v>
                </c:pt>
                <c:pt idx="66506">
                  <c:v>29072</c:v>
                </c:pt>
                <c:pt idx="66507">
                  <c:v>42521</c:v>
                </c:pt>
                <c:pt idx="66508">
                  <c:v>77878</c:v>
                </c:pt>
                <c:pt idx="66509">
                  <c:v>35830</c:v>
                </c:pt>
                <c:pt idx="66510">
                  <c:v>234302</c:v>
                </c:pt>
                <c:pt idx="66511">
                  <c:v>47993</c:v>
                </c:pt>
                <c:pt idx="66512">
                  <c:v>91967</c:v>
                </c:pt>
                <c:pt idx="66513">
                  <c:v>36503</c:v>
                </c:pt>
                <c:pt idx="66514">
                  <c:v>53808</c:v>
                </c:pt>
                <c:pt idx="66515">
                  <c:v>38803</c:v>
                </c:pt>
                <c:pt idx="66516">
                  <c:v>184884</c:v>
                </c:pt>
                <c:pt idx="66517">
                  <c:v>54576</c:v>
                </c:pt>
                <c:pt idx="66518">
                  <c:v>79607</c:v>
                </c:pt>
                <c:pt idx="66519">
                  <c:v>156970</c:v>
                </c:pt>
                <c:pt idx="66520">
                  <c:v>24208</c:v>
                </c:pt>
                <c:pt idx="66521">
                  <c:v>106438</c:v>
                </c:pt>
                <c:pt idx="66522">
                  <c:v>95786</c:v>
                </c:pt>
                <c:pt idx="66523">
                  <c:v>34988</c:v>
                </c:pt>
                <c:pt idx="66524">
                  <c:v>32690</c:v>
                </c:pt>
                <c:pt idx="66525">
                  <c:v>57907</c:v>
                </c:pt>
                <c:pt idx="66526">
                  <c:v>168720</c:v>
                </c:pt>
                <c:pt idx="66527">
                  <c:v>36829</c:v>
                </c:pt>
                <c:pt idx="66528">
                  <c:v>32255</c:v>
                </c:pt>
                <c:pt idx="66529">
                  <c:v>39125</c:v>
                </c:pt>
                <c:pt idx="66530">
                  <c:v>69577</c:v>
                </c:pt>
                <c:pt idx="66531">
                  <c:v>69081</c:v>
                </c:pt>
                <c:pt idx="66532">
                  <c:v>24268</c:v>
                </c:pt>
                <c:pt idx="66533">
                  <c:v>41180</c:v>
                </c:pt>
                <c:pt idx="66534">
                  <c:v>115592</c:v>
                </c:pt>
                <c:pt idx="66535">
                  <c:v>67182</c:v>
                </c:pt>
                <c:pt idx="66536">
                  <c:v>30616</c:v>
                </c:pt>
                <c:pt idx="66537">
                  <c:v>76665</c:v>
                </c:pt>
                <c:pt idx="66538">
                  <c:v>27421</c:v>
                </c:pt>
                <c:pt idx="66539">
                  <c:v>22436</c:v>
                </c:pt>
                <c:pt idx="66540">
                  <c:v>79223</c:v>
                </c:pt>
                <c:pt idx="66541">
                  <c:v>56528</c:v>
                </c:pt>
                <c:pt idx="66542">
                  <c:v>27546</c:v>
                </c:pt>
                <c:pt idx="66543">
                  <c:v>52397</c:v>
                </c:pt>
                <c:pt idx="66544">
                  <c:v>173577</c:v>
                </c:pt>
                <c:pt idx="66545">
                  <c:v>38660</c:v>
                </c:pt>
                <c:pt idx="66546">
                  <c:v>37674</c:v>
                </c:pt>
                <c:pt idx="66547">
                  <c:v>28138</c:v>
                </c:pt>
                <c:pt idx="66548">
                  <c:v>49475</c:v>
                </c:pt>
                <c:pt idx="66549">
                  <c:v>43301</c:v>
                </c:pt>
                <c:pt idx="66550">
                  <c:v>37428</c:v>
                </c:pt>
                <c:pt idx="66551">
                  <c:v>49356</c:v>
                </c:pt>
                <c:pt idx="66552">
                  <c:v>47031</c:v>
                </c:pt>
                <c:pt idx="66553">
                  <c:v>30285</c:v>
                </c:pt>
                <c:pt idx="66554">
                  <c:v>111491</c:v>
                </c:pt>
                <c:pt idx="66555">
                  <c:v>56242</c:v>
                </c:pt>
                <c:pt idx="66556">
                  <c:v>41118</c:v>
                </c:pt>
                <c:pt idx="66557">
                  <c:v>32219</c:v>
                </c:pt>
                <c:pt idx="66558">
                  <c:v>35404</c:v>
                </c:pt>
                <c:pt idx="66559">
                  <c:v>70324</c:v>
                </c:pt>
                <c:pt idx="66560">
                  <c:v>34462</c:v>
                </c:pt>
                <c:pt idx="66561">
                  <c:v>58329</c:v>
                </c:pt>
                <c:pt idx="66562">
                  <c:v>34622</c:v>
                </c:pt>
                <c:pt idx="66563">
                  <c:v>81812</c:v>
                </c:pt>
                <c:pt idx="66564">
                  <c:v>40193</c:v>
                </c:pt>
                <c:pt idx="66565">
                  <c:v>308837</c:v>
                </c:pt>
                <c:pt idx="66566">
                  <c:v>43868</c:v>
                </c:pt>
                <c:pt idx="66567">
                  <c:v>28997</c:v>
                </c:pt>
                <c:pt idx="66568">
                  <c:v>91479</c:v>
                </c:pt>
                <c:pt idx="66569">
                  <c:v>56113</c:v>
                </c:pt>
                <c:pt idx="66570">
                  <c:v>41456</c:v>
                </c:pt>
                <c:pt idx="66571">
                  <c:v>57759</c:v>
                </c:pt>
                <c:pt idx="66572">
                  <c:v>23046</c:v>
                </c:pt>
                <c:pt idx="66573">
                  <c:v>52006</c:v>
                </c:pt>
                <c:pt idx="66574">
                  <c:v>26996</c:v>
                </c:pt>
                <c:pt idx="66575">
                  <c:v>47969</c:v>
                </c:pt>
                <c:pt idx="66576">
                  <c:v>45799</c:v>
                </c:pt>
                <c:pt idx="66577">
                  <c:v>24954</c:v>
                </c:pt>
                <c:pt idx="66578">
                  <c:v>31027</c:v>
                </c:pt>
                <c:pt idx="66579">
                  <c:v>24825</c:v>
                </c:pt>
                <c:pt idx="66580">
                  <c:v>39888</c:v>
                </c:pt>
                <c:pt idx="66581">
                  <c:v>159509</c:v>
                </c:pt>
                <c:pt idx="66582">
                  <c:v>85535</c:v>
                </c:pt>
                <c:pt idx="66583">
                  <c:v>36588</c:v>
                </c:pt>
                <c:pt idx="66584">
                  <c:v>127532</c:v>
                </c:pt>
                <c:pt idx="66585">
                  <c:v>51283</c:v>
                </c:pt>
                <c:pt idx="66586">
                  <c:v>41922</c:v>
                </c:pt>
                <c:pt idx="66587">
                  <c:v>84099</c:v>
                </c:pt>
                <c:pt idx="66588">
                  <c:v>37314</c:v>
                </c:pt>
                <c:pt idx="66589">
                  <c:v>37545</c:v>
                </c:pt>
                <c:pt idx="66590">
                  <c:v>34052</c:v>
                </c:pt>
                <c:pt idx="66591">
                  <c:v>42307</c:v>
                </c:pt>
                <c:pt idx="66592">
                  <c:v>175321</c:v>
                </c:pt>
                <c:pt idx="66593">
                  <c:v>33446</c:v>
                </c:pt>
                <c:pt idx="66594">
                  <c:v>239372</c:v>
                </c:pt>
                <c:pt idx="66595">
                  <c:v>56749</c:v>
                </c:pt>
                <c:pt idx="66596">
                  <c:v>26207</c:v>
                </c:pt>
                <c:pt idx="66597">
                  <c:v>50337</c:v>
                </c:pt>
                <c:pt idx="66598">
                  <c:v>19133</c:v>
                </c:pt>
                <c:pt idx="66599">
                  <c:v>89854</c:v>
                </c:pt>
                <c:pt idx="66600">
                  <c:v>254743</c:v>
                </c:pt>
                <c:pt idx="66601">
                  <c:v>61286</c:v>
                </c:pt>
                <c:pt idx="66602">
                  <c:v>23083</c:v>
                </c:pt>
                <c:pt idx="66603">
                  <c:v>71680</c:v>
                </c:pt>
                <c:pt idx="66604">
                  <c:v>42970</c:v>
                </c:pt>
                <c:pt idx="66605">
                  <c:v>221501</c:v>
                </c:pt>
                <c:pt idx="66606">
                  <c:v>43664</c:v>
                </c:pt>
                <c:pt idx="66607">
                  <c:v>86766</c:v>
                </c:pt>
                <c:pt idx="66608">
                  <c:v>41370</c:v>
                </c:pt>
                <c:pt idx="66609">
                  <c:v>26135</c:v>
                </c:pt>
                <c:pt idx="66610">
                  <c:v>26215</c:v>
                </c:pt>
                <c:pt idx="66611">
                  <c:v>23556</c:v>
                </c:pt>
                <c:pt idx="66612">
                  <c:v>59881</c:v>
                </c:pt>
                <c:pt idx="66613">
                  <c:v>151301</c:v>
                </c:pt>
                <c:pt idx="66614">
                  <c:v>30171</c:v>
                </c:pt>
                <c:pt idx="66615">
                  <c:v>68615</c:v>
                </c:pt>
                <c:pt idx="66616">
                  <c:v>78657</c:v>
                </c:pt>
                <c:pt idx="66617">
                  <c:v>30728</c:v>
                </c:pt>
                <c:pt idx="66618">
                  <c:v>25225</c:v>
                </c:pt>
                <c:pt idx="66619">
                  <c:v>44244</c:v>
                </c:pt>
                <c:pt idx="66620">
                  <c:v>26990</c:v>
                </c:pt>
                <c:pt idx="66621">
                  <c:v>90054</c:v>
                </c:pt>
                <c:pt idx="66622">
                  <c:v>194783</c:v>
                </c:pt>
                <c:pt idx="66623">
                  <c:v>73774</c:v>
                </c:pt>
                <c:pt idx="66624">
                  <c:v>59030</c:v>
                </c:pt>
                <c:pt idx="66625">
                  <c:v>35391</c:v>
                </c:pt>
                <c:pt idx="66626">
                  <c:v>35464</c:v>
                </c:pt>
                <c:pt idx="66627">
                  <c:v>104148</c:v>
                </c:pt>
                <c:pt idx="66628">
                  <c:v>46475</c:v>
                </c:pt>
                <c:pt idx="66629">
                  <c:v>86131</c:v>
                </c:pt>
                <c:pt idx="66630">
                  <c:v>52307</c:v>
                </c:pt>
                <c:pt idx="66631">
                  <c:v>40357</c:v>
                </c:pt>
                <c:pt idx="66632">
                  <c:v>234328</c:v>
                </c:pt>
                <c:pt idx="66633">
                  <c:v>37358</c:v>
                </c:pt>
                <c:pt idx="66634">
                  <c:v>172872</c:v>
                </c:pt>
                <c:pt idx="66635">
                  <c:v>25225</c:v>
                </c:pt>
                <c:pt idx="66636">
                  <c:v>27755</c:v>
                </c:pt>
                <c:pt idx="66637">
                  <c:v>106049</c:v>
                </c:pt>
                <c:pt idx="66638">
                  <c:v>40669</c:v>
                </c:pt>
                <c:pt idx="66639">
                  <c:v>231191</c:v>
                </c:pt>
                <c:pt idx="66640">
                  <c:v>37295</c:v>
                </c:pt>
                <c:pt idx="66641">
                  <c:v>43356</c:v>
                </c:pt>
                <c:pt idx="66642">
                  <c:v>134901</c:v>
                </c:pt>
                <c:pt idx="66643">
                  <c:v>44144</c:v>
                </c:pt>
                <c:pt idx="66644">
                  <c:v>66381</c:v>
                </c:pt>
                <c:pt idx="66645">
                  <c:v>22792</c:v>
                </c:pt>
                <c:pt idx="66646">
                  <c:v>26493</c:v>
                </c:pt>
                <c:pt idx="66647">
                  <c:v>179342</c:v>
                </c:pt>
                <c:pt idx="66648">
                  <c:v>76805</c:v>
                </c:pt>
                <c:pt idx="66649">
                  <c:v>62819</c:v>
                </c:pt>
                <c:pt idx="66650">
                  <c:v>26847</c:v>
                </c:pt>
                <c:pt idx="66651">
                  <c:v>220917</c:v>
                </c:pt>
                <c:pt idx="66652">
                  <c:v>55928</c:v>
                </c:pt>
                <c:pt idx="66653">
                  <c:v>94882</c:v>
                </c:pt>
                <c:pt idx="66654">
                  <c:v>96571</c:v>
                </c:pt>
                <c:pt idx="66655">
                  <c:v>36451</c:v>
                </c:pt>
                <c:pt idx="66656">
                  <c:v>42750</c:v>
                </c:pt>
                <c:pt idx="66657">
                  <c:v>90685</c:v>
                </c:pt>
                <c:pt idx="66658">
                  <c:v>69310</c:v>
                </c:pt>
                <c:pt idx="66659">
                  <c:v>109694</c:v>
                </c:pt>
                <c:pt idx="66660">
                  <c:v>27271</c:v>
                </c:pt>
                <c:pt idx="66661">
                  <c:v>43575</c:v>
                </c:pt>
                <c:pt idx="66662">
                  <c:v>39999</c:v>
                </c:pt>
                <c:pt idx="66663">
                  <c:v>33798</c:v>
                </c:pt>
                <c:pt idx="66664">
                  <c:v>103546</c:v>
                </c:pt>
                <c:pt idx="66665">
                  <c:v>53008</c:v>
                </c:pt>
                <c:pt idx="66666">
                  <c:v>28833</c:v>
                </c:pt>
                <c:pt idx="66667">
                  <c:v>109716</c:v>
                </c:pt>
                <c:pt idx="66668">
                  <c:v>33848</c:v>
                </c:pt>
                <c:pt idx="66669">
                  <c:v>27562</c:v>
                </c:pt>
                <c:pt idx="66670">
                  <c:v>102051</c:v>
                </c:pt>
                <c:pt idx="66671">
                  <c:v>38828</c:v>
                </c:pt>
                <c:pt idx="66672">
                  <c:v>66209</c:v>
                </c:pt>
                <c:pt idx="66673">
                  <c:v>138208</c:v>
                </c:pt>
                <c:pt idx="66674">
                  <c:v>50335</c:v>
                </c:pt>
                <c:pt idx="66675">
                  <c:v>44502</c:v>
                </c:pt>
                <c:pt idx="66676">
                  <c:v>134275</c:v>
                </c:pt>
                <c:pt idx="66677">
                  <c:v>41719</c:v>
                </c:pt>
                <c:pt idx="66678">
                  <c:v>39299</c:v>
                </c:pt>
                <c:pt idx="66679">
                  <c:v>67345</c:v>
                </c:pt>
                <c:pt idx="66680">
                  <c:v>32100</c:v>
                </c:pt>
                <c:pt idx="66681">
                  <c:v>30150</c:v>
                </c:pt>
                <c:pt idx="66682">
                  <c:v>31925</c:v>
                </c:pt>
                <c:pt idx="66683">
                  <c:v>53830</c:v>
                </c:pt>
                <c:pt idx="66684">
                  <c:v>44978</c:v>
                </c:pt>
                <c:pt idx="66685">
                  <c:v>80515</c:v>
                </c:pt>
                <c:pt idx="66686">
                  <c:v>81303</c:v>
                </c:pt>
                <c:pt idx="66687">
                  <c:v>33083</c:v>
                </c:pt>
                <c:pt idx="66688">
                  <c:v>38828</c:v>
                </c:pt>
                <c:pt idx="66689">
                  <c:v>66838</c:v>
                </c:pt>
                <c:pt idx="66690">
                  <c:v>55424</c:v>
                </c:pt>
                <c:pt idx="66691">
                  <c:v>106812</c:v>
                </c:pt>
                <c:pt idx="66692">
                  <c:v>179751</c:v>
                </c:pt>
                <c:pt idx="66693">
                  <c:v>25954</c:v>
                </c:pt>
                <c:pt idx="66694">
                  <c:v>68941</c:v>
                </c:pt>
                <c:pt idx="66695">
                  <c:v>73116</c:v>
                </c:pt>
                <c:pt idx="66696">
                  <c:v>59607</c:v>
                </c:pt>
                <c:pt idx="66697">
                  <c:v>32959</c:v>
                </c:pt>
                <c:pt idx="66698">
                  <c:v>64378</c:v>
                </c:pt>
                <c:pt idx="66699">
                  <c:v>40978</c:v>
                </c:pt>
                <c:pt idx="66700">
                  <c:v>49547</c:v>
                </c:pt>
                <c:pt idx="66701">
                  <c:v>43725</c:v>
                </c:pt>
                <c:pt idx="66702">
                  <c:v>52009</c:v>
                </c:pt>
                <c:pt idx="66703">
                  <c:v>70231</c:v>
                </c:pt>
                <c:pt idx="66704">
                  <c:v>102758</c:v>
                </c:pt>
                <c:pt idx="66705">
                  <c:v>46676</c:v>
                </c:pt>
                <c:pt idx="66706">
                  <c:v>86085</c:v>
                </c:pt>
                <c:pt idx="66707">
                  <c:v>29229</c:v>
                </c:pt>
                <c:pt idx="66708">
                  <c:v>60106</c:v>
                </c:pt>
                <c:pt idx="66709">
                  <c:v>31695</c:v>
                </c:pt>
                <c:pt idx="66710">
                  <c:v>56535</c:v>
                </c:pt>
                <c:pt idx="66711">
                  <c:v>44838</c:v>
                </c:pt>
                <c:pt idx="66712">
                  <c:v>42629</c:v>
                </c:pt>
                <c:pt idx="66713">
                  <c:v>25357</c:v>
                </c:pt>
                <c:pt idx="66714">
                  <c:v>53717</c:v>
                </c:pt>
                <c:pt idx="66715">
                  <c:v>79479</c:v>
                </c:pt>
                <c:pt idx="66716">
                  <c:v>31220</c:v>
                </c:pt>
                <c:pt idx="66717">
                  <c:v>24852</c:v>
                </c:pt>
                <c:pt idx="66718">
                  <c:v>57930</c:v>
                </c:pt>
                <c:pt idx="66719">
                  <c:v>24793</c:v>
                </c:pt>
                <c:pt idx="66720">
                  <c:v>22192</c:v>
                </c:pt>
                <c:pt idx="66721">
                  <c:v>91064</c:v>
                </c:pt>
                <c:pt idx="66722">
                  <c:v>61965</c:v>
                </c:pt>
                <c:pt idx="66723">
                  <c:v>42227</c:v>
                </c:pt>
                <c:pt idx="66724">
                  <c:v>97665</c:v>
                </c:pt>
                <c:pt idx="66725">
                  <c:v>134802</c:v>
                </c:pt>
                <c:pt idx="66726">
                  <c:v>40619</c:v>
                </c:pt>
                <c:pt idx="66727">
                  <c:v>38817</c:v>
                </c:pt>
                <c:pt idx="66728">
                  <c:v>39893</c:v>
                </c:pt>
                <c:pt idx="66729">
                  <c:v>43196</c:v>
                </c:pt>
                <c:pt idx="66730">
                  <c:v>36476</c:v>
                </c:pt>
                <c:pt idx="66731">
                  <c:v>108628</c:v>
                </c:pt>
                <c:pt idx="66732">
                  <c:v>149981</c:v>
                </c:pt>
                <c:pt idx="66733">
                  <c:v>53105</c:v>
                </c:pt>
                <c:pt idx="66734">
                  <c:v>29111</c:v>
                </c:pt>
                <c:pt idx="66735">
                  <c:v>43326</c:v>
                </c:pt>
                <c:pt idx="66736">
                  <c:v>34933</c:v>
                </c:pt>
                <c:pt idx="66737">
                  <c:v>86985</c:v>
                </c:pt>
                <c:pt idx="66738">
                  <c:v>53996</c:v>
                </c:pt>
                <c:pt idx="66739">
                  <c:v>85880</c:v>
                </c:pt>
                <c:pt idx="66740">
                  <c:v>53112</c:v>
                </c:pt>
                <c:pt idx="66741">
                  <c:v>32738</c:v>
                </c:pt>
                <c:pt idx="66742">
                  <c:v>27437</c:v>
                </c:pt>
                <c:pt idx="66743">
                  <c:v>60221</c:v>
                </c:pt>
                <c:pt idx="66744">
                  <c:v>101880</c:v>
                </c:pt>
                <c:pt idx="66745">
                  <c:v>57945</c:v>
                </c:pt>
                <c:pt idx="66746">
                  <c:v>35703</c:v>
                </c:pt>
                <c:pt idx="66747">
                  <c:v>31023</c:v>
                </c:pt>
                <c:pt idx="66748">
                  <c:v>33357</c:v>
                </c:pt>
                <c:pt idx="66749">
                  <c:v>39006</c:v>
                </c:pt>
                <c:pt idx="66750">
                  <c:v>27102</c:v>
                </c:pt>
                <c:pt idx="66751">
                  <c:v>97021</c:v>
                </c:pt>
                <c:pt idx="66752">
                  <c:v>27539</c:v>
                </c:pt>
                <c:pt idx="66753">
                  <c:v>37647</c:v>
                </c:pt>
                <c:pt idx="66754">
                  <c:v>98021</c:v>
                </c:pt>
                <c:pt idx="66755">
                  <c:v>241141</c:v>
                </c:pt>
                <c:pt idx="66756">
                  <c:v>51980</c:v>
                </c:pt>
                <c:pt idx="66757">
                  <c:v>30459</c:v>
                </c:pt>
                <c:pt idx="66758">
                  <c:v>66519</c:v>
                </c:pt>
                <c:pt idx="66759">
                  <c:v>56935</c:v>
                </c:pt>
                <c:pt idx="66760">
                  <c:v>57548</c:v>
                </c:pt>
                <c:pt idx="66761">
                  <c:v>37614</c:v>
                </c:pt>
                <c:pt idx="66762">
                  <c:v>76056</c:v>
                </c:pt>
                <c:pt idx="66763">
                  <c:v>37845</c:v>
                </c:pt>
                <c:pt idx="66764">
                  <c:v>33557</c:v>
                </c:pt>
                <c:pt idx="66765">
                  <c:v>35587</c:v>
                </c:pt>
                <c:pt idx="66766">
                  <c:v>242499</c:v>
                </c:pt>
                <c:pt idx="66767">
                  <c:v>65521</c:v>
                </c:pt>
                <c:pt idx="66768">
                  <c:v>25691</c:v>
                </c:pt>
                <c:pt idx="66769">
                  <c:v>32899</c:v>
                </c:pt>
                <c:pt idx="66770">
                  <c:v>48080</c:v>
                </c:pt>
                <c:pt idx="66771">
                  <c:v>51837</c:v>
                </c:pt>
                <c:pt idx="66772">
                  <c:v>64178</c:v>
                </c:pt>
                <c:pt idx="66773">
                  <c:v>43160</c:v>
                </c:pt>
                <c:pt idx="66774">
                  <c:v>25942</c:v>
                </c:pt>
                <c:pt idx="66775">
                  <c:v>25706</c:v>
                </c:pt>
                <c:pt idx="66776">
                  <c:v>26276</c:v>
                </c:pt>
                <c:pt idx="66777">
                  <c:v>72821</c:v>
                </c:pt>
                <c:pt idx="66778">
                  <c:v>117367</c:v>
                </c:pt>
                <c:pt idx="66779">
                  <c:v>22240</c:v>
                </c:pt>
                <c:pt idx="66780">
                  <c:v>23552</c:v>
                </c:pt>
                <c:pt idx="66781">
                  <c:v>35192</c:v>
                </c:pt>
                <c:pt idx="66782">
                  <c:v>72080</c:v>
                </c:pt>
                <c:pt idx="66783">
                  <c:v>49660</c:v>
                </c:pt>
                <c:pt idx="66784">
                  <c:v>71144</c:v>
                </c:pt>
                <c:pt idx="66785">
                  <c:v>45205</c:v>
                </c:pt>
                <c:pt idx="66786">
                  <c:v>24509</c:v>
                </c:pt>
                <c:pt idx="66787">
                  <c:v>62872</c:v>
                </c:pt>
                <c:pt idx="66788">
                  <c:v>25248</c:v>
                </c:pt>
                <c:pt idx="66789">
                  <c:v>194600</c:v>
                </c:pt>
                <c:pt idx="66790">
                  <c:v>49176</c:v>
                </c:pt>
                <c:pt idx="66791">
                  <c:v>53686</c:v>
                </c:pt>
                <c:pt idx="66792">
                  <c:v>39318</c:v>
                </c:pt>
                <c:pt idx="66793">
                  <c:v>34835</c:v>
                </c:pt>
                <c:pt idx="66794">
                  <c:v>23341</c:v>
                </c:pt>
                <c:pt idx="66795">
                  <c:v>40020</c:v>
                </c:pt>
                <c:pt idx="66796">
                  <c:v>67618</c:v>
                </c:pt>
                <c:pt idx="66797">
                  <c:v>91321</c:v>
                </c:pt>
                <c:pt idx="66798">
                  <c:v>30867</c:v>
                </c:pt>
                <c:pt idx="66799">
                  <c:v>43005</c:v>
                </c:pt>
                <c:pt idx="66800">
                  <c:v>257012</c:v>
                </c:pt>
                <c:pt idx="66801">
                  <c:v>37613</c:v>
                </c:pt>
                <c:pt idx="66802">
                  <c:v>273396</c:v>
                </c:pt>
                <c:pt idx="66803">
                  <c:v>69302</c:v>
                </c:pt>
                <c:pt idx="66804">
                  <c:v>182427</c:v>
                </c:pt>
                <c:pt idx="66805">
                  <c:v>172998</c:v>
                </c:pt>
                <c:pt idx="66806">
                  <c:v>34172</c:v>
                </c:pt>
                <c:pt idx="66807">
                  <c:v>110845</c:v>
                </c:pt>
                <c:pt idx="66808">
                  <c:v>31771</c:v>
                </c:pt>
                <c:pt idx="66809">
                  <c:v>67459</c:v>
                </c:pt>
                <c:pt idx="66810">
                  <c:v>33422</c:v>
                </c:pt>
                <c:pt idx="66811">
                  <c:v>149166</c:v>
                </c:pt>
                <c:pt idx="66812">
                  <c:v>24101</c:v>
                </c:pt>
                <c:pt idx="66813">
                  <c:v>133412</c:v>
                </c:pt>
                <c:pt idx="66814">
                  <c:v>85223</c:v>
                </c:pt>
                <c:pt idx="66815">
                  <c:v>32342</c:v>
                </c:pt>
                <c:pt idx="66816">
                  <c:v>61493</c:v>
                </c:pt>
                <c:pt idx="66817">
                  <c:v>51539</c:v>
                </c:pt>
                <c:pt idx="66818">
                  <c:v>42587</c:v>
                </c:pt>
                <c:pt idx="66819">
                  <c:v>53518</c:v>
                </c:pt>
                <c:pt idx="66820">
                  <c:v>27714</c:v>
                </c:pt>
                <c:pt idx="66821">
                  <c:v>27265</c:v>
                </c:pt>
                <c:pt idx="66822">
                  <c:v>60821</c:v>
                </c:pt>
                <c:pt idx="66823">
                  <c:v>25218</c:v>
                </c:pt>
                <c:pt idx="66824">
                  <c:v>34321</c:v>
                </c:pt>
                <c:pt idx="66825">
                  <c:v>84150</c:v>
                </c:pt>
                <c:pt idx="66826">
                  <c:v>85140</c:v>
                </c:pt>
                <c:pt idx="66827">
                  <c:v>53447</c:v>
                </c:pt>
                <c:pt idx="66828">
                  <c:v>24254</c:v>
                </c:pt>
                <c:pt idx="66829">
                  <c:v>93529</c:v>
                </c:pt>
                <c:pt idx="66830">
                  <c:v>29933</c:v>
                </c:pt>
                <c:pt idx="66831">
                  <c:v>89400</c:v>
                </c:pt>
                <c:pt idx="66832">
                  <c:v>35184</c:v>
                </c:pt>
                <c:pt idx="66833">
                  <c:v>24924</c:v>
                </c:pt>
                <c:pt idx="66834">
                  <c:v>46021</c:v>
                </c:pt>
                <c:pt idx="66835">
                  <c:v>45405</c:v>
                </c:pt>
                <c:pt idx="66836">
                  <c:v>34737</c:v>
                </c:pt>
                <c:pt idx="66837">
                  <c:v>35359</c:v>
                </c:pt>
                <c:pt idx="66838">
                  <c:v>25034</c:v>
                </c:pt>
                <c:pt idx="66839">
                  <c:v>179309</c:v>
                </c:pt>
                <c:pt idx="66840">
                  <c:v>49612</c:v>
                </c:pt>
                <c:pt idx="66841">
                  <c:v>51292</c:v>
                </c:pt>
                <c:pt idx="66842">
                  <c:v>20748</c:v>
                </c:pt>
                <c:pt idx="66843">
                  <c:v>59562</c:v>
                </c:pt>
                <c:pt idx="66844">
                  <c:v>31551</c:v>
                </c:pt>
                <c:pt idx="66845">
                  <c:v>22669</c:v>
                </c:pt>
                <c:pt idx="66846">
                  <c:v>35217</c:v>
                </c:pt>
                <c:pt idx="66847">
                  <c:v>58143</c:v>
                </c:pt>
                <c:pt idx="66848">
                  <c:v>70532</c:v>
                </c:pt>
                <c:pt idx="66849">
                  <c:v>45160</c:v>
                </c:pt>
                <c:pt idx="66850">
                  <c:v>76207</c:v>
                </c:pt>
                <c:pt idx="66851">
                  <c:v>47296</c:v>
                </c:pt>
                <c:pt idx="66852">
                  <c:v>214972</c:v>
                </c:pt>
                <c:pt idx="66853">
                  <c:v>54442</c:v>
                </c:pt>
                <c:pt idx="66854">
                  <c:v>72802</c:v>
                </c:pt>
                <c:pt idx="66855">
                  <c:v>41316</c:v>
                </c:pt>
                <c:pt idx="66856">
                  <c:v>195326</c:v>
                </c:pt>
                <c:pt idx="66857">
                  <c:v>58133</c:v>
                </c:pt>
                <c:pt idx="66858">
                  <c:v>147212</c:v>
                </c:pt>
                <c:pt idx="66859">
                  <c:v>59599</c:v>
                </c:pt>
                <c:pt idx="66860">
                  <c:v>73657</c:v>
                </c:pt>
                <c:pt idx="66861">
                  <c:v>32504</c:v>
                </c:pt>
                <c:pt idx="66862">
                  <c:v>43935</c:v>
                </c:pt>
                <c:pt idx="66863">
                  <c:v>45384</c:v>
                </c:pt>
                <c:pt idx="66864">
                  <c:v>47094</c:v>
                </c:pt>
                <c:pt idx="66865">
                  <c:v>100382</c:v>
                </c:pt>
                <c:pt idx="66866">
                  <c:v>27992</c:v>
                </c:pt>
                <c:pt idx="66867">
                  <c:v>40841</c:v>
                </c:pt>
                <c:pt idx="66868">
                  <c:v>24276</c:v>
                </c:pt>
                <c:pt idx="66869">
                  <c:v>257568</c:v>
                </c:pt>
                <c:pt idx="66870">
                  <c:v>36890</c:v>
                </c:pt>
                <c:pt idx="66871">
                  <c:v>36208</c:v>
                </c:pt>
                <c:pt idx="66872">
                  <c:v>52671</c:v>
                </c:pt>
                <c:pt idx="66873">
                  <c:v>58365</c:v>
                </c:pt>
                <c:pt idx="66874">
                  <c:v>25301</c:v>
                </c:pt>
                <c:pt idx="66875">
                  <c:v>42036</c:v>
                </c:pt>
                <c:pt idx="66876">
                  <c:v>57878</c:v>
                </c:pt>
                <c:pt idx="66877">
                  <c:v>90195</c:v>
                </c:pt>
                <c:pt idx="66878">
                  <c:v>85271</c:v>
                </c:pt>
                <c:pt idx="66879">
                  <c:v>133410</c:v>
                </c:pt>
                <c:pt idx="66880">
                  <c:v>32932</c:v>
                </c:pt>
                <c:pt idx="66881">
                  <c:v>187881</c:v>
                </c:pt>
                <c:pt idx="66882">
                  <c:v>29997</c:v>
                </c:pt>
                <c:pt idx="66883">
                  <c:v>29089</c:v>
                </c:pt>
                <c:pt idx="66884">
                  <c:v>29358</c:v>
                </c:pt>
                <c:pt idx="66885">
                  <c:v>59114</c:v>
                </c:pt>
                <c:pt idx="66886">
                  <c:v>49406</c:v>
                </c:pt>
                <c:pt idx="66887">
                  <c:v>36977</c:v>
                </c:pt>
                <c:pt idx="66888">
                  <c:v>90483</c:v>
                </c:pt>
                <c:pt idx="66889">
                  <c:v>119168</c:v>
                </c:pt>
                <c:pt idx="66890">
                  <c:v>65472</c:v>
                </c:pt>
                <c:pt idx="66891">
                  <c:v>39889</c:v>
                </c:pt>
                <c:pt idx="66892">
                  <c:v>24289</c:v>
                </c:pt>
                <c:pt idx="66893">
                  <c:v>36694</c:v>
                </c:pt>
                <c:pt idx="66894">
                  <c:v>47150</c:v>
                </c:pt>
                <c:pt idx="66895">
                  <c:v>43404</c:v>
                </c:pt>
                <c:pt idx="66896">
                  <c:v>49057</c:v>
                </c:pt>
                <c:pt idx="66897">
                  <c:v>172789</c:v>
                </c:pt>
                <c:pt idx="66898">
                  <c:v>38785</c:v>
                </c:pt>
                <c:pt idx="66899">
                  <c:v>26793</c:v>
                </c:pt>
                <c:pt idx="66900">
                  <c:v>30698</c:v>
                </c:pt>
                <c:pt idx="66901">
                  <c:v>87710</c:v>
                </c:pt>
                <c:pt idx="66902">
                  <c:v>31813</c:v>
                </c:pt>
                <c:pt idx="66903">
                  <c:v>32255</c:v>
                </c:pt>
                <c:pt idx="66904">
                  <c:v>160488</c:v>
                </c:pt>
                <c:pt idx="66905">
                  <c:v>38456</c:v>
                </c:pt>
                <c:pt idx="66906">
                  <c:v>34184</c:v>
                </c:pt>
                <c:pt idx="66907">
                  <c:v>62386</c:v>
                </c:pt>
                <c:pt idx="66908">
                  <c:v>53303</c:v>
                </c:pt>
                <c:pt idx="66909">
                  <c:v>54348</c:v>
                </c:pt>
                <c:pt idx="66910">
                  <c:v>40076</c:v>
                </c:pt>
                <c:pt idx="66911">
                  <c:v>43078</c:v>
                </c:pt>
                <c:pt idx="66912">
                  <c:v>58342</c:v>
                </c:pt>
                <c:pt idx="66913">
                  <c:v>33607</c:v>
                </c:pt>
                <c:pt idx="66914">
                  <c:v>38164</c:v>
                </c:pt>
                <c:pt idx="66915">
                  <c:v>66090</c:v>
                </c:pt>
                <c:pt idx="66916">
                  <c:v>123065</c:v>
                </c:pt>
                <c:pt idx="66917">
                  <c:v>36522</c:v>
                </c:pt>
                <c:pt idx="66918">
                  <c:v>71165</c:v>
                </c:pt>
                <c:pt idx="66919">
                  <c:v>139180</c:v>
                </c:pt>
                <c:pt idx="66920">
                  <c:v>33645</c:v>
                </c:pt>
                <c:pt idx="66921">
                  <c:v>32730</c:v>
                </c:pt>
                <c:pt idx="66922">
                  <c:v>44663</c:v>
                </c:pt>
                <c:pt idx="66923">
                  <c:v>39379</c:v>
                </c:pt>
                <c:pt idx="66924">
                  <c:v>72234</c:v>
                </c:pt>
                <c:pt idx="66925">
                  <c:v>119203</c:v>
                </c:pt>
                <c:pt idx="66926">
                  <c:v>35066</c:v>
                </c:pt>
                <c:pt idx="66927">
                  <c:v>39372</c:v>
                </c:pt>
                <c:pt idx="66928">
                  <c:v>39338</c:v>
                </c:pt>
                <c:pt idx="66929">
                  <c:v>73168</c:v>
                </c:pt>
                <c:pt idx="66930">
                  <c:v>19880</c:v>
                </c:pt>
                <c:pt idx="66931">
                  <c:v>30157</c:v>
                </c:pt>
                <c:pt idx="66932">
                  <c:v>34718</c:v>
                </c:pt>
                <c:pt idx="66933">
                  <c:v>41083</c:v>
                </c:pt>
                <c:pt idx="66934">
                  <c:v>53821</c:v>
                </c:pt>
                <c:pt idx="66935">
                  <c:v>27910</c:v>
                </c:pt>
                <c:pt idx="66936">
                  <c:v>68098</c:v>
                </c:pt>
                <c:pt idx="66937">
                  <c:v>22679</c:v>
                </c:pt>
                <c:pt idx="66938">
                  <c:v>245454</c:v>
                </c:pt>
                <c:pt idx="66939">
                  <c:v>28533</c:v>
                </c:pt>
                <c:pt idx="66940">
                  <c:v>72005</c:v>
                </c:pt>
                <c:pt idx="66941">
                  <c:v>26423</c:v>
                </c:pt>
                <c:pt idx="66942">
                  <c:v>47156</c:v>
                </c:pt>
                <c:pt idx="66943">
                  <c:v>40475</c:v>
                </c:pt>
                <c:pt idx="66944">
                  <c:v>48473</c:v>
                </c:pt>
                <c:pt idx="66945">
                  <c:v>37517</c:v>
                </c:pt>
                <c:pt idx="66946">
                  <c:v>171405</c:v>
                </c:pt>
                <c:pt idx="66947">
                  <c:v>32300</c:v>
                </c:pt>
                <c:pt idx="66948">
                  <c:v>40783</c:v>
                </c:pt>
                <c:pt idx="66949">
                  <c:v>71615</c:v>
                </c:pt>
                <c:pt idx="66950">
                  <c:v>51784</c:v>
                </c:pt>
                <c:pt idx="66951">
                  <c:v>29647</c:v>
                </c:pt>
                <c:pt idx="66952">
                  <c:v>49490</c:v>
                </c:pt>
                <c:pt idx="66953">
                  <c:v>47782</c:v>
                </c:pt>
                <c:pt idx="66954">
                  <c:v>88478</c:v>
                </c:pt>
                <c:pt idx="66955">
                  <c:v>202462</c:v>
                </c:pt>
                <c:pt idx="66956">
                  <c:v>39184</c:v>
                </c:pt>
                <c:pt idx="66957">
                  <c:v>27891</c:v>
                </c:pt>
                <c:pt idx="66958">
                  <c:v>430315</c:v>
                </c:pt>
                <c:pt idx="66959">
                  <c:v>27354</c:v>
                </c:pt>
                <c:pt idx="66960">
                  <c:v>27907</c:v>
                </c:pt>
                <c:pt idx="66961">
                  <c:v>24203</c:v>
                </c:pt>
                <c:pt idx="66962">
                  <c:v>43851</c:v>
                </c:pt>
                <c:pt idx="66963">
                  <c:v>152549</c:v>
                </c:pt>
                <c:pt idx="66964">
                  <c:v>34869</c:v>
                </c:pt>
                <c:pt idx="66965">
                  <c:v>40663</c:v>
                </c:pt>
                <c:pt idx="66966">
                  <c:v>50186</c:v>
                </c:pt>
                <c:pt idx="66967">
                  <c:v>41231</c:v>
                </c:pt>
                <c:pt idx="66968">
                  <c:v>42269</c:v>
                </c:pt>
                <c:pt idx="66969">
                  <c:v>71552</c:v>
                </c:pt>
                <c:pt idx="66970">
                  <c:v>38505</c:v>
                </c:pt>
                <c:pt idx="66971">
                  <c:v>36707</c:v>
                </c:pt>
                <c:pt idx="66972">
                  <c:v>35997</c:v>
                </c:pt>
                <c:pt idx="66973">
                  <c:v>36592</c:v>
                </c:pt>
                <c:pt idx="66974">
                  <c:v>43213</c:v>
                </c:pt>
                <c:pt idx="66975">
                  <c:v>78516</c:v>
                </c:pt>
                <c:pt idx="66976">
                  <c:v>35955</c:v>
                </c:pt>
                <c:pt idx="66977">
                  <c:v>36287</c:v>
                </c:pt>
                <c:pt idx="66978">
                  <c:v>37248</c:v>
                </c:pt>
                <c:pt idx="66979">
                  <c:v>137900</c:v>
                </c:pt>
                <c:pt idx="66980">
                  <c:v>44144</c:v>
                </c:pt>
                <c:pt idx="66981">
                  <c:v>37928</c:v>
                </c:pt>
                <c:pt idx="66982">
                  <c:v>46194</c:v>
                </c:pt>
                <c:pt idx="66983">
                  <c:v>45456</c:v>
                </c:pt>
                <c:pt idx="66984">
                  <c:v>45338</c:v>
                </c:pt>
                <c:pt idx="66985">
                  <c:v>108860</c:v>
                </c:pt>
                <c:pt idx="66986">
                  <c:v>34103</c:v>
                </c:pt>
                <c:pt idx="66987">
                  <c:v>41250</c:v>
                </c:pt>
                <c:pt idx="66988">
                  <c:v>41693</c:v>
                </c:pt>
                <c:pt idx="66989">
                  <c:v>197625</c:v>
                </c:pt>
                <c:pt idx="66990">
                  <c:v>40549</c:v>
                </c:pt>
                <c:pt idx="66991">
                  <c:v>83301</c:v>
                </c:pt>
                <c:pt idx="66992">
                  <c:v>35685</c:v>
                </c:pt>
                <c:pt idx="66993">
                  <c:v>23930</c:v>
                </c:pt>
                <c:pt idx="66994">
                  <c:v>39523</c:v>
                </c:pt>
                <c:pt idx="66995">
                  <c:v>34862</c:v>
                </c:pt>
                <c:pt idx="66996">
                  <c:v>39058</c:v>
                </c:pt>
                <c:pt idx="66997">
                  <c:v>68507</c:v>
                </c:pt>
                <c:pt idx="66998">
                  <c:v>39014</c:v>
                </c:pt>
                <c:pt idx="66999">
                  <c:v>44700</c:v>
                </c:pt>
                <c:pt idx="67000">
                  <c:v>55954</c:v>
                </c:pt>
                <c:pt idx="67001">
                  <c:v>34143</c:v>
                </c:pt>
                <c:pt idx="67002">
                  <c:v>35437</c:v>
                </c:pt>
                <c:pt idx="67003">
                  <c:v>53074</c:v>
                </c:pt>
                <c:pt idx="67004">
                  <c:v>54233</c:v>
                </c:pt>
                <c:pt idx="67005">
                  <c:v>39505</c:v>
                </c:pt>
                <c:pt idx="67006">
                  <c:v>55416</c:v>
                </c:pt>
                <c:pt idx="67007">
                  <c:v>46213</c:v>
                </c:pt>
                <c:pt idx="67008">
                  <c:v>161704</c:v>
                </c:pt>
                <c:pt idx="67009">
                  <c:v>27880</c:v>
                </c:pt>
                <c:pt idx="67010">
                  <c:v>69550</c:v>
                </c:pt>
                <c:pt idx="67011">
                  <c:v>48242</c:v>
                </c:pt>
                <c:pt idx="67012">
                  <c:v>41691</c:v>
                </c:pt>
                <c:pt idx="67013">
                  <c:v>160831</c:v>
                </c:pt>
                <c:pt idx="67014">
                  <c:v>50099</c:v>
                </c:pt>
                <c:pt idx="67015">
                  <c:v>45196</c:v>
                </c:pt>
                <c:pt idx="67016">
                  <c:v>52563</c:v>
                </c:pt>
                <c:pt idx="67017">
                  <c:v>72729</c:v>
                </c:pt>
                <c:pt idx="67018">
                  <c:v>37353</c:v>
                </c:pt>
                <c:pt idx="67019">
                  <c:v>33387</c:v>
                </c:pt>
                <c:pt idx="67020">
                  <c:v>97424</c:v>
                </c:pt>
                <c:pt idx="67021">
                  <c:v>27871</c:v>
                </c:pt>
                <c:pt idx="67022">
                  <c:v>22289</c:v>
                </c:pt>
                <c:pt idx="67023">
                  <c:v>63829</c:v>
                </c:pt>
                <c:pt idx="67024">
                  <c:v>29005</c:v>
                </c:pt>
                <c:pt idx="67025">
                  <c:v>41321</c:v>
                </c:pt>
                <c:pt idx="67026">
                  <c:v>44099</c:v>
                </c:pt>
                <c:pt idx="67027">
                  <c:v>176149</c:v>
                </c:pt>
                <c:pt idx="67028">
                  <c:v>41196</c:v>
                </c:pt>
                <c:pt idx="67029">
                  <c:v>32260</c:v>
                </c:pt>
                <c:pt idx="67030">
                  <c:v>95060</c:v>
                </c:pt>
                <c:pt idx="67031">
                  <c:v>94379</c:v>
                </c:pt>
                <c:pt idx="67032">
                  <c:v>96335</c:v>
                </c:pt>
                <c:pt idx="67033">
                  <c:v>32768</c:v>
                </c:pt>
                <c:pt idx="67034">
                  <c:v>34224</c:v>
                </c:pt>
                <c:pt idx="67035">
                  <c:v>24752</c:v>
                </c:pt>
                <c:pt idx="67036">
                  <c:v>37152</c:v>
                </c:pt>
                <c:pt idx="67037">
                  <c:v>37627</c:v>
                </c:pt>
                <c:pt idx="67038">
                  <c:v>38334</c:v>
                </c:pt>
                <c:pt idx="67039">
                  <c:v>28595</c:v>
                </c:pt>
                <c:pt idx="67040">
                  <c:v>106926</c:v>
                </c:pt>
                <c:pt idx="67041">
                  <c:v>48137</c:v>
                </c:pt>
                <c:pt idx="67042">
                  <c:v>33609</c:v>
                </c:pt>
                <c:pt idx="67043">
                  <c:v>51504</c:v>
                </c:pt>
                <c:pt idx="67044">
                  <c:v>36008</c:v>
                </c:pt>
                <c:pt idx="67045">
                  <c:v>254996</c:v>
                </c:pt>
                <c:pt idx="67046">
                  <c:v>48646</c:v>
                </c:pt>
                <c:pt idx="67047">
                  <c:v>37244</c:v>
                </c:pt>
                <c:pt idx="67048">
                  <c:v>278809</c:v>
                </c:pt>
                <c:pt idx="67049">
                  <c:v>33613</c:v>
                </c:pt>
                <c:pt idx="67050">
                  <c:v>35303</c:v>
                </c:pt>
                <c:pt idx="67051">
                  <c:v>49627</c:v>
                </c:pt>
                <c:pt idx="67052">
                  <c:v>26015</c:v>
                </c:pt>
                <c:pt idx="67053">
                  <c:v>25594</c:v>
                </c:pt>
                <c:pt idx="67054">
                  <c:v>45308</c:v>
                </c:pt>
                <c:pt idx="67055">
                  <c:v>72340</c:v>
                </c:pt>
                <c:pt idx="67056">
                  <c:v>123893</c:v>
                </c:pt>
                <c:pt idx="67057">
                  <c:v>36456</c:v>
                </c:pt>
                <c:pt idx="67058">
                  <c:v>29754</c:v>
                </c:pt>
                <c:pt idx="67059">
                  <c:v>153824</c:v>
                </c:pt>
                <c:pt idx="67060">
                  <c:v>41720</c:v>
                </c:pt>
                <c:pt idx="67061">
                  <c:v>42365</c:v>
                </c:pt>
                <c:pt idx="67062">
                  <c:v>122447</c:v>
                </c:pt>
                <c:pt idx="67063">
                  <c:v>55468</c:v>
                </c:pt>
                <c:pt idx="67064">
                  <c:v>80594</c:v>
                </c:pt>
                <c:pt idx="67065">
                  <c:v>24814</c:v>
                </c:pt>
                <c:pt idx="67066">
                  <c:v>44076</c:v>
                </c:pt>
                <c:pt idx="67067">
                  <c:v>25005</c:v>
                </c:pt>
                <c:pt idx="67068">
                  <c:v>73282</c:v>
                </c:pt>
                <c:pt idx="67069">
                  <c:v>42619</c:v>
                </c:pt>
                <c:pt idx="67070">
                  <c:v>64012</c:v>
                </c:pt>
                <c:pt idx="67071">
                  <c:v>114775</c:v>
                </c:pt>
                <c:pt idx="67072">
                  <c:v>94541</c:v>
                </c:pt>
                <c:pt idx="67073">
                  <c:v>38474</c:v>
                </c:pt>
                <c:pt idx="67074">
                  <c:v>136691</c:v>
                </c:pt>
                <c:pt idx="67075">
                  <c:v>120113</c:v>
                </c:pt>
                <c:pt idx="67076">
                  <c:v>53368</c:v>
                </c:pt>
                <c:pt idx="67077">
                  <c:v>43009</c:v>
                </c:pt>
                <c:pt idx="67078">
                  <c:v>86326</c:v>
                </c:pt>
                <c:pt idx="67079">
                  <c:v>33020</c:v>
                </c:pt>
                <c:pt idx="67080">
                  <c:v>77820</c:v>
                </c:pt>
                <c:pt idx="67081">
                  <c:v>32629</c:v>
                </c:pt>
                <c:pt idx="67082">
                  <c:v>181677</c:v>
                </c:pt>
                <c:pt idx="67083">
                  <c:v>49285</c:v>
                </c:pt>
                <c:pt idx="67084">
                  <c:v>44728</c:v>
                </c:pt>
                <c:pt idx="67085">
                  <c:v>43872</c:v>
                </c:pt>
                <c:pt idx="67086">
                  <c:v>17296</c:v>
                </c:pt>
                <c:pt idx="67087">
                  <c:v>55548</c:v>
                </c:pt>
                <c:pt idx="67088">
                  <c:v>23698</c:v>
                </c:pt>
                <c:pt idx="67089">
                  <c:v>22778</c:v>
                </c:pt>
                <c:pt idx="67090">
                  <c:v>35121</c:v>
                </c:pt>
                <c:pt idx="67091">
                  <c:v>34826</c:v>
                </c:pt>
                <c:pt idx="67092">
                  <c:v>63174</c:v>
                </c:pt>
                <c:pt idx="67093">
                  <c:v>155385</c:v>
                </c:pt>
                <c:pt idx="67094">
                  <c:v>41299</c:v>
                </c:pt>
                <c:pt idx="67095">
                  <c:v>39793</c:v>
                </c:pt>
                <c:pt idx="67096">
                  <c:v>52788</c:v>
                </c:pt>
                <c:pt idx="67097">
                  <c:v>40997</c:v>
                </c:pt>
                <c:pt idx="67098">
                  <c:v>34888</c:v>
                </c:pt>
                <c:pt idx="67099">
                  <c:v>95294</c:v>
                </c:pt>
                <c:pt idx="67100">
                  <c:v>48439</c:v>
                </c:pt>
                <c:pt idx="67101">
                  <c:v>60956</c:v>
                </c:pt>
                <c:pt idx="67102">
                  <c:v>42678</c:v>
                </c:pt>
                <c:pt idx="67103">
                  <c:v>36247</c:v>
                </c:pt>
                <c:pt idx="67104">
                  <c:v>55232</c:v>
                </c:pt>
                <c:pt idx="67105">
                  <c:v>33226</c:v>
                </c:pt>
                <c:pt idx="67106">
                  <c:v>87934</c:v>
                </c:pt>
                <c:pt idx="67107">
                  <c:v>430658</c:v>
                </c:pt>
                <c:pt idx="67108">
                  <c:v>25352</c:v>
                </c:pt>
                <c:pt idx="67109">
                  <c:v>58561</c:v>
                </c:pt>
                <c:pt idx="67110">
                  <c:v>27639</c:v>
                </c:pt>
                <c:pt idx="67111">
                  <c:v>28600</c:v>
                </c:pt>
                <c:pt idx="67112">
                  <c:v>38642</c:v>
                </c:pt>
                <c:pt idx="67113">
                  <c:v>33755</c:v>
                </c:pt>
                <c:pt idx="67114">
                  <c:v>33840</c:v>
                </c:pt>
                <c:pt idx="67115">
                  <c:v>56959</c:v>
                </c:pt>
                <c:pt idx="67116">
                  <c:v>85046</c:v>
                </c:pt>
                <c:pt idx="67117">
                  <c:v>40656</c:v>
                </c:pt>
                <c:pt idx="67118">
                  <c:v>54044</c:v>
                </c:pt>
                <c:pt idx="67119">
                  <c:v>120929</c:v>
                </c:pt>
                <c:pt idx="67120">
                  <c:v>84767</c:v>
                </c:pt>
                <c:pt idx="67121">
                  <c:v>34030</c:v>
                </c:pt>
                <c:pt idx="67122">
                  <c:v>43123</c:v>
                </c:pt>
                <c:pt idx="67123">
                  <c:v>26236</c:v>
                </c:pt>
                <c:pt idx="67124">
                  <c:v>266759</c:v>
                </c:pt>
                <c:pt idx="67125">
                  <c:v>30262</c:v>
                </c:pt>
                <c:pt idx="67126">
                  <c:v>57538</c:v>
                </c:pt>
                <c:pt idx="67127">
                  <c:v>28711</c:v>
                </c:pt>
                <c:pt idx="67128">
                  <c:v>95050</c:v>
                </c:pt>
                <c:pt idx="67129">
                  <c:v>179837</c:v>
                </c:pt>
                <c:pt idx="67130">
                  <c:v>45196</c:v>
                </c:pt>
                <c:pt idx="67131">
                  <c:v>52552</c:v>
                </c:pt>
                <c:pt idx="67132">
                  <c:v>69984</c:v>
                </c:pt>
                <c:pt idx="67133">
                  <c:v>53582</c:v>
                </c:pt>
                <c:pt idx="67134">
                  <c:v>53090</c:v>
                </c:pt>
                <c:pt idx="67135">
                  <c:v>41638</c:v>
                </c:pt>
                <c:pt idx="67136">
                  <c:v>25481</c:v>
                </c:pt>
                <c:pt idx="67137">
                  <c:v>228629</c:v>
                </c:pt>
                <c:pt idx="67138">
                  <c:v>26022</c:v>
                </c:pt>
                <c:pt idx="67139">
                  <c:v>36253</c:v>
                </c:pt>
                <c:pt idx="67140">
                  <c:v>41454</c:v>
                </c:pt>
                <c:pt idx="67141">
                  <c:v>38473</c:v>
                </c:pt>
                <c:pt idx="67142">
                  <c:v>68863</c:v>
                </c:pt>
                <c:pt idx="67143">
                  <c:v>42234</c:v>
                </c:pt>
                <c:pt idx="67144">
                  <c:v>25515</c:v>
                </c:pt>
                <c:pt idx="67145">
                  <c:v>52035</c:v>
                </c:pt>
                <c:pt idx="67146">
                  <c:v>26987</c:v>
                </c:pt>
                <c:pt idx="67147">
                  <c:v>44385</c:v>
                </c:pt>
                <c:pt idx="67148">
                  <c:v>46965</c:v>
                </c:pt>
                <c:pt idx="67149">
                  <c:v>29528</c:v>
                </c:pt>
                <c:pt idx="67150">
                  <c:v>60673</c:v>
                </c:pt>
                <c:pt idx="67151">
                  <c:v>54344</c:v>
                </c:pt>
                <c:pt idx="67152">
                  <c:v>53048</c:v>
                </c:pt>
                <c:pt idx="67153">
                  <c:v>21513</c:v>
                </c:pt>
                <c:pt idx="67154">
                  <c:v>36831</c:v>
                </c:pt>
                <c:pt idx="67155">
                  <c:v>61660</c:v>
                </c:pt>
                <c:pt idx="67156">
                  <c:v>57215</c:v>
                </c:pt>
                <c:pt idx="67157">
                  <c:v>223373</c:v>
                </c:pt>
                <c:pt idx="67158">
                  <c:v>67364</c:v>
                </c:pt>
                <c:pt idx="67159">
                  <c:v>92414</c:v>
                </c:pt>
                <c:pt idx="67160">
                  <c:v>71614</c:v>
                </c:pt>
                <c:pt idx="67161">
                  <c:v>37587</c:v>
                </c:pt>
                <c:pt idx="67162">
                  <c:v>21513</c:v>
                </c:pt>
                <c:pt idx="67163">
                  <c:v>62856</c:v>
                </c:pt>
                <c:pt idx="67164">
                  <c:v>34558</c:v>
                </c:pt>
                <c:pt idx="67165">
                  <c:v>97210</c:v>
                </c:pt>
                <c:pt idx="67166">
                  <c:v>31272</c:v>
                </c:pt>
                <c:pt idx="67167">
                  <c:v>27462</c:v>
                </c:pt>
                <c:pt idx="67168">
                  <c:v>26405</c:v>
                </c:pt>
                <c:pt idx="67169">
                  <c:v>147661</c:v>
                </c:pt>
                <c:pt idx="67170">
                  <c:v>55924</c:v>
                </c:pt>
                <c:pt idx="67171">
                  <c:v>78221</c:v>
                </c:pt>
                <c:pt idx="67172">
                  <c:v>46504</c:v>
                </c:pt>
                <c:pt idx="67173">
                  <c:v>30087</c:v>
                </c:pt>
                <c:pt idx="67174">
                  <c:v>42597</c:v>
                </c:pt>
                <c:pt idx="67175">
                  <c:v>46918</c:v>
                </c:pt>
                <c:pt idx="67176">
                  <c:v>41448</c:v>
                </c:pt>
                <c:pt idx="67177">
                  <c:v>54960</c:v>
                </c:pt>
                <c:pt idx="67178">
                  <c:v>45965</c:v>
                </c:pt>
                <c:pt idx="67179">
                  <c:v>40910</c:v>
                </c:pt>
                <c:pt idx="67180">
                  <c:v>24737</c:v>
                </c:pt>
                <c:pt idx="67181">
                  <c:v>40035</c:v>
                </c:pt>
                <c:pt idx="67182">
                  <c:v>29557</c:v>
                </c:pt>
                <c:pt idx="67183">
                  <c:v>111252</c:v>
                </c:pt>
                <c:pt idx="67184">
                  <c:v>275914</c:v>
                </c:pt>
                <c:pt idx="67185">
                  <c:v>38606</c:v>
                </c:pt>
                <c:pt idx="67186">
                  <c:v>265807</c:v>
                </c:pt>
                <c:pt idx="67187">
                  <c:v>32014</c:v>
                </c:pt>
                <c:pt idx="67188">
                  <c:v>27670</c:v>
                </c:pt>
                <c:pt idx="67189">
                  <c:v>38681</c:v>
                </c:pt>
                <c:pt idx="67190">
                  <c:v>92118</c:v>
                </c:pt>
                <c:pt idx="67191">
                  <c:v>47025</c:v>
                </c:pt>
                <c:pt idx="67192">
                  <c:v>87054</c:v>
                </c:pt>
                <c:pt idx="67193">
                  <c:v>20638</c:v>
                </c:pt>
                <c:pt idx="67194">
                  <c:v>53472</c:v>
                </c:pt>
                <c:pt idx="67195">
                  <c:v>58227</c:v>
                </c:pt>
                <c:pt idx="67196">
                  <c:v>26934</c:v>
                </c:pt>
                <c:pt idx="67197">
                  <c:v>35753</c:v>
                </c:pt>
                <c:pt idx="67198">
                  <c:v>37952</c:v>
                </c:pt>
                <c:pt idx="67199">
                  <c:v>24127</c:v>
                </c:pt>
                <c:pt idx="67200">
                  <c:v>122194</c:v>
                </c:pt>
                <c:pt idx="67201">
                  <c:v>30417</c:v>
                </c:pt>
                <c:pt idx="67202">
                  <c:v>33470</c:v>
                </c:pt>
                <c:pt idx="67203">
                  <c:v>34199</c:v>
                </c:pt>
                <c:pt idx="67204">
                  <c:v>43320</c:v>
                </c:pt>
                <c:pt idx="67205">
                  <c:v>37215</c:v>
                </c:pt>
                <c:pt idx="67206">
                  <c:v>37953</c:v>
                </c:pt>
                <c:pt idx="67207">
                  <c:v>68140</c:v>
                </c:pt>
                <c:pt idx="67208">
                  <c:v>31394</c:v>
                </c:pt>
                <c:pt idx="67209">
                  <c:v>104454</c:v>
                </c:pt>
                <c:pt idx="67210">
                  <c:v>58487</c:v>
                </c:pt>
                <c:pt idx="67211">
                  <c:v>46729</c:v>
                </c:pt>
                <c:pt idx="67212">
                  <c:v>59584</c:v>
                </c:pt>
                <c:pt idx="67213">
                  <c:v>46040</c:v>
                </c:pt>
                <c:pt idx="67214">
                  <c:v>63255</c:v>
                </c:pt>
                <c:pt idx="67215">
                  <c:v>48382</c:v>
                </c:pt>
                <c:pt idx="67216">
                  <c:v>186225</c:v>
                </c:pt>
                <c:pt idx="67217">
                  <c:v>32659</c:v>
                </c:pt>
                <c:pt idx="67218">
                  <c:v>87865</c:v>
                </c:pt>
                <c:pt idx="67219">
                  <c:v>68753</c:v>
                </c:pt>
                <c:pt idx="67220">
                  <c:v>29388</c:v>
                </c:pt>
                <c:pt idx="67221">
                  <c:v>40067</c:v>
                </c:pt>
                <c:pt idx="67222">
                  <c:v>113071</c:v>
                </c:pt>
                <c:pt idx="67223">
                  <c:v>59242</c:v>
                </c:pt>
                <c:pt idx="67224">
                  <c:v>46678</c:v>
                </c:pt>
                <c:pt idx="67225">
                  <c:v>54071</c:v>
                </c:pt>
                <c:pt idx="67226">
                  <c:v>44038</c:v>
                </c:pt>
                <c:pt idx="67227">
                  <c:v>30452</c:v>
                </c:pt>
                <c:pt idx="67228">
                  <c:v>112320</c:v>
                </c:pt>
                <c:pt idx="67229">
                  <c:v>23185</c:v>
                </c:pt>
                <c:pt idx="67230">
                  <c:v>56865</c:v>
                </c:pt>
                <c:pt idx="67231">
                  <c:v>159554</c:v>
                </c:pt>
                <c:pt idx="67232">
                  <c:v>42462</c:v>
                </c:pt>
                <c:pt idx="67233">
                  <c:v>24560</c:v>
                </c:pt>
                <c:pt idx="67234">
                  <c:v>25060</c:v>
                </c:pt>
                <c:pt idx="67235">
                  <c:v>36780</c:v>
                </c:pt>
                <c:pt idx="67236">
                  <c:v>50526</c:v>
                </c:pt>
                <c:pt idx="67237">
                  <c:v>32097</c:v>
                </c:pt>
                <c:pt idx="67238">
                  <c:v>33275</c:v>
                </c:pt>
                <c:pt idx="67239">
                  <c:v>47020</c:v>
                </c:pt>
                <c:pt idx="67240">
                  <c:v>49927</c:v>
                </c:pt>
                <c:pt idx="67241">
                  <c:v>66979</c:v>
                </c:pt>
                <c:pt idx="67242">
                  <c:v>49419</c:v>
                </c:pt>
                <c:pt idx="67243">
                  <c:v>47543</c:v>
                </c:pt>
                <c:pt idx="67244">
                  <c:v>22468</c:v>
                </c:pt>
                <c:pt idx="67245">
                  <c:v>39174</c:v>
                </c:pt>
                <c:pt idx="67246">
                  <c:v>93896</c:v>
                </c:pt>
                <c:pt idx="67247">
                  <c:v>44795</c:v>
                </c:pt>
                <c:pt idx="67248">
                  <c:v>273211</c:v>
                </c:pt>
                <c:pt idx="67249">
                  <c:v>71523</c:v>
                </c:pt>
                <c:pt idx="67250">
                  <c:v>23052</c:v>
                </c:pt>
                <c:pt idx="67251">
                  <c:v>199180</c:v>
                </c:pt>
                <c:pt idx="67252">
                  <c:v>28398</c:v>
                </c:pt>
                <c:pt idx="67253">
                  <c:v>34290</c:v>
                </c:pt>
                <c:pt idx="67254">
                  <c:v>26895</c:v>
                </c:pt>
                <c:pt idx="67255">
                  <c:v>43171</c:v>
                </c:pt>
                <c:pt idx="67256">
                  <c:v>47925</c:v>
                </c:pt>
                <c:pt idx="67257">
                  <c:v>149340</c:v>
                </c:pt>
                <c:pt idx="67258">
                  <c:v>33765</c:v>
                </c:pt>
                <c:pt idx="67259">
                  <c:v>80593</c:v>
                </c:pt>
                <c:pt idx="67260">
                  <c:v>56202</c:v>
                </c:pt>
                <c:pt idx="67261">
                  <c:v>46143</c:v>
                </c:pt>
                <c:pt idx="67262">
                  <c:v>27388</c:v>
                </c:pt>
                <c:pt idx="67263">
                  <c:v>29563</c:v>
                </c:pt>
                <c:pt idx="67264">
                  <c:v>100068</c:v>
                </c:pt>
                <c:pt idx="67265">
                  <c:v>44981</c:v>
                </c:pt>
                <c:pt idx="67266">
                  <c:v>46683</c:v>
                </c:pt>
                <c:pt idx="67267">
                  <c:v>34076</c:v>
                </c:pt>
                <c:pt idx="67268">
                  <c:v>54208</c:v>
                </c:pt>
                <c:pt idx="67269">
                  <c:v>140147</c:v>
                </c:pt>
                <c:pt idx="67270">
                  <c:v>22940</c:v>
                </c:pt>
                <c:pt idx="67271">
                  <c:v>34613</c:v>
                </c:pt>
                <c:pt idx="67272">
                  <c:v>40641</c:v>
                </c:pt>
                <c:pt idx="67273">
                  <c:v>32601</c:v>
                </c:pt>
                <c:pt idx="67274">
                  <c:v>130940</c:v>
                </c:pt>
                <c:pt idx="67275">
                  <c:v>34120</c:v>
                </c:pt>
                <c:pt idx="67276">
                  <c:v>51863</c:v>
                </c:pt>
                <c:pt idx="67277">
                  <c:v>103584</c:v>
                </c:pt>
                <c:pt idx="67278">
                  <c:v>148800</c:v>
                </c:pt>
                <c:pt idx="67279">
                  <c:v>25379</c:v>
                </c:pt>
                <c:pt idx="67280">
                  <c:v>45288</c:v>
                </c:pt>
                <c:pt idx="67281">
                  <c:v>44642</c:v>
                </c:pt>
                <c:pt idx="67282">
                  <c:v>60637</c:v>
                </c:pt>
                <c:pt idx="67283">
                  <c:v>80903</c:v>
                </c:pt>
                <c:pt idx="67284">
                  <c:v>32214</c:v>
                </c:pt>
                <c:pt idx="67285">
                  <c:v>33851</c:v>
                </c:pt>
                <c:pt idx="67286">
                  <c:v>143881</c:v>
                </c:pt>
                <c:pt idx="67287">
                  <c:v>101069</c:v>
                </c:pt>
                <c:pt idx="67288">
                  <c:v>38837</c:v>
                </c:pt>
                <c:pt idx="67289">
                  <c:v>62013</c:v>
                </c:pt>
                <c:pt idx="67290">
                  <c:v>35017</c:v>
                </c:pt>
                <c:pt idx="67291">
                  <c:v>67772</c:v>
                </c:pt>
                <c:pt idx="67292">
                  <c:v>74665</c:v>
                </c:pt>
                <c:pt idx="67293">
                  <c:v>27381</c:v>
                </c:pt>
                <c:pt idx="67294">
                  <c:v>50617</c:v>
                </c:pt>
                <c:pt idx="67295">
                  <c:v>33886</c:v>
                </c:pt>
                <c:pt idx="67296">
                  <c:v>32183</c:v>
                </c:pt>
                <c:pt idx="67297">
                  <c:v>24754</c:v>
                </c:pt>
                <c:pt idx="67298">
                  <c:v>45057</c:v>
                </c:pt>
                <c:pt idx="67299">
                  <c:v>160080</c:v>
                </c:pt>
                <c:pt idx="67300">
                  <c:v>91452</c:v>
                </c:pt>
                <c:pt idx="67301">
                  <c:v>21915</c:v>
                </c:pt>
                <c:pt idx="67302">
                  <c:v>37583</c:v>
                </c:pt>
                <c:pt idx="67303">
                  <c:v>78188</c:v>
                </c:pt>
                <c:pt idx="67304">
                  <c:v>24700</c:v>
                </c:pt>
                <c:pt idx="67305">
                  <c:v>40577</c:v>
                </c:pt>
                <c:pt idx="67306">
                  <c:v>44945</c:v>
                </c:pt>
                <c:pt idx="67307">
                  <c:v>29142</c:v>
                </c:pt>
                <c:pt idx="67308">
                  <c:v>159506</c:v>
                </c:pt>
                <c:pt idx="67309">
                  <c:v>47210</c:v>
                </c:pt>
                <c:pt idx="67310">
                  <c:v>182645</c:v>
                </c:pt>
                <c:pt idx="67311">
                  <c:v>91087</c:v>
                </c:pt>
                <c:pt idx="67312">
                  <c:v>46219</c:v>
                </c:pt>
                <c:pt idx="67313">
                  <c:v>59081</c:v>
                </c:pt>
                <c:pt idx="67314">
                  <c:v>199861</c:v>
                </c:pt>
                <c:pt idx="67315">
                  <c:v>26548</c:v>
                </c:pt>
                <c:pt idx="67316">
                  <c:v>83340</c:v>
                </c:pt>
                <c:pt idx="67317">
                  <c:v>26476</c:v>
                </c:pt>
                <c:pt idx="67318">
                  <c:v>45996</c:v>
                </c:pt>
                <c:pt idx="67319">
                  <c:v>35588</c:v>
                </c:pt>
                <c:pt idx="67320">
                  <c:v>52484</c:v>
                </c:pt>
                <c:pt idx="67321">
                  <c:v>26180</c:v>
                </c:pt>
                <c:pt idx="67322">
                  <c:v>122297</c:v>
                </c:pt>
                <c:pt idx="67323">
                  <c:v>62000</c:v>
                </c:pt>
                <c:pt idx="67324">
                  <c:v>56272</c:v>
                </c:pt>
                <c:pt idx="67325">
                  <c:v>52802</c:v>
                </c:pt>
                <c:pt idx="67326">
                  <c:v>206179</c:v>
                </c:pt>
                <c:pt idx="67327">
                  <c:v>84435</c:v>
                </c:pt>
                <c:pt idx="67328">
                  <c:v>42001</c:v>
                </c:pt>
                <c:pt idx="67329">
                  <c:v>41868</c:v>
                </c:pt>
                <c:pt idx="67330">
                  <c:v>33553</c:v>
                </c:pt>
                <c:pt idx="67331">
                  <c:v>75379</c:v>
                </c:pt>
                <c:pt idx="67332">
                  <c:v>22852</c:v>
                </c:pt>
                <c:pt idx="67333">
                  <c:v>203362</c:v>
                </c:pt>
                <c:pt idx="67334">
                  <c:v>38582</c:v>
                </c:pt>
                <c:pt idx="67335">
                  <c:v>62554</c:v>
                </c:pt>
                <c:pt idx="67336">
                  <c:v>75981</c:v>
                </c:pt>
                <c:pt idx="67337">
                  <c:v>74313</c:v>
                </c:pt>
                <c:pt idx="67338">
                  <c:v>28068</c:v>
                </c:pt>
                <c:pt idx="67339">
                  <c:v>42200</c:v>
                </c:pt>
                <c:pt idx="67340">
                  <c:v>156955</c:v>
                </c:pt>
                <c:pt idx="67341">
                  <c:v>34119</c:v>
                </c:pt>
                <c:pt idx="67342">
                  <c:v>43889</c:v>
                </c:pt>
                <c:pt idx="67343">
                  <c:v>232105</c:v>
                </c:pt>
                <c:pt idx="67344">
                  <c:v>32678</c:v>
                </c:pt>
                <c:pt idx="67345">
                  <c:v>159214</c:v>
                </c:pt>
                <c:pt idx="67346">
                  <c:v>28954</c:v>
                </c:pt>
                <c:pt idx="67347">
                  <c:v>41699</c:v>
                </c:pt>
                <c:pt idx="67348">
                  <c:v>50249</c:v>
                </c:pt>
                <c:pt idx="67349">
                  <c:v>72307</c:v>
                </c:pt>
                <c:pt idx="67350">
                  <c:v>34195</c:v>
                </c:pt>
                <c:pt idx="67351">
                  <c:v>136591</c:v>
                </c:pt>
                <c:pt idx="67352">
                  <c:v>38695</c:v>
                </c:pt>
                <c:pt idx="67353">
                  <c:v>29453</c:v>
                </c:pt>
                <c:pt idx="67354">
                  <c:v>45543</c:v>
                </c:pt>
                <c:pt idx="67355">
                  <c:v>24551</c:v>
                </c:pt>
                <c:pt idx="67356">
                  <c:v>22600</c:v>
                </c:pt>
                <c:pt idx="67357">
                  <c:v>41369</c:v>
                </c:pt>
                <c:pt idx="67358">
                  <c:v>38208</c:v>
                </c:pt>
                <c:pt idx="67359">
                  <c:v>42501</c:v>
                </c:pt>
                <c:pt idx="67360">
                  <c:v>36997</c:v>
                </c:pt>
                <c:pt idx="67361">
                  <c:v>37960</c:v>
                </c:pt>
                <c:pt idx="67362">
                  <c:v>47716</c:v>
                </c:pt>
                <c:pt idx="67363">
                  <c:v>151591</c:v>
                </c:pt>
                <c:pt idx="67364">
                  <c:v>27279</c:v>
                </c:pt>
                <c:pt idx="67365">
                  <c:v>37631</c:v>
                </c:pt>
                <c:pt idx="67366">
                  <c:v>45895</c:v>
                </c:pt>
                <c:pt idx="67367">
                  <c:v>26319</c:v>
                </c:pt>
                <c:pt idx="67368">
                  <c:v>61513</c:v>
                </c:pt>
                <c:pt idx="67369">
                  <c:v>124239</c:v>
                </c:pt>
                <c:pt idx="67370">
                  <c:v>61063</c:v>
                </c:pt>
                <c:pt idx="67371">
                  <c:v>53684</c:v>
                </c:pt>
                <c:pt idx="67372">
                  <c:v>42791</c:v>
                </c:pt>
                <c:pt idx="67373">
                  <c:v>40148</c:v>
                </c:pt>
                <c:pt idx="67374">
                  <c:v>46659</c:v>
                </c:pt>
                <c:pt idx="67375">
                  <c:v>57949</c:v>
                </c:pt>
                <c:pt idx="67376">
                  <c:v>22982</c:v>
                </c:pt>
                <c:pt idx="67377">
                  <c:v>34694</c:v>
                </c:pt>
                <c:pt idx="67378">
                  <c:v>74639</c:v>
                </c:pt>
                <c:pt idx="67379">
                  <c:v>32695</c:v>
                </c:pt>
                <c:pt idx="67380">
                  <c:v>42251</c:v>
                </c:pt>
                <c:pt idx="67381">
                  <c:v>36430</c:v>
                </c:pt>
                <c:pt idx="67382">
                  <c:v>44550</c:v>
                </c:pt>
                <c:pt idx="67383">
                  <c:v>25696</c:v>
                </c:pt>
                <c:pt idx="67384">
                  <c:v>39565</c:v>
                </c:pt>
                <c:pt idx="67385">
                  <c:v>41544</c:v>
                </c:pt>
                <c:pt idx="67386">
                  <c:v>48687</c:v>
                </c:pt>
                <c:pt idx="67387">
                  <c:v>43321</c:v>
                </c:pt>
                <c:pt idx="67388">
                  <c:v>37517</c:v>
                </c:pt>
                <c:pt idx="67389">
                  <c:v>81213</c:v>
                </c:pt>
                <c:pt idx="67390">
                  <c:v>39291</c:v>
                </c:pt>
                <c:pt idx="67391">
                  <c:v>30038</c:v>
                </c:pt>
                <c:pt idx="67392">
                  <c:v>72868</c:v>
                </c:pt>
                <c:pt idx="67393">
                  <c:v>98281</c:v>
                </c:pt>
                <c:pt idx="67394">
                  <c:v>77607</c:v>
                </c:pt>
                <c:pt idx="67395">
                  <c:v>37725</c:v>
                </c:pt>
                <c:pt idx="67396">
                  <c:v>40501</c:v>
                </c:pt>
                <c:pt idx="67397">
                  <c:v>128334</c:v>
                </c:pt>
                <c:pt idx="67398">
                  <c:v>34452</c:v>
                </c:pt>
                <c:pt idx="67399">
                  <c:v>52574</c:v>
                </c:pt>
                <c:pt idx="67400">
                  <c:v>27689</c:v>
                </c:pt>
                <c:pt idx="67401">
                  <c:v>67823</c:v>
                </c:pt>
                <c:pt idx="67402">
                  <c:v>31505</c:v>
                </c:pt>
                <c:pt idx="67403">
                  <c:v>42556</c:v>
                </c:pt>
                <c:pt idx="67404">
                  <c:v>65191</c:v>
                </c:pt>
                <c:pt idx="67405">
                  <c:v>40583</c:v>
                </c:pt>
                <c:pt idx="67406">
                  <c:v>47839</c:v>
                </c:pt>
                <c:pt idx="67407">
                  <c:v>34411</c:v>
                </c:pt>
                <c:pt idx="67408">
                  <c:v>61348</c:v>
                </c:pt>
                <c:pt idx="67409">
                  <c:v>25176</c:v>
                </c:pt>
                <c:pt idx="67410">
                  <c:v>22960</c:v>
                </c:pt>
                <c:pt idx="67411">
                  <c:v>32690</c:v>
                </c:pt>
                <c:pt idx="67412">
                  <c:v>37405</c:v>
                </c:pt>
                <c:pt idx="67413">
                  <c:v>29661</c:v>
                </c:pt>
                <c:pt idx="67414">
                  <c:v>30824</c:v>
                </c:pt>
                <c:pt idx="67415">
                  <c:v>126285</c:v>
                </c:pt>
                <c:pt idx="67416">
                  <c:v>23676</c:v>
                </c:pt>
                <c:pt idx="67417">
                  <c:v>215144</c:v>
                </c:pt>
                <c:pt idx="67418">
                  <c:v>61936</c:v>
                </c:pt>
                <c:pt idx="67419">
                  <c:v>26800</c:v>
                </c:pt>
                <c:pt idx="67420">
                  <c:v>49158</c:v>
                </c:pt>
                <c:pt idx="67421">
                  <c:v>41164</c:v>
                </c:pt>
                <c:pt idx="67422">
                  <c:v>57327</c:v>
                </c:pt>
                <c:pt idx="67423">
                  <c:v>25799</c:v>
                </c:pt>
                <c:pt idx="67424">
                  <c:v>40850</c:v>
                </c:pt>
                <c:pt idx="67425">
                  <c:v>30445</c:v>
                </c:pt>
                <c:pt idx="67426">
                  <c:v>44949</c:v>
                </c:pt>
                <c:pt idx="67427">
                  <c:v>30791</c:v>
                </c:pt>
                <c:pt idx="67428">
                  <c:v>58617</c:v>
                </c:pt>
                <c:pt idx="67429">
                  <c:v>37337</c:v>
                </c:pt>
                <c:pt idx="67430">
                  <c:v>30181</c:v>
                </c:pt>
                <c:pt idx="67431">
                  <c:v>65991</c:v>
                </c:pt>
                <c:pt idx="67432">
                  <c:v>39263</c:v>
                </c:pt>
                <c:pt idx="67433">
                  <c:v>68888</c:v>
                </c:pt>
                <c:pt idx="67434">
                  <c:v>47353</c:v>
                </c:pt>
                <c:pt idx="67435">
                  <c:v>42325</c:v>
                </c:pt>
                <c:pt idx="67436">
                  <c:v>57017</c:v>
                </c:pt>
                <c:pt idx="67437">
                  <c:v>25676</c:v>
                </c:pt>
                <c:pt idx="67438">
                  <c:v>63669</c:v>
                </c:pt>
                <c:pt idx="67439">
                  <c:v>74402</c:v>
                </c:pt>
                <c:pt idx="67440">
                  <c:v>99887</c:v>
                </c:pt>
                <c:pt idx="67441">
                  <c:v>37482</c:v>
                </c:pt>
                <c:pt idx="67442">
                  <c:v>39668</c:v>
                </c:pt>
                <c:pt idx="67443">
                  <c:v>69209</c:v>
                </c:pt>
                <c:pt idx="67444">
                  <c:v>35916</c:v>
                </c:pt>
                <c:pt idx="67445">
                  <c:v>41356</c:v>
                </c:pt>
                <c:pt idx="67446">
                  <c:v>50532</c:v>
                </c:pt>
                <c:pt idx="67447">
                  <c:v>60634</c:v>
                </c:pt>
                <c:pt idx="67448">
                  <c:v>54209</c:v>
                </c:pt>
                <c:pt idx="67449">
                  <c:v>78114</c:v>
                </c:pt>
                <c:pt idx="67450">
                  <c:v>41951</c:v>
                </c:pt>
                <c:pt idx="67451">
                  <c:v>34598</c:v>
                </c:pt>
                <c:pt idx="67452">
                  <c:v>39179</c:v>
                </c:pt>
                <c:pt idx="67453">
                  <c:v>25250</c:v>
                </c:pt>
                <c:pt idx="67454">
                  <c:v>60214</c:v>
                </c:pt>
                <c:pt idx="67455">
                  <c:v>80348</c:v>
                </c:pt>
                <c:pt idx="67456">
                  <c:v>27962</c:v>
                </c:pt>
                <c:pt idx="67457">
                  <c:v>70109</c:v>
                </c:pt>
                <c:pt idx="67458">
                  <c:v>34491</c:v>
                </c:pt>
                <c:pt idx="67459">
                  <c:v>36353</c:v>
                </c:pt>
                <c:pt idx="67460">
                  <c:v>25081</c:v>
                </c:pt>
                <c:pt idx="67461">
                  <c:v>35459</c:v>
                </c:pt>
                <c:pt idx="67462">
                  <c:v>48584</c:v>
                </c:pt>
                <c:pt idx="67463">
                  <c:v>34403</c:v>
                </c:pt>
                <c:pt idx="67464">
                  <c:v>52345</c:v>
                </c:pt>
                <c:pt idx="67465">
                  <c:v>77658</c:v>
                </c:pt>
                <c:pt idx="67466">
                  <c:v>119252</c:v>
                </c:pt>
                <c:pt idx="67467">
                  <c:v>66617</c:v>
                </c:pt>
                <c:pt idx="67468">
                  <c:v>147054</c:v>
                </c:pt>
                <c:pt idx="67469">
                  <c:v>75065</c:v>
                </c:pt>
                <c:pt idx="67470">
                  <c:v>45551</c:v>
                </c:pt>
                <c:pt idx="67471">
                  <c:v>41083</c:v>
                </c:pt>
                <c:pt idx="67472">
                  <c:v>34862</c:v>
                </c:pt>
                <c:pt idx="67473">
                  <c:v>42541</c:v>
                </c:pt>
                <c:pt idx="67474">
                  <c:v>54237</c:v>
                </c:pt>
                <c:pt idx="67475">
                  <c:v>29947</c:v>
                </c:pt>
                <c:pt idx="67476">
                  <c:v>43191</c:v>
                </c:pt>
                <c:pt idx="67477">
                  <c:v>63599</c:v>
                </c:pt>
                <c:pt idx="67478">
                  <c:v>33893</c:v>
                </c:pt>
                <c:pt idx="67479">
                  <c:v>196976</c:v>
                </c:pt>
                <c:pt idx="67480">
                  <c:v>25437</c:v>
                </c:pt>
                <c:pt idx="67481">
                  <c:v>49335</c:v>
                </c:pt>
                <c:pt idx="67482">
                  <c:v>173880</c:v>
                </c:pt>
                <c:pt idx="67483">
                  <c:v>165285</c:v>
                </c:pt>
                <c:pt idx="67484">
                  <c:v>33714</c:v>
                </c:pt>
                <c:pt idx="67485">
                  <c:v>44618</c:v>
                </c:pt>
                <c:pt idx="67486">
                  <c:v>99317</c:v>
                </c:pt>
                <c:pt idx="67487">
                  <c:v>27290</c:v>
                </c:pt>
                <c:pt idx="67488">
                  <c:v>211923</c:v>
                </c:pt>
                <c:pt idx="67489">
                  <c:v>135142</c:v>
                </c:pt>
                <c:pt idx="67490">
                  <c:v>39448</c:v>
                </c:pt>
                <c:pt idx="67491">
                  <c:v>39123</c:v>
                </c:pt>
                <c:pt idx="67492">
                  <c:v>141438</c:v>
                </c:pt>
                <c:pt idx="67493">
                  <c:v>74435</c:v>
                </c:pt>
                <c:pt idx="67494">
                  <c:v>65191</c:v>
                </c:pt>
                <c:pt idx="67495">
                  <c:v>30864</c:v>
                </c:pt>
                <c:pt idx="67496">
                  <c:v>31670</c:v>
                </c:pt>
                <c:pt idx="67497">
                  <c:v>28885</c:v>
                </c:pt>
                <c:pt idx="67498">
                  <c:v>34757</c:v>
                </c:pt>
                <c:pt idx="67499">
                  <c:v>36963</c:v>
                </c:pt>
                <c:pt idx="67500">
                  <c:v>45366</c:v>
                </c:pt>
                <c:pt idx="67501">
                  <c:v>41731</c:v>
                </c:pt>
                <c:pt idx="67502">
                  <c:v>35552</c:v>
                </c:pt>
                <c:pt idx="67503">
                  <c:v>152656</c:v>
                </c:pt>
                <c:pt idx="67504">
                  <c:v>49285</c:v>
                </c:pt>
                <c:pt idx="67505">
                  <c:v>41845</c:v>
                </c:pt>
                <c:pt idx="67506">
                  <c:v>80081</c:v>
                </c:pt>
                <c:pt idx="67507">
                  <c:v>53260</c:v>
                </c:pt>
                <c:pt idx="67508">
                  <c:v>51012</c:v>
                </c:pt>
                <c:pt idx="67509">
                  <c:v>33689</c:v>
                </c:pt>
                <c:pt idx="67510">
                  <c:v>30938</c:v>
                </c:pt>
                <c:pt idx="67511">
                  <c:v>41662</c:v>
                </c:pt>
                <c:pt idx="67512">
                  <c:v>131433</c:v>
                </c:pt>
                <c:pt idx="67513">
                  <c:v>29131</c:v>
                </c:pt>
                <c:pt idx="67514">
                  <c:v>147960</c:v>
                </c:pt>
                <c:pt idx="67515">
                  <c:v>58206</c:v>
                </c:pt>
                <c:pt idx="67516">
                  <c:v>35331</c:v>
                </c:pt>
                <c:pt idx="67517">
                  <c:v>36985</c:v>
                </c:pt>
                <c:pt idx="67518">
                  <c:v>30906</c:v>
                </c:pt>
                <c:pt idx="67519">
                  <c:v>73930</c:v>
                </c:pt>
                <c:pt idx="67520">
                  <c:v>180122</c:v>
                </c:pt>
                <c:pt idx="67521">
                  <c:v>38701</c:v>
                </c:pt>
                <c:pt idx="67522">
                  <c:v>85343</c:v>
                </c:pt>
                <c:pt idx="67523">
                  <c:v>52351</c:v>
                </c:pt>
                <c:pt idx="67524">
                  <c:v>81074</c:v>
                </c:pt>
                <c:pt idx="67525">
                  <c:v>44868</c:v>
                </c:pt>
                <c:pt idx="67526">
                  <c:v>22556</c:v>
                </c:pt>
                <c:pt idx="67527">
                  <c:v>46151</c:v>
                </c:pt>
                <c:pt idx="67528">
                  <c:v>69347</c:v>
                </c:pt>
                <c:pt idx="67529">
                  <c:v>70663</c:v>
                </c:pt>
                <c:pt idx="67530">
                  <c:v>91994</c:v>
                </c:pt>
                <c:pt idx="67531">
                  <c:v>104316</c:v>
                </c:pt>
                <c:pt idx="67532">
                  <c:v>62713</c:v>
                </c:pt>
                <c:pt idx="67533">
                  <c:v>54466</c:v>
                </c:pt>
                <c:pt idx="67534">
                  <c:v>88984</c:v>
                </c:pt>
                <c:pt idx="67535">
                  <c:v>35721</c:v>
                </c:pt>
                <c:pt idx="67536">
                  <c:v>109910</c:v>
                </c:pt>
                <c:pt idx="67537">
                  <c:v>42222</c:v>
                </c:pt>
                <c:pt idx="67538">
                  <c:v>43669</c:v>
                </c:pt>
                <c:pt idx="67539">
                  <c:v>58764</c:v>
                </c:pt>
                <c:pt idx="67540">
                  <c:v>23583</c:v>
                </c:pt>
                <c:pt idx="67541">
                  <c:v>34438</c:v>
                </c:pt>
                <c:pt idx="67542">
                  <c:v>180554</c:v>
                </c:pt>
                <c:pt idx="67543">
                  <c:v>32879</c:v>
                </c:pt>
                <c:pt idx="67544">
                  <c:v>24602</c:v>
                </c:pt>
                <c:pt idx="67545">
                  <c:v>24592</c:v>
                </c:pt>
                <c:pt idx="67546">
                  <c:v>83727</c:v>
                </c:pt>
                <c:pt idx="67547">
                  <c:v>42555</c:v>
                </c:pt>
                <c:pt idx="67548">
                  <c:v>39418</c:v>
                </c:pt>
                <c:pt idx="67549">
                  <c:v>33267</c:v>
                </c:pt>
                <c:pt idx="67550">
                  <c:v>90480</c:v>
                </c:pt>
                <c:pt idx="67551">
                  <c:v>45066</c:v>
                </c:pt>
                <c:pt idx="67552">
                  <c:v>44038</c:v>
                </c:pt>
                <c:pt idx="67553">
                  <c:v>27767</c:v>
                </c:pt>
                <c:pt idx="67554">
                  <c:v>28795</c:v>
                </c:pt>
                <c:pt idx="67555">
                  <c:v>35064</c:v>
                </c:pt>
                <c:pt idx="67556">
                  <c:v>36892</c:v>
                </c:pt>
                <c:pt idx="67557">
                  <c:v>44612</c:v>
                </c:pt>
                <c:pt idx="67558">
                  <c:v>96233</c:v>
                </c:pt>
                <c:pt idx="67559">
                  <c:v>28823</c:v>
                </c:pt>
                <c:pt idx="67560">
                  <c:v>41085</c:v>
                </c:pt>
                <c:pt idx="67561">
                  <c:v>44006</c:v>
                </c:pt>
                <c:pt idx="67562">
                  <c:v>31090</c:v>
                </c:pt>
                <c:pt idx="67563">
                  <c:v>71644</c:v>
                </c:pt>
                <c:pt idx="67564">
                  <c:v>90501</c:v>
                </c:pt>
                <c:pt idx="67565">
                  <c:v>60259</c:v>
                </c:pt>
                <c:pt idx="67566">
                  <c:v>62301</c:v>
                </c:pt>
                <c:pt idx="67567">
                  <c:v>82096</c:v>
                </c:pt>
                <c:pt idx="67568">
                  <c:v>41223</c:v>
                </c:pt>
                <c:pt idx="67569">
                  <c:v>37306</c:v>
                </c:pt>
                <c:pt idx="67570">
                  <c:v>32813</c:v>
                </c:pt>
                <c:pt idx="67571">
                  <c:v>20859</c:v>
                </c:pt>
                <c:pt idx="67572">
                  <c:v>117860</c:v>
                </c:pt>
                <c:pt idx="67573">
                  <c:v>77981</c:v>
                </c:pt>
                <c:pt idx="67574">
                  <c:v>39698</c:v>
                </c:pt>
                <c:pt idx="67575">
                  <c:v>66947</c:v>
                </c:pt>
                <c:pt idx="67576">
                  <c:v>31280</c:v>
                </c:pt>
                <c:pt idx="67577">
                  <c:v>107706</c:v>
                </c:pt>
                <c:pt idx="67578">
                  <c:v>34427</c:v>
                </c:pt>
                <c:pt idx="67579">
                  <c:v>40129</c:v>
                </c:pt>
                <c:pt idx="67580">
                  <c:v>25579</c:v>
                </c:pt>
                <c:pt idx="67581">
                  <c:v>53579</c:v>
                </c:pt>
                <c:pt idx="67582">
                  <c:v>34756</c:v>
                </c:pt>
                <c:pt idx="67583">
                  <c:v>25143</c:v>
                </c:pt>
                <c:pt idx="67584">
                  <c:v>27222</c:v>
                </c:pt>
                <c:pt idx="67585">
                  <c:v>26073</c:v>
                </c:pt>
                <c:pt idx="67586">
                  <c:v>56261</c:v>
                </c:pt>
                <c:pt idx="67587">
                  <c:v>68882</c:v>
                </c:pt>
                <c:pt idx="67588">
                  <c:v>35162</c:v>
                </c:pt>
                <c:pt idx="67589">
                  <c:v>29864</c:v>
                </c:pt>
                <c:pt idx="67590">
                  <c:v>96127</c:v>
                </c:pt>
                <c:pt idx="67591">
                  <c:v>29900</c:v>
                </c:pt>
                <c:pt idx="67592">
                  <c:v>100443</c:v>
                </c:pt>
                <c:pt idx="67593">
                  <c:v>20970</c:v>
                </c:pt>
                <c:pt idx="67594">
                  <c:v>73321</c:v>
                </c:pt>
                <c:pt idx="67595">
                  <c:v>29631</c:v>
                </c:pt>
                <c:pt idx="67596">
                  <c:v>50392</c:v>
                </c:pt>
                <c:pt idx="67597">
                  <c:v>32421</c:v>
                </c:pt>
                <c:pt idx="67598">
                  <c:v>92163</c:v>
                </c:pt>
                <c:pt idx="67599">
                  <c:v>201755</c:v>
                </c:pt>
                <c:pt idx="67600">
                  <c:v>32933</c:v>
                </c:pt>
                <c:pt idx="67601">
                  <c:v>33942</c:v>
                </c:pt>
                <c:pt idx="67602">
                  <c:v>38307</c:v>
                </c:pt>
                <c:pt idx="67603">
                  <c:v>28164</c:v>
                </c:pt>
                <c:pt idx="67604">
                  <c:v>24190</c:v>
                </c:pt>
                <c:pt idx="67605">
                  <c:v>184547</c:v>
                </c:pt>
                <c:pt idx="67606">
                  <c:v>49467</c:v>
                </c:pt>
                <c:pt idx="67607">
                  <c:v>84709</c:v>
                </c:pt>
                <c:pt idx="67608">
                  <c:v>136857</c:v>
                </c:pt>
                <c:pt idx="67609">
                  <c:v>41600</c:v>
                </c:pt>
                <c:pt idx="67610">
                  <c:v>25809</c:v>
                </c:pt>
                <c:pt idx="67611">
                  <c:v>29139</c:v>
                </c:pt>
                <c:pt idx="67612">
                  <c:v>30142</c:v>
                </c:pt>
                <c:pt idx="67613">
                  <c:v>42336</c:v>
                </c:pt>
                <c:pt idx="67614">
                  <c:v>35106</c:v>
                </c:pt>
                <c:pt idx="67615">
                  <c:v>29842</c:v>
                </c:pt>
                <c:pt idx="67616">
                  <c:v>29289</c:v>
                </c:pt>
                <c:pt idx="67617">
                  <c:v>30718</c:v>
                </c:pt>
                <c:pt idx="67618">
                  <c:v>43054</c:v>
                </c:pt>
                <c:pt idx="67619">
                  <c:v>45631</c:v>
                </c:pt>
                <c:pt idx="67620">
                  <c:v>122927</c:v>
                </c:pt>
                <c:pt idx="67621">
                  <c:v>47450</c:v>
                </c:pt>
                <c:pt idx="67622">
                  <c:v>106978</c:v>
                </c:pt>
                <c:pt idx="67623">
                  <c:v>41717</c:v>
                </c:pt>
                <c:pt idx="67624">
                  <c:v>104203</c:v>
                </c:pt>
                <c:pt idx="67625">
                  <c:v>107676</c:v>
                </c:pt>
                <c:pt idx="67626">
                  <c:v>52856</c:v>
                </c:pt>
                <c:pt idx="67627">
                  <c:v>141289</c:v>
                </c:pt>
                <c:pt idx="67628">
                  <c:v>92166</c:v>
                </c:pt>
                <c:pt idx="67629">
                  <c:v>48440</c:v>
                </c:pt>
                <c:pt idx="67630">
                  <c:v>49143</c:v>
                </c:pt>
                <c:pt idx="67631">
                  <c:v>54247</c:v>
                </c:pt>
                <c:pt idx="67632">
                  <c:v>45239</c:v>
                </c:pt>
                <c:pt idx="67633">
                  <c:v>31706</c:v>
                </c:pt>
                <c:pt idx="67634">
                  <c:v>32099</c:v>
                </c:pt>
                <c:pt idx="67635">
                  <c:v>47506</c:v>
                </c:pt>
                <c:pt idx="67636">
                  <c:v>42518</c:v>
                </c:pt>
                <c:pt idx="67637">
                  <c:v>34380</c:v>
                </c:pt>
                <c:pt idx="67638">
                  <c:v>160293</c:v>
                </c:pt>
                <c:pt idx="67639">
                  <c:v>52770</c:v>
                </c:pt>
                <c:pt idx="67640">
                  <c:v>127569</c:v>
                </c:pt>
                <c:pt idx="67641">
                  <c:v>39539</c:v>
                </c:pt>
                <c:pt idx="67642">
                  <c:v>40710</c:v>
                </c:pt>
                <c:pt idx="67643">
                  <c:v>58699</c:v>
                </c:pt>
                <c:pt idx="67644">
                  <c:v>53927</c:v>
                </c:pt>
                <c:pt idx="67645">
                  <c:v>60324</c:v>
                </c:pt>
                <c:pt idx="67646">
                  <c:v>32904</c:v>
                </c:pt>
                <c:pt idx="67647">
                  <c:v>29831</c:v>
                </c:pt>
                <c:pt idx="67648">
                  <c:v>51513</c:v>
                </c:pt>
                <c:pt idx="67649">
                  <c:v>116754</c:v>
                </c:pt>
                <c:pt idx="67650">
                  <c:v>27027</c:v>
                </c:pt>
                <c:pt idx="67651">
                  <c:v>30476</c:v>
                </c:pt>
                <c:pt idx="67652">
                  <c:v>23563</c:v>
                </c:pt>
                <c:pt idx="67653">
                  <c:v>64499</c:v>
                </c:pt>
                <c:pt idx="67654">
                  <c:v>32732</c:v>
                </c:pt>
                <c:pt idx="67655">
                  <c:v>45963</c:v>
                </c:pt>
                <c:pt idx="67656">
                  <c:v>43995</c:v>
                </c:pt>
                <c:pt idx="67657">
                  <c:v>147339</c:v>
                </c:pt>
                <c:pt idx="67658">
                  <c:v>206423</c:v>
                </c:pt>
                <c:pt idx="67659">
                  <c:v>35379</c:v>
                </c:pt>
                <c:pt idx="67660">
                  <c:v>43220</c:v>
                </c:pt>
                <c:pt idx="67661">
                  <c:v>26433</c:v>
                </c:pt>
                <c:pt idx="67662">
                  <c:v>59477</c:v>
                </c:pt>
                <c:pt idx="67663">
                  <c:v>46963</c:v>
                </c:pt>
                <c:pt idx="67664">
                  <c:v>20925</c:v>
                </c:pt>
                <c:pt idx="67665">
                  <c:v>28753</c:v>
                </c:pt>
                <c:pt idx="67666">
                  <c:v>44417</c:v>
                </c:pt>
                <c:pt idx="67667">
                  <c:v>42351</c:v>
                </c:pt>
                <c:pt idx="67668">
                  <c:v>98064</c:v>
                </c:pt>
                <c:pt idx="67669">
                  <c:v>53681</c:v>
                </c:pt>
                <c:pt idx="67670">
                  <c:v>102772</c:v>
                </c:pt>
                <c:pt idx="67671">
                  <c:v>77982</c:v>
                </c:pt>
                <c:pt idx="67672">
                  <c:v>27732</c:v>
                </c:pt>
                <c:pt idx="67673">
                  <c:v>70618</c:v>
                </c:pt>
                <c:pt idx="67674">
                  <c:v>45946</c:v>
                </c:pt>
                <c:pt idx="67675">
                  <c:v>47634</c:v>
                </c:pt>
                <c:pt idx="67676">
                  <c:v>136198</c:v>
                </c:pt>
                <c:pt idx="67677">
                  <c:v>24308</c:v>
                </c:pt>
                <c:pt idx="67678">
                  <c:v>55104</c:v>
                </c:pt>
                <c:pt idx="67679">
                  <c:v>34659</c:v>
                </c:pt>
                <c:pt idx="67680">
                  <c:v>95955</c:v>
                </c:pt>
                <c:pt idx="67681">
                  <c:v>56594</c:v>
                </c:pt>
                <c:pt idx="67682">
                  <c:v>168957</c:v>
                </c:pt>
                <c:pt idx="67683">
                  <c:v>58069</c:v>
                </c:pt>
                <c:pt idx="67684">
                  <c:v>104853</c:v>
                </c:pt>
                <c:pt idx="67685">
                  <c:v>27986</c:v>
                </c:pt>
                <c:pt idx="67686">
                  <c:v>43348</c:v>
                </c:pt>
                <c:pt idx="67687">
                  <c:v>28848</c:v>
                </c:pt>
                <c:pt idx="67688">
                  <c:v>58782</c:v>
                </c:pt>
                <c:pt idx="67689">
                  <c:v>113913</c:v>
                </c:pt>
                <c:pt idx="67690">
                  <c:v>34745</c:v>
                </c:pt>
                <c:pt idx="67691">
                  <c:v>79480</c:v>
                </c:pt>
                <c:pt idx="67692">
                  <c:v>48659</c:v>
                </c:pt>
                <c:pt idx="67693">
                  <c:v>38472</c:v>
                </c:pt>
                <c:pt idx="67694">
                  <c:v>44087</c:v>
                </c:pt>
                <c:pt idx="67695">
                  <c:v>33312</c:v>
                </c:pt>
                <c:pt idx="67696">
                  <c:v>54102</c:v>
                </c:pt>
                <c:pt idx="67697">
                  <c:v>86777</c:v>
                </c:pt>
                <c:pt idx="67698">
                  <c:v>58899</c:v>
                </c:pt>
                <c:pt idx="67699">
                  <c:v>124665</c:v>
                </c:pt>
                <c:pt idx="67700">
                  <c:v>37628</c:v>
                </c:pt>
                <c:pt idx="67701">
                  <c:v>38333</c:v>
                </c:pt>
                <c:pt idx="67702">
                  <c:v>47615</c:v>
                </c:pt>
                <c:pt idx="67703">
                  <c:v>35148</c:v>
                </c:pt>
                <c:pt idx="67704">
                  <c:v>35588</c:v>
                </c:pt>
                <c:pt idx="67705">
                  <c:v>30292</c:v>
                </c:pt>
                <c:pt idx="67706">
                  <c:v>50118</c:v>
                </c:pt>
                <c:pt idx="67707">
                  <c:v>21487</c:v>
                </c:pt>
                <c:pt idx="67708">
                  <c:v>22030</c:v>
                </c:pt>
                <c:pt idx="67709">
                  <c:v>31166</c:v>
                </c:pt>
                <c:pt idx="67710">
                  <c:v>49990</c:v>
                </c:pt>
                <c:pt idx="67711">
                  <c:v>32475</c:v>
                </c:pt>
                <c:pt idx="67712">
                  <c:v>47764</c:v>
                </c:pt>
                <c:pt idx="67713">
                  <c:v>63546</c:v>
                </c:pt>
                <c:pt idx="67714">
                  <c:v>190345</c:v>
                </c:pt>
                <c:pt idx="67715">
                  <c:v>44617</c:v>
                </c:pt>
                <c:pt idx="67716">
                  <c:v>104770</c:v>
                </c:pt>
                <c:pt idx="67717">
                  <c:v>38199</c:v>
                </c:pt>
                <c:pt idx="67718">
                  <c:v>35335</c:v>
                </c:pt>
                <c:pt idx="67719">
                  <c:v>128862</c:v>
                </c:pt>
                <c:pt idx="67720">
                  <c:v>43778</c:v>
                </c:pt>
                <c:pt idx="67721">
                  <c:v>27012</c:v>
                </c:pt>
                <c:pt idx="67722">
                  <c:v>85608</c:v>
                </c:pt>
                <c:pt idx="67723">
                  <c:v>38018</c:v>
                </c:pt>
                <c:pt idx="67724">
                  <c:v>42044</c:v>
                </c:pt>
                <c:pt idx="67725">
                  <c:v>54324</c:v>
                </c:pt>
                <c:pt idx="67726">
                  <c:v>33274</c:v>
                </c:pt>
                <c:pt idx="67727">
                  <c:v>37543</c:v>
                </c:pt>
                <c:pt idx="67728">
                  <c:v>25368</c:v>
                </c:pt>
                <c:pt idx="67729">
                  <c:v>37946</c:v>
                </c:pt>
                <c:pt idx="67730">
                  <c:v>74946</c:v>
                </c:pt>
                <c:pt idx="67731">
                  <c:v>216434</c:v>
                </c:pt>
                <c:pt idx="67732">
                  <c:v>133719</c:v>
                </c:pt>
                <c:pt idx="67733">
                  <c:v>67377</c:v>
                </c:pt>
                <c:pt idx="67734">
                  <c:v>31270</c:v>
                </c:pt>
                <c:pt idx="67735">
                  <c:v>38418</c:v>
                </c:pt>
                <c:pt idx="67736">
                  <c:v>30200</c:v>
                </c:pt>
                <c:pt idx="67737">
                  <c:v>43989</c:v>
                </c:pt>
                <c:pt idx="67738">
                  <c:v>214992</c:v>
                </c:pt>
                <c:pt idx="67739">
                  <c:v>30776</c:v>
                </c:pt>
                <c:pt idx="67740">
                  <c:v>72662</c:v>
                </c:pt>
                <c:pt idx="67741">
                  <c:v>26373</c:v>
                </c:pt>
                <c:pt idx="67742">
                  <c:v>34753</c:v>
                </c:pt>
                <c:pt idx="67743">
                  <c:v>33065</c:v>
                </c:pt>
                <c:pt idx="67744">
                  <c:v>21528</c:v>
                </c:pt>
                <c:pt idx="67745">
                  <c:v>37728</c:v>
                </c:pt>
                <c:pt idx="67746">
                  <c:v>34760</c:v>
                </c:pt>
                <c:pt idx="67747">
                  <c:v>169283</c:v>
                </c:pt>
                <c:pt idx="67748">
                  <c:v>197789</c:v>
                </c:pt>
                <c:pt idx="67749">
                  <c:v>39319</c:v>
                </c:pt>
                <c:pt idx="67750">
                  <c:v>25991</c:v>
                </c:pt>
                <c:pt idx="67751">
                  <c:v>112820</c:v>
                </c:pt>
                <c:pt idx="67752">
                  <c:v>45953</c:v>
                </c:pt>
                <c:pt idx="67753">
                  <c:v>39749</c:v>
                </c:pt>
                <c:pt idx="67754">
                  <c:v>58884</c:v>
                </c:pt>
                <c:pt idx="67755">
                  <c:v>56154</c:v>
                </c:pt>
                <c:pt idx="67756">
                  <c:v>26020</c:v>
                </c:pt>
                <c:pt idx="67757">
                  <c:v>30276</c:v>
                </c:pt>
                <c:pt idx="67758">
                  <c:v>81223</c:v>
                </c:pt>
                <c:pt idx="67759">
                  <c:v>45472</c:v>
                </c:pt>
                <c:pt idx="67760">
                  <c:v>27121</c:v>
                </c:pt>
                <c:pt idx="67761">
                  <c:v>42612</c:v>
                </c:pt>
                <c:pt idx="67762">
                  <c:v>55392</c:v>
                </c:pt>
                <c:pt idx="67763">
                  <c:v>27938</c:v>
                </c:pt>
                <c:pt idx="67764">
                  <c:v>341119</c:v>
                </c:pt>
                <c:pt idx="67765">
                  <c:v>44890</c:v>
                </c:pt>
                <c:pt idx="67766">
                  <c:v>24366</c:v>
                </c:pt>
                <c:pt idx="67767">
                  <c:v>50723</c:v>
                </c:pt>
                <c:pt idx="67768">
                  <c:v>28121</c:v>
                </c:pt>
                <c:pt idx="67769">
                  <c:v>27480</c:v>
                </c:pt>
                <c:pt idx="67770">
                  <c:v>39256</c:v>
                </c:pt>
                <c:pt idx="67771">
                  <c:v>121417</c:v>
                </c:pt>
                <c:pt idx="67772">
                  <c:v>20631</c:v>
                </c:pt>
                <c:pt idx="67773">
                  <c:v>77505</c:v>
                </c:pt>
                <c:pt idx="67774">
                  <c:v>64640</c:v>
                </c:pt>
                <c:pt idx="67775">
                  <c:v>55219</c:v>
                </c:pt>
                <c:pt idx="67776">
                  <c:v>31156</c:v>
                </c:pt>
                <c:pt idx="67777">
                  <c:v>36566</c:v>
                </c:pt>
                <c:pt idx="67778">
                  <c:v>39790</c:v>
                </c:pt>
                <c:pt idx="67779">
                  <c:v>44204</c:v>
                </c:pt>
                <c:pt idx="67780">
                  <c:v>85866</c:v>
                </c:pt>
                <c:pt idx="67781">
                  <c:v>31969</c:v>
                </c:pt>
                <c:pt idx="67782">
                  <c:v>35091</c:v>
                </c:pt>
                <c:pt idx="67783">
                  <c:v>488826</c:v>
                </c:pt>
                <c:pt idx="67784">
                  <c:v>25859</c:v>
                </c:pt>
                <c:pt idx="67785">
                  <c:v>26730</c:v>
                </c:pt>
                <c:pt idx="67786">
                  <c:v>79930</c:v>
                </c:pt>
                <c:pt idx="67787">
                  <c:v>29704</c:v>
                </c:pt>
                <c:pt idx="67788">
                  <c:v>59667</c:v>
                </c:pt>
                <c:pt idx="67789">
                  <c:v>41140</c:v>
                </c:pt>
                <c:pt idx="67790">
                  <c:v>101322</c:v>
                </c:pt>
                <c:pt idx="67791">
                  <c:v>80481</c:v>
                </c:pt>
                <c:pt idx="67792">
                  <c:v>266701</c:v>
                </c:pt>
                <c:pt idx="67793">
                  <c:v>213580</c:v>
                </c:pt>
                <c:pt idx="67794">
                  <c:v>34749</c:v>
                </c:pt>
                <c:pt idx="67795">
                  <c:v>41041</c:v>
                </c:pt>
                <c:pt idx="67796">
                  <c:v>32437</c:v>
                </c:pt>
                <c:pt idx="67797">
                  <c:v>46996</c:v>
                </c:pt>
                <c:pt idx="67798">
                  <c:v>37815</c:v>
                </c:pt>
                <c:pt idx="67799">
                  <c:v>34720</c:v>
                </c:pt>
                <c:pt idx="67800">
                  <c:v>24140</c:v>
                </c:pt>
                <c:pt idx="67801">
                  <c:v>41713</c:v>
                </c:pt>
                <c:pt idx="67802">
                  <c:v>22012</c:v>
                </c:pt>
                <c:pt idx="67803">
                  <c:v>25925</c:v>
                </c:pt>
                <c:pt idx="67804">
                  <c:v>25260</c:v>
                </c:pt>
                <c:pt idx="67805">
                  <c:v>51092</c:v>
                </c:pt>
                <c:pt idx="67806">
                  <c:v>55619</c:v>
                </c:pt>
                <c:pt idx="67807">
                  <c:v>233900</c:v>
                </c:pt>
                <c:pt idx="67808">
                  <c:v>31831</c:v>
                </c:pt>
                <c:pt idx="67809">
                  <c:v>64098</c:v>
                </c:pt>
                <c:pt idx="67810">
                  <c:v>41040</c:v>
                </c:pt>
                <c:pt idx="67811">
                  <c:v>50984</c:v>
                </c:pt>
                <c:pt idx="67812">
                  <c:v>34189</c:v>
                </c:pt>
                <c:pt idx="67813">
                  <c:v>28731</c:v>
                </c:pt>
                <c:pt idx="67814">
                  <c:v>38903</c:v>
                </c:pt>
                <c:pt idx="67815">
                  <c:v>29233</c:v>
                </c:pt>
                <c:pt idx="67816">
                  <c:v>79552</c:v>
                </c:pt>
                <c:pt idx="67817">
                  <c:v>342898</c:v>
                </c:pt>
                <c:pt idx="67818">
                  <c:v>88807</c:v>
                </c:pt>
                <c:pt idx="67819">
                  <c:v>45617</c:v>
                </c:pt>
                <c:pt idx="67820">
                  <c:v>230933</c:v>
                </c:pt>
                <c:pt idx="67821">
                  <c:v>23830</c:v>
                </c:pt>
                <c:pt idx="67822">
                  <c:v>60120</c:v>
                </c:pt>
                <c:pt idx="67823">
                  <c:v>44399</c:v>
                </c:pt>
                <c:pt idx="67824">
                  <c:v>31606</c:v>
                </c:pt>
                <c:pt idx="67825">
                  <c:v>38402</c:v>
                </c:pt>
                <c:pt idx="67826">
                  <c:v>97333</c:v>
                </c:pt>
                <c:pt idx="67827">
                  <c:v>38252</c:v>
                </c:pt>
                <c:pt idx="67828">
                  <c:v>56782</c:v>
                </c:pt>
                <c:pt idx="67829">
                  <c:v>24347</c:v>
                </c:pt>
                <c:pt idx="67830">
                  <c:v>26124</c:v>
                </c:pt>
                <c:pt idx="67831">
                  <c:v>48239</c:v>
                </c:pt>
                <c:pt idx="67832">
                  <c:v>29947</c:v>
                </c:pt>
                <c:pt idx="67833">
                  <c:v>86063</c:v>
                </c:pt>
                <c:pt idx="67834">
                  <c:v>43822</c:v>
                </c:pt>
                <c:pt idx="67835">
                  <c:v>84716</c:v>
                </c:pt>
                <c:pt idx="67836">
                  <c:v>30690</c:v>
                </c:pt>
                <c:pt idx="67837">
                  <c:v>89655</c:v>
                </c:pt>
                <c:pt idx="67838">
                  <c:v>89029</c:v>
                </c:pt>
                <c:pt idx="67839">
                  <c:v>38448</c:v>
                </c:pt>
                <c:pt idx="67840">
                  <c:v>51917</c:v>
                </c:pt>
                <c:pt idx="67841">
                  <c:v>34812</c:v>
                </c:pt>
                <c:pt idx="67842">
                  <c:v>104878</c:v>
                </c:pt>
                <c:pt idx="67843">
                  <c:v>50885</c:v>
                </c:pt>
                <c:pt idx="67844">
                  <c:v>178660</c:v>
                </c:pt>
                <c:pt idx="67845">
                  <c:v>83776</c:v>
                </c:pt>
                <c:pt idx="67846">
                  <c:v>37143</c:v>
                </c:pt>
                <c:pt idx="67847">
                  <c:v>33296</c:v>
                </c:pt>
                <c:pt idx="67848">
                  <c:v>42605</c:v>
                </c:pt>
                <c:pt idx="67849">
                  <c:v>192465</c:v>
                </c:pt>
                <c:pt idx="67850">
                  <c:v>54477</c:v>
                </c:pt>
                <c:pt idx="67851">
                  <c:v>26598</c:v>
                </c:pt>
                <c:pt idx="67852">
                  <c:v>38378</c:v>
                </c:pt>
                <c:pt idx="67853">
                  <c:v>38387</c:v>
                </c:pt>
                <c:pt idx="67854">
                  <c:v>101374</c:v>
                </c:pt>
                <c:pt idx="67855">
                  <c:v>56728</c:v>
                </c:pt>
                <c:pt idx="67856">
                  <c:v>56282</c:v>
                </c:pt>
                <c:pt idx="67857">
                  <c:v>27592</c:v>
                </c:pt>
                <c:pt idx="67858">
                  <c:v>70160</c:v>
                </c:pt>
                <c:pt idx="67859">
                  <c:v>69192</c:v>
                </c:pt>
                <c:pt idx="67860">
                  <c:v>38200</c:v>
                </c:pt>
                <c:pt idx="67861">
                  <c:v>39087</c:v>
                </c:pt>
                <c:pt idx="67862">
                  <c:v>57315</c:v>
                </c:pt>
                <c:pt idx="67863">
                  <c:v>33149</c:v>
                </c:pt>
                <c:pt idx="67864">
                  <c:v>47136</c:v>
                </c:pt>
                <c:pt idx="67865">
                  <c:v>25229</c:v>
                </c:pt>
                <c:pt idx="67866">
                  <c:v>29465</c:v>
                </c:pt>
                <c:pt idx="67867">
                  <c:v>88744</c:v>
                </c:pt>
                <c:pt idx="67868">
                  <c:v>69785</c:v>
                </c:pt>
                <c:pt idx="67869">
                  <c:v>37248</c:v>
                </c:pt>
                <c:pt idx="67870">
                  <c:v>42441</c:v>
                </c:pt>
                <c:pt idx="67871">
                  <c:v>58805</c:v>
                </c:pt>
                <c:pt idx="67872">
                  <c:v>89388</c:v>
                </c:pt>
                <c:pt idx="67873">
                  <c:v>41523</c:v>
                </c:pt>
                <c:pt idx="67874">
                  <c:v>130747</c:v>
                </c:pt>
                <c:pt idx="67875">
                  <c:v>29814</c:v>
                </c:pt>
                <c:pt idx="67876">
                  <c:v>52209</c:v>
                </c:pt>
                <c:pt idx="67877">
                  <c:v>38138</c:v>
                </c:pt>
                <c:pt idx="67878">
                  <c:v>83771</c:v>
                </c:pt>
                <c:pt idx="67879">
                  <c:v>30669</c:v>
                </c:pt>
                <c:pt idx="67880">
                  <c:v>54048</c:v>
                </c:pt>
                <c:pt idx="67881">
                  <c:v>59307</c:v>
                </c:pt>
                <c:pt idx="67882">
                  <c:v>151915</c:v>
                </c:pt>
                <c:pt idx="67883">
                  <c:v>15000</c:v>
                </c:pt>
                <c:pt idx="67884">
                  <c:v>58193</c:v>
                </c:pt>
                <c:pt idx="67885">
                  <c:v>68717</c:v>
                </c:pt>
                <c:pt idx="67886">
                  <c:v>27099</c:v>
                </c:pt>
                <c:pt idx="67887">
                  <c:v>75786</c:v>
                </c:pt>
                <c:pt idx="67888">
                  <c:v>37530</c:v>
                </c:pt>
                <c:pt idx="67889">
                  <c:v>37217</c:v>
                </c:pt>
                <c:pt idx="67890">
                  <c:v>80657</c:v>
                </c:pt>
                <c:pt idx="67891">
                  <c:v>45034</c:v>
                </c:pt>
                <c:pt idx="67892">
                  <c:v>24848</c:v>
                </c:pt>
                <c:pt idx="67893">
                  <c:v>166483</c:v>
                </c:pt>
                <c:pt idx="67894">
                  <c:v>48477</c:v>
                </c:pt>
                <c:pt idx="67895">
                  <c:v>58885</c:v>
                </c:pt>
                <c:pt idx="67896">
                  <c:v>51372</c:v>
                </c:pt>
                <c:pt idx="67897">
                  <c:v>31436</c:v>
                </c:pt>
                <c:pt idx="67898">
                  <c:v>174780</c:v>
                </c:pt>
                <c:pt idx="67899">
                  <c:v>49141</c:v>
                </c:pt>
                <c:pt idx="67900">
                  <c:v>38173</c:v>
                </c:pt>
                <c:pt idx="67901">
                  <c:v>32816</c:v>
                </c:pt>
                <c:pt idx="67902">
                  <c:v>37616</c:v>
                </c:pt>
                <c:pt idx="67903">
                  <c:v>50626</c:v>
                </c:pt>
                <c:pt idx="67904">
                  <c:v>35287</c:v>
                </c:pt>
                <c:pt idx="67905">
                  <c:v>42427</c:v>
                </c:pt>
                <c:pt idx="67906">
                  <c:v>62086</c:v>
                </c:pt>
                <c:pt idx="67907">
                  <c:v>46530</c:v>
                </c:pt>
                <c:pt idx="67908">
                  <c:v>37120</c:v>
                </c:pt>
                <c:pt idx="67909">
                  <c:v>44907</c:v>
                </c:pt>
                <c:pt idx="67910">
                  <c:v>23726</c:v>
                </c:pt>
                <c:pt idx="67911">
                  <c:v>75258</c:v>
                </c:pt>
                <c:pt idx="67912">
                  <c:v>49343</c:v>
                </c:pt>
                <c:pt idx="67913">
                  <c:v>51898</c:v>
                </c:pt>
                <c:pt idx="67914">
                  <c:v>132735</c:v>
                </c:pt>
                <c:pt idx="67915">
                  <c:v>68629</c:v>
                </c:pt>
                <c:pt idx="67916">
                  <c:v>42878</c:v>
                </c:pt>
                <c:pt idx="67917">
                  <c:v>39632</c:v>
                </c:pt>
                <c:pt idx="67918">
                  <c:v>97295</c:v>
                </c:pt>
                <c:pt idx="67919">
                  <c:v>39214</c:v>
                </c:pt>
                <c:pt idx="67920">
                  <c:v>50989</c:v>
                </c:pt>
                <c:pt idx="67921">
                  <c:v>43344</c:v>
                </c:pt>
                <c:pt idx="67922">
                  <c:v>40182</c:v>
                </c:pt>
                <c:pt idx="67923">
                  <c:v>32512</c:v>
                </c:pt>
                <c:pt idx="67924">
                  <c:v>66898</c:v>
                </c:pt>
                <c:pt idx="67925">
                  <c:v>23895</c:v>
                </c:pt>
                <c:pt idx="67926">
                  <c:v>71158</c:v>
                </c:pt>
                <c:pt idx="67927">
                  <c:v>74971</c:v>
                </c:pt>
                <c:pt idx="67928">
                  <c:v>75548</c:v>
                </c:pt>
                <c:pt idx="67929">
                  <c:v>34591</c:v>
                </c:pt>
                <c:pt idx="67930">
                  <c:v>29627</c:v>
                </c:pt>
                <c:pt idx="67931">
                  <c:v>44645</c:v>
                </c:pt>
                <c:pt idx="67932">
                  <c:v>45330</c:v>
                </c:pt>
                <c:pt idx="67933">
                  <c:v>55202</c:v>
                </c:pt>
                <c:pt idx="67934">
                  <c:v>43694</c:v>
                </c:pt>
                <c:pt idx="67935">
                  <c:v>89073</c:v>
                </c:pt>
                <c:pt idx="67936">
                  <c:v>124641</c:v>
                </c:pt>
                <c:pt idx="67937">
                  <c:v>125237</c:v>
                </c:pt>
                <c:pt idx="67938">
                  <c:v>44734</c:v>
                </c:pt>
                <c:pt idx="67939">
                  <c:v>42617</c:v>
                </c:pt>
                <c:pt idx="67940">
                  <c:v>153315</c:v>
                </c:pt>
                <c:pt idx="67941">
                  <c:v>24337</c:v>
                </c:pt>
                <c:pt idx="67942">
                  <c:v>43111</c:v>
                </c:pt>
                <c:pt idx="67943">
                  <c:v>36878</c:v>
                </c:pt>
                <c:pt idx="67944">
                  <c:v>68164</c:v>
                </c:pt>
                <c:pt idx="67945">
                  <c:v>47383</c:v>
                </c:pt>
                <c:pt idx="67946">
                  <c:v>33359</c:v>
                </c:pt>
                <c:pt idx="67947">
                  <c:v>45299</c:v>
                </c:pt>
                <c:pt idx="67948">
                  <c:v>37599</c:v>
                </c:pt>
                <c:pt idx="67949">
                  <c:v>158158</c:v>
                </c:pt>
                <c:pt idx="67950">
                  <c:v>25364</c:v>
                </c:pt>
                <c:pt idx="67951">
                  <c:v>27221</c:v>
                </c:pt>
                <c:pt idx="67952">
                  <c:v>51610</c:v>
                </c:pt>
                <c:pt idx="67953">
                  <c:v>89041</c:v>
                </c:pt>
                <c:pt idx="67954">
                  <c:v>40596</c:v>
                </c:pt>
                <c:pt idx="67955">
                  <c:v>45280</c:v>
                </c:pt>
                <c:pt idx="67956">
                  <c:v>23802</c:v>
                </c:pt>
                <c:pt idx="67957">
                  <c:v>36020</c:v>
                </c:pt>
                <c:pt idx="67958">
                  <c:v>46781</c:v>
                </c:pt>
                <c:pt idx="67959">
                  <c:v>27110</c:v>
                </c:pt>
                <c:pt idx="67960">
                  <c:v>29699</c:v>
                </c:pt>
                <c:pt idx="67961">
                  <c:v>56440</c:v>
                </c:pt>
                <c:pt idx="67962">
                  <c:v>25910</c:v>
                </c:pt>
                <c:pt idx="67963">
                  <c:v>45062</c:v>
                </c:pt>
                <c:pt idx="67964">
                  <c:v>153610</c:v>
                </c:pt>
                <c:pt idx="67965">
                  <c:v>42032</c:v>
                </c:pt>
                <c:pt idx="67966">
                  <c:v>39793</c:v>
                </c:pt>
                <c:pt idx="67967">
                  <c:v>134575</c:v>
                </c:pt>
                <c:pt idx="67968">
                  <c:v>33181</c:v>
                </c:pt>
                <c:pt idx="67969">
                  <c:v>46886</c:v>
                </c:pt>
                <c:pt idx="67970">
                  <c:v>33330</c:v>
                </c:pt>
                <c:pt idx="67971">
                  <c:v>154688</c:v>
                </c:pt>
                <c:pt idx="67972">
                  <c:v>27243</c:v>
                </c:pt>
                <c:pt idx="67973">
                  <c:v>199841</c:v>
                </c:pt>
                <c:pt idx="67974">
                  <c:v>29433</c:v>
                </c:pt>
                <c:pt idx="67975">
                  <c:v>31715</c:v>
                </c:pt>
                <c:pt idx="67976">
                  <c:v>29053</c:v>
                </c:pt>
                <c:pt idx="67977">
                  <c:v>31931</c:v>
                </c:pt>
                <c:pt idx="67978">
                  <c:v>46617</c:v>
                </c:pt>
                <c:pt idx="67979">
                  <c:v>22204</c:v>
                </c:pt>
                <c:pt idx="67980">
                  <c:v>165070</c:v>
                </c:pt>
                <c:pt idx="67981">
                  <c:v>27550</c:v>
                </c:pt>
                <c:pt idx="67982">
                  <c:v>86374</c:v>
                </c:pt>
                <c:pt idx="67983">
                  <c:v>69320</c:v>
                </c:pt>
                <c:pt idx="67984">
                  <c:v>40937</c:v>
                </c:pt>
                <c:pt idx="67985">
                  <c:v>81754</c:v>
                </c:pt>
                <c:pt idx="67986">
                  <c:v>43719</c:v>
                </c:pt>
                <c:pt idx="67987">
                  <c:v>59108</c:v>
                </c:pt>
                <c:pt idx="67988">
                  <c:v>75434</c:v>
                </c:pt>
                <c:pt idx="67989">
                  <c:v>278367</c:v>
                </c:pt>
                <c:pt idx="67990">
                  <c:v>80433</c:v>
                </c:pt>
                <c:pt idx="67991">
                  <c:v>41513</c:v>
                </c:pt>
                <c:pt idx="67992">
                  <c:v>147902</c:v>
                </c:pt>
                <c:pt idx="67993">
                  <c:v>66296</c:v>
                </c:pt>
                <c:pt idx="67994">
                  <c:v>52742</c:v>
                </c:pt>
                <c:pt idx="67995">
                  <c:v>26501</c:v>
                </c:pt>
                <c:pt idx="67996">
                  <c:v>108081</c:v>
                </c:pt>
                <c:pt idx="67997">
                  <c:v>81139</c:v>
                </c:pt>
                <c:pt idx="67998">
                  <c:v>73174</c:v>
                </c:pt>
                <c:pt idx="67999">
                  <c:v>57792</c:v>
                </c:pt>
                <c:pt idx="68000">
                  <c:v>68245</c:v>
                </c:pt>
                <c:pt idx="68001">
                  <c:v>30633</c:v>
                </c:pt>
                <c:pt idx="68002">
                  <c:v>30114</c:v>
                </c:pt>
                <c:pt idx="68003">
                  <c:v>123305</c:v>
                </c:pt>
                <c:pt idx="68004">
                  <c:v>71832</c:v>
                </c:pt>
                <c:pt idx="68005">
                  <c:v>42843</c:v>
                </c:pt>
                <c:pt idx="68006">
                  <c:v>51895</c:v>
                </c:pt>
                <c:pt idx="68007">
                  <c:v>53708</c:v>
                </c:pt>
                <c:pt idx="68008">
                  <c:v>25186</c:v>
                </c:pt>
                <c:pt idx="68009">
                  <c:v>85285</c:v>
                </c:pt>
                <c:pt idx="68010">
                  <c:v>34671</c:v>
                </c:pt>
                <c:pt idx="68011">
                  <c:v>40627</c:v>
                </c:pt>
                <c:pt idx="68012">
                  <c:v>89875</c:v>
                </c:pt>
                <c:pt idx="68013">
                  <c:v>31226</c:v>
                </c:pt>
                <c:pt idx="68014">
                  <c:v>59238</c:v>
                </c:pt>
                <c:pt idx="68015">
                  <c:v>204507</c:v>
                </c:pt>
                <c:pt idx="68016">
                  <c:v>103709</c:v>
                </c:pt>
                <c:pt idx="68017">
                  <c:v>77540</c:v>
                </c:pt>
                <c:pt idx="68018">
                  <c:v>122170</c:v>
                </c:pt>
                <c:pt idx="68019">
                  <c:v>44750</c:v>
                </c:pt>
                <c:pt idx="68020">
                  <c:v>32510</c:v>
                </c:pt>
                <c:pt idx="68021">
                  <c:v>40939</c:v>
                </c:pt>
                <c:pt idx="68022">
                  <c:v>51112</c:v>
                </c:pt>
                <c:pt idx="68023">
                  <c:v>44992</c:v>
                </c:pt>
                <c:pt idx="68024">
                  <c:v>105526</c:v>
                </c:pt>
                <c:pt idx="68025">
                  <c:v>49916</c:v>
                </c:pt>
                <c:pt idx="68026">
                  <c:v>37295</c:v>
                </c:pt>
                <c:pt idx="68027">
                  <c:v>39722</c:v>
                </c:pt>
                <c:pt idx="68028">
                  <c:v>45523</c:v>
                </c:pt>
                <c:pt idx="68029">
                  <c:v>24329</c:v>
                </c:pt>
                <c:pt idx="68030">
                  <c:v>38847</c:v>
                </c:pt>
                <c:pt idx="68031">
                  <c:v>84474</c:v>
                </c:pt>
                <c:pt idx="68032">
                  <c:v>28713</c:v>
                </c:pt>
                <c:pt idx="68033">
                  <c:v>33442</c:v>
                </c:pt>
                <c:pt idx="68034">
                  <c:v>44233</c:v>
                </c:pt>
                <c:pt idx="68035">
                  <c:v>89067</c:v>
                </c:pt>
                <c:pt idx="68036">
                  <c:v>85245</c:v>
                </c:pt>
                <c:pt idx="68037">
                  <c:v>78589</c:v>
                </c:pt>
                <c:pt idx="68038">
                  <c:v>93409</c:v>
                </c:pt>
                <c:pt idx="68039">
                  <c:v>119397</c:v>
                </c:pt>
                <c:pt idx="68040">
                  <c:v>25074</c:v>
                </c:pt>
                <c:pt idx="68041">
                  <c:v>24138</c:v>
                </c:pt>
                <c:pt idx="68042">
                  <c:v>22054</c:v>
                </c:pt>
                <c:pt idx="68043">
                  <c:v>38761</c:v>
                </c:pt>
                <c:pt idx="68044">
                  <c:v>25633</c:v>
                </c:pt>
                <c:pt idx="68045">
                  <c:v>404453</c:v>
                </c:pt>
                <c:pt idx="68046">
                  <c:v>33815</c:v>
                </c:pt>
                <c:pt idx="68047">
                  <c:v>42147</c:v>
                </c:pt>
                <c:pt idx="68048">
                  <c:v>44109</c:v>
                </c:pt>
                <c:pt idx="68049">
                  <c:v>94540</c:v>
                </c:pt>
                <c:pt idx="68050">
                  <c:v>73310</c:v>
                </c:pt>
                <c:pt idx="68051">
                  <c:v>217808</c:v>
                </c:pt>
                <c:pt idx="68052">
                  <c:v>42974</c:v>
                </c:pt>
                <c:pt idx="68053">
                  <c:v>27599</c:v>
                </c:pt>
                <c:pt idx="68054">
                  <c:v>45095</c:v>
                </c:pt>
                <c:pt idx="68055">
                  <c:v>25535</c:v>
                </c:pt>
                <c:pt idx="68056">
                  <c:v>46254</c:v>
                </c:pt>
                <c:pt idx="68057">
                  <c:v>35761</c:v>
                </c:pt>
                <c:pt idx="68058">
                  <c:v>24610</c:v>
                </c:pt>
                <c:pt idx="68059">
                  <c:v>63972</c:v>
                </c:pt>
                <c:pt idx="68060">
                  <c:v>31914</c:v>
                </c:pt>
                <c:pt idx="68061">
                  <c:v>33802</c:v>
                </c:pt>
                <c:pt idx="68062">
                  <c:v>24975</c:v>
                </c:pt>
                <c:pt idx="68063">
                  <c:v>59948</c:v>
                </c:pt>
                <c:pt idx="68064">
                  <c:v>60739</c:v>
                </c:pt>
                <c:pt idx="68065">
                  <c:v>39885</c:v>
                </c:pt>
                <c:pt idx="68066">
                  <c:v>44399</c:v>
                </c:pt>
                <c:pt idx="68067">
                  <c:v>35691</c:v>
                </c:pt>
                <c:pt idx="68068">
                  <c:v>35364</c:v>
                </c:pt>
                <c:pt idx="68069">
                  <c:v>106319</c:v>
                </c:pt>
                <c:pt idx="68070">
                  <c:v>22900</c:v>
                </c:pt>
                <c:pt idx="68071">
                  <c:v>60127</c:v>
                </c:pt>
                <c:pt idx="68072">
                  <c:v>99143</c:v>
                </c:pt>
                <c:pt idx="68073">
                  <c:v>36324</c:v>
                </c:pt>
                <c:pt idx="68074">
                  <c:v>30376</c:v>
                </c:pt>
                <c:pt idx="68075">
                  <c:v>24181</c:v>
                </c:pt>
                <c:pt idx="68076">
                  <c:v>49897</c:v>
                </c:pt>
                <c:pt idx="68077">
                  <c:v>136025</c:v>
                </c:pt>
                <c:pt idx="68078">
                  <c:v>45162</c:v>
                </c:pt>
                <c:pt idx="68079">
                  <c:v>38550</c:v>
                </c:pt>
                <c:pt idx="68080">
                  <c:v>41960</c:v>
                </c:pt>
                <c:pt idx="68081">
                  <c:v>44021</c:v>
                </c:pt>
                <c:pt idx="68082">
                  <c:v>37748</c:v>
                </c:pt>
                <c:pt idx="68083">
                  <c:v>44384</c:v>
                </c:pt>
                <c:pt idx="68084">
                  <c:v>30722</c:v>
                </c:pt>
                <c:pt idx="68085">
                  <c:v>32233</c:v>
                </c:pt>
                <c:pt idx="68086">
                  <c:v>55923</c:v>
                </c:pt>
                <c:pt idx="68087">
                  <c:v>90228</c:v>
                </c:pt>
                <c:pt idx="68088">
                  <c:v>25130</c:v>
                </c:pt>
                <c:pt idx="68089">
                  <c:v>54303</c:v>
                </c:pt>
                <c:pt idx="68090">
                  <c:v>79649</c:v>
                </c:pt>
                <c:pt idx="68091">
                  <c:v>34565</c:v>
                </c:pt>
                <c:pt idx="68092">
                  <c:v>33059</c:v>
                </c:pt>
                <c:pt idx="68093">
                  <c:v>115200</c:v>
                </c:pt>
                <c:pt idx="68094">
                  <c:v>83180</c:v>
                </c:pt>
                <c:pt idx="68095">
                  <c:v>117556</c:v>
                </c:pt>
                <c:pt idx="68096">
                  <c:v>20045</c:v>
                </c:pt>
                <c:pt idx="68097">
                  <c:v>27915</c:v>
                </c:pt>
                <c:pt idx="68098">
                  <c:v>23169</c:v>
                </c:pt>
                <c:pt idx="68099">
                  <c:v>44009</c:v>
                </c:pt>
                <c:pt idx="68100">
                  <c:v>278827</c:v>
                </c:pt>
                <c:pt idx="68101">
                  <c:v>55345</c:v>
                </c:pt>
                <c:pt idx="68102">
                  <c:v>76602</c:v>
                </c:pt>
                <c:pt idx="68103">
                  <c:v>52107</c:v>
                </c:pt>
                <c:pt idx="68104">
                  <c:v>51009</c:v>
                </c:pt>
                <c:pt idx="68105">
                  <c:v>236974</c:v>
                </c:pt>
                <c:pt idx="68106">
                  <c:v>52600</c:v>
                </c:pt>
                <c:pt idx="68107">
                  <c:v>88060</c:v>
                </c:pt>
                <c:pt idx="68108">
                  <c:v>26593</c:v>
                </c:pt>
                <c:pt idx="68109">
                  <c:v>138880</c:v>
                </c:pt>
                <c:pt idx="68110">
                  <c:v>39151</c:v>
                </c:pt>
                <c:pt idx="68111">
                  <c:v>91730</c:v>
                </c:pt>
                <c:pt idx="68112">
                  <c:v>48553</c:v>
                </c:pt>
                <c:pt idx="68113">
                  <c:v>24795</c:v>
                </c:pt>
                <c:pt idx="68114">
                  <c:v>36905</c:v>
                </c:pt>
                <c:pt idx="68115">
                  <c:v>92007</c:v>
                </c:pt>
                <c:pt idx="68116">
                  <c:v>33449</c:v>
                </c:pt>
                <c:pt idx="68117">
                  <c:v>24969</c:v>
                </c:pt>
                <c:pt idx="68118">
                  <c:v>27467</c:v>
                </c:pt>
                <c:pt idx="68119">
                  <c:v>26087</c:v>
                </c:pt>
                <c:pt idx="68120">
                  <c:v>44506</c:v>
                </c:pt>
                <c:pt idx="68121">
                  <c:v>153680</c:v>
                </c:pt>
                <c:pt idx="68122">
                  <c:v>53007</c:v>
                </c:pt>
                <c:pt idx="68123">
                  <c:v>42037</c:v>
                </c:pt>
                <c:pt idx="68124">
                  <c:v>24004</c:v>
                </c:pt>
                <c:pt idx="68125">
                  <c:v>29478</c:v>
                </c:pt>
                <c:pt idx="68126">
                  <c:v>59116</c:v>
                </c:pt>
                <c:pt idx="68127">
                  <c:v>53841</c:v>
                </c:pt>
                <c:pt idx="68128">
                  <c:v>23339</c:v>
                </c:pt>
                <c:pt idx="68129">
                  <c:v>26208</c:v>
                </c:pt>
                <c:pt idx="68130">
                  <c:v>38851</c:v>
                </c:pt>
                <c:pt idx="68131">
                  <c:v>166534</c:v>
                </c:pt>
                <c:pt idx="68132">
                  <c:v>44674</c:v>
                </c:pt>
                <c:pt idx="68133">
                  <c:v>92348</c:v>
                </c:pt>
                <c:pt idx="68134">
                  <c:v>35948</c:v>
                </c:pt>
                <c:pt idx="68135">
                  <c:v>56967</c:v>
                </c:pt>
                <c:pt idx="68136">
                  <c:v>117646</c:v>
                </c:pt>
                <c:pt idx="68137">
                  <c:v>66181</c:v>
                </c:pt>
                <c:pt idx="68138">
                  <c:v>42067</c:v>
                </c:pt>
                <c:pt idx="68139">
                  <c:v>36648</c:v>
                </c:pt>
                <c:pt idx="68140">
                  <c:v>50330</c:v>
                </c:pt>
                <c:pt idx="68141">
                  <c:v>47918</c:v>
                </c:pt>
                <c:pt idx="68142">
                  <c:v>34873</c:v>
                </c:pt>
                <c:pt idx="68143">
                  <c:v>23906</c:v>
                </c:pt>
                <c:pt idx="68144">
                  <c:v>189169</c:v>
                </c:pt>
                <c:pt idx="68145">
                  <c:v>38305</c:v>
                </c:pt>
                <c:pt idx="68146">
                  <c:v>174687</c:v>
                </c:pt>
                <c:pt idx="68147">
                  <c:v>96828</c:v>
                </c:pt>
                <c:pt idx="68148">
                  <c:v>70618</c:v>
                </c:pt>
                <c:pt idx="68149">
                  <c:v>23007</c:v>
                </c:pt>
                <c:pt idx="68150">
                  <c:v>108051</c:v>
                </c:pt>
                <c:pt idx="68151">
                  <c:v>51585</c:v>
                </c:pt>
                <c:pt idx="68152">
                  <c:v>38940</c:v>
                </c:pt>
                <c:pt idx="68153">
                  <c:v>20007</c:v>
                </c:pt>
                <c:pt idx="68154">
                  <c:v>181773</c:v>
                </c:pt>
                <c:pt idx="68155">
                  <c:v>114864</c:v>
                </c:pt>
                <c:pt idx="68156">
                  <c:v>78435</c:v>
                </c:pt>
                <c:pt idx="68157">
                  <c:v>24107</c:v>
                </c:pt>
                <c:pt idx="68158">
                  <c:v>38106</c:v>
                </c:pt>
                <c:pt idx="68159">
                  <c:v>28236</c:v>
                </c:pt>
                <c:pt idx="68160">
                  <c:v>28334</c:v>
                </c:pt>
                <c:pt idx="68161">
                  <c:v>85348</c:v>
                </c:pt>
                <c:pt idx="68162">
                  <c:v>34841</c:v>
                </c:pt>
                <c:pt idx="68163">
                  <c:v>40493</c:v>
                </c:pt>
                <c:pt idx="68164">
                  <c:v>31162</c:v>
                </c:pt>
                <c:pt idx="68165">
                  <c:v>23907</c:v>
                </c:pt>
                <c:pt idx="68166">
                  <c:v>57406</c:v>
                </c:pt>
                <c:pt idx="68167">
                  <c:v>135148</c:v>
                </c:pt>
                <c:pt idx="68168">
                  <c:v>43778</c:v>
                </c:pt>
                <c:pt idx="68169">
                  <c:v>39611</c:v>
                </c:pt>
                <c:pt idx="68170">
                  <c:v>35525</c:v>
                </c:pt>
                <c:pt idx="68171">
                  <c:v>98524</c:v>
                </c:pt>
                <c:pt idx="68172">
                  <c:v>55661</c:v>
                </c:pt>
                <c:pt idx="68173">
                  <c:v>206061</c:v>
                </c:pt>
                <c:pt idx="68174">
                  <c:v>74105</c:v>
                </c:pt>
                <c:pt idx="68175">
                  <c:v>162627</c:v>
                </c:pt>
                <c:pt idx="68176">
                  <c:v>46620</c:v>
                </c:pt>
                <c:pt idx="68177">
                  <c:v>54362</c:v>
                </c:pt>
                <c:pt idx="68178">
                  <c:v>26019</c:v>
                </c:pt>
                <c:pt idx="68179">
                  <c:v>32060</c:v>
                </c:pt>
                <c:pt idx="68180">
                  <c:v>33306</c:v>
                </c:pt>
                <c:pt idx="68181">
                  <c:v>110213</c:v>
                </c:pt>
                <c:pt idx="68182">
                  <c:v>73985</c:v>
                </c:pt>
                <c:pt idx="68183">
                  <c:v>26014</c:v>
                </c:pt>
                <c:pt idx="68184">
                  <c:v>26534</c:v>
                </c:pt>
                <c:pt idx="68185">
                  <c:v>47178</c:v>
                </c:pt>
                <c:pt idx="68186">
                  <c:v>88290</c:v>
                </c:pt>
                <c:pt idx="68187">
                  <c:v>89782</c:v>
                </c:pt>
                <c:pt idx="68188">
                  <c:v>77600</c:v>
                </c:pt>
                <c:pt idx="68189">
                  <c:v>68594</c:v>
                </c:pt>
                <c:pt idx="68190">
                  <c:v>43340</c:v>
                </c:pt>
                <c:pt idx="68191">
                  <c:v>28244</c:v>
                </c:pt>
                <c:pt idx="68192">
                  <c:v>33210</c:v>
                </c:pt>
                <c:pt idx="68193">
                  <c:v>46180</c:v>
                </c:pt>
                <c:pt idx="68194">
                  <c:v>49568</c:v>
                </c:pt>
                <c:pt idx="68195">
                  <c:v>52321</c:v>
                </c:pt>
                <c:pt idx="68196">
                  <c:v>190782</c:v>
                </c:pt>
                <c:pt idx="68197">
                  <c:v>35464</c:v>
                </c:pt>
                <c:pt idx="68198">
                  <c:v>43912</c:v>
                </c:pt>
                <c:pt idx="68199">
                  <c:v>125669</c:v>
                </c:pt>
                <c:pt idx="68200">
                  <c:v>56168</c:v>
                </c:pt>
                <c:pt idx="68201">
                  <c:v>33274</c:v>
                </c:pt>
                <c:pt idx="68202">
                  <c:v>47164</c:v>
                </c:pt>
                <c:pt idx="68203">
                  <c:v>25321</c:v>
                </c:pt>
                <c:pt idx="68204">
                  <c:v>162845</c:v>
                </c:pt>
                <c:pt idx="68205">
                  <c:v>21724</c:v>
                </c:pt>
                <c:pt idx="68206">
                  <c:v>32224</c:v>
                </c:pt>
                <c:pt idx="68207">
                  <c:v>185952</c:v>
                </c:pt>
                <c:pt idx="68208">
                  <c:v>35572</c:v>
                </c:pt>
                <c:pt idx="68209">
                  <c:v>41177</c:v>
                </c:pt>
                <c:pt idx="68210">
                  <c:v>44937</c:v>
                </c:pt>
                <c:pt idx="68211">
                  <c:v>30024</c:v>
                </c:pt>
                <c:pt idx="68212">
                  <c:v>35351</c:v>
                </c:pt>
                <c:pt idx="68213">
                  <c:v>41571</c:v>
                </c:pt>
                <c:pt idx="68214">
                  <c:v>27946</c:v>
                </c:pt>
                <c:pt idx="68215">
                  <c:v>135883</c:v>
                </c:pt>
                <c:pt idx="68216">
                  <c:v>76685</c:v>
                </c:pt>
                <c:pt idx="68217">
                  <c:v>43967</c:v>
                </c:pt>
                <c:pt idx="68218">
                  <c:v>24804</c:v>
                </c:pt>
                <c:pt idx="68219">
                  <c:v>37150</c:v>
                </c:pt>
                <c:pt idx="68220">
                  <c:v>139550</c:v>
                </c:pt>
                <c:pt idx="68221">
                  <c:v>49034</c:v>
                </c:pt>
                <c:pt idx="68222">
                  <c:v>24834</c:v>
                </c:pt>
                <c:pt idx="68223">
                  <c:v>70943</c:v>
                </c:pt>
                <c:pt idx="68224">
                  <c:v>37859</c:v>
                </c:pt>
                <c:pt idx="68225">
                  <c:v>24745</c:v>
                </c:pt>
                <c:pt idx="68226">
                  <c:v>44082</c:v>
                </c:pt>
                <c:pt idx="68227">
                  <c:v>38819</c:v>
                </c:pt>
                <c:pt idx="68228">
                  <c:v>31869</c:v>
                </c:pt>
                <c:pt idx="68229">
                  <c:v>18198</c:v>
                </c:pt>
                <c:pt idx="68230">
                  <c:v>39815</c:v>
                </c:pt>
                <c:pt idx="68231">
                  <c:v>210894</c:v>
                </c:pt>
                <c:pt idx="68232">
                  <c:v>28108</c:v>
                </c:pt>
                <c:pt idx="68233">
                  <c:v>64312</c:v>
                </c:pt>
                <c:pt idx="68234">
                  <c:v>34358</c:v>
                </c:pt>
                <c:pt idx="68235">
                  <c:v>71536</c:v>
                </c:pt>
                <c:pt idx="68236">
                  <c:v>134753</c:v>
                </c:pt>
                <c:pt idx="68237">
                  <c:v>50367</c:v>
                </c:pt>
                <c:pt idx="68238">
                  <c:v>57355</c:v>
                </c:pt>
                <c:pt idx="68239">
                  <c:v>43347</c:v>
                </c:pt>
                <c:pt idx="68240">
                  <c:v>32173</c:v>
                </c:pt>
                <c:pt idx="68241">
                  <c:v>44857</c:v>
                </c:pt>
                <c:pt idx="68242">
                  <c:v>45876</c:v>
                </c:pt>
                <c:pt idx="68243">
                  <c:v>22711</c:v>
                </c:pt>
                <c:pt idx="68244">
                  <c:v>84792</c:v>
                </c:pt>
                <c:pt idx="68245">
                  <c:v>50927</c:v>
                </c:pt>
                <c:pt idx="68246">
                  <c:v>50640</c:v>
                </c:pt>
                <c:pt idx="68247">
                  <c:v>45827</c:v>
                </c:pt>
                <c:pt idx="68248">
                  <c:v>422940</c:v>
                </c:pt>
                <c:pt idx="68249">
                  <c:v>51435</c:v>
                </c:pt>
                <c:pt idx="68250">
                  <c:v>33662</c:v>
                </c:pt>
                <c:pt idx="68251">
                  <c:v>92115</c:v>
                </c:pt>
                <c:pt idx="68252">
                  <c:v>27631</c:v>
                </c:pt>
                <c:pt idx="68253">
                  <c:v>52558</c:v>
                </c:pt>
                <c:pt idx="68254">
                  <c:v>296127</c:v>
                </c:pt>
                <c:pt idx="68255">
                  <c:v>40702</c:v>
                </c:pt>
                <c:pt idx="68256">
                  <c:v>34332</c:v>
                </c:pt>
                <c:pt idx="68257">
                  <c:v>44140</c:v>
                </c:pt>
                <c:pt idx="68258">
                  <c:v>80229</c:v>
                </c:pt>
                <c:pt idx="68259">
                  <c:v>56257</c:v>
                </c:pt>
                <c:pt idx="68260">
                  <c:v>38628</c:v>
                </c:pt>
                <c:pt idx="68261">
                  <c:v>26154</c:v>
                </c:pt>
                <c:pt idx="68262">
                  <c:v>36160</c:v>
                </c:pt>
                <c:pt idx="68263">
                  <c:v>55715</c:v>
                </c:pt>
                <c:pt idx="68264">
                  <c:v>388477</c:v>
                </c:pt>
                <c:pt idx="68265">
                  <c:v>39392</c:v>
                </c:pt>
                <c:pt idx="68266">
                  <c:v>44491</c:v>
                </c:pt>
                <c:pt idx="68267">
                  <c:v>36999</c:v>
                </c:pt>
                <c:pt idx="68268">
                  <c:v>47652</c:v>
                </c:pt>
                <c:pt idx="68269">
                  <c:v>30656</c:v>
                </c:pt>
                <c:pt idx="68270">
                  <c:v>22048</c:v>
                </c:pt>
                <c:pt idx="68271">
                  <c:v>53531</c:v>
                </c:pt>
                <c:pt idx="68272">
                  <c:v>57192</c:v>
                </c:pt>
                <c:pt idx="68273">
                  <c:v>24042</c:v>
                </c:pt>
                <c:pt idx="68274">
                  <c:v>132271</c:v>
                </c:pt>
                <c:pt idx="68275">
                  <c:v>69346</c:v>
                </c:pt>
                <c:pt idx="68276">
                  <c:v>98635</c:v>
                </c:pt>
                <c:pt idx="68277">
                  <c:v>32295</c:v>
                </c:pt>
                <c:pt idx="68278">
                  <c:v>39480</c:v>
                </c:pt>
                <c:pt idx="68279">
                  <c:v>40110</c:v>
                </c:pt>
                <c:pt idx="68280">
                  <c:v>42512</c:v>
                </c:pt>
                <c:pt idx="68281">
                  <c:v>32271</c:v>
                </c:pt>
                <c:pt idx="68282">
                  <c:v>63217</c:v>
                </c:pt>
                <c:pt idx="68283">
                  <c:v>118968</c:v>
                </c:pt>
                <c:pt idx="68284">
                  <c:v>36133</c:v>
                </c:pt>
                <c:pt idx="68285">
                  <c:v>35841</c:v>
                </c:pt>
                <c:pt idx="68286">
                  <c:v>160966</c:v>
                </c:pt>
                <c:pt idx="68287">
                  <c:v>65099</c:v>
                </c:pt>
                <c:pt idx="68288">
                  <c:v>37238</c:v>
                </c:pt>
                <c:pt idx="68289">
                  <c:v>94028</c:v>
                </c:pt>
                <c:pt idx="68290">
                  <c:v>70713</c:v>
                </c:pt>
                <c:pt idx="68291">
                  <c:v>103800</c:v>
                </c:pt>
                <c:pt idx="68292">
                  <c:v>53602</c:v>
                </c:pt>
                <c:pt idx="68293">
                  <c:v>50301</c:v>
                </c:pt>
                <c:pt idx="68294">
                  <c:v>42787</c:v>
                </c:pt>
                <c:pt idx="68295">
                  <c:v>78017</c:v>
                </c:pt>
                <c:pt idx="68296">
                  <c:v>49155</c:v>
                </c:pt>
                <c:pt idx="68297">
                  <c:v>64530</c:v>
                </c:pt>
                <c:pt idx="68298">
                  <c:v>58452</c:v>
                </c:pt>
                <c:pt idx="68299">
                  <c:v>60241</c:v>
                </c:pt>
                <c:pt idx="68300">
                  <c:v>43201</c:v>
                </c:pt>
                <c:pt idx="68301">
                  <c:v>20405</c:v>
                </c:pt>
                <c:pt idx="68302">
                  <c:v>36470</c:v>
                </c:pt>
                <c:pt idx="68303">
                  <c:v>41599</c:v>
                </c:pt>
                <c:pt idx="68304">
                  <c:v>112852</c:v>
                </c:pt>
                <c:pt idx="68305">
                  <c:v>74240</c:v>
                </c:pt>
                <c:pt idx="68306">
                  <c:v>29942</c:v>
                </c:pt>
                <c:pt idx="68307">
                  <c:v>96627</c:v>
                </c:pt>
                <c:pt idx="68308">
                  <c:v>37860</c:v>
                </c:pt>
                <c:pt idx="68309">
                  <c:v>101798</c:v>
                </c:pt>
                <c:pt idx="68310">
                  <c:v>60768</c:v>
                </c:pt>
                <c:pt idx="68311">
                  <c:v>144263</c:v>
                </c:pt>
                <c:pt idx="68312">
                  <c:v>56243</c:v>
                </c:pt>
                <c:pt idx="68313">
                  <c:v>51673</c:v>
                </c:pt>
                <c:pt idx="68314">
                  <c:v>157610</c:v>
                </c:pt>
                <c:pt idx="68315">
                  <c:v>29655</c:v>
                </c:pt>
                <c:pt idx="68316">
                  <c:v>30035</c:v>
                </c:pt>
                <c:pt idx="68317">
                  <c:v>381726</c:v>
                </c:pt>
                <c:pt idx="68318">
                  <c:v>38109</c:v>
                </c:pt>
                <c:pt idx="68319">
                  <c:v>21108</c:v>
                </c:pt>
                <c:pt idx="68320">
                  <c:v>48994</c:v>
                </c:pt>
                <c:pt idx="68321">
                  <c:v>39019</c:v>
                </c:pt>
                <c:pt idx="68322">
                  <c:v>25499</c:v>
                </c:pt>
                <c:pt idx="68323">
                  <c:v>75557</c:v>
                </c:pt>
                <c:pt idx="68324">
                  <c:v>22939</c:v>
                </c:pt>
                <c:pt idx="68325">
                  <c:v>33068</c:v>
                </c:pt>
                <c:pt idx="68326">
                  <c:v>22842</c:v>
                </c:pt>
                <c:pt idx="68327">
                  <c:v>31049</c:v>
                </c:pt>
                <c:pt idx="68328">
                  <c:v>40244</c:v>
                </c:pt>
                <c:pt idx="68329">
                  <c:v>30953</c:v>
                </c:pt>
                <c:pt idx="68330">
                  <c:v>31683</c:v>
                </c:pt>
                <c:pt idx="68331">
                  <c:v>58038</c:v>
                </c:pt>
                <c:pt idx="68332">
                  <c:v>32556</c:v>
                </c:pt>
                <c:pt idx="68333">
                  <c:v>53479</c:v>
                </c:pt>
                <c:pt idx="68334">
                  <c:v>32627</c:v>
                </c:pt>
                <c:pt idx="68335">
                  <c:v>36185</c:v>
                </c:pt>
                <c:pt idx="68336">
                  <c:v>36182</c:v>
                </c:pt>
                <c:pt idx="68337">
                  <c:v>87132</c:v>
                </c:pt>
                <c:pt idx="68338">
                  <c:v>43393</c:v>
                </c:pt>
                <c:pt idx="68339">
                  <c:v>164064</c:v>
                </c:pt>
                <c:pt idx="68340">
                  <c:v>61283</c:v>
                </c:pt>
                <c:pt idx="68341">
                  <c:v>55462</c:v>
                </c:pt>
                <c:pt idx="68342">
                  <c:v>55993</c:v>
                </c:pt>
                <c:pt idx="68343">
                  <c:v>58108</c:v>
                </c:pt>
                <c:pt idx="68344">
                  <c:v>58067</c:v>
                </c:pt>
                <c:pt idx="68345">
                  <c:v>34239</c:v>
                </c:pt>
                <c:pt idx="68346">
                  <c:v>94024</c:v>
                </c:pt>
                <c:pt idx="68347">
                  <c:v>59904</c:v>
                </c:pt>
                <c:pt idx="68348">
                  <c:v>87827</c:v>
                </c:pt>
                <c:pt idx="68349">
                  <c:v>48380</c:v>
                </c:pt>
                <c:pt idx="68350">
                  <c:v>43868</c:v>
                </c:pt>
                <c:pt idx="68351">
                  <c:v>34666</c:v>
                </c:pt>
                <c:pt idx="68352">
                  <c:v>52479</c:v>
                </c:pt>
                <c:pt idx="68353">
                  <c:v>293810</c:v>
                </c:pt>
                <c:pt idx="68354">
                  <c:v>87322</c:v>
                </c:pt>
                <c:pt idx="68355">
                  <c:v>72965</c:v>
                </c:pt>
                <c:pt idx="68356">
                  <c:v>26093</c:v>
                </c:pt>
                <c:pt idx="68357">
                  <c:v>71193</c:v>
                </c:pt>
                <c:pt idx="68358">
                  <c:v>24995</c:v>
                </c:pt>
                <c:pt idx="68359">
                  <c:v>27449</c:v>
                </c:pt>
                <c:pt idx="68360">
                  <c:v>40993</c:v>
                </c:pt>
                <c:pt idx="68361">
                  <c:v>61584</c:v>
                </c:pt>
                <c:pt idx="68362">
                  <c:v>29863</c:v>
                </c:pt>
                <c:pt idx="68363">
                  <c:v>74930</c:v>
                </c:pt>
                <c:pt idx="68364">
                  <c:v>31524</c:v>
                </c:pt>
                <c:pt idx="68365">
                  <c:v>37956</c:v>
                </c:pt>
                <c:pt idx="68366">
                  <c:v>21329</c:v>
                </c:pt>
                <c:pt idx="68367">
                  <c:v>32025</c:v>
                </c:pt>
                <c:pt idx="68368">
                  <c:v>35640</c:v>
                </c:pt>
                <c:pt idx="68369">
                  <c:v>47348</c:v>
                </c:pt>
                <c:pt idx="68370">
                  <c:v>48792</c:v>
                </c:pt>
                <c:pt idx="68371">
                  <c:v>39321</c:v>
                </c:pt>
                <c:pt idx="68372">
                  <c:v>166314</c:v>
                </c:pt>
                <c:pt idx="68373">
                  <c:v>40387</c:v>
                </c:pt>
                <c:pt idx="68374">
                  <c:v>47450</c:v>
                </c:pt>
                <c:pt idx="68375">
                  <c:v>57668</c:v>
                </c:pt>
                <c:pt idx="68376">
                  <c:v>40526</c:v>
                </c:pt>
                <c:pt idx="68377">
                  <c:v>35939</c:v>
                </c:pt>
                <c:pt idx="68378">
                  <c:v>57212</c:v>
                </c:pt>
                <c:pt idx="68379">
                  <c:v>44352</c:v>
                </c:pt>
                <c:pt idx="68380">
                  <c:v>38109</c:v>
                </c:pt>
                <c:pt idx="68381">
                  <c:v>33641</c:v>
                </c:pt>
                <c:pt idx="68382">
                  <c:v>35354</c:v>
                </c:pt>
                <c:pt idx="68383">
                  <c:v>22152</c:v>
                </c:pt>
                <c:pt idx="68384">
                  <c:v>38031</c:v>
                </c:pt>
                <c:pt idx="68385">
                  <c:v>22696</c:v>
                </c:pt>
                <c:pt idx="68386">
                  <c:v>60804</c:v>
                </c:pt>
                <c:pt idx="68387">
                  <c:v>53917</c:v>
                </c:pt>
                <c:pt idx="68388">
                  <c:v>157575</c:v>
                </c:pt>
                <c:pt idx="68389">
                  <c:v>30749</c:v>
                </c:pt>
                <c:pt idx="68390">
                  <c:v>35872</c:v>
                </c:pt>
                <c:pt idx="68391">
                  <c:v>41032</c:v>
                </c:pt>
                <c:pt idx="68392">
                  <c:v>52012</c:v>
                </c:pt>
                <c:pt idx="68393">
                  <c:v>30146</c:v>
                </c:pt>
                <c:pt idx="68394">
                  <c:v>62235</c:v>
                </c:pt>
                <c:pt idx="68395">
                  <c:v>45822</c:v>
                </c:pt>
                <c:pt idx="68396">
                  <c:v>37574</c:v>
                </c:pt>
                <c:pt idx="68397">
                  <c:v>23516</c:v>
                </c:pt>
                <c:pt idx="68398">
                  <c:v>42608</c:v>
                </c:pt>
                <c:pt idx="68399">
                  <c:v>149324</c:v>
                </c:pt>
                <c:pt idx="68400">
                  <c:v>104888</c:v>
                </c:pt>
                <c:pt idx="68401">
                  <c:v>71366</c:v>
                </c:pt>
                <c:pt idx="68402">
                  <c:v>63555</c:v>
                </c:pt>
                <c:pt idx="68403">
                  <c:v>42569</c:v>
                </c:pt>
                <c:pt idx="68404">
                  <c:v>24851</c:v>
                </c:pt>
                <c:pt idx="68405">
                  <c:v>30778</c:v>
                </c:pt>
                <c:pt idx="68406">
                  <c:v>59245</c:v>
                </c:pt>
                <c:pt idx="68407">
                  <c:v>30745</c:v>
                </c:pt>
                <c:pt idx="68408">
                  <c:v>46331</c:v>
                </c:pt>
                <c:pt idx="68409">
                  <c:v>166365</c:v>
                </c:pt>
                <c:pt idx="68410">
                  <c:v>28282</c:v>
                </c:pt>
                <c:pt idx="68411">
                  <c:v>109562</c:v>
                </c:pt>
                <c:pt idx="68412">
                  <c:v>90345</c:v>
                </c:pt>
                <c:pt idx="68413">
                  <c:v>35546</c:v>
                </c:pt>
                <c:pt idx="68414">
                  <c:v>46741</c:v>
                </c:pt>
                <c:pt idx="68415">
                  <c:v>88617</c:v>
                </c:pt>
                <c:pt idx="68416">
                  <c:v>115867</c:v>
                </c:pt>
                <c:pt idx="68417">
                  <c:v>30028</c:v>
                </c:pt>
                <c:pt idx="68418">
                  <c:v>32642</c:v>
                </c:pt>
                <c:pt idx="68419">
                  <c:v>31510</c:v>
                </c:pt>
                <c:pt idx="68420">
                  <c:v>40283</c:v>
                </c:pt>
                <c:pt idx="68421">
                  <c:v>120619</c:v>
                </c:pt>
                <c:pt idx="68422">
                  <c:v>30349</c:v>
                </c:pt>
                <c:pt idx="68423">
                  <c:v>81850</c:v>
                </c:pt>
                <c:pt idx="68424">
                  <c:v>203409</c:v>
                </c:pt>
                <c:pt idx="68425">
                  <c:v>35582</c:v>
                </c:pt>
                <c:pt idx="68426">
                  <c:v>24013</c:v>
                </c:pt>
                <c:pt idx="68427">
                  <c:v>53013</c:v>
                </c:pt>
                <c:pt idx="68428">
                  <c:v>50305</c:v>
                </c:pt>
                <c:pt idx="68429">
                  <c:v>168332</c:v>
                </c:pt>
                <c:pt idx="68430">
                  <c:v>97500</c:v>
                </c:pt>
                <c:pt idx="68431">
                  <c:v>31479</c:v>
                </c:pt>
                <c:pt idx="68432">
                  <c:v>30985</c:v>
                </c:pt>
                <c:pt idx="68433">
                  <c:v>62654</c:v>
                </c:pt>
                <c:pt idx="68434">
                  <c:v>45025</c:v>
                </c:pt>
                <c:pt idx="68435">
                  <c:v>32758</c:v>
                </c:pt>
                <c:pt idx="68436">
                  <c:v>37615</c:v>
                </c:pt>
                <c:pt idx="68437">
                  <c:v>34185</c:v>
                </c:pt>
                <c:pt idx="68438">
                  <c:v>34562</c:v>
                </c:pt>
                <c:pt idx="68439">
                  <c:v>45206</c:v>
                </c:pt>
                <c:pt idx="68440">
                  <c:v>39463</c:v>
                </c:pt>
                <c:pt idx="68441">
                  <c:v>47872</c:v>
                </c:pt>
                <c:pt idx="68442">
                  <c:v>36190</c:v>
                </c:pt>
                <c:pt idx="68443">
                  <c:v>65442</c:v>
                </c:pt>
                <c:pt idx="68444">
                  <c:v>36001</c:v>
                </c:pt>
                <c:pt idx="68445">
                  <c:v>269378</c:v>
                </c:pt>
                <c:pt idx="68446">
                  <c:v>43487</c:v>
                </c:pt>
                <c:pt idx="68447">
                  <c:v>45757</c:v>
                </c:pt>
                <c:pt idx="68448">
                  <c:v>36228</c:v>
                </c:pt>
                <c:pt idx="68449">
                  <c:v>25958</c:v>
                </c:pt>
                <c:pt idx="68450">
                  <c:v>39476</c:v>
                </c:pt>
                <c:pt idx="68451">
                  <c:v>129943</c:v>
                </c:pt>
                <c:pt idx="68452">
                  <c:v>50521</c:v>
                </c:pt>
                <c:pt idx="68453">
                  <c:v>53936</c:v>
                </c:pt>
                <c:pt idx="68454">
                  <c:v>87201</c:v>
                </c:pt>
                <c:pt idx="68455">
                  <c:v>41408</c:v>
                </c:pt>
                <c:pt idx="68456">
                  <c:v>79358</c:v>
                </c:pt>
                <c:pt idx="68457">
                  <c:v>38962</c:v>
                </c:pt>
                <c:pt idx="68458">
                  <c:v>29865</c:v>
                </c:pt>
                <c:pt idx="68459">
                  <c:v>153820</c:v>
                </c:pt>
                <c:pt idx="68460">
                  <c:v>21461</c:v>
                </c:pt>
                <c:pt idx="68461">
                  <c:v>99357</c:v>
                </c:pt>
                <c:pt idx="68462">
                  <c:v>60287</c:v>
                </c:pt>
                <c:pt idx="68463">
                  <c:v>23548</c:v>
                </c:pt>
                <c:pt idx="68464">
                  <c:v>154490</c:v>
                </c:pt>
                <c:pt idx="68465">
                  <c:v>31414</c:v>
                </c:pt>
                <c:pt idx="68466">
                  <c:v>111996</c:v>
                </c:pt>
                <c:pt idx="68467">
                  <c:v>25096</c:v>
                </c:pt>
                <c:pt idx="68468">
                  <c:v>59008</c:v>
                </c:pt>
                <c:pt idx="68469">
                  <c:v>431496</c:v>
                </c:pt>
                <c:pt idx="68470">
                  <c:v>55113</c:v>
                </c:pt>
                <c:pt idx="68471">
                  <c:v>44874</c:v>
                </c:pt>
                <c:pt idx="68472">
                  <c:v>64617</c:v>
                </c:pt>
                <c:pt idx="68473">
                  <c:v>46752</c:v>
                </c:pt>
                <c:pt idx="68474">
                  <c:v>60935</c:v>
                </c:pt>
                <c:pt idx="68475">
                  <c:v>63731</c:v>
                </c:pt>
                <c:pt idx="68476">
                  <c:v>30780</c:v>
                </c:pt>
                <c:pt idx="68477">
                  <c:v>40182</c:v>
                </c:pt>
                <c:pt idx="68478">
                  <c:v>55155</c:v>
                </c:pt>
                <c:pt idx="68479">
                  <c:v>36483</c:v>
                </c:pt>
                <c:pt idx="68480">
                  <c:v>58996</c:v>
                </c:pt>
                <c:pt idx="68481">
                  <c:v>27628</c:v>
                </c:pt>
                <c:pt idx="68482">
                  <c:v>30516</c:v>
                </c:pt>
                <c:pt idx="68483">
                  <c:v>45987</c:v>
                </c:pt>
                <c:pt idx="68484">
                  <c:v>35039</c:v>
                </c:pt>
                <c:pt idx="68485">
                  <c:v>38741</c:v>
                </c:pt>
                <c:pt idx="68486">
                  <c:v>38211</c:v>
                </c:pt>
                <c:pt idx="68487">
                  <c:v>38373</c:v>
                </c:pt>
                <c:pt idx="68488">
                  <c:v>30501</c:v>
                </c:pt>
                <c:pt idx="68489">
                  <c:v>144690</c:v>
                </c:pt>
                <c:pt idx="68490">
                  <c:v>100136</c:v>
                </c:pt>
                <c:pt idx="68491">
                  <c:v>23392</c:v>
                </c:pt>
                <c:pt idx="68492">
                  <c:v>194223</c:v>
                </c:pt>
                <c:pt idx="68493">
                  <c:v>33441</c:v>
                </c:pt>
                <c:pt idx="68494">
                  <c:v>32935</c:v>
                </c:pt>
                <c:pt idx="68495">
                  <c:v>28204</c:v>
                </c:pt>
                <c:pt idx="68496">
                  <c:v>44898</c:v>
                </c:pt>
                <c:pt idx="68497">
                  <c:v>30433</c:v>
                </c:pt>
                <c:pt idx="68498">
                  <c:v>27920</c:v>
                </c:pt>
                <c:pt idx="68499">
                  <c:v>24222</c:v>
                </c:pt>
                <c:pt idx="68500">
                  <c:v>46264</c:v>
                </c:pt>
                <c:pt idx="68501">
                  <c:v>52967</c:v>
                </c:pt>
                <c:pt idx="68502">
                  <c:v>40554</c:v>
                </c:pt>
                <c:pt idx="68503">
                  <c:v>22046</c:v>
                </c:pt>
                <c:pt idx="68504">
                  <c:v>53491</c:v>
                </c:pt>
                <c:pt idx="68505">
                  <c:v>38807</c:v>
                </c:pt>
                <c:pt idx="68506">
                  <c:v>23709</c:v>
                </c:pt>
                <c:pt idx="68507">
                  <c:v>36952</c:v>
                </c:pt>
                <c:pt idx="68508">
                  <c:v>39759</c:v>
                </c:pt>
                <c:pt idx="68509">
                  <c:v>39963</c:v>
                </c:pt>
                <c:pt idx="68510">
                  <c:v>57876</c:v>
                </c:pt>
                <c:pt idx="68511">
                  <c:v>92315</c:v>
                </c:pt>
                <c:pt idx="68512">
                  <c:v>39533</c:v>
                </c:pt>
                <c:pt idx="68513">
                  <c:v>40591</c:v>
                </c:pt>
                <c:pt idx="68514">
                  <c:v>43561</c:v>
                </c:pt>
                <c:pt idx="68515">
                  <c:v>82111</c:v>
                </c:pt>
                <c:pt idx="68516">
                  <c:v>57116</c:v>
                </c:pt>
                <c:pt idx="68517">
                  <c:v>28050</c:v>
                </c:pt>
                <c:pt idx="68518">
                  <c:v>68314</c:v>
                </c:pt>
                <c:pt idx="68519">
                  <c:v>65018</c:v>
                </c:pt>
                <c:pt idx="68520">
                  <c:v>62873</c:v>
                </c:pt>
                <c:pt idx="68521">
                  <c:v>97826</c:v>
                </c:pt>
                <c:pt idx="68522">
                  <c:v>27859</c:v>
                </c:pt>
                <c:pt idx="68523">
                  <c:v>23612</c:v>
                </c:pt>
                <c:pt idx="68524">
                  <c:v>52966</c:v>
                </c:pt>
                <c:pt idx="68525">
                  <c:v>30309</c:v>
                </c:pt>
                <c:pt idx="68526">
                  <c:v>37759</c:v>
                </c:pt>
                <c:pt idx="68527">
                  <c:v>98893</c:v>
                </c:pt>
                <c:pt idx="68528">
                  <c:v>25947</c:v>
                </c:pt>
                <c:pt idx="68529">
                  <c:v>25004</c:v>
                </c:pt>
                <c:pt idx="68530">
                  <c:v>42969</c:v>
                </c:pt>
                <c:pt idx="68531">
                  <c:v>31188</c:v>
                </c:pt>
                <c:pt idx="68532">
                  <c:v>73534</c:v>
                </c:pt>
                <c:pt idx="68533">
                  <c:v>43826</c:v>
                </c:pt>
                <c:pt idx="68534">
                  <c:v>80951</c:v>
                </c:pt>
                <c:pt idx="68535">
                  <c:v>85106</c:v>
                </c:pt>
                <c:pt idx="68536">
                  <c:v>35509</c:v>
                </c:pt>
                <c:pt idx="68537">
                  <c:v>47864</c:v>
                </c:pt>
                <c:pt idx="68538">
                  <c:v>44927</c:v>
                </c:pt>
                <c:pt idx="68539">
                  <c:v>255095</c:v>
                </c:pt>
                <c:pt idx="68540">
                  <c:v>28977</c:v>
                </c:pt>
                <c:pt idx="68541">
                  <c:v>32806</c:v>
                </c:pt>
                <c:pt idx="68542">
                  <c:v>33151</c:v>
                </c:pt>
                <c:pt idx="68543">
                  <c:v>85712</c:v>
                </c:pt>
                <c:pt idx="68544">
                  <c:v>46816</c:v>
                </c:pt>
                <c:pt idx="68545">
                  <c:v>27820</c:v>
                </c:pt>
                <c:pt idx="68546">
                  <c:v>44654</c:v>
                </c:pt>
                <c:pt idx="68547">
                  <c:v>63549</c:v>
                </c:pt>
                <c:pt idx="68548">
                  <c:v>47816</c:v>
                </c:pt>
                <c:pt idx="68549">
                  <c:v>47063</c:v>
                </c:pt>
                <c:pt idx="68550">
                  <c:v>45299</c:v>
                </c:pt>
                <c:pt idx="68551">
                  <c:v>50548</c:v>
                </c:pt>
                <c:pt idx="68552">
                  <c:v>28284</c:v>
                </c:pt>
                <c:pt idx="68553">
                  <c:v>353112</c:v>
                </c:pt>
                <c:pt idx="68554">
                  <c:v>29839</c:v>
                </c:pt>
                <c:pt idx="68555">
                  <c:v>30249</c:v>
                </c:pt>
                <c:pt idx="68556">
                  <c:v>43720</c:v>
                </c:pt>
                <c:pt idx="68557">
                  <c:v>22781</c:v>
                </c:pt>
                <c:pt idx="68558">
                  <c:v>46493</c:v>
                </c:pt>
                <c:pt idx="68559">
                  <c:v>110846</c:v>
                </c:pt>
                <c:pt idx="68560">
                  <c:v>135941</c:v>
                </c:pt>
                <c:pt idx="68561">
                  <c:v>32368</c:v>
                </c:pt>
                <c:pt idx="68562">
                  <c:v>44480</c:v>
                </c:pt>
                <c:pt idx="68563">
                  <c:v>22098</c:v>
                </c:pt>
                <c:pt idx="68564">
                  <c:v>29446</c:v>
                </c:pt>
                <c:pt idx="68565">
                  <c:v>24903</c:v>
                </c:pt>
                <c:pt idx="68566">
                  <c:v>142494</c:v>
                </c:pt>
                <c:pt idx="68567">
                  <c:v>44801</c:v>
                </c:pt>
                <c:pt idx="68568">
                  <c:v>43486</c:v>
                </c:pt>
                <c:pt idx="68569">
                  <c:v>114716</c:v>
                </c:pt>
                <c:pt idx="68570">
                  <c:v>98841</c:v>
                </c:pt>
                <c:pt idx="68571">
                  <c:v>31812</c:v>
                </c:pt>
                <c:pt idx="68572">
                  <c:v>41061</c:v>
                </c:pt>
                <c:pt idx="68573">
                  <c:v>39978</c:v>
                </c:pt>
                <c:pt idx="68574">
                  <c:v>52229</c:v>
                </c:pt>
                <c:pt idx="68575">
                  <c:v>35213</c:v>
                </c:pt>
                <c:pt idx="68576">
                  <c:v>128296</c:v>
                </c:pt>
                <c:pt idx="68577">
                  <c:v>63582</c:v>
                </c:pt>
                <c:pt idx="68578">
                  <c:v>83059</c:v>
                </c:pt>
                <c:pt idx="68579">
                  <c:v>57711</c:v>
                </c:pt>
                <c:pt idx="68580">
                  <c:v>24749</c:v>
                </c:pt>
                <c:pt idx="68581">
                  <c:v>39156</c:v>
                </c:pt>
                <c:pt idx="68582">
                  <c:v>24514</c:v>
                </c:pt>
                <c:pt idx="68583">
                  <c:v>39962</c:v>
                </c:pt>
                <c:pt idx="68584">
                  <c:v>230886</c:v>
                </c:pt>
                <c:pt idx="68585">
                  <c:v>31197</c:v>
                </c:pt>
                <c:pt idx="68586">
                  <c:v>27785</c:v>
                </c:pt>
                <c:pt idx="68587">
                  <c:v>25641</c:v>
                </c:pt>
                <c:pt idx="68588">
                  <c:v>32489</c:v>
                </c:pt>
                <c:pt idx="68589">
                  <c:v>49473</c:v>
                </c:pt>
                <c:pt idx="68590">
                  <c:v>50565</c:v>
                </c:pt>
                <c:pt idx="68591">
                  <c:v>34764</c:v>
                </c:pt>
                <c:pt idx="68592">
                  <c:v>160398</c:v>
                </c:pt>
                <c:pt idx="68593">
                  <c:v>44511</c:v>
                </c:pt>
                <c:pt idx="68594">
                  <c:v>39555</c:v>
                </c:pt>
                <c:pt idx="68595">
                  <c:v>43272</c:v>
                </c:pt>
                <c:pt idx="68596">
                  <c:v>61313</c:v>
                </c:pt>
                <c:pt idx="68597">
                  <c:v>37404</c:v>
                </c:pt>
                <c:pt idx="68598">
                  <c:v>97331</c:v>
                </c:pt>
                <c:pt idx="68599">
                  <c:v>31478</c:v>
                </c:pt>
                <c:pt idx="68600">
                  <c:v>32309</c:v>
                </c:pt>
                <c:pt idx="68601">
                  <c:v>21594</c:v>
                </c:pt>
                <c:pt idx="68602">
                  <c:v>63531</c:v>
                </c:pt>
                <c:pt idx="68603">
                  <c:v>90276</c:v>
                </c:pt>
                <c:pt idx="68604">
                  <c:v>36099</c:v>
                </c:pt>
                <c:pt idx="68605">
                  <c:v>43114</c:v>
                </c:pt>
                <c:pt idx="68606">
                  <c:v>25196</c:v>
                </c:pt>
                <c:pt idx="68607">
                  <c:v>38683</c:v>
                </c:pt>
                <c:pt idx="68608">
                  <c:v>31107</c:v>
                </c:pt>
                <c:pt idx="68609">
                  <c:v>118059</c:v>
                </c:pt>
                <c:pt idx="68610">
                  <c:v>42605</c:v>
                </c:pt>
                <c:pt idx="68611">
                  <c:v>35798</c:v>
                </c:pt>
                <c:pt idx="68612">
                  <c:v>73325</c:v>
                </c:pt>
                <c:pt idx="68613">
                  <c:v>268153</c:v>
                </c:pt>
                <c:pt idx="68614">
                  <c:v>45043</c:v>
                </c:pt>
                <c:pt idx="68615">
                  <c:v>185933</c:v>
                </c:pt>
                <c:pt idx="68616">
                  <c:v>38650</c:v>
                </c:pt>
                <c:pt idx="68617">
                  <c:v>94734</c:v>
                </c:pt>
                <c:pt idx="68618">
                  <c:v>106448</c:v>
                </c:pt>
                <c:pt idx="68619">
                  <c:v>126908</c:v>
                </c:pt>
                <c:pt idx="68620">
                  <c:v>71505</c:v>
                </c:pt>
                <c:pt idx="68621">
                  <c:v>16781</c:v>
                </c:pt>
                <c:pt idx="68622">
                  <c:v>45283</c:v>
                </c:pt>
                <c:pt idx="68623">
                  <c:v>27546</c:v>
                </c:pt>
                <c:pt idx="68624">
                  <c:v>141955</c:v>
                </c:pt>
                <c:pt idx="68625">
                  <c:v>38934</c:v>
                </c:pt>
                <c:pt idx="68626">
                  <c:v>46102</c:v>
                </c:pt>
                <c:pt idx="68627">
                  <c:v>68126</c:v>
                </c:pt>
                <c:pt idx="68628">
                  <c:v>41012</c:v>
                </c:pt>
                <c:pt idx="68629">
                  <c:v>27093</c:v>
                </c:pt>
                <c:pt idx="68630">
                  <c:v>93816</c:v>
                </c:pt>
                <c:pt idx="68631">
                  <c:v>113872</c:v>
                </c:pt>
                <c:pt idx="68632">
                  <c:v>55925</c:v>
                </c:pt>
                <c:pt idx="68633">
                  <c:v>41069</c:v>
                </c:pt>
                <c:pt idx="68634">
                  <c:v>41512</c:v>
                </c:pt>
                <c:pt idx="68635">
                  <c:v>48977</c:v>
                </c:pt>
                <c:pt idx="68636">
                  <c:v>71041</c:v>
                </c:pt>
                <c:pt idx="68637">
                  <c:v>54331</c:v>
                </c:pt>
                <c:pt idx="68638">
                  <c:v>52372</c:v>
                </c:pt>
                <c:pt idx="68639">
                  <c:v>150506</c:v>
                </c:pt>
                <c:pt idx="68640">
                  <c:v>46856</c:v>
                </c:pt>
                <c:pt idx="68641">
                  <c:v>66811</c:v>
                </c:pt>
                <c:pt idx="68642">
                  <c:v>36137</c:v>
                </c:pt>
                <c:pt idx="68643">
                  <c:v>183822</c:v>
                </c:pt>
                <c:pt idx="68644">
                  <c:v>24937</c:v>
                </c:pt>
                <c:pt idx="68645">
                  <c:v>35435</c:v>
                </c:pt>
                <c:pt idx="68646">
                  <c:v>85258</c:v>
                </c:pt>
                <c:pt idx="68647">
                  <c:v>138740</c:v>
                </c:pt>
                <c:pt idx="68648">
                  <c:v>24424</c:v>
                </c:pt>
                <c:pt idx="68649">
                  <c:v>20289</c:v>
                </c:pt>
                <c:pt idx="68650">
                  <c:v>138783</c:v>
                </c:pt>
                <c:pt idx="68651">
                  <c:v>41021</c:v>
                </c:pt>
                <c:pt idx="68652">
                  <c:v>220574</c:v>
                </c:pt>
                <c:pt idx="68653">
                  <c:v>43851</c:v>
                </c:pt>
                <c:pt idx="68654">
                  <c:v>31548</c:v>
                </c:pt>
                <c:pt idx="68655">
                  <c:v>92777</c:v>
                </c:pt>
                <c:pt idx="68656">
                  <c:v>62161</c:v>
                </c:pt>
                <c:pt idx="68657">
                  <c:v>27703</c:v>
                </c:pt>
                <c:pt idx="68658">
                  <c:v>50104</c:v>
                </c:pt>
                <c:pt idx="68659">
                  <c:v>51622</c:v>
                </c:pt>
                <c:pt idx="68660">
                  <c:v>47940</c:v>
                </c:pt>
                <c:pt idx="68661">
                  <c:v>26451</c:v>
                </c:pt>
                <c:pt idx="68662">
                  <c:v>43917</c:v>
                </c:pt>
                <c:pt idx="68663">
                  <c:v>79387</c:v>
                </c:pt>
                <c:pt idx="68664">
                  <c:v>110642</c:v>
                </c:pt>
                <c:pt idx="68665">
                  <c:v>37988</c:v>
                </c:pt>
                <c:pt idx="68666">
                  <c:v>39525</c:v>
                </c:pt>
                <c:pt idx="68667">
                  <c:v>199362</c:v>
                </c:pt>
                <c:pt idx="68668">
                  <c:v>27955</c:v>
                </c:pt>
                <c:pt idx="68669">
                  <c:v>49339</c:v>
                </c:pt>
                <c:pt idx="68670">
                  <c:v>39986</c:v>
                </c:pt>
                <c:pt idx="68671">
                  <c:v>24583</c:v>
                </c:pt>
                <c:pt idx="68672">
                  <c:v>56855</c:v>
                </c:pt>
                <c:pt idx="68673">
                  <c:v>155419</c:v>
                </c:pt>
                <c:pt idx="68674">
                  <c:v>24660</c:v>
                </c:pt>
                <c:pt idx="68675">
                  <c:v>64184</c:v>
                </c:pt>
                <c:pt idx="68676">
                  <c:v>43404</c:v>
                </c:pt>
                <c:pt idx="68677">
                  <c:v>90231</c:v>
                </c:pt>
                <c:pt idx="68678">
                  <c:v>35531</c:v>
                </c:pt>
                <c:pt idx="68679">
                  <c:v>31468</c:v>
                </c:pt>
                <c:pt idx="68680">
                  <c:v>132479</c:v>
                </c:pt>
                <c:pt idx="68681">
                  <c:v>143264</c:v>
                </c:pt>
                <c:pt idx="68682">
                  <c:v>98236</c:v>
                </c:pt>
                <c:pt idx="68683">
                  <c:v>29914</c:v>
                </c:pt>
                <c:pt idx="68684">
                  <c:v>295888</c:v>
                </c:pt>
                <c:pt idx="68685">
                  <c:v>28264</c:v>
                </c:pt>
                <c:pt idx="68686">
                  <c:v>47032</c:v>
                </c:pt>
                <c:pt idx="68687">
                  <c:v>95222</c:v>
                </c:pt>
                <c:pt idx="68688">
                  <c:v>136736</c:v>
                </c:pt>
                <c:pt idx="68689">
                  <c:v>41921</c:v>
                </c:pt>
                <c:pt idx="68690">
                  <c:v>28263</c:v>
                </c:pt>
                <c:pt idx="68691">
                  <c:v>104092</c:v>
                </c:pt>
                <c:pt idx="68692">
                  <c:v>113021</c:v>
                </c:pt>
                <c:pt idx="68693">
                  <c:v>58265</c:v>
                </c:pt>
                <c:pt idx="68694">
                  <c:v>33458</c:v>
                </c:pt>
                <c:pt idx="68695">
                  <c:v>43756</c:v>
                </c:pt>
                <c:pt idx="68696">
                  <c:v>26093</c:v>
                </c:pt>
                <c:pt idx="68697">
                  <c:v>23669</c:v>
                </c:pt>
                <c:pt idx="68698">
                  <c:v>29151</c:v>
                </c:pt>
                <c:pt idx="68699">
                  <c:v>159650</c:v>
                </c:pt>
                <c:pt idx="68700">
                  <c:v>58242</c:v>
                </c:pt>
                <c:pt idx="68701">
                  <c:v>31023</c:v>
                </c:pt>
                <c:pt idx="68702">
                  <c:v>39469</c:v>
                </c:pt>
                <c:pt idx="68703">
                  <c:v>26246</c:v>
                </c:pt>
                <c:pt idx="68704">
                  <c:v>28352</c:v>
                </c:pt>
                <c:pt idx="68705">
                  <c:v>60951</c:v>
                </c:pt>
                <c:pt idx="68706">
                  <c:v>283269</c:v>
                </c:pt>
                <c:pt idx="68707">
                  <c:v>81935</c:v>
                </c:pt>
                <c:pt idx="68708">
                  <c:v>68674</c:v>
                </c:pt>
                <c:pt idx="68709">
                  <c:v>37298</c:v>
                </c:pt>
                <c:pt idx="68710">
                  <c:v>37866</c:v>
                </c:pt>
                <c:pt idx="68711">
                  <c:v>81126</c:v>
                </c:pt>
                <c:pt idx="68712">
                  <c:v>36135</c:v>
                </c:pt>
                <c:pt idx="68713">
                  <c:v>67485</c:v>
                </c:pt>
                <c:pt idx="68714">
                  <c:v>28591</c:v>
                </c:pt>
                <c:pt idx="68715">
                  <c:v>30872</c:v>
                </c:pt>
                <c:pt idx="68716">
                  <c:v>34725</c:v>
                </c:pt>
                <c:pt idx="68717">
                  <c:v>21566</c:v>
                </c:pt>
                <c:pt idx="68718">
                  <c:v>58435</c:v>
                </c:pt>
                <c:pt idx="68719">
                  <c:v>83918</c:v>
                </c:pt>
                <c:pt idx="68720">
                  <c:v>34897</c:v>
                </c:pt>
                <c:pt idx="68721">
                  <c:v>46828</c:v>
                </c:pt>
                <c:pt idx="68722">
                  <c:v>31630</c:v>
                </c:pt>
                <c:pt idx="68723">
                  <c:v>30551</c:v>
                </c:pt>
                <c:pt idx="68724">
                  <c:v>74031</c:v>
                </c:pt>
                <c:pt idx="68725">
                  <c:v>25202</c:v>
                </c:pt>
                <c:pt idx="68726">
                  <c:v>36393</c:v>
                </c:pt>
                <c:pt idx="68727">
                  <c:v>23937</c:v>
                </c:pt>
                <c:pt idx="68728">
                  <c:v>85197</c:v>
                </c:pt>
                <c:pt idx="68729">
                  <c:v>35048</c:v>
                </c:pt>
                <c:pt idx="68730">
                  <c:v>175426</c:v>
                </c:pt>
                <c:pt idx="68731">
                  <c:v>27097</c:v>
                </c:pt>
                <c:pt idx="68732">
                  <c:v>49617</c:v>
                </c:pt>
                <c:pt idx="68733">
                  <c:v>38812</c:v>
                </c:pt>
                <c:pt idx="68734">
                  <c:v>30875</c:v>
                </c:pt>
                <c:pt idx="68735">
                  <c:v>28775</c:v>
                </c:pt>
                <c:pt idx="68736">
                  <c:v>27892</c:v>
                </c:pt>
                <c:pt idx="68737">
                  <c:v>24712</c:v>
                </c:pt>
                <c:pt idx="68738">
                  <c:v>42016</c:v>
                </c:pt>
                <c:pt idx="68739">
                  <c:v>25035</c:v>
                </c:pt>
                <c:pt idx="68740">
                  <c:v>37101</c:v>
                </c:pt>
                <c:pt idx="68741">
                  <c:v>38859</c:v>
                </c:pt>
                <c:pt idx="68742">
                  <c:v>37103</c:v>
                </c:pt>
                <c:pt idx="68743">
                  <c:v>23751</c:v>
                </c:pt>
                <c:pt idx="68744">
                  <c:v>107780</c:v>
                </c:pt>
                <c:pt idx="68745">
                  <c:v>46383</c:v>
                </c:pt>
                <c:pt idx="68746">
                  <c:v>49508</c:v>
                </c:pt>
                <c:pt idx="68747">
                  <c:v>38830</c:v>
                </c:pt>
                <c:pt idx="68748">
                  <c:v>43530</c:v>
                </c:pt>
                <c:pt idx="68749">
                  <c:v>35961</c:v>
                </c:pt>
                <c:pt idx="68750">
                  <c:v>53989</c:v>
                </c:pt>
                <c:pt idx="68751">
                  <c:v>27655</c:v>
                </c:pt>
                <c:pt idx="68752">
                  <c:v>47946</c:v>
                </c:pt>
                <c:pt idx="68753">
                  <c:v>58981</c:v>
                </c:pt>
                <c:pt idx="68754">
                  <c:v>33819</c:v>
                </c:pt>
                <c:pt idx="68755">
                  <c:v>22474</c:v>
                </c:pt>
                <c:pt idx="68756">
                  <c:v>23109</c:v>
                </c:pt>
                <c:pt idx="68757">
                  <c:v>32467</c:v>
                </c:pt>
                <c:pt idx="68758">
                  <c:v>30812</c:v>
                </c:pt>
                <c:pt idx="68759">
                  <c:v>34590</c:v>
                </c:pt>
                <c:pt idx="68760">
                  <c:v>86638</c:v>
                </c:pt>
                <c:pt idx="68761">
                  <c:v>37542</c:v>
                </c:pt>
                <c:pt idx="68762">
                  <c:v>44744</c:v>
                </c:pt>
                <c:pt idx="68763">
                  <c:v>37491</c:v>
                </c:pt>
                <c:pt idx="68764">
                  <c:v>312352</c:v>
                </c:pt>
                <c:pt idx="68765">
                  <c:v>22568</c:v>
                </c:pt>
                <c:pt idx="68766">
                  <c:v>91198</c:v>
                </c:pt>
                <c:pt idx="68767">
                  <c:v>91142</c:v>
                </c:pt>
                <c:pt idx="68768">
                  <c:v>41037</c:v>
                </c:pt>
                <c:pt idx="68769">
                  <c:v>32860</c:v>
                </c:pt>
                <c:pt idx="68770">
                  <c:v>47201</c:v>
                </c:pt>
                <c:pt idx="68771">
                  <c:v>24644</c:v>
                </c:pt>
                <c:pt idx="68772">
                  <c:v>107444</c:v>
                </c:pt>
                <c:pt idx="68773">
                  <c:v>35835</c:v>
                </c:pt>
                <c:pt idx="68774">
                  <c:v>285592</c:v>
                </c:pt>
                <c:pt idx="68775">
                  <c:v>84202</c:v>
                </c:pt>
                <c:pt idx="68776">
                  <c:v>51879</c:v>
                </c:pt>
                <c:pt idx="68777">
                  <c:v>139551</c:v>
                </c:pt>
                <c:pt idx="68778">
                  <c:v>23586</c:v>
                </c:pt>
                <c:pt idx="68779">
                  <c:v>72151</c:v>
                </c:pt>
                <c:pt idx="68780">
                  <c:v>55395</c:v>
                </c:pt>
                <c:pt idx="68781">
                  <c:v>243584</c:v>
                </c:pt>
                <c:pt idx="68782">
                  <c:v>28776</c:v>
                </c:pt>
                <c:pt idx="68783">
                  <c:v>322836</c:v>
                </c:pt>
                <c:pt idx="68784">
                  <c:v>31598</c:v>
                </c:pt>
                <c:pt idx="68785">
                  <c:v>26830</c:v>
                </c:pt>
                <c:pt idx="68786">
                  <c:v>40148</c:v>
                </c:pt>
                <c:pt idx="68787">
                  <c:v>161784</c:v>
                </c:pt>
                <c:pt idx="68788">
                  <c:v>41041</c:v>
                </c:pt>
                <c:pt idx="68789">
                  <c:v>58364</c:v>
                </c:pt>
                <c:pt idx="68790">
                  <c:v>24541</c:v>
                </c:pt>
                <c:pt idx="68791">
                  <c:v>48799</c:v>
                </c:pt>
                <c:pt idx="68792">
                  <c:v>32159</c:v>
                </c:pt>
                <c:pt idx="68793">
                  <c:v>237581</c:v>
                </c:pt>
                <c:pt idx="68794">
                  <c:v>36337</c:v>
                </c:pt>
                <c:pt idx="68795">
                  <c:v>126449</c:v>
                </c:pt>
                <c:pt idx="68796">
                  <c:v>44831</c:v>
                </c:pt>
                <c:pt idx="68797">
                  <c:v>158783</c:v>
                </c:pt>
                <c:pt idx="68798">
                  <c:v>69858</c:v>
                </c:pt>
                <c:pt idx="68799">
                  <c:v>41960</c:v>
                </c:pt>
                <c:pt idx="68800">
                  <c:v>135496</c:v>
                </c:pt>
                <c:pt idx="68801">
                  <c:v>60838</c:v>
                </c:pt>
                <c:pt idx="68802">
                  <c:v>30999</c:v>
                </c:pt>
                <c:pt idx="68803">
                  <c:v>107727</c:v>
                </c:pt>
                <c:pt idx="68804">
                  <c:v>47845</c:v>
                </c:pt>
                <c:pt idx="68805">
                  <c:v>24184</c:v>
                </c:pt>
                <c:pt idx="68806">
                  <c:v>57054</c:v>
                </c:pt>
                <c:pt idx="68807">
                  <c:v>26291</c:v>
                </c:pt>
                <c:pt idx="68808">
                  <c:v>65843</c:v>
                </c:pt>
                <c:pt idx="68809">
                  <c:v>150553</c:v>
                </c:pt>
                <c:pt idx="68810">
                  <c:v>38159</c:v>
                </c:pt>
                <c:pt idx="68811">
                  <c:v>24113</c:v>
                </c:pt>
                <c:pt idx="68812">
                  <c:v>34725</c:v>
                </c:pt>
                <c:pt idx="68813">
                  <c:v>74637</c:v>
                </c:pt>
                <c:pt idx="68814">
                  <c:v>61223</c:v>
                </c:pt>
                <c:pt idx="68815">
                  <c:v>41248</c:v>
                </c:pt>
                <c:pt idx="68816">
                  <c:v>38504</c:v>
                </c:pt>
                <c:pt idx="68817">
                  <c:v>73039</c:v>
                </c:pt>
                <c:pt idx="68818">
                  <c:v>47888</c:v>
                </c:pt>
                <c:pt idx="68819">
                  <c:v>29904</c:v>
                </c:pt>
                <c:pt idx="68820">
                  <c:v>47616</c:v>
                </c:pt>
                <c:pt idx="68821">
                  <c:v>50155</c:v>
                </c:pt>
                <c:pt idx="68822">
                  <c:v>28313</c:v>
                </c:pt>
                <c:pt idx="68823">
                  <c:v>153912</c:v>
                </c:pt>
                <c:pt idx="68824">
                  <c:v>26857</c:v>
                </c:pt>
                <c:pt idx="68825">
                  <c:v>194570</c:v>
                </c:pt>
                <c:pt idx="68826">
                  <c:v>39849</c:v>
                </c:pt>
                <c:pt idx="68827">
                  <c:v>53915</c:v>
                </c:pt>
                <c:pt idx="68828">
                  <c:v>28130</c:v>
                </c:pt>
                <c:pt idx="68829">
                  <c:v>44149</c:v>
                </c:pt>
                <c:pt idx="68830">
                  <c:v>26377</c:v>
                </c:pt>
                <c:pt idx="68831">
                  <c:v>99256</c:v>
                </c:pt>
                <c:pt idx="68832">
                  <c:v>117768</c:v>
                </c:pt>
                <c:pt idx="68833">
                  <c:v>32173</c:v>
                </c:pt>
                <c:pt idx="68834">
                  <c:v>49659</c:v>
                </c:pt>
                <c:pt idx="68835">
                  <c:v>26656</c:v>
                </c:pt>
                <c:pt idx="68836">
                  <c:v>63050</c:v>
                </c:pt>
                <c:pt idx="68837">
                  <c:v>80469</c:v>
                </c:pt>
                <c:pt idx="68838">
                  <c:v>69130</c:v>
                </c:pt>
                <c:pt idx="68839">
                  <c:v>49765</c:v>
                </c:pt>
                <c:pt idx="68840">
                  <c:v>76198</c:v>
                </c:pt>
                <c:pt idx="68841">
                  <c:v>40102</c:v>
                </c:pt>
                <c:pt idx="68842">
                  <c:v>36485</c:v>
                </c:pt>
                <c:pt idx="68843">
                  <c:v>85603</c:v>
                </c:pt>
                <c:pt idx="68844">
                  <c:v>46288</c:v>
                </c:pt>
                <c:pt idx="68845">
                  <c:v>52979</c:v>
                </c:pt>
                <c:pt idx="68846">
                  <c:v>96662</c:v>
                </c:pt>
                <c:pt idx="68847">
                  <c:v>45100</c:v>
                </c:pt>
                <c:pt idx="68848">
                  <c:v>25670</c:v>
                </c:pt>
                <c:pt idx="68849">
                  <c:v>150888</c:v>
                </c:pt>
                <c:pt idx="68850">
                  <c:v>371822</c:v>
                </c:pt>
                <c:pt idx="68851">
                  <c:v>29821</c:v>
                </c:pt>
                <c:pt idx="68852">
                  <c:v>44058</c:v>
                </c:pt>
                <c:pt idx="68853">
                  <c:v>36097</c:v>
                </c:pt>
                <c:pt idx="68854">
                  <c:v>41467</c:v>
                </c:pt>
                <c:pt idx="68855">
                  <c:v>48471</c:v>
                </c:pt>
                <c:pt idx="68856">
                  <c:v>29305</c:v>
                </c:pt>
                <c:pt idx="68857">
                  <c:v>78490</c:v>
                </c:pt>
                <c:pt idx="68858">
                  <c:v>19498</c:v>
                </c:pt>
                <c:pt idx="68859">
                  <c:v>75964</c:v>
                </c:pt>
                <c:pt idx="68860">
                  <c:v>34458</c:v>
                </c:pt>
                <c:pt idx="68861">
                  <c:v>32887</c:v>
                </c:pt>
                <c:pt idx="68862">
                  <c:v>30020</c:v>
                </c:pt>
                <c:pt idx="68863">
                  <c:v>41887</c:v>
                </c:pt>
                <c:pt idx="68864">
                  <c:v>31201</c:v>
                </c:pt>
                <c:pt idx="68865">
                  <c:v>34708</c:v>
                </c:pt>
                <c:pt idx="68866">
                  <c:v>25496</c:v>
                </c:pt>
                <c:pt idx="68867">
                  <c:v>57114</c:v>
                </c:pt>
                <c:pt idx="68868">
                  <c:v>49510</c:v>
                </c:pt>
                <c:pt idx="68869">
                  <c:v>52987</c:v>
                </c:pt>
                <c:pt idx="68870">
                  <c:v>56240</c:v>
                </c:pt>
                <c:pt idx="68871">
                  <c:v>88718</c:v>
                </c:pt>
                <c:pt idx="68872">
                  <c:v>65291</c:v>
                </c:pt>
                <c:pt idx="68873">
                  <c:v>64600</c:v>
                </c:pt>
                <c:pt idx="68874">
                  <c:v>39298</c:v>
                </c:pt>
                <c:pt idx="68875">
                  <c:v>32284</c:v>
                </c:pt>
                <c:pt idx="68876">
                  <c:v>106059</c:v>
                </c:pt>
                <c:pt idx="68877">
                  <c:v>86006</c:v>
                </c:pt>
                <c:pt idx="68878">
                  <c:v>28433</c:v>
                </c:pt>
                <c:pt idx="68879">
                  <c:v>19682</c:v>
                </c:pt>
                <c:pt idx="68880">
                  <c:v>37937</c:v>
                </c:pt>
                <c:pt idx="68881">
                  <c:v>34380</c:v>
                </c:pt>
                <c:pt idx="68882">
                  <c:v>23879</c:v>
                </c:pt>
                <c:pt idx="68883">
                  <c:v>25573</c:v>
                </c:pt>
                <c:pt idx="68884">
                  <c:v>45285</c:v>
                </c:pt>
                <c:pt idx="68885">
                  <c:v>33363</c:v>
                </c:pt>
                <c:pt idx="68886">
                  <c:v>64218</c:v>
                </c:pt>
                <c:pt idx="68887">
                  <c:v>23784</c:v>
                </c:pt>
                <c:pt idx="68888">
                  <c:v>56747</c:v>
                </c:pt>
                <c:pt idx="68889">
                  <c:v>44249</c:v>
                </c:pt>
                <c:pt idx="68890">
                  <c:v>40901</c:v>
                </c:pt>
                <c:pt idx="68891">
                  <c:v>28542</c:v>
                </c:pt>
                <c:pt idx="68892">
                  <c:v>38648</c:v>
                </c:pt>
                <c:pt idx="68893">
                  <c:v>32767</c:v>
                </c:pt>
                <c:pt idx="68894">
                  <c:v>59865</c:v>
                </c:pt>
                <c:pt idx="68895">
                  <c:v>90972</c:v>
                </c:pt>
                <c:pt idx="68896">
                  <c:v>109508</c:v>
                </c:pt>
                <c:pt idx="68897">
                  <c:v>26662</c:v>
                </c:pt>
                <c:pt idx="68898">
                  <c:v>43217</c:v>
                </c:pt>
                <c:pt idx="68899">
                  <c:v>30610</c:v>
                </c:pt>
                <c:pt idx="68900">
                  <c:v>43683</c:v>
                </c:pt>
                <c:pt idx="68901">
                  <c:v>112329</c:v>
                </c:pt>
                <c:pt idx="68902">
                  <c:v>68737</c:v>
                </c:pt>
                <c:pt idx="68903">
                  <c:v>35007</c:v>
                </c:pt>
                <c:pt idx="68904">
                  <c:v>54638</c:v>
                </c:pt>
                <c:pt idx="68905">
                  <c:v>36806</c:v>
                </c:pt>
                <c:pt idx="68906">
                  <c:v>33141</c:v>
                </c:pt>
                <c:pt idx="68907">
                  <c:v>23523</c:v>
                </c:pt>
                <c:pt idx="68908">
                  <c:v>45949</c:v>
                </c:pt>
                <c:pt idx="68909">
                  <c:v>49682</c:v>
                </c:pt>
                <c:pt idx="68910">
                  <c:v>83260</c:v>
                </c:pt>
                <c:pt idx="68911">
                  <c:v>217716</c:v>
                </c:pt>
                <c:pt idx="68912">
                  <c:v>44768</c:v>
                </c:pt>
                <c:pt idx="68913">
                  <c:v>38982</c:v>
                </c:pt>
                <c:pt idx="68914">
                  <c:v>133502</c:v>
                </c:pt>
                <c:pt idx="68915">
                  <c:v>32335</c:v>
                </c:pt>
                <c:pt idx="68916">
                  <c:v>45288</c:v>
                </c:pt>
                <c:pt idx="68917">
                  <c:v>32098</c:v>
                </c:pt>
                <c:pt idx="68918">
                  <c:v>54488</c:v>
                </c:pt>
                <c:pt idx="68919">
                  <c:v>113241</c:v>
                </c:pt>
                <c:pt idx="68920">
                  <c:v>136253</c:v>
                </c:pt>
                <c:pt idx="68921">
                  <c:v>30954</c:v>
                </c:pt>
                <c:pt idx="68922">
                  <c:v>46064</c:v>
                </c:pt>
                <c:pt idx="68923">
                  <c:v>53964</c:v>
                </c:pt>
                <c:pt idx="68924">
                  <c:v>33832</c:v>
                </c:pt>
                <c:pt idx="68925">
                  <c:v>30880</c:v>
                </c:pt>
                <c:pt idx="68926">
                  <c:v>32964</c:v>
                </c:pt>
                <c:pt idx="68927">
                  <c:v>32458</c:v>
                </c:pt>
                <c:pt idx="68928">
                  <c:v>185298</c:v>
                </c:pt>
                <c:pt idx="68929">
                  <c:v>26636</c:v>
                </c:pt>
                <c:pt idx="68930">
                  <c:v>51549</c:v>
                </c:pt>
                <c:pt idx="68931">
                  <c:v>112788</c:v>
                </c:pt>
                <c:pt idx="68932">
                  <c:v>32491</c:v>
                </c:pt>
                <c:pt idx="68933">
                  <c:v>54418</c:v>
                </c:pt>
                <c:pt idx="68934">
                  <c:v>64063</c:v>
                </c:pt>
                <c:pt idx="68935">
                  <c:v>37944</c:v>
                </c:pt>
                <c:pt idx="68936">
                  <c:v>23425</c:v>
                </c:pt>
                <c:pt idx="68937">
                  <c:v>101912</c:v>
                </c:pt>
                <c:pt idx="68938">
                  <c:v>41287</c:v>
                </c:pt>
                <c:pt idx="68939">
                  <c:v>126628</c:v>
                </c:pt>
                <c:pt idx="68940">
                  <c:v>36154</c:v>
                </c:pt>
                <c:pt idx="68941">
                  <c:v>104304</c:v>
                </c:pt>
                <c:pt idx="68942">
                  <c:v>41407</c:v>
                </c:pt>
                <c:pt idx="68943">
                  <c:v>38784</c:v>
                </c:pt>
                <c:pt idx="68944">
                  <c:v>24077</c:v>
                </c:pt>
                <c:pt idx="68945">
                  <c:v>35692</c:v>
                </c:pt>
                <c:pt idx="68946">
                  <c:v>206378</c:v>
                </c:pt>
                <c:pt idx="68947">
                  <c:v>38952</c:v>
                </c:pt>
                <c:pt idx="68948">
                  <c:v>23177</c:v>
                </c:pt>
                <c:pt idx="68949">
                  <c:v>23539</c:v>
                </c:pt>
                <c:pt idx="68950">
                  <c:v>41730</c:v>
                </c:pt>
                <c:pt idx="68951">
                  <c:v>127059</c:v>
                </c:pt>
                <c:pt idx="68952">
                  <c:v>94958</c:v>
                </c:pt>
                <c:pt idx="68953">
                  <c:v>57956</c:v>
                </c:pt>
                <c:pt idx="68954">
                  <c:v>43390</c:v>
                </c:pt>
                <c:pt idx="68955">
                  <c:v>44178</c:v>
                </c:pt>
                <c:pt idx="68956">
                  <c:v>49906</c:v>
                </c:pt>
                <c:pt idx="68957">
                  <c:v>29971</c:v>
                </c:pt>
                <c:pt idx="68958">
                  <c:v>26323</c:v>
                </c:pt>
                <c:pt idx="68959">
                  <c:v>28075</c:v>
                </c:pt>
                <c:pt idx="68960">
                  <c:v>21976</c:v>
                </c:pt>
                <c:pt idx="68961">
                  <c:v>36070</c:v>
                </c:pt>
                <c:pt idx="68962">
                  <c:v>44374</c:v>
                </c:pt>
                <c:pt idx="68963">
                  <c:v>22121</c:v>
                </c:pt>
                <c:pt idx="68964">
                  <c:v>37649</c:v>
                </c:pt>
                <c:pt idx="68965">
                  <c:v>69763</c:v>
                </c:pt>
                <c:pt idx="68966">
                  <c:v>63687</c:v>
                </c:pt>
                <c:pt idx="68967">
                  <c:v>37347</c:v>
                </c:pt>
                <c:pt idx="68968">
                  <c:v>35789</c:v>
                </c:pt>
                <c:pt idx="68969">
                  <c:v>59231</c:v>
                </c:pt>
                <c:pt idx="68970">
                  <c:v>24539</c:v>
                </c:pt>
                <c:pt idx="68971">
                  <c:v>46545</c:v>
                </c:pt>
                <c:pt idx="68972">
                  <c:v>33783</c:v>
                </c:pt>
                <c:pt idx="68973">
                  <c:v>53248</c:v>
                </c:pt>
                <c:pt idx="68974">
                  <c:v>24534</c:v>
                </c:pt>
                <c:pt idx="68975">
                  <c:v>26688</c:v>
                </c:pt>
                <c:pt idx="68976">
                  <c:v>24895</c:v>
                </c:pt>
                <c:pt idx="68977">
                  <c:v>50041</c:v>
                </c:pt>
                <c:pt idx="68978">
                  <c:v>30712</c:v>
                </c:pt>
                <c:pt idx="68979">
                  <c:v>80669</c:v>
                </c:pt>
                <c:pt idx="68980">
                  <c:v>66589</c:v>
                </c:pt>
                <c:pt idx="68981">
                  <c:v>35058</c:v>
                </c:pt>
                <c:pt idx="68982">
                  <c:v>85467</c:v>
                </c:pt>
                <c:pt idx="68983">
                  <c:v>36972</c:v>
                </c:pt>
                <c:pt idx="68984">
                  <c:v>34394</c:v>
                </c:pt>
                <c:pt idx="68985">
                  <c:v>25170</c:v>
                </c:pt>
                <c:pt idx="68986">
                  <c:v>63247</c:v>
                </c:pt>
                <c:pt idx="68987">
                  <c:v>27210</c:v>
                </c:pt>
                <c:pt idx="68988">
                  <c:v>65731</c:v>
                </c:pt>
                <c:pt idx="68989">
                  <c:v>24207</c:v>
                </c:pt>
                <c:pt idx="68990">
                  <c:v>36918</c:v>
                </c:pt>
                <c:pt idx="68991">
                  <c:v>165349</c:v>
                </c:pt>
                <c:pt idx="68992">
                  <c:v>37292</c:v>
                </c:pt>
                <c:pt idx="68993">
                  <c:v>90617</c:v>
                </c:pt>
                <c:pt idx="68994">
                  <c:v>21029</c:v>
                </c:pt>
                <c:pt idx="68995">
                  <c:v>29312</c:v>
                </c:pt>
                <c:pt idx="68996">
                  <c:v>35149</c:v>
                </c:pt>
                <c:pt idx="68997">
                  <c:v>15000</c:v>
                </c:pt>
                <c:pt idx="68998">
                  <c:v>38401</c:v>
                </c:pt>
                <c:pt idx="68999">
                  <c:v>62505</c:v>
                </c:pt>
                <c:pt idx="69000">
                  <c:v>119228</c:v>
                </c:pt>
                <c:pt idx="69001">
                  <c:v>31393</c:v>
                </c:pt>
                <c:pt idx="69002">
                  <c:v>32677</c:v>
                </c:pt>
                <c:pt idx="69003">
                  <c:v>40410</c:v>
                </c:pt>
                <c:pt idx="69004">
                  <c:v>153619</c:v>
                </c:pt>
                <c:pt idx="69005">
                  <c:v>21289</c:v>
                </c:pt>
                <c:pt idx="69006">
                  <c:v>38751</c:v>
                </c:pt>
                <c:pt idx="69007">
                  <c:v>28509</c:v>
                </c:pt>
                <c:pt idx="69008">
                  <c:v>37908</c:v>
                </c:pt>
                <c:pt idx="69009">
                  <c:v>45373</c:v>
                </c:pt>
                <c:pt idx="69010">
                  <c:v>43917</c:v>
                </c:pt>
                <c:pt idx="69011">
                  <c:v>39897</c:v>
                </c:pt>
                <c:pt idx="69012">
                  <c:v>41449</c:v>
                </c:pt>
                <c:pt idx="69013">
                  <c:v>29507</c:v>
                </c:pt>
                <c:pt idx="69014">
                  <c:v>73763</c:v>
                </c:pt>
                <c:pt idx="69015">
                  <c:v>47810</c:v>
                </c:pt>
                <c:pt idx="69016">
                  <c:v>43930</c:v>
                </c:pt>
                <c:pt idx="69017">
                  <c:v>31587</c:v>
                </c:pt>
                <c:pt idx="69018">
                  <c:v>81363</c:v>
                </c:pt>
                <c:pt idx="69019">
                  <c:v>52401</c:v>
                </c:pt>
                <c:pt idx="69020">
                  <c:v>61763</c:v>
                </c:pt>
                <c:pt idx="69021">
                  <c:v>26471</c:v>
                </c:pt>
                <c:pt idx="69022">
                  <c:v>44179</c:v>
                </c:pt>
                <c:pt idx="69023">
                  <c:v>273266</c:v>
                </c:pt>
                <c:pt idx="69024">
                  <c:v>27669</c:v>
                </c:pt>
                <c:pt idx="69025">
                  <c:v>44837</c:v>
                </c:pt>
                <c:pt idx="69026">
                  <c:v>38069</c:v>
                </c:pt>
                <c:pt idx="69027">
                  <c:v>34907</c:v>
                </c:pt>
                <c:pt idx="69028">
                  <c:v>93008</c:v>
                </c:pt>
                <c:pt idx="69029">
                  <c:v>37564</c:v>
                </c:pt>
                <c:pt idx="69030">
                  <c:v>49110</c:v>
                </c:pt>
                <c:pt idx="69031">
                  <c:v>21426</c:v>
                </c:pt>
                <c:pt idx="69032">
                  <c:v>24431</c:v>
                </c:pt>
                <c:pt idx="69033">
                  <c:v>27762</c:v>
                </c:pt>
                <c:pt idx="69034">
                  <c:v>27175</c:v>
                </c:pt>
                <c:pt idx="69035">
                  <c:v>38898</c:v>
                </c:pt>
                <c:pt idx="69036">
                  <c:v>37928</c:v>
                </c:pt>
                <c:pt idx="69037">
                  <c:v>25248</c:v>
                </c:pt>
                <c:pt idx="69038">
                  <c:v>62350</c:v>
                </c:pt>
                <c:pt idx="69039">
                  <c:v>227001</c:v>
                </c:pt>
                <c:pt idx="69040">
                  <c:v>61429</c:v>
                </c:pt>
                <c:pt idx="69041">
                  <c:v>179996</c:v>
                </c:pt>
                <c:pt idx="69042">
                  <c:v>55773</c:v>
                </c:pt>
                <c:pt idx="69043">
                  <c:v>49483</c:v>
                </c:pt>
                <c:pt idx="69044">
                  <c:v>106388</c:v>
                </c:pt>
                <c:pt idx="69045">
                  <c:v>90093</c:v>
                </c:pt>
                <c:pt idx="69046">
                  <c:v>91554</c:v>
                </c:pt>
                <c:pt idx="69047">
                  <c:v>59648</c:v>
                </c:pt>
                <c:pt idx="69048">
                  <c:v>27976</c:v>
                </c:pt>
                <c:pt idx="69049">
                  <c:v>45099</c:v>
                </c:pt>
                <c:pt idx="69050">
                  <c:v>35057</c:v>
                </c:pt>
                <c:pt idx="69051">
                  <c:v>75705</c:v>
                </c:pt>
                <c:pt idx="69052">
                  <c:v>25225</c:v>
                </c:pt>
                <c:pt idx="69053">
                  <c:v>39623</c:v>
                </c:pt>
                <c:pt idx="69054">
                  <c:v>31627</c:v>
                </c:pt>
                <c:pt idx="69055">
                  <c:v>92111</c:v>
                </c:pt>
                <c:pt idx="69056">
                  <c:v>24293</c:v>
                </c:pt>
                <c:pt idx="69057">
                  <c:v>35789</c:v>
                </c:pt>
                <c:pt idx="69058">
                  <c:v>32757</c:v>
                </c:pt>
                <c:pt idx="69059">
                  <c:v>21394</c:v>
                </c:pt>
                <c:pt idx="69060">
                  <c:v>83885</c:v>
                </c:pt>
                <c:pt idx="69061">
                  <c:v>171975</c:v>
                </c:pt>
                <c:pt idx="69062">
                  <c:v>147623</c:v>
                </c:pt>
                <c:pt idx="69063">
                  <c:v>159820</c:v>
                </c:pt>
                <c:pt idx="69064">
                  <c:v>48656</c:v>
                </c:pt>
                <c:pt idx="69065">
                  <c:v>30205</c:v>
                </c:pt>
                <c:pt idx="69066">
                  <c:v>155480</c:v>
                </c:pt>
                <c:pt idx="69067">
                  <c:v>30638</c:v>
                </c:pt>
                <c:pt idx="69068">
                  <c:v>69110</c:v>
                </c:pt>
                <c:pt idx="69069">
                  <c:v>79280</c:v>
                </c:pt>
                <c:pt idx="69070">
                  <c:v>76068</c:v>
                </c:pt>
                <c:pt idx="69071">
                  <c:v>26842</c:v>
                </c:pt>
                <c:pt idx="69072">
                  <c:v>71965</c:v>
                </c:pt>
                <c:pt idx="69073">
                  <c:v>26876</c:v>
                </c:pt>
                <c:pt idx="69074">
                  <c:v>38809</c:v>
                </c:pt>
                <c:pt idx="69075">
                  <c:v>31225</c:v>
                </c:pt>
                <c:pt idx="69076">
                  <c:v>50437</c:v>
                </c:pt>
                <c:pt idx="69077">
                  <c:v>35054</c:v>
                </c:pt>
                <c:pt idx="69078">
                  <c:v>123051</c:v>
                </c:pt>
                <c:pt idx="69079">
                  <c:v>42135</c:v>
                </c:pt>
                <c:pt idx="69080">
                  <c:v>37803</c:v>
                </c:pt>
                <c:pt idx="69081">
                  <c:v>37302</c:v>
                </c:pt>
                <c:pt idx="69082">
                  <c:v>30262</c:v>
                </c:pt>
                <c:pt idx="69083">
                  <c:v>50369</c:v>
                </c:pt>
                <c:pt idx="69084">
                  <c:v>96319</c:v>
                </c:pt>
                <c:pt idx="69085">
                  <c:v>60236</c:v>
                </c:pt>
                <c:pt idx="69086">
                  <c:v>33319</c:v>
                </c:pt>
                <c:pt idx="69087">
                  <c:v>23844</c:v>
                </c:pt>
                <c:pt idx="69088">
                  <c:v>21708</c:v>
                </c:pt>
                <c:pt idx="69089">
                  <c:v>38862</c:v>
                </c:pt>
                <c:pt idx="69090">
                  <c:v>54763</c:v>
                </c:pt>
                <c:pt idx="69091">
                  <c:v>190906</c:v>
                </c:pt>
                <c:pt idx="69092">
                  <c:v>47648</c:v>
                </c:pt>
                <c:pt idx="69093">
                  <c:v>131567</c:v>
                </c:pt>
                <c:pt idx="69094">
                  <c:v>30497</c:v>
                </c:pt>
                <c:pt idx="69095">
                  <c:v>40313</c:v>
                </c:pt>
                <c:pt idx="69096">
                  <c:v>63619</c:v>
                </c:pt>
                <c:pt idx="69097">
                  <c:v>103835</c:v>
                </c:pt>
                <c:pt idx="69098">
                  <c:v>57347</c:v>
                </c:pt>
                <c:pt idx="69099">
                  <c:v>65804</c:v>
                </c:pt>
                <c:pt idx="69100">
                  <c:v>38963</c:v>
                </c:pt>
                <c:pt idx="69101">
                  <c:v>36080</c:v>
                </c:pt>
                <c:pt idx="69102">
                  <c:v>23510</c:v>
                </c:pt>
                <c:pt idx="69103">
                  <c:v>147477</c:v>
                </c:pt>
                <c:pt idx="69104">
                  <c:v>62917</c:v>
                </c:pt>
                <c:pt idx="69105">
                  <c:v>29004</c:v>
                </c:pt>
                <c:pt idx="69106">
                  <c:v>27558</c:v>
                </c:pt>
                <c:pt idx="69107">
                  <c:v>75324</c:v>
                </c:pt>
                <c:pt idx="69108">
                  <c:v>50654</c:v>
                </c:pt>
                <c:pt idx="69109">
                  <c:v>44295</c:v>
                </c:pt>
                <c:pt idx="69110">
                  <c:v>50018</c:v>
                </c:pt>
                <c:pt idx="69111">
                  <c:v>25511</c:v>
                </c:pt>
                <c:pt idx="69112">
                  <c:v>43837</c:v>
                </c:pt>
                <c:pt idx="69113">
                  <c:v>74070</c:v>
                </c:pt>
                <c:pt idx="69114">
                  <c:v>111700</c:v>
                </c:pt>
                <c:pt idx="69115">
                  <c:v>120992</c:v>
                </c:pt>
                <c:pt idx="69116">
                  <c:v>184007</c:v>
                </c:pt>
                <c:pt idx="69117">
                  <c:v>196192</c:v>
                </c:pt>
                <c:pt idx="69118">
                  <c:v>96868</c:v>
                </c:pt>
                <c:pt idx="69119">
                  <c:v>36857</c:v>
                </c:pt>
                <c:pt idx="69120">
                  <c:v>45026</c:v>
                </c:pt>
                <c:pt idx="69121">
                  <c:v>30832</c:v>
                </c:pt>
                <c:pt idx="69122">
                  <c:v>32051</c:v>
                </c:pt>
                <c:pt idx="69123">
                  <c:v>47631</c:v>
                </c:pt>
                <c:pt idx="69124">
                  <c:v>27029</c:v>
                </c:pt>
                <c:pt idx="69125">
                  <c:v>123655</c:v>
                </c:pt>
                <c:pt idx="69126">
                  <c:v>55348</c:v>
                </c:pt>
                <c:pt idx="69127">
                  <c:v>28496</c:v>
                </c:pt>
                <c:pt idx="69128">
                  <c:v>151924</c:v>
                </c:pt>
                <c:pt idx="69129">
                  <c:v>48129</c:v>
                </c:pt>
                <c:pt idx="69130">
                  <c:v>135262</c:v>
                </c:pt>
                <c:pt idx="69131">
                  <c:v>147618</c:v>
                </c:pt>
                <c:pt idx="69132">
                  <c:v>38480</c:v>
                </c:pt>
                <c:pt idx="69133">
                  <c:v>54387</c:v>
                </c:pt>
                <c:pt idx="69134">
                  <c:v>36047</c:v>
                </c:pt>
                <c:pt idx="69135">
                  <c:v>47640</c:v>
                </c:pt>
                <c:pt idx="69136">
                  <c:v>50844</c:v>
                </c:pt>
                <c:pt idx="69137">
                  <c:v>37260</c:v>
                </c:pt>
                <c:pt idx="69138">
                  <c:v>23948</c:v>
                </c:pt>
                <c:pt idx="69139">
                  <c:v>79672</c:v>
                </c:pt>
                <c:pt idx="69140">
                  <c:v>101974</c:v>
                </c:pt>
                <c:pt idx="69141">
                  <c:v>59713</c:v>
                </c:pt>
                <c:pt idx="69142">
                  <c:v>47282</c:v>
                </c:pt>
                <c:pt idx="69143">
                  <c:v>43527</c:v>
                </c:pt>
                <c:pt idx="69144">
                  <c:v>47408</c:v>
                </c:pt>
                <c:pt idx="69145">
                  <c:v>15000</c:v>
                </c:pt>
                <c:pt idx="69146">
                  <c:v>106175</c:v>
                </c:pt>
                <c:pt idx="69147">
                  <c:v>37845</c:v>
                </c:pt>
                <c:pt idx="69148">
                  <c:v>210454</c:v>
                </c:pt>
                <c:pt idx="69149">
                  <c:v>36082</c:v>
                </c:pt>
                <c:pt idx="69150">
                  <c:v>66098</c:v>
                </c:pt>
                <c:pt idx="69151">
                  <c:v>84356</c:v>
                </c:pt>
                <c:pt idx="69152">
                  <c:v>28133</c:v>
                </c:pt>
                <c:pt idx="69153">
                  <c:v>28665</c:v>
                </c:pt>
                <c:pt idx="69154">
                  <c:v>83979</c:v>
                </c:pt>
                <c:pt idx="69155">
                  <c:v>45153</c:v>
                </c:pt>
                <c:pt idx="69156">
                  <c:v>28393</c:v>
                </c:pt>
                <c:pt idx="69157">
                  <c:v>79010</c:v>
                </c:pt>
                <c:pt idx="69158">
                  <c:v>42770</c:v>
                </c:pt>
                <c:pt idx="69159">
                  <c:v>21646</c:v>
                </c:pt>
                <c:pt idx="69160">
                  <c:v>82093</c:v>
                </c:pt>
                <c:pt idx="69161">
                  <c:v>54253</c:v>
                </c:pt>
                <c:pt idx="69162">
                  <c:v>69165</c:v>
                </c:pt>
                <c:pt idx="69163">
                  <c:v>49522</c:v>
                </c:pt>
                <c:pt idx="69164">
                  <c:v>61289</c:v>
                </c:pt>
                <c:pt idx="69165">
                  <c:v>35970</c:v>
                </c:pt>
                <c:pt idx="69166">
                  <c:v>28997</c:v>
                </c:pt>
                <c:pt idx="69167">
                  <c:v>82954</c:v>
                </c:pt>
                <c:pt idx="69168">
                  <c:v>31378</c:v>
                </c:pt>
                <c:pt idx="69169">
                  <c:v>36434</c:v>
                </c:pt>
                <c:pt idx="69170">
                  <c:v>24356</c:v>
                </c:pt>
                <c:pt idx="69171">
                  <c:v>122327</c:v>
                </c:pt>
                <c:pt idx="69172">
                  <c:v>30647</c:v>
                </c:pt>
                <c:pt idx="69173">
                  <c:v>23083</c:v>
                </c:pt>
                <c:pt idx="69174">
                  <c:v>46912</c:v>
                </c:pt>
                <c:pt idx="69175">
                  <c:v>27052</c:v>
                </c:pt>
                <c:pt idx="69176">
                  <c:v>120600</c:v>
                </c:pt>
                <c:pt idx="69177">
                  <c:v>27249</c:v>
                </c:pt>
                <c:pt idx="69178">
                  <c:v>43627</c:v>
                </c:pt>
                <c:pt idx="69179">
                  <c:v>44126</c:v>
                </c:pt>
                <c:pt idx="69180">
                  <c:v>46801</c:v>
                </c:pt>
                <c:pt idx="69181">
                  <c:v>61937</c:v>
                </c:pt>
                <c:pt idx="69182">
                  <c:v>23847</c:v>
                </c:pt>
                <c:pt idx="69183">
                  <c:v>86740</c:v>
                </c:pt>
                <c:pt idx="69184">
                  <c:v>77334</c:v>
                </c:pt>
                <c:pt idx="69185">
                  <c:v>27310</c:v>
                </c:pt>
                <c:pt idx="69186">
                  <c:v>25216</c:v>
                </c:pt>
                <c:pt idx="69187">
                  <c:v>74006</c:v>
                </c:pt>
                <c:pt idx="69188">
                  <c:v>33432</c:v>
                </c:pt>
                <c:pt idx="69189">
                  <c:v>36430</c:v>
                </c:pt>
                <c:pt idx="69190">
                  <c:v>94001</c:v>
                </c:pt>
                <c:pt idx="69191">
                  <c:v>31396</c:v>
                </c:pt>
                <c:pt idx="69192">
                  <c:v>69351</c:v>
                </c:pt>
                <c:pt idx="69193">
                  <c:v>24505</c:v>
                </c:pt>
                <c:pt idx="69194">
                  <c:v>42411</c:v>
                </c:pt>
                <c:pt idx="69195">
                  <c:v>111402</c:v>
                </c:pt>
                <c:pt idx="69196">
                  <c:v>39710</c:v>
                </c:pt>
                <c:pt idx="69197">
                  <c:v>62682</c:v>
                </c:pt>
                <c:pt idx="69198">
                  <c:v>42498</c:v>
                </c:pt>
                <c:pt idx="69199">
                  <c:v>34212</c:v>
                </c:pt>
                <c:pt idx="69200">
                  <c:v>22330</c:v>
                </c:pt>
                <c:pt idx="69201">
                  <c:v>25306</c:v>
                </c:pt>
                <c:pt idx="69202">
                  <c:v>261607</c:v>
                </c:pt>
                <c:pt idx="69203">
                  <c:v>41210</c:v>
                </c:pt>
                <c:pt idx="69204">
                  <c:v>35131</c:v>
                </c:pt>
                <c:pt idx="69205">
                  <c:v>28753</c:v>
                </c:pt>
                <c:pt idx="69206">
                  <c:v>54095</c:v>
                </c:pt>
                <c:pt idx="69207">
                  <c:v>61017</c:v>
                </c:pt>
                <c:pt idx="69208">
                  <c:v>62376</c:v>
                </c:pt>
                <c:pt idx="69209">
                  <c:v>40345</c:v>
                </c:pt>
                <c:pt idx="69210">
                  <c:v>29840</c:v>
                </c:pt>
                <c:pt idx="69211">
                  <c:v>45851</c:v>
                </c:pt>
                <c:pt idx="69212">
                  <c:v>21648</c:v>
                </c:pt>
                <c:pt idx="69213">
                  <c:v>34065</c:v>
                </c:pt>
                <c:pt idx="69214">
                  <c:v>53036</c:v>
                </c:pt>
                <c:pt idx="69215">
                  <c:v>206968</c:v>
                </c:pt>
                <c:pt idx="69216">
                  <c:v>89845</c:v>
                </c:pt>
                <c:pt idx="69217">
                  <c:v>63790</c:v>
                </c:pt>
                <c:pt idx="69218">
                  <c:v>35846</c:v>
                </c:pt>
                <c:pt idx="69219">
                  <c:v>53025</c:v>
                </c:pt>
                <c:pt idx="69220">
                  <c:v>91268</c:v>
                </c:pt>
                <c:pt idx="69221">
                  <c:v>121703</c:v>
                </c:pt>
                <c:pt idx="69222">
                  <c:v>114585</c:v>
                </c:pt>
                <c:pt idx="69223">
                  <c:v>46108</c:v>
                </c:pt>
                <c:pt idx="69224">
                  <c:v>50976</c:v>
                </c:pt>
                <c:pt idx="69225">
                  <c:v>48528</c:v>
                </c:pt>
                <c:pt idx="69226">
                  <c:v>50683</c:v>
                </c:pt>
                <c:pt idx="69227">
                  <c:v>97706</c:v>
                </c:pt>
                <c:pt idx="69228">
                  <c:v>41574</c:v>
                </c:pt>
                <c:pt idx="69229">
                  <c:v>44197</c:v>
                </c:pt>
                <c:pt idx="69230">
                  <c:v>25043</c:v>
                </c:pt>
                <c:pt idx="69231">
                  <c:v>214468</c:v>
                </c:pt>
                <c:pt idx="69232">
                  <c:v>109668</c:v>
                </c:pt>
                <c:pt idx="69233">
                  <c:v>38225</c:v>
                </c:pt>
                <c:pt idx="69234">
                  <c:v>37073</c:v>
                </c:pt>
                <c:pt idx="69235">
                  <c:v>54629</c:v>
                </c:pt>
                <c:pt idx="69236">
                  <c:v>27555</c:v>
                </c:pt>
                <c:pt idx="69237">
                  <c:v>32916</c:v>
                </c:pt>
                <c:pt idx="69238">
                  <c:v>33141</c:v>
                </c:pt>
                <c:pt idx="69239">
                  <c:v>88342</c:v>
                </c:pt>
                <c:pt idx="69240">
                  <c:v>100628</c:v>
                </c:pt>
                <c:pt idx="69241">
                  <c:v>30287</c:v>
                </c:pt>
                <c:pt idx="69242">
                  <c:v>53655</c:v>
                </c:pt>
                <c:pt idx="69243">
                  <c:v>33158</c:v>
                </c:pt>
                <c:pt idx="69244">
                  <c:v>41480</c:v>
                </c:pt>
                <c:pt idx="69245">
                  <c:v>101709</c:v>
                </c:pt>
                <c:pt idx="69246">
                  <c:v>39465</c:v>
                </c:pt>
                <c:pt idx="69247">
                  <c:v>26683</c:v>
                </c:pt>
                <c:pt idx="69248">
                  <c:v>36602</c:v>
                </c:pt>
                <c:pt idx="69249">
                  <c:v>41264</c:v>
                </c:pt>
                <c:pt idx="69250">
                  <c:v>58270</c:v>
                </c:pt>
                <c:pt idx="69251">
                  <c:v>44928</c:v>
                </c:pt>
                <c:pt idx="69252">
                  <c:v>43742</c:v>
                </c:pt>
                <c:pt idx="69253">
                  <c:v>278822</c:v>
                </c:pt>
                <c:pt idx="69254">
                  <c:v>296561</c:v>
                </c:pt>
                <c:pt idx="69255">
                  <c:v>79339</c:v>
                </c:pt>
                <c:pt idx="69256">
                  <c:v>292154</c:v>
                </c:pt>
                <c:pt idx="69257">
                  <c:v>29928</c:v>
                </c:pt>
                <c:pt idx="69258">
                  <c:v>76919</c:v>
                </c:pt>
                <c:pt idx="69259">
                  <c:v>22978</c:v>
                </c:pt>
                <c:pt idx="69260">
                  <c:v>33962</c:v>
                </c:pt>
                <c:pt idx="69261">
                  <c:v>34098</c:v>
                </c:pt>
                <c:pt idx="69262">
                  <c:v>38545</c:v>
                </c:pt>
                <c:pt idx="69263">
                  <c:v>29593</c:v>
                </c:pt>
                <c:pt idx="69264">
                  <c:v>207647</c:v>
                </c:pt>
                <c:pt idx="69265">
                  <c:v>67832</c:v>
                </c:pt>
                <c:pt idx="69266">
                  <c:v>343288</c:v>
                </c:pt>
                <c:pt idx="69267">
                  <c:v>98753</c:v>
                </c:pt>
                <c:pt idx="69268">
                  <c:v>82350</c:v>
                </c:pt>
                <c:pt idx="69269">
                  <c:v>50980</c:v>
                </c:pt>
                <c:pt idx="69270">
                  <c:v>226120</c:v>
                </c:pt>
                <c:pt idx="69271">
                  <c:v>71471</c:v>
                </c:pt>
                <c:pt idx="69272">
                  <c:v>29296</c:v>
                </c:pt>
                <c:pt idx="69273">
                  <c:v>31935</c:v>
                </c:pt>
                <c:pt idx="69274">
                  <c:v>331333</c:v>
                </c:pt>
                <c:pt idx="69275">
                  <c:v>36615</c:v>
                </c:pt>
                <c:pt idx="69276">
                  <c:v>36850</c:v>
                </c:pt>
                <c:pt idx="69277">
                  <c:v>33055</c:v>
                </c:pt>
                <c:pt idx="69278">
                  <c:v>33759</c:v>
                </c:pt>
                <c:pt idx="69279">
                  <c:v>62669</c:v>
                </c:pt>
                <c:pt idx="69280">
                  <c:v>57590</c:v>
                </c:pt>
                <c:pt idx="69281">
                  <c:v>23268</c:v>
                </c:pt>
                <c:pt idx="69282">
                  <c:v>67122</c:v>
                </c:pt>
                <c:pt idx="69283">
                  <c:v>35325</c:v>
                </c:pt>
                <c:pt idx="69284">
                  <c:v>31778</c:v>
                </c:pt>
                <c:pt idx="69285">
                  <c:v>55784</c:v>
                </c:pt>
                <c:pt idx="69286">
                  <c:v>24825</c:v>
                </c:pt>
                <c:pt idx="69287">
                  <c:v>112756</c:v>
                </c:pt>
                <c:pt idx="69288">
                  <c:v>75444</c:v>
                </c:pt>
                <c:pt idx="69289">
                  <c:v>52142</c:v>
                </c:pt>
                <c:pt idx="69290">
                  <c:v>323489</c:v>
                </c:pt>
                <c:pt idx="69291">
                  <c:v>34365</c:v>
                </c:pt>
                <c:pt idx="69292">
                  <c:v>34086</c:v>
                </c:pt>
                <c:pt idx="69293">
                  <c:v>45566</c:v>
                </c:pt>
                <c:pt idx="69294">
                  <c:v>126214</c:v>
                </c:pt>
                <c:pt idx="69295">
                  <c:v>43114</c:v>
                </c:pt>
                <c:pt idx="69296">
                  <c:v>22785</c:v>
                </c:pt>
                <c:pt idx="69297">
                  <c:v>73834</c:v>
                </c:pt>
                <c:pt idx="69298">
                  <c:v>46668</c:v>
                </c:pt>
                <c:pt idx="69299">
                  <c:v>171813</c:v>
                </c:pt>
                <c:pt idx="69300">
                  <c:v>27060</c:v>
                </c:pt>
                <c:pt idx="69301">
                  <c:v>30091</c:v>
                </c:pt>
                <c:pt idx="69302">
                  <c:v>169357</c:v>
                </c:pt>
                <c:pt idx="69303">
                  <c:v>28720</c:v>
                </c:pt>
                <c:pt idx="69304">
                  <c:v>104064</c:v>
                </c:pt>
                <c:pt idx="69305">
                  <c:v>41737</c:v>
                </c:pt>
                <c:pt idx="69306">
                  <c:v>25730</c:v>
                </c:pt>
                <c:pt idx="69307">
                  <c:v>28365</c:v>
                </c:pt>
                <c:pt idx="69308">
                  <c:v>42754</c:v>
                </c:pt>
                <c:pt idx="69309">
                  <c:v>78231</c:v>
                </c:pt>
                <c:pt idx="69310">
                  <c:v>79433</c:v>
                </c:pt>
                <c:pt idx="69311">
                  <c:v>27526</c:v>
                </c:pt>
                <c:pt idx="69312">
                  <c:v>28702</c:v>
                </c:pt>
                <c:pt idx="69313">
                  <c:v>373294</c:v>
                </c:pt>
                <c:pt idx="69314">
                  <c:v>48768</c:v>
                </c:pt>
                <c:pt idx="69315">
                  <c:v>69483</c:v>
                </c:pt>
                <c:pt idx="69316">
                  <c:v>70184</c:v>
                </c:pt>
                <c:pt idx="69317">
                  <c:v>65996</c:v>
                </c:pt>
                <c:pt idx="69318">
                  <c:v>30051</c:v>
                </c:pt>
                <c:pt idx="69319">
                  <c:v>22604</c:v>
                </c:pt>
                <c:pt idx="69320">
                  <c:v>25211</c:v>
                </c:pt>
                <c:pt idx="69321">
                  <c:v>24672</c:v>
                </c:pt>
                <c:pt idx="69322">
                  <c:v>53372</c:v>
                </c:pt>
                <c:pt idx="69323">
                  <c:v>35726</c:v>
                </c:pt>
                <c:pt idx="69324">
                  <c:v>19842</c:v>
                </c:pt>
                <c:pt idx="69325">
                  <c:v>107698</c:v>
                </c:pt>
                <c:pt idx="69326">
                  <c:v>61758</c:v>
                </c:pt>
                <c:pt idx="69327">
                  <c:v>29622</c:v>
                </c:pt>
                <c:pt idx="69328">
                  <c:v>53145</c:v>
                </c:pt>
                <c:pt idx="69329">
                  <c:v>91404</c:v>
                </c:pt>
                <c:pt idx="69330">
                  <c:v>28166</c:v>
                </c:pt>
                <c:pt idx="69331">
                  <c:v>46586</c:v>
                </c:pt>
                <c:pt idx="69332">
                  <c:v>43529</c:v>
                </c:pt>
                <c:pt idx="69333">
                  <c:v>22358</c:v>
                </c:pt>
                <c:pt idx="69334">
                  <c:v>76485</c:v>
                </c:pt>
                <c:pt idx="69335">
                  <c:v>47350</c:v>
                </c:pt>
                <c:pt idx="69336">
                  <c:v>75017</c:v>
                </c:pt>
                <c:pt idx="69337">
                  <c:v>24860</c:v>
                </c:pt>
                <c:pt idx="69338">
                  <c:v>120193</c:v>
                </c:pt>
                <c:pt idx="69339">
                  <c:v>47274</c:v>
                </c:pt>
                <c:pt idx="69340">
                  <c:v>60185</c:v>
                </c:pt>
                <c:pt idx="69341">
                  <c:v>124232</c:v>
                </c:pt>
                <c:pt idx="69342">
                  <c:v>38194</c:v>
                </c:pt>
                <c:pt idx="69343">
                  <c:v>37740</c:v>
                </c:pt>
                <c:pt idx="69344">
                  <c:v>102474</c:v>
                </c:pt>
                <c:pt idx="69345">
                  <c:v>30271</c:v>
                </c:pt>
                <c:pt idx="69346">
                  <c:v>43770</c:v>
                </c:pt>
                <c:pt idx="69347">
                  <c:v>18781</c:v>
                </c:pt>
                <c:pt idx="69348">
                  <c:v>24299</c:v>
                </c:pt>
                <c:pt idx="69349">
                  <c:v>33046</c:v>
                </c:pt>
                <c:pt idx="69350">
                  <c:v>53819</c:v>
                </c:pt>
                <c:pt idx="69351">
                  <c:v>157458</c:v>
                </c:pt>
                <c:pt idx="69352">
                  <c:v>38232</c:v>
                </c:pt>
                <c:pt idx="69353">
                  <c:v>58867</c:v>
                </c:pt>
                <c:pt idx="69354">
                  <c:v>26526</c:v>
                </c:pt>
                <c:pt idx="69355">
                  <c:v>39156</c:v>
                </c:pt>
                <c:pt idx="69356">
                  <c:v>39478</c:v>
                </c:pt>
                <c:pt idx="69357">
                  <c:v>43387</c:v>
                </c:pt>
                <c:pt idx="69358">
                  <c:v>45560</c:v>
                </c:pt>
                <c:pt idx="69359">
                  <c:v>41480</c:v>
                </c:pt>
                <c:pt idx="69360">
                  <c:v>38212</c:v>
                </c:pt>
                <c:pt idx="69361">
                  <c:v>35297</c:v>
                </c:pt>
                <c:pt idx="69362">
                  <c:v>64979</c:v>
                </c:pt>
                <c:pt idx="69363">
                  <c:v>34495</c:v>
                </c:pt>
                <c:pt idx="69364">
                  <c:v>251712</c:v>
                </c:pt>
                <c:pt idx="69365">
                  <c:v>70497</c:v>
                </c:pt>
                <c:pt idx="69366">
                  <c:v>35056</c:v>
                </c:pt>
                <c:pt idx="69367">
                  <c:v>235171</c:v>
                </c:pt>
                <c:pt idx="69368">
                  <c:v>39819</c:v>
                </c:pt>
                <c:pt idx="69369">
                  <c:v>73338</c:v>
                </c:pt>
                <c:pt idx="69370">
                  <c:v>25260</c:v>
                </c:pt>
                <c:pt idx="69371">
                  <c:v>42841</c:v>
                </c:pt>
                <c:pt idx="69372">
                  <c:v>50849</c:v>
                </c:pt>
                <c:pt idx="69373">
                  <c:v>41462</c:v>
                </c:pt>
                <c:pt idx="69374">
                  <c:v>45497</c:v>
                </c:pt>
                <c:pt idx="69375">
                  <c:v>43991</c:v>
                </c:pt>
                <c:pt idx="69376">
                  <c:v>86323</c:v>
                </c:pt>
                <c:pt idx="69377">
                  <c:v>172002</c:v>
                </c:pt>
                <c:pt idx="69378">
                  <c:v>34731</c:v>
                </c:pt>
                <c:pt idx="69379">
                  <c:v>62167</c:v>
                </c:pt>
                <c:pt idx="69380">
                  <c:v>47637</c:v>
                </c:pt>
                <c:pt idx="69381">
                  <c:v>44052</c:v>
                </c:pt>
                <c:pt idx="69382">
                  <c:v>59626</c:v>
                </c:pt>
                <c:pt idx="69383">
                  <c:v>39472</c:v>
                </c:pt>
                <c:pt idx="69384">
                  <c:v>59588</c:v>
                </c:pt>
                <c:pt idx="69385">
                  <c:v>33549</c:v>
                </c:pt>
                <c:pt idx="69386">
                  <c:v>23095</c:v>
                </c:pt>
                <c:pt idx="69387">
                  <c:v>51350</c:v>
                </c:pt>
                <c:pt idx="69388">
                  <c:v>75108</c:v>
                </c:pt>
                <c:pt idx="69389">
                  <c:v>48471</c:v>
                </c:pt>
                <c:pt idx="69390">
                  <c:v>70619</c:v>
                </c:pt>
                <c:pt idx="69391">
                  <c:v>85001</c:v>
                </c:pt>
                <c:pt idx="69392">
                  <c:v>47678</c:v>
                </c:pt>
                <c:pt idx="69393">
                  <c:v>133242</c:v>
                </c:pt>
                <c:pt idx="69394">
                  <c:v>124239</c:v>
                </c:pt>
                <c:pt idx="69395">
                  <c:v>26366</c:v>
                </c:pt>
                <c:pt idx="69396">
                  <c:v>37081</c:v>
                </c:pt>
                <c:pt idx="69397">
                  <c:v>46091</c:v>
                </c:pt>
                <c:pt idx="69398">
                  <c:v>51771</c:v>
                </c:pt>
                <c:pt idx="69399">
                  <c:v>44490</c:v>
                </c:pt>
                <c:pt idx="69400">
                  <c:v>40360</c:v>
                </c:pt>
                <c:pt idx="69401">
                  <c:v>38711</c:v>
                </c:pt>
                <c:pt idx="69402">
                  <c:v>40911</c:v>
                </c:pt>
                <c:pt idx="69403">
                  <c:v>45210</c:v>
                </c:pt>
                <c:pt idx="69404">
                  <c:v>53214</c:v>
                </c:pt>
                <c:pt idx="69405">
                  <c:v>34381</c:v>
                </c:pt>
                <c:pt idx="69406">
                  <c:v>28322</c:v>
                </c:pt>
                <c:pt idx="69407">
                  <c:v>36975</c:v>
                </c:pt>
                <c:pt idx="69408">
                  <c:v>94640</c:v>
                </c:pt>
                <c:pt idx="69409">
                  <c:v>57678</c:v>
                </c:pt>
                <c:pt idx="69410">
                  <c:v>31641</c:v>
                </c:pt>
                <c:pt idx="69411">
                  <c:v>42980</c:v>
                </c:pt>
                <c:pt idx="69412">
                  <c:v>67305</c:v>
                </c:pt>
                <c:pt idx="69413">
                  <c:v>33454</c:v>
                </c:pt>
                <c:pt idx="69414">
                  <c:v>53979</c:v>
                </c:pt>
                <c:pt idx="69415">
                  <c:v>23066</c:v>
                </c:pt>
                <c:pt idx="69416">
                  <c:v>37126</c:v>
                </c:pt>
                <c:pt idx="69417">
                  <c:v>71617</c:v>
                </c:pt>
                <c:pt idx="69418">
                  <c:v>26306</c:v>
                </c:pt>
                <c:pt idx="69419">
                  <c:v>59104</c:v>
                </c:pt>
                <c:pt idx="69420">
                  <c:v>99332</c:v>
                </c:pt>
                <c:pt idx="69421">
                  <c:v>35895</c:v>
                </c:pt>
                <c:pt idx="69422">
                  <c:v>57745</c:v>
                </c:pt>
                <c:pt idx="69423">
                  <c:v>37295</c:v>
                </c:pt>
                <c:pt idx="69424">
                  <c:v>33138</c:v>
                </c:pt>
                <c:pt idx="69425">
                  <c:v>28212</c:v>
                </c:pt>
                <c:pt idx="69426">
                  <c:v>27986</c:v>
                </c:pt>
                <c:pt idx="69427">
                  <c:v>25454</c:v>
                </c:pt>
                <c:pt idx="69428">
                  <c:v>60048</c:v>
                </c:pt>
                <c:pt idx="69429">
                  <c:v>123514</c:v>
                </c:pt>
                <c:pt idx="69430">
                  <c:v>28235</c:v>
                </c:pt>
                <c:pt idx="69431">
                  <c:v>42109</c:v>
                </c:pt>
                <c:pt idx="69432">
                  <c:v>58474</c:v>
                </c:pt>
                <c:pt idx="69433">
                  <c:v>52785</c:v>
                </c:pt>
                <c:pt idx="69434">
                  <c:v>88544</c:v>
                </c:pt>
                <c:pt idx="69435">
                  <c:v>48208</c:v>
                </c:pt>
                <c:pt idx="69436">
                  <c:v>38962</c:v>
                </c:pt>
                <c:pt idx="69437">
                  <c:v>41790</c:v>
                </c:pt>
                <c:pt idx="69438">
                  <c:v>39473</c:v>
                </c:pt>
                <c:pt idx="69439">
                  <c:v>54542</c:v>
                </c:pt>
                <c:pt idx="69440">
                  <c:v>26060</c:v>
                </c:pt>
                <c:pt idx="69441">
                  <c:v>64877</c:v>
                </c:pt>
                <c:pt idx="69442">
                  <c:v>41117</c:v>
                </c:pt>
                <c:pt idx="69443">
                  <c:v>64805</c:v>
                </c:pt>
                <c:pt idx="69444">
                  <c:v>25973</c:v>
                </c:pt>
                <c:pt idx="69445">
                  <c:v>53816</c:v>
                </c:pt>
                <c:pt idx="69446">
                  <c:v>29036</c:v>
                </c:pt>
                <c:pt idx="69447">
                  <c:v>23024</c:v>
                </c:pt>
                <c:pt idx="69448">
                  <c:v>55303</c:v>
                </c:pt>
                <c:pt idx="69449">
                  <c:v>118864</c:v>
                </c:pt>
                <c:pt idx="69450">
                  <c:v>44834</c:v>
                </c:pt>
                <c:pt idx="69451">
                  <c:v>22984</c:v>
                </c:pt>
                <c:pt idx="69452">
                  <c:v>69004</c:v>
                </c:pt>
                <c:pt idx="69453">
                  <c:v>29725</c:v>
                </c:pt>
                <c:pt idx="69454">
                  <c:v>44466</c:v>
                </c:pt>
                <c:pt idx="69455">
                  <c:v>234093</c:v>
                </c:pt>
                <c:pt idx="69456">
                  <c:v>68680</c:v>
                </c:pt>
                <c:pt idx="69457">
                  <c:v>83081</c:v>
                </c:pt>
                <c:pt idx="69458">
                  <c:v>25859</c:v>
                </c:pt>
                <c:pt idx="69459">
                  <c:v>36242</c:v>
                </c:pt>
                <c:pt idx="69460">
                  <c:v>45934</c:v>
                </c:pt>
                <c:pt idx="69461">
                  <c:v>134714</c:v>
                </c:pt>
                <c:pt idx="69462">
                  <c:v>57829</c:v>
                </c:pt>
                <c:pt idx="69463">
                  <c:v>109257</c:v>
                </c:pt>
                <c:pt idx="69464">
                  <c:v>28007</c:v>
                </c:pt>
                <c:pt idx="69465">
                  <c:v>84422</c:v>
                </c:pt>
                <c:pt idx="69466">
                  <c:v>36192</c:v>
                </c:pt>
                <c:pt idx="69467">
                  <c:v>48094</c:v>
                </c:pt>
                <c:pt idx="69468">
                  <c:v>20068</c:v>
                </c:pt>
                <c:pt idx="69469">
                  <c:v>44973</c:v>
                </c:pt>
                <c:pt idx="69470">
                  <c:v>41626</c:v>
                </c:pt>
                <c:pt idx="69471">
                  <c:v>58517</c:v>
                </c:pt>
                <c:pt idx="69472">
                  <c:v>47713</c:v>
                </c:pt>
                <c:pt idx="69473">
                  <c:v>64446</c:v>
                </c:pt>
                <c:pt idx="69474">
                  <c:v>34811</c:v>
                </c:pt>
                <c:pt idx="69475">
                  <c:v>36282</c:v>
                </c:pt>
                <c:pt idx="69476">
                  <c:v>35868</c:v>
                </c:pt>
                <c:pt idx="69477">
                  <c:v>21995</c:v>
                </c:pt>
                <c:pt idx="69478">
                  <c:v>26498</c:v>
                </c:pt>
                <c:pt idx="69479">
                  <c:v>42893</c:v>
                </c:pt>
                <c:pt idx="69480">
                  <c:v>125160</c:v>
                </c:pt>
                <c:pt idx="69481">
                  <c:v>29938</c:v>
                </c:pt>
                <c:pt idx="69482">
                  <c:v>29680</c:v>
                </c:pt>
                <c:pt idx="69483">
                  <c:v>54190</c:v>
                </c:pt>
                <c:pt idx="69484">
                  <c:v>36152</c:v>
                </c:pt>
                <c:pt idx="69485">
                  <c:v>26915</c:v>
                </c:pt>
                <c:pt idx="69486">
                  <c:v>95573</c:v>
                </c:pt>
                <c:pt idx="69487">
                  <c:v>368922</c:v>
                </c:pt>
                <c:pt idx="69488">
                  <c:v>55109</c:v>
                </c:pt>
                <c:pt idx="69489">
                  <c:v>139707</c:v>
                </c:pt>
                <c:pt idx="69490">
                  <c:v>46504</c:v>
                </c:pt>
                <c:pt idx="69491">
                  <c:v>78529</c:v>
                </c:pt>
                <c:pt idx="69492">
                  <c:v>45044</c:v>
                </c:pt>
                <c:pt idx="69493">
                  <c:v>38428</c:v>
                </c:pt>
                <c:pt idx="69494">
                  <c:v>88354</c:v>
                </c:pt>
                <c:pt idx="69495">
                  <c:v>36626</c:v>
                </c:pt>
                <c:pt idx="69496">
                  <c:v>32319</c:v>
                </c:pt>
                <c:pt idx="69497">
                  <c:v>26217</c:v>
                </c:pt>
                <c:pt idx="69498">
                  <c:v>24657</c:v>
                </c:pt>
                <c:pt idx="69499">
                  <c:v>43381</c:v>
                </c:pt>
                <c:pt idx="69500">
                  <c:v>88595</c:v>
                </c:pt>
                <c:pt idx="69501">
                  <c:v>28995</c:v>
                </c:pt>
                <c:pt idx="69502">
                  <c:v>39795</c:v>
                </c:pt>
                <c:pt idx="69503">
                  <c:v>42460</c:v>
                </c:pt>
                <c:pt idx="69504">
                  <c:v>193854</c:v>
                </c:pt>
                <c:pt idx="69505">
                  <c:v>79214</c:v>
                </c:pt>
                <c:pt idx="69506">
                  <c:v>44464</c:v>
                </c:pt>
                <c:pt idx="69507">
                  <c:v>71242</c:v>
                </c:pt>
                <c:pt idx="69508">
                  <c:v>205199</c:v>
                </c:pt>
                <c:pt idx="69509">
                  <c:v>83166</c:v>
                </c:pt>
                <c:pt idx="69510">
                  <c:v>76084</c:v>
                </c:pt>
                <c:pt idx="69511">
                  <c:v>44154</c:v>
                </c:pt>
                <c:pt idx="69512">
                  <c:v>36910</c:v>
                </c:pt>
                <c:pt idx="69513">
                  <c:v>26173</c:v>
                </c:pt>
                <c:pt idx="69514">
                  <c:v>53753</c:v>
                </c:pt>
                <c:pt idx="69515">
                  <c:v>32899</c:v>
                </c:pt>
                <c:pt idx="69516">
                  <c:v>33915</c:v>
                </c:pt>
                <c:pt idx="69517">
                  <c:v>61503</c:v>
                </c:pt>
                <c:pt idx="69518">
                  <c:v>143232</c:v>
                </c:pt>
                <c:pt idx="69519">
                  <c:v>61275</c:v>
                </c:pt>
                <c:pt idx="69520">
                  <c:v>70666</c:v>
                </c:pt>
                <c:pt idx="69521">
                  <c:v>38242</c:v>
                </c:pt>
                <c:pt idx="69522">
                  <c:v>34852</c:v>
                </c:pt>
                <c:pt idx="69523">
                  <c:v>44133</c:v>
                </c:pt>
                <c:pt idx="69524">
                  <c:v>34534</c:v>
                </c:pt>
                <c:pt idx="69525">
                  <c:v>20421</c:v>
                </c:pt>
                <c:pt idx="69526">
                  <c:v>65195</c:v>
                </c:pt>
                <c:pt idx="69527">
                  <c:v>42910</c:v>
                </c:pt>
                <c:pt idx="69528">
                  <c:v>90406</c:v>
                </c:pt>
                <c:pt idx="69529">
                  <c:v>51602</c:v>
                </c:pt>
                <c:pt idx="69530">
                  <c:v>88689</c:v>
                </c:pt>
                <c:pt idx="69531">
                  <c:v>157570</c:v>
                </c:pt>
                <c:pt idx="69532">
                  <c:v>115268</c:v>
                </c:pt>
                <c:pt idx="69533">
                  <c:v>203255</c:v>
                </c:pt>
                <c:pt idx="69534">
                  <c:v>27263</c:v>
                </c:pt>
                <c:pt idx="69535">
                  <c:v>50271</c:v>
                </c:pt>
                <c:pt idx="69536">
                  <c:v>37124</c:v>
                </c:pt>
                <c:pt idx="69537">
                  <c:v>29579</c:v>
                </c:pt>
                <c:pt idx="69538">
                  <c:v>34590</c:v>
                </c:pt>
                <c:pt idx="69539">
                  <c:v>317243</c:v>
                </c:pt>
                <c:pt idx="69540">
                  <c:v>125745</c:v>
                </c:pt>
                <c:pt idx="69541">
                  <c:v>93028</c:v>
                </c:pt>
                <c:pt idx="69542">
                  <c:v>21262</c:v>
                </c:pt>
                <c:pt idx="69543">
                  <c:v>34650</c:v>
                </c:pt>
                <c:pt idx="69544">
                  <c:v>52152</c:v>
                </c:pt>
                <c:pt idx="69545">
                  <c:v>50528</c:v>
                </c:pt>
                <c:pt idx="69546">
                  <c:v>97494</c:v>
                </c:pt>
                <c:pt idx="69547">
                  <c:v>49602</c:v>
                </c:pt>
                <c:pt idx="69548">
                  <c:v>21474</c:v>
                </c:pt>
                <c:pt idx="69549">
                  <c:v>326609</c:v>
                </c:pt>
                <c:pt idx="69550">
                  <c:v>367894</c:v>
                </c:pt>
                <c:pt idx="69551">
                  <c:v>79427</c:v>
                </c:pt>
                <c:pt idx="69552">
                  <c:v>80333</c:v>
                </c:pt>
                <c:pt idx="69553">
                  <c:v>45533</c:v>
                </c:pt>
                <c:pt idx="69554">
                  <c:v>43246</c:v>
                </c:pt>
                <c:pt idx="69555">
                  <c:v>109350</c:v>
                </c:pt>
                <c:pt idx="69556">
                  <c:v>27614</c:v>
                </c:pt>
                <c:pt idx="69557">
                  <c:v>33059</c:v>
                </c:pt>
                <c:pt idx="69558">
                  <c:v>47947</c:v>
                </c:pt>
                <c:pt idx="69559">
                  <c:v>39500</c:v>
                </c:pt>
                <c:pt idx="69560">
                  <c:v>50811</c:v>
                </c:pt>
                <c:pt idx="69561">
                  <c:v>25195</c:v>
                </c:pt>
                <c:pt idx="69562">
                  <c:v>94096</c:v>
                </c:pt>
                <c:pt idx="69563">
                  <c:v>48169</c:v>
                </c:pt>
                <c:pt idx="69564">
                  <c:v>23916</c:v>
                </c:pt>
                <c:pt idx="69565">
                  <c:v>29787</c:v>
                </c:pt>
                <c:pt idx="69566">
                  <c:v>126771</c:v>
                </c:pt>
                <c:pt idx="69567">
                  <c:v>37415</c:v>
                </c:pt>
                <c:pt idx="69568">
                  <c:v>74567</c:v>
                </c:pt>
                <c:pt idx="69569">
                  <c:v>35998</c:v>
                </c:pt>
                <c:pt idx="69570">
                  <c:v>24157</c:v>
                </c:pt>
                <c:pt idx="69571">
                  <c:v>43303</c:v>
                </c:pt>
                <c:pt idx="69572">
                  <c:v>55365</c:v>
                </c:pt>
                <c:pt idx="69573">
                  <c:v>45431</c:v>
                </c:pt>
                <c:pt idx="69574">
                  <c:v>212295</c:v>
                </c:pt>
                <c:pt idx="69575">
                  <c:v>42783</c:v>
                </c:pt>
                <c:pt idx="69576">
                  <c:v>42984</c:v>
                </c:pt>
                <c:pt idx="69577">
                  <c:v>34484</c:v>
                </c:pt>
                <c:pt idx="69578">
                  <c:v>31923</c:v>
                </c:pt>
                <c:pt idx="69579">
                  <c:v>54310</c:v>
                </c:pt>
                <c:pt idx="69580">
                  <c:v>59080</c:v>
                </c:pt>
                <c:pt idx="69581">
                  <c:v>51317</c:v>
                </c:pt>
                <c:pt idx="69582">
                  <c:v>26020</c:v>
                </c:pt>
                <c:pt idx="69583">
                  <c:v>44127</c:v>
                </c:pt>
                <c:pt idx="69584">
                  <c:v>57558</c:v>
                </c:pt>
                <c:pt idx="69585">
                  <c:v>39777</c:v>
                </c:pt>
                <c:pt idx="69586">
                  <c:v>56930</c:v>
                </c:pt>
                <c:pt idx="69587">
                  <c:v>39959</c:v>
                </c:pt>
                <c:pt idx="69588">
                  <c:v>65363</c:v>
                </c:pt>
                <c:pt idx="69589">
                  <c:v>61901</c:v>
                </c:pt>
                <c:pt idx="69590">
                  <c:v>31697</c:v>
                </c:pt>
                <c:pt idx="69591">
                  <c:v>22941</c:v>
                </c:pt>
                <c:pt idx="69592">
                  <c:v>31425</c:v>
                </c:pt>
                <c:pt idx="69593">
                  <c:v>119931</c:v>
                </c:pt>
                <c:pt idx="69594">
                  <c:v>83052</c:v>
                </c:pt>
                <c:pt idx="69595">
                  <c:v>35510</c:v>
                </c:pt>
                <c:pt idx="69596">
                  <c:v>24227</c:v>
                </c:pt>
                <c:pt idx="69597">
                  <c:v>37745</c:v>
                </c:pt>
                <c:pt idx="69598">
                  <c:v>63669</c:v>
                </c:pt>
                <c:pt idx="69599">
                  <c:v>33967</c:v>
                </c:pt>
                <c:pt idx="69600">
                  <c:v>56137</c:v>
                </c:pt>
                <c:pt idx="69601">
                  <c:v>27923</c:v>
                </c:pt>
                <c:pt idx="69602">
                  <c:v>40584</c:v>
                </c:pt>
                <c:pt idx="69603">
                  <c:v>44222</c:v>
                </c:pt>
                <c:pt idx="69604">
                  <c:v>27144</c:v>
                </c:pt>
                <c:pt idx="69605">
                  <c:v>49008</c:v>
                </c:pt>
                <c:pt idx="69606">
                  <c:v>67441</c:v>
                </c:pt>
                <c:pt idx="69607">
                  <c:v>194880</c:v>
                </c:pt>
                <c:pt idx="69608">
                  <c:v>41540</c:v>
                </c:pt>
                <c:pt idx="69609">
                  <c:v>47961</c:v>
                </c:pt>
                <c:pt idx="69610">
                  <c:v>44228</c:v>
                </c:pt>
                <c:pt idx="69611">
                  <c:v>44241</c:v>
                </c:pt>
                <c:pt idx="69612">
                  <c:v>43097</c:v>
                </c:pt>
                <c:pt idx="69613">
                  <c:v>35672</c:v>
                </c:pt>
                <c:pt idx="69614">
                  <c:v>45047</c:v>
                </c:pt>
                <c:pt idx="69615">
                  <c:v>69896</c:v>
                </c:pt>
                <c:pt idx="69616">
                  <c:v>27126</c:v>
                </c:pt>
                <c:pt idx="69617">
                  <c:v>61973</c:v>
                </c:pt>
                <c:pt idx="69618">
                  <c:v>35009</c:v>
                </c:pt>
                <c:pt idx="69619">
                  <c:v>20716</c:v>
                </c:pt>
                <c:pt idx="69620">
                  <c:v>24888</c:v>
                </c:pt>
                <c:pt idx="69621">
                  <c:v>28417</c:v>
                </c:pt>
                <c:pt idx="69622">
                  <c:v>59270</c:v>
                </c:pt>
                <c:pt idx="69623">
                  <c:v>31562</c:v>
                </c:pt>
                <c:pt idx="69624">
                  <c:v>45048</c:v>
                </c:pt>
                <c:pt idx="69625">
                  <c:v>45178</c:v>
                </c:pt>
                <c:pt idx="69626">
                  <c:v>26465</c:v>
                </c:pt>
                <c:pt idx="69627">
                  <c:v>30834</c:v>
                </c:pt>
                <c:pt idx="69628">
                  <c:v>71997</c:v>
                </c:pt>
                <c:pt idx="69629">
                  <c:v>41259</c:v>
                </c:pt>
                <c:pt idx="69630">
                  <c:v>27116</c:v>
                </c:pt>
                <c:pt idx="69631">
                  <c:v>32859</c:v>
                </c:pt>
                <c:pt idx="69632">
                  <c:v>101093</c:v>
                </c:pt>
                <c:pt idx="69633">
                  <c:v>32254</c:v>
                </c:pt>
                <c:pt idx="69634">
                  <c:v>28678</c:v>
                </c:pt>
                <c:pt idx="69635">
                  <c:v>45417</c:v>
                </c:pt>
                <c:pt idx="69636">
                  <c:v>48266</c:v>
                </c:pt>
                <c:pt idx="69637">
                  <c:v>38404</c:v>
                </c:pt>
                <c:pt idx="69638">
                  <c:v>91999</c:v>
                </c:pt>
                <c:pt idx="69639">
                  <c:v>22013</c:v>
                </c:pt>
                <c:pt idx="69640">
                  <c:v>39308</c:v>
                </c:pt>
                <c:pt idx="69641">
                  <c:v>104233</c:v>
                </c:pt>
                <c:pt idx="69642">
                  <c:v>36149</c:v>
                </c:pt>
                <c:pt idx="69643">
                  <c:v>85652</c:v>
                </c:pt>
                <c:pt idx="69644">
                  <c:v>29669</c:v>
                </c:pt>
                <c:pt idx="69645">
                  <c:v>44681</c:v>
                </c:pt>
                <c:pt idx="69646">
                  <c:v>112930</c:v>
                </c:pt>
                <c:pt idx="69647">
                  <c:v>34550</c:v>
                </c:pt>
                <c:pt idx="69648">
                  <c:v>22734</c:v>
                </c:pt>
                <c:pt idx="69649">
                  <c:v>25784</c:v>
                </c:pt>
                <c:pt idx="69650">
                  <c:v>19012</c:v>
                </c:pt>
                <c:pt idx="69651">
                  <c:v>40679</c:v>
                </c:pt>
                <c:pt idx="69652">
                  <c:v>284966</c:v>
                </c:pt>
                <c:pt idx="69653">
                  <c:v>49124</c:v>
                </c:pt>
                <c:pt idx="69654">
                  <c:v>23469</c:v>
                </c:pt>
                <c:pt idx="69655">
                  <c:v>92996</c:v>
                </c:pt>
                <c:pt idx="69656">
                  <c:v>35086</c:v>
                </c:pt>
                <c:pt idx="69657">
                  <c:v>21909</c:v>
                </c:pt>
                <c:pt idx="69658">
                  <c:v>63856</c:v>
                </c:pt>
                <c:pt idx="69659">
                  <c:v>24943</c:v>
                </c:pt>
                <c:pt idx="69660">
                  <c:v>39056</c:v>
                </c:pt>
                <c:pt idx="69661">
                  <c:v>51374</c:v>
                </c:pt>
                <c:pt idx="69662">
                  <c:v>115620</c:v>
                </c:pt>
                <c:pt idx="69663">
                  <c:v>54603</c:v>
                </c:pt>
                <c:pt idx="69664">
                  <c:v>53674</c:v>
                </c:pt>
                <c:pt idx="69665">
                  <c:v>29951</c:v>
                </c:pt>
                <c:pt idx="69666">
                  <c:v>33740</c:v>
                </c:pt>
                <c:pt idx="69667">
                  <c:v>23056</c:v>
                </c:pt>
                <c:pt idx="69668">
                  <c:v>36023</c:v>
                </c:pt>
                <c:pt idx="69669">
                  <c:v>30028</c:v>
                </c:pt>
                <c:pt idx="69670">
                  <c:v>50102</c:v>
                </c:pt>
                <c:pt idx="69671">
                  <c:v>29949</c:v>
                </c:pt>
                <c:pt idx="69672">
                  <c:v>38521</c:v>
                </c:pt>
                <c:pt idx="69673">
                  <c:v>59997</c:v>
                </c:pt>
                <c:pt idx="69674">
                  <c:v>25872</c:v>
                </c:pt>
                <c:pt idx="69675">
                  <c:v>31568</c:v>
                </c:pt>
                <c:pt idx="69676">
                  <c:v>32925</c:v>
                </c:pt>
                <c:pt idx="69677">
                  <c:v>19501</c:v>
                </c:pt>
                <c:pt idx="69678">
                  <c:v>199717</c:v>
                </c:pt>
                <c:pt idx="69679">
                  <c:v>31220</c:v>
                </c:pt>
                <c:pt idx="69680">
                  <c:v>65050</c:v>
                </c:pt>
                <c:pt idx="69681">
                  <c:v>37916</c:v>
                </c:pt>
                <c:pt idx="69682">
                  <c:v>31953</c:v>
                </c:pt>
                <c:pt idx="69683">
                  <c:v>25152</c:v>
                </c:pt>
                <c:pt idx="69684">
                  <c:v>22760</c:v>
                </c:pt>
                <c:pt idx="69685">
                  <c:v>49096</c:v>
                </c:pt>
                <c:pt idx="69686">
                  <c:v>39305</c:v>
                </c:pt>
                <c:pt idx="69687">
                  <c:v>47331</c:v>
                </c:pt>
                <c:pt idx="69688">
                  <c:v>109289</c:v>
                </c:pt>
                <c:pt idx="69689">
                  <c:v>30783</c:v>
                </c:pt>
                <c:pt idx="69690">
                  <c:v>140265</c:v>
                </c:pt>
                <c:pt idx="69691">
                  <c:v>38344</c:v>
                </c:pt>
                <c:pt idx="69692">
                  <c:v>82434</c:v>
                </c:pt>
                <c:pt idx="69693">
                  <c:v>33043</c:v>
                </c:pt>
                <c:pt idx="69694">
                  <c:v>40334</c:v>
                </c:pt>
                <c:pt idx="69695">
                  <c:v>28540</c:v>
                </c:pt>
                <c:pt idx="69696">
                  <c:v>42244</c:v>
                </c:pt>
                <c:pt idx="69697">
                  <c:v>78406</c:v>
                </c:pt>
                <c:pt idx="69698">
                  <c:v>35142</c:v>
                </c:pt>
                <c:pt idx="69699">
                  <c:v>96357</c:v>
                </c:pt>
                <c:pt idx="69700">
                  <c:v>44819</c:v>
                </c:pt>
                <c:pt idx="69701">
                  <c:v>35112</c:v>
                </c:pt>
                <c:pt idx="69702">
                  <c:v>75826</c:v>
                </c:pt>
                <c:pt idx="69703">
                  <c:v>20507</c:v>
                </c:pt>
                <c:pt idx="69704">
                  <c:v>40185</c:v>
                </c:pt>
                <c:pt idx="69705">
                  <c:v>38442</c:v>
                </c:pt>
                <c:pt idx="69706">
                  <c:v>26942</c:v>
                </c:pt>
                <c:pt idx="69707">
                  <c:v>28221</c:v>
                </c:pt>
                <c:pt idx="69708">
                  <c:v>116909</c:v>
                </c:pt>
                <c:pt idx="69709">
                  <c:v>29411</c:v>
                </c:pt>
                <c:pt idx="69710">
                  <c:v>38772</c:v>
                </c:pt>
                <c:pt idx="69711">
                  <c:v>69458</c:v>
                </c:pt>
                <c:pt idx="69712">
                  <c:v>43923</c:v>
                </c:pt>
                <c:pt idx="69713">
                  <c:v>41268</c:v>
                </c:pt>
                <c:pt idx="69714">
                  <c:v>44876</c:v>
                </c:pt>
                <c:pt idx="69715">
                  <c:v>41216</c:v>
                </c:pt>
                <c:pt idx="69716">
                  <c:v>31836</c:v>
                </c:pt>
                <c:pt idx="69717">
                  <c:v>36226</c:v>
                </c:pt>
                <c:pt idx="69718">
                  <c:v>120352</c:v>
                </c:pt>
                <c:pt idx="69719">
                  <c:v>44210</c:v>
                </c:pt>
                <c:pt idx="69720">
                  <c:v>38112</c:v>
                </c:pt>
                <c:pt idx="69721">
                  <c:v>42685</c:v>
                </c:pt>
                <c:pt idx="69722">
                  <c:v>82872</c:v>
                </c:pt>
                <c:pt idx="69723">
                  <c:v>35326</c:v>
                </c:pt>
                <c:pt idx="69724">
                  <c:v>34998</c:v>
                </c:pt>
                <c:pt idx="69725">
                  <c:v>192086</c:v>
                </c:pt>
                <c:pt idx="69726">
                  <c:v>33838</c:v>
                </c:pt>
                <c:pt idx="69727">
                  <c:v>41600</c:v>
                </c:pt>
                <c:pt idx="69728">
                  <c:v>39452</c:v>
                </c:pt>
                <c:pt idx="69729">
                  <c:v>78984</c:v>
                </c:pt>
                <c:pt idx="69730">
                  <c:v>148410</c:v>
                </c:pt>
                <c:pt idx="69731">
                  <c:v>83333</c:v>
                </c:pt>
                <c:pt idx="69732">
                  <c:v>84295</c:v>
                </c:pt>
                <c:pt idx="69733">
                  <c:v>166346</c:v>
                </c:pt>
                <c:pt idx="69734">
                  <c:v>35506</c:v>
                </c:pt>
                <c:pt idx="69735">
                  <c:v>125212</c:v>
                </c:pt>
                <c:pt idx="69736">
                  <c:v>26909</c:v>
                </c:pt>
                <c:pt idx="69737">
                  <c:v>40868</c:v>
                </c:pt>
                <c:pt idx="69738">
                  <c:v>46744</c:v>
                </c:pt>
                <c:pt idx="69739">
                  <c:v>60154</c:v>
                </c:pt>
                <c:pt idx="69740">
                  <c:v>48052</c:v>
                </c:pt>
                <c:pt idx="69741">
                  <c:v>251588</c:v>
                </c:pt>
                <c:pt idx="69742">
                  <c:v>27669</c:v>
                </c:pt>
                <c:pt idx="69743">
                  <c:v>41652</c:v>
                </c:pt>
                <c:pt idx="69744">
                  <c:v>109298</c:v>
                </c:pt>
                <c:pt idx="69745">
                  <c:v>66630</c:v>
                </c:pt>
                <c:pt idx="69746">
                  <c:v>44359</c:v>
                </c:pt>
                <c:pt idx="69747">
                  <c:v>42012</c:v>
                </c:pt>
                <c:pt idx="69748">
                  <c:v>54305</c:v>
                </c:pt>
                <c:pt idx="69749">
                  <c:v>72795</c:v>
                </c:pt>
                <c:pt idx="69750">
                  <c:v>86160</c:v>
                </c:pt>
                <c:pt idx="69751">
                  <c:v>48756</c:v>
                </c:pt>
                <c:pt idx="69752">
                  <c:v>73656</c:v>
                </c:pt>
                <c:pt idx="69753">
                  <c:v>34068</c:v>
                </c:pt>
                <c:pt idx="69754">
                  <c:v>37293</c:v>
                </c:pt>
                <c:pt idx="69755">
                  <c:v>56624</c:v>
                </c:pt>
                <c:pt idx="69756">
                  <c:v>63098</c:v>
                </c:pt>
                <c:pt idx="69757">
                  <c:v>37736</c:v>
                </c:pt>
                <c:pt idx="69758">
                  <c:v>30557</c:v>
                </c:pt>
                <c:pt idx="69759">
                  <c:v>39585</c:v>
                </c:pt>
                <c:pt idx="69760">
                  <c:v>50430</c:v>
                </c:pt>
                <c:pt idx="69761">
                  <c:v>38479</c:v>
                </c:pt>
                <c:pt idx="69762">
                  <c:v>32680</c:v>
                </c:pt>
                <c:pt idx="69763">
                  <c:v>37621</c:v>
                </c:pt>
                <c:pt idx="69764">
                  <c:v>59550</c:v>
                </c:pt>
                <c:pt idx="69765">
                  <c:v>63218</c:v>
                </c:pt>
                <c:pt idx="69766">
                  <c:v>284170</c:v>
                </c:pt>
                <c:pt idx="69767">
                  <c:v>34879</c:v>
                </c:pt>
                <c:pt idx="69768">
                  <c:v>59526</c:v>
                </c:pt>
                <c:pt idx="69769">
                  <c:v>50722</c:v>
                </c:pt>
                <c:pt idx="69770">
                  <c:v>92687</c:v>
                </c:pt>
                <c:pt idx="69771">
                  <c:v>182660</c:v>
                </c:pt>
                <c:pt idx="69772">
                  <c:v>88128</c:v>
                </c:pt>
                <c:pt idx="69773">
                  <c:v>19350</c:v>
                </c:pt>
                <c:pt idx="69774">
                  <c:v>78221</c:v>
                </c:pt>
                <c:pt idx="69775">
                  <c:v>39774</c:v>
                </c:pt>
                <c:pt idx="69776">
                  <c:v>47795</c:v>
                </c:pt>
                <c:pt idx="69777">
                  <c:v>66058</c:v>
                </c:pt>
                <c:pt idx="69778">
                  <c:v>21106</c:v>
                </c:pt>
                <c:pt idx="69779">
                  <c:v>52631</c:v>
                </c:pt>
                <c:pt idx="69780">
                  <c:v>46033</c:v>
                </c:pt>
                <c:pt idx="69781">
                  <c:v>27653</c:v>
                </c:pt>
                <c:pt idx="69782">
                  <c:v>45426</c:v>
                </c:pt>
                <c:pt idx="69783">
                  <c:v>38450</c:v>
                </c:pt>
                <c:pt idx="69784">
                  <c:v>53932</c:v>
                </c:pt>
                <c:pt idx="69785">
                  <c:v>122774</c:v>
                </c:pt>
                <c:pt idx="69786">
                  <c:v>68709</c:v>
                </c:pt>
                <c:pt idx="69787">
                  <c:v>36018</c:v>
                </c:pt>
                <c:pt idx="69788">
                  <c:v>31220</c:v>
                </c:pt>
                <c:pt idx="69789">
                  <c:v>36807</c:v>
                </c:pt>
                <c:pt idx="69790">
                  <c:v>36533</c:v>
                </c:pt>
                <c:pt idx="69791">
                  <c:v>53578</c:v>
                </c:pt>
                <c:pt idx="69792">
                  <c:v>82857</c:v>
                </c:pt>
                <c:pt idx="69793">
                  <c:v>43355</c:v>
                </c:pt>
                <c:pt idx="69794">
                  <c:v>109516</c:v>
                </c:pt>
                <c:pt idx="69795">
                  <c:v>109024</c:v>
                </c:pt>
                <c:pt idx="69796">
                  <c:v>43156</c:v>
                </c:pt>
                <c:pt idx="69797">
                  <c:v>46633</c:v>
                </c:pt>
                <c:pt idx="69798">
                  <c:v>404178</c:v>
                </c:pt>
                <c:pt idx="69799">
                  <c:v>38611</c:v>
                </c:pt>
                <c:pt idx="69800">
                  <c:v>61228</c:v>
                </c:pt>
                <c:pt idx="69801">
                  <c:v>78403</c:v>
                </c:pt>
                <c:pt idx="69802">
                  <c:v>24845</c:v>
                </c:pt>
                <c:pt idx="69803">
                  <c:v>40217</c:v>
                </c:pt>
                <c:pt idx="69804">
                  <c:v>115253</c:v>
                </c:pt>
                <c:pt idx="69805">
                  <c:v>64507</c:v>
                </c:pt>
                <c:pt idx="69806">
                  <c:v>43813</c:v>
                </c:pt>
                <c:pt idx="69807">
                  <c:v>20492</c:v>
                </c:pt>
                <c:pt idx="69808">
                  <c:v>64323</c:v>
                </c:pt>
                <c:pt idx="69809">
                  <c:v>60540</c:v>
                </c:pt>
                <c:pt idx="69810">
                  <c:v>39768</c:v>
                </c:pt>
                <c:pt idx="69811">
                  <c:v>52947</c:v>
                </c:pt>
                <c:pt idx="69812">
                  <c:v>46037</c:v>
                </c:pt>
                <c:pt idx="69813">
                  <c:v>35977</c:v>
                </c:pt>
                <c:pt idx="69814">
                  <c:v>118437</c:v>
                </c:pt>
                <c:pt idx="69815">
                  <c:v>62179</c:v>
                </c:pt>
                <c:pt idx="69816">
                  <c:v>36780</c:v>
                </c:pt>
                <c:pt idx="69817">
                  <c:v>37746</c:v>
                </c:pt>
                <c:pt idx="69818">
                  <c:v>71130</c:v>
                </c:pt>
                <c:pt idx="69819">
                  <c:v>169954</c:v>
                </c:pt>
                <c:pt idx="69820">
                  <c:v>23217</c:v>
                </c:pt>
                <c:pt idx="69821">
                  <c:v>33169</c:v>
                </c:pt>
                <c:pt idx="69822">
                  <c:v>99253</c:v>
                </c:pt>
                <c:pt idx="69823">
                  <c:v>100941</c:v>
                </c:pt>
                <c:pt idx="69824">
                  <c:v>28402</c:v>
                </c:pt>
                <c:pt idx="69825">
                  <c:v>33160</c:v>
                </c:pt>
                <c:pt idx="69826">
                  <c:v>28010</c:v>
                </c:pt>
                <c:pt idx="69827">
                  <c:v>35955</c:v>
                </c:pt>
                <c:pt idx="69828">
                  <c:v>48344</c:v>
                </c:pt>
                <c:pt idx="69829">
                  <c:v>49172</c:v>
                </c:pt>
                <c:pt idx="69830">
                  <c:v>39102</c:v>
                </c:pt>
                <c:pt idx="69831">
                  <c:v>58696</c:v>
                </c:pt>
                <c:pt idx="69832">
                  <c:v>45877</c:v>
                </c:pt>
                <c:pt idx="69833">
                  <c:v>111001</c:v>
                </c:pt>
                <c:pt idx="69834">
                  <c:v>37114</c:v>
                </c:pt>
                <c:pt idx="69835">
                  <c:v>64572</c:v>
                </c:pt>
                <c:pt idx="69836">
                  <c:v>71901</c:v>
                </c:pt>
                <c:pt idx="69837">
                  <c:v>23400</c:v>
                </c:pt>
                <c:pt idx="69838">
                  <c:v>27673</c:v>
                </c:pt>
                <c:pt idx="69839">
                  <c:v>50806</c:v>
                </c:pt>
                <c:pt idx="69840">
                  <c:v>112159</c:v>
                </c:pt>
                <c:pt idx="69841">
                  <c:v>101230</c:v>
                </c:pt>
                <c:pt idx="69842">
                  <c:v>62980</c:v>
                </c:pt>
                <c:pt idx="69843">
                  <c:v>39496</c:v>
                </c:pt>
                <c:pt idx="69844">
                  <c:v>96816</c:v>
                </c:pt>
                <c:pt idx="69845">
                  <c:v>61942</c:v>
                </c:pt>
                <c:pt idx="69846">
                  <c:v>24702</c:v>
                </c:pt>
                <c:pt idx="69847">
                  <c:v>102193</c:v>
                </c:pt>
                <c:pt idx="69848">
                  <c:v>28215</c:v>
                </c:pt>
                <c:pt idx="69849">
                  <c:v>48526</c:v>
                </c:pt>
                <c:pt idx="69850">
                  <c:v>30891</c:v>
                </c:pt>
                <c:pt idx="69851">
                  <c:v>144032</c:v>
                </c:pt>
                <c:pt idx="69852">
                  <c:v>43374</c:v>
                </c:pt>
                <c:pt idx="69853">
                  <c:v>26021</c:v>
                </c:pt>
                <c:pt idx="69854">
                  <c:v>109380</c:v>
                </c:pt>
                <c:pt idx="69855">
                  <c:v>38776</c:v>
                </c:pt>
                <c:pt idx="69856">
                  <c:v>57537</c:v>
                </c:pt>
                <c:pt idx="69857">
                  <c:v>26581</c:v>
                </c:pt>
                <c:pt idx="69858">
                  <c:v>90718</c:v>
                </c:pt>
                <c:pt idx="69859">
                  <c:v>27296</c:v>
                </c:pt>
                <c:pt idx="69860">
                  <c:v>46117</c:v>
                </c:pt>
                <c:pt idx="69861">
                  <c:v>79399</c:v>
                </c:pt>
                <c:pt idx="69862">
                  <c:v>157201</c:v>
                </c:pt>
                <c:pt idx="69863">
                  <c:v>40094</c:v>
                </c:pt>
                <c:pt idx="69864">
                  <c:v>37896</c:v>
                </c:pt>
                <c:pt idx="69865">
                  <c:v>30991</c:v>
                </c:pt>
                <c:pt idx="69866">
                  <c:v>48338</c:v>
                </c:pt>
                <c:pt idx="69867">
                  <c:v>84566</c:v>
                </c:pt>
                <c:pt idx="69868">
                  <c:v>80218</c:v>
                </c:pt>
                <c:pt idx="69869">
                  <c:v>107621</c:v>
                </c:pt>
                <c:pt idx="69870">
                  <c:v>34724</c:v>
                </c:pt>
                <c:pt idx="69871">
                  <c:v>42385</c:v>
                </c:pt>
                <c:pt idx="69872">
                  <c:v>48738</c:v>
                </c:pt>
                <c:pt idx="69873">
                  <c:v>165984</c:v>
                </c:pt>
                <c:pt idx="69874">
                  <c:v>29825</c:v>
                </c:pt>
                <c:pt idx="69875">
                  <c:v>23487</c:v>
                </c:pt>
                <c:pt idx="69876">
                  <c:v>43192</c:v>
                </c:pt>
                <c:pt idx="69877">
                  <c:v>28193</c:v>
                </c:pt>
                <c:pt idx="69878">
                  <c:v>70135</c:v>
                </c:pt>
                <c:pt idx="69879">
                  <c:v>85615</c:v>
                </c:pt>
                <c:pt idx="69880">
                  <c:v>27002</c:v>
                </c:pt>
                <c:pt idx="69881">
                  <c:v>65075</c:v>
                </c:pt>
                <c:pt idx="69882">
                  <c:v>41627</c:v>
                </c:pt>
                <c:pt idx="69883">
                  <c:v>63056</c:v>
                </c:pt>
                <c:pt idx="69884">
                  <c:v>27018</c:v>
                </c:pt>
                <c:pt idx="69885">
                  <c:v>135741</c:v>
                </c:pt>
                <c:pt idx="69886">
                  <c:v>49940</c:v>
                </c:pt>
                <c:pt idx="69887">
                  <c:v>50243</c:v>
                </c:pt>
                <c:pt idx="69888">
                  <c:v>43291</c:v>
                </c:pt>
                <c:pt idx="69889">
                  <c:v>49930</c:v>
                </c:pt>
                <c:pt idx="69890">
                  <c:v>25560</c:v>
                </c:pt>
                <c:pt idx="69891">
                  <c:v>30923</c:v>
                </c:pt>
                <c:pt idx="69892">
                  <c:v>174426</c:v>
                </c:pt>
                <c:pt idx="69893">
                  <c:v>37851</c:v>
                </c:pt>
                <c:pt idx="69894">
                  <c:v>24177</c:v>
                </c:pt>
                <c:pt idx="69895">
                  <c:v>26875</c:v>
                </c:pt>
                <c:pt idx="69896">
                  <c:v>187311</c:v>
                </c:pt>
                <c:pt idx="69897">
                  <c:v>120019</c:v>
                </c:pt>
                <c:pt idx="69898">
                  <c:v>331129</c:v>
                </c:pt>
                <c:pt idx="69899">
                  <c:v>55545</c:v>
                </c:pt>
                <c:pt idx="69900">
                  <c:v>599394</c:v>
                </c:pt>
                <c:pt idx="69901">
                  <c:v>53247</c:v>
                </c:pt>
                <c:pt idx="69902">
                  <c:v>40560</c:v>
                </c:pt>
                <c:pt idx="69903">
                  <c:v>43884</c:v>
                </c:pt>
                <c:pt idx="69904">
                  <c:v>60594</c:v>
                </c:pt>
                <c:pt idx="69905">
                  <c:v>44896</c:v>
                </c:pt>
                <c:pt idx="69906">
                  <c:v>24980</c:v>
                </c:pt>
                <c:pt idx="69907">
                  <c:v>74332</c:v>
                </c:pt>
                <c:pt idx="69908">
                  <c:v>44206</c:v>
                </c:pt>
                <c:pt idx="69909">
                  <c:v>45154</c:v>
                </c:pt>
                <c:pt idx="69910">
                  <c:v>41380</c:v>
                </c:pt>
                <c:pt idx="69911">
                  <c:v>94485</c:v>
                </c:pt>
                <c:pt idx="69912">
                  <c:v>19463</c:v>
                </c:pt>
                <c:pt idx="69913">
                  <c:v>188867</c:v>
                </c:pt>
                <c:pt idx="69914">
                  <c:v>93514</c:v>
                </c:pt>
                <c:pt idx="69915">
                  <c:v>42907</c:v>
                </c:pt>
                <c:pt idx="69916">
                  <c:v>107024</c:v>
                </c:pt>
                <c:pt idx="69917">
                  <c:v>47382</c:v>
                </c:pt>
                <c:pt idx="69918">
                  <c:v>42045</c:v>
                </c:pt>
                <c:pt idx="69919">
                  <c:v>58617</c:v>
                </c:pt>
                <c:pt idx="69920">
                  <c:v>24895</c:v>
                </c:pt>
                <c:pt idx="69921">
                  <c:v>34300</c:v>
                </c:pt>
                <c:pt idx="69922">
                  <c:v>41102</c:v>
                </c:pt>
                <c:pt idx="69923">
                  <c:v>52707</c:v>
                </c:pt>
                <c:pt idx="69924">
                  <c:v>34271</c:v>
                </c:pt>
                <c:pt idx="69925">
                  <c:v>42637</c:v>
                </c:pt>
                <c:pt idx="69926">
                  <c:v>83088</c:v>
                </c:pt>
                <c:pt idx="69927">
                  <c:v>25279</c:v>
                </c:pt>
                <c:pt idx="69928">
                  <c:v>64203</c:v>
                </c:pt>
                <c:pt idx="69929">
                  <c:v>173981</c:v>
                </c:pt>
                <c:pt idx="69930">
                  <c:v>23178</c:v>
                </c:pt>
                <c:pt idx="69931">
                  <c:v>47337</c:v>
                </c:pt>
                <c:pt idx="69932">
                  <c:v>24602</c:v>
                </c:pt>
                <c:pt idx="69933">
                  <c:v>42351</c:v>
                </c:pt>
                <c:pt idx="69934">
                  <c:v>72415</c:v>
                </c:pt>
                <c:pt idx="69935">
                  <c:v>58988</c:v>
                </c:pt>
                <c:pt idx="69936">
                  <c:v>84926</c:v>
                </c:pt>
                <c:pt idx="69937">
                  <c:v>55489</c:v>
                </c:pt>
                <c:pt idx="69938">
                  <c:v>58196</c:v>
                </c:pt>
                <c:pt idx="69939">
                  <c:v>33103</c:v>
                </c:pt>
                <c:pt idx="69940">
                  <c:v>24951</c:v>
                </c:pt>
                <c:pt idx="69941">
                  <c:v>39063</c:v>
                </c:pt>
                <c:pt idx="69942">
                  <c:v>115613</c:v>
                </c:pt>
                <c:pt idx="69943">
                  <c:v>75302</c:v>
                </c:pt>
                <c:pt idx="69944">
                  <c:v>37665</c:v>
                </c:pt>
                <c:pt idx="69945">
                  <c:v>54685</c:v>
                </c:pt>
                <c:pt idx="69946">
                  <c:v>30038</c:v>
                </c:pt>
                <c:pt idx="69947">
                  <c:v>65010</c:v>
                </c:pt>
                <c:pt idx="69948">
                  <c:v>26821</c:v>
                </c:pt>
                <c:pt idx="69949">
                  <c:v>91690</c:v>
                </c:pt>
                <c:pt idx="69950">
                  <c:v>48634</c:v>
                </c:pt>
                <c:pt idx="69951">
                  <c:v>41647</c:v>
                </c:pt>
                <c:pt idx="69952">
                  <c:v>54601</c:v>
                </c:pt>
                <c:pt idx="69953">
                  <c:v>75105</c:v>
                </c:pt>
                <c:pt idx="69954">
                  <c:v>43582</c:v>
                </c:pt>
                <c:pt idx="69955">
                  <c:v>21592</c:v>
                </c:pt>
                <c:pt idx="69956">
                  <c:v>62392</c:v>
                </c:pt>
                <c:pt idx="69957">
                  <c:v>33855</c:v>
                </c:pt>
                <c:pt idx="69958">
                  <c:v>55829</c:v>
                </c:pt>
                <c:pt idx="69959">
                  <c:v>58559</c:v>
                </c:pt>
                <c:pt idx="69960">
                  <c:v>57800</c:v>
                </c:pt>
                <c:pt idx="69961">
                  <c:v>29756</c:v>
                </c:pt>
                <c:pt idx="69962">
                  <c:v>40444</c:v>
                </c:pt>
                <c:pt idx="69963">
                  <c:v>152134</c:v>
                </c:pt>
                <c:pt idx="69964">
                  <c:v>61259</c:v>
                </c:pt>
                <c:pt idx="69965">
                  <c:v>128964</c:v>
                </c:pt>
                <c:pt idx="69966">
                  <c:v>34203</c:v>
                </c:pt>
                <c:pt idx="69967">
                  <c:v>23924</c:v>
                </c:pt>
                <c:pt idx="69968">
                  <c:v>69154</c:v>
                </c:pt>
                <c:pt idx="69969">
                  <c:v>50836</c:v>
                </c:pt>
                <c:pt idx="69970">
                  <c:v>34941</c:v>
                </c:pt>
                <c:pt idx="69971">
                  <c:v>37939</c:v>
                </c:pt>
                <c:pt idx="69972">
                  <c:v>31992</c:v>
                </c:pt>
                <c:pt idx="69973">
                  <c:v>74104</c:v>
                </c:pt>
                <c:pt idx="69974">
                  <c:v>41157</c:v>
                </c:pt>
                <c:pt idx="69975">
                  <c:v>46073</c:v>
                </c:pt>
                <c:pt idx="69976">
                  <c:v>38660</c:v>
                </c:pt>
                <c:pt idx="69977">
                  <c:v>142630</c:v>
                </c:pt>
                <c:pt idx="69978">
                  <c:v>33258</c:v>
                </c:pt>
                <c:pt idx="69979">
                  <c:v>35919</c:v>
                </c:pt>
                <c:pt idx="69980">
                  <c:v>53109</c:v>
                </c:pt>
                <c:pt idx="69981">
                  <c:v>23397</c:v>
                </c:pt>
                <c:pt idx="69982">
                  <c:v>41569</c:v>
                </c:pt>
                <c:pt idx="69983">
                  <c:v>27879</c:v>
                </c:pt>
                <c:pt idx="69984">
                  <c:v>27484</c:v>
                </c:pt>
                <c:pt idx="69985">
                  <c:v>96231</c:v>
                </c:pt>
                <c:pt idx="69986">
                  <c:v>42918</c:v>
                </c:pt>
                <c:pt idx="69987">
                  <c:v>45840</c:v>
                </c:pt>
                <c:pt idx="69988">
                  <c:v>41756</c:v>
                </c:pt>
                <c:pt idx="69989">
                  <c:v>26323</c:v>
                </c:pt>
                <c:pt idx="69990">
                  <c:v>47926</c:v>
                </c:pt>
                <c:pt idx="69991">
                  <c:v>70892</c:v>
                </c:pt>
                <c:pt idx="69992">
                  <c:v>82923</c:v>
                </c:pt>
                <c:pt idx="69993">
                  <c:v>49250</c:v>
                </c:pt>
                <c:pt idx="69994">
                  <c:v>24342</c:v>
                </c:pt>
                <c:pt idx="69995">
                  <c:v>35231</c:v>
                </c:pt>
                <c:pt idx="69996">
                  <c:v>196587</c:v>
                </c:pt>
                <c:pt idx="69997">
                  <c:v>48741</c:v>
                </c:pt>
                <c:pt idx="69998">
                  <c:v>33068</c:v>
                </c:pt>
                <c:pt idx="69999">
                  <c:v>87484</c:v>
                </c:pt>
                <c:pt idx="70000">
                  <c:v>51326</c:v>
                </c:pt>
                <c:pt idx="70001">
                  <c:v>46043</c:v>
                </c:pt>
                <c:pt idx="70002">
                  <c:v>25684</c:v>
                </c:pt>
                <c:pt idx="70003">
                  <c:v>52407</c:v>
                </c:pt>
                <c:pt idx="70004">
                  <c:v>47091</c:v>
                </c:pt>
                <c:pt idx="70005">
                  <c:v>32166</c:v>
                </c:pt>
                <c:pt idx="70006">
                  <c:v>46347</c:v>
                </c:pt>
                <c:pt idx="70007">
                  <c:v>240439</c:v>
                </c:pt>
                <c:pt idx="70008">
                  <c:v>31621</c:v>
                </c:pt>
                <c:pt idx="70009">
                  <c:v>32140</c:v>
                </c:pt>
                <c:pt idx="70010">
                  <c:v>31268</c:v>
                </c:pt>
                <c:pt idx="70011">
                  <c:v>48641</c:v>
                </c:pt>
                <c:pt idx="70012">
                  <c:v>35527</c:v>
                </c:pt>
                <c:pt idx="70013">
                  <c:v>80044</c:v>
                </c:pt>
                <c:pt idx="70014">
                  <c:v>191996</c:v>
                </c:pt>
                <c:pt idx="70015">
                  <c:v>57265</c:v>
                </c:pt>
                <c:pt idx="70016">
                  <c:v>81684</c:v>
                </c:pt>
                <c:pt idx="70017">
                  <c:v>93351</c:v>
                </c:pt>
                <c:pt idx="70018">
                  <c:v>26916</c:v>
                </c:pt>
                <c:pt idx="70019">
                  <c:v>157288</c:v>
                </c:pt>
                <c:pt idx="70020">
                  <c:v>122670</c:v>
                </c:pt>
                <c:pt idx="70021">
                  <c:v>57142</c:v>
                </c:pt>
                <c:pt idx="70022">
                  <c:v>77079</c:v>
                </c:pt>
                <c:pt idx="70023">
                  <c:v>78701</c:v>
                </c:pt>
                <c:pt idx="70024">
                  <c:v>98426</c:v>
                </c:pt>
                <c:pt idx="70025">
                  <c:v>35636</c:v>
                </c:pt>
                <c:pt idx="70026">
                  <c:v>71089</c:v>
                </c:pt>
                <c:pt idx="70027">
                  <c:v>23752</c:v>
                </c:pt>
                <c:pt idx="70028">
                  <c:v>50521</c:v>
                </c:pt>
                <c:pt idx="70029">
                  <c:v>66554</c:v>
                </c:pt>
                <c:pt idx="70030">
                  <c:v>24432</c:v>
                </c:pt>
                <c:pt idx="70031">
                  <c:v>113191</c:v>
                </c:pt>
                <c:pt idx="70032">
                  <c:v>44522</c:v>
                </c:pt>
                <c:pt idx="70033">
                  <c:v>34562</c:v>
                </c:pt>
                <c:pt idx="70034">
                  <c:v>33580</c:v>
                </c:pt>
                <c:pt idx="70035">
                  <c:v>40081</c:v>
                </c:pt>
                <c:pt idx="70036">
                  <c:v>70641</c:v>
                </c:pt>
                <c:pt idx="70037">
                  <c:v>37284</c:v>
                </c:pt>
                <c:pt idx="70038">
                  <c:v>24633</c:v>
                </c:pt>
                <c:pt idx="70039">
                  <c:v>147643</c:v>
                </c:pt>
                <c:pt idx="70040">
                  <c:v>31367</c:v>
                </c:pt>
                <c:pt idx="70041">
                  <c:v>98697</c:v>
                </c:pt>
                <c:pt idx="70042">
                  <c:v>38998</c:v>
                </c:pt>
                <c:pt idx="70043">
                  <c:v>97631</c:v>
                </c:pt>
                <c:pt idx="70044">
                  <c:v>41760</c:v>
                </c:pt>
                <c:pt idx="70045">
                  <c:v>34939</c:v>
                </c:pt>
                <c:pt idx="70046">
                  <c:v>69431</c:v>
                </c:pt>
                <c:pt idx="70047">
                  <c:v>41583</c:v>
                </c:pt>
                <c:pt idx="70048">
                  <c:v>29659</c:v>
                </c:pt>
                <c:pt idx="70049">
                  <c:v>89730</c:v>
                </c:pt>
                <c:pt idx="70050">
                  <c:v>110934</c:v>
                </c:pt>
                <c:pt idx="70051">
                  <c:v>59497</c:v>
                </c:pt>
                <c:pt idx="70052">
                  <c:v>83213</c:v>
                </c:pt>
                <c:pt idx="70053">
                  <c:v>75652</c:v>
                </c:pt>
                <c:pt idx="70054">
                  <c:v>41213</c:v>
                </c:pt>
                <c:pt idx="70055">
                  <c:v>305434</c:v>
                </c:pt>
                <c:pt idx="70056">
                  <c:v>48041</c:v>
                </c:pt>
                <c:pt idx="70057">
                  <c:v>73841</c:v>
                </c:pt>
                <c:pt idx="70058">
                  <c:v>35381</c:v>
                </c:pt>
                <c:pt idx="70059">
                  <c:v>42836</c:v>
                </c:pt>
                <c:pt idx="70060">
                  <c:v>25508</c:v>
                </c:pt>
                <c:pt idx="70061">
                  <c:v>52460</c:v>
                </c:pt>
                <c:pt idx="70062">
                  <c:v>31166</c:v>
                </c:pt>
                <c:pt idx="70063">
                  <c:v>24507</c:v>
                </c:pt>
                <c:pt idx="70064">
                  <c:v>63730</c:v>
                </c:pt>
                <c:pt idx="70065">
                  <c:v>42875</c:v>
                </c:pt>
                <c:pt idx="70066">
                  <c:v>28508</c:v>
                </c:pt>
                <c:pt idx="70067">
                  <c:v>152435</c:v>
                </c:pt>
                <c:pt idx="70068">
                  <c:v>57178</c:v>
                </c:pt>
                <c:pt idx="70069">
                  <c:v>29793</c:v>
                </c:pt>
                <c:pt idx="70070">
                  <c:v>156002</c:v>
                </c:pt>
                <c:pt idx="70071">
                  <c:v>39996</c:v>
                </c:pt>
                <c:pt idx="70072">
                  <c:v>44168</c:v>
                </c:pt>
                <c:pt idx="70073">
                  <c:v>33379</c:v>
                </c:pt>
                <c:pt idx="70074">
                  <c:v>23277</c:v>
                </c:pt>
                <c:pt idx="70075">
                  <c:v>242792</c:v>
                </c:pt>
                <c:pt idx="70076">
                  <c:v>99419</c:v>
                </c:pt>
                <c:pt idx="70077">
                  <c:v>102526</c:v>
                </c:pt>
                <c:pt idx="70078">
                  <c:v>64397</c:v>
                </c:pt>
                <c:pt idx="70079">
                  <c:v>62981</c:v>
                </c:pt>
                <c:pt idx="70080">
                  <c:v>31034</c:v>
                </c:pt>
                <c:pt idx="70081">
                  <c:v>324814</c:v>
                </c:pt>
                <c:pt idx="70082">
                  <c:v>42720</c:v>
                </c:pt>
                <c:pt idx="70083">
                  <c:v>37265</c:v>
                </c:pt>
                <c:pt idx="70084">
                  <c:v>61319</c:v>
                </c:pt>
                <c:pt idx="70085">
                  <c:v>35219</c:v>
                </c:pt>
                <c:pt idx="70086">
                  <c:v>27983</c:v>
                </c:pt>
                <c:pt idx="70087">
                  <c:v>55953</c:v>
                </c:pt>
                <c:pt idx="70088">
                  <c:v>33403</c:v>
                </c:pt>
                <c:pt idx="70089">
                  <c:v>37676</c:v>
                </c:pt>
                <c:pt idx="70090">
                  <c:v>35439</c:v>
                </c:pt>
                <c:pt idx="70091">
                  <c:v>68349</c:v>
                </c:pt>
                <c:pt idx="70092">
                  <c:v>79180</c:v>
                </c:pt>
                <c:pt idx="70093">
                  <c:v>28144</c:v>
                </c:pt>
                <c:pt idx="70094">
                  <c:v>30664</c:v>
                </c:pt>
                <c:pt idx="70095">
                  <c:v>48205</c:v>
                </c:pt>
                <c:pt idx="70096">
                  <c:v>74459</c:v>
                </c:pt>
                <c:pt idx="70097">
                  <c:v>58122</c:v>
                </c:pt>
                <c:pt idx="70098">
                  <c:v>53754</c:v>
                </c:pt>
                <c:pt idx="70099">
                  <c:v>25617</c:v>
                </c:pt>
                <c:pt idx="70100">
                  <c:v>36888</c:v>
                </c:pt>
                <c:pt idx="70101">
                  <c:v>36366</c:v>
                </c:pt>
                <c:pt idx="70102">
                  <c:v>43260</c:v>
                </c:pt>
                <c:pt idx="70103">
                  <c:v>40097</c:v>
                </c:pt>
                <c:pt idx="70104">
                  <c:v>28719</c:v>
                </c:pt>
                <c:pt idx="70105">
                  <c:v>24576</c:v>
                </c:pt>
                <c:pt idx="70106">
                  <c:v>25347</c:v>
                </c:pt>
                <c:pt idx="70107">
                  <c:v>65531</c:v>
                </c:pt>
                <c:pt idx="70108">
                  <c:v>39511</c:v>
                </c:pt>
                <c:pt idx="70109">
                  <c:v>46343</c:v>
                </c:pt>
                <c:pt idx="70110">
                  <c:v>38761</c:v>
                </c:pt>
                <c:pt idx="70111">
                  <c:v>30463</c:v>
                </c:pt>
                <c:pt idx="70112">
                  <c:v>31091</c:v>
                </c:pt>
                <c:pt idx="70113">
                  <c:v>176261</c:v>
                </c:pt>
                <c:pt idx="70114">
                  <c:v>35714</c:v>
                </c:pt>
                <c:pt idx="70115">
                  <c:v>42587</c:v>
                </c:pt>
                <c:pt idx="70116">
                  <c:v>31402</c:v>
                </c:pt>
                <c:pt idx="70117">
                  <c:v>53098</c:v>
                </c:pt>
                <c:pt idx="70118">
                  <c:v>114730</c:v>
                </c:pt>
                <c:pt idx="70119">
                  <c:v>55467</c:v>
                </c:pt>
                <c:pt idx="70120">
                  <c:v>42327</c:v>
                </c:pt>
                <c:pt idx="70121">
                  <c:v>120514</c:v>
                </c:pt>
                <c:pt idx="70122">
                  <c:v>30240</c:v>
                </c:pt>
                <c:pt idx="70123">
                  <c:v>129827</c:v>
                </c:pt>
                <c:pt idx="70124">
                  <c:v>25705</c:v>
                </c:pt>
                <c:pt idx="70125">
                  <c:v>86309</c:v>
                </c:pt>
                <c:pt idx="70126">
                  <c:v>40194</c:v>
                </c:pt>
                <c:pt idx="70127">
                  <c:v>46479</c:v>
                </c:pt>
                <c:pt idx="70128">
                  <c:v>20300</c:v>
                </c:pt>
                <c:pt idx="70129">
                  <c:v>34880</c:v>
                </c:pt>
                <c:pt idx="70130">
                  <c:v>39801</c:v>
                </c:pt>
                <c:pt idx="70131">
                  <c:v>54238</c:v>
                </c:pt>
                <c:pt idx="70132">
                  <c:v>52165</c:v>
                </c:pt>
                <c:pt idx="70133">
                  <c:v>83054</c:v>
                </c:pt>
                <c:pt idx="70134">
                  <c:v>85053</c:v>
                </c:pt>
                <c:pt idx="70135">
                  <c:v>64793</c:v>
                </c:pt>
                <c:pt idx="70136">
                  <c:v>32526</c:v>
                </c:pt>
                <c:pt idx="70137">
                  <c:v>42643</c:v>
                </c:pt>
                <c:pt idx="70138">
                  <c:v>28833</c:v>
                </c:pt>
                <c:pt idx="70139">
                  <c:v>96794</c:v>
                </c:pt>
                <c:pt idx="70140">
                  <c:v>80798</c:v>
                </c:pt>
                <c:pt idx="70141">
                  <c:v>62366</c:v>
                </c:pt>
                <c:pt idx="70142">
                  <c:v>28243</c:v>
                </c:pt>
                <c:pt idx="70143">
                  <c:v>27125</c:v>
                </c:pt>
                <c:pt idx="70144">
                  <c:v>41700</c:v>
                </c:pt>
                <c:pt idx="70145">
                  <c:v>101565</c:v>
                </c:pt>
                <c:pt idx="70146">
                  <c:v>112565</c:v>
                </c:pt>
                <c:pt idx="70147">
                  <c:v>68080</c:v>
                </c:pt>
                <c:pt idx="70148">
                  <c:v>36300</c:v>
                </c:pt>
                <c:pt idx="70149">
                  <c:v>222871</c:v>
                </c:pt>
                <c:pt idx="70150">
                  <c:v>33235</c:v>
                </c:pt>
                <c:pt idx="70151">
                  <c:v>45335</c:v>
                </c:pt>
                <c:pt idx="70152">
                  <c:v>58604</c:v>
                </c:pt>
                <c:pt idx="70153">
                  <c:v>76306</c:v>
                </c:pt>
                <c:pt idx="70154">
                  <c:v>86281</c:v>
                </c:pt>
                <c:pt idx="70155">
                  <c:v>25883</c:v>
                </c:pt>
                <c:pt idx="70156">
                  <c:v>48655</c:v>
                </c:pt>
                <c:pt idx="70157">
                  <c:v>47660</c:v>
                </c:pt>
                <c:pt idx="70158">
                  <c:v>29085</c:v>
                </c:pt>
                <c:pt idx="70159">
                  <c:v>75504</c:v>
                </c:pt>
                <c:pt idx="70160">
                  <c:v>31574</c:v>
                </c:pt>
                <c:pt idx="70161">
                  <c:v>27740</c:v>
                </c:pt>
                <c:pt idx="70162">
                  <c:v>38907</c:v>
                </c:pt>
                <c:pt idx="70163">
                  <c:v>205641</c:v>
                </c:pt>
                <c:pt idx="70164">
                  <c:v>30445</c:v>
                </c:pt>
                <c:pt idx="70165">
                  <c:v>43666</c:v>
                </c:pt>
                <c:pt idx="70166">
                  <c:v>67305</c:v>
                </c:pt>
                <c:pt idx="70167">
                  <c:v>52684</c:v>
                </c:pt>
                <c:pt idx="70168">
                  <c:v>40284</c:v>
                </c:pt>
                <c:pt idx="70169">
                  <c:v>137213</c:v>
                </c:pt>
                <c:pt idx="70170">
                  <c:v>40204</c:v>
                </c:pt>
                <c:pt idx="70171">
                  <c:v>67949</c:v>
                </c:pt>
                <c:pt idx="70172">
                  <c:v>33641</c:v>
                </c:pt>
                <c:pt idx="70173">
                  <c:v>30562</c:v>
                </c:pt>
                <c:pt idx="70174">
                  <c:v>134478</c:v>
                </c:pt>
                <c:pt idx="70175">
                  <c:v>40306</c:v>
                </c:pt>
                <c:pt idx="70176">
                  <c:v>102055</c:v>
                </c:pt>
                <c:pt idx="70177">
                  <c:v>54624</c:v>
                </c:pt>
                <c:pt idx="70178">
                  <c:v>44862</c:v>
                </c:pt>
                <c:pt idx="70179">
                  <c:v>45138</c:v>
                </c:pt>
                <c:pt idx="70180">
                  <c:v>62690</c:v>
                </c:pt>
                <c:pt idx="70181">
                  <c:v>45296</c:v>
                </c:pt>
                <c:pt idx="70182">
                  <c:v>45553</c:v>
                </c:pt>
                <c:pt idx="70183">
                  <c:v>82677</c:v>
                </c:pt>
                <c:pt idx="70184">
                  <c:v>37260</c:v>
                </c:pt>
                <c:pt idx="70185">
                  <c:v>227008</c:v>
                </c:pt>
                <c:pt idx="70186">
                  <c:v>54788</c:v>
                </c:pt>
                <c:pt idx="70187">
                  <c:v>35521</c:v>
                </c:pt>
                <c:pt idx="70188">
                  <c:v>42255</c:v>
                </c:pt>
                <c:pt idx="70189">
                  <c:v>35038</c:v>
                </c:pt>
                <c:pt idx="70190">
                  <c:v>39433</c:v>
                </c:pt>
                <c:pt idx="70191">
                  <c:v>24253</c:v>
                </c:pt>
                <c:pt idx="70192">
                  <c:v>35602</c:v>
                </c:pt>
                <c:pt idx="70193">
                  <c:v>161033</c:v>
                </c:pt>
                <c:pt idx="70194">
                  <c:v>47490</c:v>
                </c:pt>
                <c:pt idx="70195">
                  <c:v>23888</c:v>
                </c:pt>
                <c:pt idx="70196">
                  <c:v>35506</c:v>
                </c:pt>
                <c:pt idx="70197">
                  <c:v>72488</c:v>
                </c:pt>
                <c:pt idx="70198">
                  <c:v>125697</c:v>
                </c:pt>
                <c:pt idx="70199">
                  <c:v>36055</c:v>
                </c:pt>
                <c:pt idx="70200">
                  <c:v>24961</c:v>
                </c:pt>
                <c:pt idx="70201">
                  <c:v>134380</c:v>
                </c:pt>
                <c:pt idx="70202">
                  <c:v>67343</c:v>
                </c:pt>
                <c:pt idx="70203">
                  <c:v>87094</c:v>
                </c:pt>
                <c:pt idx="70204">
                  <c:v>342215</c:v>
                </c:pt>
                <c:pt idx="70205">
                  <c:v>228031</c:v>
                </c:pt>
                <c:pt idx="70206">
                  <c:v>47861</c:v>
                </c:pt>
                <c:pt idx="70207">
                  <c:v>24170</c:v>
                </c:pt>
                <c:pt idx="70208">
                  <c:v>22753</c:v>
                </c:pt>
                <c:pt idx="70209">
                  <c:v>36790</c:v>
                </c:pt>
                <c:pt idx="70210">
                  <c:v>74776</c:v>
                </c:pt>
                <c:pt idx="70211">
                  <c:v>48387</c:v>
                </c:pt>
                <c:pt idx="70212">
                  <c:v>23047</c:v>
                </c:pt>
                <c:pt idx="70213">
                  <c:v>62734</c:v>
                </c:pt>
                <c:pt idx="70214">
                  <c:v>42470</c:v>
                </c:pt>
                <c:pt idx="70215">
                  <c:v>53842</c:v>
                </c:pt>
                <c:pt idx="70216">
                  <c:v>45261</c:v>
                </c:pt>
                <c:pt idx="70217">
                  <c:v>33629</c:v>
                </c:pt>
                <c:pt idx="70218">
                  <c:v>233039</c:v>
                </c:pt>
                <c:pt idx="70219">
                  <c:v>41713</c:v>
                </c:pt>
                <c:pt idx="70220">
                  <c:v>28842</c:v>
                </c:pt>
                <c:pt idx="70221">
                  <c:v>43156</c:v>
                </c:pt>
                <c:pt idx="70222">
                  <c:v>27185</c:v>
                </c:pt>
                <c:pt idx="70223">
                  <c:v>28045</c:v>
                </c:pt>
                <c:pt idx="70224">
                  <c:v>42369</c:v>
                </c:pt>
                <c:pt idx="70225">
                  <c:v>43518</c:v>
                </c:pt>
                <c:pt idx="70226">
                  <c:v>24526</c:v>
                </c:pt>
                <c:pt idx="70227">
                  <c:v>59731</c:v>
                </c:pt>
                <c:pt idx="70228">
                  <c:v>53268</c:v>
                </c:pt>
                <c:pt idx="70229">
                  <c:v>59545</c:v>
                </c:pt>
                <c:pt idx="70230">
                  <c:v>176326</c:v>
                </c:pt>
                <c:pt idx="70231">
                  <c:v>28245</c:v>
                </c:pt>
                <c:pt idx="70232">
                  <c:v>28408</c:v>
                </c:pt>
                <c:pt idx="70233">
                  <c:v>85714</c:v>
                </c:pt>
                <c:pt idx="70234">
                  <c:v>43475</c:v>
                </c:pt>
                <c:pt idx="70235">
                  <c:v>29539</c:v>
                </c:pt>
                <c:pt idx="70236">
                  <c:v>27044</c:v>
                </c:pt>
                <c:pt idx="70237">
                  <c:v>23443</c:v>
                </c:pt>
                <c:pt idx="70238">
                  <c:v>181203</c:v>
                </c:pt>
                <c:pt idx="70239">
                  <c:v>35321</c:v>
                </c:pt>
                <c:pt idx="70240">
                  <c:v>73235</c:v>
                </c:pt>
                <c:pt idx="70241">
                  <c:v>48733</c:v>
                </c:pt>
                <c:pt idx="70242">
                  <c:v>90160</c:v>
                </c:pt>
                <c:pt idx="70243">
                  <c:v>33205</c:v>
                </c:pt>
                <c:pt idx="70244">
                  <c:v>26427</c:v>
                </c:pt>
                <c:pt idx="70245">
                  <c:v>65271</c:v>
                </c:pt>
                <c:pt idx="70246">
                  <c:v>39133</c:v>
                </c:pt>
                <c:pt idx="70247">
                  <c:v>37367</c:v>
                </c:pt>
                <c:pt idx="70248">
                  <c:v>89740</c:v>
                </c:pt>
                <c:pt idx="70249">
                  <c:v>48885</c:v>
                </c:pt>
                <c:pt idx="70250">
                  <c:v>102259</c:v>
                </c:pt>
                <c:pt idx="70251">
                  <c:v>27307</c:v>
                </c:pt>
                <c:pt idx="70252">
                  <c:v>26950</c:v>
                </c:pt>
                <c:pt idx="70253">
                  <c:v>57414</c:v>
                </c:pt>
                <c:pt idx="70254">
                  <c:v>29414</c:v>
                </c:pt>
                <c:pt idx="70255">
                  <c:v>52937</c:v>
                </c:pt>
                <c:pt idx="70256">
                  <c:v>49442</c:v>
                </c:pt>
                <c:pt idx="70257">
                  <c:v>56127</c:v>
                </c:pt>
                <c:pt idx="70258">
                  <c:v>105825</c:v>
                </c:pt>
                <c:pt idx="70259">
                  <c:v>35766</c:v>
                </c:pt>
                <c:pt idx="70260">
                  <c:v>43857</c:v>
                </c:pt>
                <c:pt idx="70261">
                  <c:v>27290</c:v>
                </c:pt>
                <c:pt idx="70262">
                  <c:v>37166</c:v>
                </c:pt>
                <c:pt idx="70263">
                  <c:v>23161</c:v>
                </c:pt>
                <c:pt idx="70264">
                  <c:v>42306</c:v>
                </c:pt>
                <c:pt idx="70265">
                  <c:v>59040</c:v>
                </c:pt>
                <c:pt idx="70266">
                  <c:v>42163</c:v>
                </c:pt>
                <c:pt idx="70267">
                  <c:v>49030</c:v>
                </c:pt>
                <c:pt idx="70268">
                  <c:v>32507</c:v>
                </c:pt>
                <c:pt idx="70269">
                  <c:v>25777</c:v>
                </c:pt>
                <c:pt idx="70270">
                  <c:v>50750</c:v>
                </c:pt>
                <c:pt idx="70271">
                  <c:v>67070</c:v>
                </c:pt>
                <c:pt idx="70272">
                  <c:v>41294</c:v>
                </c:pt>
                <c:pt idx="70273">
                  <c:v>32309</c:v>
                </c:pt>
                <c:pt idx="70274">
                  <c:v>114703</c:v>
                </c:pt>
                <c:pt idx="70275">
                  <c:v>48479</c:v>
                </c:pt>
                <c:pt idx="70276">
                  <c:v>40181</c:v>
                </c:pt>
                <c:pt idx="70277">
                  <c:v>52117</c:v>
                </c:pt>
                <c:pt idx="70278">
                  <c:v>22386</c:v>
                </c:pt>
                <c:pt idx="70279">
                  <c:v>63039</c:v>
                </c:pt>
                <c:pt idx="70280">
                  <c:v>46430</c:v>
                </c:pt>
                <c:pt idx="70281">
                  <c:v>25068</c:v>
                </c:pt>
                <c:pt idx="70282">
                  <c:v>40520</c:v>
                </c:pt>
                <c:pt idx="70283">
                  <c:v>64585</c:v>
                </c:pt>
                <c:pt idx="70284">
                  <c:v>23840</c:v>
                </c:pt>
                <c:pt idx="70285">
                  <c:v>26553</c:v>
                </c:pt>
                <c:pt idx="70286">
                  <c:v>49253</c:v>
                </c:pt>
                <c:pt idx="70287">
                  <c:v>38110</c:v>
                </c:pt>
                <c:pt idx="70288">
                  <c:v>45678</c:v>
                </c:pt>
                <c:pt idx="70289">
                  <c:v>62898</c:v>
                </c:pt>
                <c:pt idx="70290">
                  <c:v>20000</c:v>
                </c:pt>
                <c:pt idx="70291">
                  <c:v>42012</c:v>
                </c:pt>
                <c:pt idx="70292">
                  <c:v>36260</c:v>
                </c:pt>
                <c:pt idx="70293">
                  <c:v>55839</c:v>
                </c:pt>
                <c:pt idx="70294">
                  <c:v>29876</c:v>
                </c:pt>
                <c:pt idx="70295">
                  <c:v>87276</c:v>
                </c:pt>
                <c:pt idx="70296">
                  <c:v>21823</c:v>
                </c:pt>
                <c:pt idx="70297">
                  <c:v>36181</c:v>
                </c:pt>
                <c:pt idx="70298">
                  <c:v>166412</c:v>
                </c:pt>
                <c:pt idx="70299">
                  <c:v>37472</c:v>
                </c:pt>
                <c:pt idx="70300">
                  <c:v>248265</c:v>
                </c:pt>
                <c:pt idx="70301">
                  <c:v>138797</c:v>
                </c:pt>
                <c:pt idx="70302">
                  <c:v>31859</c:v>
                </c:pt>
                <c:pt idx="70303">
                  <c:v>76004</c:v>
                </c:pt>
                <c:pt idx="70304">
                  <c:v>119663</c:v>
                </c:pt>
                <c:pt idx="70305">
                  <c:v>69455</c:v>
                </c:pt>
                <c:pt idx="70306">
                  <c:v>30038</c:v>
                </c:pt>
                <c:pt idx="70307">
                  <c:v>43635</c:v>
                </c:pt>
                <c:pt idx="70308">
                  <c:v>30838</c:v>
                </c:pt>
                <c:pt idx="70309">
                  <c:v>30486</c:v>
                </c:pt>
                <c:pt idx="70310">
                  <c:v>35185</c:v>
                </c:pt>
                <c:pt idx="70311">
                  <c:v>42795</c:v>
                </c:pt>
                <c:pt idx="70312">
                  <c:v>28273</c:v>
                </c:pt>
                <c:pt idx="70313">
                  <c:v>96008</c:v>
                </c:pt>
                <c:pt idx="70314">
                  <c:v>51051</c:v>
                </c:pt>
                <c:pt idx="70315">
                  <c:v>51223</c:v>
                </c:pt>
                <c:pt idx="70316">
                  <c:v>25932</c:v>
                </c:pt>
                <c:pt idx="70317">
                  <c:v>40724</c:v>
                </c:pt>
                <c:pt idx="70318">
                  <c:v>23943</c:v>
                </c:pt>
                <c:pt idx="70319">
                  <c:v>111362</c:v>
                </c:pt>
                <c:pt idx="70320">
                  <c:v>43391</c:v>
                </c:pt>
                <c:pt idx="70321">
                  <c:v>40531</c:v>
                </c:pt>
                <c:pt idx="70322">
                  <c:v>85660</c:v>
                </c:pt>
                <c:pt idx="70323">
                  <c:v>26368</c:v>
                </c:pt>
                <c:pt idx="70324">
                  <c:v>25772</c:v>
                </c:pt>
                <c:pt idx="70325">
                  <c:v>80243</c:v>
                </c:pt>
                <c:pt idx="70326">
                  <c:v>72950</c:v>
                </c:pt>
                <c:pt idx="70327">
                  <c:v>23220</c:v>
                </c:pt>
                <c:pt idx="70328">
                  <c:v>50263</c:v>
                </c:pt>
                <c:pt idx="70329">
                  <c:v>24072</c:v>
                </c:pt>
                <c:pt idx="70330">
                  <c:v>40670</c:v>
                </c:pt>
                <c:pt idx="70331">
                  <c:v>43570</c:v>
                </c:pt>
                <c:pt idx="70332">
                  <c:v>78061</c:v>
                </c:pt>
                <c:pt idx="70333">
                  <c:v>34215</c:v>
                </c:pt>
                <c:pt idx="70334">
                  <c:v>32205</c:v>
                </c:pt>
                <c:pt idx="70335">
                  <c:v>35794</c:v>
                </c:pt>
                <c:pt idx="70336">
                  <c:v>32935</c:v>
                </c:pt>
                <c:pt idx="70337">
                  <c:v>119716</c:v>
                </c:pt>
                <c:pt idx="70338">
                  <c:v>84023</c:v>
                </c:pt>
                <c:pt idx="70339">
                  <c:v>35623</c:v>
                </c:pt>
                <c:pt idx="70340">
                  <c:v>88682</c:v>
                </c:pt>
                <c:pt idx="70341">
                  <c:v>45039</c:v>
                </c:pt>
                <c:pt idx="70342">
                  <c:v>88976</c:v>
                </c:pt>
                <c:pt idx="70343">
                  <c:v>26786</c:v>
                </c:pt>
                <c:pt idx="70344">
                  <c:v>31048</c:v>
                </c:pt>
                <c:pt idx="70345">
                  <c:v>41093</c:v>
                </c:pt>
                <c:pt idx="70346">
                  <c:v>116752</c:v>
                </c:pt>
                <c:pt idx="70347">
                  <c:v>112602</c:v>
                </c:pt>
                <c:pt idx="70348">
                  <c:v>39066</c:v>
                </c:pt>
                <c:pt idx="70349">
                  <c:v>88974</c:v>
                </c:pt>
                <c:pt idx="70350">
                  <c:v>39628</c:v>
                </c:pt>
                <c:pt idx="70351">
                  <c:v>188585</c:v>
                </c:pt>
                <c:pt idx="70352">
                  <c:v>35950</c:v>
                </c:pt>
                <c:pt idx="70353">
                  <c:v>23198</c:v>
                </c:pt>
                <c:pt idx="70354">
                  <c:v>37590</c:v>
                </c:pt>
                <c:pt idx="70355">
                  <c:v>26228</c:v>
                </c:pt>
                <c:pt idx="70356">
                  <c:v>307613</c:v>
                </c:pt>
                <c:pt idx="70357">
                  <c:v>37913</c:v>
                </c:pt>
                <c:pt idx="70358">
                  <c:v>103971</c:v>
                </c:pt>
                <c:pt idx="70359">
                  <c:v>51276</c:v>
                </c:pt>
                <c:pt idx="70360">
                  <c:v>285101</c:v>
                </c:pt>
                <c:pt idx="70361">
                  <c:v>53975</c:v>
                </c:pt>
                <c:pt idx="70362">
                  <c:v>26857</c:v>
                </c:pt>
                <c:pt idx="70363">
                  <c:v>40029</c:v>
                </c:pt>
                <c:pt idx="70364">
                  <c:v>120752</c:v>
                </c:pt>
                <c:pt idx="70365">
                  <c:v>51490</c:v>
                </c:pt>
                <c:pt idx="70366">
                  <c:v>20340</c:v>
                </c:pt>
                <c:pt idx="70367">
                  <c:v>148535</c:v>
                </c:pt>
                <c:pt idx="70368">
                  <c:v>31657</c:v>
                </c:pt>
                <c:pt idx="70369">
                  <c:v>80481</c:v>
                </c:pt>
                <c:pt idx="70370">
                  <c:v>63360</c:v>
                </c:pt>
                <c:pt idx="70371">
                  <c:v>44262</c:v>
                </c:pt>
                <c:pt idx="70372">
                  <c:v>55342</c:v>
                </c:pt>
                <c:pt idx="70373">
                  <c:v>281639</c:v>
                </c:pt>
                <c:pt idx="70374">
                  <c:v>41438</c:v>
                </c:pt>
                <c:pt idx="70375">
                  <c:v>194100</c:v>
                </c:pt>
                <c:pt idx="70376">
                  <c:v>193490</c:v>
                </c:pt>
                <c:pt idx="70377">
                  <c:v>47659</c:v>
                </c:pt>
                <c:pt idx="70378">
                  <c:v>41409</c:v>
                </c:pt>
                <c:pt idx="70379">
                  <c:v>25894</c:v>
                </c:pt>
                <c:pt idx="70380">
                  <c:v>62452</c:v>
                </c:pt>
                <c:pt idx="70381">
                  <c:v>91338</c:v>
                </c:pt>
                <c:pt idx="70382">
                  <c:v>29358</c:v>
                </c:pt>
                <c:pt idx="70383">
                  <c:v>25426</c:v>
                </c:pt>
                <c:pt idx="70384">
                  <c:v>23554</c:v>
                </c:pt>
                <c:pt idx="70385">
                  <c:v>35101</c:v>
                </c:pt>
                <c:pt idx="70386">
                  <c:v>41268</c:v>
                </c:pt>
                <c:pt idx="70387">
                  <c:v>31120</c:v>
                </c:pt>
                <c:pt idx="70388">
                  <c:v>24094</c:v>
                </c:pt>
                <c:pt idx="70389">
                  <c:v>39774</c:v>
                </c:pt>
                <c:pt idx="70390">
                  <c:v>73513</c:v>
                </c:pt>
                <c:pt idx="70391">
                  <c:v>43378</c:v>
                </c:pt>
                <c:pt idx="70392">
                  <c:v>28377</c:v>
                </c:pt>
                <c:pt idx="70393">
                  <c:v>136608</c:v>
                </c:pt>
                <c:pt idx="70394">
                  <c:v>38197</c:v>
                </c:pt>
                <c:pt idx="70395">
                  <c:v>51964</c:v>
                </c:pt>
                <c:pt idx="70396">
                  <c:v>147286</c:v>
                </c:pt>
                <c:pt idx="70397">
                  <c:v>142449</c:v>
                </c:pt>
                <c:pt idx="70398">
                  <c:v>25625</c:v>
                </c:pt>
                <c:pt idx="70399">
                  <c:v>83549</c:v>
                </c:pt>
                <c:pt idx="70400">
                  <c:v>43734</c:v>
                </c:pt>
                <c:pt idx="70401">
                  <c:v>102667</c:v>
                </c:pt>
                <c:pt idx="70402">
                  <c:v>107685</c:v>
                </c:pt>
                <c:pt idx="70403">
                  <c:v>33574</c:v>
                </c:pt>
                <c:pt idx="70404">
                  <c:v>35925</c:v>
                </c:pt>
                <c:pt idx="70405">
                  <c:v>29996</c:v>
                </c:pt>
                <c:pt idx="70406">
                  <c:v>23051</c:v>
                </c:pt>
                <c:pt idx="70407">
                  <c:v>44028</c:v>
                </c:pt>
                <c:pt idx="70408">
                  <c:v>25394</c:v>
                </c:pt>
                <c:pt idx="70409">
                  <c:v>59153</c:v>
                </c:pt>
                <c:pt idx="70410">
                  <c:v>35578</c:v>
                </c:pt>
                <c:pt idx="70411">
                  <c:v>45486</c:v>
                </c:pt>
                <c:pt idx="70412">
                  <c:v>65210</c:v>
                </c:pt>
                <c:pt idx="70413">
                  <c:v>28826</c:v>
                </c:pt>
                <c:pt idx="70414">
                  <c:v>39840</c:v>
                </c:pt>
                <c:pt idx="70415">
                  <c:v>47259</c:v>
                </c:pt>
                <c:pt idx="70416">
                  <c:v>80910</c:v>
                </c:pt>
                <c:pt idx="70417">
                  <c:v>78121</c:v>
                </c:pt>
                <c:pt idx="70418">
                  <c:v>113170</c:v>
                </c:pt>
                <c:pt idx="70419">
                  <c:v>36344</c:v>
                </c:pt>
                <c:pt idx="70420">
                  <c:v>62725</c:v>
                </c:pt>
                <c:pt idx="70421">
                  <c:v>35278</c:v>
                </c:pt>
                <c:pt idx="70422">
                  <c:v>72185</c:v>
                </c:pt>
                <c:pt idx="70423">
                  <c:v>59513</c:v>
                </c:pt>
                <c:pt idx="70424">
                  <c:v>124010</c:v>
                </c:pt>
                <c:pt idx="70425">
                  <c:v>85867</c:v>
                </c:pt>
                <c:pt idx="70426">
                  <c:v>167739</c:v>
                </c:pt>
                <c:pt idx="70427">
                  <c:v>18420</c:v>
                </c:pt>
                <c:pt idx="70428">
                  <c:v>44732</c:v>
                </c:pt>
                <c:pt idx="70429">
                  <c:v>41684</c:v>
                </c:pt>
                <c:pt idx="70430">
                  <c:v>38034</c:v>
                </c:pt>
                <c:pt idx="70431">
                  <c:v>117628</c:v>
                </c:pt>
                <c:pt idx="70432">
                  <c:v>46815</c:v>
                </c:pt>
                <c:pt idx="70433">
                  <c:v>127620</c:v>
                </c:pt>
                <c:pt idx="70434">
                  <c:v>48660</c:v>
                </c:pt>
                <c:pt idx="70435">
                  <c:v>33667</c:v>
                </c:pt>
                <c:pt idx="70436">
                  <c:v>37040</c:v>
                </c:pt>
                <c:pt idx="70437">
                  <c:v>35822</c:v>
                </c:pt>
                <c:pt idx="70438">
                  <c:v>37810</c:v>
                </c:pt>
                <c:pt idx="70439">
                  <c:v>32862</c:v>
                </c:pt>
                <c:pt idx="70440">
                  <c:v>302055</c:v>
                </c:pt>
                <c:pt idx="70441">
                  <c:v>26159</c:v>
                </c:pt>
                <c:pt idx="70442">
                  <c:v>27903</c:v>
                </c:pt>
                <c:pt idx="70443">
                  <c:v>132258</c:v>
                </c:pt>
                <c:pt idx="70444">
                  <c:v>126870</c:v>
                </c:pt>
                <c:pt idx="70445">
                  <c:v>24664</c:v>
                </c:pt>
                <c:pt idx="70446">
                  <c:v>35547</c:v>
                </c:pt>
                <c:pt idx="70447">
                  <c:v>24468</c:v>
                </c:pt>
                <c:pt idx="70448">
                  <c:v>83341</c:v>
                </c:pt>
                <c:pt idx="70449">
                  <c:v>64260</c:v>
                </c:pt>
                <c:pt idx="70450">
                  <c:v>91070</c:v>
                </c:pt>
                <c:pt idx="70451">
                  <c:v>37090</c:v>
                </c:pt>
                <c:pt idx="70452">
                  <c:v>215176</c:v>
                </c:pt>
                <c:pt idx="70453">
                  <c:v>48533</c:v>
                </c:pt>
                <c:pt idx="70454">
                  <c:v>22889</c:v>
                </c:pt>
                <c:pt idx="70455">
                  <c:v>37388</c:v>
                </c:pt>
                <c:pt idx="70456">
                  <c:v>30767</c:v>
                </c:pt>
                <c:pt idx="70457">
                  <c:v>32081</c:v>
                </c:pt>
                <c:pt idx="70458">
                  <c:v>25957</c:v>
                </c:pt>
                <c:pt idx="70459">
                  <c:v>81050</c:v>
                </c:pt>
                <c:pt idx="70460">
                  <c:v>27891</c:v>
                </c:pt>
                <c:pt idx="70461">
                  <c:v>32779</c:v>
                </c:pt>
                <c:pt idx="70462">
                  <c:v>33555</c:v>
                </c:pt>
                <c:pt idx="70463">
                  <c:v>44716</c:v>
                </c:pt>
                <c:pt idx="70464">
                  <c:v>160689</c:v>
                </c:pt>
                <c:pt idx="70465">
                  <c:v>55836</c:v>
                </c:pt>
                <c:pt idx="70466">
                  <c:v>24267</c:v>
                </c:pt>
                <c:pt idx="70467">
                  <c:v>46218</c:v>
                </c:pt>
                <c:pt idx="70468">
                  <c:v>33488</c:v>
                </c:pt>
                <c:pt idx="70469">
                  <c:v>30021</c:v>
                </c:pt>
                <c:pt idx="70470">
                  <c:v>27918</c:v>
                </c:pt>
                <c:pt idx="70471">
                  <c:v>48120</c:v>
                </c:pt>
                <c:pt idx="70472">
                  <c:v>85234</c:v>
                </c:pt>
                <c:pt idx="70473">
                  <c:v>51483</c:v>
                </c:pt>
                <c:pt idx="70474">
                  <c:v>48540</c:v>
                </c:pt>
                <c:pt idx="70475">
                  <c:v>45614</c:v>
                </c:pt>
                <c:pt idx="70476">
                  <c:v>58301</c:v>
                </c:pt>
                <c:pt idx="70477">
                  <c:v>48072</c:v>
                </c:pt>
                <c:pt idx="70478">
                  <c:v>41318</c:v>
                </c:pt>
                <c:pt idx="70479">
                  <c:v>153924</c:v>
                </c:pt>
                <c:pt idx="70480">
                  <c:v>46633</c:v>
                </c:pt>
                <c:pt idx="70481">
                  <c:v>71420</c:v>
                </c:pt>
                <c:pt idx="70482">
                  <c:v>37611</c:v>
                </c:pt>
                <c:pt idx="70483">
                  <c:v>85811</c:v>
                </c:pt>
                <c:pt idx="70484">
                  <c:v>43672</c:v>
                </c:pt>
                <c:pt idx="70485">
                  <c:v>25073</c:v>
                </c:pt>
                <c:pt idx="70486">
                  <c:v>40825</c:v>
                </c:pt>
                <c:pt idx="70487">
                  <c:v>38251</c:v>
                </c:pt>
                <c:pt idx="70488">
                  <c:v>122380</c:v>
                </c:pt>
                <c:pt idx="70489">
                  <c:v>43785</c:v>
                </c:pt>
                <c:pt idx="70490">
                  <c:v>143428</c:v>
                </c:pt>
                <c:pt idx="70491">
                  <c:v>34880</c:v>
                </c:pt>
                <c:pt idx="70492">
                  <c:v>235364</c:v>
                </c:pt>
                <c:pt idx="70493">
                  <c:v>110735</c:v>
                </c:pt>
                <c:pt idx="70494">
                  <c:v>113285</c:v>
                </c:pt>
                <c:pt idx="70495">
                  <c:v>53844</c:v>
                </c:pt>
                <c:pt idx="70496">
                  <c:v>46703</c:v>
                </c:pt>
                <c:pt idx="70497">
                  <c:v>85894</c:v>
                </c:pt>
                <c:pt idx="70498">
                  <c:v>29059</c:v>
                </c:pt>
                <c:pt idx="70499">
                  <c:v>35154</c:v>
                </c:pt>
                <c:pt idx="70500">
                  <c:v>131957</c:v>
                </c:pt>
                <c:pt idx="70501">
                  <c:v>38095</c:v>
                </c:pt>
                <c:pt idx="70502">
                  <c:v>33781</c:v>
                </c:pt>
                <c:pt idx="70503">
                  <c:v>53303</c:v>
                </c:pt>
                <c:pt idx="70504">
                  <c:v>31680</c:v>
                </c:pt>
                <c:pt idx="70505">
                  <c:v>66148</c:v>
                </c:pt>
                <c:pt idx="70506">
                  <c:v>32034</c:v>
                </c:pt>
                <c:pt idx="70507">
                  <c:v>122302</c:v>
                </c:pt>
                <c:pt idx="70508">
                  <c:v>29495</c:v>
                </c:pt>
                <c:pt idx="70509">
                  <c:v>87421</c:v>
                </c:pt>
                <c:pt idx="70510">
                  <c:v>31613</c:v>
                </c:pt>
                <c:pt idx="70511">
                  <c:v>56071</c:v>
                </c:pt>
                <c:pt idx="70512">
                  <c:v>38076</c:v>
                </c:pt>
                <c:pt idx="70513">
                  <c:v>43115</c:v>
                </c:pt>
                <c:pt idx="70514">
                  <c:v>23697</c:v>
                </c:pt>
                <c:pt idx="70515">
                  <c:v>41193</c:v>
                </c:pt>
                <c:pt idx="70516">
                  <c:v>51541</c:v>
                </c:pt>
                <c:pt idx="70517">
                  <c:v>20649</c:v>
                </c:pt>
                <c:pt idx="70518">
                  <c:v>22217</c:v>
                </c:pt>
                <c:pt idx="70519">
                  <c:v>100648</c:v>
                </c:pt>
                <c:pt idx="70520">
                  <c:v>35932</c:v>
                </c:pt>
                <c:pt idx="70521">
                  <c:v>22763</c:v>
                </c:pt>
                <c:pt idx="70522">
                  <c:v>38131</c:v>
                </c:pt>
                <c:pt idx="70523">
                  <c:v>30503</c:v>
                </c:pt>
                <c:pt idx="70524">
                  <c:v>36324</c:v>
                </c:pt>
                <c:pt idx="70525">
                  <c:v>78057</c:v>
                </c:pt>
                <c:pt idx="70526">
                  <c:v>31498</c:v>
                </c:pt>
                <c:pt idx="70527">
                  <c:v>44852</c:v>
                </c:pt>
                <c:pt idx="70528">
                  <c:v>33711</c:v>
                </c:pt>
                <c:pt idx="70529">
                  <c:v>152676</c:v>
                </c:pt>
                <c:pt idx="70530">
                  <c:v>119713</c:v>
                </c:pt>
                <c:pt idx="70531">
                  <c:v>59312</c:v>
                </c:pt>
                <c:pt idx="70532">
                  <c:v>61566</c:v>
                </c:pt>
                <c:pt idx="70533">
                  <c:v>39742</c:v>
                </c:pt>
                <c:pt idx="70534">
                  <c:v>42218</c:v>
                </c:pt>
                <c:pt idx="70535">
                  <c:v>21129</c:v>
                </c:pt>
                <c:pt idx="70536">
                  <c:v>43077</c:v>
                </c:pt>
                <c:pt idx="70537">
                  <c:v>100845</c:v>
                </c:pt>
                <c:pt idx="70538">
                  <c:v>30650</c:v>
                </c:pt>
                <c:pt idx="70539">
                  <c:v>34710</c:v>
                </c:pt>
                <c:pt idx="70540">
                  <c:v>27422</c:v>
                </c:pt>
                <c:pt idx="70541">
                  <c:v>33680</c:v>
                </c:pt>
                <c:pt idx="70542">
                  <c:v>76737</c:v>
                </c:pt>
                <c:pt idx="70543">
                  <c:v>79175</c:v>
                </c:pt>
                <c:pt idx="70544">
                  <c:v>31206</c:v>
                </c:pt>
                <c:pt idx="70545">
                  <c:v>27819</c:v>
                </c:pt>
                <c:pt idx="70546">
                  <c:v>48581</c:v>
                </c:pt>
                <c:pt idx="70547">
                  <c:v>86127</c:v>
                </c:pt>
                <c:pt idx="70548">
                  <c:v>37543</c:v>
                </c:pt>
                <c:pt idx="70549">
                  <c:v>135429</c:v>
                </c:pt>
                <c:pt idx="70550">
                  <c:v>47493</c:v>
                </c:pt>
                <c:pt idx="70551">
                  <c:v>38888</c:v>
                </c:pt>
                <c:pt idx="70552">
                  <c:v>38221</c:v>
                </c:pt>
                <c:pt idx="70553">
                  <c:v>30103</c:v>
                </c:pt>
                <c:pt idx="70554">
                  <c:v>24422</c:v>
                </c:pt>
                <c:pt idx="70555">
                  <c:v>34512</c:v>
                </c:pt>
                <c:pt idx="70556">
                  <c:v>22918</c:v>
                </c:pt>
                <c:pt idx="70557">
                  <c:v>79926</c:v>
                </c:pt>
                <c:pt idx="70558">
                  <c:v>43877</c:v>
                </c:pt>
                <c:pt idx="70559">
                  <c:v>67728</c:v>
                </c:pt>
                <c:pt idx="70560">
                  <c:v>41530</c:v>
                </c:pt>
                <c:pt idx="70561">
                  <c:v>25320</c:v>
                </c:pt>
                <c:pt idx="70562">
                  <c:v>27129</c:v>
                </c:pt>
                <c:pt idx="70563">
                  <c:v>48931</c:v>
                </c:pt>
                <c:pt idx="70564">
                  <c:v>421097</c:v>
                </c:pt>
                <c:pt idx="70565">
                  <c:v>38975</c:v>
                </c:pt>
                <c:pt idx="70566">
                  <c:v>76045</c:v>
                </c:pt>
                <c:pt idx="70567">
                  <c:v>28047</c:v>
                </c:pt>
                <c:pt idx="70568">
                  <c:v>58310</c:v>
                </c:pt>
                <c:pt idx="70569">
                  <c:v>37363</c:v>
                </c:pt>
                <c:pt idx="70570">
                  <c:v>39286</c:v>
                </c:pt>
                <c:pt idx="70571">
                  <c:v>55794</c:v>
                </c:pt>
                <c:pt idx="70572">
                  <c:v>42747</c:v>
                </c:pt>
                <c:pt idx="70573">
                  <c:v>39717</c:v>
                </c:pt>
                <c:pt idx="70574">
                  <c:v>93702</c:v>
                </c:pt>
                <c:pt idx="70575">
                  <c:v>125554</c:v>
                </c:pt>
                <c:pt idx="70576">
                  <c:v>30463</c:v>
                </c:pt>
                <c:pt idx="70577">
                  <c:v>38503</c:v>
                </c:pt>
                <c:pt idx="70578">
                  <c:v>24880</c:v>
                </c:pt>
                <c:pt idx="70579">
                  <c:v>29838</c:v>
                </c:pt>
                <c:pt idx="70580">
                  <c:v>42359</c:v>
                </c:pt>
                <c:pt idx="70581">
                  <c:v>42580</c:v>
                </c:pt>
                <c:pt idx="70582">
                  <c:v>68290</c:v>
                </c:pt>
                <c:pt idx="70583">
                  <c:v>67037</c:v>
                </c:pt>
                <c:pt idx="70584">
                  <c:v>39002</c:v>
                </c:pt>
                <c:pt idx="70585">
                  <c:v>164982</c:v>
                </c:pt>
                <c:pt idx="70586">
                  <c:v>28295</c:v>
                </c:pt>
                <c:pt idx="70587">
                  <c:v>19517</c:v>
                </c:pt>
                <c:pt idx="70588">
                  <c:v>36668</c:v>
                </c:pt>
                <c:pt idx="70589">
                  <c:v>37133</c:v>
                </c:pt>
                <c:pt idx="70590">
                  <c:v>136862</c:v>
                </c:pt>
                <c:pt idx="70591">
                  <c:v>82897</c:v>
                </c:pt>
                <c:pt idx="70592">
                  <c:v>160500</c:v>
                </c:pt>
                <c:pt idx="70593">
                  <c:v>40186</c:v>
                </c:pt>
                <c:pt idx="70594">
                  <c:v>168955</c:v>
                </c:pt>
                <c:pt idx="70595">
                  <c:v>75850</c:v>
                </c:pt>
                <c:pt idx="70596">
                  <c:v>72850</c:v>
                </c:pt>
                <c:pt idx="70597">
                  <c:v>105096</c:v>
                </c:pt>
                <c:pt idx="70598">
                  <c:v>41638</c:v>
                </c:pt>
                <c:pt idx="70599">
                  <c:v>39637</c:v>
                </c:pt>
                <c:pt idx="70600">
                  <c:v>27997</c:v>
                </c:pt>
                <c:pt idx="70601">
                  <c:v>39008</c:v>
                </c:pt>
                <c:pt idx="70602">
                  <c:v>25984</c:v>
                </c:pt>
                <c:pt idx="70603">
                  <c:v>48109</c:v>
                </c:pt>
                <c:pt idx="70604">
                  <c:v>175177</c:v>
                </c:pt>
                <c:pt idx="70605">
                  <c:v>32917</c:v>
                </c:pt>
                <c:pt idx="70606">
                  <c:v>50180</c:v>
                </c:pt>
                <c:pt idx="70607">
                  <c:v>49176</c:v>
                </c:pt>
                <c:pt idx="70608">
                  <c:v>27825</c:v>
                </c:pt>
                <c:pt idx="70609">
                  <c:v>33276</c:v>
                </c:pt>
                <c:pt idx="70610">
                  <c:v>33484</c:v>
                </c:pt>
                <c:pt idx="70611">
                  <c:v>178638</c:v>
                </c:pt>
                <c:pt idx="70612">
                  <c:v>124121</c:v>
                </c:pt>
                <c:pt idx="70613">
                  <c:v>24438</c:v>
                </c:pt>
                <c:pt idx="70614">
                  <c:v>126872</c:v>
                </c:pt>
                <c:pt idx="70615">
                  <c:v>33554</c:v>
                </c:pt>
                <c:pt idx="70616">
                  <c:v>57172</c:v>
                </c:pt>
                <c:pt idx="70617">
                  <c:v>23444</c:v>
                </c:pt>
                <c:pt idx="70618">
                  <c:v>38660</c:v>
                </c:pt>
                <c:pt idx="70619">
                  <c:v>87798</c:v>
                </c:pt>
                <c:pt idx="70620">
                  <c:v>135855</c:v>
                </c:pt>
                <c:pt idx="70621">
                  <c:v>68953</c:v>
                </c:pt>
                <c:pt idx="70622">
                  <c:v>38225</c:v>
                </c:pt>
                <c:pt idx="70623">
                  <c:v>23400</c:v>
                </c:pt>
                <c:pt idx="70624">
                  <c:v>60805</c:v>
                </c:pt>
                <c:pt idx="70625">
                  <c:v>28848</c:v>
                </c:pt>
                <c:pt idx="70626">
                  <c:v>34456</c:v>
                </c:pt>
                <c:pt idx="70627">
                  <c:v>42181</c:v>
                </c:pt>
                <c:pt idx="70628">
                  <c:v>41388</c:v>
                </c:pt>
                <c:pt idx="70629">
                  <c:v>42697</c:v>
                </c:pt>
                <c:pt idx="70630">
                  <c:v>42336</c:v>
                </c:pt>
                <c:pt idx="70631">
                  <c:v>82231</c:v>
                </c:pt>
                <c:pt idx="70632">
                  <c:v>27737</c:v>
                </c:pt>
                <c:pt idx="70633">
                  <c:v>37723</c:v>
                </c:pt>
                <c:pt idx="70634">
                  <c:v>30484</c:v>
                </c:pt>
                <c:pt idx="70635">
                  <c:v>50108</c:v>
                </c:pt>
                <c:pt idx="70636">
                  <c:v>44440</c:v>
                </c:pt>
                <c:pt idx="70637">
                  <c:v>30272</c:v>
                </c:pt>
                <c:pt idx="70638">
                  <c:v>91277</c:v>
                </c:pt>
                <c:pt idx="70639">
                  <c:v>32849</c:v>
                </c:pt>
                <c:pt idx="70640">
                  <c:v>33295</c:v>
                </c:pt>
                <c:pt idx="70641">
                  <c:v>62708</c:v>
                </c:pt>
                <c:pt idx="70642">
                  <c:v>154248</c:v>
                </c:pt>
                <c:pt idx="70643">
                  <c:v>34994</c:v>
                </c:pt>
                <c:pt idx="70644">
                  <c:v>46501</c:v>
                </c:pt>
                <c:pt idx="70645">
                  <c:v>143051</c:v>
                </c:pt>
                <c:pt idx="70646">
                  <c:v>132040</c:v>
                </c:pt>
                <c:pt idx="70647">
                  <c:v>35688</c:v>
                </c:pt>
                <c:pt idx="70648">
                  <c:v>125805</c:v>
                </c:pt>
                <c:pt idx="70649">
                  <c:v>92351</c:v>
                </c:pt>
                <c:pt idx="70650">
                  <c:v>38889</c:v>
                </c:pt>
                <c:pt idx="70651">
                  <c:v>33395</c:v>
                </c:pt>
                <c:pt idx="70652">
                  <c:v>42553</c:v>
                </c:pt>
                <c:pt idx="70653">
                  <c:v>226447</c:v>
                </c:pt>
                <c:pt idx="70654">
                  <c:v>40181</c:v>
                </c:pt>
                <c:pt idx="70655">
                  <c:v>24768</c:v>
                </c:pt>
                <c:pt idx="70656">
                  <c:v>82535</c:v>
                </c:pt>
                <c:pt idx="70657">
                  <c:v>37317</c:v>
                </c:pt>
                <c:pt idx="70658">
                  <c:v>32209</c:v>
                </c:pt>
                <c:pt idx="70659">
                  <c:v>26929</c:v>
                </c:pt>
                <c:pt idx="70660">
                  <c:v>92375</c:v>
                </c:pt>
                <c:pt idx="70661">
                  <c:v>132074</c:v>
                </c:pt>
                <c:pt idx="70662">
                  <c:v>97467</c:v>
                </c:pt>
                <c:pt idx="70663">
                  <c:v>229206</c:v>
                </c:pt>
                <c:pt idx="70664">
                  <c:v>21985</c:v>
                </c:pt>
                <c:pt idx="70665">
                  <c:v>35831</c:v>
                </c:pt>
                <c:pt idx="70666">
                  <c:v>87999</c:v>
                </c:pt>
                <c:pt idx="70667">
                  <c:v>67022</c:v>
                </c:pt>
                <c:pt idx="70668">
                  <c:v>37850</c:v>
                </c:pt>
                <c:pt idx="70669">
                  <c:v>33236</c:v>
                </c:pt>
                <c:pt idx="70670">
                  <c:v>43472</c:v>
                </c:pt>
                <c:pt idx="70671">
                  <c:v>130906</c:v>
                </c:pt>
                <c:pt idx="70672">
                  <c:v>145870</c:v>
                </c:pt>
                <c:pt idx="70673">
                  <c:v>95326</c:v>
                </c:pt>
                <c:pt idx="70674">
                  <c:v>42129</c:v>
                </c:pt>
                <c:pt idx="70675">
                  <c:v>26718</c:v>
                </c:pt>
                <c:pt idx="70676">
                  <c:v>32997</c:v>
                </c:pt>
                <c:pt idx="70677">
                  <c:v>36226</c:v>
                </c:pt>
                <c:pt idx="70678">
                  <c:v>86708</c:v>
                </c:pt>
                <c:pt idx="70679">
                  <c:v>33826</c:v>
                </c:pt>
                <c:pt idx="70680">
                  <c:v>41405</c:v>
                </c:pt>
                <c:pt idx="70681">
                  <c:v>44004</c:v>
                </c:pt>
                <c:pt idx="70682">
                  <c:v>48140</c:v>
                </c:pt>
                <c:pt idx="70683">
                  <c:v>31547</c:v>
                </c:pt>
                <c:pt idx="70684">
                  <c:v>62489</c:v>
                </c:pt>
                <c:pt idx="70685">
                  <c:v>71398</c:v>
                </c:pt>
                <c:pt idx="70686">
                  <c:v>38222</c:v>
                </c:pt>
                <c:pt idx="70687">
                  <c:v>23078</c:v>
                </c:pt>
                <c:pt idx="70688">
                  <c:v>71072</c:v>
                </c:pt>
                <c:pt idx="70689">
                  <c:v>24495</c:v>
                </c:pt>
                <c:pt idx="70690">
                  <c:v>43889</c:v>
                </c:pt>
                <c:pt idx="70691">
                  <c:v>50797</c:v>
                </c:pt>
                <c:pt idx="70692">
                  <c:v>66296</c:v>
                </c:pt>
                <c:pt idx="70693">
                  <c:v>49697</c:v>
                </c:pt>
                <c:pt idx="70694">
                  <c:v>42739</c:v>
                </c:pt>
                <c:pt idx="70695">
                  <c:v>37536</c:v>
                </c:pt>
                <c:pt idx="70696">
                  <c:v>22778</c:v>
                </c:pt>
                <c:pt idx="70697">
                  <c:v>47195</c:v>
                </c:pt>
                <c:pt idx="70698">
                  <c:v>39282</c:v>
                </c:pt>
                <c:pt idx="70699">
                  <c:v>23094</c:v>
                </c:pt>
                <c:pt idx="70700">
                  <c:v>31203</c:v>
                </c:pt>
                <c:pt idx="70701">
                  <c:v>37077</c:v>
                </c:pt>
                <c:pt idx="70702">
                  <c:v>51961</c:v>
                </c:pt>
                <c:pt idx="70703">
                  <c:v>41303</c:v>
                </c:pt>
                <c:pt idx="70704">
                  <c:v>45068</c:v>
                </c:pt>
                <c:pt idx="70705">
                  <c:v>43157</c:v>
                </c:pt>
                <c:pt idx="70706">
                  <c:v>32944</c:v>
                </c:pt>
                <c:pt idx="70707">
                  <c:v>92052</c:v>
                </c:pt>
                <c:pt idx="70708">
                  <c:v>36795</c:v>
                </c:pt>
                <c:pt idx="70709">
                  <c:v>20843</c:v>
                </c:pt>
                <c:pt idx="70710">
                  <c:v>94435</c:v>
                </c:pt>
                <c:pt idx="70711">
                  <c:v>36564</c:v>
                </c:pt>
                <c:pt idx="70712">
                  <c:v>39385</c:v>
                </c:pt>
                <c:pt idx="70713">
                  <c:v>34620</c:v>
                </c:pt>
                <c:pt idx="70714">
                  <c:v>138091</c:v>
                </c:pt>
                <c:pt idx="70715">
                  <c:v>66914</c:v>
                </c:pt>
                <c:pt idx="70716">
                  <c:v>103548</c:v>
                </c:pt>
                <c:pt idx="70717">
                  <c:v>28293</c:v>
                </c:pt>
                <c:pt idx="70718">
                  <c:v>44735</c:v>
                </c:pt>
                <c:pt idx="70719">
                  <c:v>162116</c:v>
                </c:pt>
                <c:pt idx="70720">
                  <c:v>60822</c:v>
                </c:pt>
                <c:pt idx="70721">
                  <c:v>37363</c:v>
                </c:pt>
                <c:pt idx="70722">
                  <c:v>36382</c:v>
                </c:pt>
                <c:pt idx="70723">
                  <c:v>47730</c:v>
                </c:pt>
                <c:pt idx="70724">
                  <c:v>40122</c:v>
                </c:pt>
                <c:pt idx="70725">
                  <c:v>96196</c:v>
                </c:pt>
                <c:pt idx="70726">
                  <c:v>25352</c:v>
                </c:pt>
                <c:pt idx="70727">
                  <c:v>80918</c:v>
                </c:pt>
                <c:pt idx="70728">
                  <c:v>22710</c:v>
                </c:pt>
                <c:pt idx="70729">
                  <c:v>34114</c:v>
                </c:pt>
                <c:pt idx="70730">
                  <c:v>34837</c:v>
                </c:pt>
                <c:pt idx="70731">
                  <c:v>27020</c:v>
                </c:pt>
                <c:pt idx="70732">
                  <c:v>98194</c:v>
                </c:pt>
                <c:pt idx="70733">
                  <c:v>34065</c:v>
                </c:pt>
                <c:pt idx="70734">
                  <c:v>47455</c:v>
                </c:pt>
                <c:pt idx="70735">
                  <c:v>20649</c:v>
                </c:pt>
                <c:pt idx="70736">
                  <c:v>23905</c:v>
                </c:pt>
                <c:pt idx="70737">
                  <c:v>67250</c:v>
                </c:pt>
                <c:pt idx="70738">
                  <c:v>23292</c:v>
                </c:pt>
                <c:pt idx="70739">
                  <c:v>236241</c:v>
                </c:pt>
                <c:pt idx="70740">
                  <c:v>39342</c:v>
                </c:pt>
                <c:pt idx="70741">
                  <c:v>56897</c:v>
                </c:pt>
                <c:pt idx="70742">
                  <c:v>38036</c:v>
                </c:pt>
                <c:pt idx="70743">
                  <c:v>37675</c:v>
                </c:pt>
                <c:pt idx="70744">
                  <c:v>33954</c:v>
                </c:pt>
                <c:pt idx="70745">
                  <c:v>66972</c:v>
                </c:pt>
                <c:pt idx="70746">
                  <c:v>251056</c:v>
                </c:pt>
                <c:pt idx="70747">
                  <c:v>35763</c:v>
                </c:pt>
                <c:pt idx="70748">
                  <c:v>47643</c:v>
                </c:pt>
                <c:pt idx="70749">
                  <c:v>53425</c:v>
                </c:pt>
                <c:pt idx="70750">
                  <c:v>206391</c:v>
                </c:pt>
                <c:pt idx="70751">
                  <c:v>40610</c:v>
                </c:pt>
                <c:pt idx="70752">
                  <c:v>34489</c:v>
                </c:pt>
                <c:pt idx="70753">
                  <c:v>81465</c:v>
                </c:pt>
                <c:pt idx="70754">
                  <c:v>32622</c:v>
                </c:pt>
                <c:pt idx="70755">
                  <c:v>33675</c:v>
                </c:pt>
                <c:pt idx="70756">
                  <c:v>23587</c:v>
                </c:pt>
                <c:pt idx="70757">
                  <c:v>91448</c:v>
                </c:pt>
                <c:pt idx="70758">
                  <c:v>41641</c:v>
                </c:pt>
                <c:pt idx="70759">
                  <c:v>34162</c:v>
                </c:pt>
                <c:pt idx="70760">
                  <c:v>47692</c:v>
                </c:pt>
                <c:pt idx="70761">
                  <c:v>28304</c:v>
                </c:pt>
                <c:pt idx="70762">
                  <c:v>39861</c:v>
                </c:pt>
                <c:pt idx="70763">
                  <c:v>50324</c:v>
                </c:pt>
                <c:pt idx="70764">
                  <c:v>25501</c:v>
                </c:pt>
                <c:pt idx="70765">
                  <c:v>109890</c:v>
                </c:pt>
                <c:pt idx="70766">
                  <c:v>36578</c:v>
                </c:pt>
                <c:pt idx="70767">
                  <c:v>49845</c:v>
                </c:pt>
                <c:pt idx="70768">
                  <c:v>30706</c:v>
                </c:pt>
                <c:pt idx="70769">
                  <c:v>85266</c:v>
                </c:pt>
                <c:pt idx="70770">
                  <c:v>50848</c:v>
                </c:pt>
                <c:pt idx="70771">
                  <c:v>38050</c:v>
                </c:pt>
                <c:pt idx="70772">
                  <c:v>50469</c:v>
                </c:pt>
                <c:pt idx="70773">
                  <c:v>40010</c:v>
                </c:pt>
                <c:pt idx="70774">
                  <c:v>48012</c:v>
                </c:pt>
                <c:pt idx="70775">
                  <c:v>40783</c:v>
                </c:pt>
                <c:pt idx="70776">
                  <c:v>39914</c:v>
                </c:pt>
                <c:pt idx="70777">
                  <c:v>67602</c:v>
                </c:pt>
                <c:pt idx="70778">
                  <c:v>41458</c:v>
                </c:pt>
                <c:pt idx="70779">
                  <c:v>50072</c:v>
                </c:pt>
                <c:pt idx="70780">
                  <c:v>43950</c:v>
                </c:pt>
                <c:pt idx="70781">
                  <c:v>47055</c:v>
                </c:pt>
                <c:pt idx="70782">
                  <c:v>21292</c:v>
                </c:pt>
                <c:pt idx="70783">
                  <c:v>50535</c:v>
                </c:pt>
                <c:pt idx="70784">
                  <c:v>43059</c:v>
                </c:pt>
                <c:pt idx="70785">
                  <c:v>32075</c:v>
                </c:pt>
                <c:pt idx="70786">
                  <c:v>57376</c:v>
                </c:pt>
                <c:pt idx="70787">
                  <c:v>46423</c:v>
                </c:pt>
                <c:pt idx="70788">
                  <c:v>59606</c:v>
                </c:pt>
                <c:pt idx="70789">
                  <c:v>88548</c:v>
                </c:pt>
                <c:pt idx="70790">
                  <c:v>37852</c:v>
                </c:pt>
                <c:pt idx="70791">
                  <c:v>64112</c:v>
                </c:pt>
                <c:pt idx="70792">
                  <c:v>78139</c:v>
                </c:pt>
                <c:pt idx="70793">
                  <c:v>33566</c:v>
                </c:pt>
                <c:pt idx="70794">
                  <c:v>42849</c:v>
                </c:pt>
                <c:pt idx="70795">
                  <c:v>92071</c:v>
                </c:pt>
                <c:pt idx="70796">
                  <c:v>24656</c:v>
                </c:pt>
                <c:pt idx="70797">
                  <c:v>33296</c:v>
                </c:pt>
                <c:pt idx="70798">
                  <c:v>37591</c:v>
                </c:pt>
                <c:pt idx="70799">
                  <c:v>99929</c:v>
                </c:pt>
                <c:pt idx="70800">
                  <c:v>40680</c:v>
                </c:pt>
                <c:pt idx="70801">
                  <c:v>27489</c:v>
                </c:pt>
                <c:pt idx="70802">
                  <c:v>76825</c:v>
                </c:pt>
                <c:pt idx="70803">
                  <c:v>25929</c:v>
                </c:pt>
                <c:pt idx="70804">
                  <c:v>62922</c:v>
                </c:pt>
                <c:pt idx="70805">
                  <c:v>31899</c:v>
                </c:pt>
                <c:pt idx="70806">
                  <c:v>263504</c:v>
                </c:pt>
                <c:pt idx="70807">
                  <c:v>37390</c:v>
                </c:pt>
                <c:pt idx="70808">
                  <c:v>37737</c:v>
                </c:pt>
                <c:pt idx="70809">
                  <c:v>25737</c:v>
                </c:pt>
                <c:pt idx="70810">
                  <c:v>52328</c:v>
                </c:pt>
                <c:pt idx="70811">
                  <c:v>90875</c:v>
                </c:pt>
                <c:pt idx="70812">
                  <c:v>40908</c:v>
                </c:pt>
                <c:pt idx="70813">
                  <c:v>46884</c:v>
                </c:pt>
                <c:pt idx="70814">
                  <c:v>44203</c:v>
                </c:pt>
                <c:pt idx="70815">
                  <c:v>62838</c:v>
                </c:pt>
                <c:pt idx="70816">
                  <c:v>27837</c:v>
                </c:pt>
                <c:pt idx="70817">
                  <c:v>115509</c:v>
                </c:pt>
                <c:pt idx="70818">
                  <c:v>99416</c:v>
                </c:pt>
                <c:pt idx="70819">
                  <c:v>134488</c:v>
                </c:pt>
                <c:pt idx="70820">
                  <c:v>67498</c:v>
                </c:pt>
                <c:pt idx="70821">
                  <c:v>40794</c:v>
                </c:pt>
                <c:pt idx="70822">
                  <c:v>176940</c:v>
                </c:pt>
                <c:pt idx="70823">
                  <c:v>36082</c:v>
                </c:pt>
                <c:pt idx="70824">
                  <c:v>33764</c:v>
                </c:pt>
                <c:pt idx="70825">
                  <c:v>23879</c:v>
                </c:pt>
                <c:pt idx="70826">
                  <c:v>106344</c:v>
                </c:pt>
                <c:pt idx="70827">
                  <c:v>35824</c:v>
                </c:pt>
                <c:pt idx="70828">
                  <c:v>32024</c:v>
                </c:pt>
                <c:pt idx="70829">
                  <c:v>55379</c:v>
                </c:pt>
                <c:pt idx="70830">
                  <c:v>53307</c:v>
                </c:pt>
                <c:pt idx="70831">
                  <c:v>83239</c:v>
                </c:pt>
                <c:pt idx="70832">
                  <c:v>55748</c:v>
                </c:pt>
                <c:pt idx="70833">
                  <c:v>41727</c:v>
                </c:pt>
                <c:pt idx="70834">
                  <c:v>46023</c:v>
                </c:pt>
                <c:pt idx="70835">
                  <c:v>28295</c:v>
                </c:pt>
                <c:pt idx="70836">
                  <c:v>30598</c:v>
                </c:pt>
                <c:pt idx="70837">
                  <c:v>30682</c:v>
                </c:pt>
                <c:pt idx="70838">
                  <c:v>31112</c:v>
                </c:pt>
                <c:pt idx="70839">
                  <c:v>56637</c:v>
                </c:pt>
                <c:pt idx="70840">
                  <c:v>51652</c:v>
                </c:pt>
                <c:pt idx="70841">
                  <c:v>125157</c:v>
                </c:pt>
                <c:pt idx="70842">
                  <c:v>69971</c:v>
                </c:pt>
                <c:pt idx="70843">
                  <c:v>55724</c:v>
                </c:pt>
                <c:pt idx="70844">
                  <c:v>40154</c:v>
                </c:pt>
                <c:pt idx="70845">
                  <c:v>40158</c:v>
                </c:pt>
                <c:pt idx="70846">
                  <c:v>61486</c:v>
                </c:pt>
                <c:pt idx="70847">
                  <c:v>36994</c:v>
                </c:pt>
                <c:pt idx="70848">
                  <c:v>26210</c:v>
                </c:pt>
                <c:pt idx="70849">
                  <c:v>137004</c:v>
                </c:pt>
                <c:pt idx="70850">
                  <c:v>46693</c:v>
                </c:pt>
                <c:pt idx="70851">
                  <c:v>73989</c:v>
                </c:pt>
                <c:pt idx="70852">
                  <c:v>104418</c:v>
                </c:pt>
                <c:pt idx="70853">
                  <c:v>284710</c:v>
                </c:pt>
                <c:pt idx="70854">
                  <c:v>65206</c:v>
                </c:pt>
                <c:pt idx="70855">
                  <c:v>155849</c:v>
                </c:pt>
                <c:pt idx="70856">
                  <c:v>28376</c:v>
                </c:pt>
                <c:pt idx="70857">
                  <c:v>200623</c:v>
                </c:pt>
                <c:pt idx="70858">
                  <c:v>70468</c:v>
                </c:pt>
                <c:pt idx="70859">
                  <c:v>95725</c:v>
                </c:pt>
                <c:pt idx="70860">
                  <c:v>71242</c:v>
                </c:pt>
                <c:pt idx="70861">
                  <c:v>78676</c:v>
                </c:pt>
                <c:pt idx="70862">
                  <c:v>71107</c:v>
                </c:pt>
                <c:pt idx="70863">
                  <c:v>27088</c:v>
                </c:pt>
                <c:pt idx="70864">
                  <c:v>32975</c:v>
                </c:pt>
                <c:pt idx="70865">
                  <c:v>43273</c:v>
                </c:pt>
                <c:pt idx="70866">
                  <c:v>60319</c:v>
                </c:pt>
                <c:pt idx="70867">
                  <c:v>31890</c:v>
                </c:pt>
                <c:pt idx="70868">
                  <c:v>84155</c:v>
                </c:pt>
                <c:pt idx="70869">
                  <c:v>46507</c:v>
                </c:pt>
                <c:pt idx="70870">
                  <c:v>46704</c:v>
                </c:pt>
                <c:pt idx="70871">
                  <c:v>22123</c:v>
                </c:pt>
                <c:pt idx="70872">
                  <c:v>23707</c:v>
                </c:pt>
                <c:pt idx="70873">
                  <c:v>102173</c:v>
                </c:pt>
                <c:pt idx="70874">
                  <c:v>119142</c:v>
                </c:pt>
                <c:pt idx="70875">
                  <c:v>40061</c:v>
                </c:pt>
                <c:pt idx="70876">
                  <c:v>57767</c:v>
                </c:pt>
                <c:pt idx="70877">
                  <c:v>30926</c:v>
                </c:pt>
                <c:pt idx="70878">
                  <c:v>55042</c:v>
                </c:pt>
                <c:pt idx="70879">
                  <c:v>57385</c:v>
                </c:pt>
                <c:pt idx="70880">
                  <c:v>33050</c:v>
                </c:pt>
                <c:pt idx="70881">
                  <c:v>26382</c:v>
                </c:pt>
                <c:pt idx="70882">
                  <c:v>28233</c:v>
                </c:pt>
                <c:pt idx="70883">
                  <c:v>50902</c:v>
                </c:pt>
                <c:pt idx="70884">
                  <c:v>52999</c:v>
                </c:pt>
                <c:pt idx="70885">
                  <c:v>23904</c:v>
                </c:pt>
                <c:pt idx="70886">
                  <c:v>44543</c:v>
                </c:pt>
                <c:pt idx="70887">
                  <c:v>27706</c:v>
                </c:pt>
                <c:pt idx="70888">
                  <c:v>163710</c:v>
                </c:pt>
                <c:pt idx="70889">
                  <c:v>40851</c:v>
                </c:pt>
                <c:pt idx="70890">
                  <c:v>99886</c:v>
                </c:pt>
                <c:pt idx="70891">
                  <c:v>75346</c:v>
                </c:pt>
                <c:pt idx="70892">
                  <c:v>41732</c:v>
                </c:pt>
                <c:pt idx="70893">
                  <c:v>93809</c:v>
                </c:pt>
                <c:pt idx="70894">
                  <c:v>44139</c:v>
                </c:pt>
                <c:pt idx="70895">
                  <c:v>103495</c:v>
                </c:pt>
                <c:pt idx="70896">
                  <c:v>35602</c:v>
                </c:pt>
                <c:pt idx="70897">
                  <c:v>26950</c:v>
                </c:pt>
                <c:pt idx="70898">
                  <c:v>74003</c:v>
                </c:pt>
                <c:pt idx="70899">
                  <c:v>25911</c:v>
                </c:pt>
                <c:pt idx="70900">
                  <c:v>44064</c:v>
                </c:pt>
                <c:pt idx="70901">
                  <c:v>42831</c:v>
                </c:pt>
                <c:pt idx="70902">
                  <c:v>36744</c:v>
                </c:pt>
                <c:pt idx="70903">
                  <c:v>27381</c:v>
                </c:pt>
                <c:pt idx="70904">
                  <c:v>302782</c:v>
                </c:pt>
                <c:pt idx="70905">
                  <c:v>27539</c:v>
                </c:pt>
                <c:pt idx="70906">
                  <c:v>89358</c:v>
                </c:pt>
                <c:pt idx="70907">
                  <c:v>72146</c:v>
                </c:pt>
                <c:pt idx="70908">
                  <c:v>122069</c:v>
                </c:pt>
                <c:pt idx="70909">
                  <c:v>43560</c:v>
                </c:pt>
                <c:pt idx="70910">
                  <c:v>118947</c:v>
                </c:pt>
                <c:pt idx="70911">
                  <c:v>92151</c:v>
                </c:pt>
                <c:pt idx="70912">
                  <c:v>53069</c:v>
                </c:pt>
                <c:pt idx="70913">
                  <c:v>25346</c:v>
                </c:pt>
                <c:pt idx="70914">
                  <c:v>91201</c:v>
                </c:pt>
                <c:pt idx="70915">
                  <c:v>182415</c:v>
                </c:pt>
                <c:pt idx="70916">
                  <c:v>37147</c:v>
                </c:pt>
                <c:pt idx="70917">
                  <c:v>91791</c:v>
                </c:pt>
                <c:pt idx="70918">
                  <c:v>140621</c:v>
                </c:pt>
                <c:pt idx="70919">
                  <c:v>44050</c:v>
                </c:pt>
                <c:pt idx="70920">
                  <c:v>24412</c:v>
                </c:pt>
                <c:pt idx="70921">
                  <c:v>257651</c:v>
                </c:pt>
                <c:pt idx="70922">
                  <c:v>50667</c:v>
                </c:pt>
                <c:pt idx="70923">
                  <c:v>52442</c:v>
                </c:pt>
                <c:pt idx="70924">
                  <c:v>72543</c:v>
                </c:pt>
                <c:pt idx="70925">
                  <c:v>36339</c:v>
                </c:pt>
                <c:pt idx="70926">
                  <c:v>37286</c:v>
                </c:pt>
                <c:pt idx="70927">
                  <c:v>36771</c:v>
                </c:pt>
                <c:pt idx="70928">
                  <c:v>30989</c:v>
                </c:pt>
                <c:pt idx="70929">
                  <c:v>32458</c:v>
                </c:pt>
                <c:pt idx="70930">
                  <c:v>31290</c:v>
                </c:pt>
                <c:pt idx="70931">
                  <c:v>66327</c:v>
                </c:pt>
                <c:pt idx="70932">
                  <c:v>34042</c:v>
                </c:pt>
                <c:pt idx="70933">
                  <c:v>45095</c:v>
                </c:pt>
                <c:pt idx="70934">
                  <c:v>39917</c:v>
                </c:pt>
                <c:pt idx="70935">
                  <c:v>29257</c:v>
                </c:pt>
                <c:pt idx="70936">
                  <c:v>25169</c:v>
                </c:pt>
                <c:pt idx="70937">
                  <c:v>82150</c:v>
                </c:pt>
                <c:pt idx="70938">
                  <c:v>87049</c:v>
                </c:pt>
                <c:pt idx="70939">
                  <c:v>62311</c:v>
                </c:pt>
                <c:pt idx="70940">
                  <c:v>36705</c:v>
                </c:pt>
                <c:pt idx="70941">
                  <c:v>68620</c:v>
                </c:pt>
                <c:pt idx="70942">
                  <c:v>61637</c:v>
                </c:pt>
                <c:pt idx="70943">
                  <c:v>63111</c:v>
                </c:pt>
                <c:pt idx="70944">
                  <c:v>21831</c:v>
                </c:pt>
                <c:pt idx="70945">
                  <c:v>37620</c:v>
                </c:pt>
                <c:pt idx="70946">
                  <c:v>26736</c:v>
                </c:pt>
                <c:pt idx="70947">
                  <c:v>51852</c:v>
                </c:pt>
                <c:pt idx="70948">
                  <c:v>74199</c:v>
                </c:pt>
                <c:pt idx="70949">
                  <c:v>91905</c:v>
                </c:pt>
                <c:pt idx="70950">
                  <c:v>135040</c:v>
                </c:pt>
                <c:pt idx="70951">
                  <c:v>62646</c:v>
                </c:pt>
                <c:pt idx="70952">
                  <c:v>52528</c:v>
                </c:pt>
                <c:pt idx="70953">
                  <c:v>24396</c:v>
                </c:pt>
                <c:pt idx="70954">
                  <c:v>25388</c:v>
                </c:pt>
                <c:pt idx="70955">
                  <c:v>28384</c:v>
                </c:pt>
                <c:pt idx="70956">
                  <c:v>31597</c:v>
                </c:pt>
                <c:pt idx="70957">
                  <c:v>109423</c:v>
                </c:pt>
                <c:pt idx="70958">
                  <c:v>32374</c:v>
                </c:pt>
                <c:pt idx="70959">
                  <c:v>45426</c:v>
                </c:pt>
                <c:pt idx="70960">
                  <c:v>32840</c:v>
                </c:pt>
                <c:pt idx="70961">
                  <c:v>128278</c:v>
                </c:pt>
                <c:pt idx="70962">
                  <c:v>72078</c:v>
                </c:pt>
                <c:pt idx="70963">
                  <c:v>32392</c:v>
                </c:pt>
                <c:pt idx="70964">
                  <c:v>35268</c:v>
                </c:pt>
                <c:pt idx="70965">
                  <c:v>30874</c:v>
                </c:pt>
                <c:pt idx="70966">
                  <c:v>47082</c:v>
                </c:pt>
                <c:pt idx="70967">
                  <c:v>137856</c:v>
                </c:pt>
                <c:pt idx="70968">
                  <c:v>89791</c:v>
                </c:pt>
                <c:pt idx="70969">
                  <c:v>22596</c:v>
                </c:pt>
                <c:pt idx="70970">
                  <c:v>93767</c:v>
                </c:pt>
                <c:pt idx="70971">
                  <c:v>30279</c:v>
                </c:pt>
                <c:pt idx="70972">
                  <c:v>110958</c:v>
                </c:pt>
                <c:pt idx="70973">
                  <c:v>25394</c:v>
                </c:pt>
                <c:pt idx="70974">
                  <c:v>29297</c:v>
                </c:pt>
                <c:pt idx="70975">
                  <c:v>43499</c:v>
                </c:pt>
                <c:pt idx="70976">
                  <c:v>64367</c:v>
                </c:pt>
                <c:pt idx="70977">
                  <c:v>44881</c:v>
                </c:pt>
                <c:pt idx="70978">
                  <c:v>24276</c:v>
                </c:pt>
                <c:pt idx="70979">
                  <c:v>35011</c:v>
                </c:pt>
                <c:pt idx="70980">
                  <c:v>59894</c:v>
                </c:pt>
                <c:pt idx="70981">
                  <c:v>104138</c:v>
                </c:pt>
                <c:pt idx="70982">
                  <c:v>49599</c:v>
                </c:pt>
                <c:pt idx="70983">
                  <c:v>35382</c:v>
                </c:pt>
                <c:pt idx="70984">
                  <c:v>42853</c:v>
                </c:pt>
                <c:pt idx="70985">
                  <c:v>31680</c:v>
                </c:pt>
                <c:pt idx="70986">
                  <c:v>50593</c:v>
                </c:pt>
                <c:pt idx="70987">
                  <c:v>36636</c:v>
                </c:pt>
                <c:pt idx="70988">
                  <c:v>39774</c:v>
                </c:pt>
                <c:pt idx="70989">
                  <c:v>38374</c:v>
                </c:pt>
                <c:pt idx="70990">
                  <c:v>43913</c:v>
                </c:pt>
                <c:pt idx="70991">
                  <c:v>24090</c:v>
                </c:pt>
                <c:pt idx="70992">
                  <c:v>56628</c:v>
                </c:pt>
                <c:pt idx="70993">
                  <c:v>59781</c:v>
                </c:pt>
                <c:pt idx="70994">
                  <c:v>37080</c:v>
                </c:pt>
                <c:pt idx="70995">
                  <c:v>66569</c:v>
                </c:pt>
                <c:pt idx="70996">
                  <c:v>51974</c:v>
                </c:pt>
                <c:pt idx="70997">
                  <c:v>24409</c:v>
                </c:pt>
                <c:pt idx="70998">
                  <c:v>29793</c:v>
                </c:pt>
                <c:pt idx="70999">
                  <c:v>46934</c:v>
                </c:pt>
                <c:pt idx="71000">
                  <c:v>43676</c:v>
                </c:pt>
                <c:pt idx="71001">
                  <c:v>25425</c:v>
                </c:pt>
                <c:pt idx="71002">
                  <c:v>109746</c:v>
                </c:pt>
                <c:pt idx="71003">
                  <c:v>56281</c:v>
                </c:pt>
                <c:pt idx="71004">
                  <c:v>142840</c:v>
                </c:pt>
                <c:pt idx="71005">
                  <c:v>153334</c:v>
                </c:pt>
                <c:pt idx="71006">
                  <c:v>121110</c:v>
                </c:pt>
                <c:pt idx="71007">
                  <c:v>52257</c:v>
                </c:pt>
                <c:pt idx="71008">
                  <c:v>145430</c:v>
                </c:pt>
                <c:pt idx="71009">
                  <c:v>67212</c:v>
                </c:pt>
                <c:pt idx="71010">
                  <c:v>126082</c:v>
                </c:pt>
                <c:pt idx="71011">
                  <c:v>40066</c:v>
                </c:pt>
                <c:pt idx="71012">
                  <c:v>50293</c:v>
                </c:pt>
                <c:pt idx="71013">
                  <c:v>51596</c:v>
                </c:pt>
                <c:pt idx="71014">
                  <c:v>34757</c:v>
                </c:pt>
                <c:pt idx="71015">
                  <c:v>33468</c:v>
                </c:pt>
                <c:pt idx="71016">
                  <c:v>47359</c:v>
                </c:pt>
                <c:pt idx="71017">
                  <c:v>25574</c:v>
                </c:pt>
                <c:pt idx="71018">
                  <c:v>63996</c:v>
                </c:pt>
                <c:pt idx="71019">
                  <c:v>47323</c:v>
                </c:pt>
                <c:pt idx="71020">
                  <c:v>36291</c:v>
                </c:pt>
                <c:pt idx="71021">
                  <c:v>32292</c:v>
                </c:pt>
                <c:pt idx="71022">
                  <c:v>122923</c:v>
                </c:pt>
                <c:pt idx="71023">
                  <c:v>41563</c:v>
                </c:pt>
                <c:pt idx="71024">
                  <c:v>25051</c:v>
                </c:pt>
                <c:pt idx="71025">
                  <c:v>35423</c:v>
                </c:pt>
                <c:pt idx="71026">
                  <c:v>194880</c:v>
                </c:pt>
                <c:pt idx="71027">
                  <c:v>94525</c:v>
                </c:pt>
                <c:pt idx="71028">
                  <c:v>39724</c:v>
                </c:pt>
                <c:pt idx="71029">
                  <c:v>38720</c:v>
                </c:pt>
                <c:pt idx="71030">
                  <c:v>24345</c:v>
                </c:pt>
                <c:pt idx="71031">
                  <c:v>111892</c:v>
                </c:pt>
                <c:pt idx="71032">
                  <c:v>134483</c:v>
                </c:pt>
                <c:pt idx="71033">
                  <c:v>49883</c:v>
                </c:pt>
                <c:pt idx="71034">
                  <c:v>21645</c:v>
                </c:pt>
                <c:pt idx="71035">
                  <c:v>43730</c:v>
                </c:pt>
                <c:pt idx="71036">
                  <c:v>34973</c:v>
                </c:pt>
                <c:pt idx="71037">
                  <c:v>52393</c:v>
                </c:pt>
                <c:pt idx="71038">
                  <c:v>27885</c:v>
                </c:pt>
                <c:pt idx="71039">
                  <c:v>49407</c:v>
                </c:pt>
                <c:pt idx="71040">
                  <c:v>27856</c:v>
                </c:pt>
                <c:pt idx="71041">
                  <c:v>43500</c:v>
                </c:pt>
                <c:pt idx="71042">
                  <c:v>54037</c:v>
                </c:pt>
                <c:pt idx="71043">
                  <c:v>44539</c:v>
                </c:pt>
                <c:pt idx="71044">
                  <c:v>82979</c:v>
                </c:pt>
                <c:pt idx="71045">
                  <c:v>381889</c:v>
                </c:pt>
                <c:pt idx="71046">
                  <c:v>69084</c:v>
                </c:pt>
                <c:pt idx="71047">
                  <c:v>218198</c:v>
                </c:pt>
                <c:pt idx="71048">
                  <c:v>138075</c:v>
                </c:pt>
                <c:pt idx="71049">
                  <c:v>115001</c:v>
                </c:pt>
                <c:pt idx="71050">
                  <c:v>33816</c:v>
                </c:pt>
                <c:pt idx="71051">
                  <c:v>27459</c:v>
                </c:pt>
                <c:pt idx="71052">
                  <c:v>29419</c:v>
                </c:pt>
                <c:pt idx="71053">
                  <c:v>51530</c:v>
                </c:pt>
                <c:pt idx="71054">
                  <c:v>23742</c:v>
                </c:pt>
                <c:pt idx="71055">
                  <c:v>37273</c:v>
                </c:pt>
                <c:pt idx="71056">
                  <c:v>35249</c:v>
                </c:pt>
                <c:pt idx="71057">
                  <c:v>50153</c:v>
                </c:pt>
                <c:pt idx="71058">
                  <c:v>83885</c:v>
                </c:pt>
                <c:pt idx="71059">
                  <c:v>73317</c:v>
                </c:pt>
                <c:pt idx="71060">
                  <c:v>49916</c:v>
                </c:pt>
                <c:pt idx="71061">
                  <c:v>34762</c:v>
                </c:pt>
                <c:pt idx="71062">
                  <c:v>48209</c:v>
                </c:pt>
                <c:pt idx="71063">
                  <c:v>36471</c:v>
                </c:pt>
                <c:pt idx="71064">
                  <c:v>33334</c:v>
                </c:pt>
                <c:pt idx="71065">
                  <c:v>81935</c:v>
                </c:pt>
                <c:pt idx="71066">
                  <c:v>30464</c:v>
                </c:pt>
                <c:pt idx="71067">
                  <c:v>41493</c:v>
                </c:pt>
                <c:pt idx="71068">
                  <c:v>38790</c:v>
                </c:pt>
                <c:pt idx="71069">
                  <c:v>35586</c:v>
                </c:pt>
                <c:pt idx="71070">
                  <c:v>45917</c:v>
                </c:pt>
                <c:pt idx="71071">
                  <c:v>28067</c:v>
                </c:pt>
                <c:pt idx="71072">
                  <c:v>47395</c:v>
                </c:pt>
                <c:pt idx="71073">
                  <c:v>39665</c:v>
                </c:pt>
                <c:pt idx="71074">
                  <c:v>44659</c:v>
                </c:pt>
                <c:pt idx="71075">
                  <c:v>36385</c:v>
                </c:pt>
                <c:pt idx="71076">
                  <c:v>30864</c:v>
                </c:pt>
                <c:pt idx="71077">
                  <c:v>30673</c:v>
                </c:pt>
                <c:pt idx="71078">
                  <c:v>31765</c:v>
                </c:pt>
                <c:pt idx="71079">
                  <c:v>28056</c:v>
                </c:pt>
                <c:pt idx="71080">
                  <c:v>22041</c:v>
                </c:pt>
                <c:pt idx="71081">
                  <c:v>35423</c:v>
                </c:pt>
                <c:pt idx="71082">
                  <c:v>39093</c:v>
                </c:pt>
                <c:pt idx="71083">
                  <c:v>32469</c:v>
                </c:pt>
                <c:pt idx="71084">
                  <c:v>48903</c:v>
                </c:pt>
                <c:pt idx="71085">
                  <c:v>59186</c:v>
                </c:pt>
                <c:pt idx="71086">
                  <c:v>30861</c:v>
                </c:pt>
                <c:pt idx="71087">
                  <c:v>80454</c:v>
                </c:pt>
                <c:pt idx="71088">
                  <c:v>54902</c:v>
                </c:pt>
                <c:pt idx="71089">
                  <c:v>24340</c:v>
                </c:pt>
                <c:pt idx="71090">
                  <c:v>28325</c:v>
                </c:pt>
                <c:pt idx="71091">
                  <c:v>46998</c:v>
                </c:pt>
                <c:pt idx="71092">
                  <c:v>33986</c:v>
                </c:pt>
                <c:pt idx="71093">
                  <c:v>101082</c:v>
                </c:pt>
                <c:pt idx="71094">
                  <c:v>119577</c:v>
                </c:pt>
                <c:pt idx="71095">
                  <c:v>45330</c:v>
                </c:pt>
                <c:pt idx="71096">
                  <c:v>40276</c:v>
                </c:pt>
                <c:pt idx="71097">
                  <c:v>85581</c:v>
                </c:pt>
                <c:pt idx="71098">
                  <c:v>49629</c:v>
                </c:pt>
                <c:pt idx="71099">
                  <c:v>68891</c:v>
                </c:pt>
                <c:pt idx="71100">
                  <c:v>30542</c:v>
                </c:pt>
                <c:pt idx="71101">
                  <c:v>55596</c:v>
                </c:pt>
                <c:pt idx="71102">
                  <c:v>27985</c:v>
                </c:pt>
                <c:pt idx="71103">
                  <c:v>46325</c:v>
                </c:pt>
                <c:pt idx="71104">
                  <c:v>44055</c:v>
                </c:pt>
                <c:pt idx="71105">
                  <c:v>21438</c:v>
                </c:pt>
                <c:pt idx="71106">
                  <c:v>58207</c:v>
                </c:pt>
                <c:pt idx="71107">
                  <c:v>60856</c:v>
                </c:pt>
                <c:pt idx="71108">
                  <c:v>44152</c:v>
                </c:pt>
                <c:pt idx="71109">
                  <c:v>34711</c:v>
                </c:pt>
                <c:pt idx="71110">
                  <c:v>23115</c:v>
                </c:pt>
                <c:pt idx="71111">
                  <c:v>47853</c:v>
                </c:pt>
                <c:pt idx="71112">
                  <c:v>125916</c:v>
                </c:pt>
                <c:pt idx="71113">
                  <c:v>82269</c:v>
                </c:pt>
                <c:pt idx="71114">
                  <c:v>27765</c:v>
                </c:pt>
                <c:pt idx="71115">
                  <c:v>44490</c:v>
                </c:pt>
                <c:pt idx="71116">
                  <c:v>136014</c:v>
                </c:pt>
                <c:pt idx="71117">
                  <c:v>65524</c:v>
                </c:pt>
                <c:pt idx="71118">
                  <c:v>45884</c:v>
                </c:pt>
                <c:pt idx="71119">
                  <c:v>56451</c:v>
                </c:pt>
                <c:pt idx="71120">
                  <c:v>32768</c:v>
                </c:pt>
                <c:pt idx="71121">
                  <c:v>241187</c:v>
                </c:pt>
                <c:pt idx="71122">
                  <c:v>76331</c:v>
                </c:pt>
                <c:pt idx="71123">
                  <c:v>53500</c:v>
                </c:pt>
                <c:pt idx="71124">
                  <c:v>46176</c:v>
                </c:pt>
                <c:pt idx="71125">
                  <c:v>42618</c:v>
                </c:pt>
                <c:pt idx="71126">
                  <c:v>74798</c:v>
                </c:pt>
                <c:pt idx="71127">
                  <c:v>70399</c:v>
                </c:pt>
                <c:pt idx="71128">
                  <c:v>22054</c:v>
                </c:pt>
                <c:pt idx="71129">
                  <c:v>24464</c:v>
                </c:pt>
                <c:pt idx="71130">
                  <c:v>106601</c:v>
                </c:pt>
                <c:pt idx="71131">
                  <c:v>69912</c:v>
                </c:pt>
                <c:pt idx="71132">
                  <c:v>72226</c:v>
                </c:pt>
                <c:pt idx="71133">
                  <c:v>174126</c:v>
                </c:pt>
                <c:pt idx="71134">
                  <c:v>127261</c:v>
                </c:pt>
                <c:pt idx="71135">
                  <c:v>30723</c:v>
                </c:pt>
                <c:pt idx="71136">
                  <c:v>31161</c:v>
                </c:pt>
                <c:pt idx="71137">
                  <c:v>27472</c:v>
                </c:pt>
                <c:pt idx="71138">
                  <c:v>44596</c:v>
                </c:pt>
                <c:pt idx="71139">
                  <c:v>26966</c:v>
                </c:pt>
                <c:pt idx="71140">
                  <c:v>41243</c:v>
                </c:pt>
                <c:pt idx="71141">
                  <c:v>51225</c:v>
                </c:pt>
                <c:pt idx="71142">
                  <c:v>43101</c:v>
                </c:pt>
                <c:pt idx="71143">
                  <c:v>30038</c:v>
                </c:pt>
                <c:pt idx="71144">
                  <c:v>214984</c:v>
                </c:pt>
                <c:pt idx="71145">
                  <c:v>35936</c:v>
                </c:pt>
                <c:pt idx="71146">
                  <c:v>59098</c:v>
                </c:pt>
                <c:pt idx="71147">
                  <c:v>20873</c:v>
                </c:pt>
                <c:pt idx="71148">
                  <c:v>40682</c:v>
                </c:pt>
                <c:pt idx="71149">
                  <c:v>47435</c:v>
                </c:pt>
                <c:pt idx="71150">
                  <c:v>23796</c:v>
                </c:pt>
                <c:pt idx="71151">
                  <c:v>32338</c:v>
                </c:pt>
                <c:pt idx="71152">
                  <c:v>46112</c:v>
                </c:pt>
                <c:pt idx="71153">
                  <c:v>197593</c:v>
                </c:pt>
                <c:pt idx="71154">
                  <c:v>82864</c:v>
                </c:pt>
                <c:pt idx="71155">
                  <c:v>26105</c:v>
                </c:pt>
                <c:pt idx="71156">
                  <c:v>34023</c:v>
                </c:pt>
                <c:pt idx="71157">
                  <c:v>40624</c:v>
                </c:pt>
                <c:pt idx="71158">
                  <c:v>35751</c:v>
                </c:pt>
                <c:pt idx="71159">
                  <c:v>37991</c:v>
                </c:pt>
                <c:pt idx="71160">
                  <c:v>92022</c:v>
                </c:pt>
                <c:pt idx="71161">
                  <c:v>49306</c:v>
                </c:pt>
                <c:pt idx="71162">
                  <c:v>40117</c:v>
                </c:pt>
                <c:pt idx="71163">
                  <c:v>15000</c:v>
                </c:pt>
                <c:pt idx="71164">
                  <c:v>39115</c:v>
                </c:pt>
                <c:pt idx="71165">
                  <c:v>23781</c:v>
                </c:pt>
                <c:pt idx="71166">
                  <c:v>95406</c:v>
                </c:pt>
                <c:pt idx="71167">
                  <c:v>200574</c:v>
                </c:pt>
                <c:pt idx="71168">
                  <c:v>41823</c:v>
                </c:pt>
                <c:pt idx="71169">
                  <c:v>60432</c:v>
                </c:pt>
                <c:pt idx="71170">
                  <c:v>39728</c:v>
                </c:pt>
                <c:pt idx="71171">
                  <c:v>103824</c:v>
                </c:pt>
                <c:pt idx="71172">
                  <c:v>34281</c:v>
                </c:pt>
                <c:pt idx="71173">
                  <c:v>26000</c:v>
                </c:pt>
                <c:pt idx="71174">
                  <c:v>57195</c:v>
                </c:pt>
                <c:pt idx="71175">
                  <c:v>56798</c:v>
                </c:pt>
                <c:pt idx="71176">
                  <c:v>41394</c:v>
                </c:pt>
                <c:pt idx="71177">
                  <c:v>49988</c:v>
                </c:pt>
                <c:pt idx="71178">
                  <c:v>97536</c:v>
                </c:pt>
                <c:pt idx="71179">
                  <c:v>68235</c:v>
                </c:pt>
                <c:pt idx="71180">
                  <c:v>53710</c:v>
                </c:pt>
                <c:pt idx="71181">
                  <c:v>65175</c:v>
                </c:pt>
                <c:pt idx="71182">
                  <c:v>241116</c:v>
                </c:pt>
                <c:pt idx="71183">
                  <c:v>34743</c:v>
                </c:pt>
                <c:pt idx="71184">
                  <c:v>67147</c:v>
                </c:pt>
                <c:pt idx="71185">
                  <c:v>44556</c:v>
                </c:pt>
                <c:pt idx="71186">
                  <c:v>38755</c:v>
                </c:pt>
                <c:pt idx="71187">
                  <c:v>56392</c:v>
                </c:pt>
                <c:pt idx="71188">
                  <c:v>51926</c:v>
                </c:pt>
                <c:pt idx="71189">
                  <c:v>41171</c:v>
                </c:pt>
                <c:pt idx="71190">
                  <c:v>34822</c:v>
                </c:pt>
                <c:pt idx="71191">
                  <c:v>33166</c:v>
                </c:pt>
                <c:pt idx="71192">
                  <c:v>69387</c:v>
                </c:pt>
                <c:pt idx="71193">
                  <c:v>177760</c:v>
                </c:pt>
                <c:pt idx="71194">
                  <c:v>64051</c:v>
                </c:pt>
                <c:pt idx="71195">
                  <c:v>30386</c:v>
                </c:pt>
                <c:pt idx="71196">
                  <c:v>50008</c:v>
                </c:pt>
                <c:pt idx="71197">
                  <c:v>23546</c:v>
                </c:pt>
                <c:pt idx="71198">
                  <c:v>30831</c:v>
                </c:pt>
                <c:pt idx="71199">
                  <c:v>53812</c:v>
                </c:pt>
                <c:pt idx="71200">
                  <c:v>47317</c:v>
                </c:pt>
                <c:pt idx="71201">
                  <c:v>154893</c:v>
                </c:pt>
                <c:pt idx="71202">
                  <c:v>41877</c:v>
                </c:pt>
                <c:pt idx="71203">
                  <c:v>26351</c:v>
                </c:pt>
                <c:pt idx="71204">
                  <c:v>31192</c:v>
                </c:pt>
                <c:pt idx="71205">
                  <c:v>120607</c:v>
                </c:pt>
                <c:pt idx="71206">
                  <c:v>68376</c:v>
                </c:pt>
                <c:pt idx="71207">
                  <c:v>35757</c:v>
                </c:pt>
                <c:pt idx="71208">
                  <c:v>78888</c:v>
                </c:pt>
                <c:pt idx="71209">
                  <c:v>37671</c:v>
                </c:pt>
                <c:pt idx="71210">
                  <c:v>43730</c:v>
                </c:pt>
                <c:pt idx="71211">
                  <c:v>26590</c:v>
                </c:pt>
                <c:pt idx="71212">
                  <c:v>30893</c:v>
                </c:pt>
                <c:pt idx="71213">
                  <c:v>38401</c:v>
                </c:pt>
                <c:pt idx="71214">
                  <c:v>85466</c:v>
                </c:pt>
                <c:pt idx="71215">
                  <c:v>35671</c:v>
                </c:pt>
                <c:pt idx="71216">
                  <c:v>86341</c:v>
                </c:pt>
                <c:pt idx="71217">
                  <c:v>59017</c:v>
                </c:pt>
                <c:pt idx="71218">
                  <c:v>44213</c:v>
                </c:pt>
                <c:pt idx="71219">
                  <c:v>30044</c:v>
                </c:pt>
                <c:pt idx="71220">
                  <c:v>38999</c:v>
                </c:pt>
                <c:pt idx="71221">
                  <c:v>32455</c:v>
                </c:pt>
                <c:pt idx="71222">
                  <c:v>30571</c:v>
                </c:pt>
                <c:pt idx="71223">
                  <c:v>24792</c:v>
                </c:pt>
                <c:pt idx="71224">
                  <c:v>91354</c:v>
                </c:pt>
                <c:pt idx="71225">
                  <c:v>131915</c:v>
                </c:pt>
                <c:pt idx="71226">
                  <c:v>171413</c:v>
                </c:pt>
                <c:pt idx="71227">
                  <c:v>241093</c:v>
                </c:pt>
                <c:pt idx="71228">
                  <c:v>32241</c:v>
                </c:pt>
                <c:pt idx="71229">
                  <c:v>47883</c:v>
                </c:pt>
                <c:pt idx="71230">
                  <c:v>112841</c:v>
                </c:pt>
                <c:pt idx="71231">
                  <c:v>30739</c:v>
                </c:pt>
                <c:pt idx="71232">
                  <c:v>52308</c:v>
                </c:pt>
                <c:pt idx="71233">
                  <c:v>25696</c:v>
                </c:pt>
                <c:pt idx="71234">
                  <c:v>39545</c:v>
                </c:pt>
                <c:pt idx="71235">
                  <c:v>90728</c:v>
                </c:pt>
                <c:pt idx="71236">
                  <c:v>64085</c:v>
                </c:pt>
                <c:pt idx="71237">
                  <c:v>44348</c:v>
                </c:pt>
                <c:pt idx="71238">
                  <c:v>94003</c:v>
                </c:pt>
                <c:pt idx="71239">
                  <c:v>31912</c:v>
                </c:pt>
                <c:pt idx="71240">
                  <c:v>101350</c:v>
                </c:pt>
                <c:pt idx="71241">
                  <c:v>46011</c:v>
                </c:pt>
                <c:pt idx="71242">
                  <c:v>27627</c:v>
                </c:pt>
                <c:pt idx="71243">
                  <c:v>44538</c:v>
                </c:pt>
                <c:pt idx="71244">
                  <c:v>56012</c:v>
                </c:pt>
                <c:pt idx="71245">
                  <c:v>92384</c:v>
                </c:pt>
                <c:pt idx="71246">
                  <c:v>96651</c:v>
                </c:pt>
                <c:pt idx="71247">
                  <c:v>167263</c:v>
                </c:pt>
                <c:pt idx="71248">
                  <c:v>63898</c:v>
                </c:pt>
                <c:pt idx="71249">
                  <c:v>113595</c:v>
                </c:pt>
                <c:pt idx="71250">
                  <c:v>56253</c:v>
                </c:pt>
                <c:pt idx="71251">
                  <c:v>44449</c:v>
                </c:pt>
                <c:pt idx="71252">
                  <c:v>122415</c:v>
                </c:pt>
                <c:pt idx="71253">
                  <c:v>28600</c:v>
                </c:pt>
                <c:pt idx="71254">
                  <c:v>108094</c:v>
                </c:pt>
                <c:pt idx="71255">
                  <c:v>27943</c:v>
                </c:pt>
                <c:pt idx="71256">
                  <c:v>64747</c:v>
                </c:pt>
                <c:pt idx="71257">
                  <c:v>48927</c:v>
                </c:pt>
                <c:pt idx="71258">
                  <c:v>25701</c:v>
                </c:pt>
                <c:pt idx="71259">
                  <c:v>49449</c:v>
                </c:pt>
                <c:pt idx="71260">
                  <c:v>64935</c:v>
                </c:pt>
                <c:pt idx="71261">
                  <c:v>43789</c:v>
                </c:pt>
                <c:pt idx="71262">
                  <c:v>25554</c:v>
                </c:pt>
                <c:pt idx="71263">
                  <c:v>31445</c:v>
                </c:pt>
                <c:pt idx="71264">
                  <c:v>116335</c:v>
                </c:pt>
                <c:pt idx="71265">
                  <c:v>144226</c:v>
                </c:pt>
                <c:pt idx="71266">
                  <c:v>52901</c:v>
                </c:pt>
                <c:pt idx="71267">
                  <c:v>43155</c:v>
                </c:pt>
                <c:pt idx="71268">
                  <c:v>33948</c:v>
                </c:pt>
                <c:pt idx="71269">
                  <c:v>36973</c:v>
                </c:pt>
                <c:pt idx="71270">
                  <c:v>73069</c:v>
                </c:pt>
                <c:pt idx="71271">
                  <c:v>48638</c:v>
                </c:pt>
                <c:pt idx="71272">
                  <c:v>96998</c:v>
                </c:pt>
                <c:pt idx="71273">
                  <c:v>49826</c:v>
                </c:pt>
                <c:pt idx="71274">
                  <c:v>35550</c:v>
                </c:pt>
                <c:pt idx="71275">
                  <c:v>38147</c:v>
                </c:pt>
                <c:pt idx="71276">
                  <c:v>35498</c:v>
                </c:pt>
                <c:pt idx="71277">
                  <c:v>113728</c:v>
                </c:pt>
                <c:pt idx="71278">
                  <c:v>37024</c:v>
                </c:pt>
                <c:pt idx="71279">
                  <c:v>72245</c:v>
                </c:pt>
                <c:pt idx="71280">
                  <c:v>220367</c:v>
                </c:pt>
                <c:pt idx="71281">
                  <c:v>25393</c:v>
                </c:pt>
                <c:pt idx="71282">
                  <c:v>70661</c:v>
                </c:pt>
                <c:pt idx="71283">
                  <c:v>73233</c:v>
                </c:pt>
                <c:pt idx="71284">
                  <c:v>148698</c:v>
                </c:pt>
                <c:pt idx="71285">
                  <c:v>30340</c:v>
                </c:pt>
                <c:pt idx="71286">
                  <c:v>33201</c:v>
                </c:pt>
                <c:pt idx="71287">
                  <c:v>37483</c:v>
                </c:pt>
                <c:pt idx="71288">
                  <c:v>27112</c:v>
                </c:pt>
                <c:pt idx="71289">
                  <c:v>54577</c:v>
                </c:pt>
                <c:pt idx="71290">
                  <c:v>25102</c:v>
                </c:pt>
                <c:pt idx="71291">
                  <c:v>41407</c:v>
                </c:pt>
                <c:pt idx="71292">
                  <c:v>40560</c:v>
                </c:pt>
                <c:pt idx="71293">
                  <c:v>21316</c:v>
                </c:pt>
                <c:pt idx="71294">
                  <c:v>89735</c:v>
                </c:pt>
                <c:pt idx="71295">
                  <c:v>22203</c:v>
                </c:pt>
                <c:pt idx="71296">
                  <c:v>28479</c:v>
                </c:pt>
                <c:pt idx="71297">
                  <c:v>138818</c:v>
                </c:pt>
                <c:pt idx="71298">
                  <c:v>56315</c:v>
                </c:pt>
                <c:pt idx="71299">
                  <c:v>58024</c:v>
                </c:pt>
                <c:pt idx="71300">
                  <c:v>37831</c:v>
                </c:pt>
                <c:pt idx="71301">
                  <c:v>66889</c:v>
                </c:pt>
                <c:pt idx="71302">
                  <c:v>33508</c:v>
                </c:pt>
                <c:pt idx="71303">
                  <c:v>41441</c:v>
                </c:pt>
                <c:pt idx="71304">
                  <c:v>62061</c:v>
                </c:pt>
                <c:pt idx="71305">
                  <c:v>213260</c:v>
                </c:pt>
                <c:pt idx="71306">
                  <c:v>84597</c:v>
                </c:pt>
                <c:pt idx="71307">
                  <c:v>117287</c:v>
                </c:pt>
                <c:pt idx="71308">
                  <c:v>59421</c:v>
                </c:pt>
                <c:pt idx="71309">
                  <c:v>38347</c:v>
                </c:pt>
                <c:pt idx="71310">
                  <c:v>57694</c:v>
                </c:pt>
                <c:pt idx="71311">
                  <c:v>57965</c:v>
                </c:pt>
                <c:pt idx="71312">
                  <c:v>49458</c:v>
                </c:pt>
                <c:pt idx="71313">
                  <c:v>22719</c:v>
                </c:pt>
                <c:pt idx="71314">
                  <c:v>24770</c:v>
                </c:pt>
                <c:pt idx="71315">
                  <c:v>30467</c:v>
                </c:pt>
                <c:pt idx="71316">
                  <c:v>57331</c:v>
                </c:pt>
                <c:pt idx="71317">
                  <c:v>70107</c:v>
                </c:pt>
                <c:pt idx="71318">
                  <c:v>35295</c:v>
                </c:pt>
                <c:pt idx="71319">
                  <c:v>46639</c:v>
                </c:pt>
                <c:pt idx="71320">
                  <c:v>43442</c:v>
                </c:pt>
                <c:pt idx="71321">
                  <c:v>61514</c:v>
                </c:pt>
                <c:pt idx="71322">
                  <c:v>42455</c:v>
                </c:pt>
                <c:pt idx="71323">
                  <c:v>74602</c:v>
                </c:pt>
                <c:pt idx="71324">
                  <c:v>26406</c:v>
                </c:pt>
                <c:pt idx="71325">
                  <c:v>32179</c:v>
                </c:pt>
                <c:pt idx="71326">
                  <c:v>54918</c:v>
                </c:pt>
                <c:pt idx="71327">
                  <c:v>26715</c:v>
                </c:pt>
                <c:pt idx="71328">
                  <c:v>26919</c:v>
                </c:pt>
                <c:pt idx="71329">
                  <c:v>47432</c:v>
                </c:pt>
                <c:pt idx="71330">
                  <c:v>22373</c:v>
                </c:pt>
                <c:pt idx="71331">
                  <c:v>48884</c:v>
                </c:pt>
                <c:pt idx="71332">
                  <c:v>32321</c:v>
                </c:pt>
                <c:pt idx="71333">
                  <c:v>57053</c:v>
                </c:pt>
                <c:pt idx="71334">
                  <c:v>45353</c:v>
                </c:pt>
                <c:pt idx="71335">
                  <c:v>38734</c:v>
                </c:pt>
                <c:pt idx="71336">
                  <c:v>25876</c:v>
                </c:pt>
                <c:pt idx="71337">
                  <c:v>74000</c:v>
                </c:pt>
                <c:pt idx="71338">
                  <c:v>30265</c:v>
                </c:pt>
                <c:pt idx="71339">
                  <c:v>33010</c:v>
                </c:pt>
                <c:pt idx="71340">
                  <c:v>58821</c:v>
                </c:pt>
                <c:pt idx="71341">
                  <c:v>40735</c:v>
                </c:pt>
                <c:pt idx="71342">
                  <c:v>44410</c:v>
                </c:pt>
                <c:pt idx="71343">
                  <c:v>24050</c:v>
                </c:pt>
                <c:pt idx="71344">
                  <c:v>53952</c:v>
                </c:pt>
                <c:pt idx="71345">
                  <c:v>24287</c:v>
                </c:pt>
                <c:pt idx="71346">
                  <c:v>42402</c:v>
                </c:pt>
                <c:pt idx="71347">
                  <c:v>65579</c:v>
                </c:pt>
                <c:pt idx="71348">
                  <c:v>38447</c:v>
                </c:pt>
                <c:pt idx="71349">
                  <c:v>61021</c:v>
                </c:pt>
                <c:pt idx="71350">
                  <c:v>58258</c:v>
                </c:pt>
                <c:pt idx="71351">
                  <c:v>154234</c:v>
                </c:pt>
                <c:pt idx="71352">
                  <c:v>92331</c:v>
                </c:pt>
                <c:pt idx="71353">
                  <c:v>46390</c:v>
                </c:pt>
                <c:pt idx="71354">
                  <c:v>24183</c:v>
                </c:pt>
                <c:pt idx="71355">
                  <c:v>206794</c:v>
                </c:pt>
                <c:pt idx="71356">
                  <c:v>44574</c:v>
                </c:pt>
                <c:pt idx="71357">
                  <c:v>38436</c:v>
                </c:pt>
                <c:pt idx="71358">
                  <c:v>32878</c:v>
                </c:pt>
                <c:pt idx="71359">
                  <c:v>49083</c:v>
                </c:pt>
                <c:pt idx="71360">
                  <c:v>83116</c:v>
                </c:pt>
                <c:pt idx="71361">
                  <c:v>96100</c:v>
                </c:pt>
                <c:pt idx="71362">
                  <c:v>47896</c:v>
                </c:pt>
                <c:pt idx="71363">
                  <c:v>29546</c:v>
                </c:pt>
                <c:pt idx="71364">
                  <c:v>53946</c:v>
                </c:pt>
                <c:pt idx="71365">
                  <c:v>67464</c:v>
                </c:pt>
                <c:pt idx="71366">
                  <c:v>81734</c:v>
                </c:pt>
                <c:pt idx="71367">
                  <c:v>31939</c:v>
                </c:pt>
                <c:pt idx="71368">
                  <c:v>145203</c:v>
                </c:pt>
                <c:pt idx="71369">
                  <c:v>30005</c:v>
                </c:pt>
                <c:pt idx="71370">
                  <c:v>81811</c:v>
                </c:pt>
                <c:pt idx="71371">
                  <c:v>43657</c:v>
                </c:pt>
                <c:pt idx="71372">
                  <c:v>24126</c:v>
                </c:pt>
                <c:pt idx="71373">
                  <c:v>43488</c:v>
                </c:pt>
                <c:pt idx="71374">
                  <c:v>136061</c:v>
                </c:pt>
                <c:pt idx="71375">
                  <c:v>63316</c:v>
                </c:pt>
                <c:pt idx="71376">
                  <c:v>41848</c:v>
                </c:pt>
                <c:pt idx="71377">
                  <c:v>41901</c:v>
                </c:pt>
                <c:pt idx="71378">
                  <c:v>31913</c:v>
                </c:pt>
                <c:pt idx="71379">
                  <c:v>34587</c:v>
                </c:pt>
                <c:pt idx="71380">
                  <c:v>76717</c:v>
                </c:pt>
                <c:pt idx="71381">
                  <c:v>48162</c:v>
                </c:pt>
                <c:pt idx="71382">
                  <c:v>39422</c:v>
                </c:pt>
                <c:pt idx="71383">
                  <c:v>57367</c:v>
                </c:pt>
                <c:pt idx="71384">
                  <c:v>99208</c:v>
                </c:pt>
                <c:pt idx="71385">
                  <c:v>108313</c:v>
                </c:pt>
                <c:pt idx="71386">
                  <c:v>67916</c:v>
                </c:pt>
                <c:pt idx="71387">
                  <c:v>133024</c:v>
                </c:pt>
                <c:pt idx="71388">
                  <c:v>26862</c:v>
                </c:pt>
                <c:pt idx="71389">
                  <c:v>23401</c:v>
                </c:pt>
                <c:pt idx="71390">
                  <c:v>28322</c:v>
                </c:pt>
                <c:pt idx="71391">
                  <c:v>43711</c:v>
                </c:pt>
                <c:pt idx="71392">
                  <c:v>41059</c:v>
                </c:pt>
                <c:pt idx="71393">
                  <c:v>25221</c:v>
                </c:pt>
                <c:pt idx="71394">
                  <c:v>30819</c:v>
                </c:pt>
                <c:pt idx="71395">
                  <c:v>156794</c:v>
                </c:pt>
                <c:pt idx="71396">
                  <c:v>48907</c:v>
                </c:pt>
                <c:pt idx="71397">
                  <c:v>34127</c:v>
                </c:pt>
                <c:pt idx="71398">
                  <c:v>35899</c:v>
                </c:pt>
                <c:pt idx="71399">
                  <c:v>27833</c:v>
                </c:pt>
                <c:pt idx="71400">
                  <c:v>42571</c:v>
                </c:pt>
                <c:pt idx="71401">
                  <c:v>36420</c:v>
                </c:pt>
                <c:pt idx="71402">
                  <c:v>40042</c:v>
                </c:pt>
                <c:pt idx="71403">
                  <c:v>44261</c:v>
                </c:pt>
                <c:pt idx="71404">
                  <c:v>322132</c:v>
                </c:pt>
                <c:pt idx="71405">
                  <c:v>263095</c:v>
                </c:pt>
                <c:pt idx="71406">
                  <c:v>118955</c:v>
                </c:pt>
                <c:pt idx="71407">
                  <c:v>36681</c:v>
                </c:pt>
                <c:pt idx="71408">
                  <c:v>27723</c:v>
                </c:pt>
                <c:pt idx="71409">
                  <c:v>56822</c:v>
                </c:pt>
                <c:pt idx="71410">
                  <c:v>32772</c:v>
                </c:pt>
                <c:pt idx="71411">
                  <c:v>66701</c:v>
                </c:pt>
                <c:pt idx="71412">
                  <c:v>39483</c:v>
                </c:pt>
                <c:pt idx="71413">
                  <c:v>56995</c:v>
                </c:pt>
                <c:pt idx="71414">
                  <c:v>49554</c:v>
                </c:pt>
                <c:pt idx="71415">
                  <c:v>38068</c:v>
                </c:pt>
                <c:pt idx="71416">
                  <c:v>109679</c:v>
                </c:pt>
                <c:pt idx="71417">
                  <c:v>44585</c:v>
                </c:pt>
                <c:pt idx="71418">
                  <c:v>110771</c:v>
                </c:pt>
                <c:pt idx="71419">
                  <c:v>52738</c:v>
                </c:pt>
                <c:pt idx="71420">
                  <c:v>44310</c:v>
                </c:pt>
                <c:pt idx="71421">
                  <c:v>32949</c:v>
                </c:pt>
                <c:pt idx="71422">
                  <c:v>31875</c:v>
                </c:pt>
                <c:pt idx="71423">
                  <c:v>118548</c:v>
                </c:pt>
                <c:pt idx="71424">
                  <c:v>26581</c:v>
                </c:pt>
                <c:pt idx="71425">
                  <c:v>29729</c:v>
                </c:pt>
                <c:pt idx="71426">
                  <c:v>36534</c:v>
                </c:pt>
                <c:pt idx="71427">
                  <c:v>347135</c:v>
                </c:pt>
                <c:pt idx="71428">
                  <c:v>33060</c:v>
                </c:pt>
                <c:pt idx="71429">
                  <c:v>131581</c:v>
                </c:pt>
                <c:pt idx="71430">
                  <c:v>44506</c:v>
                </c:pt>
                <c:pt idx="71431">
                  <c:v>27713</c:v>
                </c:pt>
                <c:pt idx="71432">
                  <c:v>42607</c:v>
                </c:pt>
                <c:pt idx="71433">
                  <c:v>33766</c:v>
                </c:pt>
                <c:pt idx="71434">
                  <c:v>82587</c:v>
                </c:pt>
                <c:pt idx="71435">
                  <c:v>47300</c:v>
                </c:pt>
                <c:pt idx="71436">
                  <c:v>15000</c:v>
                </c:pt>
                <c:pt idx="71437">
                  <c:v>50174</c:v>
                </c:pt>
                <c:pt idx="71438">
                  <c:v>183791</c:v>
                </c:pt>
                <c:pt idx="71439">
                  <c:v>24373</c:v>
                </c:pt>
                <c:pt idx="71440">
                  <c:v>41858</c:v>
                </c:pt>
                <c:pt idx="71441">
                  <c:v>24517</c:v>
                </c:pt>
                <c:pt idx="71442">
                  <c:v>34524</c:v>
                </c:pt>
                <c:pt idx="71443">
                  <c:v>52516</c:v>
                </c:pt>
                <c:pt idx="71444">
                  <c:v>46091</c:v>
                </c:pt>
                <c:pt idx="71445">
                  <c:v>39102</c:v>
                </c:pt>
                <c:pt idx="71446">
                  <c:v>43889</c:v>
                </c:pt>
                <c:pt idx="71447">
                  <c:v>40550</c:v>
                </c:pt>
                <c:pt idx="71448">
                  <c:v>35627</c:v>
                </c:pt>
                <c:pt idx="71449">
                  <c:v>121248</c:v>
                </c:pt>
                <c:pt idx="71450">
                  <c:v>24778</c:v>
                </c:pt>
                <c:pt idx="71451">
                  <c:v>213761</c:v>
                </c:pt>
                <c:pt idx="71452">
                  <c:v>215174</c:v>
                </c:pt>
                <c:pt idx="71453">
                  <c:v>45586</c:v>
                </c:pt>
                <c:pt idx="71454">
                  <c:v>42964</c:v>
                </c:pt>
                <c:pt idx="71455">
                  <c:v>27003</c:v>
                </c:pt>
                <c:pt idx="71456">
                  <c:v>49871</c:v>
                </c:pt>
                <c:pt idx="71457">
                  <c:v>40600</c:v>
                </c:pt>
                <c:pt idx="71458">
                  <c:v>98680</c:v>
                </c:pt>
                <c:pt idx="71459">
                  <c:v>37501</c:v>
                </c:pt>
                <c:pt idx="71460">
                  <c:v>33034</c:v>
                </c:pt>
                <c:pt idx="71461">
                  <c:v>17178</c:v>
                </c:pt>
                <c:pt idx="71462">
                  <c:v>31417</c:v>
                </c:pt>
                <c:pt idx="71463">
                  <c:v>33965</c:v>
                </c:pt>
                <c:pt idx="71464">
                  <c:v>190365</c:v>
                </c:pt>
                <c:pt idx="71465">
                  <c:v>28842</c:v>
                </c:pt>
                <c:pt idx="71466">
                  <c:v>26282</c:v>
                </c:pt>
                <c:pt idx="71467">
                  <c:v>112935</c:v>
                </c:pt>
                <c:pt idx="71468">
                  <c:v>44721</c:v>
                </c:pt>
                <c:pt idx="71469">
                  <c:v>37499</c:v>
                </c:pt>
                <c:pt idx="71470">
                  <c:v>45375</c:v>
                </c:pt>
                <c:pt idx="71471">
                  <c:v>47511</c:v>
                </c:pt>
                <c:pt idx="71472">
                  <c:v>22714</c:v>
                </c:pt>
                <c:pt idx="71473">
                  <c:v>28851</c:v>
                </c:pt>
                <c:pt idx="71474">
                  <c:v>21065</c:v>
                </c:pt>
                <c:pt idx="71475">
                  <c:v>35410</c:v>
                </c:pt>
                <c:pt idx="71476">
                  <c:v>127034</c:v>
                </c:pt>
                <c:pt idx="71477">
                  <c:v>95962</c:v>
                </c:pt>
                <c:pt idx="71478">
                  <c:v>44729</c:v>
                </c:pt>
                <c:pt idx="71479">
                  <c:v>38523</c:v>
                </c:pt>
                <c:pt idx="71480">
                  <c:v>21676</c:v>
                </c:pt>
                <c:pt idx="71481">
                  <c:v>39111</c:v>
                </c:pt>
                <c:pt idx="71482">
                  <c:v>36594</c:v>
                </c:pt>
                <c:pt idx="71483">
                  <c:v>182469</c:v>
                </c:pt>
                <c:pt idx="71484">
                  <c:v>50749</c:v>
                </c:pt>
                <c:pt idx="71485">
                  <c:v>198268</c:v>
                </c:pt>
                <c:pt idx="71486">
                  <c:v>36544</c:v>
                </c:pt>
                <c:pt idx="71487">
                  <c:v>313170</c:v>
                </c:pt>
                <c:pt idx="71488">
                  <c:v>33008</c:v>
                </c:pt>
                <c:pt idx="71489">
                  <c:v>71893</c:v>
                </c:pt>
                <c:pt idx="71490">
                  <c:v>30007</c:v>
                </c:pt>
                <c:pt idx="71491">
                  <c:v>51526</c:v>
                </c:pt>
                <c:pt idx="71492">
                  <c:v>26079</c:v>
                </c:pt>
                <c:pt idx="71493">
                  <c:v>66909</c:v>
                </c:pt>
                <c:pt idx="71494">
                  <c:v>67335</c:v>
                </c:pt>
                <c:pt idx="71495">
                  <c:v>24413</c:v>
                </c:pt>
                <c:pt idx="71496">
                  <c:v>39285</c:v>
                </c:pt>
                <c:pt idx="71497">
                  <c:v>30270</c:v>
                </c:pt>
                <c:pt idx="71498">
                  <c:v>29167</c:v>
                </c:pt>
                <c:pt idx="71499">
                  <c:v>68940</c:v>
                </c:pt>
                <c:pt idx="71500">
                  <c:v>31280</c:v>
                </c:pt>
                <c:pt idx="71501">
                  <c:v>112035</c:v>
                </c:pt>
                <c:pt idx="71502">
                  <c:v>34127</c:v>
                </c:pt>
                <c:pt idx="71503">
                  <c:v>36900</c:v>
                </c:pt>
                <c:pt idx="71504">
                  <c:v>45686</c:v>
                </c:pt>
                <c:pt idx="71505">
                  <c:v>25918</c:v>
                </c:pt>
                <c:pt idx="71506">
                  <c:v>58170</c:v>
                </c:pt>
                <c:pt idx="71507">
                  <c:v>45268</c:v>
                </c:pt>
                <c:pt idx="71508">
                  <c:v>36896</c:v>
                </c:pt>
                <c:pt idx="71509">
                  <c:v>42428</c:v>
                </c:pt>
                <c:pt idx="71510">
                  <c:v>136145</c:v>
                </c:pt>
                <c:pt idx="71511">
                  <c:v>81258</c:v>
                </c:pt>
                <c:pt idx="71512">
                  <c:v>143366</c:v>
                </c:pt>
                <c:pt idx="71513">
                  <c:v>38168</c:v>
                </c:pt>
                <c:pt idx="71514">
                  <c:v>42705</c:v>
                </c:pt>
                <c:pt idx="71515">
                  <c:v>34695</c:v>
                </c:pt>
                <c:pt idx="71516">
                  <c:v>53418</c:v>
                </c:pt>
                <c:pt idx="71517">
                  <c:v>24342</c:v>
                </c:pt>
                <c:pt idx="71518">
                  <c:v>37713</c:v>
                </c:pt>
                <c:pt idx="71519">
                  <c:v>20495</c:v>
                </c:pt>
                <c:pt idx="71520">
                  <c:v>50040</c:v>
                </c:pt>
                <c:pt idx="71521">
                  <c:v>266591</c:v>
                </c:pt>
                <c:pt idx="71522">
                  <c:v>44685</c:v>
                </c:pt>
                <c:pt idx="71523">
                  <c:v>36555</c:v>
                </c:pt>
                <c:pt idx="71524">
                  <c:v>49455</c:v>
                </c:pt>
                <c:pt idx="71525">
                  <c:v>50476</c:v>
                </c:pt>
                <c:pt idx="71526">
                  <c:v>51241</c:v>
                </c:pt>
                <c:pt idx="71527">
                  <c:v>24556</c:v>
                </c:pt>
                <c:pt idx="71528">
                  <c:v>22911</c:v>
                </c:pt>
                <c:pt idx="71529">
                  <c:v>42055</c:v>
                </c:pt>
                <c:pt idx="71530">
                  <c:v>48255</c:v>
                </c:pt>
                <c:pt idx="71531">
                  <c:v>65621</c:v>
                </c:pt>
                <c:pt idx="71532">
                  <c:v>38064</c:v>
                </c:pt>
                <c:pt idx="71533">
                  <c:v>65632</c:v>
                </c:pt>
                <c:pt idx="71534">
                  <c:v>94679</c:v>
                </c:pt>
                <c:pt idx="71535">
                  <c:v>58867</c:v>
                </c:pt>
                <c:pt idx="71536">
                  <c:v>85934</c:v>
                </c:pt>
                <c:pt idx="71537">
                  <c:v>31462</c:v>
                </c:pt>
                <c:pt idx="71538">
                  <c:v>24662</c:v>
                </c:pt>
                <c:pt idx="71539">
                  <c:v>53543</c:v>
                </c:pt>
                <c:pt idx="71540">
                  <c:v>25578</c:v>
                </c:pt>
                <c:pt idx="71541">
                  <c:v>25058</c:v>
                </c:pt>
                <c:pt idx="71542">
                  <c:v>28041</c:v>
                </c:pt>
                <c:pt idx="71543">
                  <c:v>67838</c:v>
                </c:pt>
                <c:pt idx="71544">
                  <c:v>81627</c:v>
                </c:pt>
                <c:pt idx="71545">
                  <c:v>84770</c:v>
                </c:pt>
                <c:pt idx="71546">
                  <c:v>40707</c:v>
                </c:pt>
                <c:pt idx="71547">
                  <c:v>315021</c:v>
                </c:pt>
                <c:pt idx="71548">
                  <c:v>31183</c:v>
                </c:pt>
                <c:pt idx="71549">
                  <c:v>70270</c:v>
                </c:pt>
                <c:pt idx="71550">
                  <c:v>39968</c:v>
                </c:pt>
                <c:pt idx="71551">
                  <c:v>34164</c:v>
                </c:pt>
                <c:pt idx="71552">
                  <c:v>25849</c:v>
                </c:pt>
                <c:pt idx="71553">
                  <c:v>104733</c:v>
                </c:pt>
                <c:pt idx="71554">
                  <c:v>25280</c:v>
                </c:pt>
                <c:pt idx="71555">
                  <c:v>55975</c:v>
                </c:pt>
                <c:pt idx="71556">
                  <c:v>73822</c:v>
                </c:pt>
                <c:pt idx="71557">
                  <c:v>36697</c:v>
                </c:pt>
                <c:pt idx="71558">
                  <c:v>31622</c:v>
                </c:pt>
                <c:pt idx="71559">
                  <c:v>43178</c:v>
                </c:pt>
                <c:pt idx="71560">
                  <c:v>170907</c:v>
                </c:pt>
                <c:pt idx="71561">
                  <c:v>47440</c:v>
                </c:pt>
                <c:pt idx="71562">
                  <c:v>103263</c:v>
                </c:pt>
                <c:pt idx="71563">
                  <c:v>43897</c:v>
                </c:pt>
                <c:pt idx="71564">
                  <c:v>29244</c:v>
                </c:pt>
                <c:pt idx="71565">
                  <c:v>43500</c:v>
                </c:pt>
                <c:pt idx="71566">
                  <c:v>64702</c:v>
                </c:pt>
                <c:pt idx="71567">
                  <c:v>65645</c:v>
                </c:pt>
                <c:pt idx="71568">
                  <c:v>34626</c:v>
                </c:pt>
                <c:pt idx="71569">
                  <c:v>38825</c:v>
                </c:pt>
                <c:pt idx="71570">
                  <c:v>38435</c:v>
                </c:pt>
                <c:pt idx="71571">
                  <c:v>104977</c:v>
                </c:pt>
                <c:pt idx="71572">
                  <c:v>160683</c:v>
                </c:pt>
                <c:pt idx="71573">
                  <c:v>33522</c:v>
                </c:pt>
                <c:pt idx="71574">
                  <c:v>95192</c:v>
                </c:pt>
                <c:pt idx="71575">
                  <c:v>37973</c:v>
                </c:pt>
                <c:pt idx="71576">
                  <c:v>24829</c:v>
                </c:pt>
                <c:pt idx="71577">
                  <c:v>102855</c:v>
                </c:pt>
                <c:pt idx="71578">
                  <c:v>44847</c:v>
                </c:pt>
                <c:pt idx="71579">
                  <c:v>32090</c:v>
                </c:pt>
                <c:pt idx="71580">
                  <c:v>43666</c:v>
                </c:pt>
                <c:pt idx="71581">
                  <c:v>41425</c:v>
                </c:pt>
                <c:pt idx="71582">
                  <c:v>21441</c:v>
                </c:pt>
                <c:pt idx="71583">
                  <c:v>73059</c:v>
                </c:pt>
                <c:pt idx="71584">
                  <c:v>26738</c:v>
                </c:pt>
                <c:pt idx="71585">
                  <c:v>24454</c:v>
                </c:pt>
                <c:pt idx="71586">
                  <c:v>30682</c:v>
                </c:pt>
                <c:pt idx="71587">
                  <c:v>79977</c:v>
                </c:pt>
                <c:pt idx="71588">
                  <c:v>24772</c:v>
                </c:pt>
                <c:pt idx="71589">
                  <c:v>35837</c:v>
                </c:pt>
                <c:pt idx="71590">
                  <c:v>39496</c:v>
                </c:pt>
                <c:pt idx="71591">
                  <c:v>38336</c:v>
                </c:pt>
                <c:pt idx="71592">
                  <c:v>125544</c:v>
                </c:pt>
                <c:pt idx="71593">
                  <c:v>47820</c:v>
                </c:pt>
                <c:pt idx="71594">
                  <c:v>25670</c:v>
                </c:pt>
                <c:pt idx="71595">
                  <c:v>28201</c:v>
                </c:pt>
                <c:pt idx="71596">
                  <c:v>83064</c:v>
                </c:pt>
                <c:pt idx="71597">
                  <c:v>37386</c:v>
                </c:pt>
                <c:pt idx="71598">
                  <c:v>45431</c:v>
                </c:pt>
                <c:pt idx="71599">
                  <c:v>27893</c:v>
                </c:pt>
                <c:pt idx="71600">
                  <c:v>85541</c:v>
                </c:pt>
                <c:pt idx="71601">
                  <c:v>20012</c:v>
                </c:pt>
                <c:pt idx="71602">
                  <c:v>31422</c:v>
                </c:pt>
                <c:pt idx="71603">
                  <c:v>40944</c:v>
                </c:pt>
                <c:pt idx="71604">
                  <c:v>39929</c:v>
                </c:pt>
                <c:pt idx="71605">
                  <c:v>41638</c:v>
                </c:pt>
                <c:pt idx="71606">
                  <c:v>28966</c:v>
                </c:pt>
                <c:pt idx="71607">
                  <c:v>99494</c:v>
                </c:pt>
                <c:pt idx="71608">
                  <c:v>41199</c:v>
                </c:pt>
                <c:pt idx="71609">
                  <c:v>39789</c:v>
                </c:pt>
                <c:pt idx="71610">
                  <c:v>88916</c:v>
                </c:pt>
                <c:pt idx="71611">
                  <c:v>59634</c:v>
                </c:pt>
                <c:pt idx="71612">
                  <c:v>65520</c:v>
                </c:pt>
                <c:pt idx="71613">
                  <c:v>35860</c:v>
                </c:pt>
                <c:pt idx="71614">
                  <c:v>40477</c:v>
                </c:pt>
                <c:pt idx="71615">
                  <c:v>43286</c:v>
                </c:pt>
                <c:pt idx="71616">
                  <c:v>51281</c:v>
                </c:pt>
                <c:pt idx="71617">
                  <c:v>64218</c:v>
                </c:pt>
                <c:pt idx="71618">
                  <c:v>40722</c:v>
                </c:pt>
                <c:pt idx="71619">
                  <c:v>33662</c:v>
                </c:pt>
                <c:pt idx="71620">
                  <c:v>25919</c:v>
                </c:pt>
                <c:pt idx="71621">
                  <c:v>47920</c:v>
                </c:pt>
                <c:pt idx="71622">
                  <c:v>37008</c:v>
                </c:pt>
                <c:pt idx="71623">
                  <c:v>26096</c:v>
                </c:pt>
                <c:pt idx="71624">
                  <c:v>174295</c:v>
                </c:pt>
                <c:pt idx="71625">
                  <c:v>242737</c:v>
                </c:pt>
                <c:pt idx="71626">
                  <c:v>23070</c:v>
                </c:pt>
                <c:pt idx="71627">
                  <c:v>81571</c:v>
                </c:pt>
                <c:pt idx="71628">
                  <c:v>51112</c:v>
                </c:pt>
                <c:pt idx="71629">
                  <c:v>39938</c:v>
                </c:pt>
                <c:pt idx="71630">
                  <c:v>53960</c:v>
                </c:pt>
                <c:pt idx="71631">
                  <c:v>58617</c:v>
                </c:pt>
                <c:pt idx="71632">
                  <c:v>34318</c:v>
                </c:pt>
                <c:pt idx="71633">
                  <c:v>36660</c:v>
                </c:pt>
                <c:pt idx="71634">
                  <c:v>70043</c:v>
                </c:pt>
                <c:pt idx="71635">
                  <c:v>25138</c:v>
                </c:pt>
                <c:pt idx="71636">
                  <c:v>141378</c:v>
                </c:pt>
                <c:pt idx="71637">
                  <c:v>33362</c:v>
                </c:pt>
                <c:pt idx="71638">
                  <c:v>26764</c:v>
                </c:pt>
                <c:pt idx="71639">
                  <c:v>44399</c:v>
                </c:pt>
                <c:pt idx="71640">
                  <c:v>31333</c:v>
                </c:pt>
                <c:pt idx="71641">
                  <c:v>44249</c:v>
                </c:pt>
                <c:pt idx="71642">
                  <c:v>43097</c:v>
                </c:pt>
                <c:pt idx="71643">
                  <c:v>37216</c:v>
                </c:pt>
                <c:pt idx="71644">
                  <c:v>41326</c:v>
                </c:pt>
                <c:pt idx="71645">
                  <c:v>23003</c:v>
                </c:pt>
                <c:pt idx="71646">
                  <c:v>83009</c:v>
                </c:pt>
                <c:pt idx="71647">
                  <c:v>38099</c:v>
                </c:pt>
                <c:pt idx="71648">
                  <c:v>59841</c:v>
                </c:pt>
                <c:pt idx="71649">
                  <c:v>41263</c:v>
                </c:pt>
                <c:pt idx="71650">
                  <c:v>17851</c:v>
                </c:pt>
                <c:pt idx="71651">
                  <c:v>41809</c:v>
                </c:pt>
                <c:pt idx="71652">
                  <c:v>38044</c:v>
                </c:pt>
                <c:pt idx="71653">
                  <c:v>30837</c:v>
                </c:pt>
                <c:pt idx="71654">
                  <c:v>90896</c:v>
                </c:pt>
                <c:pt idx="71655">
                  <c:v>253874</c:v>
                </c:pt>
                <c:pt idx="71656">
                  <c:v>36663</c:v>
                </c:pt>
                <c:pt idx="71657">
                  <c:v>32250</c:v>
                </c:pt>
                <c:pt idx="71658">
                  <c:v>24983</c:v>
                </c:pt>
                <c:pt idx="71659">
                  <c:v>29273</c:v>
                </c:pt>
                <c:pt idx="71660">
                  <c:v>23346</c:v>
                </c:pt>
                <c:pt idx="71661">
                  <c:v>80387</c:v>
                </c:pt>
                <c:pt idx="71662">
                  <c:v>29230</c:v>
                </c:pt>
                <c:pt idx="71663">
                  <c:v>29502</c:v>
                </c:pt>
                <c:pt idx="71664">
                  <c:v>67575</c:v>
                </c:pt>
                <c:pt idx="71665">
                  <c:v>32702</c:v>
                </c:pt>
                <c:pt idx="71666">
                  <c:v>49391</c:v>
                </c:pt>
                <c:pt idx="71667">
                  <c:v>52784</c:v>
                </c:pt>
                <c:pt idx="71668">
                  <c:v>52523</c:v>
                </c:pt>
                <c:pt idx="71669">
                  <c:v>31386</c:v>
                </c:pt>
                <c:pt idx="71670">
                  <c:v>33571</c:v>
                </c:pt>
                <c:pt idx="71671">
                  <c:v>24265</c:v>
                </c:pt>
                <c:pt idx="71672">
                  <c:v>89757</c:v>
                </c:pt>
                <c:pt idx="71673">
                  <c:v>199322</c:v>
                </c:pt>
                <c:pt idx="71674">
                  <c:v>20505</c:v>
                </c:pt>
                <c:pt idx="71675">
                  <c:v>102868</c:v>
                </c:pt>
                <c:pt idx="71676">
                  <c:v>36987</c:v>
                </c:pt>
                <c:pt idx="71677">
                  <c:v>204756</c:v>
                </c:pt>
                <c:pt idx="71678">
                  <c:v>33042</c:v>
                </c:pt>
                <c:pt idx="71679">
                  <c:v>26728</c:v>
                </c:pt>
                <c:pt idx="71680">
                  <c:v>38254</c:v>
                </c:pt>
                <c:pt idx="71681">
                  <c:v>30098</c:v>
                </c:pt>
                <c:pt idx="71682">
                  <c:v>50198</c:v>
                </c:pt>
                <c:pt idx="71683">
                  <c:v>40612</c:v>
                </c:pt>
                <c:pt idx="71684">
                  <c:v>51088</c:v>
                </c:pt>
                <c:pt idx="71685">
                  <c:v>28861</c:v>
                </c:pt>
                <c:pt idx="71686">
                  <c:v>32398</c:v>
                </c:pt>
                <c:pt idx="71687">
                  <c:v>46400</c:v>
                </c:pt>
                <c:pt idx="71688">
                  <c:v>24742</c:v>
                </c:pt>
                <c:pt idx="71689">
                  <c:v>29607</c:v>
                </c:pt>
                <c:pt idx="71690">
                  <c:v>123911</c:v>
                </c:pt>
                <c:pt idx="71691">
                  <c:v>120460</c:v>
                </c:pt>
                <c:pt idx="71692">
                  <c:v>45441</c:v>
                </c:pt>
                <c:pt idx="71693">
                  <c:v>31141</c:v>
                </c:pt>
                <c:pt idx="71694">
                  <c:v>62909</c:v>
                </c:pt>
                <c:pt idx="71695">
                  <c:v>67256</c:v>
                </c:pt>
                <c:pt idx="71696">
                  <c:v>32626</c:v>
                </c:pt>
                <c:pt idx="71697">
                  <c:v>79379</c:v>
                </c:pt>
                <c:pt idx="71698">
                  <c:v>48169</c:v>
                </c:pt>
                <c:pt idx="71699">
                  <c:v>41100</c:v>
                </c:pt>
                <c:pt idx="71700">
                  <c:v>36437</c:v>
                </c:pt>
                <c:pt idx="71701">
                  <c:v>69710</c:v>
                </c:pt>
                <c:pt idx="71702">
                  <c:v>91857</c:v>
                </c:pt>
                <c:pt idx="71703">
                  <c:v>38662</c:v>
                </c:pt>
                <c:pt idx="71704">
                  <c:v>37207</c:v>
                </c:pt>
                <c:pt idx="71705">
                  <c:v>75596</c:v>
                </c:pt>
                <c:pt idx="71706">
                  <c:v>23945</c:v>
                </c:pt>
                <c:pt idx="71707">
                  <c:v>39158</c:v>
                </c:pt>
                <c:pt idx="71708">
                  <c:v>37102</c:v>
                </c:pt>
                <c:pt idx="71709">
                  <c:v>83071</c:v>
                </c:pt>
                <c:pt idx="71710">
                  <c:v>35809</c:v>
                </c:pt>
                <c:pt idx="71711">
                  <c:v>90304</c:v>
                </c:pt>
                <c:pt idx="71712">
                  <c:v>115892</c:v>
                </c:pt>
                <c:pt idx="71713">
                  <c:v>38614</c:v>
                </c:pt>
                <c:pt idx="71714">
                  <c:v>89963</c:v>
                </c:pt>
                <c:pt idx="71715">
                  <c:v>73866</c:v>
                </c:pt>
                <c:pt idx="71716">
                  <c:v>21799</c:v>
                </c:pt>
                <c:pt idx="71717">
                  <c:v>65248</c:v>
                </c:pt>
                <c:pt idx="71718">
                  <c:v>35618</c:v>
                </c:pt>
                <c:pt idx="71719">
                  <c:v>30735</c:v>
                </c:pt>
                <c:pt idx="71720">
                  <c:v>61372</c:v>
                </c:pt>
                <c:pt idx="71721">
                  <c:v>50750</c:v>
                </c:pt>
                <c:pt idx="71722">
                  <c:v>24897</c:v>
                </c:pt>
                <c:pt idx="71723">
                  <c:v>32080</c:v>
                </c:pt>
                <c:pt idx="71724">
                  <c:v>199918</c:v>
                </c:pt>
                <c:pt idx="71725">
                  <c:v>62047</c:v>
                </c:pt>
                <c:pt idx="71726">
                  <c:v>54210</c:v>
                </c:pt>
                <c:pt idx="71727">
                  <c:v>24675</c:v>
                </c:pt>
                <c:pt idx="71728">
                  <c:v>58091</c:v>
                </c:pt>
                <c:pt idx="71729">
                  <c:v>42374</c:v>
                </c:pt>
                <c:pt idx="71730">
                  <c:v>42728</c:v>
                </c:pt>
                <c:pt idx="71731">
                  <c:v>76519</c:v>
                </c:pt>
                <c:pt idx="71732">
                  <c:v>52247</c:v>
                </c:pt>
                <c:pt idx="71733">
                  <c:v>39406</c:v>
                </c:pt>
                <c:pt idx="71734">
                  <c:v>77143</c:v>
                </c:pt>
                <c:pt idx="71735">
                  <c:v>357367</c:v>
                </c:pt>
                <c:pt idx="71736">
                  <c:v>118867</c:v>
                </c:pt>
                <c:pt idx="71737">
                  <c:v>43025</c:v>
                </c:pt>
                <c:pt idx="71738">
                  <c:v>29082</c:v>
                </c:pt>
                <c:pt idx="71739">
                  <c:v>43485</c:v>
                </c:pt>
                <c:pt idx="71740">
                  <c:v>128057</c:v>
                </c:pt>
                <c:pt idx="71741">
                  <c:v>150196</c:v>
                </c:pt>
                <c:pt idx="71742">
                  <c:v>31326</c:v>
                </c:pt>
                <c:pt idx="71743">
                  <c:v>40572</c:v>
                </c:pt>
                <c:pt idx="71744">
                  <c:v>34836</c:v>
                </c:pt>
                <c:pt idx="71745">
                  <c:v>38299</c:v>
                </c:pt>
                <c:pt idx="71746">
                  <c:v>39943</c:v>
                </c:pt>
                <c:pt idx="71747">
                  <c:v>21425</c:v>
                </c:pt>
                <c:pt idx="71748">
                  <c:v>26714</c:v>
                </c:pt>
                <c:pt idx="71749">
                  <c:v>36262</c:v>
                </c:pt>
                <c:pt idx="71750">
                  <c:v>51110</c:v>
                </c:pt>
                <c:pt idx="71751">
                  <c:v>101645</c:v>
                </c:pt>
                <c:pt idx="71752">
                  <c:v>53663</c:v>
                </c:pt>
                <c:pt idx="71753">
                  <c:v>28833</c:v>
                </c:pt>
                <c:pt idx="71754">
                  <c:v>92162</c:v>
                </c:pt>
                <c:pt idx="71755">
                  <c:v>48509</c:v>
                </c:pt>
                <c:pt idx="71756">
                  <c:v>35083</c:v>
                </c:pt>
                <c:pt idx="71757">
                  <c:v>67479</c:v>
                </c:pt>
                <c:pt idx="71758">
                  <c:v>225192</c:v>
                </c:pt>
                <c:pt idx="71759">
                  <c:v>41160</c:v>
                </c:pt>
                <c:pt idx="71760">
                  <c:v>52008</c:v>
                </c:pt>
                <c:pt idx="71761">
                  <c:v>26813</c:v>
                </c:pt>
                <c:pt idx="71762">
                  <c:v>82683</c:v>
                </c:pt>
                <c:pt idx="71763">
                  <c:v>125093</c:v>
                </c:pt>
                <c:pt idx="71764">
                  <c:v>24402</c:v>
                </c:pt>
                <c:pt idx="71765">
                  <c:v>86450</c:v>
                </c:pt>
                <c:pt idx="71766">
                  <c:v>102473</c:v>
                </c:pt>
                <c:pt idx="71767">
                  <c:v>45294</c:v>
                </c:pt>
                <c:pt idx="71768">
                  <c:v>44700</c:v>
                </c:pt>
                <c:pt idx="71769">
                  <c:v>39847</c:v>
                </c:pt>
                <c:pt idx="71770">
                  <c:v>63671</c:v>
                </c:pt>
                <c:pt idx="71771">
                  <c:v>25747</c:v>
                </c:pt>
                <c:pt idx="71772">
                  <c:v>37076</c:v>
                </c:pt>
                <c:pt idx="71773">
                  <c:v>249363</c:v>
                </c:pt>
                <c:pt idx="71774">
                  <c:v>58602</c:v>
                </c:pt>
                <c:pt idx="71775">
                  <c:v>47428</c:v>
                </c:pt>
                <c:pt idx="71776">
                  <c:v>31610</c:v>
                </c:pt>
                <c:pt idx="71777">
                  <c:v>77816</c:v>
                </c:pt>
                <c:pt idx="71778">
                  <c:v>43959</c:v>
                </c:pt>
                <c:pt idx="71779">
                  <c:v>30997</c:v>
                </c:pt>
                <c:pt idx="71780">
                  <c:v>23203</c:v>
                </c:pt>
                <c:pt idx="71781">
                  <c:v>160726</c:v>
                </c:pt>
                <c:pt idx="71782">
                  <c:v>29395</c:v>
                </c:pt>
                <c:pt idx="71783">
                  <c:v>26139</c:v>
                </c:pt>
                <c:pt idx="71784">
                  <c:v>31463</c:v>
                </c:pt>
                <c:pt idx="71785">
                  <c:v>32688</c:v>
                </c:pt>
                <c:pt idx="71786">
                  <c:v>35633</c:v>
                </c:pt>
                <c:pt idx="71787">
                  <c:v>65856</c:v>
                </c:pt>
                <c:pt idx="71788">
                  <c:v>77632</c:v>
                </c:pt>
                <c:pt idx="71789">
                  <c:v>39737</c:v>
                </c:pt>
                <c:pt idx="71790">
                  <c:v>58087</c:v>
                </c:pt>
                <c:pt idx="71791">
                  <c:v>26660</c:v>
                </c:pt>
                <c:pt idx="71792">
                  <c:v>35564</c:v>
                </c:pt>
                <c:pt idx="71793">
                  <c:v>28394</c:v>
                </c:pt>
                <c:pt idx="71794">
                  <c:v>67538</c:v>
                </c:pt>
                <c:pt idx="71795">
                  <c:v>27700</c:v>
                </c:pt>
                <c:pt idx="71796">
                  <c:v>40215</c:v>
                </c:pt>
                <c:pt idx="71797">
                  <c:v>44955</c:v>
                </c:pt>
                <c:pt idx="71798">
                  <c:v>24659</c:v>
                </c:pt>
                <c:pt idx="71799">
                  <c:v>34626</c:v>
                </c:pt>
                <c:pt idx="71800">
                  <c:v>67812</c:v>
                </c:pt>
                <c:pt idx="71801">
                  <c:v>81463</c:v>
                </c:pt>
                <c:pt idx="71802">
                  <c:v>299207</c:v>
                </c:pt>
                <c:pt idx="71803">
                  <c:v>51401</c:v>
                </c:pt>
                <c:pt idx="71804">
                  <c:v>61649</c:v>
                </c:pt>
                <c:pt idx="71805">
                  <c:v>50865</c:v>
                </c:pt>
                <c:pt idx="71806">
                  <c:v>27498</c:v>
                </c:pt>
                <c:pt idx="71807">
                  <c:v>118359</c:v>
                </c:pt>
                <c:pt idx="71808">
                  <c:v>60502</c:v>
                </c:pt>
                <c:pt idx="71809">
                  <c:v>59533</c:v>
                </c:pt>
                <c:pt idx="71810">
                  <c:v>175080</c:v>
                </c:pt>
                <c:pt idx="71811">
                  <c:v>21557</c:v>
                </c:pt>
                <c:pt idx="71812">
                  <c:v>27060</c:v>
                </c:pt>
                <c:pt idx="71813">
                  <c:v>160733</c:v>
                </c:pt>
                <c:pt idx="71814">
                  <c:v>195103</c:v>
                </c:pt>
                <c:pt idx="71815">
                  <c:v>148623</c:v>
                </c:pt>
                <c:pt idx="71816">
                  <c:v>37037</c:v>
                </c:pt>
                <c:pt idx="71817">
                  <c:v>43423</c:v>
                </c:pt>
                <c:pt idx="71818">
                  <c:v>164123</c:v>
                </c:pt>
                <c:pt idx="71819">
                  <c:v>51922</c:v>
                </c:pt>
                <c:pt idx="71820">
                  <c:v>54703</c:v>
                </c:pt>
                <c:pt idx="71821">
                  <c:v>33763</c:v>
                </c:pt>
                <c:pt idx="71822">
                  <c:v>41638</c:v>
                </c:pt>
                <c:pt idx="71823">
                  <c:v>38746</c:v>
                </c:pt>
                <c:pt idx="71824">
                  <c:v>30565</c:v>
                </c:pt>
                <c:pt idx="71825">
                  <c:v>38938</c:v>
                </c:pt>
                <c:pt idx="71826">
                  <c:v>110248</c:v>
                </c:pt>
                <c:pt idx="71827">
                  <c:v>24773</c:v>
                </c:pt>
                <c:pt idx="71828">
                  <c:v>23639</c:v>
                </c:pt>
                <c:pt idx="71829">
                  <c:v>52395</c:v>
                </c:pt>
                <c:pt idx="71830">
                  <c:v>34291</c:v>
                </c:pt>
                <c:pt idx="71831">
                  <c:v>31213</c:v>
                </c:pt>
                <c:pt idx="71832">
                  <c:v>27764</c:v>
                </c:pt>
                <c:pt idx="71833">
                  <c:v>27632</c:v>
                </c:pt>
                <c:pt idx="71834">
                  <c:v>37222</c:v>
                </c:pt>
                <c:pt idx="71835">
                  <c:v>92457</c:v>
                </c:pt>
                <c:pt idx="71836">
                  <c:v>36187</c:v>
                </c:pt>
                <c:pt idx="71837">
                  <c:v>160285</c:v>
                </c:pt>
                <c:pt idx="71838">
                  <c:v>25522</c:v>
                </c:pt>
                <c:pt idx="71839">
                  <c:v>68330</c:v>
                </c:pt>
                <c:pt idx="71840">
                  <c:v>70117</c:v>
                </c:pt>
                <c:pt idx="71841">
                  <c:v>40348</c:v>
                </c:pt>
                <c:pt idx="71842">
                  <c:v>132439</c:v>
                </c:pt>
                <c:pt idx="71843">
                  <c:v>104978</c:v>
                </c:pt>
                <c:pt idx="71844">
                  <c:v>47752</c:v>
                </c:pt>
                <c:pt idx="71845">
                  <c:v>77567</c:v>
                </c:pt>
                <c:pt idx="71846">
                  <c:v>66534</c:v>
                </c:pt>
                <c:pt idx="71847">
                  <c:v>62813</c:v>
                </c:pt>
                <c:pt idx="71848">
                  <c:v>61182</c:v>
                </c:pt>
                <c:pt idx="71849">
                  <c:v>106219</c:v>
                </c:pt>
                <c:pt idx="71850">
                  <c:v>34686</c:v>
                </c:pt>
                <c:pt idx="71851">
                  <c:v>37335</c:v>
                </c:pt>
                <c:pt idx="71852">
                  <c:v>24137</c:v>
                </c:pt>
                <c:pt idx="71853">
                  <c:v>135389</c:v>
                </c:pt>
                <c:pt idx="71854">
                  <c:v>34275</c:v>
                </c:pt>
                <c:pt idx="71855">
                  <c:v>38137</c:v>
                </c:pt>
                <c:pt idx="71856">
                  <c:v>41521</c:v>
                </c:pt>
                <c:pt idx="71857">
                  <c:v>54508</c:v>
                </c:pt>
                <c:pt idx="71858">
                  <c:v>49384</c:v>
                </c:pt>
                <c:pt idx="71859">
                  <c:v>31657</c:v>
                </c:pt>
                <c:pt idx="71860">
                  <c:v>40030</c:v>
                </c:pt>
                <c:pt idx="71861">
                  <c:v>69322</c:v>
                </c:pt>
                <c:pt idx="71862">
                  <c:v>30027</c:v>
                </c:pt>
                <c:pt idx="71863">
                  <c:v>71966</c:v>
                </c:pt>
                <c:pt idx="71864">
                  <c:v>31571</c:v>
                </c:pt>
                <c:pt idx="71865">
                  <c:v>184394</c:v>
                </c:pt>
                <c:pt idx="71866">
                  <c:v>129481</c:v>
                </c:pt>
                <c:pt idx="71867">
                  <c:v>24141</c:v>
                </c:pt>
                <c:pt idx="71868">
                  <c:v>44903</c:v>
                </c:pt>
                <c:pt idx="71869">
                  <c:v>43941</c:v>
                </c:pt>
                <c:pt idx="71870">
                  <c:v>87029</c:v>
                </c:pt>
                <c:pt idx="71871">
                  <c:v>117243</c:v>
                </c:pt>
                <c:pt idx="71872">
                  <c:v>22741</c:v>
                </c:pt>
                <c:pt idx="71873">
                  <c:v>92556</c:v>
                </c:pt>
                <c:pt idx="71874">
                  <c:v>117321</c:v>
                </c:pt>
                <c:pt idx="71875">
                  <c:v>30710</c:v>
                </c:pt>
                <c:pt idx="71876">
                  <c:v>65723</c:v>
                </c:pt>
                <c:pt idx="71877">
                  <c:v>42968</c:v>
                </c:pt>
                <c:pt idx="71878">
                  <c:v>342840</c:v>
                </c:pt>
                <c:pt idx="71879">
                  <c:v>21536</c:v>
                </c:pt>
                <c:pt idx="71880">
                  <c:v>152946</c:v>
                </c:pt>
                <c:pt idx="71881">
                  <c:v>28850</c:v>
                </c:pt>
                <c:pt idx="71882">
                  <c:v>45318</c:v>
                </c:pt>
                <c:pt idx="71883">
                  <c:v>197042</c:v>
                </c:pt>
                <c:pt idx="71884">
                  <c:v>48459</c:v>
                </c:pt>
                <c:pt idx="71885">
                  <c:v>102977</c:v>
                </c:pt>
                <c:pt idx="71886">
                  <c:v>26893</c:v>
                </c:pt>
                <c:pt idx="71887">
                  <c:v>57263</c:v>
                </c:pt>
                <c:pt idx="71888">
                  <c:v>63317</c:v>
                </c:pt>
                <c:pt idx="71889">
                  <c:v>79616</c:v>
                </c:pt>
                <c:pt idx="71890">
                  <c:v>26244</c:v>
                </c:pt>
                <c:pt idx="71891">
                  <c:v>43285</c:v>
                </c:pt>
                <c:pt idx="71892">
                  <c:v>90415</c:v>
                </c:pt>
                <c:pt idx="71893">
                  <c:v>36267</c:v>
                </c:pt>
                <c:pt idx="71894">
                  <c:v>22033</c:v>
                </c:pt>
                <c:pt idx="71895">
                  <c:v>25574</c:v>
                </c:pt>
                <c:pt idx="71896">
                  <c:v>33170</c:v>
                </c:pt>
                <c:pt idx="71897">
                  <c:v>28696</c:v>
                </c:pt>
                <c:pt idx="71898">
                  <c:v>60801</c:v>
                </c:pt>
                <c:pt idx="71899">
                  <c:v>58527</c:v>
                </c:pt>
                <c:pt idx="71900">
                  <c:v>33363</c:v>
                </c:pt>
                <c:pt idx="71901">
                  <c:v>21525</c:v>
                </c:pt>
                <c:pt idx="71902">
                  <c:v>27004</c:v>
                </c:pt>
                <c:pt idx="71903">
                  <c:v>52929</c:v>
                </c:pt>
                <c:pt idx="71904">
                  <c:v>49558</c:v>
                </c:pt>
                <c:pt idx="71905">
                  <c:v>27104</c:v>
                </c:pt>
                <c:pt idx="71906">
                  <c:v>18698</c:v>
                </c:pt>
                <c:pt idx="71907">
                  <c:v>107972</c:v>
                </c:pt>
                <c:pt idx="71908">
                  <c:v>71867</c:v>
                </c:pt>
                <c:pt idx="71909">
                  <c:v>36894</c:v>
                </c:pt>
                <c:pt idx="71910">
                  <c:v>24117</c:v>
                </c:pt>
                <c:pt idx="71911">
                  <c:v>68650</c:v>
                </c:pt>
                <c:pt idx="71912">
                  <c:v>134059</c:v>
                </c:pt>
                <c:pt idx="71913">
                  <c:v>46924</c:v>
                </c:pt>
                <c:pt idx="71914">
                  <c:v>40479</c:v>
                </c:pt>
                <c:pt idx="71915">
                  <c:v>91976</c:v>
                </c:pt>
                <c:pt idx="71916">
                  <c:v>23310</c:v>
                </c:pt>
                <c:pt idx="71917">
                  <c:v>37839</c:v>
                </c:pt>
                <c:pt idx="71918">
                  <c:v>146119</c:v>
                </c:pt>
                <c:pt idx="71919">
                  <c:v>30363</c:v>
                </c:pt>
                <c:pt idx="71920">
                  <c:v>81263</c:v>
                </c:pt>
                <c:pt idx="71921">
                  <c:v>70078</c:v>
                </c:pt>
                <c:pt idx="71922">
                  <c:v>43946</c:v>
                </c:pt>
                <c:pt idx="71923">
                  <c:v>26945</c:v>
                </c:pt>
                <c:pt idx="71924">
                  <c:v>34134</c:v>
                </c:pt>
                <c:pt idx="71925">
                  <c:v>25866</c:v>
                </c:pt>
                <c:pt idx="71926">
                  <c:v>39615</c:v>
                </c:pt>
                <c:pt idx="71927">
                  <c:v>34152</c:v>
                </c:pt>
                <c:pt idx="71928">
                  <c:v>92970</c:v>
                </c:pt>
                <c:pt idx="71929">
                  <c:v>117862</c:v>
                </c:pt>
                <c:pt idx="71930">
                  <c:v>50614</c:v>
                </c:pt>
                <c:pt idx="71931">
                  <c:v>63280</c:v>
                </c:pt>
                <c:pt idx="71932">
                  <c:v>31295</c:v>
                </c:pt>
                <c:pt idx="71933">
                  <c:v>34979</c:v>
                </c:pt>
                <c:pt idx="71934">
                  <c:v>22544</c:v>
                </c:pt>
                <c:pt idx="71935">
                  <c:v>50863</c:v>
                </c:pt>
                <c:pt idx="71936">
                  <c:v>29998</c:v>
                </c:pt>
                <c:pt idx="71937">
                  <c:v>98605</c:v>
                </c:pt>
                <c:pt idx="71938">
                  <c:v>39840</c:v>
                </c:pt>
                <c:pt idx="71939">
                  <c:v>72190</c:v>
                </c:pt>
                <c:pt idx="71940">
                  <c:v>65157</c:v>
                </c:pt>
                <c:pt idx="71941">
                  <c:v>36506</c:v>
                </c:pt>
                <c:pt idx="71942">
                  <c:v>25449</c:v>
                </c:pt>
                <c:pt idx="71943">
                  <c:v>24978</c:v>
                </c:pt>
                <c:pt idx="71944">
                  <c:v>38502</c:v>
                </c:pt>
                <c:pt idx="71945">
                  <c:v>65025</c:v>
                </c:pt>
                <c:pt idx="71946">
                  <c:v>29591</c:v>
                </c:pt>
                <c:pt idx="71947">
                  <c:v>21974</c:v>
                </c:pt>
                <c:pt idx="71948">
                  <c:v>33030</c:v>
                </c:pt>
                <c:pt idx="71949">
                  <c:v>57148</c:v>
                </c:pt>
                <c:pt idx="71950">
                  <c:v>75382</c:v>
                </c:pt>
                <c:pt idx="71951">
                  <c:v>69172</c:v>
                </c:pt>
                <c:pt idx="71952">
                  <c:v>27915</c:v>
                </c:pt>
                <c:pt idx="71953">
                  <c:v>177504</c:v>
                </c:pt>
                <c:pt idx="71954">
                  <c:v>34353</c:v>
                </c:pt>
                <c:pt idx="71955">
                  <c:v>95153</c:v>
                </c:pt>
                <c:pt idx="71956">
                  <c:v>52188</c:v>
                </c:pt>
                <c:pt idx="71957">
                  <c:v>36745</c:v>
                </c:pt>
                <c:pt idx="71958">
                  <c:v>26822</c:v>
                </c:pt>
                <c:pt idx="71959">
                  <c:v>61357</c:v>
                </c:pt>
                <c:pt idx="71960">
                  <c:v>57597</c:v>
                </c:pt>
                <c:pt idx="71961">
                  <c:v>122259</c:v>
                </c:pt>
                <c:pt idx="71962">
                  <c:v>100249</c:v>
                </c:pt>
                <c:pt idx="71963">
                  <c:v>41316</c:v>
                </c:pt>
                <c:pt idx="71964">
                  <c:v>52561</c:v>
                </c:pt>
                <c:pt idx="71965">
                  <c:v>34771</c:v>
                </c:pt>
                <c:pt idx="71966">
                  <c:v>42219</c:v>
                </c:pt>
                <c:pt idx="71967">
                  <c:v>37489</c:v>
                </c:pt>
                <c:pt idx="71968">
                  <c:v>80824</c:v>
                </c:pt>
                <c:pt idx="71969">
                  <c:v>30058</c:v>
                </c:pt>
                <c:pt idx="71970">
                  <c:v>65642</c:v>
                </c:pt>
                <c:pt idx="71971">
                  <c:v>41431</c:v>
                </c:pt>
                <c:pt idx="71972">
                  <c:v>40459</c:v>
                </c:pt>
                <c:pt idx="71973">
                  <c:v>34272</c:v>
                </c:pt>
                <c:pt idx="71974">
                  <c:v>48847</c:v>
                </c:pt>
                <c:pt idx="71975">
                  <c:v>53932</c:v>
                </c:pt>
                <c:pt idx="71976">
                  <c:v>42638</c:v>
                </c:pt>
                <c:pt idx="71977">
                  <c:v>21555</c:v>
                </c:pt>
                <c:pt idx="71978">
                  <c:v>41322</c:v>
                </c:pt>
                <c:pt idx="71979">
                  <c:v>46920</c:v>
                </c:pt>
                <c:pt idx="71980">
                  <c:v>145636</c:v>
                </c:pt>
                <c:pt idx="71981">
                  <c:v>28057</c:v>
                </c:pt>
                <c:pt idx="71982">
                  <c:v>117300</c:v>
                </c:pt>
                <c:pt idx="71983">
                  <c:v>57325</c:v>
                </c:pt>
                <c:pt idx="71984">
                  <c:v>107309</c:v>
                </c:pt>
                <c:pt idx="71985">
                  <c:v>32298</c:v>
                </c:pt>
                <c:pt idx="71986">
                  <c:v>80823</c:v>
                </c:pt>
                <c:pt idx="71987">
                  <c:v>37664</c:v>
                </c:pt>
                <c:pt idx="71988">
                  <c:v>40474</c:v>
                </c:pt>
                <c:pt idx="71989">
                  <c:v>41586</c:v>
                </c:pt>
                <c:pt idx="71990">
                  <c:v>71804</c:v>
                </c:pt>
                <c:pt idx="71991">
                  <c:v>57716</c:v>
                </c:pt>
                <c:pt idx="71992">
                  <c:v>23854</c:v>
                </c:pt>
                <c:pt idx="71993">
                  <c:v>43655</c:v>
                </c:pt>
                <c:pt idx="71994">
                  <c:v>28156</c:v>
                </c:pt>
                <c:pt idx="71995">
                  <c:v>39266</c:v>
                </c:pt>
                <c:pt idx="71996">
                  <c:v>24089</c:v>
                </c:pt>
                <c:pt idx="71997">
                  <c:v>50954</c:v>
                </c:pt>
                <c:pt idx="71998">
                  <c:v>29267</c:v>
                </c:pt>
                <c:pt idx="71999">
                  <c:v>86627</c:v>
                </c:pt>
                <c:pt idx="72000">
                  <c:v>92418</c:v>
                </c:pt>
                <c:pt idx="72001">
                  <c:v>48270</c:v>
                </c:pt>
                <c:pt idx="72002">
                  <c:v>27198</c:v>
                </c:pt>
                <c:pt idx="72003">
                  <c:v>27050</c:v>
                </c:pt>
                <c:pt idx="72004">
                  <c:v>42051</c:v>
                </c:pt>
                <c:pt idx="72005">
                  <c:v>21262</c:v>
                </c:pt>
                <c:pt idx="72006">
                  <c:v>47051</c:v>
                </c:pt>
                <c:pt idx="72007">
                  <c:v>63213</c:v>
                </c:pt>
                <c:pt idx="72008">
                  <c:v>100056</c:v>
                </c:pt>
                <c:pt idx="72009">
                  <c:v>27699</c:v>
                </c:pt>
                <c:pt idx="72010">
                  <c:v>30162</c:v>
                </c:pt>
                <c:pt idx="72011">
                  <c:v>36261</c:v>
                </c:pt>
                <c:pt idx="72012">
                  <c:v>33071</c:v>
                </c:pt>
                <c:pt idx="72013">
                  <c:v>36719</c:v>
                </c:pt>
                <c:pt idx="72014">
                  <c:v>29464</c:v>
                </c:pt>
                <c:pt idx="72015">
                  <c:v>44668</c:v>
                </c:pt>
                <c:pt idx="72016">
                  <c:v>39516</c:v>
                </c:pt>
                <c:pt idx="72017">
                  <c:v>289626</c:v>
                </c:pt>
                <c:pt idx="72018">
                  <c:v>20983</c:v>
                </c:pt>
                <c:pt idx="72019">
                  <c:v>38681</c:v>
                </c:pt>
                <c:pt idx="72020">
                  <c:v>46579</c:v>
                </c:pt>
                <c:pt idx="72021">
                  <c:v>132392</c:v>
                </c:pt>
                <c:pt idx="72022">
                  <c:v>34370</c:v>
                </c:pt>
                <c:pt idx="72023">
                  <c:v>26301</c:v>
                </c:pt>
                <c:pt idx="72024">
                  <c:v>34389</c:v>
                </c:pt>
                <c:pt idx="72025">
                  <c:v>37489</c:v>
                </c:pt>
                <c:pt idx="72026">
                  <c:v>96079</c:v>
                </c:pt>
                <c:pt idx="72027">
                  <c:v>24561</c:v>
                </c:pt>
                <c:pt idx="72028">
                  <c:v>33374</c:v>
                </c:pt>
                <c:pt idx="72029">
                  <c:v>32645</c:v>
                </c:pt>
                <c:pt idx="72030">
                  <c:v>224166</c:v>
                </c:pt>
                <c:pt idx="72031">
                  <c:v>44926</c:v>
                </c:pt>
                <c:pt idx="72032">
                  <c:v>24837</c:v>
                </c:pt>
                <c:pt idx="72033">
                  <c:v>50766</c:v>
                </c:pt>
                <c:pt idx="72034">
                  <c:v>24693</c:v>
                </c:pt>
                <c:pt idx="72035">
                  <c:v>176370</c:v>
                </c:pt>
                <c:pt idx="72036">
                  <c:v>23020</c:v>
                </c:pt>
                <c:pt idx="72037">
                  <c:v>109545</c:v>
                </c:pt>
                <c:pt idx="72038">
                  <c:v>42929</c:v>
                </c:pt>
                <c:pt idx="72039">
                  <c:v>33007</c:v>
                </c:pt>
                <c:pt idx="72040">
                  <c:v>35933</c:v>
                </c:pt>
                <c:pt idx="72041">
                  <c:v>40136</c:v>
                </c:pt>
                <c:pt idx="72042">
                  <c:v>40851</c:v>
                </c:pt>
                <c:pt idx="72043">
                  <c:v>31489</c:v>
                </c:pt>
                <c:pt idx="72044">
                  <c:v>66858</c:v>
                </c:pt>
                <c:pt idx="72045">
                  <c:v>28507</c:v>
                </c:pt>
                <c:pt idx="72046">
                  <c:v>35941</c:v>
                </c:pt>
                <c:pt idx="72047">
                  <c:v>145389</c:v>
                </c:pt>
                <c:pt idx="72048">
                  <c:v>35139</c:v>
                </c:pt>
                <c:pt idx="72049">
                  <c:v>25698</c:v>
                </c:pt>
                <c:pt idx="72050">
                  <c:v>24965</c:v>
                </c:pt>
                <c:pt idx="72051">
                  <c:v>69303</c:v>
                </c:pt>
                <c:pt idx="72052">
                  <c:v>118461</c:v>
                </c:pt>
                <c:pt idx="72053">
                  <c:v>44392</c:v>
                </c:pt>
                <c:pt idx="72054">
                  <c:v>30985</c:v>
                </c:pt>
                <c:pt idx="72055">
                  <c:v>108046</c:v>
                </c:pt>
                <c:pt idx="72056">
                  <c:v>27191</c:v>
                </c:pt>
                <c:pt idx="72057">
                  <c:v>123032</c:v>
                </c:pt>
                <c:pt idx="72058">
                  <c:v>105561</c:v>
                </c:pt>
                <c:pt idx="72059">
                  <c:v>65616</c:v>
                </c:pt>
                <c:pt idx="72060">
                  <c:v>25722</c:v>
                </c:pt>
                <c:pt idx="72061">
                  <c:v>25744</c:v>
                </c:pt>
                <c:pt idx="72062">
                  <c:v>23956</c:v>
                </c:pt>
                <c:pt idx="72063">
                  <c:v>50336</c:v>
                </c:pt>
                <c:pt idx="72064">
                  <c:v>54241</c:v>
                </c:pt>
                <c:pt idx="72065">
                  <c:v>53654</c:v>
                </c:pt>
                <c:pt idx="72066">
                  <c:v>46004</c:v>
                </c:pt>
                <c:pt idx="72067">
                  <c:v>22124</c:v>
                </c:pt>
                <c:pt idx="72068">
                  <c:v>29693</c:v>
                </c:pt>
                <c:pt idx="72069">
                  <c:v>37481</c:v>
                </c:pt>
                <c:pt idx="72070">
                  <c:v>22281</c:v>
                </c:pt>
                <c:pt idx="72071">
                  <c:v>25373</c:v>
                </c:pt>
                <c:pt idx="72072">
                  <c:v>77105</c:v>
                </c:pt>
                <c:pt idx="72073">
                  <c:v>23717</c:v>
                </c:pt>
                <c:pt idx="72074">
                  <c:v>139241</c:v>
                </c:pt>
                <c:pt idx="72075">
                  <c:v>27502</c:v>
                </c:pt>
                <c:pt idx="72076">
                  <c:v>27931</c:v>
                </c:pt>
                <c:pt idx="72077">
                  <c:v>78542</c:v>
                </c:pt>
                <c:pt idx="72078">
                  <c:v>43621</c:v>
                </c:pt>
                <c:pt idx="72079">
                  <c:v>66201</c:v>
                </c:pt>
                <c:pt idx="72080">
                  <c:v>64249</c:v>
                </c:pt>
                <c:pt idx="72081">
                  <c:v>43855</c:v>
                </c:pt>
                <c:pt idx="72082">
                  <c:v>86851</c:v>
                </c:pt>
                <c:pt idx="72083">
                  <c:v>61973</c:v>
                </c:pt>
                <c:pt idx="72084">
                  <c:v>36438</c:v>
                </c:pt>
                <c:pt idx="72085">
                  <c:v>100223</c:v>
                </c:pt>
                <c:pt idx="72086">
                  <c:v>40907</c:v>
                </c:pt>
                <c:pt idx="72087">
                  <c:v>43523</c:v>
                </c:pt>
                <c:pt idx="72088">
                  <c:v>87235</c:v>
                </c:pt>
                <c:pt idx="72089">
                  <c:v>81737</c:v>
                </c:pt>
                <c:pt idx="72090">
                  <c:v>79637</c:v>
                </c:pt>
                <c:pt idx="72091">
                  <c:v>39714</c:v>
                </c:pt>
                <c:pt idx="72092">
                  <c:v>28544</c:v>
                </c:pt>
                <c:pt idx="72093">
                  <c:v>68610</c:v>
                </c:pt>
                <c:pt idx="72094">
                  <c:v>197625</c:v>
                </c:pt>
                <c:pt idx="72095">
                  <c:v>24962</c:v>
                </c:pt>
                <c:pt idx="72096">
                  <c:v>26505</c:v>
                </c:pt>
                <c:pt idx="72097">
                  <c:v>57548</c:v>
                </c:pt>
                <c:pt idx="72098">
                  <c:v>178975</c:v>
                </c:pt>
                <c:pt idx="72099">
                  <c:v>23077</c:v>
                </c:pt>
                <c:pt idx="72100">
                  <c:v>28339</c:v>
                </c:pt>
                <c:pt idx="72101">
                  <c:v>71416</c:v>
                </c:pt>
                <c:pt idx="72102">
                  <c:v>123409</c:v>
                </c:pt>
                <c:pt idx="72103">
                  <c:v>25834</c:v>
                </c:pt>
                <c:pt idx="72104">
                  <c:v>43217</c:v>
                </c:pt>
                <c:pt idx="72105">
                  <c:v>116644</c:v>
                </c:pt>
                <c:pt idx="72106">
                  <c:v>32037</c:v>
                </c:pt>
                <c:pt idx="72107">
                  <c:v>40772</c:v>
                </c:pt>
                <c:pt idx="72108">
                  <c:v>45036</c:v>
                </c:pt>
                <c:pt idx="72109">
                  <c:v>64799</c:v>
                </c:pt>
                <c:pt idx="72110">
                  <c:v>31111</c:v>
                </c:pt>
                <c:pt idx="72111">
                  <c:v>33407</c:v>
                </c:pt>
                <c:pt idx="72112">
                  <c:v>25748</c:v>
                </c:pt>
                <c:pt idx="72113">
                  <c:v>99664</c:v>
                </c:pt>
                <c:pt idx="72114">
                  <c:v>25239</c:v>
                </c:pt>
                <c:pt idx="72115">
                  <c:v>33197</c:v>
                </c:pt>
                <c:pt idx="72116">
                  <c:v>214406</c:v>
                </c:pt>
                <c:pt idx="72117">
                  <c:v>50348</c:v>
                </c:pt>
                <c:pt idx="72118">
                  <c:v>39358</c:v>
                </c:pt>
                <c:pt idx="72119">
                  <c:v>49727</c:v>
                </c:pt>
                <c:pt idx="72120">
                  <c:v>35461</c:v>
                </c:pt>
                <c:pt idx="72121">
                  <c:v>36651</c:v>
                </c:pt>
                <c:pt idx="72122">
                  <c:v>24351</c:v>
                </c:pt>
                <c:pt idx="72123">
                  <c:v>107561</c:v>
                </c:pt>
                <c:pt idx="72124">
                  <c:v>90649</c:v>
                </c:pt>
                <c:pt idx="72125">
                  <c:v>62555</c:v>
                </c:pt>
                <c:pt idx="72126">
                  <c:v>103668</c:v>
                </c:pt>
                <c:pt idx="72127">
                  <c:v>50697</c:v>
                </c:pt>
                <c:pt idx="72128">
                  <c:v>45290</c:v>
                </c:pt>
                <c:pt idx="72129">
                  <c:v>96610</c:v>
                </c:pt>
                <c:pt idx="72130">
                  <c:v>34948</c:v>
                </c:pt>
                <c:pt idx="72131">
                  <c:v>97783</c:v>
                </c:pt>
                <c:pt idx="72132">
                  <c:v>63964</c:v>
                </c:pt>
                <c:pt idx="72133">
                  <c:v>62739</c:v>
                </c:pt>
                <c:pt idx="72134">
                  <c:v>50696</c:v>
                </c:pt>
                <c:pt idx="72135">
                  <c:v>45880</c:v>
                </c:pt>
                <c:pt idx="72136">
                  <c:v>70082</c:v>
                </c:pt>
                <c:pt idx="72137">
                  <c:v>99270</c:v>
                </c:pt>
                <c:pt idx="72138">
                  <c:v>46822</c:v>
                </c:pt>
                <c:pt idx="72139">
                  <c:v>50513</c:v>
                </c:pt>
                <c:pt idx="72140">
                  <c:v>23557</c:v>
                </c:pt>
                <c:pt idx="72141">
                  <c:v>27380</c:v>
                </c:pt>
                <c:pt idx="72142">
                  <c:v>102353</c:v>
                </c:pt>
                <c:pt idx="72143">
                  <c:v>48309</c:v>
                </c:pt>
                <c:pt idx="72144">
                  <c:v>33529</c:v>
                </c:pt>
                <c:pt idx="72145">
                  <c:v>44921</c:v>
                </c:pt>
                <c:pt idx="72146">
                  <c:v>52604</c:v>
                </c:pt>
                <c:pt idx="72147">
                  <c:v>97233</c:v>
                </c:pt>
                <c:pt idx="72148">
                  <c:v>24054</c:v>
                </c:pt>
                <c:pt idx="72149">
                  <c:v>64037</c:v>
                </c:pt>
                <c:pt idx="72150">
                  <c:v>38511</c:v>
                </c:pt>
                <c:pt idx="72151">
                  <c:v>206497</c:v>
                </c:pt>
                <c:pt idx="72152">
                  <c:v>50922</c:v>
                </c:pt>
                <c:pt idx="72153">
                  <c:v>232597</c:v>
                </c:pt>
                <c:pt idx="72154">
                  <c:v>33550</c:v>
                </c:pt>
                <c:pt idx="72155">
                  <c:v>41935</c:v>
                </c:pt>
                <c:pt idx="72156">
                  <c:v>44544</c:v>
                </c:pt>
                <c:pt idx="72157">
                  <c:v>85314</c:v>
                </c:pt>
                <c:pt idx="72158">
                  <c:v>35391</c:v>
                </c:pt>
                <c:pt idx="72159">
                  <c:v>33391</c:v>
                </c:pt>
                <c:pt idx="72160">
                  <c:v>58443</c:v>
                </c:pt>
                <c:pt idx="72161">
                  <c:v>20643</c:v>
                </c:pt>
                <c:pt idx="72162">
                  <c:v>37493</c:v>
                </c:pt>
                <c:pt idx="72163">
                  <c:v>36988</c:v>
                </c:pt>
                <c:pt idx="72164">
                  <c:v>68661</c:v>
                </c:pt>
                <c:pt idx="72165">
                  <c:v>45873</c:v>
                </c:pt>
                <c:pt idx="72166">
                  <c:v>68462</c:v>
                </c:pt>
                <c:pt idx="72167">
                  <c:v>41543</c:v>
                </c:pt>
                <c:pt idx="72168">
                  <c:v>31290</c:v>
                </c:pt>
                <c:pt idx="72169">
                  <c:v>47896</c:v>
                </c:pt>
                <c:pt idx="72170">
                  <c:v>29341</c:v>
                </c:pt>
                <c:pt idx="72171">
                  <c:v>27189</c:v>
                </c:pt>
                <c:pt idx="72172">
                  <c:v>85224</c:v>
                </c:pt>
                <c:pt idx="72173">
                  <c:v>135765</c:v>
                </c:pt>
                <c:pt idx="72174">
                  <c:v>26718</c:v>
                </c:pt>
                <c:pt idx="72175">
                  <c:v>44316</c:v>
                </c:pt>
                <c:pt idx="72176">
                  <c:v>45317</c:v>
                </c:pt>
                <c:pt idx="72177">
                  <c:v>43296</c:v>
                </c:pt>
                <c:pt idx="72178">
                  <c:v>30602</c:v>
                </c:pt>
                <c:pt idx="72179">
                  <c:v>63597</c:v>
                </c:pt>
                <c:pt idx="72180">
                  <c:v>26818</c:v>
                </c:pt>
                <c:pt idx="72181">
                  <c:v>20745</c:v>
                </c:pt>
                <c:pt idx="72182">
                  <c:v>55630</c:v>
                </c:pt>
                <c:pt idx="72183">
                  <c:v>58897</c:v>
                </c:pt>
                <c:pt idx="72184">
                  <c:v>47007</c:v>
                </c:pt>
                <c:pt idx="72185">
                  <c:v>39428</c:v>
                </c:pt>
                <c:pt idx="72186">
                  <c:v>27722</c:v>
                </c:pt>
                <c:pt idx="72187">
                  <c:v>130060</c:v>
                </c:pt>
                <c:pt idx="72188">
                  <c:v>45099</c:v>
                </c:pt>
                <c:pt idx="72189">
                  <c:v>43618</c:v>
                </c:pt>
                <c:pt idx="72190">
                  <c:v>50957</c:v>
                </c:pt>
                <c:pt idx="72191">
                  <c:v>35670</c:v>
                </c:pt>
                <c:pt idx="72192">
                  <c:v>52635</c:v>
                </c:pt>
                <c:pt idx="72193">
                  <c:v>26443</c:v>
                </c:pt>
                <c:pt idx="72194">
                  <c:v>295622</c:v>
                </c:pt>
                <c:pt idx="72195">
                  <c:v>22663</c:v>
                </c:pt>
                <c:pt idx="72196">
                  <c:v>36924</c:v>
                </c:pt>
                <c:pt idx="72197">
                  <c:v>129490</c:v>
                </c:pt>
                <c:pt idx="72198">
                  <c:v>117693</c:v>
                </c:pt>
                <c:pt idx="72199">
                  <c:v>97293</c:v>
                </c:pt>
                <c:pt idx="72200">
                  <c:v>41726</c:v>
                </c:pt>
                <c:pt idx="72201">
                  <c:v>30542</c:v>
                </c:pt>
                <c:pt idx="72202">
                  <c:v>134441</c:v>
                </c:pt>
                <c:pt idx="72203">
                  <c:v>56842</c:v>
                </c:pt>
                <c:pt idx="72204">
                  <c:v>33411</c:v>
                </c:pt>
                <c:pt idx="72205">
                  <c:v>39969</c:v>
                </c:pt>
                <c:pt idx="72206">
                  <c:v>29301</c:v>
                </c:pt>
                <c:pt idx="72207">
                  <c:v>28246</c:v>
                </c:pt>
                <c:pt idx="72208">
                  <c:v>33511</c:v>
                </c:pt>
                <c:pt idx="72209">
                  <c:v>40195</c:v>
                </c:pt>
                <c:pt idx="72210">
                  <c:v>22494</c:v>
                </c:pt>
                <c:pt idx="72211">
                  <c:v>30073</c:v>
                </c:pt>
                <c:pt idx="72212">
                  <c:v>37667</c:v>
                </c:pt>
                <c:pt idx="72213">
                  <c:v>105533</c:v>
                </c:pt>
                <c:pt idx="72214">
                  <c:v>35304</c:v>
                </c:pt>
                <c:pt idx="72215">
                  <c:v>38713</c:v>
                </c:pt>
                <c:pt idx="72216">
                  <c:v>24363</c:v>
                </c:pt>
                <c:pt idx="72217">
                  <c:v>27948</c:v>
                </c:pt>
                <c:pt idx="72218">
                  <c:v>37651</c:v>
                </c:pt>
                <c:pt idx="72219">
                  <c:v>51675</c:v>
                </c:pt>
                <c:pt idx="72220">
                  <c:v>82874</c:v>
                </c:pt>
                <c:pt idx="72221">
                  <c:v>34488</c:v>
                </c:pt>
                <c:pt idx="72222">
                  <c:v>39982</c:v>
                </c:pt>
                <c:pt idx="72223">
                  <c:v>40617</c:v>
                </c:pt>
                <c:pt idx="72224">
                  <c:v>47580</c:v>
                </c:pt>
                <c:pt idx="72225">
                  <c:v>129877</c:v>
                </c:pt>
                <c:pt idx="72226">
                  <c:v>25912</c:v>
                </c:pt>
                <c:pt idx="72227">
                  <c:v>24534</c:v>
                </c:pt>
                <c:pt idx="72228">
                  <c:v>50075</c:v>
                </c:pt>
                <c:pt idx="72229">
                  <c:v>55802</c:v>
                </c:pt>
                <c:pt idx="72230">
                  <c:v>41125</c:v>
                </c:pt>
                <c:pt idx="72231">
                  <c:v>42929</c:v>
                </c:pt>
                <c:pt idx="72232">
                  <c:v>36132</c:v>
                </c:pt>
                <c:pt idx="72233">
                  <c:v>32903</c:v>
                </c:pt>
                <c:pt idx="72234">
                  <c:v>27441</c:v>
                </c:pt>
                <c:pt idx="72235">
                  <c:v>41909</c:v>
                </c:pt>
                <c:pt idx="72236">
                  <c:v>51018</c:v>
                </c:pt>
                <c:pt idx="72237">
                  <c:v>34113</c:v>
                </c:pt>
                <c:pt idx="72238">
                  <c:v>40163</c:v>
                </c:pt>
                <c:pt idx="72239">
                  <c:v>42958</c:v>
                </c:pt>
                <c:pt idx="72240">
                  <c:v>34469</c:v>
                </c:pt>
                <c:pt idx="72241">
                  <c:v>118584</c:v>
                </c:pt>
                <c:pt idx="72242">
                  <c:v>55225</c:v>
                </c:pt>
                <c:pt idx="72243">
                  <c:v>34161</c:v>
                </c:pt>
                <c:pt idx="72244">
                  <c:v>29887</c:v>
                </c:pt>
                <c:pt idx="72245">
                  <c:v>219680</c:v>
                </c:pt>
                <c:pt idx="72246">
                  <c:v>22833</c:v>
                </c:pt>
                <c:pt idx="72247">
                  <c:v>31507</c:v>
                </c:pt>
                <c:pt idx="72248">
                  <c:v>92407</c:v>
                </c:pt>
                <c:pt idx="72249">
                  <c:v>34474</c:v>
                </c:pt>
                <c:pt idx="72250">
                  <c:v>32510</c:v>
                </c:pt>
                <c:pt idx="72251">
                  <c:v>50267</c:v>
                </c:pt>
                <c:pt idx="72252">
                  <c:v>44640</c:v>
                </c:pt>
                <c:pt idx="72253">
                  <c:v>52474</c:v>
                </c:pt>
                <c:pt idx="72254">
                  <c:v>77277</c:v>
                </c:pt>
                <c:pt idx="72255">
                  <c:v>30057</c:v>
                </c:pt>
                <c:pt idx="72256">
                  <c:v>79032</c:v>
                </c:pt>
                <c:pt idx="72257">
                  <c:v>29544</c:v>
                </c:pt>
                <c:pt idx="72258">
                  <c:v>53023</c:v>
                </c:pt>
                <c:pt idx="72259">
                  <c:v>41685</c:v>
                </c:pt>
                <c:pt idx="72260">
                  <c:v>43749</c:v>
                </c:pt>
                <c:pt idx="72261">
                  <c:v>37639</c:v>
                </c:pt>
                <c:pt idx="72262">
                  <c:v>40175</c:v>
                </c:pt>
                <c:pt idx="72263">
                  <c:v>50551</c:v>
                </c:pt>
                <c:pt idx="72264">
                  <c:v>28696</c:v>
                </c:pt>
                <c:pt idx="72265">
                  <c:v>96351</c:v>
                </c:pt>
                <c:pt idx="72266">
                  <c:v>37236</c:v>
                </c:pt>
                <c:pt idx="72267">
                  <c:v>39363</c:v>
                </c:pt>
                <c:pt idx="72268">
                  <c:v>29725</c:v>
                </c:pt>
                <c:pt idx="72269">
                  <c:v>64923</c:v>
                </c:pt>
                <c:pt idx="72270">
                  <c:v>32398</c:v>
                </c:pt>
                <c:pt idx="72271">
                  <c:v>25683</c:v>
                </c:pt>
                <c:pt idx="72272">
                  <c:v>24276</c:v>
                </c:pt>
                <c:pt idx="72273">
                  <c:v>40120</c:v>
                </c:pt>
                <c:pt idx="72274">
                  <c:v>85971</c:v>
                </c:pt>
                <c:pt idx="72275">
                  <c:v>25086</c:v>
                </c:pt>
                <c:pt idx="72276">
                  <c:v>58669</c:v>
                </c:pt>
                <c:pt idx="72277">
                  <c:v>131156</c:v>
                </c:pt>
                <c:pt idx="72278">
                  <c:v>24793</c:v>
                </c:pt>
                <c:pt idx="72279">
                  <c:v>25803</c:v>
                </c:pt>
                <c:pt idx="72280">
                  <c:v>33870</c:v>
                </c:pt>
                <c:pt idx="72281">
                  <c:v>220217</c:v>
                </c:pt>
                <c:pt idx="72282">
                  <c:v>39733</c:v>
                </c:pt>
                <c:pt idx="72283">
                  <c:v>40756</c:v>
                </c:pt>
                <c:pt idx="72284">
                  <c:v>43670</c:v>
                </c:pt>
                <c:pt idx="72285">
                  <c:v>58691</c:v>
                </c:pt>
                <c:pt idx="72286">
                  <c:v>22197</c:v>
                </c:pt>
                <c:pt idx="72287">
                  <c:v>63088</c:v>
                </c:pt>
                <c:pt idx="72288">
                  <c:v>27934</c:v>
                </c:pt>
                <c:pt idx="72289">
                  <c:v>44455</c:v>
                </c:pt>
                <c:pt idx="72290">
                  <c:v>51056</c:v>
                </c:pt>
                <c:pt idx="72291">
                  <c:v>43880</c:v>
                </c:pt>
                <c:pt idx="72292">
                  <c:v>30022</c:v>
                </c:pt>
                <c:pt idx="72293">
                  <c:v>32861</c:v>
                </c:pt>
                <c:pt idx="72294">
                  <c:v>99515</c:v>
                </c:pt>
                <c:pt idx="72295">
                  <c:v>55077</c:v>
                </c:pt>
                <c:pt idx="72296">
                  <c:v>37666</c:v>
                </c:pt>
                <c:pt idx="72297">
                  <c:v>51535</c:v>
                </c:pt>
                <c:pt idx="72298">
                  <c:v>147367</c:v>
                </c:pt>
                <c:pt idx="72299">
                  <c:v>31507</c:v>
                </c:pt>
                <c:pt idx="72300">
                  <c:v>42694</c:v>
                </c:pt>
                <c:pt idx="72301">
                  <c:v>52101</c:v>
                </c:pt>
                <c:pt idx="72302">
                  <c:v>28567</c:v>
                </c:pt>
                <c:pt idx="72303">
                  <c:v>34657</c:v>
                </c:pt>
                <c:pt idx="72304">
                  <c:v>43091</c:v>
                </c:pt>
                <c:pt idx="72305">
                  <c:v>36093</c:v>
                </c:pt>
                <c:pt idx="72306">
                  <c:v>56544</c:v>
                </c:pt>
                <c:pt idx="72307">
                  <c:v>60465</c:v>
                </c:pt>
                <c:pt idx="72308">
                  <c:v>42977</c:v>
                </c:pt>
                <c:pt idx="72309">
                  <c:v>40688</c:v>
                </c:pt>
                <c:pt idx="72310">
                  <c:v>34224</c:v>
                </c:pt>
                <c:pt idx="72311">
                  <c:v>26912</c:v>
                </c:pt>
                <c:pt idx="72312">
                  <c:v>46290</c:v>
                </c:pt>
                <c:pt idx="72313">
                  <c:v>31962</c:v>
                </c:pt>
                <c:pt idx="72314">
                  <c:v>38068</c:v>
                </c:pt>
                <c:pt idx="72315">
                  <c:v>24812</c:v>
                </c:pt>
                <c:pt idx="72316">
                  <c:v>73132</c:v>
                </c:pt>
                <c:pt idx="72317">
                  <c:v>72733</c:v>
                </c:pt>
                <c:pt idx="72318">
                  <c:v>105428</c:v>
                </c:pt>
                <c:pt idx="72319">
                  <c:v>36837</c:v>
                </c:pt>
                <c:pt idx="72320">
                  <c:v>26668</c:v>
                </c:pt>
                <c:pt idx="72321">
                  <c:v>34108</c:v>
                </c:pt>
                <c:pt idx="72322">
                  <c:v>24007</c:v>
                </c:pt>
                <c:pt idx="72323">
                  <c:v>33929</c:v>
                </c:pt>
                <c:pt idx="72324">
                  <c:v>66849</c:v>
                </c:pt>
                <c:pt idx="72325">
                  <c:v>43519</c:v>
                </c:pt>
                <c:pt idx="72326">
                  <c:v>61028</c:v>
                </c:pt>
                <c:pt idx="72327">
                  <c:v>25689</c:v>
                </c:pt>
                <c:pt idx="72328">
                  <c:v>42750</c:v>
                </c:pt>
                <c:pt idx="72329">
                  <c:v>116619</c:v>
                </c:pt>
                <c:pt idx="72330">
                  <c:v>45307</c:v>
                </c:pt>
                <c:pt idx="72331">
                  <c:v>92645</c:v>
                </c:pt>
                <c:pt idx="72332">
                  <c:v>47407</c:v>
                </c:pt>
                <c:pt idx="72333">
                  <c:v>40648</c:v>
                </c:pt>
                <c:pt idx="72334">
                  <c:v>30295</c:v>
                </c:pt>
                <c:pt idx="72335">
                  <c:v>212821</c:v>
                </c:pt>
                <c:pt idx="72336">
                  <c:v>91084</c:v>
                </c:pt>
                <c:pt idx="72337">
                  <c:v>32525</c:v>
                </c:pt>
                <c:pt idx="72338">
                  <c:v>42950</c:v>
                </c:pt>
                <c:pt idx="72339">
                  <c:v>49289</c:v>
                </c:pt>
                <c:pt idx="72340">
                  <c:v>79325</c:v>
                </c:pt>
                <c:pt idx="72341">
                  <c:v>117213</c:v>
                </c:pt>
                <c:pt idx="72342">
                  <c:v>72710</c:v>
                </c:pt>
                <c:pt idx="72343">
                  <c:v>42096</c:v>
                </c:pt>
                <c:pt idx="72344">
                  <c:v>28460</c:v>
                </c:pt>
                <c:pt idx="72345">
                  <c:v>52959</c:v>
                </c:pt>
                <c:pt idx="72346">
                  <c:v>23743</c:v>
                </c:pt>
                <c:pt idx="72347">
                  <c:v>187333</c:v>
                </c:pt>
                <c:pt idx="72348">
                  <c:v>38992</c:v>
                </c:pt>
                <c:pt idx="72349">
                  <c:v>40402</c:v>
                </c:pt>
                <c:pt idx="72350">
                  <c:v>67253</c:v>
                </c:pt>
                <c:pt idx="72351">
                  <c:v>27157</c:v>
                </c:pt>
                <c:pt idx="72352">
                  <c:v>75988</c:v>
                </c:pt>
                <c:pt idx="72353">
                  <c:v>101138</c:v>
                </c:pt>
                <c:pt idx="72354">
                  <c:v>31752</c:v>
                </c:pt>
                <c:pt idx="72355">
                  <c:v>24238</c:v>
                </c:pt>
                <c:pt idx="72356">
                  <c:v>61715</c:v>
                </c:pt>
                <c:pt idx="72357">
                  <c:v>43569</c:v>
                </c:pt>
                <c:pt idx="72358">
                  <c:v>38402</c:v>
                </c:pt>
                <c:pt idx="72359">
                  <c:v>219535</c:v>
                </c:pt>
                <c:pt idx="72360">
                  <c:v>53679</c:v>
                </c:pt>
                <c:pt idx="72361">
                  <c:v>36269</c:v>
                </c:pt>
                <c:pt idx="72362">
                  <c:v>25522</c:v>
                </c:pt>
                <c:pt idx="72363">
                  <c:v>34238</c:v>
                </c:pt>
                <c:pt idx="72364">
                  <c:v>25310</c:v>
                </c:pt>
                <c:pt idx="72365">
                  <c:v>39144</c:v>
                </c:pt>
                <c:pt idx="72366">
                  <c:v>88888</c:v>
                </c:pt>
                <c:pt idx="72367">
                  <c:v>37093</c:v>
                </c:pt>
                <c:pt idx="72368">
                  <c:v>28985</c:v>
                </c:pt>
                <c:pt idx="72369">
                  <c:v>126139</c:v>
                </c:pt>
                <c:pt idx="72370">
                  <c:v>36340</c:v>
                </c:pt>
                <c:pt idx="72371">
                  <c:v>22177</c:v>
                </c:pt>
                <c:pt idx="72372">
                  <c:v>78587</c:v>
                </c:pt>
                <c:pt idx="72373">
                  <c:v>40758</c:v>
                </c:pt>
                <c:pt idx="72374">
                  <c:v>71945</c:v>
                </c:pt>
                <c:pt idx="72375">
                  <c:v>115829</c:v>
                </c:pt>
                <c:pt idx="72376">
                  <c:v>27110</c:v>
                </c:pt>
                <c:pt idx="72377">
                  <c:v>42879</c:v>
                </c:pt>
                <c:pt idx="72378">
                  <c:v>31080</c:v>
                </c:pt>
                <c:pt idx="72379">
                  <c:v>32205</c:v>
                </c:pt>
                <c:pt idx="72380">
                  <c:v>40547</c:v>
                </c:pt>
                <c:pt idx="72381">
                  <c:v>33513</c:v>
                </c:pt>
                <c:pt idx="72382">
                  <c:v>52232</c:v>
                </c:pt>
                <c:pt idx="72383">
                  <c:v>89798</c:v>
                </c:pt>
                <c:pt idx="72384">
                  <c:v>50860</c:v>
                </c:pt>
                <c:pt idx="72385">
                  <c:v>53902</c:v>
                </c:pt>
                <c:pt idx="72386">
                  <c:v>48250</c:v>
                </c:pt>
                <c:pt idx="72387">
                  <c:v>40766</c:v>
                </c:pt>
                <c:pt idx="72388">
                  <c:v>67737</c:v>
                </c:pt>
                <c:pt idx="72389">
                  <c:v>85352</c:v>
                </c:pt>
                <c:pt idx="72390">
                  <c:v>28492</c:v>
                </c:pt>
                <c:pt idx="72391">
                  <c:v>57064</c:v>
                </c:pt>
                <c:pt idx="72392">
                  <c:v>39480</c:v>
                </c:pt>
                <c:pt idx="72393">
                  <c:v>31555</c:v>
                </c:pt>
                <c:pt idx="72394">
                  <c:v>24615</c:v>
                </c:pt>
                <c:pt idx="72395">
                  <c:v>35582</c:v>
                </c:pt>
                <c:pt idx="72396">
                  <c:v>80310</c:v>
                </c:pt>
                <c:pt idx="72397">
                  <c:v>64719</c:v>
                </c:pt>
                <c:pt idx="72398">
                  <c:v>20676</c:v>
                </c:pt>
                <c:pt idx="72399">
                  <c:v>17627</c:v>
                </c:pt>
                <c:pt idx="72400">
                  <c:v>29037</c:v>
                </c:pt>
                <c:pt idx="72401">
                  <c:v>35079</c:v>
                </c:pt>
                <c:pt idx="72402">
                  <c:v>22557</c:v>
                </c:pt>
                <c:pt idx="72403">
                  <c:v>28797</c:v>
                </c:pt>
                <c:pt idx="72404">
                  <c:v>45861</c:v>
                </c:pt>
                <c:pt idx="72405">
                  <c:v>43287</c:v>
                </c:pt>
                <c:pt idx="72406">
                  <c:v>43108</c:v>
                </c:pt>
                <c:pt idx="72407">
                  <c:v>38342</c:v>
                </c:pt>
                <c:pt idx="72408">
                  <c:v>94358</c:v>
                </c:pt>
                <c:pt idx="72409">
                  <c:v>77926</c:v>
                </c:pt>
                <c:pt idx="72410">
                  <c:v>37365</c:v>
                </c:pt>
                <c:pt idx="72411">
                  <c:v>42382</c:v>
                </c:pt>
                <c:pt idx="72412">
                  <c:v>31845</c:v>
                </c:pt>
                <c:pt idx="72413">
                  <c:v>119378</c:v>
                </c:pt>
                <c:pt idx="72414">
                  <c:v>233864</c:v>
                </c:pt>
                <c:pt idx="72415">
                  <c:v>23021</c:v>
                </c:pt>
                <c:pt idx="72416">
                  <c:v>48305</c:v>
                </c:pt>
                <c:pt idx="72417">
                  <c:v>31241</c:v>
                </c:pt>
                <c:pt idx="72418">
                  <c:v>109270</c:v>
                </c:pt>
                <c:pt idx="72419">
                  <c:v>181665</c:v>
                </c:pt>
                <c:pt idx="72420">
                  <c:v>148197</c:v>
                </c:pt>
                <c:pt idx="72421">
                  <c:v>30653</c:v>
                </c:pt>
                <c:pt idx="72422">
                  <c:v>68542</c:v>
                </c:pt>
                <c:pt idx="72423">
                  <c:v>62639</c:v>
                </c:pt>
                <c:pt idx="72424">
                  <c:v>43561</c:v>
                </c:pt>
                <c:pt idx="72425">
                  <c:v>31343</c:v>
                </c:pt>
                <c:pt idx="72426">
                  <c:v>69344</c:v>
                </c:pt>
                <c:pt idx="72427">
                  <c:v>27282</c:v>
                </c:pt>
                <c:pt idx="72428">
                  <c:v>48020</c:v>
                </c:pt>
                <c:pt idx="72429">
                  <c:v>58017</c:v>
                </c:pt>
                <c:pt idx="72430">
                  <c:v>165580</c:v>
                </c:pt>
                <c:pt idx="72431">
                  <c:v>40091</c:v>
                </c:pt>
                <c:pt idx="72432">
                  <c:v>34813</c:v>
                </c:pt>
                <c:pt idx="72433">
                  <c:v>27730</c:v>
                </c:pt>
                <c:pt idx="72434">
                  <c:v>31657</c:v>
                </c:pt>
                <c:pt idx="72435">
                  <c:v>93749</c:v>
                </c:pt>
                <c:pt idx="72436">
                  <c:v>42818</c:v>
                </c:pt>
                <c:pt idx="72437">
                  <c:v>50879</c:v>
                </c:pt>
                <c:pt idx="72438">
                  <c:v>31986</c:v>
                </c:pt>
                <c:pt idx="72439">
                  <c:v>71484</c:v>
                </c:pt>
                <c:pt idx="72440">
                  <c:v>81610</c:v>
                </c:pt>
                <c:pt idx="72441">
                  <c:v>35164</c:v>
                </c:pt>
                <c:pt idx="72442">
                  <c:v>78514</c:v>
                </c:pt>
                <c:pt idx="72443">
                  <c:v>75561</c:v>
                </c:pt>
                <c:pt idx="72444">
                  <c:v>37259</c:v>
                </c:pt>
                <c:pt idx="72445">
                  <c:v>26962</c:v>
                </c:pt>
                <c:pt idx="72446">
                  <c:v>83618</c:v>
                </c:pt>
                <c:pt idx="72447">
                  <c:v>43884</c:v>
                </c:pt>
                <c:pt idx="72448">
                  <c:v>45501</c:v>
                </c:pt>
                <c:pt idx="72449">
                  <c:v>33884</c:v>
                </c:pt>
                <c:pt idx="72450">
                  <c:v>130938</c:v>
                </c:pt>
                <c:pt idx="72451">
                  <c:v>73245</c:v>
                </c:pt>
                <c:pt idx="72452">
                  <c:v>29989</c:v>
                </c:pt>
                <c:pt idx="72453">
                  <c:v>244976</c:v>
                </c:pt>
                <c:pt idx="72454">
                  <c:v>71714</c:v>
                </c:pt>
                <c:pt idx="72455">
                  <c:v>61101</c:v>
                </c:pt>
                <c:pt idx="72456">
                  <c:v>57762</c:v>
                </c:pt>
                <c:pt idx="72457">
                  <c:v>278554</c:v>
                </c:pt>
                <c:pt idx="72458">
                  <c:v>33617</c:v>
                </c:pt>
                <c:pt idx="72459">
                  <c:v>28376</c:v>
                </c:pt>
                <c:pt idx="72460">
                  <c:v>26905</c:v>
                </c:pt>
                <c:pt idx="72461">
                  <c:v>22362</c:v>
                </c:pt>
                <c:pt idx="72462">
                  <c:v>54214</c:v>
                </c:pt>
                <c:pt idx="72463">
                  <c:v>36424</c:v>
                </c:pt>
                <c:pt idx="72464">
                  <c:v>90928</c:v>
                </c:pt>
                <c:pt idx="72465">
                  <c:v>283955</c:v>
                </c:pt>
                <c:pt idx="72466">
                  <c:v>28759</c:v>
                </c:pt>
                <c:pt idx="72467">
                  <c:v>115517</c:v>
                </c:pt>
                <c:pt idx="72468">
                  <c:v>48521</c:v>
                </c:pt>
                <c:pt idx="72469">
                  <c:v>56955</c:v>
                </c:pt>
                <c:pt idx="72470">
                  <c:v>61729</c:v>
                </c:pt>
                <c:pt idx="72471">
                  <c:v>98852</c:v>
                </c:pt>
                <c:pt idx="72472">
                  <c:v>69175</c:v>
                </c:pt>
                <c:pt idx="72473">
                  <c:v>39113</c:v>
                </c:pt>
                <c:pt idx="72474">
                  <c:v>102736</c:v>
                </c:pt>
                <c:pt idx="72475">
                  <c:v>48902</c:v>
                </c:pt>
                <c:pt idx="72476">
                  <c:v>63922</c:v>
                </c:pt>
                <c:pt idx="72477">
                  <c:v>59737</c:v>
                </c:pt>
                <c:pt idx="72478">
                  <c:v>40752</c:v>
                </c:pt>
                <c:pt idx="72479">
                  <c:v>67387</c:v>
                </c:pt>
                <c:pt idx="72480">
                  <c:v>111698</c:v>
                </c:pt>
                <c:pt idx="72481">
                  <c:v>42890</c:v>
                </c:pt>
                <c:pt idx="72482">
                  <c:v>43748</c:v>
                </c:pt>
                <c:pt idx="72483">
                  <c:v>47602</c:v>
                </c:pt>
                <c:pt idx="72484">
                  <c:v>26590</c:v>
                </c:pt>
                <c:pt idx="72485">
                  <c:v>76106</c:v>
                </c:pt>
                <c:pt idx="72486">
                  <c:v>32593</c:v>
                </c:pt>
                <c:pt idx="72487">
                  <c:v>33162</c:v>
                </c:pt>
                <c:pt idx="72488">
                  <c:v>105284</c:v>
                </c:pt>
                <c:pt idx="72489">
                  <c:v>41935</c:v>
                </c:pt>
                <c:pt idx="72490">
                  <c:v>28123</c:v>
                </c:pt>
                <c:pt idx="72491">
                  <c:v>41484</c:v>
                </c:pt>
                <c:pt idx="72492">
                  <c:v>42968</c:v>
                </c:pt>
                <c:pt idx="72493">
                  <c:v>48065</c:v>
                </c:pt>
                <c:pt idx="72494">
                  <c:v>98947</c:v>
                </c:pt>
                <c:pt idx="72495">
                  <c:v>26511</c:v>
                </c:pt>
                <c:pt idx="72496">
                  <c:v>34875</c:v>
                </c:pt>
                <c:pt idx="72497">
                  <c:v>271794</c:v>
                </c:pt>
                <c:pt idx="72498">
                  <c:v>27715</c:v>
                </c:pt>
                <c:pt idx="72499">
                  <c:v>26310</c:v>
                </c:pt>
                <c:pt idx="72500">
                  <c:v>142672</c:v>
                </c:pt>
                <c:pt idx="72501">
                  <c:v>38268</c:v>
                </c:pt>
                <c:pt idx="72502">
                  <c:v>27995</c:v>
                </c:pt>
                <c:pt idx="72503">
                  <c:v>150702</c:v>
                </c:pt>
                <c:pt idx="72504">
                  <c:v>37555</c:v>
                </c:pt>
                <c:pt idx="72505">
                  <c:v>80651</c:v>
                </c:pt>
                <c:pt idx="72506">
                  <c:v>43637</c:v>
                </c:pt>
                <c:pt idx="72507">
                  <c:v>43348</c:v>
                </c:pt>
                <c:pt idx="72508">
                  <c:v>43007</c:v>
                </c:pt>
                <c:pt idx="72509">
                  <c:v>113068</c:v>
                </c:pt>
                <c:pt idx="72510">
                  <c:v>61093</c:v>
                </c:pt>
                <c:pt idx="72511">
                  <c:v>70251</c:v>
                </c:pt>
                <c:pt idx="72512">
                  <c:v>31380</c:v>
                </c:pt>
                <c:pt idx="72513">
                  <c:v>52163</c:v>
                </c:pt>
                <c:pt idx="72514">
                  <c:v>22360</c:v>
                </c:pt>
                <c:pt idx="72515">
                  <c:v>42657</c:v>
                </c:pt>
                <c:pt idx="72516">
                  <c:v>36194</c:v>
                </c:pt>
                <c:pt idx="72517">
                  <c:v>40356</c:v>
                </c:pt>
                <c:pt idx="72518">
                  <c:v>554524</c:v>
                </c:pt>
                <c:pt idx="72519">
                  <c:v>32211</c:v>
                </c:pt>
                <c:pt idx="72520">
                  <c:v>151782</c:v>
                </c:pt>
                <c:pt idx="72521">
                  <c:v>45442</c:v>
                </c:pt>
                <c:pt idx="72522">
                  <c:v>32331</c:v>
                </c:pt>
                <c:pt idx="72523">
                  <c:v>155445</c:v>
                </c:pt>
                <c:pt idx="72524">
                  <c:v>43309</c:v>
                </c:pt>
                <c:pt idx="72525">
                  <c:v>276753</c:v>
                </c:pt>
                <c:pt idx="72526">
                  <c:v>64838</c:v>
                </c:pt>
                <c:pt idx="72527">
                  <c:v>79590</c:v>
                </c:pt>
                <c:pt idx="72528">
                  <c:v>51664</c:v>
                </c:pt>
                <c:pt idx="72529">
                  <c:v>43560</c:v>
                </c:pt>
                <c:pt idx="72530">
                  <c:v>40443</c:v>
                </c:pt>
                <c:pt idx="72531">
                  <c:v>50628</c:v>
                </c:pt>
                <c:pt idx="72532">
                  <c:v>40437</c:v>
                </c:pt>
                <c:pt idx="72533">
                  <c:v>101320</c:v>
                </c:pt>
                <c:pt idx="72534">
                  <c:v>45169</c:v>
                </c:pt>
                <c:pt idx="72535">
                  <c:v>37748</c:v>
                </c:pt>
                <c:pt idx="72536">
                  <c:v>35821</c:v>
                </c:pt>
                <c:pt idx="72537">
                  <c:v>49296</c:v>
                </c:pt>
                <c:pt idx="72538">
                  <c:v>42615</c:v>
                </c:pt>
                <c:pt idx="72539">
                  <c:v>67479</c:v>
                </c:pt>
                <c:pt idx="72540">
                  <c:v>49606</c:v>
                </c:pt>
                <c:pt idx="72541">
                  <c:v>22349</c:v>
                </c:pt>
                <c:pt idx="72542">
                  <c:v>53350</c:v>
                </c:pt>
                <c:pt idx="72543">
                  <c:v>36165</c:v>
                </c:pt>
                <c:pt idx="72544">
                  <c:v>32256</c:v>
                </c:pt>
                <c:pt idx="72545">
                  <c:v>34423</c:v>
                </c:pt>
                <c:pt idx="72546">
                  <c:v>43550</c:v>
                </c:pt>
                <c:pt idx="72547">
                  <c:v>94417</c:v>
                </c:pt>
                <c:pt idx="72548">
                  <c:v>173840</c:v>
                </c:pt>
                <c:pt idx="72549">
                  <c:v>45621</c:v>
                </c:pt>
                <c:pt idx="72550">
                  <c:v>95437</c:v>
                </c:pt>
                <c:pt idx="72551">
                  <c:v>34457</c:v>
                </c:pt>
                <c:pt idx="72552">
                  <c:v>163459</c:v>
                </c:pt>
                <c:pt idx="72553">
                  <c:v>28312</c:v>
                </c:pt>
                <c:pt idx="72554">
                  <c:v>79955</c:v>
                </c:pt>
                <c:pt idx="72555">
                  <c:v>42134</c:v>
                </c:pt>
                <c:pt idx="72556">
                  <c:v>32047</c:v>
                </c:pt>
                <c:pt idx="72557">
                  <c:v>28481</c:v>
                </c:pt>
                <c:pt idx="72558">
                  <c:v>61984</c:v>
                </c:pt>
                <c:pt idx="72559">
                  <c:v>49639</c:v>
                </c:pt>
                <c:pt idx="72560">
                  <c:v>61775</c:v>
                </c:pt>
                <c:pt idx="72561">
                  <c:v>43936</c:v>
                </c:pt>
                <c:pt idx="72562">
                  <c:v>47975</c:v>
                </c:pt>
                <c:pt idx="72563">
                  <c:v>35303</c:v>
                </c:pt>
                <c:pt idx="72564">
                  <c:v>65448</c:v>
                </c:pt>
                <c:pt idx="72565">
                  <c:v>40525</c:v>
                </c:pt>
                <c:pt idx="72566">
                  <c:v>65846</c:v>
                </c:pt>
                <c:pt idx="72567">
                  <c:v>47428</c:v>
                </c:pt>
                <c:pt idx="72568">
                  <c:v>241887</c:v>
                </c:pt>
                <c:pt idx="72569">
                  <c:v>38999</c:v>
                </c:pt>
                <c:pt idx="72570">
                  <c:v>75741</c:v>
                </c:pt>
                <c:pt idx="72571">
                  <c:v>101360</c:v>
                </c:pt>
                <c:pt idx="72572">
                  <c:v>88384</c:v>
                </c:pt>
                <c:pt idx="72573">
                  <c:v>47187</c:v>
                </c:pt>
                <c:pt idx="72574">
                  <c:v>46983</c:v>
                </c:pt>
                <c:pt idx="72575">
                  <c:v>32114</c:v>
                </c:pt>
                <c:pt idx="72576">
                  <c:v>45237</c:v>
                </c:pt>
                <c:pt idx="72577">
                  <c:v>40667</c:v>
                </c:pt>
                <c:pt idx="72578">
                  <c:v>22905</c:v>
                </c:pt>
                <c:pt idx="72579">
                  <c:v>39041</c:v>
                </c:pt>
                <c:pt idx="72580">
                  <c:v>32654</c:v>
                </c:pt>
                <c:pt idx="72581">
                  <c:v>80886</c:v>
                </c:pt>
                <c:pt idx="72582">
                  <c:v>27466</c:v>
                </c:pt>
                <c:pt idx="72583">
                  <c:v>31810</c:v>
                </c:pt>
                <c:pt idx="72584">
                  <c:v>23107</c:v>
                </c:pt>
                <c:pt idx="72585">
                  <c:v>34555</c:v>
                </c:pt>
                <c:pt idx="72586">
                  <c:v>40134</c:v>
                </c:pt>
                <c:pt idx="72587">
                  <c:v>28715</c:v>
                </c:pt>
                <c:pt idx="72588">
                  <c:v>39101</c:v>
                </c:pt>
                <c:pt idx="72589">
                  <c:v>108194</c:v>
                </c:pt>
                <c:pt idx="72590">
                  <c:v>41308</c:v>
                </c:pt>
                <c:pt idx="72591">
                  <c:v>26505</c:v>
                </c:pt>
                <c:pt idx="72592">
                  <c:v>35184</c:v>
                </c:pt>
                <c:pt idx="72593">
                  <c:v>41867</c:v>
                </c:pt>
                <c:pt idx="72594">
                  <c:v>26418</c:v>
                </c:pt>
                <c:pt idx="72595">
                  <c:v>27079</c:v>
                </c:pt>
                <c:pt idx="72596">
                  <c:v>37712</c:v>
                </c:pt>
                <c:pt idx="72597">
                  <c:v>103542</c:v>
                </c:pt>
                <c:pt idx="72598">
                  <c:v>37169</c:v>
                </c:pt>
                <c:pt idx="72599">
                  <c:v>99385</c:v>
                </c:pt>
                <c:pt idx="72600">
                  <c:v>28933</c:v>
                </c:pt>
                <c:pt idx="72601">
                  <c:v>35408</c:v>
                </c:pt>
                <c:pt idx="72602">
                  <c:v>69667</c:v>
                </c:pt>
                <c:pt idx="72603">
                  <c:v>42266</c:v>
                </c:pt>
                <c:pt idx="72604">
                  <c:v>47310</c:v>
                </c:pt>
                <c:pt idx="72605">
                  <c:v>77273</c:v>
                </c:pt>
                <c:pt idx="72606">
                  <c:v>51844</c:v>
                </c:pt>
                <c:pt idx="72607">
                  <c:v>43312</c:v>
                </c:pt>
                <c:pt idx="72608">
                  <c:v>45120</c:v>
                </c:pt>
                <c:pt idx="72609">
                  <c:v>79387</c:v>
                </c:pt>
                <c:pt idx="72610">
                  <c:v>26614</c:v>
                </c:pt>
                <c:pt idx="72611">
                  <c:v>42172</c:v>
                </c:pt>
                <c:pt idx="72612">
                  <c:v>82236</c:v>
                </c:pt>
                <c:pt idx="72613">
                  <c:v>46149</c:v>
                </c:pt>
                <c:pt idx="72614">
                  <c:v>32226</c:v>
                </c:pt>
                <c:pt idx="72615">
                  <c:v>29366</c:v>
                </c:pt>
                <c:pt idx="72616">
                  <c:v>46257</c:v>
                </c:pt>
                <c:pt idx="72617">
                  <c:v>19086</c:v>
                </c:pt>
                <c:pt idx="72618">
                  <c:v>73209</c:v>
                </c:pt>
                <c:pt idx="72619">
                  <c:v>40702</c:v>
                </c:pt>
                <c:pt idx="72620">
                  <c:v>101540</c:v>
                </c:pt>
                <c:pt idx="72621">
                  <c:v>37549</c:v>
                </c:pt>
                <c:pt idx="72622">
                  <c:v>30146</c:v>
                </c:pt>
                <c:pt idx="72623">
                  <c:v>230048</c:v>
                </c:pt>
                <c:pt idx="72624">
                  <c:v>29635</c:v>
                </c:pt>
                <c:pt idx="72625">
                  <c:v>79205</c:v>
                </c:pt>
                <c:pt idx="72626">
                  <c:v>27012</c:v>
                </c:pt>
                <c:pt idx="72627">
                  <c:v>52170</c:v>
                </c:pt>
                <c:pt idx="72628">
                  <c:v>23274</c:v>
                </c:pt>
                <c:pt idx="72629">
                  <c:v>23558</c:v>
                </c:pt>
                <c:pt idx="72630">
                  <c:v>29100</c:v>
                </c:pt>
                <c:pt idx="72631">
                  <c:v>70508</c:v>
                </c:pt>
                <c:pt idx="72632">
                  <c:v>29117</c:v>
                </c:pt>
                <c:pt idx="72633">
                  <c:v>51103</c:v>
                </c:pt>
                <c:pt idx="72634">
                  <c:v>46677</c:v>
                </c:pt>
                <c:pt idx="72635">
                  <c:v>28512</c:v>
                </c:pt>
                <c:pt idx="72636">
                  <c:v>39648</c:v>
                </c:pt>
                <c:pt idx="72637">
                  <c:v>77114</c:v>
                </c:pt>
                <c:pt idx="72638">
                  <c:v>30654</c:v>
                </c:pt>
                <c:pt idx="72639">
                  <c:v>59916</c:v>
                </c:pt>
                <c:pt idx="72640">
                  <c:v>22948</c:v>
                </c:pt>
                <c:pt idx="72641">
                  <c:v>29620</c:v>
                </c:pt>
                <c:pt idx="72642">
                  <c:v>26158</c:v>
                </c:pt>
                <c:pt idx="72643">
                  <c:v>46666</c:v>
                </c:pt>
                <c:pt idx="72644">
                  <c:v>84470</c:v>
                </c:pt>
                <c:pt idx="72645">
                  <c:v>129526</c:v>
                </c:pt>
                <c:pt idx="72646">
                  <c:v>36607</c:v>
                </c:pt>
                <c:pt idx="72647">
                  <c:v>23255</c:v>
                </c:pt>
                <c:pt idx="72648">
                  <c:v>50330</c:v>
                </c:pt>
                <c:pt idx="72649">
                  <c:v>134254</c:v>
                </c:pt>
                <c:pt idx="72650">
                  <c:v>26602</c:v>
                </c:pt>
                <c:pt idx="72651">
                  <c:v>52430</c:v>
                </c:pt>
                <c:pt idx="72652">
                  <c:v>36384</c:v>
                </c:pt>
                <c:pt idx="72653">
                  <c:v>211080</c:v>
                </c:pt>
                <c:pt idx="72654">
                  <c:v>38850</c:v>
                </c:pt>
                <c:pt idx="72655">
                  <c:v>37462</c:v>
                </c:pt>
                <c:pt idx="72656">
                  <c:v>47264</c:v>
                </c:pt>
                <c:pt idx="72657">
                  <c:v>39440</c:v>
                </c:pt>
                <c:pt idx="72658">
                  <c:v>37903</c:v>
                </c:pt>
                <c:pt idx="72659">
                  <c:v>125887</c:v>
                </c:pt>
                <c:pt idx="72660">
                  <c:v>41833</c:v>
                </c:pt>
                <c:pt idx="72661">
                  <c:v>57450</c:v>
                </c:pt>
                <c:pt idx="72662">
                  <c:v>26887</c:v>
                </c:pt>
                <c:pt idx="72663">
                  <c:v>32641</c:v>
                </c:pt>
                <c:pt idx="72664">
                  <c:v>59751</c:v>
                </c:pt>
                <c:pt idx="72665">
                  <c:v>45456</c:v>
                </c:pt>
                <c:pt idx="72666">
                  <c:v>47187</c:v>
                </c:pt>
                <c:pt idx="72667">
                  <c:v>62259</c:v>
                </c:pt>
                <c:pt idx="72668">
                  <c:v>166830</c:v>
                </c:pt>
                <c:pt idx="72669">
                  <c:v>67117</c:v>
                </c:pt>
                <c:pt idx="72670">
                  <c:v>171175</c:v>
                </c:pt>
                <c:pt idx="72671">
                  <c:v>45423</c:v>
                </c:pt>
                <c:pt idx="72672">
                  <c:v>55613</c:v>
                </c:pt>
                <c:pt idx="72673">
                  <c:v>26714</c:v>
                </c:pt>
                <c:pt idx="72674">
                  <c:v>39831</c:v>
                </c:pt>
                <c:pt idx="72675">
                  <c:v>41992</c:v>
                </c:pt>
                <c:pt idx="72676">
                  <c:v>42301</c:v>
                </c:pt>
                <c:pt idx="72677">
                  <c:v>42963</c:v>
                </c:pt>
                <c:pt idx="72678">
                  <c:v>37976</c:v>
                </c:pt>
                <c:pt idx="72679">
                  <c:v>21991</c:v>
                </c:pt>
                <c:pt idx="72680">
                  <c:v>55487</c:v>
                </c:pt>
                <c:pt idx="72681">
                  <c:v>144649</c:v>
                </c:pt>
                <c:pt idx="72682">
                  <c:v>38281</c:v>
                </c:pt>
                <c:pt idx="72683">
                  <c:v>117364</c:v>
                </c:pt>
                <c:pt idx="72684">
                  <c:v>42192</c:v>
                </c:pt>
                <c:pt idx="72685">
                  <c:v>32487</c:v>
                </c:pt>
                <c:pt idx="72686">
                  <c:v>37587</c:v>
                </c:pt>
                <c:pt idx="72687">
                  <c:v>28145</c:v>
                </c:pt>
                <c:pt idx="72688">
                  <c:v>22511</c:v>
                </c:pt>
                <c:pt idx="72689">
                  <c:v>26627</c:v>
                </c:pt>
                <c:pt idx="72690">
                  <c:v>52974</c:v>
                </c:pt>
                <c:pt idx="72691">
                  <c:v>28177</c:v>
                </c:pt>
                <c:pt idx="72692">
                  <c:v>25421</c:v>
                </c:pt>
                <c:pt idx="72693">
                  <c:v>40899</c:v>
                </c:pt>
                <c:pt idx="72694">
                  <c:v>47769</c:v>
                </c:pt>
                <c:pt idx="72695">
                  <c:v>44340</c:v>
                </c:pt>
                <c:pt idx="72696">
                  <c:v>71305</c:v>
                </c:pt>
                <c:pt idx="72697">
                  <c:v>45951</c:v>
                </c:pt>
                <c:pt idx="72698">
                  <c:v>22913</c:v>
                </c:pt>
                <c:pt idx="72699">
                  <c:v>31028</c:v>
                </c:pt>
                <c:pt idx="72700">
                  <c:v>26331</c:v>
                </c:pt>
                <c:pt idx="72701">
                  <c:v>46765</c:v>
                </c:pt>
                <c:pt idx="72702">
                  <c:v>51138</c:v>
                </c:pt>
                <c:pt idx="72703">
                  <c:v>164138</c:v>
                </c:pt>
                <c:pt idx="72704">
                  <c:v>56144</c:v>
                </c:pt>
                <c:pt idx="72705">
                  <c:v>50347</c:v>
                </c:pt>
                <c:pt idx="72706">
                  <c:v>25867</c:v>
                </c:pt>
                <c:pt idx="72707">
                  <c:v>30390</c:v>
                </c:pt>
                <c:pt idx="72708">
                  <c:v>65549</c:v>
                </c:pt>
                <c:pt idx="72709">
                  <c:v>67587</c:v>
                </c:pt>
                <c:pt idx="72710">
                  <c:v>33111</c:v>
                </c:pt>
                <c:pt idx="72711">
                  <c:v>19981</c:v>
                </c:pt>
                <c:pt idx="72712">
                  <c:v>36375</c:v>
                </c:pt>
                <c:pt idx="72713">
                  <c:v>33557</c:v>
                </c:pt>
                <c:pt idx="72714">
                  <c:v>169567</c:v>
                </c:pt>
                <c:pt idx="72715">
                  <c:v>220141</c:v>
                </c:pt>
                <c:pt idx="72716">
                  <c:v>50113</c:v>
                </c:pt>
                <c:pt idx="72717">
                  <c:v>52793</c:v>
                </c:pt>
                <c:pt idx="72718">
                  <c:v>44092</c:v>
                </c:pt>
                <c:pt idx="72719">
                  <c:v>99388</c:v>
                </c:pt>
                <c:pt idx="72720">
                  <c:v>43999</c:v>
                </c:pt>
                <c:pt idx="72721">
                  <c:v>80376</c:v>
                </c:pt>
                <c:pt idx="72722">
                  <c:v>35007</c:v>
                </c:pt>
                <c:pt idx="72723">
                  <c:v>67145</c:v>
                </c:pt>
                <c:pt idx="72724">
                  <c:v>58108</c:v>
                </c:pt>
                <c:pt idx="72725">
                  <c:v>111209</c:v>
                </c:pt>
                <c:pt idx="72726">
                  <c:v>46173</c:v>
                </c:pt>
                <c:pt idx="72727">
                  <c:v>29090</c:v>
                </c:pt>
                <c:pt idx="72728">
                  <c:v>51752</c:v>
                </c:pt>
                <c:pt idx="72729">
                  <c:v>43166</c:v>
                </c:pt>
                <c:pt idx="72730">
                  <c:v>42590</c:v>
                </c:pt>
                <c:pt idx="72731">
                  <c:v>40638</c:v>
                </c:pt>
                <c:pt idx="72732">
                  <c:v>27019</c:v>
                </c:pt>
                <c:pt idx="72733">
                  <c:v>29827</c:v>
                </c:pt>
                <c:pt idx="72734">
                  <c:v>44008</c:v>
                </c:pt>
                <c:pt idx="72735">
                  <c:v>94134</c:v>
                </c:pt>
                <c:pt idx="72736">
                  <c:v>54432</c:v>
                </c:pt>
                <c:pt idx="72737">
                  <c:v>36075</c:v>
                </c:pt>
                <c:pt idx="72738">
                  <c:v>33462</c:v>
                </c:pt>
                <c:pt idx="72739">
                  <c:v>45555</c:v>
                </c:pt>
                <c:pt idx="72740">
                  <c:v>43202</c:v>
                </c:pt>
                <c:pt idx="72741">
                  <c:v>24222</c:v>
                </c:pt>
                <c:pt idx="72742">
                  <c:v>144909</c:v>
                </c:pt>
                <c:pt idx="72743">
                  <c:v>58477</c:v>
                </c:pt>
                <c:pt idx="72744">
                  <c:v>36361</c:v>
                </c:pt>
                <c:pt idx="72745">
                  <c:v>37748</c:v>
                </c:pt>
                <c:pt idx="72746">
                  <c:v>67385</c:v>
                </c:pt>
                <c:pt idx="72747">
                  <c:v>45949</c:v>
                </c:pt>
                <c:pt idx="72748">
                  <c:v>31003</c:v>
                </c:pt>
                <c:pt idx="72749">
                  <c:v>35358</c:v>
                </c:pt>
                <c:pt idx="72750">
                  <c:v>36619</c:v>
                </c:pt>
                <c:pt idx="72751">
                  <c:v>29851</c:v>
                </c:pt>
                <c:pt idx="72752">
                  <c:v>28477</c:v>
                </c:pt>
                <c:pt idx="72753">
                  <c:v>44368</c:v>
                </c:pt>
                <c:pt idx="72754">
                  <c:v>25205</c:v>
                </c:pt>
                <c:pt idx="72755">
                  <c:v>72335</c:v>
                </c:pt>
                <c:pt idx="72756">
                  <c:v>37183</c:v>
                </c:pt>
                <c:pt idx="72757">
                  <c:v>32084</c:v>
                </c:pt>
                <c:pt idx="72758">
                  <c:v>46063</c:v>
                </c:pt>
                <c:pt idx="72759">
                  <c:v>36663</c:v>
                </c:pt>
                <c:pt idx="72760">
                  <c:v>45844</c:v>
                </c:pt>
                <c:pt idx="72761">
                  <c:v>47659</c:v>
                </c:pt>
                <c:pt idx="72762">
                  <c:v>27655</c:v>
                </c:pt>
                <c:pt idx="72763">
                  <c:v>43266</c:v>
                </c:pt>
                <c:pt idx="72764">
                  <c:v>28215</c:v>
                </c:pt>
                <c:pt idx="72765">
                  <c:v>44341</c:v>
                </c:pt>
                <c:pt idx="72766">
                  <c:v>41325</c:v>
                </c:pt>
                <c:pt idx="72767">
                  <c:v>22874</c:v>
                </c:pt>
                <c:pt idx="72768">
                  <c:v>197081</c:v>
                </c:pt>
                <c:pt idx="72769">
                  <c:v>36717</c:v>
                </c:pt>
                <c:pt idx="72770">
                  <c:v>52775</c:v>
                </c:pt>
                <c:pt idx="72771">
                  <c:v>227571</c:v>
                </c:pt>
                <c:pt idx="72772">
                  <c:v>25060</c:v>
                </c:pt>
                <c:pt idx="72773">
                  <c:v>40904</c:v>
                </c:pt>
                <c:pt idx="72774">
                  <c:v>41136</c:v>
                </c:pt>
                <c:pt idx="72775">
                  <c:v>65066</c:v>
                </c:pt>
                <c:pt idx="72776">
                  <c:v>27157</c:v>
                </c:pt>
                <c:pt idx="72777">
                  <c:v>35524</c:v>
                </c:pt>
                <c:pt idx="72778">
                  <c:v>107454</c:v>
                </c:pt>
                <c:pt idx="72779">
                  <c:v>61331</c:v>
                </c:pt>
                <c:pt idx="72780">
                  <c:v>106482</c:v>
                </c:pt>
                <c:pt idx="72781">
                  <c:v>35018</c:v>
                </c:pt>
                <c:pt idx="72782">
                  <c:v>29142</c:v>
                </c:pt>
                <c:pt idx="72783">
                  <c:v>92575</c:v>
                </c:pt>
                <c:pt idx="72784">
                  <c:v>72684</c:v>
                </c:pt>
                <c:pt idx="72785">
                  <c:v>35836</c:v>
                </c:pt>
                <c:pt idx="72786">
                  <c:v>38396</c:v>
                </c:pt>
                <c:pt idx="72787">
                  <c:v>47861</c:v>
                </c:pt>
                <c:pt idx="72788">
                  <c:v>47670</c:v>
                </c:pt>
                <c:pt idx="72789">
                  <c:v>29075</c:v>
                </c:pt>
                <c:pt idx="72790">
                  <c:v>21575</c:v>
                </c:pt>
                <c:pt idx="72791">
                  <c:v>29323</c:v>
                </c:pt>
                <c:pt idx="72792">
                  <c:v>62058</c:v>
                </c:pt>
                <c:pt idx="72793">
                  <c:v>36904</c:v>
                </c:pt>
                <c:pt idx="72794">
                  <c:v>46242</c:v>
                </c:pt>
                <c:pt idx="72795">
                  <c:v>30053</c:v>
                </c:pt>
                <c:pt idx="72796">
                  <c:v>59799</c:v>
                </c:pt>
                <c:pt idx="72797">
                  <c:v>39837</c:v>
                </c:pt>
                <c:pt idx="72798">
                  <c:v>168265</c:v>
                </c:pt>
                <c:pt idx="72799">
                  <c:v>42065</c:v>
                </c:pt>
                <c:pt idx="72800">
                  <c:v>36264</c:v>
                </c:pt>
                <c:pt idx="72801">
                  <c:v>91623</c:v>
                </c:pt>
                <c:pt idx="72802">
                  <c:v>39101</c:v>
                </c:pt>
                <c:pt idx="72803">
                  <c:v>42624</c:v>
                </c:pt>
                <c:pt idx="72804">
                  <c:v>55789</c:v>
                </c:pt>
                <c:pt idx="72805">
                  <c:v>33947</c:v>
                </c:pt>
                <c:pt idx="72806">
                  <c:v>26641</c:v>
                </c:pt>
                <c:pt idx="72807">
                  <c:v>55895</c:v>
                </c:pt>
                <c:pt idx="72808">
                  <c:v>26325</c:v>
                </c:pt>
                <c:pt idx="72809">
                  <c:v>150485</c:v>
                </c:pt>
                <c:pt idx="72810">
                  <c:v>43580</c:v>
                </c:pt>
                <c:pt idx="72811">
                  <c:v>253162</c:v>
                </c:pt>
                <c:pt idx="72812">
                  <c:v>77544</c:v>
                </c:pt>
                <c:pt idx="72813">
                  <c:v>61430</c:v>
                </c:pt>
                <c:pt idx="72814">
                  <c:v>37619</c:v>
                </c:pt>
                <c:pt idx="72815">
                  <c:v>24987</c:v>
                </c:pt>
                <c:pt idx="72816">
                  <c:v>83734</c:v>
                </c:pt>
                <c:pt idx="72817">
                  <c:v>39038</c:v>
                </c:pt>
                <c:pt idx="72818">
                  <c:v>17937</c:v>
                </c:pt>
                <c:pt idx="72819">
                  <c:v>25824</c:v>
                </c:pt>
                <c:pt idx="72820">
                  <c:v>39112</c:v>
                </c:pt>
                <c:pt idx="72821">
                  <c:v>69842</c:v>
                </c:pt>
                <c:pt idx="72822">
                  <c:v>24404</c:v>
                </c:pt>
                <c:pt idx="72823">
                  <c:v>34228</c:v>
                </c:pt>
                <c:pt idx="72824">
                  <c:v>29475</c:v>
                </c:pt>
                <c:pt idx="72825">
                  <c:v>38320</c:v>
                </c:pt>
                <c:pt idx="72826">
                  <c:v>33043</c:v>
                </c:pt>
                <c:pt idx="72827">
                  <c:v>71955</c:v>
                </c:pt>
                <c:pt idx="72828">
                  <c:v>34301</c:v>
                </c:pt>
                <c:pt idx="72829">
                  <c:v>30453</c:v>
                </c:pt>
                <c:pt idx="72830">
                  <c:v>44645</c:v>
                </c:pt>
                <c:pt idx="72831">
                  <c:v>32836</c:v>
                </c:pt>
                <c:pt idx="72832">
                  <c:v>28967</c:v>
                </c:pt>
                <c:pt idx="72833">
                  <c:v>47077</c:v>
                </c:pt>
                <c:pt idx="72834">
                  <c:v>57889</c:v>
                </c:pt>
                <c:pt idx="72835">
                  <c:v>349282</c:v>
                </c:pt>
                <c:pt idx="72836">
                  <c:v>325616</c:v>
                </c:pt>
                <c:pt idx="72837">
                  <c:v>28082</c:v>
                </c:pt>
                <c:pt idx="72838">
                  <c:v>38755</c:v>
                </c:pt>
                <c:pt idx="72839">
                  <c:v>104063</c:v>
                </c:pt>
                <c:pt idx="72840">
                  <c:v>41576</c:v>
                </c:pt>
                <c:pt idx="72841">
                  <c:v>82957</c:v>
                </c:pt>
                <c:pt idx="72842">
                  <c:v>42177</c:v>
                </c:pt>
                <c:pt idx="72843">
                  <c:v>30889</c:v>
                </c:pt>
                <c:pt idx="72844">
                  <c:v>54122</c:v>
                </c:pt>
                <c:pt idx="72845">
                  <c:v>147214</c:v>
                </c:pt>
                <c:pt idx="72846">
                  <c:v>30457</c:v>
                </c:pt>
                <c:pt idx="72847">
                  <c:v>41709</c:v>
                </c:pt>
                <c:pt idx="72848">
                  <c:v>31340</c:v>
                </c:pt>
                <c:pt idx="72849">
                  <c:v>72189</c:v>
                </c:pt>
                <c:pt idx="72850">
                  <c:v>29900</c:v>
                </c:pt>
                <c:pt idx="72851">
                  <c:v>118455</c:v>
                </c:pt>
                <c:pt idx="72852">
                  <c:v>41844</c:v>
                </c:pt>
                <c:pt idx="72853">
                  <c:v>39906</c:v>
                </c:pt>
                <c:pt idx="72854">
                  <c:v>54422</c:v>
                </c:pt>
                <c:pt idx="72855">
                  <c:v>46169</c:v>
                </c:pt>
                <c:pt idx="72856">
                  <c:v>34273</c:v>
                </c:pt>
                <c:pt idx="72857">
                  <c:v>31970</c:v>
                </c:pt>
                <c:pt idx="72858">
                  <c:v>83944</c:v>
                </c:pt>
                <c:pt idx="72859">
                  <c:v>33716</c:v>
                </c:pt>
                <c:pt idx="72860">
                  <c:v>40827</c:v>
                </c:pt>
                <c:pt idx="72861">
                  <c:v>65671</c:v>
                </c:pt>
                <c:pt idx="72862">
                  <c:v>85380</c:v>
                </c:pt>
                <c:pt idx="72863">
                  <c:v>48159</c:v>
                </c:pt>
                <c:pt idx="72864">
                  <c:v>95225</c:v>
                </c:pt>
                <c:pt idx="72865">
                  <c:v>39166</c:v>
                </c:pt>
                <c:pt idx="72866">
                  <c:v>52923</c:v>
                </c:pt>
                <c:pt idx="72867">
                  <c:v>32591</c:v>
                </c:pt>
                <c:pt idx="72868">
                  <c:v>27712</c:v>
                </c:pt>
                <c:pt idx="72869">
                  <c:v>156285</c:v>
                </c:pt>
                <c:pt idx="72870">
                  <c:v>193494</c:v>
                </c:pt>
                <c:pt idx="72871">
                  <c:v>22132</c:v>
                </c:pt>
                <c:pt idx="72872">
                  <c:v>24710</c:v>
                </c:pt>
                <c:pt idx="72873">
                  <c:v>22473</c:v>
                </c:pt>
                <c:pt idx="72874">
                  <c:v>154832</c:v>
                </c:pt>
                <c:pt idx="72875">
                  <c:v>24762</c:v>
                </c:pt>
                <c:pt idx="72876">
                  <c:v>49081</c:v>
                </c:pt>
                <c:pt idx="72877">
                  <c:v>26558</c:v>
                </c:pt>
                <c:pt idx="72878">
                  <c:v>49921</c:v>
                </c:pt>
                <c:pt idx="72879">
                  <c:v>195057</c:v>
                </c:pt>
                <c:pt idx="72880">
                  <c:v>94013</c:v>
                </c:pt>
                <c:pt idx="72881">
                  <c:v>48993</c:v>
                </c:pt>
                <c:pt idx="72882">
                  <c:v>34120</c:v>
                </c:pt>
                <c:pt idx="72883">
                  <c:v>37468</c:v>
                </c:pt>
                <c:pt idx="72884">
                  <c:v>84949</c:v>
                </c:pt>
                <c:pt idx="72885">
                  <c:v>31313</c:v>
                </c:pt>
                <c:pt idx="72886">
                  <c:v>41975</c:v>
                </c:pt>
                <c:pt idx="72887">
                  <c:v>22193</c:v>
                </c:pt>
                <c:pt idx="72888">
                  <c:v>30121</c:v>
                </c:pt>
                <c:pt idx="72889">
                  <c:v>37285</c:v>
                </c:pt>
                <c:pt idx="72890">
                  <c:v>34187</c:v>
                </c:pt>
                <c:pt idx="72891">
                  <c:v>50533</c:v>
                </c:pt>
                <c:pt idx="72892">
                  <c:v>232702</c:v>
                </c:pt>
                <c:pt idx="72893">
                  <c:v>60095</c:v>
                </c:pt>
                <c:pt idx="72894">
                  <c:v>32964</c:v>
                </c:pt>
                <c:pt idx="72895">
                  <c:v>69927</c:v>
                </c:pt>
                <c:pt idx="72896">
                  <c:v>49965</c:v>
                </c:pt>
                <c:pt idx="72897">
                  <c:v>34661</c:v>
                </c:pt>
                <c:pt idx="72898">
                  <c:v>48724</c:v>
                </c:pt>
                <c:pt idx="72899">
                  <c:v>104054</c:v>
                </c:pt>
                <c:pt idx="72900">
                  <c:v>51145</c:v>
                </c:pt>
                <c:pt idx="72901">
                  <c:v>109850</c:v>
                </c:pt>
                <c:pt idx="72902">
                  <c:v>32630</c:v>
                </c:pt>
                <c:pt idx="72903">
                  <c:v>33824</c:v>
                </c:pt>
                <c:pt idx="72904">
                  <c:v>25077</c:v>
                </c:pt>
                <c:pt idx="72905">
                  <c:v>35889</c:v>
                </c:pt>
                <c:pt idx="72906">
                  <c:v>54488</c:v>
                </c:pt>
                <c:pt idx="72907">
                  <c:v>37364</c:v>
                </c:pt>
                <c:pt idx="72908">
                  <c:v>39249</c:v>
                </c:pt>
                <c:pt idx="72909">
                  <c:v>144112</c:v>
                </c:pt>
                <c:pt idx="72910">
                  <c:v>94620</c:v>
                </c:pt>
                <c:pt idx="72911">
                  <c:v>22815</c:v>
                </c:pt>
                <c:pt idx="72912">
                  <c:v>64766</c:v>
                </c:pt>
                <c:pt idx="72913">
                  <c:v>28413</c:v>
                </c:pt>
                <c:pt idx="72914">
                  <c:v>36096</c:v>
                </c:pt>
                <c:pt idx="72915">
                  <c:v>95807</c:v>
                </c:pt>
                <c:pt idx="72916">
                  <c:v>30053</c:v>
                </c:pt>
                <c:pt idx="72917">
                  <c:v>53813</c:v>
                </c:pt>
                <c:pt idx="72918">
                  <c:v>55242</c:v>
                </c:pt>
                <c:pt idx="72919">
                  <c:v>107769</c:v>
                </c:pt>
                <c:pt idx="72920">
                  <c:v>73712</c:v>
                </c:pt>
                <c:pt idx="72921">
                  <c:v>29652</c:v>
                </c:pt>
                <c:pt idx="72922">
                  <c:v>43078</c:v>
                </c:pt>
                <c:pt idx="72923">
                  <c:v>42202</c:v>
                </c:pt>
                <c:pt idx="72924">
                  <c:v>106024</c:v>
                </c:pt>
                <c:pt idx="72925">
                  <c:v>24707</c:v>
                </c:pt>
                <c:pt idx="72926">
                  <c:v>37112</c:v>
                </c:pt>
                <c:pt idx="72927">
                  <c:v>92438</c:v>
                </c:pt>
                <c:pt idx="72928">
                  <c:v>41231</c:v>
                </c:pt>
                <c:pt idx="72929">
                  <c:v>35451</c:v>
                </c:pt>
                <c:pt idx="72930">
                  <c:v>33316</c:v>
                </c:pt>
                <c:pt idx="72931">
                  <c:v>27493</c:v>
                </c:pt>
                <c:pt idx="72932">
                  <c:v>25315</c:v>
                </c:pt>
                <c:pt idx="72933">
                  <c:v>146166</c:v>
                </c:pt>
                <c:pt idx="72934">
                  <c:v>38988</c:v>
                </c:pt>
                <c:pt idx="72935">
                  <c:v>34218</c:v>
                </c:pt>
                <c:pt idx="72936">
                  <c:v>96838</c:v>
                </c:pt>
                <c:pt idx="72937">
                  <c:v>29296</c:v>
                </c:pt>
                <c:pt idx="72938">
                  <c:v>70273</c:v>
                </c:pt>
                <c:pt idx="72939">
                  <c:v>57563</c:v>
                </c:pt>
                <c:pt idx="72940">
                  <c:v>43892</c:v>
                </c:pt>
                <c:pt idx="72941">
                  <c:v>35374</c:v>
                </c:pt>
                <c:pt idx="72942">
                  <c:v>115550</c:v>
                </c:pt>
                <c:pt idx="72943">
                  <c:v>29284</c:v>
                </c:pt>
                <c:pt idx="72944">
                  <c:v>98894</c:v>
                </c:pt>
                <c:pt idx="72945">
                  <c:v>33815</c:v>
                </c:pt>
                <c:pt idx="72946">
                  <c:v>123656</c:v>
                </c:pt>
                <c:pt idx="72947">
                  <c:v>36972</c:v>
                </c:pt>
                <c:pt idx="72948">
                  <c:v>32145</c:v>
                </c:pt>
                <c:pt idx="72949">
                  <c:v>30223</c:v>
                </c:pt>
                <c:pt idx="72950">
                  <c:v>24269</c:v>
                </c:pt>
                <c:pt idx="72951">
                  <c:v>101634</c:v>
                </c:pt>
                <c:pt idx="72952">
                  <c:v>44619</c:v>
                </c:pt>
                <c:pt idx="72953">
                  <c:v>40411</c:v>
                </c:pt>
                <c:pt idx="72954">
                  <c:v>48870</c:v>
                </c:pt>
                <c:pt idx="72955">
                  <c:v>51498</c:v>
                </c:pt>
                <c:pt idx="72956">
                  <c:v>72518</c:v>
                </c:pt>
                <c:pt idx="72957">
                  <c:v>33444</c:v>
                </c:pt>
                <c:pt idx="72958">
                  <c:v>42203</c:v>
                </c:pt>
                <c:pt idx="72959">
                  <c:v>53223</c:v>
                </c:pt>
                <c:pt idx="72960">
                  <c:v>31307</c:v>
                </c:pt>
                <c:pt idx="72961">
                  <c:v>226126</c:v>
                </c:pt>
                <c:pt idx="72962">
                  <c:v>43150</c:v>
                </c:pt>
                <c:pt idx="72963">
                  <c:v>36760</c:v>
                </c:pt>
                <c:pt idx="72964">
                  <c:v>41948</c:v>
                </c:pt>
                <c:pt idx="72965">
                  <c:v>54402</c:v>
                </c:pt>
                <c:pt idx="72966">
                  <c:v>24020</c:v>
                </c:pt>
                <c:pt idx="72967">
                  <c:v>75566</c:v>
                </c:pt>
                <c:pt idx="72968">
                  <c:v>55998</c:v>
                </c:pt>
                <c:pt idx="72969">
                  <c:v>36696</c:v>
                </c:pt>
                <c:pt idx="72970">
                  <c:v>110186</c:v>
                </c:pt>
                <c:pt idx="72971">
                  <c:v>48425</c:v>
                </c:pt>
                <c:pt idx="72972">
                  <c:v>63554</c:v>
                </c:pt>
                <c:pt idx="72973">
                  <c:v>51218</c:v>
                </c:pt>
                <c:pt idx="72974">
                  <c:v>502117</c:v>
                </c:pt>
                <c:pt idx="72975">
                  <c:v>50088</c:v>
                </c:pt>
                <c:pt idx="72976">
                  <c:v>47791</c:v>
                </c:pt>
                <c:pt idx="72977">
                  <c:v>106683</c:v>
                </c:pt>
                <c:pt idx="72978">
                  <c:v>38654</c:v>
                </c:pt>
                <c:pt idx="72979">
                  <c:v>46708</c:v>
                </c:pt>
                <c:pt idx="72980">
                  <c:v>43743</c:v>
                </c:pt>
                <c:pt idx="72981">
                  <c:v>75653</c:v>
                </c:pt>
                <c:pt idx="72982">
                  <c:v>53530</c:v>
                </c:pt>
                <c:pt idx="72983">
                  <c:v>40010</c:v>
                </c:pt>
                <c:pt idx="72984">
                  <c:v>81521</c:v>
                </c:pt>
                <c:pt idx="72985">
                  <c:v>43669</c:v>
                </c:pt>
                <c:pt idx="72986">
                  <c:v>43430</c:v>
                </c:pt>
                <c:pt idx="72987">
                  <c:v>30813</c:v>
                </c:pt>
                <c:pt idx="72988">
                  <c:v>22925</c:v>
                </c:pt>
                <c:pt idx="72989">
                  <c:v>59462</c:v>
                </c:pt>
                <c:pt idx="72990">
                  <c:v>33260</c:v>
                </c:pt>
                <c:pt idx="72991">
                  <c:v>179477</c:v>
                </c:pt>
                <c:pt idx="72992">
                  <c:v>42212</c:v>
                </c:pt>
                <c:pt idx="72993">
                  <c:v>65805</c:v>
                </c:pt>
                <c:pt idx="72994">
                  <c:v>93165</c:v>
                </c:pt>
                <c:pt idx="72995">
                  <c:v>63263</c:v>
                </c:pt>
                <c:pt idx="72996">
                  <c:v>108370</c:v>
                </c:pt>
                <c:pt idx="72997">
                  <c:v>46742</c:v>
                </c:pt>
                <c:pt idx="72998">
                  <c:v>41376</c:v>
                </c:pt>
                <c:pt idx="72999">
                  <c:v>39519</c:v>
                </c:pt>
                <c:pt idx="73000">
                  <c:v>22595</c:v>
                </c:pt>
                <c:pt idx="73001">
                  <c:v>57212</c:v>
                </c:pt>
                <c:pt idx="73002">
                  <c:v>115217</c:v>
                </c:pt>
                <c:pt idx="73003">
                  <c:v>134916</c:v>
                </c:pt>
                <c:pt idx="73004">
                  <c:v>175641</c:v>
                </c:pt>
                <c:pt idx="73005">
                  <c:v>25002</c:v>
                </c:pt>
                <c:pt idx="73006">
                  <c:v>79778</c:v>
                </c:pt>
                <c:pt idx="73007">
                  <c:v>62268</c:v>
                </c:pt>
                <c:pt idx="73008">
                  <c:v>84431</c:v>
                </c:pt>
                <c:pt idx="73009">
                  <c:v>61956</c:v>
                </c:pt>
                <c:pt idx="73010">
                  <c:v>25743</c:v>
                </c:pt>
                <c:pt idx="73011">
                  <c:v>60902</c:v>
                </c:pt>
                <c:pt idx="73012">
                  <c:v>78762</c:v>
                </c:pt>
                <c:pt idx="73013">
                  <c:v>39616</c:v>
                </c:pt>
                <c:pt idx="73014">
                  <c:v>95551</c:v>
                </c:pt>
                <c:pt idx="73015">
                  <c:v>70421</c:v>
                </c:pt>
                <c:pt idx="73016">
                  <c:v>24515</c:v>
                </c:pt>
                <c:pt idx="73017">
                  <c:v>25690</c:v>
                </c:pt>
                <c:pt idx="73018">
                  <c:v>132733</c:v>
                </c:pt>
                <c:pt idx="73019">
                  <c:v>29303</c:v>
                </c:pt>
                <c:pt idx="73020">
                  <c:v>23534</c:v>
                </c:pt>
                <c:pt idx="73021">
                  <c:v>45618</c:v>
                </c:pt>
                <c:pt idx="73022">
                  <c:v>22233</c:v>
                </c:pt>
                <c:pt idx="73023">
                  <c:v>17019</c:v>
                </c:pt>
                <c:pt idx="73024">
                  <c:v>26847</c:v>
                </c:pt>
                <c:pt idx="73025">
                  <c:v>51222</c:v>
                </c:pt>
                <c:pt idx="73026">
                  <c:v>38275</c:v>
                </c:pt>
                <c:pt idx="73027">
                  <c:v>28086</c:v>
                </c:pt>
                <c:pt idx="73028">
                  <c:v>115171</c:v>
                </c:pt>
                <c:pt idx="73029">
                  <c:v>70677</c:v>
                </c:pt>
                <c:pt idx="73030">
                  <c:v>34420</c:v>
                </c:pt>
                <c:pt idx="73031">
                  <c:v>109527</c:v>
                </c:pt>
                <c:pt idx="73032">
                  <c:v>248507</c:v>
                </c:pt>
                <c:pt idx="73033">
                  <c:v>115065</c:v>
                </c:pt>
                <c:pt idx="73034">
                  <c:v>105057</c:v>
                </c:pt>
                <c:pt idx="73035">
                  <c:v>24388</c:v>
                </c:pt>
                <c:pt idx="73036">
                  <c:v>196995</c:v>
                </c:pt>
                <c:pt idx="73037">
                  <c:v>52077</c:v>
                </c:pt>
                <c:pt idx="73038">
                  <c:v>35166</c:v>
                </c:pt>
                <c:pt idx="73039">
                  <c:v>28501</c:v>
                </c:pt>
                <c:pt idx="73040">
                  <c:v>39527</c:v>
                </c:pt>
                <c:pt idx="73041">
                  <c:v>38397</c:v>
                </c:pt>
                <c:pt idx="73042">
                  <c:v>43223</c:v>
                </c:pt>
                <c:pt idx="73043">
                  <c:v>38986</c:v>
                </c:pt>
                <c:pt idx="73044">
                  <c:v>148417</c:v>
                </c:pt>
                <c:pt idx="73045">
                  <c:v>25287</c:v>
                </c:pt>
                <c:pt idx="73046">
                  <c:v>24726</c:v>
                </c:pt>
                <c:pt idx="73047">
                  <c:v>25581</c:v>
                </c:pt>
                <c:pt idx="73048">
                  <c:v>39342</c:v>
                </c:pt>
                <c:pt idx="73049">
                  <c:v>256964</c:v>
                </c:pt>
                <c:pt idx="73050">
                  <c:v>143832</c:v>
                </c:pt>
                <c:pt idx="73051">
                  <c:v>25964</c:v>
                </c:pt>
                <c:pt idx="73052">
                  <c:v>162286</c:v>
                </c:pt>
                <c:pt idx="73053">
                  <c:v>108407</c:v>
                </c:pt>
                <c:pt idx="73054">
                  <c:v>43355</c:v>
                </c:pt>
                <c:pt idx="73055">
                  <c:v>167501</c:v>
                </c:pt>
                <c:pt idx="73056">
                  <c:v>84127</c:v>
                </c:pt>
                <c:pt idx="73057">
                  <c:v>40503</c:v>
                </c:pt>
                <c:pt idx="73058">
                  <c:v>148212</c:v>
                </c:pt>
                <c:pt idx="73059">
                  <c:v>58121</c:v>
                </c:pt>
                <c:pt idx="73060">
                  <c:v>117291</c:v>
                </c:pt>
                <c:pt idx="73061">
                  <c:v>152720</c:v>
                </c:pt>
                <c:pt idx="73062">
                  <c:v>54000</c:v>
                </c:pt>
                <c:pt idx="73063">
                  <c:v>23453</c:v>
                </c:pt>
                <c:pt idx="73064">
                  <c:v>23068</c:v>
                </c:pt>
                <c:pt idx="73065">
                  <c:v>98073</c:v>
                </c:pt>
                <c:pt idx="73066">
                  <c:v>27118</c:v>
                </c:pt>
                <c:pt idx="73067">
                  <c:v>93503</c:v>
                </c:pt>
                <c:pt idx="73068">
                  <c:v>38465</c:v>
                </c:pt>
                <c:pt idx="73069">
                  <c:v>23851</c:v>
                </c:pt>
                <c:pt idx="73070">
                  <c:v>41741</c:v>
                </c:pt>
                <c:pt idx="73071">
                  <c:v>38123</c:v>
                </c:pt>
                <c:pt idx="73072">
                  <c:v>37089</c:v>
                </c:pt>
                <c:pt idx="73073">
                  <c:v>112012</c:v>
                </c:pt>
                <c:pt idx="73074">
                  <c:v>165314</c:v>
                </c:pt>
                <c:pt idx="73075">
                  <c:v>35552</c:v>
                </c:pt>
                <c:pt idx="73076">
                  <c:v>34286</c:v>
                </c:pt>
                <c:pt idx="73077">
                  <c:v>36702</c:v>
                </c:pt>
                <c:pt idx="73078">
                  <c:v>69094</c:v>
                </c:pt>
                <c:pt idx="73079">
                  <c:v>40693</c:v>
                </c:pt>
                <c:pt idx="73080">
                  <c:v>53948</c:v>
                </c:pt>
                <c:pt idx="73081">
                  <c:v>36232</c:v>
                </c:pt>
                <c:pt idx="73082">
                  <c:v>42636</c:v>
                </c:pt>
                <c:pt idx="73083">
                  <c:v>49768</c:v>
                </c:pt>
                <c:pt idx="73084">
                  <c:v>54031</c:v>
                </c:pt>
                <c:pt idx="73085">
                  <c:v>106024</c:v>
                </c:pt>
                <c:pt idx="73086">
                  <c:v>48373</c:v>
                </c:pt>
                <c:pt idx="73087">
                  <c:v>86119</c:v>
                </c:pt>
                <c:pt idx="73088">
                  <c:v>30071</c:v>
                </c:pt>
                <c:pt idx="73089">
                  <c:v>27605</c:v>
                </c:pt>
                <c:pt idx="73090">
                  <c:v>27091</c:v>
                </c:pt>
                <c:pt idx="73091">
                  <c:v>95616</c:v>
                </c:pt>
                <c:pt idx="73092">
                  <c:v>49725</c:v>
                </c:pt>
                <c:pt idx="73093">
                  <c:v>42066</c:v>
                </c:pt>
                <c:pt idx="73094">
                  <c:v>42238</c:v>
                </c:pt>
                <c:pt idx="73095">
                  <c:v>85977</c:v>
                </c:pt>
                <c:pt idx="73096">
                  <c:v>36401</c:v>
                </c:pt>
                <c:pt idx="73097">
                  <c:v>53222</c:v>
                </c:pt>
                <c:pt idx="73098">
                  <c:v>39268</c:v>
                </c:pt>
                <c:pt idx="73099">
                  <c:v>57160</c:v>
                </c:pt>
                <c:pt idx="73100">
                  <c:v>56313</c:v>
                </c:pt>
                <c:pt idx="73101">
                  <c:v>104713</c:v>
                </c:pt>
                <c:pt idx="73102">
                  <c:v>38848</c:v>
                </c:pt>
                <c:pt idx="73103">
                  <c:v>53225</c:v>
                </c:pt>
                <c:pt idx="73104">
                  <c:v>38299</c:v>
                </c:pt>
                <c:pt idx="73105">
                  <c:v>31249</c:v>
                </c:pt>
                <c:pt idx="73106">
                  <c:v>103853</c:v>
                </c:pt>
                <c:pt idx="73107">
                  <c:v>25479</c:v>
                </c:pt>
                <c:pt idx="73108">
                  <c:v>55660</c:v>
                </c:pt>
                <c:pt idx="73109">
                  <c:v>85517</c:v>
                </c:pt>
                <c:pt idx="73110">
                  <c:v>412115</c:v>
                </c:pt>
                <c:pt idx="73111">
                  <c:v>29965</c:v>
                </c:pt>
                <c:pt idx="73112">
                  <c:v>54477</c:v>
                </c:pt>
                <c:pt idx="73113">
                  <c:v>47679</c:v>
                </c:pt>
                <c:pt idx="73114">
                  <c:v>42028</c:v>
                </c:pt>
                <c:pt idx="73115">
                  <c:v>31922</c:v>
                </c:pt>
                <c:pt idx="73116">
                  <c:v>126097</c:v>
                </c:pt>
                <c:pt idx="73117">
                  <c:v>64665</c:v>
                </c:pt>
                <c:pt idx="73118">
                  <c:v>33140</c:v>
                </c:pt>
                <c:pt idx="73119">
                  <c:v>40530</c:v>
                </c:pt>
                <c:pt idx="73120">
                  <c:v>33661</c:v>
                </c:pt>
                <c:pt idx="73121">
                  <c:v>35232</c:v>
                </c:pt>
                <c:pt idx="73122">
                  <c:v>22120</c:v>
                </c:pt>
                <c:pt idx="73123">
                  <c:v>23521</c:v>
                </c:pt>
                <c:pt idx="73124">
                  <c:v>113395</c:v>
                </c:pt>
                <c:pt idx="73125">
                  <c:v>41797</c:v>
                </c:pt>
                <c:pt idx="73126">
                  <c:v>34665</c:v>
                </c:pt>
                <c:pt idx="73127">
                  <c:v>25878</c:v>
                </c:pt>
                <c:pt idx="73128">
                  <c:v>195390</c:v>
                </c:pt>
                <c:pt idx="73129">
                  <c:v>262195</c:v>
                </c:pt>
                <c:pt idx="73130">
                  <c:v>48231</c:v>
                </c:pt>
                <c:pt idx="73131">
                  <c:v>194638</c:v>
                </c:pt>
                <c:pt idx="73132">
                  <c:v>36725</c:v>
                </c:pt>
                <c:pt idx="73133">
                  <c:v>33870</c:v>
                </c:pt>
                <c:pt idx="73134">
                  <c:v>47185</c:v>
                </c:pt>
                <c:pt idx="73135">
                  <c:v>46629</c:v>
                </c:pt>
                <c:pt idx="73136">
                  <c:v>42473</c:v>
                </c:pt>
                <c:pt idx="73137">
                  <c:v>39584</c:v>
                </c:pt>
                <c:pt idx="73138">
                  <c:v>19940</c:v>
                </c:pt>
                <c:pt idx="73139">
                  <c:v>38457</c:v>
                </c:pt>
                <c:pt idx="73140">
                  <c:v>23908</c:v>
                </c:pt>
                <c:pt idx="73141">
                  <c:v>78135</c:v>
                </c:pt>
                <c:pt idx="73142">
                  <c:v>43815</c:v>
                </c:pt>
                <c:pt idx="73143">
                  <c:v>50204</c:v>
                </c:pt>
                <c:pt idx="73144">
                  <c:v>31265</c:v>
                </c:pt>
                <c:pt idx="73145">
                  <c:v>29924</c:v>
                </c:pt>
                <c:pt idx="73146">
                  <c:v>24870</c:v>
                </c:pt>
                <c:pt idx="73147">
                  <c:v>32562</c:v>
                </c:pt>
                <c:pt idx="73148">
                  <c:v>32442</c:v>
                </c:pt>
                <c:pt idx="73149">
                  <c:v>46030</c:v>
                </c:pt>
                <c:pt idx="73150">
                  <c:v>33208</c:v>
                </c:pt>
                <c:pt idx="73151">
                  <c:v>53804</c:v>
                </c:pt>
                <c:pt idx="73152">
                  <c:v>54820</c:v>
                </c:pt>
                <c:pt idx="73153">
                  <c:v>115639</c:v>
                </c:pt>
                <c:pt idx="73154">
                  <c:v>20624</c:v>
                </c:pt>
                <c:pt idx="73155">
                  <c:v>33556</c:v>
                </c:pt>
                <c:pt idx="73156">
                  <c:v>32857</c:v>
                </c:pt>
                <c:pt idx="73157">
                  <c:v>25279</c:v>
                </c:pt>
                <c:pt idx="73158">
                  <c:v>49536</c:v>
                </c:pt>
                <c:pt idx="73159">
                  <c:v>35518</c:v>
                </c:pt>
                <c:pt idx="73160">
                  <c:v>58815</c:v>
                </c:pt>
                <c:pt idx="73161">
                  <c:v>25968</c:v>
                </c:pt>
                <c:pt idx="73162">
                  <c:v>45287</c:v>
                </c:pt>
                <c:pt idx="73163">
                  <c:v>281727</c:v>
                </c:pt>
                <c:pt idx="73164">
                  <c:v>48229</c:v>
                </c:pt>
                <c:pt idx="73165">
                  <c:v>456048</c:v>
                </c:pt>
                <c:pt idx="73166">
                  <c:v>32648</c:v>
                </c:pt>
                <c:pt idx="73167">
                  <c:v>34595</c:v>
                </c:pt>
                <c:pt idx="73168">
                  <c:v>61920</c:v>
                </c:pt>
                <c:pt idx="73169">
                  <c:v>25360</c:v>
                </c:pt>
                <c:pt idx="73170">
                  <c:v>81893</c:v>
                </c:pt>
                <c:pt idx="73171">
                  <c:v>42728</c:v>
                </c:pt>
                <c:pt idx="73172">
                  <c:v>41071</c:v>
                </c:pt>
                <c:pt idx="73173">
                  <c:v>35314</c:v>
                </c:pt>
                <c:pt idx="73174">
                  <c:v>148654</c:v>
                </c:pt>
                <c:pt idx="73175">
                  <c:v>70905</c:v>
                </c:pt>
                <c:pt idx="73176">
                  <c:v>64701</c:v>
                </c:pt>
                <c:pt idx="73177">
                  <c:v>26542</c:v>
                </c:pt>
                <c:pt idx="73178">
                  <c:v>42718</c:v>
                </c:pt>
                <c:pt idx="73179">
                  <c:v>40790</c:v>
                </c:pt>
                <c:pt idx="73180">
                  <c:v>25227</c:v>
                </c:pt>
                <c:pt idx="73181">
                  <c:v>64356</c:v>
                </c:pt>
                <c:pt idx="73182">
                  <c:v>40740</c:v>
                </c:pt>
                <c:pt idx="73183">
                  <c:v>25587</c:v>
                </c:pt>
                <c:pt idx="73184">
                  <c:v>83991</c:v>
                </c:pt>
                <c:pt idx="73185">
                  <c:v>55564</c:v>
                </c:pt>
                <c:pt idx="73186">
                  <c:v>42638</c:v>
                </c:pt>
                <c:pt idx="73187">
                  <c:v>29864</c:v>
                </c:pt>
                <c:pt idx="73188">
                  <c:v>214602</c:v>
                </c:pt>
                <c:pt idx="73189">
                  <c:v>41127</c:v>
                </c:pt>
                <c:pt idx="73190">
                  <c:v>21801</c:v>
                </c:pt>
                <c:pt idx="73191">
                  <c:v>38486</c:v>
                </c:pt>
                <c:pt idx="73192">
                  <c:v>195326</c:v>
                </c:pt>
                <c:pt idx="73193">
                  <c:v>23752</c:v>
                </c:pt>
                <c:pt idx="73194">
                  <c:v>65769</c:v>
                </c:pt>
                <c:pt idx="73195">
                  <c:v>33367</c:v>
                </c:pt>
                <c:pt idx="73196">
                  <c:v>142657</c:v>
                </c:pt>
                <c:pt idx="73197">
                  <c:v>45469</c:v>
                </c:pt>
                <c:pt idx="73198">
                  <c:v>35958</c:v>
                </c:pt>
                <c:pt idx="73199">
                  <c:v>117030</c:v>
                </c:pt>
                <c:pt idx="73200">
                  <c:v>42545</c:v>
                </c:pt>
                <c:pt idx="73201">
                  <c:v>152258</c:v>
                </c:pt>
                <c:pt idx="73202">
                  <c:v>33856</c:v>
                </c:pt>
                <c:pt idx="73203">
                  <c:v>26454</c:v>
                </c:pt>
                <c:pt idx="73204">
                  <c:v>64118</c:v>
                </c:pt>
                <c:pt idx="73205">
                  <c:v>92186</c:v>
                </c:pt>
                <c:pt idx="73206">
                  <c:v>24808</c:v>
                </c:pt>
                <c:pt idx="73207">
                  <c:v>101834</c:v>
                </c:pt>
                <c:pt idx="73208">
                  <c:v>51514</c:v>
                </c:pt>
                <c:pt idx="73209">
                  <c:v>25987</c:v>
                </c:pt>
                <c:pt idx="73210">
                  <c:v>117774</c:v>
                </c:pt>
                <c:pt idx="73211">
                  <c:v>112525</c:v>
                </c:pt>
                <c:pt idx="73212">
                  <c:v>50575</c:v>
                </c:pt>
                <c:pt idx="73213">
                  <c:v>76254</c:v>
                </c:pt>
                <c:pt idx="73214">
                  <c:v>36331</c:v>
                </c:pt>
                <c:pt idx="73215">
                  <c:v>72721</c:v>
                </c:pt>
                <c:pt idx="73216">
                  <c:v>40338</c:v>
                </c:pt>
                <c:pt idx="73217">
                  <c:v>31564</c:v>
                </c:pt>
                <c:pt idx="73218">
                  <c:v>75700</c:v>
                </c:pt>
                <c:pt idx="73219">
                  <c:v>34101</c:v>
                </c:pt>
                <c:pt idx="73220">
                  <c:v>49669</c:v>
                </c:pt>
                <c:pt idx="73221">
                  <c:v>30474</c:v>
                </c:pt>
                <c:pt idx="73222">
                  <c:v>34812</c:v>
                </c:pt>
                <c:pt idx="73223">
                  <c:v>90760</c:v>
                </c:pt>
                <c:pt idx="73224">
                  <c:v>24468</c:v>
                </c:pt>
                <c:pt idx="73225">
                  <c:v>104825</c:v>
                </c:pt>
                <c:pt idx="73226">
                  <c:v>61946</c:v>
                </c:pt>
                <c:pt idx="73227">
                  <c:v>29962</c:v>
                </c:pt>
                <c:pt idx="73228">
                  <c:v>32174</c:v>
                </c:pt>
                <c:pt idx="73229">
                  <c:v>30679</c:v>
                </c:pt>
                <c:pt idx="73230">
                  <c:v>35204</c:v>
                </c:pt>
                <c:pt idx="73231">
                  <c:v>34432</c:v>
                </c:pt>
                <c:pt idx="73232">
                  <c:v>38524</c:v>
                </c:pt>
                <c:pt idx="73233">
                  <c:v>168776</c:v>
                </c:pt>
                <c:pt idx="73234">
                  <c:v>31422</c:v>
                </c:pt>
                <c:pt idx="73235">
                  <c:v>29128</c:v>
                </c:pt>
                <c:pt idx="73236">
                  <c:v>31196</c:v>
                </c:pt>
                <c:pt idx="73237">
                  <c:v>85502</c:v>
                </c:pt>
                <c:pt idx="73238">
                  <c:v>45186</c:v>
                </c:pt>
                <c:pt idx="73239">
                  <c:v>58652</c:v>
                </c:pt>
                <c:pt idx="73240">
                  <c:v>38324</c:v>
                </c:pt>
                <c:pt idx="73241">
                  <c:v>37341</c:v>
                </c:pt>
                <c:pt idx="73242">
                  <c:v>60652</c:v>
                </c:pt>
                <c:pt idx="73243">
                  <c:v>34155</c:v>
                </c:pt>
                <c:pt idx="73244">
                  <c:v>295123</c:v>
                </c:pt>
                <c:pt idx="73245">
                  <c:v>36064</c:v>
                </c:pt>
                <c:pt idx="73246">
                  <c:v>43352</c:v>
                </c:pt>
                <c:pt idx="73247">
                  <c:v>39054</c:v>
                </c:pt>
                <c:pt idx="73248">
                  <c:v>126990</c:v>
                </c:pt>
                <c:pt idx="73249">
                  <c:v>26215</c:v>
                </c:pt>
                <c:pt idx="73250">
                  <c:v>45832</c:v>
                </c:pt>
                <c:pt idx="73251">
                  <c:v>65642</c:v>
                </c:pt>
                <c:pt idx="73252">
                  <c:v>25865</c:v>
                </c:pt>
                <c:pt idx="73253">
                  <c:v>64805</c:v>
                </c:pt>
                <c:pt idx="73254">
                  <c:v>44335</c:v>
                </c:pt>
                <c:pt idx="73255">
                  <c:v>44550</c:v>
                </c:pt>
                <c:pt idx="73256">
                  <c:v>21263</c:v>
                </c:pt>
                <c:pt idx="73257">
                  <c:v>35170</c:v>
                </c:pt>
                <c:pt idx="73258">
                  <c:v>101984</c:v>
                </c:pt>
                <c:pt idx="73259">
                  <c:v>52434</c:v>
                </c:pt>
                <c:pt idx="73260">
                  <c:v>64331</c:v>
                </c:pt>
                <c:pt idx="73261">
                  <c:v>43667</c:v>
                </c:pt>
                <c:pt idx="73262">
                  <c:v>91667</c:v>
                </c:pt>
                <c:pt idx="73263">
                  <c:v>31832</c:v>
                </c:pt>
                <c:pt idx="73264">
                  <c:v>91807</c:v>
                </c:pt>
                <c:pt idx="73265">
                  <c:v>24237</c:v>
                </c:pt>
                <c:pt idx="73266">
                  <c:v>83615</c:v>
                </c:pt>
                <c:pt idx="73267">
                  <c:v>38287</c:v>
                </c:pt>
                <c:pt idx="73268">
                  <c:v>58121</c:v>
                </c:pt>
                <c:pt idx="73269">
                  <c:v>56710</c:v>
                </c:pt>
                <c:pt idx="73270">
                  <c:v>46279</c:v>
                </c:pt>
                <c:pt idx="73271">
                  <c:v>53012</c:v>
                </c:pt>
                <c:pt idx="73272">
                  <c:v>39859</c:v>
                </c:pt>
                <c:pt idx="73273">
                  <c:v>119895</c:v>
                </c:pt>
                <c:pt idx="73274">
                  <c:v>293624</c:v>
                </c:pt>
                <c:pt idx="73275">
                  <c:v>40055</c:v>
                </c:pt>
                <c:pt idx="73276">
                  <c:v>74122</c:v>
                </c:pt>
                <c:pt idx="73277">
                  <c:v>42887</c:v>
                </c:pt>
                <c:pt idx="73278">
                  <c:v>57599</c:v>
                </c:pt>
                <c:pt idx="73279">
                  <c:v>21151</c:v>
                </c:pt>
                <c:pt idx="73280">
                  <c:v>25275</c:v>
                </c:pt>
                <c:pt idx="73281">
                  <c:v>82827</c:v>
                </c:pt>
                <c:pt idx="73282">
                  <c:v>59766</c:v>
                </c:pt>
                <c:pt idx="73283">
                  <c:v>35998</c:v>
                </c:pt>
                <c:pt idx="73284">
                  <c:v>59644</c:v>
                </c:pt>
                <c:pt idx="73285">
                  <c:v>46921</c:v>
                </c:pt>
                <c:pt idx="73286">
                  <c:v>188684</c:v>
                </c:pt>
                <c:pt idx="73287">
                  <c:v>26155</c:v>
                </c:pt>
                <c:pt idx="73288">
                  <c:v>22824</c:v>
                </c:pt>
                <c:pt idx="73289">
                  <c:v>56793</c:v>
                </c:pt>
                <c:pt idx="73290">
                  <c:v>33594</c:v>
                </c:pt>
                <c:pt idx="73291">
                  <c:v>83028</c:v>
                </c:pt>
                <c:pt idx="73292">
                  <c:v>83695</c:v>
                </c:pt>
                <c:pt idx="73293">
                  <c:v>40196</c:v>
                </c:pt>
                <c:pt idx="73294">
                  <c:v>27162</c:v>
                </c:pt>
                <c:pt idx="73295">
                  <c:v>179609</c:v>
                </c:pt>
                <c:pt idx="73296">
                  <c:v>40060</c:v>
                </c:pt>
                <c:pt idx="73297">
                  <c:v>199313</c:v>
                </c:pt>
                <c:pt idx="73298">
                  <c:v>87287</c:v>
                </c:pt>
                <c:pt idx="73299">
                  <c:v>44767</c:v>
                </c:pt>
                <c:pt idx="73300">
                  <c:v>110576</c:v>
                </c:pt>
                <c:pt idx="73301">
                  <c:v>43403</c:v>
                </c:pt>
                <c:pt idx="73302">
                  <c:v>65959</c:v>
                </c:pt>
                <c:pt idx="73303">
                  <c:v>39384</c:v>
                </c:pt>
                <c:pt idx="73304">
                  <c:v>48806</c:v>
                </c:pt>
                <c:pt idx="73305">
                  <c:v>25730</c:v>
                </c:pt>
                <c:pt idx="73306">
                  <c:v>141201</c:v>
                </c:pt>
                <c:pt idx="73307">
                  <c:v>54783</c:v>
                </c:pt>
                <c:pt idx="73308">
                  <c:v>23315</c:v>
                </c:pt>
                <c:pt idx="73309">
                  <c:v>28602</c:v>
                </c:pt>
                <c:pt idx="73310">
                  <c:v>30020</c:v>
                </c:pt>
                <c:pt idx="73311">
                  <c:v>52539</c:v>
                </c:pt>
                <c:pt idx="73312">
                  <c:v>63990</c:v>
                </c:pt>
                <c:pt idx="73313">
                  <c:v>48433</c:v>
                </c:pt>
                <c:pt idx="73314">
                  <c:v>39189</c:v>
                </c:pt>
                <c:pt idx="73315">
                  <c:v>28434</c:v>
                </c:pt>
                <c:pt idx="73316">
                  <c:v>99203</c:v>
                </c:pt>
                <c:pt idx="73317">
                  <c:v>85947</c:v>
                </c:pt>
                <c:pt idx="73318">
                  <c:v>26384</c:v>
                </c:pt>
                <c:pt idx="73319">
                  <c:v>93329</c:v>
                </c:pt>
                <c:pt idx="73320">
                  <c:v>92652</c:v>
                </c:pt>
                <c:pt idx="73321">
                  <c:v>58427</c:v>
                </c:pt>
                <c:pt idx="73322">
                  <c:v>36682</c:v>
                </c:pt>
                <c:pt idx="73323">
                  <c:v>33640</c:v>
                </c:pt>
                <c:pt idx="73324">
                  <c:v>37124</c:v>
                </c:pt>
                <c:pt idx="73325">
                  <c:v>124395</c:v>
                </c:pt>
                <c:pt idx="73326">
                  <c:v>21120</c:v>
                </c:pt>
                <c:pt idx="73327">
                  <c:v>33860</c:v>
                </c:pt>
                <c:pt idx="73328">
                  <c:v>144538</c:v>
                </c:pt>
                <c:pt idx="73329">
                  <c:v>35470</c:v>
                </c:pt>
                <c:pt idx="73330">
                  <c:v>145563</c:v>
                </c:pt>
                <c:pt idx="73331">
                  <c:v>79529</c:v>
                </c:pt>
                <c:pt idx="73332">
                  <c:v>25675</c:v>
                </c:pt>
                <c:pt idx="73333">
                  <c:v>23868</c:v>
                </c:pt>
                <c:pt idx="73334">
                  <c:v>62946</c:v>
                </c:pt>
                <c:pt idx="73335">
                  <c:v>28376</c:v>
                </c:pt>
                <c:pt idx="73336">
                  <c:v>57913</c:v>
                </c:pt>
                <c:pt idx="73337">
                  <c:v>27765</c:v>
                </c:pt>
                <c:pt idx="73338">
                  <c:v>27031</c:v>
                </c:pt>
                <c:pt idx="73339">
                  <c:v>46012</c:v>
                </c:pt>
                <c:pt idx="73340">
                  <c:v>31523</c:v>
                </c:pt>
                <c:pt idx="73341">
                  <c:v>41915</c:v>
                </c:pt>
                <c:pt idx="73342">
                  <c:v>27192</c:v>
                </c:pt>
                <c:pt idx="73343">
                  <c:v>33532</c:v>
                </c:pt>
                <c:pt idx="73344">
                  <c:v>26023</c:v>
                </c:pt>
                <c:pt idx="73345">
                  <c:v>142440</c:v>
                </c:pt>
                <c:pt idx="73346">
                  <c:v>121569</c:v>
                </c:pt>
                <c:pt idx="73347">
                  <c:v>30480</c:v>
                </c:pt>
                <c:pt idx="73348">
                  <c:v>46227</c:v>
                </c:pt>
                <c:pt idx="73349">
                  <c:v>61137</c:v>
                </c:pt>
                <c:pt idx="73350">
                  <c:v>56663</c:v>
                </c:pt>
                <c:pt idx="73351">
                  <c:v>28479</c:v>
                </c:pt>
                <c:pt idx="73352">
                  <c:v>23846</c:v>
                </c:pt>
                <c:pt idx="73353">
                  <c:v>31479</c:v>
                </c:pt>
                <c:pt idx="73354">
                  <c:v>30255</c:v>
                </c:pt>
                <c:pt idx="73355">
                  <c:v>22432</c:v>
                </c:pt>
                <c:pt idx="73356">
                  <c:v>43562</c:v>
                </c:pt>
                <c:pt idx="73357">
                  <c:v>66104</c:v>
                </c:pt>
                <c:pt idx="73358">
                  <c:v>47026</c:v>
                </c:pt>
                <c:pt idx="73359">
                  <c:v>34937</c:v>
                </c:pt>
                <c:pt idx="73360">
                  <c:v>45140</c:v>
                </c:pt>
                <c:pt idx="73361">
                  <c:v>211667</c:v>
                </c:pt>
                <c:pt idx="73362">
                  <c:v>138586</c:v>
                </c:pt>
                <c:pt idx="73363">
                  <c:v>29399</c:v>
                </c:pt>
                <c:pt idx="73364">
                  <c:v>24763</c:v>
                </c:pt>
                <c:pt idx="73365">
                  <c:v>43148</c:v>
                </c:pt>
                <c:pt idx="73366">
                  <c:v>82569</c:v>
                </c:pt>
                <c:pt idx="73367">
                  <c:v>42948</c:v>
                </c:pt>
                <c:pt idx="73368">
                  <c:v>74182</c:v>
                </c:pt>
                <c:pt idx="73369">
                  <c:v>40755</c:v>
                </c:pt>
                <c:pt idx="73370">
                  <c:v>34940</c:v>
                </c:pt>
                <c:pt idx="73371">
                  <c:v>29524</c:v>
                </c:pt>
                <c:pt idx="73372">
                  <c:v>33020</c:v>
                </c:pt>
                <c:pt idx="73373">
                  <c:v>89648</c:v>
                </c:pt>
                <c:pt idx="73374">
                  <c:v>48002</c:v>
                </c:pt>
                <c:pt idx="73375">
                  <c:v>107109</c:v>
                </c:pt>
                <c:pt idx="73376">
                  <c:v>68586</c:v>
                </c:pt>
                <c:pt idx="73377">
                  <c:v>30125</c:v>
                </c:pt>
                <c:pt idx="73378">
                  <c:v>35450</c:v>
                </c:pt>
                <c:pt idx="73379">
                  <c:v>52668</c:v>
                </c:pt>
                <c:pt idx="73380">
                  <c:v>44277</c:v>
                </c:pt>
                <c:pt idx="73381">
                  <c:v>46792</c:v>
                </c:pt>
                <c:pt idx="73382">
                  <c:v>32040</c:v>
                </c:pt>
                <c:pt idx="73383">
                  <c:v>36783</c:v>
                </c:pt>
                <c:pt idx="73384">
                  <c:v>34778</c:v>
                </c:pt>
                <c:pt idx="73385">
                  <c:v>45045</c:v>
                </c:pt>
                <c:pt idx="73386">
                  <c:v>33012</c:v>
                </c:pt>
                <c:pt idx="73387">
                  <c:v>54785</c:v>
                </c:pt>
                <c:pt idx="73388">
                  <c:v>48463</c:v>
                </c:pt>
                <c:pt idx="73389">
                  <c:v>19417</c:v>
                </c:pt>
                <c:pt idx="73390">
                  <c:v>27322</c:v>
                </c:pt>
                <c:pt idx="73391">
                  <c:v>56416</c:v>
                </c:pt>
                <c:pt idx="73392">
                  <c:v>66237</c:v>
                </c:pt>
                <c:pt idx="73393">
                  <c:v>48648</c:v>
                </c:pt>
                <c:pt idx="73394">
                  <c:v>32497</c:v>
                </c:pt>
                <c:pt idx="73395">
                  <c:v>43137</c:v>
                </c:pt>
                <c:pt idx="73396">
                  <c:v>64103</c:v>
                </c:pt>
                <c:pt idx="73397">
                  <c:v>41478</c:v>
                </c:pt>
                <c:pt idx="73398">
                  <c:v>166185</c:v>
                </c:pt>
                <c:pt idx="73399">
                  <c:v>24819</c:v>
                </c:pt>
                <c:pt idx="73400">
                  <c:v>36177</c:v>
                </c:pt>
                <c:pt idx="73401">
                  <c:v>42639</c:v>
                </c:pt>
                <c:pt idx="73402">
                  <c:v>77550</c:v>
                </c:pt>
                <c:pt idx="73403">
                  <c:v>47205</c:v>
                </c:pt>
                <c:pt idx="73404">
                  <c:v>48721</c:v>
                </c:pt>
                <c:pt idx="73405">
                  <c:v>38615</c:v>
                </c:pt>
                <c:pt idx="73406">
                  <c:v>170573</c:v>
                </c:pt>
                <c:pt idx="73407">
                  <c:v>91018</c:v>
                </c:pt>
                <c:pt idx="73408">
                  <c:v>36121</c:v>
                </c:pt>
                <c:pt idx="73409">
                  <c:v>45234</c:v>
                </c:pt>
                <c:pt idx="73410">
                  <c:v>70625</c:v>
                </c:pt>
                <c:pt idx="73411">
                  <c:v>78546</c:v>
                </c:pt>
                <c:pt idx="73412">
                  <c:v>35518</c:v>
                </c:pt>
                <c:pt idx="73413">
                  <c:v>49363</c:v>
                </c:pt>
                <c:pt idx="73414">
                  <c:v>39291</c:v>
                </c:pt>
                <c:pt idx="73415">
                  <c:v>159496</c:v>
                </c:pt>
                <c:pt idx="73416">
                  <c:v>53416</c:v>
                </c:pt>
                <c:pt idx="73417">
                  <c:v>187462</c:v>
                </c:pt>
                <c:pt idx="73418">
                  <c:v>26508</c:v>
                </c:pt>
                <c:pt idx="73419">
                  <c:v>25933</c:v>
                </c:pt>
                <c:pt idx="73420">
                  <c:v>78459</c:v>
                </c:pt>
                <c:pt idx="73421">
                  <c:v>92239</c:v>
                </c:pt>
                <c:pt idx="73422">
                  <c:v>45415</c:v>
                </c:pt>
                <c:pt idx="73423">
                  <c:v>145942</c:v>
                </c:pt>
                <c:pt idx="73424">
                  <c:v>102569</c:v>
                </c:pt>
                <c:pt idx="73425">
                  <c:v>42494</c:v>
                </c:pt>
                <c:pt idx="73426">
                  <c:v>28260</c:v>
                </c:pt>
                <c:pt idx="73427">
                  <c:v>45014</c:v>
                </c:pt>
                <c:pt idx="73428">
                  <c:v>27454</c:v>
                </c:pt>
                <c:pt idx="73429">
                  <c:v>42486</c:v>
                </c:pt>
                <c:pt idx="73430">
                  <c:v>143784</c:v>
                </c:pt>
                <c:pt idx="73431">
                  <c:v>67370</c:v>
                </c:pt>
                <c:pt idx="73432">
                  <c:v>63350</c:v>
                </c:pt>
                <c:pt idx="73433">
                  <c:v>62977</c:v>
                </c:pt>
                <c:pt idx="73434">
                  <c:v>65284</c:v>
                </c:pt>
                <c:pt idx="73435">
                  <c:v>52788</c:v>
                </c:pt>
                <c:pt idx="73436">
                  <c:v>25651</c:v>
                </c:pt>
                <c:pt idx="73437">
                  <c:v>32864</c:v>
                </c:pt>
                <c:pt idx="73438">
                  <c:v>35420</c:v>
                </c:pt>
                <c:pt idx="73439">
                  <c:v>43433</c:v>
                </c:pt>
                <c:pt idx="73440">
                  <c:v>28346</c:v>
                </c:pt>
                <c:pt idx="73441">
                  <c:v>268758</c:v>
                </c:pt>
                <c:pt idx="73442">
                  <c:v>121600</c:v>
                </c:pt>
                <c:pt idx="73443">
                  <c:v>30788</c:v>
                </c:pt>
                <c:pt idx="73444">
                  <c:v>38098</c:v>
                </c:pt>
                <c:pt idx="73445">
                  <c:v>43702</c:v>
                </c:pt>
                <c:pt idx="73446">
                  <c:v>38198</c:v>
                </c:pt>
                <c:pt idx="73447">
                  <c:v>34041</c:v>
                </c:pt>
                <c:pt idx="73448">
                  <c:v>31090</c:v>
                </c:pt>
                <c:pt idx="73449">
                  <c:v>55324</c:v>
                </c:pt>
                <c:pt idx="73450">
                  <c:v>22172</c:v>
                </c:pt>
                <c:pt idx="73451">
                  <c:v>49364</c:v>
                </c:pt>
                <c:pt idx="73452">
                  <c:v>39021</c:v>
                </c:pt>
                <c:pt idx="73453">
                  <c:v>29729</c:v>
                </c:pt>
                <c:pt idx="73454">
                  <c:v>41439</c:v>
                </c:pt>
                <c:pt idx="73455">
                  <c:v>27274</c:v>
                </c:pt>
                <c:pt idx="73456">
                  <c:v>48674</c:v>
                </c:pt>
                <c:pt idx="73457">
                  <c:v>214378</c:v>
                </c:pt>
                <c:pt idx="73458">
                  <c:v>23237</c:v>
                </c:pt>
                <c:pt idx="73459">
                  <c:v>40710</c:v>
                </c:pt>
                <c:pt idx="73460">
                  <c:v>26848</c:v>
                </c:pt>
                <c:pt idx="73461">
                  <c:v>73532</c:v>
                </c:pt>
                <c:pt idx="73462">
                  <c:v>120241</c:v>
                </c:pt>
                <c:pt idx="73463">
                  <c:v>40384</c:v>
                </c:pt>
                <c:pt idx="73464">
                  <c:v>31042</c:v>
                </c:pt>
                <c:pt idx="73465">
                  <c:v>35392</c:v>
                </c:pt>
                <c:pt idx="73466">
                  <c:v>34797</c:v>
                </c:pt>
                <c:pt idx="73467">
                  <c:v>25810</c:v>
                </c:pt>
                <c:pt idx="73468">
                  <c:v>34500</c:v>
                </c:pt>
                <c:pt idx="73469">
                  <c:v>26545</c:v>
                </c:pt>
                <c:pt idx="73470">
                  <c:v>31280</c:v>
                </c:pt>
                <c:pt idx="73471">
                  <c:v>46363</c:v>
                </c:pt>
                <c:pt idx="73472">
                  <c:v>50251</c:v>
                </c:pt>
                <c:pt idx="73473">
                  <c:v>78630</c:v>
                </c:pt>
                <c:pt idx="73474">
                  <c:v>112752</c:v>
                </c:pt>
                <c:pt idx="73475">
                  <c:v>103556</c:v>
                </c:pt>
                <c:pt idx="73476">
                  <c:v>235282</c:v>
                </c:pt>
                <c:pt idx="73477">
                  <c:v>198956</c:v>
                </c:pt>
                <c:pt idx="73478">
                  <c:v>24094</c:v>
                </c:pt>
                <c:pt idx="73479">
                  <c:v>80906</c:v>
                </c:pt>
                <c:pt idx="73480">
                  <c:v>37126</c:v>
                </c:pt>
                <c:pt idx="73481">
                  <c:v>47355</c:v>
                </c:pt>
                <c:pt idx="73482">
                  <c:v>47063</c:v>
                </c:pt>
                <c:pt idx="73483">
                  <c:v>47690</c:v>
                </c:pt>
                <c:pt idx="73484">
                  <c:v>38439</c:v>
                </c:pt>
                <c:pt idx="73485">
                  <c:v>46634</c:v>
                </c:pt>
                <c:pt idx="73486">
                  <c:v>31029</c:v>
                </c:pt>
                <c:pt idx="73487">
                  <c:v>37601</c:v>
                </c:pt>
                <c:pt idx="73488">
                  <c:v>42146</c:v>
                </c:pt>
                <c:pt idx="73489">
                  <c:v>39160</c:v>
                </c:pt>
                <c:pt idx="73490">
                  <c:v>32138</c:v>
                </c:pt>
                <c:pt idx="73491">
                  <c:v>42361</c:v>
                </c:pt>
                <c:pt idx="73492">
                  <c:v>26125</c:v>
                </c:pt>
                <c:pt idx="73493">
                  <c:v>300002</c:v>
                </c:pt>
                <c:pt idx="73494">
                  <c:v>74598</c:v>
                </c:pt>
                <c:pt idx="73495">
                  <c:v>24080</c:v>
                </c:pt>
                <c:pt idx="73496">
                  <c:v>66141</c:v>
                </c:pt>
                <c:pt idx="73497">
                  <c:v>75110</c:v>
                </c:pt>
                <c:pt idx="73498">
                  <c:v>39913</c:v>
                </c:pt>
                <c:pt idx="73499">
                  <c:v>38198</c:v>
                </c:pt>
                <c:pt idx="73500">
                  <c:v>29586</c:v>
                </c:pt>
                <c:pt idx="73501">
                  <c:v>62564</c:v>
                </c:pt>
                <c:pt idx="73502">
                  <c:v>27104</c:v>
                </c:pt>
                <c:pt idx="73503">
                  <c:v>41933</c:v>
                </c:pt>
                <c:pt idx="73504">
                  <c:v>233166</c:v>
                </c:pt>
                <c:pt idx="73505">
                  <c:v>39054</c:v>
                </c:pt>
                <c:pt idx="73506">
                  <c:v>42556</c:v>
                </c:pt>
                <c:pt idx="73507">
                  <c:v>31632</c:v>
                </c:pt>
                <c:pt idx="73508">
                  <c:v>46161</c:v>
                </c:pt>
                <c:pt idx="73509">
                  <c:v>52594</c:v>
                </c:pt>
                <c:pt idx="73510">
                  <c:v>69807</c:v>
                </c:pt>
                <c:pt idx="73511">
                  <c:v>92722</c:v>
                </c:pt>
                <c:pt idx="73512">
                  <c:v>34282</c:v>
                </c:pt>
                <c:pt idx="73513">
                  <c:v>36709</c:v>
                </c:pt>
                <c:pt idx="73514">
                  <c:v>38925</c:v>
                </c:pt>
                <c:pt idx="73515">
                  <c:v>24651</c:v>
                </c:pt>
                <c:pt idx="73516">
                  <c:v>80651</c:v>
                </c:pt>
                <c:pt idx="73517">
                  <c:v>34328</c:v>
                </c:pt>
                <c:pt idx="73518">
                  <c:v>153034</c:v>
                </c:pt>
                <c:pt idx="73519">
                  <c:v>45164</c:v>
                </c:pt>
                <c:pt idx="73520">
                  <c:v>95976</c:v>
                </c:pt>
                <c:pt idx="73521">
                  <c:v>55769</c:v>
                </c:pt>
                <c:pt idx="73522">
                  <c:v>39085</c:v>
                </c:pt>
                <c:pt idx="73523">
                  <c:v>27271</c:v>
                </c:pt>
                <c:pt idx="73524">
                  <c:v>186144</c:v>
                </c:pt>
                <c:pt idx="73525">
                  <c:v>35321</c:v>
                </c:pt>
                <c:pt idx="73526">
                  <c:v>40173</c:v>
                </c:pt>
                <c:pt idx="73527">
                  <c:v>47775</c:v>
                </c:pt>
                <c:pt idx="73528">
                  <c:v>35025</c:v>
                </c:pt>
                <c:pt idx="73529">
                  <c:v>40871</c:v>
                </c:pt>
                <c:pt idx="73530">
                  <c:v>44750</c:v>
                </c:pt>
                <c:pt idx="73531">
                  <c:v>24792</c:v>
                </c:pt>
                <c:pt idx="73532">
                  <c:v>40667</c:v>
                </c:pt>
                <c:pt idx="73533">
                  <c:v>154220</c:v>
                </c:pt>
                <c:pt idx="73534">
                  <c:v>49035</c:v>
                </c:pt>
                <c:pt idx="73535">
                  <c:v>55987</c:v>
                </c:pt>
                <c:pt idx="73536">
                  <c:v>35130</c:v>
                </c:pt>
                <c:pt idx="73537">
                  <c:v>82799</c:v>
                </c:pt>
                <c:pt idx="73538">
                  <c:v>34908</c:v>
                </c:pt>
                <c:pt idx="73539">
                  <c:v>60727</c:v>
                </c:pt>
                <c:pt idx="73540">
                  <c:v>37082</c:v>
                </c:pt>
                <c:pt idx="73541">
                  <c:v>40701</c:v>
                </c:pt>
                <c:pt idx="73542">
                  <c:v>25424</c:v>
                </c:pt>
                <c:pt idx="73543">
                  <c:v>66204</c:v>
                </c:pt>
                <c:pt idx="73544">
                  <c:v>34835</c:v>
                </c:pt>
                <c:pt idx="73545">
                  <c:v>32098</c:v>
                </c:pt>
                <c:pt idx="73546">
                  <c:v>96159</c:v>
                </c:pt>
                <c:pt idx="73547">
                  <c:v>41854</c:v>
                </c:pt>
                <c:pt idx="73548">
                  <c:v>56824</c:v>
                </c:pt>
                <c:pt idx="73549">
                  <c:v>88204</c:v>
                </c:pt>
                <c:pt idx="73550">
                  <c:v>70115</c:v>
                </c:pt>
                <c:pt idx="73551">
                  <c:v>55921</c:v>
                </c:pt>
                <c:pt idx="73552">
                  <c:v>35740</c:v>
                </c:pt>
                <c:pt idx="73553">
                  <c:v>32562</c:v>
                </c:pt>
                <c:pt idx="73554">
                  <c:v>39679</c:v>
                </c:pt>
                <c:pt idx="73555">
                  <c:v>24283</c:v>
                </c:pt>
                <c:pt idx="73556">
                  <c:v>27510</c:v>
                </c:pt>
                <c:pt idx="73557">
                  <c:v>71968</c:v>
                </c:pt>
                <c:pt idx="73558">
                  <c:v>29602</c:v>
                </c:pt>
                <c:pt idx="73559">
                  <c:v>45204</c:v>
                </c:pt>
                <c:pt idx="73560">
                  <c:v>47361</c:v>
                </c:pt>
                <c:pt idx="73561">
                  <c:v>45754</c:v>
                </c:pt>
                <c:pt idx="73562">
                  <c:v>189843</c:v>
                </c:pt>
                <c:pt idx="73563">
                  <c:v>32417</c:v>
                </c:pt>
                <c:pt idx="73564">
                  <c:v>27404</c:v>
                </c:pt>
                <c:pt idx="73565">
                  <c:v>404456</c:v>
                </c:pt>
                <c:pt idx="73566">
                  <c:v>39367</c:v>
                </c:pt>
                <c:pt idx="73567">
                  <c:v>43208</c:v>
                </c:pt>
                <c:pt idx="73568">
                  <c:v>51797</c:v>
                </c:pt>
                <c:pt idx="73569">
                  <c:v>26233</c:v>
                </c:pt>
                <c:pt idx="73570">
                  <c:v>62736</c:v>
                </c:pt>
                <c:pt idx="73571">
                  <c:v>113713</c:v>
                </c:pt>
                <c:pt idx="73572">
                  <c:v>99733</c:v>
                </c:pt>
                <c:pt idx="73573">
                  <c:v>29050</c:v>
                </c:pt>
                <c:pt idx="73574">
                  <c:v>29594</c:v>
                </c:pt>
                <c:pt idx="73575">
                  <c:v>22752</c:v>
                </c:pt>
                <c:pt idx="73576">
                  <c:v>59832</c:v>
                </c:pt>
                <c:pt idx="73577">
                  <c:v>45194</c:v>
                </c:pt>
                <c:pt idx="73578">
                  <c:v>40969</c:v>
                </c:pt>
                <c:pt idx="73579">
                  <c:v>144837</c:v>
                </c:pt>
                <c:pt idx="73580">
                  <c:v>52658</c:v>
                </c:pt>
                <c:pt idx="73581">
                  <c:v>84231</c:v>
                </c:pt>
                <c:pt idx="73582">
                  <c:v>122295</c:v>
                </c:pt>
                <c:pt idx="73583">
                  <c:v>27418</c:v>
                </c:pt>
                <c:pt idx="73584">
                  <c:v>33829</c:v>
                </c:pt>
                <c:pt idx="73585">
                  <c:v>26611</c:v>
                </c:pt>
                <c:pt idx="73586">
                  <c:v>71060</c:v>
                </c:pt>
                <c:pt idx="73587">
                  <c:v>34363</c:v>
                </c:pt>
                <c:pt idx="73588">
                  <c:v>45683</c:v>
                </c:pt>
                <c:pt idx="73589">
                  <c:v>52383</c:v>
                </c:pt>
                <c:pt idx="73590">
                  <c:v>89077</c:v>
                </c:pt>
                <c:pt idx="73591">
                  <c:v>40722</c:v>
                </c:pt>
                <c:pt idx="73592">
                  <c:v>27756</c:v>
                </c:pt>
                <c:pt idx="73593">
                  <c:v>40667</c:v>
                </c:pt>
                <c:pt idx="73594">
                  <c:v>43057</c:v>
                </c:pt>
                <c:pt idx="73595">
                  <c:v>55287</c:v>
                </c:pt>
                <c:pt idx="73596">
                  <c:v>87012</c:v>
                </c:pt>
                <c:pt idx="73597">
                  <c:v>26928</c:v>
                </c:pt>
                <c:pt idx="73598">
                  <c:v>41077</c:v>
                </c:pt>
                <c:pt idx="73599">
                  <c:v>32506</c:v>
                </c:pt>
                <c:pt idx="73600">
                  <c:v>127118</c:v>
                </c:pt>
                <c:pt idx="73601">
                  <c:v>32705</c:v>
                </c:pt>
                <c:pt idx="73602">
                  <c:v>106207</c:v>
                </c:pt>
                <c:pt idx="73603">
                  <c:v>31056</c:v>
                </c:pt>
                <c:pt idx="73604">
                  <c:v>30722</c:v>
                </c:pt>
                <c:pt idx="73605">
                  <c:v>39052</c:v>
                </c:pt>
                <c:pt idx="73606">
                  <c:v>24513</c:v>
                </c:pt>
                <c:pt idx="73607">
                  <c:v>41079</c:v>
                </c:pt>
                <c:pt idx="73608">
                  <c:v>24103</c:v>
                </c:pt>
                <c:pt idx="73609">
                  <c:v>101182</c:v>
                </c:pt>
                <c:pt idx="73610">
                  <c:v>61907</c:v>
                </c:pt>
                <c:pt idx="73611">
                  <c:v>30826</c:v>
                </c:pt>
                <c:pt idx="73612">
                  <c:v>58201</c:v>
                </c:pt>
                <c:pt idx="73613">
                  <c:v>66088</c:v>
                </c:pt>
                <c:pt idx="73614">
                  <c:v>34892</c:v>
                </c:pt>
                <c:pt idx="73615">
                  <c:v>51888</c:v>
                </c:pt>
                <c:pt idx="73616">
                  <c:v>34718</c:v>
                </c:pt>
                <c:pt idx="73617">
                  <c:v>61822</c:v>
                </c:pt>
                <c:pt idx="73618">
                  <c:v>42661</c:v>
                </c:pt>
                <c:pt idx="73619">
                  <c:v>40179</c:v>
                </c:pt>
                <c:pt idx="73620">
                  <c:v>46021</c:v>
                </c:pt>
                <c:pt idx="73621">
                  <c:v>85424</c:v>
                </c:pt>
                <c:pt idx="73622">
                  <c:v>49794</c:v>
                </c:pt>
                <c:pt idx="73623">
                  <c:v>23400</c:v>
                </c:pt>
                <c:pt idx="73624">
                  <c:v>33085</c:v>
                </c:pt>
                <c:pt idx="73625">
                  <c:v>57715</c:v>
                </c:pt>
                <c:pt idx="73626">
                  <c:v>49680</c:v>
                </c:pt>
                <c:pt idx="73627">
                  <c:v>40585</c:v>
                </c:pt>
                <c:pt idx="73628">
                  <c:v>60423</c:v>
                </c:pt>
                <c:pt idx="73629">
                  <c:v>62282</c:v>
                </c:pt>
                <c:pt idx="73630">
                  <c:v>51129</c:v>
                </c:pt>
                <c:pt idx="73631">
                  <c:v>27520</c:v>
                </c:pt>
                <c:pt idx="73632">
                  <c:v>35380</c:v>
                </c:pt>
                <c:pt idx="73633">
                  <c:v>36905</c:v>
                </c:pt>
                <c:pt idx="73634">
                  <c:v>202981</c:v>
                </c:pt>
                <c:pt idx="73635">
                  <c:v>46297</c:v>
                </c:pt>
                <c:pt idx="73636">
                  <c:v>71836</c:v>
                </c:pt>
                <c:pt idx="73637">
                  <c:v>66461</c:v>
                </c:pt>
                <c:pt idx="73638">
                  <c:v>36971</c:v>
                </c:pt>
                <c:pt idx="73639">
                  <c:v>31452</c:v>
                </c:pt>
                <c:pt idx="73640">
                  <c:v>33539</c:v>
                </c:pt>
                <c:pt idx="73641">
                  <c:v>26500</c:v>
                </c:pt>
                <c:pt idx="73642">
                  <c:v>124884</c:v>
                </c:pt>
                <c:pt idx="73643">
                  <c:v>46150</c:v>
                </c:pt>
                <c:pt idx="73644">
                  <c:v>34304</c:v>
                </c:pt>
                <c:pt idx="73645">
                  <c:v>42184</c:v>
                </c:pt>
                <c:pt idx="73646">
                  <c:v>101039</c:v>
                </c:pt>
                <c:pt idx="73647">
                  <c:v>48762</c:v>
                </c:pt>
                <c:pt idx="73648">
                  <c:v>30700</c:v>
                </c:pt>
                <c:pt idx="73649">
                  <c:v>29944</c:v>
                </c:pt>
                <c:pt idx="73650">
                  <c:v>39910</c:v>
                </c:pt>
                <c:pt idx="73651">
                  <c:v>159766</c:v>
                </c:pt>
                <c:pt idx="73652">
                  <c:v>56282</c:v>
                </c:pt>
                <c:pt idx="73653">
                  <c:v>201143</c:v>
                </c:pt>
                <c:pt idx="73654">
                  <c:v>28650</c:v>
                </c:pt>
                <c:pt idx="73655">
                  <c:v>37571</c:v>
                </c:pt>
                <c:pt idx="73656">
                  <c:v>21218</c:v>
                </c:pt>
                <c:pt idx="73657">
                  <c:v>71263</c:v>
                </c:pt>
                <c:pt idx="73658">
                  <c:v>78209</c:v>
                </c:pt>
                <c:pt idx="73659">
                  <c:v>47822</c:v>
                </c:pt>
                <c:pt idx="73660">
                  <c:v>27097</c:v>
                </c:pt>
                <c:pt idx="73661">
                  <c:v>38465</c:v>
                </c:pt>
                <c:pt idx="73662">
                  <c:v>153004</c:v>
                </c:pt>
                <c:pt idx="73663">
                  <c:v>24032</c:v>
                </c:pt>
                <c:pt idx="73664">
                  <c:v>121277</c:v>
                </c:pt>
                <c:pt idx="73665">
                  <c:v>47771</c:v>
                </c:pt>
                <c:pt idx="73666">
                  <c:v>33254</c:v>
                </c:pt>
                <c:pt idx="73667">
                  <c:v>78834</c:v>
                </c:pt>
                <c:pt idx="73668">
                  <c:v>48859</c:v>
                </c:pt>
                <c:pt idx="73669">
                  <c:v>136092</c:v>
                </c:pt>
                <c:pt idx="73670">
                  <c:v>61846</c:v>
                </c:pt>
                <c:pt idx="73671">
                  <c:v>22318</c:v>
                </c:pt>
                <c:pt idx="73672">
                  <c:v>98595</c:v>
                </c:pt>
                <c:pt idx="73673">
                  <c:v>31483</c:v>
                </c:pt>
                <c:pt idx="73674">
                  <c:v>44519</c:v>
                </c:pt>
                <c:pt idx="73675">
                  <c:v>33159</c:v>
                </c:pt>
                <c:pt idx="73676">
                  <c:v>71641</c:v>
                </c:pt>
                <c:pt idx="73677">
                  <c:v>49541</c:v>
                </c:pt>
                <c:pt idx="73678">
                  <c:v>69632</c:v>
                </c:pt>
                <c:pt idx="73679">
                  <c:v>33914</c:v>
                </c:pt>
                <c:pt idx="73680">
                  <c:v>215489</c:v>
                </c:pt>
                <c:pt idx="73681">
                  <c:v>32902</c:v>
                </c:pt>
                <c:pt idx="73682">
                  <c:v>127098</c:v>
                </c:pt>
                <c:pt idx="73683">
                  <c:v>46530</c:v>
                </c:pt>
                <c:pt idx="73684">
                  <c:v>42115</c:v>
                </c:pt>
                <c:pt idx="73685">
                  <c:v>54969</c:v>
                </c:pt>
                <c:pt idx="73686">
                  <c:v>34939</c:v>
                </c:pt>
                <c:pt idx="73687">
                  <c:v>64453</c:v>
                </c:pt>
                <c:pt idx="73688">
                  <c:v>72654</c:v>
                </c:pt>
                <c:pt idx="73689">
                  <c:v>44955</c:v>
                </c:pt>
                <c:pt idx="73690">
                  <c:v>80629</c:v>
                </c:pt>
                <c:pt idx="73691">
                  <c:v>25843</c:v>
                </c:pt>
                <c:pt idx="73692">
                  <c:v>99119</c:v>
                </c:pt>
                <c:pt idx="73693">
                  <c:v>44691</c:v>
                </c:pt>
                <c:pt idx="73694">
                  <c:v>46251</c:v>
                </c:pt>
                <c:pt idx="73695">
                  <c:v>26805</c:v>
                </c:pt>
                <c:pt idx="73696">
                  <c:v>34792</c:v>
                </c:pt>
                <c:pt idx="73697">
                  <c:v>149254</c:v>
                </c:pt>
                <c:pt idx="73698">
                  <c:v>126901</c:v>
                </c:pt>
                <c:pt idx="73699">
                  <c:v>35238</c:v>
                </c:pt>
                <c:pt idx="73700">
                  <c:v>39526</c:v>
                </c:pt>
                <c:pt idx="73701">
                  <c:v>43030</c:v>
                </c:pt>
                <c:pt idx="73702">
                  <c:v>73684</c:v>
                </c:pt>
                <c:pt idx="73703">
                  <c:v>42460</c:v>
                </c:pt>
                <c:pt idx="73704">
                  <c:v>23757</c:v>
                </c:pt>
                <c:pt idx="73705">
                  <c:v>23895</c:v>
                </c:pt>
                <c:pt idx="73706">
                  <c:v>36188</c:v>
                </c:pt>
                <c:pt idx="73707">
                  <c:v>91455</c:v>
                </c:pt>
                <c:pt idx="73708">
                  <c:v>42374</c:v>
                </c:pt>
                <c:pt idx="73709">
                  <c:v>23527</c:v>
                </c:pt>
                <c:pt idx="73710">
                  <c:v>57978</c:v>
                </c:pt>
                <c:pt idx="73711">
                  <c:v>22477</c:v>
                </c:pt>
                <c:pt idx="73712">
                  <c:v>38320</c:v>
                </c:pt>
                <c:pt idx="73713">
                  <c:v>42789</c:v>
                </c:pt>
                <c:pt idx="73714">
                  <c:v>57936</c:v>
                </c:pt>
                <c:pt idx="73715">
                  <c:v>22847</c:v>
                </c:pt>
                <c:pt idx="73716">
                  <c:v>59215</c:v>
                </c:pt>
                <c:pt idx="73717">
                  <c:v>63004</c:v>
                </c:pt>
                <c:pt idx="73718">
                  <c:v>25720</c:v>
                </c:pt>
                <c:pt idx="73719">
                  <c:v>97939</c:v>
                </c:pt>
                <c:pt idx="73720">
                  <c:v>109715</c:v>
                </c:pt>
                <c:pt idx="73721">
                  <c:v>117355</c:v>
                </c:pt>
                <c:pt idx="73722">
                  <c:v>76718</c:v>
                </c:pt>
                <c:pt idx="73723">
                  <c:v>42851</c:v>
                </c:pt>
                <c:pt idx="73724">
                  <c:v>40725</c:v>
                </c:pt>
                <c:pt idx="73725">
                  <c:v>41948</c:v>
                </c:pt>
                <c:pt idx="73726">
                  <c:v>44367</c:v>
                </c:pt>
                <c:pt idx="73727">
                  <c:v>50043</c:v>
                </c:pt>
                <c:pt idx="73728">
                  <c:v>99367</c:v>
                </c:pt>
                <c:pt idx="73729">
                  <c:v>56307</c:v>
                </c:pt>
                <c:pt idx="73730">
                  <c:v>29493</c:v>
                </c:pt>
                <c:pt idx="73731">
                  <c:v>45729</c:v>
                </c:pt>
                <c:pt idx="73732">
                  <c:v>139600</c:v>
                </c:pt>
                <c:pt idx="73733">
                  <c:v>27347</c:v>
                </c:pt>
                <c:pt idx="73734">
                  <c:v>22601</c:v>
                </c:pt>
                <c:pt idx="73735">
                  <c:v>82660</c:v>
                </c:pt>
                <c:pt idx="73736">
                  <c:v>22158</c:v>
                </c:pt>
                <c:pt idx="73737">
                  <c:v>42641</c:v>
                </c:pt>
                <c:pt idx="73738">
                  <c:v>34108</c:v>
                </c:pt>
                <c:pt idx="73739">
                  <c:v>32585</c:v>
                </c:pt>
                <c:pt idx="73740">
                  <c:v>26905</c:v>
                </c:pt>
                <c:pt idx="73741">
                  <c:v>44939</c:v>
                </c:pt>
                <c:pt idx="73742">
                  <c:v>36558</c:v>
                </c:pt>
                <c:pt idx="73743">
                  <c:v>179790</c:v>
                </c:pt>
                <c:pt idx="73744">
                  <c:v>54131</c:v>
                </c:pt>
                <c:pt idx="73745">
                  <c:v>46183</c:v>
                </c:pt>
                <c:pt idx="73746">
                  <c:v>40812</c:v>
                </c:pt>
                <c:pt idx="73747">
                  <c:v>46575</c:v>
                </c:pt>
                <c:pt idx="73748">
                  <c:v>51792</c:v>
                </c:pt>
                <c:pt idx="73749">
                  <c:v>33904</c:v>
                </c:pt>
                <c:pt idx="73750">
                  <c:v>26738</c:v>
                </c:pt>
                <c:pt idx="73751">
                  <c:v>64505</c:v>
                </c:pt>
                <c:pt idx="73752">
                  <c:v>41259</c:v>
                </c:pt>
                <c:pt idx="73753">
                  <c:v>50207</c:v>
                </c:pt>
                <c:pt idx="73754">
                  <c:v>40311</c:v>
                </c:pt>
                <c:pt idx="73755">
                  <c:v>21107</c:v>
                </c:pt>
                <c:pt idx="73756">
                  <c:v>118325</c:v>
                </c:pt>
                <c:pt idx="73757">
                  <c:v>102474</c:v>
                </c:pt>
                <c:pt idx="73758">
                  <c:v>73512</c:v>
                </c:pt>
                <c:pt idx="73759">
                  <c:v>37348</c:v>
                </c:pt>
                <c:pt idx="73760">
                  <c:v>49763</c:v>
                </c:pt>
                <c:pt idx="73761">
                  <c:v>51410</c:v>
                </c:pt>
                <c:pt idx="73762">
                  <c:v>35590</c:v>
                </c:pt>
                <c:pt idx="73763">
                  <c:v>21846</c:v>
                </c:pt>
                <c:pt idx="73764">
                  <c:v>34512</c:v>
                </c:pt>
                <c:pt idx="73765">
                  <c:v>42000</c:v>
                </c:pt>
                <c:pt idx="73766">
                  <c:v>34653</c:v>
                </c:pt>
                <c:pt idx="73767">
                  <c:v>56809</c:v>
                </c:pt>
                <c:pt idx="73768">
                  <c:v>44078</c:v>
                </c:pt>
                <c:pt idx="73769">
                  <c:v>48937</c:v>
                </c:pt>
                <c:pt idx="73770">
                  <c:v>26253</c:v>
                </c:pt>
                <c:pt idx="73771">
                  <c:v>50944</c:v>
                </c:pt>
                <c:pt idx="73772">
                  <c:v>70890</c:v>
                </c:pt>
                <c:pt idx="73773">
                  <c:v>41225</c:v>
                </c:pt>
                <c:pt idx="73774">
                  <c:v>265827</c:v>
                </c:pt>
                <c:pt idx="73775">
                  <c:v>69718</c:v>
                </c:pt>
                <c:pt idx="73776">
                  <c:v>30363</c:v>
                </c:pt>
                <c:pt idx="73777">
                  <c:v>28169</c:v>
                </c:pt>
                <c:pt idx="73778">
                  <c:v>47291</c:v>
                </c:pt>
                <c:pt idx="73779">
                  <c:v>65899</c:v>
                </c:pt>
                <c:pt idx="73780">
                  <c:v>46278</c:v>
                </c:pt>
                <c:pt idx="73781">
                  <c:v>35296</c:v>
                </c:pt>
                <c:pt idx="73782">
                  <c:v>104456</c:v>
                </c:pt>
                <c:pt idx="73783">
                  <c:v>38634</c:v>
                </c:pt>
                <c:pt idx="73784">
                  <c:v>86017</c:v>
                </c:pt>
                <c:pt idx="73785">
                  <c:v>26472</c:v>
                </c:pt>
                <c:pt idx="73786">
                  <c:v>71722</c:v>
                </c:pt>
                <c:pt idx="73787">
                  <c:v>32287</c:v>
                </c:pt>
                <c:pt idx="73788">
                  <c:v>22214</c:v>
                </c:pt>
                <c:pt idx="73789">
                  <c:v>46934</c:v>
                </c:pt>
                <c:pt idx="73790">
                  <c:v>78737</c:v>
                </c:pt>
                <c:pt idx="73791">
                  <c:v>24444</c:v>
                </c:pt>
                <c:pt idx="73792">
                  <c:v>46030</c:v>
                </c:pt>
                <c:pt idx="73793">
                  <c:v>52539</c:v>
                </c:pt>
                <c:pt idx="73794">
                  <c:v>31151</c:v>
                </c:pt>
                <c:pt idx="73795">
                  <c:v>50014</c:v>
                </c:pt>
                <c:pt idx="73796">
                  <c:v>38484</c:v>
                </c:pt>
                <c:pt idx="73797">
                  <c:v>189210</c:v>
                </c:pt>
                <c:pt idx="73798">
                  <c:v>53479</c:v>
                </c:pt>
                <c:pt idx="73799">
                  <c:v>129138</c:v>
                </c:pt>
                <c:pt idx="73800">
                  <c:v>31271</c:v>
                </c:pt>
                <c:pt idx="73801">
                  <c:v>67195</c:v>
                </c:pt>
                <c:pt idx="73802">
                  <c:v>83867</c:v>
                </c:pt>
                <c:pt idx="73803">
                  <c:v>43484</c:v>
                </c:pt>
                <c:pt idx="73804">
                  <c:v>22827</c:v>
                </c:pt>
                <c:pt idx="73805">
                  <c:v>24974</c:v>
                </c:pt>
                <c:pt idx="73806">
                  <c:v>74622</c:v>
                </c:pt>
                <c:pt idx="73807">
                  <c:v>60423</c:v>
                </c:pt>
                <c:pt idx="73808">
                  <c:v>18761</c:v>
                </c:pt>
                <c:pt idx="73809">
                  <c:v>36847</c:v>
                </c:pt>
                <c:pt idx="73810">
                  <c:v>31047</c:v>
                </c:pt>
                <c:pt idx="73811">
                  <c:v>46610</c:v>
                </c:pt>
                <c:pt idx="73812">
                  <c:v>23812</c:v>
                </c:pt>
                <c:pt idx="73813">
                  <c:v>28612</c:v>
                </c:pt>
                <c:pt idx="73814">
                  <c:v>35553</c:v>
                </c:pt>
                <c:pt idx="73815">
                  <c:v>44043</c:v>
                </c:pt>
                <c:pt idx="73816">
                  <c:v>42280</c:v>
                </c:pt>
                <c:pt idx="73817">
                  <c:v>28746</c:v>
                </c:pt>
                <c:pt idx="73818">
                  <c:v>19071</c:v>
                </c:pt>
                <c:pt idx="73819">
                  <c:v>46892</c:v>
                </c:pt>
                <c:pt idx="73820">
                  <c:v>67619</c:v>
                </c:pt>
                <c:pt idx="73821">
                  <c:v>116938</c:v>
                </c:pt>
                <c:pt idx="73822">
                  <c:v>42656</c:v>
                </c:pt>
                <c:pt idx="73823">
                  <c:v>48904</c:v>
                </c:pt>
                <c:pt idx="73824">
                  <c:v>19619</c:v>
                </c:pt>
                <c:pt idx="73825">
                  <c:v>71312</c:v>
                </c:pt>
                <c:pt idx="73826">
                  <c:v>61422</c:v>
                </c:pt>
                <c:pt idx="73827">
                  <c:v>44478</c:v>
                </c:pt>
                <c:pt idx="73828">
                  <c:v>36428</c:v>
                </c:pt>
                <c:pt idx="73829">
                  <c:v>45626</c:v>
                </c:pt>
                <c:pt idx="73830">
                  <c:v>29996</c:v>
                </c:pt>
                <c:pt idx="73831">
                  <c:v>45505</c:v>
                </c:pt>
                <c:pt idx="73832">
                  <c:v>33400</c:v>
                </c:pt>
                <c:pt idx="73833">
                  <c:v>41296</c:v>
                </c:pt>
                <c:pt idx="73834">
                  <c:v>70621</c:v>
                </c:pt>
                <c:pt idx="73835">
                  <c:v>33497</c:v>
                </c:pt>
                <c:pt idx="73836">
                  <c:v>35742</c:v>
                </c:pt>
                <c:pt idx="73837">
                  <c:v>42564</c:v>
                </c:pt>
                <c:pt idx="73838">
                  <c:v>207856</c:v>
                </c:pt>
                <c:pt idx="73839">
                  <c:v>38459</c:v>
                </c:pt>
                <c:pt idx="73840">
                  <c:v>27538</c:v>
                </c:pt>
                <c:pt idx="73841">
                  <c:v>49526</c:v>
                </c:pt>
                <c:pt idx="73842">
                  <c:v>73118</c:v>
                </c:pt>
                <c:pt idx="73843">
                  <c:v>30537</c:v>
                </c:pt>
                <c:pt idx="73844">
                  <c:v>40649</c:v>
                </c:pt>
                <c:pt idx="73845">
                  <c:v>88054</c:v>
                </c:pt>
                <c:pt idx="73846">
                  <c:v>36840</c:v>
                </c:pt>
                <c:pt idx="73847">
                  <c:v>27147</c:v>
                </c:pt>
                <c:pt idx="73848">
                  <c:v>35905</c:v>
                </c:pt>
                <c:pt idx="73849">
                  <c:v>49422</c:v>
                </c:pt>
                <c:pt idx="73850">
                  <c:v>26358</c:v>
                </c:pt>
                <c:pt idx="73851">
                  <c:v>376355</c:v>
                </c:pt>
                <c:pt idx="73852">
                  <c:v>43299</c:v>
                </c:pt>
                <c:pt idx="73853">
                  <c:v>35616</c:v>
                </c:pt>
                <c:pt idx="73854">
                  <c:v>49925</c:v>
                </c:pt>
                <c:pt idx="73855">
                  <c:v>38765</c:v>
                </c:pt>
                <c:pt idx="73856">
                  <c:v>129628</c:v>
                </c:pt>
                <c:pt idx="73857">
                  <c:v>41981</c:v>
                </c:pt>
                <c:pt idx="73858">
                  <c:v>39785</c:v>
                </c:pt>
                <c:pt idx="73859">
                  <c:v>31257</c:v>
                </c:pt>
                <c:pt idx="73860">
                  <c:v>305231</c:v>
                </c:pt>
                <c:pt idx="73861">
                  <c:v>48605</c:v>
                </c:pt>
                <c:pt idx="73862">
                  <c:v>44533</c:v>
                </c:pt>
                <c:pt idx="73863">
                  <c:v>51608</c:v>
                </c:pt>
                <c:pt idx="73864">
                  <c:v>217839</c:v>
                </c:pt>
                <c:pt idx="73865">
                  <c:v>27094</c:v>
                </c:pt>
                <c:pt idx="73866">
                  <c:v>134431</c:v>
                </c:pt>
                <c:pt idx="73867">
                  <c:v>299758</c:v>
                </c:pt>
                <c:pt idx="73868">
                  <c:v>99995</c:v>
                </c:pt>
                <c:pt idx="73869">
                  <c:v>41470</c:v>
                </c:pt>
                <c:pt idx="73870">
                  <c:v>22100</c:v>
                </c:pt>
                <c:pt idx="73871">
                  <c:v>45594</c:v>
                </c:pt>
                <c:pt idx="73872">
                  <c:v>40976</c:v>
                </c:pt>
                <c:pt idx="73873">
                  <c:v>38682</c:v>
                </c:pt>
                <c:pt idx="73874">
                  <c:v>45159</c:v>
                </c:pt>
                <c:pt idx="73875">
                  <c:v>49135</c:v>
                </c:pt>
                <c:pt idx="73876">
                  <c:v>26697</c:v>
                </c:pt>
                <c:pt idx="73877">
                  <c:v>24304</c:v>
                </c:pt>
                <c:pt idx="73878">
                  <c:v>69579</c:v>
                </c:pt>
                <c:pt idx="73879">
                  <c:v>61643</c:v>
                </c:pt>
                <c:pt idx="73880">
                  <c:v>37150</c:v>
                </c:pt>
                <c:pt idx="73881">
                  <c:v>152377</c:v>
                </c:pt>
                <c:pt idx="73882">
                  <c:v>41106</c:v>
                </c:pt>
                <c:pt idx="73883">
                  <c:v>103707</c:v>
                </c:pt>
                <c:pt idx="73884">
                  <c:v>56524</c:v>
                </c:pt>
                <c:pt idx="73885">
                  <c:v>92763</c:v>
                </c:pt>
                <c:pt idx="73886">
                  <c:v>28997</c:v>
                </c:pt>
                <c:pt idx="73887">
                  <c:v>58541</c:v>
                </c:pt>
                <c:pt idx="73888">
                  <c:v>40975</c:v>
                </c:pt>
                <c:pt idx="73889">
                  <c:v>43886</c:v>
                </c:pt>
                <c:pt idx="73890">
                  <c:v>27896</c:v>
                </c:pt>
                <c:pt idx="73891">
                  <c:v>45503</c:v>
                </c:pt>
                <c:pt idx="73892">
                  <c:v>32446</c:v>
                </c:pt>
                <c:pt idx="73893">
                  <c:v>52401</c:v>
                </c:pt>
                <c:pt idx="73894">
                  <c:v>23861</c:v>
                </c:pt>
                <c:pt idx="73895">
                  <c:v>34556</c:v>
                </c:pt>
                <c:pt idx="73896">
                  <c:v>71256</c:v>
                </c:pt>
                <c:pt idx="73897">
                  <c:v>43294</c:v>
                </c:pt>
                <c:pt idx="73898">
                  <c:v>62335</c:v>
                </c:pt>
                <c:pt idx="73899">
                  <c:v>58702</c:v>
                </c:pt>
                <c:pt idx="73900">
                  <c:v>38340</c:v>
                </c:pt>
                <c:pt idx="73901">
                  <c:v>102813</c:v>
                </c:pt>
                <c:pt idx="73902">
                  <c:v>28524</c:v>
                </c:pt>
                <c:pt idx="73903">
                  <c:v>29599</c:v>
                </c:pt>
                <c:pt idx="73904">
                  <c:v>51801</c:v>
                </c:pt>
                <c:pt idx="73905">
                  <c:v>71997</c:v>
                </c:pt>
                <c:pt idx="73906">
                  <c:v>53660</c:v>
                </c:pt>
                <c:pt idx="73907">
                  <c:v>49396</c:v>
                </c:pt>
                <c:pt idx="73908">
                  <c:v>33874</c:v>
                </c:pt>
                <c:pt idx="73909">
                  <c:v>36691</c:v>
                </c:pt>
                <c:pt idx="73910">
                  <c:v>39567</c:v>
                </c:pt>
                <c:pt idx="73911">
                  <c:v>43963</c:v>
                </c:pt>
                <c:pt idx="73912">
                  <c:v>75343</c:v>
                </c:pt>
                <c:pt idx="73913">
                  <c:v>32871</c:v>
                </c:pt>
                <c:pt idx="73914">
                  <c:v>78871</c:v>
                </c:pt>
                <c:pt idx="73915">
                  <c:v>23060</c:v>
                </c:pt>
                <c:pt idx="73916">
                  <c:v>87747</c:v>
                </c:pt>
                <c:pt idx="73917">
                  <c:v>35290</c:v>
                </c:pt>
                <c:pt idx="73918">
                  <c:v>51200</c:v>
                </c:pt>
                <c:pt idx="73919">
                  <c:v>34293</c:v>
                </c:pt>
                <c:pt idx="73920">
                  <c:v>24546</c:v>
                </c:pt>
                <c:pt idx="73921">
                  <c:v>36601</c:v>
                </c:pt>
                <c:pt idx="73922">
                  <c:v>49185</c:v>
                </c:pt>
                <c:pt idx="73923">
                  <c:v>48848</c:v>
                </c:pt>
                <c:pt idx="73924">
                  <c:v>36495</c:v>
                </c:pt>
                <c:pt idx="73925">
                  <c:v>25605</c:v>
                </c:pt>
                <c:pt idx="73926">
                  <c:v>54985</c:v>
                </c:pt>
                <c:pt idx="73927">
                  <c:v>30371</c:v>
                </c:pt>
                <c:pt idx="73928">
                  <c:v>51321</c:v>
                </c:pt>
                <c:pt idx="73929">
                  <c:v>43905</c:v>
                </c:pt>
                <c:pt idx="73930">
                  <c:v>53452</c:v>
                </c:pt>
                <c:pt idx="73931">
                  <c:v>50978</c:v>
                </c:pt>
                <c:pt idx="73932">
                  <c:v>83380</c:v>
                </c:pt>
                <c:pt idx="73933">
                  <c:v>40962</c:v>
                </c:pt>
                <c:pt idx="73934">
                  <c:v>33992</c:v>
                </c:pt>
                <c:pt idx="73935">
                  <c:v>65709</c:v>
                </c:pt>
                <c:pt idx="73936">
                  <c:v>78015</c:v>
                </c:pt>
                <c:pt idx="73937">
                  <c:v>101959</c:v>
                </c:pt>
                <c:pt idx="73938">
                  <c:v>38924</c:v>
                </c:pt>
                <c:pt idx="73939">
                  <c:v>26420</c:v>
                </c:pt>
                <c:pt idx="73940">
                  <c:v>28144</c:v>
                </c:pt>
                <c:pt idx="73941">
                  <c:v>85668</c:v>
                </c:pt>
                <c:pt idx="73942">
                  <c:v>35624</c:v>
                </c:pt>
                <c:pt idx="73943">
                  <c:v>62289</c:v>
                </c:pt>
                <c:pt idx="73944">
                  <c:v>73883</c:v>
                </c:pt>
                <c:pt idx="73945">
                  <c:v>30553</c:v>
                </c:pt>
                <c:pt idx="73946">
                  <c:v>31876</c:v>
                </c:pt>
                <c:pt idx="73947">
                  <c:v>47397</c:v>
                </c:pt>
                <c:pt idx="73948">
                  <c:v>79770</c:v>
                </c:pt>
                <c:pt idx="73949">
                  <c:v>50062</c:v>
                </c:pt>
                <c:pt idx="73950">
                  <c:v>37564</c:v>
                </c:pt>
                <c:pt idx="73951">
                  <c:v>43550</c:v>
                </c:pt>
                <c:pt idx="73952">
                  <c:v>30153</c:v>
                </c:pt>
                <c:pt idx="73953">
                  <c:v>81010</c:v>
                </c:pt>
                <c:pt idx="73954">
                  <c:v>69939</c:v>
                </c:pt>
                <c:pt idx="73955">
                  <c:v>52441</c:v>
                </c:pt>
                <c:pt idx="73956">
                  <c:v>35902</c:v>
                </c:pt>
                <c:pt idx="73957">
                  <c:v>40655</c:v>
                </c:pt>
                <c:pt idx="73958">
                  <c:v>36556</c:v>
                </c:pt>
                <c:pt idx="73959">
                  <c:v>43063</c:v>
                </c:pt>
                <c:pt idx="73960">
                  <c:v>26953</c:v>
                </c:pt>
                <c:pt idx="73961">
                  <c:v>28396</c:v>
                </c:pt>
                <c:pt idx="73962">
                  <c:v>43940</c:v>
                </c:pt>
                <c:pt idx="73963">
                  <c:v>41289</c:v>
                </c:pt>
                <c:pt idx="73964">
                  <c:v>34544</c:v>
                </c:pt>
                <c:pt idx="73965">
                  <c:v>38014</c:v>
                </c:pt>
                <c:pt idx="73966">
                  <c:v>47874</c:v>
                </c:pt>
                <c:pt idx="73967">
                  <c:v>64041</c:v>
                </c:pt>
                <c:pt idx="73968">
                  <c:v>68626</c:v>
                </c:pt>
                <c:pt idx="73969">
                  <c:v>37013</c:v>
                </c:pt>
                <c:pt idx="73970">
                  <c:v>120783</c:v>
                </c:pt>
                <c:pt idx="73971">
                  <c:v>164795</c:v>
                </c:pt>
                <c:pt idx="73972">
                  <c:v>22235</c:v>
                </c:pt>
                <c:pt idx="73973">
                  <c:v>29693</c:v>
                </c:pt>
                <c:pt idx="73974">
                  <c:v>34681</c:v>
                </c:pt>
                <c:pt idx="73975">
                  <c:v>103297</c:v>
                </c:pt>
                <c:pt idx="73976">
                  <c:v>45768</c:v>
                </c:pt>
                <c:pt idx="73977">
                  <c:v>32256</c:v>
                </c:pt>
                <c:pt idx="73978">
                  <c:v>361058</c:v>
                </c:pt>
                <c:pt idx="73979">
                  <c:v>37628</c:v>
                </c:pt>
                <c:pt idx="73980">
                  <c:v>27858</c:v>
                </c:pt>
                <c:pt idx="73981">
                  <c:v>41174</c:v>
                </c:pt>
                <c:pt idx="73982">
                  <c:v>44282</c:v>
                </c:pt>
                <c:pt idx="73983">
                  <c:v>43850</c:v>
                </c:pt>
                <c:pt idx="73984">
                  <c:v>265830</c:v>
                </c:pt>
                <c:pt idx="73985">
                  <c:v>77059</c:v>
                </c:pt>
                <c:pt idx="73986">
                  <c:v>37537</c:v>
                </c:pt>
                <c:pt idx="73987">
                  <c:v>23658</c:v>
                </c:pt>
                <c:pt idx="73988">
                  <c:v>44886</c:v>
                </c:pt>
                <c:pt idx="73989">
                  <c:v>85306</c:v>
                </c:pt>
                <c:pt idx="73990">
                  <c:v>24198</c:v>
                </c:pt>
                <c:pt idx="73991">
                  <c:v>126556</c:v>
                </c:pt>
                <c:pt idx="73992">
                  <c:v>221833</c:v>
                </c:pt>
                <c:pt idx="73993">
                  <c:v>39880</c:v>
                </c:pt>
                <c:pt idx="73994">
                  <c:v>37017</c:v>
                </c:pt>
                <c:pt idx="73995">
                  <c:v>83454</c:v>
                </c:pt>
                <c:pt idx="73996">
                  <c:v>32356</c:v>
                </c:pt>
                <c:pt idx="73997">
                  <c:v>53860</c:v>
                </c:pt>
                <c:pt idx="73998">
                  <c:v>47511</c:v>
                </c:pt>
                <c:pt idx="73999">
                  <c:v>59000</c:v>
                </c:pt>
                <c:pt idx="74000">
                  <c:v>38557</c:v>
                </c:pt>
                <c:pt idx="74001">
                  <c:v>29802</c:v>
                </c:pt>
                <c:pt idx="74002">
                  <c:v>72573</c:v>
                </c:pt>
                <c:pt idx="74003">
                  <c:v>64804</c:v>
                </c:pt>
                <c:pt idx="74004">
                  <c:v>60213</c:v>
                </c:pt>
                <c:pt idx="74005">
                  <c:v>285124</c:v>
                </c:pt>
                <c:pt idx="74006">
                  <c:v>81003</c:v>
                </c:pt>
                <c:pt idx="74007">
                  <c:v>33054</c:v>
                </c:pt>
                <c:pt idx="74008">
                  <c:v>35560</c:v>
                </c:pt>
                <c:pt idx="74009">
                  <c:v>117268</c:v>
                </c:pt>
                <c:pt idx="74010">
                  <c:v>36826</c:v>
                </c:pt>
                <c:pt idx="74011">
                  <c:v>34291</c:v>
                </c:pt>
                <c:pt idx="74012">
                  <c:v>44303</c:v>
                </c:pt>
                <c:pt idx="74013">
                  <c:v>29797</c:v>
                </c:pt>
                <c:pt idx="74014">
                  <c:v>92388</c:v>
                </c:pt>
                <c:pt idx="74015">
                  <c:v>56346</c:v>
                </c:pt>
                <c:pt idx="74016">
                  <c:v>26438</c:v>
                </c:pt>
                <c:pt idx="74017">
                  <c:v>52632</c:v>
                </c:pt>
                <c:pt idx="74018">
                  <c:v>26331</c:v>
                </c:pt>
                <c:pt idx="74019">
                  <c:v>22747</c:v>
                </c:pt>
                <c:pt idx="74020">
                  <c:v>34866</c:v>
                </c:pt>
                <c:pt idx="74021">
                  <c:v>91591</c:v>
                </c:pt>
                <c:pt idx="74022">
                  <c:v>22786</c:v>
                </c:pt>
                <c:pt idx="74023">
                  <c:v>54944</c:v>
                </c:pt>
                <c:pt idx="74024">
                  <c:v>20067</c:v>
                </c:pt>
                <c:pt idx="74025">
                  <c:v>27287</c:v>
                </c:pt>
                <c:pt idx="74026">
                  <c:v>110788</c:v>
                </c:pt>
                <c:pt idx="74027">
                  <c:v>52375</c:v>
                </c:pt>
                <c:pt idx="74028">
                  <c:v>66622</c:v>
                </c:pt>
                <c:pt idx="74029">
                  <c:v>42995</c:v>
                </c:pt>
                <c:pt idx="74030">
                  <c:v>81254</c:v>
                </c:pt>
                <c:pt idx="74031">
                  <c:v>127568</c:v>
                </c:pt>
                <c:pt idx="74032">
                  <c:v>28840</c:v>
                </c:pt>
                <c:pt idx="74033">
                  <c:v>42979</c:v>
                </c:pt>
                <c:pt idx="74034">
                  <c:v>240927</c:v>
                </c:pt>
                <c:pt idx="74035">
                  <c:v>44963</c:v>
                </c:pt>
                <c:pt idx="74036">
                  <c:v>47755</c:v>
                </c:pt>
                <c:pt idx="74037">
                  <c:v>40852</c:v>
                </c:pt>
                <c:pt idx="74038">
                  <c:v>28267</c:v>
                </c:pt>
                <c:pt idx="74039">
                  <c:v>73858</c:v>
                </c:pt>
                <c:pt idx="74040">
                  <c:v>48093</c:v>
                </c:pt>
                <c:pt idx="74041">
                  <c:v>52407</c:v>
                </c:pt>
                <c:pt idx="74042">
                  <c:v>38626</c:v>
                </c:pt>
                <c:pt idx="74043">
                  <c:v>28085</c:v>
                </c:pt>
                <c:pt idx="74044">
                  <c:v>25957</c:v>
                </c:pt>
                <c:pt idx="74045">
                  <c:v>54336</c:v>
                </c:pt>
                <c:pt idx="74046">
                  <c:v>37783</c:v>
                </c:pt>
                <c:pt idx="74047">
                  <c:v>37476</c:v>
                </c:pt>
                <c:pt idx="74048">
                  <c:v>38247</c:v>
                </c:pt>
                <c:pt idx="74049">
                  <c:v>32045</c:v>
                </c:pt>
                <c:pt idx="74050">
                  <c:v>53576</c:v>
                </c:pt>
                <c:pt idx="74051">
                  <c:v>52195</c:v>
                </c:pt>
                <c:pt idx="74052">
                  <c:v>78061</c:v>
                </c:pt>
                <c:pt idx="74053">
                  <c:v>26734</c:v>
                </c:pt>
                <c:pt idx="74054">
                  <c:v>26617</c:v>
                </c:pt>
                <c:pt idx="74055">
                  <c:v>47185</c:v>
                </c:pt>
                <c:pt idx="74056">
                  <c:v>21889</c:v>
                </c:pt>
                <c:pt idx="74057">
                  <c:v>40344</c:v>
                </c:pt>
                <c:pt idx="74058">
                  <c:v>29070</c:v>
                </c:pt>
                <c:pt idx="74059">
                  <c:v>187703</c:v>
                </c:pt>
                <c:pt idx="74060">
                  <c:v>34126</c:v>
                </c:pt>
                <c:pt idx="74061">
                  <c:v>55517</c:v>
                </c:pt>
                <c:pt idx="74062">
                  <c:v>24465</c:v>
                </c:pt>
                <c:pt idx="74063">
                  <c:v>50260</c:v>
                </c:pt>
                <c:pt idx="74064">
                  <c:v>36615</c:v>
                </c:pt>
                <c:pt idx="74065">
                  <c:v>29139</c:v>
                </c:pt>
                <c:pt idx="74066">
                  <c:v>40750</c:v>
                </c:pt>
                <c:pt idx="74067">
                  <c:v>21890</c:v>
                </c:pt>
                <c:pt idx="74068">
                  <c:v>25434</c:v>
                </c:pt>
                <c:pt idx="74069">
                  <c:v>168985</c:v>
                </c:pt>
                <c:pt idx="74070">
                  <c:v>25360</c:v>
                </c:pt>
                <c:pt idx="74071">
                  <c:v>47312</c:v>
                </c:pt>
                <c:pt idx="74072">
                  <c:v>50230</c:v>
                </c:pt>
                <c:pt idx="74073">
                  <c:v>42593</c:v>
                </c:pt>
                <c:pt idx="74074">
                  <c:v>36889</c:v>
                </c:pt>
                <c:pt idx="74075">
                  <c:v>36423</c:v>
                </c:pt>
                <c:pt idx="74076">
                  <c:v>68093</c:v>
                </c:pt>
                <c:pt idx="74077">
                  <c:v>61095</c:v>
                </c:pt>
                <c:pt idx="74078">
                  <c:v>28752</c:v>
                </c:pt>
                <c:pt idx="74079">
                  <c:v>57050</c:v>
                </c:pt>
                <c:pt idx="74080">
                  <c:v>41120</c:v>
                </c:pt>
                <c:pt idx="74081">
                  <c:v>18208</c:v>
                </c:pt>
                <c:pt idx="74082">
                  <c:v>37921</c:v>
                </c:pt>
                <c:pt idx="74083">
                  <c:v>34965</c:v>
                </c:pt>
                <c:pt idx="74084">
                  <c:v>45969</c:v>
                </c:pt>
                <c:pt idx="74085">
                  <c:v>23272</c:v>
                </c:pt>
                <c:pt idx="74086">
                  <c:v>27453</c:v>
                </c:pt>
                <c:pt idx="74087">
                  <c:v>31425</c:v>
                </c:pt>
                <c:pt idx="74088">
                  <c:v>56931</c:v>
                </c:pt>
                <c:pt idx="74089">
                  <c:v>33913</c:v>
                </c:pt>
                <c:pt idx="74090">
                  <c:v>45819</c:v>
                </c:pt>
                <c:pt idx="74091">
                  <c:v>52758</c:v>
                </c:pt>
                <c:pt idx="74092">
                  <c:v>57274</c:v>
                </c:pt>
                <c:pt idx="74093">
                  <c:v>48351</c:v>
                </c:pt>
                <c:pt idx="74094">
                  <c:v>54497</c:v>
                </c:pt>
                <c:pt idx="74095">
                  <c:v>89276</c:v>
                </c:pt>
                <c:pt idx="74096">
                  <c:v>33846</c:v>
                </c:pt>
                <c:pt idx="74097">
                  <c:v>22257</c:v>
                </c:pt>
                <c:pt idx="74098">
                  <c:v>35602</c:v>
                </c:pt>
                <c:pt idx="74099">
                  <c:v>60450</c:v>
                </c:pt>
                <c:pt idx="74100">
                  <c:v>19704</c:v>
                </c:pt>
                <c:pt idx="74101">
                  <c:v>80938</c:v>
                </c:pt>
                <c:pt idx="74102">
                  <c:v>28470</c:v>
                </c:pt>
                <c:pt idx="74103">
                  <c:v>59683</c:v>
                </c:pt>
                <c:pt idx="74104">
                  <c:v>111481</c:v>
                </c:pt>
                <c:pt idx="74105">
                  <c:v>37049</c:v>
                </c:pt>
                <c:pt idx="74106">
                  <c:v>35340</c:v>
                </c:pt>
                <c:pt idx="74107">
                  <c:v>38907</c:v>
                </c:pt>
                <c:pt idx="74108">
                  <c:v>54562</c:v>
                </c:pt>
                <c:pt idx="74109">
                  <c:v>38085</c:v>
                </c:pt>
                <c:pt idx="74110">
                  <c:v>46701</c:v>
                </c:pt>
                <c:pt idx="74111">
                  <c:v>32930</c:v>
                </c:pt>
                <c:pt idx="74112">
                  <c:v>24609</c:v>
                </c:pt>
                <c:pt idx="74113">
                  <c:v>136812</c:v>
                </c:pt>
                <c:pt idx="74114">
                  <c:v>28037</c:v>
                </c:pt>
                <c:pt idx="74115">
                  <c:v>31105</c:v>
                </c:pt>
                <c:pt idx="74116">
                  <c:v>51275</c:v>
                </c:pt>
                <c:pt idx="74117">
                  <c:v>59112</c:v>
                </c:pt>
                <c:pt idx="74118">
                  <c:v>27857</c:v>
                </c:pt>
                <c:pt idx="74119">
                  <c:v>184765</c:v>
                </c:pt>
                <c:pt idx="74120">
                  <c:v>42785</c:v>
                </c:pt>
                <c:pt idx="74121">
                  <c:v>30598</c:v>
                </c:pt>
                <c:pt idx="74122">
                  <c:v>38085</c:v>
                </c:pt>
                <c:pt idx="74123">
                  <c:v>22399</c:v>
                </c:pt>
                <c:pt idx="74124">
                  <c:v>37544</c:v>
                </c:pt>
                <c:pt idx="74125">
                  <c:v>156233</c:v>
                </c:pt>
                <c:pt idx="74126">
                  <c:v>48226</c:v>
                </c:pt>
                <c:pt idx="74127">
                  <c:v>56164</c:v>
                </c:pt>
                <c:pt idx="74128">
                  <c:v>35674</c:v>
                </c:pt>
                <c:pt idx="74129">
                  <c:v>73642</c:v>
                </c:pt>
                <c:pt idx="74130">
                  <c:v>35188</c:v>
                </c:pt>
                <c:pt idx="74131">
                  <c:v>96586</c:v>
                </c:pt>
                <c:pt idx="74132">
                  <c:v>83552</c:v>
                </c:pt>
                <c:pt idx="74133">
                  <c:v>42014</c:v>
                </c:pt>
                <c:pt idx="74134">
                  <c:v>34074</c:v>
                </c:pt>
                <c:pt idx="74135">
                  <c:v>34233</c:v>
                </c:pt>
                <c:pt idx="74136">
                  <c:v>44270</c:v>
                </c:pt>
                <c:pt idx="74137">
                  <c:v>40249</c:v>
                </c:pt>
                <c:pt idx="74138">
                  <c:v>15000</c:v>
                </c:pt>
                <c:pt idx="74139">
                  <c:v>28909</c:v>
                </c:pt>
                <c:pt idx="74140">
                  <c:v>24495</c:v>
                </c:pt>
                <c:pt idx="74141">
                  <c:v>48323</c:v>
                </c:pt>
                <c:pt idx="74142">
                  <c:v>306952</c:v>
                </c:pt>
                <c:pt idx="74143">
                  <c:v>96680</c:v>
                </c:pt>
                <c:pt idx="74144">
                  <c:v>42068</c:v>
                </c:pt>
                <c:pt idx="74145">
                  <c:v>41663</c:v>
                </c:pt>
                <c:pt idx="74146">
                  <c:v>81205</c:v>
                </c:pt>
                <c:pt idx="74147">
                  <c:v>42144</c:v>
                </c:pt>
                <c:pt idx="74148">
                  <c:v>52310</c:v>
                </c:pt>
                <c:pt idx="74149">
                  <c:v>38030</c:v>
                </c:pt>
                <c:pt idx="74150">
                  <c:v>194516</c:v>
                </c:pt>
                <c:pt idx="74151">
                  <c:v>33419</c:v>
                </c:pt>
                <c:pt idx="74152">
                  <c:v>146771</c:v>
                </c:pt>
                <c:pt idx="74153">
                  <c:v>64692</c:v>
                </c:pt>
                <c:pt idx="74154">
                  <c:v>28495</c:v>
                </c:pt>
                <c:pt idx="74155">
                  <c:v>39575</c:v>
                </c:pt>
                <c:pt idx="74156">
                  <c:v>170399</c:v>
                </c:pt>
                <c:pt idx="74157">
                  <c:v>27357</c:v>
                </c:pt>
                <c:pt idx="74158">
                  <c:v>38572</c:v>
                </c:pt>
                <c:pt idx="74159">
                  <c:v>42519</c:v>
                </c:pt>
                <c:pt idx="74160">
                  <c:v>43227</c:v>
                </c:pt>
                <c:pt idx="74161">
                  <c:v>223736</c:v>
                </c:pt>
                <c:pt idx="74162">
                  <c:v>68209</c:v>
                </c:pt>
                <c:pt idx="74163">
                  <c:v>41907</c:v>
                </c:pt>
                <c:pt idx="74164">
                  <c:v>46739</c:v>
                </c:pt>
                <c:pt idx="74165">
                  <c:v>40269</c:v>
                </c:pt>
                <c:pt idx="74166">
                  <c:v>37756</c:v>
                </c:pt>
                <c:pt idx="74167">
                  <c:v>34703</c:v>
                </c:pt>
                <c:pt idx="74168">
                  <c:v>62217</c:v>
                </c:pt>
                <c:pt idx="74169">
                  <c:v>38726</c:v>
                </c:pt>
                <c:pt idx="74170">
                  <c:v>133292</c:v>
                </c:pt>
                <c:pt idx="74171">
                  <c:v>62141</c:v>
                </c:pt>
                <c:pt idx="74172">
                  <c:v>31369</c:v>
                </c:pt>
                <c:pt idx="74173">
                  <c:v>90157</c:v>
                </c:pt>
                <c:pt idx="74174">
                  <c:v>124692</c:v>
                </c:pt>
                <c:pt idx="74175">
                  <c:v>36679</c:v>
                </c:pt>
                <c:pt idx="74176">
                  <c:v>38271</c:v>
                </c:pt>
                <c:pt idx="74177">
                  <c:v>37289</c:v>
                </c:pt>
                <c:pt idx="74178">
                  <c:v>49962</c:v>
                </c:pt>
                <c:pt idx="74179">
                  <c:v>22990</c:v>
                </c:pt>
                <c:pt idx="74180">
                  <c:v>41403</c:v>
                </c:pt>
                <c:pt idx="74181">
                  <c:v>68151</c:v>
                </c:pt>
                <c:pt idx="74182">
                  <c:v>38070</c:v>
                </c:pt>
                <c:pt idx="74183">
                  <c:v>49482</c:v>
                </c:pt>
                <c:pt idx="74184">
                  <c:v>32752</c:v>
                </c:pt>
                <c:pt idx="74185">
                  <c:v>43799</c:v>
                </c:pt>
                <c:pt idx="74186">
                  <c:v>45385</c:v>
                </c:pt>
                <c:pt idx="74187">
                  <c:v>75986</c:v>
                </c:pt>
                <c:pt idx="74188">
                  <c:v>29859</c:v>
                </c:pt>
                <c:pt idx="74189">
                  <c:v>37304</c:v>
                </c:pt>
                <c:pt idx="74190">
                  <c:v>29779</c:v>
                </c:pt>
                <c:pt idx="74191">
                  <c:v>105378</c:v>
                </c:pt>
                <c:pt idx="74192">
                  <c:v>57220</c:v>
                </c:pt>
                <c:pt idx="74193">
                  <c:v>149043</c:v>
                </c:pt>
                <c:pt idx="74194">
                  <c:v>24615</c:v>
                </c:pt>
                <c:pt idx="74195">
                  <c:v>27896</c:v>
                </c:pt>
                <c:pt idx="74196">
                  <c:v>26643</c:v>
                </c:pt>
                <c:pt idx="74197">
                  <c:v>41270</c:v>
                </c:pt>
                <c:pt idx="74198">
                  <c:v>20140</c:v>
                </c:pt>
                <c:pt idx="74199">
                  <c:v>42615</c:v>
                </c:pt>
                <c:pt idx="74200">
                  <c:v>34689</c:v>
                </c:pt>
                <c:pt idx="74201">
                  <c:v>36471</c:v>
                </c:pt>
                <c:pt idx="74202">
                  <c:v>229926</c:v>
                </c:pt>
                <c:pt idx="74203">
                  <c:v>36594</c:v>
                </c:pt>
                <c:pt idx="74204">
                  <c:v>36560</c:v>
                </c:pt>
                <c:pt idx="74205">
                  <c:v>29475</c:v>
                </c:pt>
                <c:pt idx="74206">
                  <c:v>104230</c:v>
                </c:pt>
                <c:pt idx="74207">
                  <c:v>30954</c:v>
                </c:pt>
                <c:pt idx="74208">
                  <c:v>37387</c:v>
                </c:pt>
                <c:pt idx="74209">
                  <c:v>80999</c:v>
                </c:pt>
                <c:pt idx="74210">
                  <c:v>52629</c:v>
                </c:pt>
                <c:pt idx="74211">
                  <c:v>40161</c:v>
                </c:pt>
                <c:pt idx="74212">
                  <c:v>44814</c:v>
                </c:pt>
                <c:pt idx="74213">
                  <c:v>41458</c:v>
                </c:pt>
                <c:pt idx="74214">
                  <c:v>33431</c:v>
                </c:pt>
                <c:pt idx="74215">
                  <c:v>35066</c:v>
                </c:pt>
                <c:pt idx="74216">
                  <c:v>41654</c:v>
                </c:pt>
                <c:pt idx="74217">
                  <c:v>44452</c:v>
                </c:pt>
                <c:pt idx="74218">
                  <c:v>26685</c:v>
                </c:pt>
                <c:pt idx="74219">
                  <c:v>42353</c:v>
                </c:pt>
                <c:pt idx="74220">
                  <c:v>67980</c:v>
                </c:pt>
                <c:pt idx="74221">
                  <c:v>293904</c:v>
                </c:pt>
                <c:pt idx="74222">
                  <c:v>25022</c:v>
                </c:pt>
                <c:pt idx="74223">
                  <c:v>39088</c:v>
                </c:pt>
                <c:pt idx="74224">
                  <c:v>81828</c:v>
                </c:pt>
                <c:pt idx="74225">
                  <c:v>35199</c:v>
                </c:pt>
                <c:pt idx="74226">
                  <c:v>166266</c:v>
                </c:pt>
                <c:pt idx="74227">
                  <c:v>62711</c:v>
                </c:pt>
                <c:pt idx="74228">
                  <c:v>32958</c:v>
                </c:pt>
                <c:pt idx="74229">
                  <c:v>48240</c:v>
                </c:pt>
                <c:pt idx="74230">
                  <c:v>35793</c:v>
                </c:pt>
                <c:pt idx="74231">
                  <c:v>29418</c:v>
                </c:pt>
                <c:pt idx="74232">
                  <c:v>42072</c:v>
                </c:pt>
                <c:pt idx="74233">
                  <c:v>32375</c:v>
                </c:pt>
                <c:pt idx="74234">
                  <c:v>27671</c:v>
                </c:pt>
                <c:pt idx="74235">
                  <c:v>24289</c:v>
                </c:pt>
                <c:pt idx="74236">
                  <c:v>82673</c:v>
                </c:pt>
                <c:pt idx="74237">
                  <c:v>54436</c:v>
                </c:pt>
                <c:pt idx="74238">
                  <c:v>39537</c:v>
                </c:pt>
                <c:pt idx="74239">
                  <c:v>43152</c:v>
                </c:pt>
                <c:pt idx="74240">
                  <c:v>101126</c:v>
                </c:pt>
                <c:pt idx="74241">
                  <c:v>135499</c:v>
                </c:pt>
                <c:pt idx="74242">
                  <c:v>38713</c:v>
                </c:pt>
                <c:pt idx="74243">
                  <c:v>34677</c:v>
                </c:pt>
                <c:pt idx="74244">
                  <c:v>20544</c:v>
                </c:pt>
                <c:pt idx="74245">
                  <c:v>46793</c:v>
                </c:pt>
                <c:pt idx="74246">
                  <c:v>65720</c:v>
                </c:pt>
                <c:pt idx="74247">
                  <c:v>43800</c:v>
                </c:pt>
                <c:pt idx="74248">
                  <c:v>81110</c:v>
                </c:pt>
                <c:pt idx="74249">
                  <c:v>45911</c:v>
                </c:pt>
                <c:pt idx="74250">
                  <c:v>38674</c:v>
                </c:pt>
                <c:pt idx="74251">
                  <c:v>47695</c:v>
                </c:pt>
                <c:pt idx="74252">
                  <c:v>32915</c:v>
                </c:pt>
                <c:pt idx="74253">
                  <c:v>40693</c:v>
                </c:pt>
                <c:pt idx="74254">
                  <c:v>45181</c:v>
                </c:pt>
                <c:pt idx="74255">
                  <c:v>72896</c:v>
                </c:pt>
                <c:pt idx="74256">
                  <c:v>47877</c:v>
                </c:pt>
                <c:pt idx="74257">
                  <c:v>30069</c:v>
                </c:pt>
                <c:pt idx="74258">
                  <c:v>39490</c:v>
                </c:pt>
                <c:pt idx="74259">
                  <c:v>34540</c:v>
                </c:pt>
                <c:pt idx="74260">
                  <c:v>83453</c:v>
                </c:pt>
                <c:pt idx="74261">
                  <c:v>37349</c:v>
                </c:pt>
                <c:pt idx="74262">
                  <c:v>282601</c:v>
                </c:pt>
                <c:pt idx="74263">
                  <c:v>28039</c:v>
                </c:pt>
                <c:pt idx="74264">
                  <c:v>29549</c:v>
                </c:pt>
                <c:pt idx="74265">
                  <c:v>19540</c:v>
                </c:pt>
                <c:pt idx="74266">
                  <c:v>122698</c:v>
                </c:pt>
                <c:pt idx="74267">
                  <c:v>96345</c:v>
                </c:pt>
                <c:pt idx="74268">
                  <c:v>32892</c:v>
                </c:pt>
                <c:pt idx="74269">
                  <c:v>275218</c:v>
                </c:pt>
                <c:pt idx="74270">
                  <c:v>34399</c:v>
                </c:pt>
                <c:pt idx="74271">
                  <c:v>36532</c:v>
                </c:pt>
                <c:pt idx="74272">
                  <c:v>312514</c:v>
                </c:pt>
                <c:pt idx="74273">
                  <c:v>59002</c:v>
                </c:pt>
                <c:pt idx="74274">
                  <c:v>33123</c:v>
                </c:pt>
                <c:pt idx="74275">
                  <c:v>61620</c:v>
                </c:pt>
                <c:pt idx="74276">
                  <c:v>77934</c:v>
                </c:pt>
                <c:pt idx="74277">
                  <c:v>40961</c:v>
                </c:pt>
                <c:pt idx="74278">
                  <c:v>23758</c:v>
                </c:pt>
                <c:pt idx="74279">
                  <c:v>41179</c:v>
                </c:pt>
                <c:pt idx="74280">
                  <c:v>42137</c:v>
                </c:pt>
                <c:pt idx="74281">
                  <c:v>53169</c:v>
                </c:pt>
                <c:pt idx="74282">
                  <c:v>194448</c:v>
                </c:pt>
                <c:pt idx="74283">
                  <c:v>33155</c:v>
                </c:pt>
                <c:pt idx="74284">
                  <c:v>38348</c:v>
                </c:pt>
                <c:pt idx="74285">
                  <c:v>27442</c:v>
                </c:pt>
                <c:pt idx="74286">
                  <c:v>46566</c:v>
                </c:pt>
                <c:pt idx="74287">
                  <c:v>40825</c:v>
                </c:pt>
                <c:pt idx="74288">
                  <c:v>44409</c:v>
                </c:pt>
                <c:pt idx="74289">
                  <c:v>101444</c:v>
                </c:pt>
                <c:pt idx="74290">
                  <c:v>118159</c:v>
                </c:pt>
                <c:pt idx="74291">
                  <c:v>24076</c:v>
                </c:pt>
                <c:pt idx="74292">
                  <c:v>27984</c:v>
                </c:pt>
                <c:pt idx="74293">
                  <c:v>49385</c:v>
                </c:pt>
                <c:pt idx="74294">
                  <c:v>30241</c:v>
                </c:pt>
                <c:pt idx="74295">
                  <c:v>204921</c:v>
                </c:pt>
                <c:pt idx="74296">
                  <c:v>96082</c:v>
                </c:pt>
                <c:pt idx="74297">
                  <c:v>43011</c:v>
                </c:pt>
                <c:pt idx="74298">
                  <c:v>25052</c:v>
                </c:pt>
                <c:pt idx="74299">
                  <c:v>52846</c:v>
                </c:pt>
                <c:pt idx="74300">
                  <c:v>27811</c:v>
                </c:pt>
                <c:pt idx="74301">
                  <c:v>35942</c:v>
                </c:pt>
                <c:pt idx="74302">
                  <c:v>52382</c:v>
                </c:pt>
                <c:pt idx="74303">
                  <c:v>124242</c:v>
                </c:pt>
                <c:pt idx="74304">
                  <c:v>29345</c:v>
                </c:pt>
                <c:pt idx="74305">
                  <c:v>48163</c:v>
                </c:pt>
                <c:pt idx="74306">
                  <c:v>97280</c:v>
                </c:pt>
                <c:pt idx="74307">
                  <c:v>32175</c:v>
                </c:pt>
                <c:pt idx="74308">
                  <c:v>44712</c:v>
                </c:pt>
                <c:pt idx="74309">
                  <c:v>80791</c:v>
                </c:pt>
                <c:pt idx="74310">
                  <c:v>50925</c:v>
                </c:pt>
                <c:pt idx="74311">
                  <c:v>43505</c:v>
                </c:pt>
                <c:pt idx="74312">
                  <c:v>38512</c:v>
                </c:pt>
                <c:pt idx="74313">
                  <c:v>54267</c:v>
                </c:pt>
                <c:pt idx="74314">
                  <c:v>38812</c:v>
                </c:pt>
                <c:pt idx="74315">
                  <c:v>91928</c:v>
                </c:pt>
                <c:pt idx="74316">
                  <c:v>33857</c:v>
                </c:pt>
                <c:pt idx="74317">
                  <c:v>37687</c:v>
                </c:pt>
                <c:pt idx="74318">
                  <c:v>50888</c:v>
                </c:pt>
                <c:pt idx="74319">
                  <c:v>24447</c:v>
                </c:pt>
                <c:pt idx="74320">
                  <c:v>89353</c:v>
                </c:pt>
                <c:pt idx="74321">
                  <c:v>37817</c:v>
                </c:pt>
                <c:pt idx="74322">
                  <c:v>160354</c:v>
                </c:pt>
                <c:pt idx="74323">
                  <c:v>98587</c:v>
                </c:pt>
                <c:pt idx="74324">
                  <c:v>23767</c:v>
                </c:pt>
                <c:pt idx="74325">
                  <c:v>93882</c:v>
                </c:pt>
                <c:pt idx="74326">
                  <c:v>151321</c:v>
                </c:pt>
                <c:pt idx="74327">
                  <c:v>43444</c:v>
                </c:pt>
                <c:pt idx="74328">
                  <c:v>118894</c:v>
                </c:pt>
                <c:pt idx="74329">
                  <c:v>102942</c:v>
                </c:pt>
                <c:pt idx="74330">
                  <c:v>45820</c:v>
                </c:pt>
                <c:pt idx="74331">
                  <c:v>81623</c:v>
                </c:pt>
                <c:pt idx="74332">
                  <c:v>41276</c:v>
                </c:pt>
                <c:pt idx="74333">
                  <c:v>27862</c:v>
                </c:pt>
                <c:pt idx="74334">
                  <c:v>82068</c:v>
                </c:pt>
                <c:pt idx="74335">
                  <c:v>52337</c:v>
                </c:pt>
                <c:pt idx="74336">
                  <c:v>80625</c:v>
                </c:pt>
                <c:pt idx="74337">
                  <c:v>60131</c:v>
                </c:pt>
                <c:pt idx="74338">
                  <c:v>33955</c:v>
                </c:pt>
                <c:pt idx="74339">
                  <c:v>24262</c:v>
                </c:pt>
                <c:pt idx="74340">
                  <c:v>37367</c:v>
                </c:pt>
                <c:pt idx="74341">
                  <c:v>28176</c:v>
                </c:pt>
                <c:pt idx="74342">
                  <c:v>37228</c:v>
                </c:pt>
                <c:pt idx="74343">
                  <c:v>28182</c:v>
                </c:pt>
                <c:pt idx="74344">
                  <c:v>102345</c:v>
                </c:pt>
                <c:pt idx="74345">
                  <c:v>30005</c:v>
                </c:pt>
                <c:pt idx="74346">
                  <c:v>82379</c:v>
                </c:pt>
                <c:pt idx="74347">
                  <c:v>87802</c:v>
                </c:pt>
                <c:pt idx="74348">
                  <c:v>59907</c:v>
                </c:pt>
                <c:pt idx="74349">
                  <c:v>24575</c:v>
                </c:pt>
                <c:pt idx="74350">
                  <c:v>45350</c:v>
                </c:pt>
                <c:pt idx="74351">
                  <c:v>114278</c:v>
                </c:pt>
                <c:pt idx="74352">
                  <c:v>43151</c:v>
                </c:pt>
                <c:pt idx="74353">
                  <c:v>25522</c:v>
                </c:pt>
                <c:pt idx="74354">
                  <c:v>47437</c:v>
                </c:pt>
                <c:pt idx="74355">
                  <c:v>124341</c:v>
                </c:pt>
                <c:pt idx="74356">
                  <c:v>91509</c:v>
                </c:pt>
                <c:pt idx="74357">
                  <c:v>33662</c:v>
                </c:pt>
                <c:pt idx="74358">
                  <c:v>46483</c:v>
                </c:pt>
                <c:pt idx="74359">
                  <c:v>65465</c:v>
                </c:pt>
                <c:pt idx="74360">
                  <c:v>53181</c:v>
                </c:pt>
                <c:pt idx="74361">
                  <c:v>43883</c:v>
                </c:pt>
                <c:pt idx="74362">
                  <c:v>26197</c:v>
                </c:pt>
                <c:pt idx="74363">
                  <c:v>77616</c:v>
                </c:pt>
                <c:pt idx="74364">
                  <c:v>142677</c:v>
                </c:pt>
                <c:pt idx="74365">
                  <c:v>41807</c:v>
                </c:pt>
                <c:pt idx="74366">
                  <c:v>137695</c:v>
                </c:pt>
                <c:pt idx="74367">
                  <c:v>39956</c:v>
                </c:pt>
                <c:pt idx="74368">
                  <c:v>43737</c:v>
                </c:pt>
                <c:pt idx="74369">
                  <c:v>42034</c:v>
                </c:pt>
                <c:pt idx="74370">
                  <c:v>48823</c:v>
                </c:pt>
                <c:pt idx="74371">
                  <c:v>36933</c:v>
                </c:pt>
                <c:pt idx="74372">
                  <c:v>24231</c:v>
                </c:pt>
                <c:pt idx="74373">
                  <c:v>35419</c:v>
                </c:pt>
                <c:pt idx="74374">
                  <c:v>45835</c:v>
                </c:pt>
                <c:pt idx="74375">
                  <c:v>29024</c:v>
                </c:pt>
                <c:pt idx="74376">
                  <c:v>29377</c:v>
                </c:pt>
                <c:pt idx="74377">
                  <c:v>37533</c:v>
                </c:pt>
                <c:pt idx="74378">
                  <c:v>32559</c:v>
                </c:pt>
                <c:pt idx="74379">
                  <c:v>101795</c:v>
                </c:pt>
                <c:pt idx="74380">
                  <c:v>38152</c:v>
                </c:pt>
                <c:pt idx="74381">
                  <c:v>38161</c:v>
                </c:pt>
                <c:pt idx="74382">
                  <c:v>43648</c:v>
                </c:pt>
                <c:pt idx="74383">
                  <c:v>47301</c:v>
                </c:pt>
                <c:pt idx="74384">
                  <c:v>32356</c:v>
                </c:pt>
                <c:pt idx="74385">
                  <c:v>28777</c:v>
                </c:pt>
                <c:pt idx="74386">
                  <c:v>27393</c:v>
                </c:pt>
                <c:pt idx="74387">
                  <c:v>27253</c:v>
                </c:pt>
                <c:pt idx="74388">
                  <c:v>37760</c:v>
                </c:pt>
                <c:pt idx="74389">
                  <c:v>47647</c:v>
                </c:pt>
                <c:pt idx="74390">
                  <c:v>82340</c:v>
                </c:pt>
                <c:pt idx="74391">
                  <c:v>35863</c:v>
                </c:pt>
                <c:pt idx="74392">
                  <c:v>19599</c:v>
                </c:pt>
                <c:pt idx="74393">
                  <c:v>41354</c:v>
                </c:pt>
                <c:pt idx="74394">
                  <c:v>47846</c:v>
                </c:pt>
                <c:pt idx="74395">
                  <c:v>32250</c:v>
                </c:pt>
                <c:pt idx="74396">
                  <c:v>88808</c:v>
                </c:pt>
                <c:pt idx="74397">
                  <c:v>35984</c:v>
                </c:pt>
                <c:pt idx="74398">
                  <c:v>84671</c:v>
                </c:pt>
                <c:pt idx="74399">
                  <c:v>33587</c:v>
                </c:pt>
                <c:pt idx="74400">
                  <c:v>23422</c:v>
                </c:pt>
                <c:pt idx="74401">
                  <c:v>27187</c:v>
                </c:pt>
                <c:pt idx="74402">
                  <c:v>47710</c:v>
                </c:pt>
                <c:pt idx="74403">
                  <c:v>40298</c:v>
                </c:pt>
                <c:pt idx="74404">
                  <c:v>56845</c:v>
                </c:pt>
                <c:pt idx="74405">
                  <c:v>29846</c:v>
                </c:pt>
                <c:pt idx="74406">
                  <c:v>20787</c:v>
                </c:pt>
                <c:pt idx="74407">
                  <c:v>192714</c:v>
                </c:pt>
                <c:pt idx="74408">
                  <c:v>87283</c:v>
                </c:pt>
                <c:pt idx="74409">
                  <c:v>86033</c:v>
                </c:pt>
                <c:pt idx="74410">
                  <c:v>96279</c:v>
                </c:pt>
                <c:pt idx="74411">
                  <c:v>87953</c:v>
                </c:pt>
                <c:pt idx="74412">
                  <c:v>74702</c:v>
                </c:pt>
                <c:pt idx="74413">
                  <c:v>51868</c:v>
                </c:pt>
                <c:pt idx="74414">
                  <c:v>41373</c:v>
                </c:pt>
                <c:pt idx="74415">
                  <c:v>32854</c:v>
                </c:pt>
                <c:pt idx="74416">
                  <c:v>71660</c:v>
                </c:pt>
                <c:pt idx="74417">
                  <c:v>27530</c:v>
                </c:pt>
                <c:pt idx="74418">
                  <c:v>22527</c:v>
                </c:pt>
                <c:pt idx="74419">
                  <c:v>109345</c:v>
                </c:pt>
                <c:pt idx="74420">
                  <c:v>107823</c:v>
                </c:pt>
                <c:pt idx="74421">
                  <c:v>50771</c:v>
                </c:pt>
                <c:pt idx="74422">
                  <c:v>33008</c:v>
                </c:pt>
                <c:pt idx="74423">
                  <c:v>26445</c:v>
                </c:pt>
                <c:pt idx="74424">
                  <c:v>71806</c:v>
                </c:pt>
                <c:pt idx="74425">
                  <c:v>44252</c:v>
                </c:pt>
                <c:pt idx="74426">
                  <c:v>36414</c:v>
                </c:pt>
                <c:pt idx="74427">
                  <c:v>65442</c:v>
                </c:pt>
                <c:pt idx="74428">
                  <c:v>45874</c:v>
                </c:pt>
                <c:pt idx="74429">
                  <c:v>21958</c:v>
                </c:pt>
                <c:pt idx="74430">
                  <c:v>20442</c:v>
                </c:pt>
                <c:pt idx="74431">
                  <c:v>30617</c:v>
                </c:pt>
                <c:pt idx="74432">
                  <c:v>39802</c:v>
                </c:pt>
                <c:pt idx="74433">
                  <c:v>65850</c:v>
                </c:pt>
                <c:pt idx="74434">
                  <c:v>44207</c:v>
                </c:pt>
                <c:pt idx="74435">
                  <c:v>42520</c:v>
                </c:pt>
                <c:pt idx="74436">
                  <c:v>28766</c:v>
                </c:pt>
                <c:pt idx="74437">
                  <c:v>53278</c:v>
                </c:pt>
                <c:pt idx="74438">
                  <c:v>211923</c:v>
                </c:pt>
                <c:pt idx="74439">
                  <c:v>31785</c:v>
                </c:pt>
                <c:pt idx="74440">
                  <c:v>28122</c:v>
                </c:pt>
                <c:pt idx="74441">
                  <c:v>51324</c:v>
                </c:pt>
                <c:pt idx="74442">
                  <c:v>81868</c:v>
                </c:pt>
                <c:pt idx="74443">
                  <c:v>21978</c:v>
                </c:pt>
                <c:pt idx="74444">
                  <c:v>31669</c:v>
                </c:pt>
                <c:pt idx="74445">
                  <c:v>57844</c:v>
                </c:pt>
                <c:pt idx="74446">
                  <c:v>47239</c:v>
                </c:pt>
                <c:pt idx="74447">
                  <c:v>92370</c:v>
                </c:pt>
                <c:pt idx="74448">
                  <c:v>186827</c:v>
                </c:pt>
                <c:pt idx="74449">
                  <c:v>190672</c:v>
                </c:pt>
                <c:pt idx="74450">
                  <c:v>99147</c:v>
                </c:pt>
                <c:pt idx="74451">
                  <c:v>155251</c:v>
                </c:pt>
                <c:pt idx="74452">
                  <c:v>44141</c:v>
                </c:pt>
                <c:pt idx="74453">
                  <c:v>43570</c:v>
                </c:pt>
                <c:pt idx="74454">
                  <c:v>106959</c:v>
                </c:pt>
                <c:pt idx="74455">
                  <c:v>26167</c:v>
                </c:pt>
                <c:pt idx="74456">
                  <c:v>41922</c:v>
                </c:pt>
                <c:pt idx="74457">
                  <c:v>32998</c:v>
                </c:pt>
                <c:pt idx="74458">
                  <c:v>66860</c:v>
                </c:pt>
                <c:pt idx="74459">
                  <c:v>26354</c:v>
                </c:pt>
                <c:pt idx="74460">
                  <c:v>27922</c:v>
                </c:pt>
                <c:pt idx="74461">
                  <c:v>32489</c:v>
                </c:pt>
                <c:pt idx="74462">
                  <c:v>41890</c:v>
                </c:pt>
                <c:pt idx="74463">
                  <c:v>60181</c:v>
                </c:pt>
                <c:pt idx="74464">
                  <c:v>137285</c:v>
                </c:pt>
                <c:pt idx="74465">
                  <c:v>74878</c:v>
                </c:pt>
                <c:pt idx="74466">
                  <c:v>50321</c:v>
                </c:pt>
                <c:pt idx="74467">
                  <c:v>104637</c:v>
                </c:pt>
                <c:pt idx="74468">
                  <c:v>37498</c:v>
                </c:pt>
                <c:pt idx="74469">
                  <c:v>54411</c:v>
                </c:pt>
                <c:pt idx="74470">
                  <c:v>41044</c:v>
                </c:pt>
                <c:pt idx="74471">
                  <c:v>76566</c:v>
                </c:pt>
                <c:pt idx="74472">
                  <c:v>66076</c:v>
                </c:pt>
                <c:pt idx="74473">
                  <c:v>126221</c:v>
                </c:pt>
                <c:pt idx="74474">
                  <c:v>37338</c:v>
                </c:pt>
                <c:pt idx="74475">
                  <c:v>97440</c:v>
                </c:pt>
                <c:pt idx="74476">
                  <c:v>37823</c:v>
                </c:pt>
                <c:pt idx="74477">
                  <c:v>85338</c:v>
                </c:pt>
                <c:pt idx="74478">
                  <c:v>46413</c:v>
                </c:pt>
                <c:pt idx="74479">
                  <c:v>29885</c:v>
                </c:pt>
                <c:pt idx="74480">
                  <c:v>104060</c:v>
                </c:pt>
                <c:pt idx="74481">
                  <c:v>36990</c:v>
                </c:pt>
                <c:pt idx="74482">
                  <c:v>112913</c:v>
                </c:pt>
                <c:pt idx="74483">
                  <c:v>65899</c:v>
                </c:pt>
                <c:pt idx="74484">
                  <c:v>40310</c:v>
                </c:pt>
                <c:pt idx="74485">
                  <c:v>24202</c:v>
                </c:pt>
                <c:pt idx="74486">
                  <c:v>95810</c:v>
                </c:pt>
                <c:pt idx="74487">
                  <c:v>27575</c:v>
                </c:pt>
                <c:pt idx="74488">
                  <c:v>55349</c:v>
                </c:pt>
                <c:pt idx="74489">
                  <c:v>31246</c:v>
                </c:pt>
                <c:pt idx="74490">
                  <c:v>189900</c:v>
                </c:pt>
                <c:pt idx="74491">
                  <c:v>36577</c:v>
                </c:pt>
                <c:pt idx="74492">
                  <c:v>54548</c:v>
                </c:pt>
                <c:pt idx="74493">
                  <c:v>87856</c:v>
                </c:pt>
                <c:pt idx="74494">
                  <c:v>29570</c:v>
                </c:pt>
                <c:pt idx="74495">
                  <c:v>42705</c:v>
                </c:pt>
                <c:pt idx="74496">
                  <c:v>197422</c:v>
                </c:pt>
                <c:pt idx="74497">
                  <c:v>35014</c:v>
                </c:pt>
                <c:pt idx="74498">
                  <c:v>51889</c:v>
                </c:pt>
                <c:pt idx="74499">
                  <c:v>127428</c:v>
                </c:pt>
                <c:pt idx="74500">
                  <c:v>24784</c:v>
                </c:pt>
                <c:pt idx="74501">
                  <c:v>30306</c:v>
                </c:pt>
                <c:pt idx="74502">
                  <c:v>35493</c:v>
                </c:pt>
                <c:pt idx="74503">
                  <c:v>41004</c:v>
                </c:pt>
                <c:pt idx="74504">
                  <c:v>45926</c:v>
                </c:pt>
                <c:pt idx="74505">
                  <c:v>108923</c:v>
                </c:pt>
                <c:pt idx="74506">
                  <c:v>59146</c:v>
                </c:pt>
                <c:pt idx="74507">
                  <c:v>102700</c:v>
                </c:pt>
                <c:pt idx="74508">
                  <c:v>23655</c:v>
                </c:pt>
                <c:pt idx="74509">
                  <c:v>32009</c:v>
                </c:pt>
                <c:pt idx="74510">
                  <c:v>46546</c:v>
                </c:pt>
                <c:pt idx="74511">
                  <c:v>28562</c:v>
                </c:pt>
                <c:pt idx="74512">
                  <c:v>30522</c:v>
                </c:pt>
                <c:pt idx="74513">
                  <c:v>65462</c:v>
                </c:pt>
                <c:pt idx="74514">
                  <c:v>53135</c:v>
                </c:pt>
                <c:pt idx="74515">
                  <c:v>48915</c:v>
                </c:pt>
                <c:pt idx="74516">
                  <c:v>31014</c:v>
                </c:pt>
                <c:pt idx="74517">
                  <c:v>166143</c:v>
                </c:pt>
                <c:pt idx="74518">
                  <c:v>43385</c:v>
                </c:pt>
                <c:pt idx="74519">
                  <c:v>59731</c:v>
                </c:pt>
                <c:pt idx="74520">
                  <c:v>39351</c:v>
                </c:pt>
                <c:pt idx="74521">
                  <c:v>117452</c:v>
                </c:pt>
                <c:pt idx="74522">
                  <c:v>31066</c:v>
                </c:pt>
                <c:pt idx="74523">
                  <c:v>46327</c:v>
                </c:pt>
                <c:pt idx="74524">
                  <c:v>42410</c:v>
                </c:pt>
                <c:pt idx="74525">
                  <c:v>46231</c:v>
                </c:pt>
                <c:pt idx="74526">
                  <c:v>30895</c:v>
                </c:pt>
                <c:pt idx="74527">
                  <c:v>110470</c:v>
                </c:pt>
                <c:pt idx="74528">
                  <c:v>130758</c:v>
                </c:pt>
                <c:pt idx="74529">
                  <c:v>107497</c:v>
                </c:pt>
                <c:pt idx="74530">
                  <c:v>39432</c:v>
                </c:pt>
                <c:pt idx="74531">
                  <c:v>25826</c:v>
                </c:pt>
                <c:pt idx="74532">
                  <c:v>40784</c:v>
                </c:pt>
                <c:pt idx="74533">
                  <c:v>25729</c:v>
                </c:pt>
                <c:pt idx="74534">
                  <c:v>46194</c:v>
                </c:pt>
                <c:pt idx="74535">
                  <c:v>40359</c:v>
                </c:pt>
                <c:pt idx="74536">
                  <c:v>42087</c:v>
                </c:pt>
                <c:pt idx="74537">
                  <c:v>108228</c:v>
                </c:pt>
                <c:pt idx="74538">
                  <c:v>26722</c:v>
                </c:pt>
                <c:pt idx="74539">
                  <c:v>47362</c:v>
                </c:pt>
                <c:pt idx="74540">
                  <c:v>62456</c:v>
                </c:pt>
                <c:pt idx="74541">
                  <c:v>34696</c:v>
                </c:pt>
                <c:pt idx="74542">
                  <c:v>41922</c:v>
                </c:pt>
                <c:pt idx="74543">
                  <c:v>25200</c:v>
                </c:pt>
                <c:pt idx="74544">
                  <c:v>135647</c:v>
                </c:pt>
                <c:pt idx="74545">
                  <c:v>42612</c:v>
                </c:pt>
                <c:pt idx="74546">
                  <c:v>46188</c:v>
                </c:pt>
                <c:pt idx="74547">
                  <c:v>34872</c:v>
                </c:pt>
                <c:pt idx="74548">
                  <c:v>36146</c:v>
                </c:pt>
                <c:pt idx="74549">
                  <c:v>202038</c:v>
                </c:pt>
                <c:pt idx="74550">
                  <c:v>30501</c:v>
                </c:pt>
                <c:pt idx="74551">
                  <c:v>121388</c:v>
                </c:pt>
                <c:pt idx="74552">
                  <c:v>59652</c:v>
                </c:pt>
                <c:pt idx="74553">
                  <c:v>103063</c:v>
                </c:pt>
                <c:pt idx="74554">
                  <c:v>56003</c:v>
                </c:pt>
                <c:pt idx="74555">
                  <c:v>78798</c:v>
                </c:pt>
                <c:pt idx="74556">
                  <c:v>43987</c:v>
                </c:pt>
                <c:pt idx="74557">
                  <c:v>37922</c:v>
                </c:pt>
                <c:pt idx="74558">
                  <c:v>94557</c:v>
                </c:pt>
                <c:pt idx="74559">
                  <c:v>30423</c:v>
                </c:pt>
                <c:pt idx="74560">
                  <c:v>43589</c:v>
                </c:pt>
                <c:pt idx="74561">
                  <c:v>112035</c:v>
                </c:pt>
                <c:pt idx="74562">
                  <c:v>46774</c:v>
                </c:pt>
                <c:pt idx="74563">
                  <c:v>56379</c:v>
                </c:pt>
                <c:pt idx="74564">
                  <c:v>35512</c:v>
                </c:pt>
                <c:pt idx="74565">
                  <c:v>123869</c:v>
                </c:pt>
                <c:pt idx="74566">
                  <c:v>28307</c:v>
                </c:pt>
                <c:pt idx="74567">
                  <c:v>47840</c:v>
                </c:pt>
                <c:pt idx="74568">
                  <c:v>41426</c:v>
                </c:pt>
                <c:pt idx="74569">
                  <c:v>31343</c:v>
                </c:pt>
                <c:pt idx="74570">
                  <c:v>39227</c:v>
                </c:pt>
                <c:pt idx="74571">
                  <c:v>37146</c:v>
                </c:pt>
                <c:pt idx="74572">
                  <c:v>66331</c:v>
                </c:pt>
                <c:pt idx="74573">
                  <c:v>52583</c:v>
                </c:pt>
                <c:pt idx="74574">
                  <c:v>46457</c:v>
                </c:pt>
                <c:pt idx="74575">
                  <c:v>48517</c:v>
                </c:pt>
                <c:pt idx="74576">
                  <c:v>38964</c:v>
                </c:pt>
                <c:pt idx="74577">
                  <c:v>25936</c:v>
                </c:pt>
                <c:pt idx="74578">
                  <c:v>111152</c:v>
                </c:pt>
                <c:pt idx="74579">
                  <c:v>28394</c:v>
                </c:pt>
                <c:pt idx="74580">
                  <c:v>113317</c:v>
                </c:pt>
                <c:pt idx="74581">
                  <c:v>20905</c:v>
                </c:pt>
                <c:pt idx="74582">
                  <c:v>34422</c:v>
                </c:pt>
                <c:pt idx="74583">
                  <c:v>91070</c:v>
                </c:pt>
                <c:pt idx="74584">
                  <c:v>48619</c:v>
                </c:pt>
                <c:pt idx="74585">
                  <c:v>30960</c:v>
                </c:pt>
                <c:pt idx="74586">
                  <c:v>31584</c:v>
                </c:pt>
                <c:pt idx="74587">
                  <c:v>52536</c:v>
                </c:pt>
                <c:pt idx="74588">
                  <c:v>34976</c:v>
                </c:pt>
                <c:pt idx="74589">
                  <c:v>88004</c:v>
                </c:pt>
                <c:pt idx="74590">
                  <c:v>70349</c:v>
                </c:pt>
                <c:pt idx="74591">
                  <c:v>295683</c:v>
                </c:pt>
                <c:pt idx="74592">
                  <c:v>26464</c:v>
                </c:pt>
                <c:pt idx="74593">
                  <c:v>78057</c:v>
                </c:pt>
                <c:pt idx="74594">
                  <c:v>39251</c:v>
                </c:pt>
                <c:pt idx="74595">
                  <c:v>74549</c:v>
                </c:pt>
                <c:pt idx="74596">
                  <c:v>114834</c:v>
                </c:pt>
                <c:pt idx="74597">
                  <c:v>42959</c:v>
                </c:pt>
                <c:pt idx="74598">
                  <c:v>70249</c:v>
                </c:pt>
                <c:pt idx="74599">
                  <c:v>21380</c:v>
                </c:pt>
                <c:pt idx="74600">
                  <c:v>47904</c:v>
                </c:pt>
                <c:pt idx="74601">
                  <c:v>30230</c:v>
                </c:pt>
                <c:pt idx="74602">
                  <c:v>60506</c:v>
                </c:pt>
                <c:pt idx="74603">
                  <c:v>98403</c:v>
                </c:pt>
                <c:pt idx="74604">
                  <c:v>68227</c:v>
                </c:pt>
                <c:pt idx="74605">
                  <c:v>70176</c:v>
                </c:pt>
                <c:pt idx="74606">
                  <c:v>44832</c:v>
                </c:pt>
                <c:pt idx="74607">
                  <c:v>176635</c:v>
                </c:pt>
                <c:pt idx="74608">
                  <c:v>22714</c:v>
                </c:pt>
                <c:pt idx="74609">
                  <c:v>90724</c:v>
                </c:pt>
                <c:pt idx="74610">
                  <c:v>98008</c:v>
                </c:pt>
                <c:pt idx="74611">
                  <c:v>59869</c:v>
                </c:pt>
                <c:pt idx="74612">
                  <c:v>36666</c:v>
                </c:pt>
                <c:pt idx="74613">
                  <c:v>30023</c:v>
                </c:pt>
                <c:pt idx="74614">
                  <c:v>33699</c:v>
                </c:pt>
                <c:pt idx="74615">
                  <c:v>61983</c:v>
                </c:pt>
                <c:pt idx="74616">
                  <c:v>45805</c:v>
                </c:pt>
                <c:pt idx="74617">
                  <c:v>350799</c:v>
                </c:pt>
                <c:pt idx="74618">
                  <c:v>25555</c:v>
                </c:pt>
                <c:pt idx="74619">
                  <c:v>35657</c:v>
                </c:pt>
                <c:pt idx="74620">
                  <c:v>29441</c:v>
                </c:pt>
                <c:pt idx="74621">
                  <c:v>42246</c:v>
                </c:pt>
                <c:pt idx="74622">
                  <c:v>42626</c:v>
                </c:pt>
                <c:pt idx="74623">
                  <c:v>50728</c:v>
                </c:pt>
                <c:pt idx="74624">
                  <c:v>67237</c:v>
                </c:pt>
                <c:pt idx="74625">
                  <c:v>35899</c:v>
                </c:pt>
                <c:pt idx="74626">
                  <c:v>39460</c:v>
                </c:pt>
                <c:pt idx="74627">
                  <c:v>25719</c:v>
                </c:pt>
                <c:pt idx="74628">
                  <c:v>91180</c:v>
                </c:pt>
                <c:pt idx="74629">
                  <c:v>31980</c:v>
                </c:pt>
                <c:pt idx="74630">
                  <c:v>41896</c:v>
                </c:pt>
                <c:pt idx="74631">
                  <c:v>20244</c:v>
                </c:pt>
                <c:pt idx="74632">
                  <c:v>23772</c:v>
                </c:pt>
                <c:pt idx="74633">
                  <c:v>45992</c:v>
                </c:pt>
                <c:pt idx="74634">
                  <c:v>33491</c:v>
                </c:pt>
                <c:pt idx="74635">
                  <c:v>44102</c:v>
                </c:pt>
                <c:pt idx="74636">
                  <c:v>42855</c:v>
                </c:pt>
                <c:pt idx="74637">
                  <c:v>48715</c:v>
                </c:pt>
                <c:pt idx="74638">
                  <c:v>45337</c:v>
                </c:pt>
                <c:pt idx="74639">
                  <c:v>26554</c:v>
                </c:pt>
                <c:pt idx="74640">
                  <c:v>41159</c:v>
                </c:pt>
                <c:pt idx="74641">
                  <c:v>42578</c:v>
                </c:pt>
                <c:pt idx="74642">
                  <c:v>43437</c:v>
                </c:pt>
                <c:pt idx="74643">
                  <c:v>24013</c:v>
                </c:pt>
                <c:pt idx="74644">
                  <c:v>26921</c:v>
                </c:pt>
                <c:pt idx="74645">
                  <c:v>24568</c:v>
                </c:pt>
                <c:pt idx="74646">
                  <c:v>27455</c:v>
                </c:pt>
                <c:pt idx="74647">
                  <c:v>83643</c:v>
                </c:pt>
                <c:pt idx="74648">
                  <c:v>41341</c:v>
                </c:pt>
                <c:pt idx="74649">
                  <c:v>43992</c:v>
                </c:pt>
                <c:pt idx="74650">
                  <c:v>246688</c:v>
                </c:pt>
                <c:pt idx="74651">
                  <c:v>89906</c:v>
                </c:pt>
                <c:pt idx="74652">
                  <c:v>39345</c:v>
                </c:pt>
                <c:pt idx="74653">
                  <c:v>51536</c:v>
                </c:pt>
                <c:pt idx="74654">
                  <c:v>59585</c:v>
                </c:pt>
                <c:pt idx="74655">
                  <c:v>82090</c:v>
                </c:pt>
                <c:pt idx="74656">
                  <c:v>35676</c:v>
                </c:pt>
                <c:pt idx="74657">
                  <c:v>48203</c:v>
                </c:pt>
                <c:pt idx="74658">
                  <c:v>107421</c:v>
                </c:pt>
                <c:pt idx="74659">
                  <c:v>92849</c:v>
                </c:pt>
                <c:pt idx="74660">
                  <c:v>170394</c:v>
                </c:pt>
                <c:pt idx="74661">
                  <c:v>126026</c:v>
                </c:pt>
                <c:pt idx="74662">
                  <c:v>33975</c:v>
                </c:pt>
                <c:pt idx="74663">
                  <c:v>32160</c:v>
                </c:pt>
                <c:pt idx="74664">
                  <c:v>51703</c:v>
                </c:pt>
                <c:pt idx="74665">
                  <c:v>28935</c:v>
                </c:pt>
                <c:pt idx="74666">
                  <c:v>51038</c:v>
                </c:pt>
                <c:pt idx="74667">
                  <c:v>48936</c:v>
                </c:pt>
                <c:pt idx="74668">
                  <c:v>34914</c:v>
                </c:pt>
                <c:pt idx="74669">
                  <c:v>28171</c:v>
                </c:pt>
                <c:pt idx="74670">
                  <c:v>57545</c:v>
                </c:pt>
                <c:pt idx="74671">
                  <c:v>34248</c:v>
                </c:pt>
                <c:pt idx="74672">
                  <c:v>28525</c:v>
                </c:pt>
                <c:pt idx="74673">
                  <c:v>124197</c:v>
                </c:pt>
                <c:pt idx="74674">
                  <c:v>37034</c:v>
                </c:pt>
                <c:pt idx="74675">
                  <c:v>142325</c:v>
                </c:pt>
                <c:pt idx="74676">
                  <c:v>47173</c:v>
                </c:pt>
                <c:pt idx="74677">
                  <c:v>47618</c:v>
                </c:pt>
                <c:pt idx="74678">
                  <c:v>45936</c:v>
                </c:pt>
                <c:pt idx="74679">
                  <c:v>27236</c:v>
                </c:pt>
                <c:pt idx="74680">
                  <c:v>59136</c:v>
                </c:pt>
                <c:pt idx="74681">
                  <c:v>84157</c:v>
                </c:pt>
                <c:pt idx="74682">
                  <c:v>41432</c:v>
                </c:pt>
                <c:pt idx="74683">
                  <c:v>45634</c:v>
                </c:pt>
                <c:pt idx="74684">
                  <c:v>27047</c:v>
                </c:pt>
                <c:pt idx="74685">
                  <c:v>48894</c:v>
                </c:pt>
                <c:pt idx="74686">
                  <c:v>35544</c:v>
                </c:pt>
                <c:pt idx="74687">
                  <c:v>32749</c:v>
                </c:pt>
                <c:pt idx="74688">
                  <c:v>54152</c:v>
                </c:pt>
                <c:pt idx="74689">
                  <c:v>30384</c:v>
                </c:pt>
                <c:pt idx="74690">
                  <c:v>74548</c:v>
                </c:pt>
                <c:pt idx="74691">
                  <c:v>22539</c:v>
                </c:pt>
                <c:pt idx="74692">
                  <c:v>28111</c:v>
                </c:pt>
                <c:pt idx="74693">
                  <c:v>39268</c:v>
                </c:pt>
                <c:pt idx="74694">
                  <c:v>38364</c:v>
                </c:pt>
                <c:pt idx="74695">
                  <c:v>60121</c:v>
                </c:pt>
                <c:pt idx="74696">
                  <c:v>58641</c:v>
                </c:pt>
                <c:pt idx="74697">
                  <c:v>37003</c:v>
                </c:pt>
                <c:pt idx="74698">
                  <c:v>31843</c:v>
                </c:pt>
                <c:pt idx="74699">
                  <c:v>38681</c:v>
                </c:pt>
                <c:pt idx="74700">
                  <c:v>87149</c:v>
                </c:pt>
                <c:pt idx="74701">
                  <c:v>40786</c:v>
                </c:pt>
                <c:pt idx="74702">
                  <c:v>94851</c:v>
                </c:pt>
                <c:pt idx="74703">
                  <c:v>48352</c:v>
                </c:pt>
                <c:pt idx="74704">
                  <c:v>45903</c:v>
                </c:pt>
                <c:pt idx="74705">
                  <c:v>62187</c:v>
                </c:pt>
                <c:pt idx="74706">
                  <c:v>30449</c:v>
                </c:pt>
                <c:pt idx="74707">
                  <c:v>28868</c:v>
                </c:pt>
                <c:pt idx="74708">
                  <c:v>37142</c:v>
                </c:pt>
                <c:pt idx="74709">
                  <c:v>126541</c:v>
                </c:pt>
                <c:pt idx="74710">
                  <c:v>92437</c:v>
                </c:pt>
                <c:pt idx="74711">
                  <c:v>29640</c:v>
                </c:pt>
                <c:pt idx="74712">
                  <c:v>46684</c:v>
                </c:pt>
                <c:pt idx="74713">
                  <c:v>22749</c:v>
                </c:pt>
                <c:pt idx="74714">
                  <c:v>232630</c:v>
                </c:pt>
                <c:pt idx="74715">
                  <c:v>37310</c:v>
                </c:pt>
                <c:pt idx="74716">
                  <c:v>38762</c:v>
                </c:pt>
                <c:pt idx="74717">
                  <c:v>47742</c:v>
                </c:pt>
                <c:pt idx="74718">
                  <c:v>86732</c:v>
                </c:pt>
                <c:pt idx="74719">
                  <c:v>46700</c:v>
                </c:pt>
                <c:pt idx="74720">
                  <c:v>241854</c:v>
                </c:pt>
                <c:pt idx="74721">
                  <c:v>264013</c:v>
                </c:pt>
                <c:pt idx="74722">
                  <c:v>132606</c:v>
                </c:pt>
                <c:pt idx="74723">
                  <c:v>112790</c:v>
                </c:pt>
                <c:pt idx="74724">
                  <c:v>39684</c:v>
                </c:pt>
                <c:pt idx="74725">
                  <c:v>58996</c:v>
                </c:pt>
                <c:pt idx="74726">
                  <c:v>32471</c:v>
                </c:pt>
                <c:pt idx="74727">
                  <c:v>38550</c:v>
                </c:pt>
                <c:pt idx="74728">
                  <c:v>55923</c:v>
                </c:pt>
                <c:pt idx="74729">
                  <c:v>27889</c:v>
                </c:pt>
                <c:pt idx="74730">
                  <c:v>95879</c:v>
                </c:pt>
                <c:pt idx="74731">
                  <c:v>239035</c:v>
                </c:pt>
                <c:pt idx="74732">
                  <c:v>35737</c:v>
                </c:pt>
                <c:pt idx="74733">
                  <c:v>44428</c:v>
                </c:pt>
                <c:pt idx="74734">
                  <c:v>61496</c:v>
                </c:pt>
                <c:pt idx="74735">
                  <c:v>92661</c:v>
                </c:pt>
                <c:pt idx="74736">
                  <c:v>64286</c:v>
                </c:pt>
                <c:pt idx="74737">
                  <c:v>40027</c:v>
                </c:pt>
                <c:pt idx="74738">
                  <c:v>89534</c:v>
                </c:pt>
                <c:pt idx="74739">
                  <c:v>50651</c:v>
                </c:pt>
                <c:pt idx="74740">
                  <c:v>65348</c:v>
                </c:pt>
                <c:pt idx="74741">
                  <c:v>26821</c:v>
                </c:pt>
                <c:pt idx="74742">
                  <c:v>87426</c:v>
                </c:pt>
                <c:pt idx="74743">
                  <c:v>37251</c:v>
                </c:pt>
                <c:pt idx="74744">
                  <c:v>54784</c:v>
                </c:pt>
                <c:pt idx="74745">
                  <c:v>22539</c:v>
                </c:pt>
                <c:pt idx="74746">
                  <c:v>78010</c:v>
                </c:pt>
                <c:pt idx="74747">
                  <c:v>27401</c:v>
                </c:pt>
                <c:pt idx="74748">
                  <c:v>36706</c:v>
                </c:pt>
                <c:pt idx="74749">
                  <c:v>78780</c:v>
                </c:pt>
                <c:pt idx="74750">
                  <c:v>40717</c:v>
                </c:pt>
                <c:pt idx="74751">
                  <c:v>56761</c:v>
                </c:pt>
                <c:pt idx="74752">
                  <c:v>35371</c:v>
                </c:pt>
                <c:pt idx="74753">
                  <c:v>39794</c:v>
                </c:pt>
                <c:pt idx="74754">
                  <c:v>24175</c:v>
                </c:pt>
                <c:pt idx="74755">
                  <c:v>28838</c:v>
                </c:pt>
                <c:pt idx="74756">
                  <c:v>38174</c:v>
                </c:pt>
                <c:pt idx="74757">
                  <c:v>32575</c:v>
                </c:pt>
                <c:pt idx="74758">
                  <c:v>90432</c:v>
                </c:pt>
                <c:pt idx="74759">
                  <c:v>82023</c:v>
                </c:pt>
                <c:pt idx="74760">
                  <c:v>24623</c:v>
                </c:pt>
                <c:pt idx="74761">
                  <c:v>42908</c:v>
                </c:pt>
                <c:pt idx="74762">
                  <c:v>41943</c:v>
                </c:pt>
                <c:pt idx="74763">
                  <c:v>35934</c:v>
                </c:pt>
                <c:pt idx="74764">
                  <c:v>366886</c:v>
                </c:pt>
                <c:pt idx="74765">
                  <c:v>26129</c:v>
                </c:pt>
                <c:pt idx="74766">
                  <c:v>70098</c:v>
                </c:pt>
                <c:pt idx="74767">
                  <c:v>293938</c:v>
                </c:pt>
                <c:pt idx="74768">
                  <c:v>26943</c:v>
                </c:pt>
                <c:pt idx="74769">
                  <c:v>38250</c:v>
                </c:pt>
                <c:pt idx="74770">
                  <c:v>46431</c:v>
                </c:pt>
                <c:pt idx="74771">
                  <c:v>40583</c:v>
                </c:pt>
                <c:pt idx="74772">
                  <c:v>76610</c:v>
                </c:pt>
                <c:pt idx="74773">
                  <c:v>100616</c:v>
                </c:pt>
                <c:pt idx="74774">
                  <c:v>48573</c:v>
                </c:pt>
                <c:pt idx="74775">
                  <c:v>36387</c:v>
                </c:pt>
                <c:pt idx="74776">
                  <c:v>44051</c:v>
                </c:pt>
                <c:pt idx="74777">
                  <c:v>36512</c:v>
                </c:pt>
                <c:pt idx="74778">
                  <c:v>60649</c:v>
                </c:pt>
                <c:pt idx="74779">
                  <c:v>165423</c:v>
                </c:pt>
                <c:pt idx="74780">
                  <c:v>32110</c:v>
                </c:pt>
                <c:pt idx="74781">
                  <c:v>80939</c:v>
                </c:pt>
                <c:pt idx="74782">
                  <c:v>30233</c:v>
                </c:pt>
                <c:pt idx="74783">
                  <c:v>30113</c:v>
                </c:pt>
                <c:pt idx="74784">
                  <c:v>82420</c:v>
                </c:pt>
                <c:pt idx="74785">
                  <c:v>35609</c:v>
                </c:pt>
                <c:pt idx="74786">
                  <c:v>24578</c:v>
                </c:pt>
                <c:pt idx="74787">
                  <c:v>36063</c:v>
                </c:pt>
                <c:pt idx="74788">
                  <c:v>36345</c:v>
                </c:pt>
                <c:pt idx="74789">
                  <c:v>53392</c:v>
                </c:pt>
                <c:pt idx="74790">
                  <c:v>70675</c:v>
                </c:pt>
                <c:pt idx="74791">
                  <c:v>58345</c:v>
                </c:pt>
                <c:pt idx="74792">
                  <c:v>37580</c:v>
                </c:pt>
                <c:pt idx="74793">
                  <c:v>104133</c:v>
                </c:pt>
                <c:pt idx="74794">
                  <c:v>157713</c:v>
                </c:pt>
                <c:pt idx="74795">
                  <c:v>65400</c:v>
                </c:pt>
                <c:pt idx="74796">
                  <c:v>27503</c:v>
                </c:pt>
                <c:pt idx="74797">
                  <c:v>65117</c:v>
                </c:pt>
                <c:pt idx="74798">
                  <c:v>160032</c:v>
                </c:pt>
                <c:pt idx="74799">
                  <c:v>31506</c:v>
                </c:pt>
                <c:pt idx="74800">
                  <c:v>56506</c:v>
                </c:pt>
                <c:pt idx="74801">
                  <c:v>33200</c:v>
                </c:pt>
                <c:pt idx="74802">
                  <c:v>34088</c:v>
                </c:pt>
                <c:pt idx="74803">
                  <c:v>37881</c:v>
                </c:pt>
                <c:pt idx="74804">
                  <c:v>47769</c:v>
                </c:pt>
                <c:pt idx="74805">
                  <c:v>36435</c:v>
                </c:pt>
                <c:pt idx="74806">
                  <c:v>44548</c:v>
                </c:pt>
                <c:pt idx="74807">
                  <c:v>166150</c:v>
                </c:pt>
                <c:pt idx="74808">
                  <c:v>76438</c:v>
                </c:pt>
                <c:pt idx="74809">
                  <c:v>59285</c:v>
                </c:pt>
                <c:pt idx="74810">
                  <c:v>37741</c:v>
                </c:pt>
                <c:pt idx="74811">
                  <c:v>182631</c:v>
                </c:pt>
                <c:pt idx="74812">
                  <c:v>91194</c:v>
                </c:pt>
                <c:pt idx="74813">
                  <c:v>33805</c:v>
                </c:pt>
                <c:pt idx="74814">
                  <c:v>133903</c:v>
                </c:pt>
                <c:pt idx="74815">
                  <c:v>33776</c:v>
                </c:pt>
                <c:pt idx="74816">
                  <c:v>36204</c:v>
                </c:pt>
                <c:pt idx="74817">
                  <c:v>93728</c:v>
                </c:pt>
                <c:pt idx="74818">
                  <c:v>111015</c:v>
                </c:pt>
                <c:pt idx="74819">
                  <c:v>38652</c:v>
                </c:pt>
                <c:pt idx="74820">
                  <c:v>217401</c:v>
                </c:pt>
                <c:pt idx="74821">
                  <c:v>32308</c:v>
                </c:pt>
                <c:pt idx="74822">
                  <c:v>132092</c:v>
                </c:pt>
                <c:pt idx="74823">
                  <c:v>66008</c:v>
                </c:pt>
                <c:pt idx="74824">
                  <c:v>27896</c:v>
                </c:pt>
                <c:pt idx="74825">
                  <c:v>31134</c:v>
                </c:pt>
                <c:pt idx="74826">
                  <c:v>36996</c:v>
                </c:pt>
                <c:pt idx="74827">
                  <c:v>221695</c:v>
                </c:pt>
                <c:pt idx="74828">
                  <c:v>44236</c:v>
                </c:pt>
                <c:pt idx="74829">
                  <c:v>30418</c:v>
                </c:pt>
                <c:pt idx="74830">
                  <c:v>39762</c:v>
                </c:pt>
                <c:pt idx="74831">
                  <c:v>50538</c:v>
                </c:pt>
                <c:pt idx="74832">
                  <c:v>48290</c:v>
                </c:pt>
                <c:pt idx="74833">
                  <c:v>76781</c:v>
                </c:pt>
                <c:pt idx="74834">
                  <c:v>172644</c:v>
                </c:pt>
                <c:pt idx="74835">
                  <c:v>135529</c:v>
                </c:pt>
                <c:pt idx="74836">
                  <c:v>48414</c:v>
                </c:pt>
                <c:pt idx="74837">
                  <c:v>33559</c:v>
                </c:pt>
                <c:pt idx="74838">
                  <c:v>32923</c:v>
                </c:pt>
                <c:pt idx="74839">
                  <c:v>90830</c:v>
                </c:pt>
                <c:pt idx="74840">
                  <c:v>71607</c:v>
                </c:pt>
                <c:pt idx="74841">
                  <c:v>42094</c:v>
                </c:pt>
                <c:pt idx="74842">
                  <c:v>25314</c:v>
                </c:pt>
                <c:pt idx="74843">
                  <c:v>27703</c:v>
                </c:pt>
                <c:pt idx="74844">
                  <c:v>59785</c:v>
                </c:pt>
                <c:pt idx="74845">
                  <c:v>55174</c:v>
                </c:pt>
                <c:pt idx="74846">
                  <c:v>26479</c:v>
                </c:pt>
                <c:pt idx="74847">
                  <c:v>88007</c:v>
                </c:pt>
                <c:pt idx="74848">
                  <c:v>124010</c:v>
                </c:pt>
                <c:pt idx="74849">
                  <c:v>191910</c:v>
                </c:pt>
                <c:pt idx="74850">
                  <c:v>152443</c:v>
                </c:pt>
                <c:pt idx="74851">
                  <c:v>38254</c:v>
                </c:pt>
                <c:pt idx="74852">
                  <c:v>35893</c:v>
                </c:pt>
                <c:pt idx="74853">
                  <c:v>20977</c:v>
                </c:pt>
                <c:pt idx="74854">
                  <c:v>151510</c:v>
                </c:pt>
                <c:pt idx="74855">
                  <c:v>60194</c:v>
                </c:pt>
                <c:pt idx="74856">
                  <c:v>23307</c:v>
                </c:pt>
                <c:pt idx="74857">
                  <c:v>43624</c:v>
                </c:pt>
                <c:pt idx="74858">
                  <c:v>25765</c:v>
                </c:pt>
                <c:pt idx="74859">
                  <c:v>24609</c:v>
                </c:pt>
                <c:pt idx="74860">
                  <c:v>49900</c:v>
                </c:pt>
                <c:pt idx="74861">
                  <c:v>54104</c:v>
                </c:pt>
                <c:pt idx="74862">
                  <c:v>86869</c:v>
                </c:pt>
                <c:pt idx="74863">
                  <c:v>52147</c:v>
                </c:pt>
                <c:pt idx="74864">
                  <c:v>72738</c:v>
                </c:pt>
                <c:pt idx="74865">
                  <c:v>47414</c:v>
                </c:pt>
                <c:pt idx="74866">
                  <c:v>71702</c:v>
                </c:pt>
                <c:pt idx="74867">
                  <c:v>27745</c:v>
                </c:pt>
                <c:pt idx="74868">
                  <c:v>44698</c:v>
                </c:pt>
                <c:pt idx="74869">
                  <c:v>40366</c:v>
                </c:pt>
                <c:pt idx="74870">
                  <c:v>38188</c:v>
                </c:pt>
                <c:pt idx="74871">
                  <c:v>34753</c:v>
                </c:pt>
                <c:pt idx="74872">
                  <c:v>30309</c:v>
                </c:pt>
                <c:pt idx="74873">
                  <c:v>30107</c:v>
                </c:pt>
                <c:pt idx="74874">
                  <c:v>124573</c:v>
                </c:pt>
                <c:pt idx="74875">
                  <c:v>46043</c:v>
                </c:pt>
                <c:pt idx="74876">
                  <c:v>28250</c:v>
                </c:pt>
                <c:pt idx="74877">
                  <c:v>118266</c:v>
                </c:pt>
                <c:pt idx="74878">
                  <c:v>121758</c:v>
                </c:pt>
                <c:pt idx="74879">
                  <c:v>90294</c:v>
                </c:pt>
                <c:pt idx="74880">
                  <c:v>33607</c:v>
                </c:pt>
                <c:pt idx="74881">
                  <c:v>52013</c:v>
                </c:pt>
                <c:pt idx="74882">
                  <c:v>46989</c:v>
                </c:pt>
                <c:pt idx="74883">
                  <c:v>42530</c:v>
                </c:pt>
                <c:pt idx="74884">
                  <c:v>35405</c:v>
                </c:pt>
                <c:pt idx="74885">
                  <c:v>35486</c:v>
                </c:pt>
                <c:pt idx="74886">
                  <c:v>21856</c:v>
                </c:pt>
                <c:pt idx="74887">
                  <c:v>46835</c:v>
                </c:pt>
                <c:pt idx="74888">
                  <c:v>31438</c:v>
                </c:pt>
                <c:pt idx="74889">
                  <c:v>46458</c:v>
                </c:pt>
                <c:pt idx="74890">
                  <c:v>40382</c:v>
                </c:pt>
                <c:pt idx="74891">
                  <c:v>38134</c:v>
                </c:pt>
                <c:pt idx="74892">
                  <c:v>24452</c:v>
                </c:pt>
                <c:pt idx="74893">
                  <c:v>35835</c:v>
                </c:pt>
                <c:pt idx="74894">
                  <c:v>76708</c:v>
                </c:pt>
                <c:pt idx="74895">
                  <c:v>44583</c:v>
                </c:pt>
                <c:pt idx="74896">
                  <c:v>25579</c:v>
                </c:pt>
                <c:pt idx="74897">
                  <c:v>46555</c:v>
                </c:pt>
                <c:pt idx="74898">
                  <c:v>54249</c:v>
                </c:pt>
                <c:pt idx="74899">
                  <c:v>37260</c:v>
                </c:pt>
                <c:pt idx="74900">
                  <c:v>104996</c:v>
                </c:pt>
                <c:pt idx="74901">
                  <c:v>26446</c:v>
                </c:pt>
                <c:pt idx="74902">
                  <c:v>49391</c:v>
                </c:pt>
                <c:pt idx="74903">
                  <c:v>33919</c:v>
                </c:pt>
                <c:pt idx="74904">
                  <c:v>37979</c:v>
                </c:pt>
                <c:pt idx="74905">
                  <c:v>37114</c:v>
                </c:pt>
                <c:pt idx="74906">
                  <c:v>24415</c:v>
                </c:pt>
                <c:pt idx="74907">
                  <c:v>37999</c:v>
                </c:pt>
                <c:pt idx="74908">
                  <c:v>89172</c:v>
                </c:pt>
                <c:pt idx="74909">
                  <c:v>82446</c:v>
                </c:pt>
                <c:pt idx="74910">
                  <c:v>22594</c:v>
                </c:pt>
                <c:pt idx="74911">
                  <c:v>94267</c:v>
                </c:pt>
                <c:pt idx="74912">
                  <c:v>42098</c:v>
                </c:pt>
                <c:pt idx="74913">
                  <c:v>168868</c:v>
                </c:pt>
                <c:pt idx="74914">
                  <c:v>34172</c:v>
                </c:pt>
                <c:pt idx="74915">
                  <c:v>84781</c:v>
                </c:pt>
                <c:pt idx="74916">
                  <c:v>26381</c:v>
                </c:pt>
                <c:pt idx="74917">
                  <c:v>43585</c:v>
                </c:pt>
                <c:pt idx="74918">
                  <c:v>92104</c:v>
                </c:pt>
                <c:pt idx="74919">
                  <c:v>47463</c:v>
                </c:pt>
                <c:pt idx="74920">
                  <c:v>25599</c:v>
                </c:pt>
                <c:pt idx="74921">
                  <c:v>30553</c:v>
                </c:pt>
                <c:pt idx="74922">
                  <c:v>49536</c:v>
                </c:pt>
                <c:pt idx="74923">
                  <c:v>34662</c:v>
                </c:pt>
                <c:pt idx="74924">
                  <c:v>59763</c:v>
                </c:pt>
                <c:pt idx="74925">
                  <c:v>40575</c:v>
                </c:pt>
                <c:pt idx="74926">
                  <c:v>27586</c:v>
                </c:pt>
                <c:pt idx="74927">
                  <c:v>25973</c:v>
                </c:pt>
                <c:pt idx="74928">
                  <c:v>57606</c:v>
                </c:pt>
                <c:pt idx="74929">
                  <c:v>86958</c:v>
                </c:pt>
                <c:pt idx="74930">
                  <c:v>34504</c:v>
                </c:pt>
                <c:pt idx="74931">
                  <c:v>43163</c:v>
                </c:pt>
                <c:pt idx="74932">
                  <c:v>26327</c:v>
                </c:pt>
                <c:pt idx="74933">
                  <c:v>38669</c:v>
                </c:pt>
                <c:pt idx="74934">
                  <c:v>27770</c:v>
                </c:pt>
                <c:pt idx="74935">
                  <c:v>135429</c:v>
                </c:pt>
                <c:pt idx="74936">
                  <c:v>27326</c:v>
                </c:pt>
                <c:pt idx="74937">
                  <c:v>21934</c:v>
                </c:pt>
                <c:pt idx="74938">
                  <c:v>40661</c:v>
                </c:pt>
                <c:pt idx="74939">
                  <c:v>72669</c:v>
                </c:pt>
                <c:pt idx="74940">
                  <c:v>26630</c:v>
                </c:pt>
                <c:pt idx="74941">
                  <c:v>25303</c:v>
                </c:pt>
                <c:pt idx="74942">
                  <c:v>32670</c:v>
                </c:pt>
                <c:pt idx="74943">
                  <c:v>36528</c:v>
                </c:pt>
                <c:pt idx="74944">
                  <c:v>103782</c:v>
                </c:pt>
                <c:pt idx="74945">
                  <c:v>42049</c:v>
                </c:pt>
                <c:pt idx="74946">
                  <c:v>39249</c:v>
                </c:pt>
                <c:pt idx="74947">
                  <c:v>31864</c:v>
                </c:pt>
                <c:pt idx="74948">
                  <c:v>220614</c:v>
                </c:pt>
                <c:pt idx="74949">
                  <c:v>48023</c:v>
                </c:pt>
                <c:pt idx="74950">
                  <c:v>27400</c:v>
                </c:pt>
                <c:pt idx="74951">
                  <c:v>27392</c:v>
                </c:pt>
                <c:pt idx="74952">
                  <c:v>68459</c:v>
                </c:pt>
                <c:pt idx="74953">
                  <c:v>42803</c:v>
                </c:pt>
                <c:pt idx="74954">
                  <c:v>28211</c:v>
                </c:pt>
                <c:pt idx="74955">
                  <c:v>54555</c:v>
                </c:pt>
                <c:pt idx="74956">
                  <c:v>34904</c:v>
                </c:pt>
                <c:pt idx="74957">
                  <c:v>49591</c:v>
                </c:pt>
                <c:pt idx="74958">
                  <c:v>23780</c:v>
                </c:pt>
                <c:pt idx="74959">
                  <c:v>29351</c:v>
                </c:pt>
                <c:pt idx="74960">
                  <c:v>115210</c:v>
                </c:pt>
                <c:pt idx="74961">
                  <c:v>42473</c:v>
                </c:pt>
                <c:pt idx="74962">
                  <c:v>43782</c:v>
                </c:pt>
                <c:pt idx="74963">
                  <c:v>56684</c:v>
                </c:pt>
                <c:pt idx="74964">
                  <c:v>39239</c:v>
                </c:pt>
                <c:pt idx="74965">
                  <c:v>360675</c:v>
                </c:pt>
                <c:pt idx="74966">
                  <c:v>98700</c:v>
                </c:pt>
                <c:pt idx="74967">
                  <c:v>32214</c:v>
                </c:pt>
                <c:pt idx="74968">
                  <c:v>51057</c:v>
                </c:pt>
                <c:pt idx="74969">
                  <c:v>50245</c:v>
                </c:pt>
                <c:pt idx="74970">
                  <c:v>38918</c:v>
                </c:pt>
                <c:pt idx="74971">
                  <c:v>496058</c:v>
                </c:pt>
                <c:pt idx="74972">
                  <c:v>61170</c:v>
                </c:pt>
                <c:pt idx="74973">
                  <c:v>35744</c:v>
                </c:pt>
                <c:pt idx="74974">
                  <c:v>29010</c:v>
                </c:pt>
                <c:pt idx="74975">
                  <c:v>66728</c:v>
                </c:pt>
                <c:pt idx="74976">
                  <c:v>35228</c:v>
                </c:pt>
                <c:pt idx="74977">
                  <c:v>39313</c:v>
                </c:pt>
                <c:pt idx="74978">
                  <c:v>28492</c:v>
                </c:pt>
                <c:pt idx="74979">
                  <c:v>85673</c:v>
                </c:pt>
                <c:pt idx="74980">
                  <c:v>53994</c:v>
                </c:pt>
                <c:pt idx="74981">
                  <c:v>31469</c:v>
                </c:pt>
                <c:pt idx="74982">
                  <c:v>33917</c:v>
                </c:pt>
                <c:pt idx="74983">
                  <c:v>55160</c:v>
                </c:pt>
                <c:pt idx="74984">
                  <c:v>157078</c:v>
                </c:pt>
                <c:pt idx="74985">
                  <c:v>145890</c:v>
                </c:pt>
                <c:pt idx="74986">
                  <c:v>218440</c:v>
                </c:pt>
                <c:pt idx="74987">
                  <c:v>51393</c:v>
                </c:pt>
                <c:pt idx="74988">
                  <c:v>86220</c:v>
                </c:pt>
                <c:pt idx="74989">
                  <c:v>37370</c:v>
                </c:pt>
                <c:pt idx="74990">
                  <c:v>96058</c:v>
                </c:pt>
                <c:pt idx="74991">
                  <c:v>60913</c:v>
                </c:pt>
                <c:pt idx="74992">
                  <c:v>41033</c:v>
                </c:pt>
                <c:pt idx="74993">
                  <c:v>43332</c:v>
                </c:pt>
                <c:pt idx="74994">
                  <c:v>184265</c:v>
                </c:pt>
                <c:pt idx="74995">
                  <c:v>82200</c:v>
                </c:pt>
                <c:pt idx="74996">
                  <c:v>34544</c:v>
                </c:pt>
                <c:pt idx="74997">
                  <c:v>43782</c:v>
                </c:pt>
                <c:pt idx="74998">
                  <c:v>40900</c:v>
                </c:pt>
                <c:pt idx="74999">
                  <c:v>22141</c:v>
                </c:pt>
              </c:numCache>
            </c:numRef>
          </c:xVal>
          <c:yVal>
            <c:numRef>
              <c:f>Sheet1!$B$2:$B$75001</c:f>
              <c:numCache>
                <c:formatCode>0.0</c:formatCode>
                <c:ptCount val="75000"/>
                <c:pt idx="0">
                  <c:v>60.693583804109807</c:v>
                </c:pt>
                <c:pt idx="1">
                  <c:v>54.041965295058688</c:v>
                </c:pt>
                <c:pt idx="2">
                  <c:v>26.551987167603201</c:v>
                </c:pt>
                <c:pt idx="3">
                  <c:v>48.444729167076289</c:v>
                </c:pt>
                <c:pt idx="4">
                  <c:v>27.057785978630463</c:v>
                </c:pt>
                <c:pt idx="5">
                  <c:v>30.159743930183939</c:v>
                </c:pt>
                <c:pt idx="6">
                  <c:v>33.552322324535616</c:v>
                </c:pt>
                <c:pt idx="7">
                  <c:v>20.944215372689342</c:v>
                </c:pt>
                <c:pt idx="8">
                  <c:v>24.07142181422461</c:v>
                </c:pt>
                <c:pt idx="9">
                  <c:v>29.638119646253507</c:v>
                </c:pt>
                <c:pt idx="10">
                  <c:v>23.633592494099851</c:v>
                </c:pt>
                <c:pt idx="11">
                  <c:v>21.54351599109042</c:v>
                </c:pt>
                <c:pt idx="12">
                  <c:v>26.309885467613267</c:v>
                </c:pt>
                <c:pt idx="13">
                  <c:v>25.218510311486696</c:v>
                </c:pt>
                <c:pt idx="14">
                  <c:v>33.254471666948952</c:v>
                </c:pt>
                <c:pt idx="15">
                  <c:v>56.371948828116246</c:v>
                </c:pt>
                <c:pt idx="16">
                  <c:v>52.512591759740189</c:v>
                </c:pt>
                <c:pt idx="17">
                  <c:v>19.367512683872825</c:v>
                </c:pt>
                <c:pt idx="18">
                  <c:v>48.722832675975127</c:v>
                </c:pt>
                <c:pt idx="19">
                  <c:v>18.661793538044108</c:v>
                </c:pt>
                <c:pt idx="20">
                  <c:v>34.702287939705727</c:v>
                </c:pt>
                <c:pt idx="21">
                  <c:v>34.204533128027606</c:v>
                </c:pt>
                <c:pt idx="22">
                  <c:v>49.75642306723573</c:v>
                </c:pt>
                <c:pt idx="23">
                  <c:v>49.395335984289815</c:v>
                </c:pt>
                <c:pt idx="24">
                  <c:v>27.393206047446263</c:v>
                </c:pt>
                <c:pt idx="25">
                  <c:v>31.223332109063708</c:v>
                </c:pt>
                <c:pt idx="26">
                  <c:v>24.182860123668846</c:v>
                </c:pt>
                <c:pt idx="27">
                  <c:v>27.143780353121429</c:v>
                </c:pt>
                <c:pt idx="28">
                  <c:v>29.618547564566445</c:v>
                </c:pt>
                <c:pt idx="29">
                  <c:v>29.695604493067989</c:v>
                </c:pt>
                <c:pt idx="30">
                  <c:v>22.929892784141831</c:v>
                </c:pt>
                <c:pt idx="31">
                  <c:v>50.707728532856606</c:v>
                </c:pt>
                <c:pt idx="32">
                  <c:v>31.285528517277697</c:v>
                </c:pt>
                <c:pt idx="33">
                  <c:v>27.067291828562663</c:v>
                </c:pt>
                <c:pt idx="34">
                  <c:v>32.357294065691917</c:v>
                </c:pt>
                <c:pt idx="35">
                  <c:v>22.546462630407323</c:v>
                </c:pt>
                <c:pt idx="36">
                  <c:v>24.87536745273469</c:v>
                </c:pt>
                <c:pt idx="37">
                  <c:v>24.055772489004454</c:v>
                </c:pt>
                <c:pt idx="38">
                  <c:v>16.689849788877048</c:v>
                </c:pt>
                <c:pt idx="39">
                  <c:v>25.08372307515338</c:v>
                </c:pt>
                <c:pt idx="40">
                  <c:v>15.725516652001867</c:v>
                </c:pt>
                <c:pt idx="41">
                  <c:v>47.047225365453706</c:v>
                </c:pt>
                <c:pt idx="42">
                  <c:v>25.83263962679472</c:v>
                </c:pt>
                <c:pt idx="43">
                  <c:v>21.948318626801914</c:v>
                </c:pt>
                <c:pt idx="44">
                  <c:v>25.761796298297938</c:v>
                </c:pt>
                <c:pt idx="45">
                  <c:v>29.335298493948969</c:v>
                </c:pt>
                <c:pt idx="46">
                  <c:v>53.411027705602052</c:v>
                </c:pt>
                <c:pt idx="47">
                  <c:v>28.498696316674394</c:v>
                </c:pt>
                <c:pt idx="48">
                  <c:v>29.628445932333626</c:v>
                </c:pt>
                <c:pt idx="49">
                  <c:v>26.593431756772265</c:v>
                </c:pt>
                <c:pt idx="50">
                  <c:v>39.647545204756888</c:v>
                </c:pt>
                <c:pt idx="51">
                  <c:v>21.30771669906445</c:v>
                </c:pt>
                <c:pt idx="52">
                  <c:v>19.642219922994286</c:v>
                </c:pt>
                <c:pt idx="53">
                  <c:v>24.63624906711059</c:v>
                </c:pt>
                <c:pt idx="54">
                  <c:v>45.717063315765678</c:v>
                </c:pt>
                <c:pt idx="55">
                  <c:v>42.875204541691787</c:v>
                </c:pt>
                <c:pt idx="56">
                  <c:v>20.079581540140662</c:v>
                </c:pt>
                <c:pt idx="57">
                  <c:v>25.878059683372641</c:v>
                </c:pt>
                <c:pt idx="58">
                  <c:v>30.805631737467941</c:v>
                </c:pt>
                <c:pt idx="59">
                  <c:v>24.542046041367009</c:v>
                </c:pt>
                <c:pt idx="60">
                  <c:v>25.434607586102562</c:v>
                </c:pt>
                <c:pt idx="61">
                  <c:v>38.988675130776159</c:v>
                </c:pt>
                <c:pt idx="62">
                  <c:v>25.019653110658027</c:v>
                </c:pt>
                <c:pt idx="63">
                  <c:v>42.135460507838722</c:v>
                </c:pt>
                <c:pt idx="64">
                  <c:v>21.874201226396384</c:v>
                </c:pt>
                <c:pt idx="65">
                  <c:v>30.83242855399422</c:v>
                </c:pt>
                <c:pt idx="66">
                  <c:v>27.093744891562203</c:v>
                </c:pt>
                <c:pt idx="67">
                  <c:v>29.082010464686427</c:v>
                </c:pt>
                <c:pt idx="68">
                  <c:v>30.292982973194398</c:v>
                </c:pt>
                <c:pt idx="69">
                  <c:v>20.579287052965434</c:v>
                </c:pt>
                <c:pt idx="70">
                  <c:v>37.501742267613025</c:v>
                </c:pt>
                <c:pt idx="71">
                  <c:v>29.340945231549398</c:v>
                </c:pt>
                <c:pt idx="72">
                  <c:v>31.607947606488068</c:v>
                </c:pt>
                <c:pt idx="73">
                  <c:v>25.020435575488555</c:v>
                </c:pt>
                <c:pt idx="74">
                  <c:v>27.168617884061568</c:v>
                </c:pt>
                <c:pt idx="75">
                  <c:v>44.175482143470923</c:v>
                </c:pt>
                <c:pt idx="76">
                  <c:v>19.20730435868661</c:v>
                </c:pt>
                <c:pt idx="77">
                  <c:v>52.461903713416731</c:v>
                </c:pt>
                <c:pt idx="78">
                  <c:v>41.876297277091027</c:v>
                </c:pt>
                <c:pt idx="79">
                  <c:v>25.985578295484071</c:v>
                </c:pt>
                <c:pt idx="80">
                  <c:v>17.231435275214597</c:v>
                </c:pt>
                <c:pt idx="81">
                  <c:v>49.130909399750763</c:v>
                </c:pt>
                <c:pt idx="82">
                  <c:v>47.746945584689428</c:v>
                </c:pt>
                <c:pt idx="83">
                  <c:v>30.214636695343899</c:v>
                </c:pt>
                <c:pt idx="84">
                  <c:v>45.017433316690969</c:v>
                </c:pt>
                <c:pt idx="85">
                  <c:v>44.122210793758839</c:v>
                </c:pt>
                <c:pt idx="86">
                  <c:v>27.02541015045669</c:v>
                </c:pt>
                <c:pt idx="87">
                  <c:v>27.023734530050628</c:v>
                </c:pt>
                <c:pt idx="88">
                  <c:v>24.350805496474461</c:v>
                </c:pt>
                <c:pt idx="89">
                  <c:v>40.102654753913939</c:v>
                </c:pt>
                <c:pt idx="90">
                  <c:v>29.41271065929914</c:v>
                </c:pt>
                <c:pt idx="91">
                  <c:v>49.37083143438948</c:v>
                </c:pt>
                <c:pt idx="92">
                  <c:v>17.816880151093244</c:v>
                </c:pt>
                <c:pt idx="93">
                  <c:v>41.889150971441126</c:v>
                </c:pt>
                <c:pt idx="94">
                  <c:v>47.291480233802069</c:v>
                </c:pt>
                <c:pt idx="95">
                  <c:v>24.160245613169366</c:v>
                </c:pt>
                <c:pt idx="96">
                  <c:v>28.879653375954771</c:v>
                </c:pt>
                <c:pt idx="97">
                  <c:v>23.923670061142687</c:v>
                </c:pt>
                <c:pt idx="98">
                  <c:v>25.077826539136343</c:v>
                </c:pt>
                <c:pt idx="99">
                  <c:v>38.708517786637998</c:v>
                </c:pt>
                <c:pt idx="100">
                  <c:v>41.521944002436982</c:v>
                </c:pt>
                <c:pt idx="101">
                  <c:v>21.207426594764748</c:v>
                </c:pt>
                <c:pt idx="102">
                  <c:v>26.306430630927544</c:v>
                </c:pt>
                <c:pt idx="103">
                  <c:v>52.643020921586576</c:v>
                </c:pt>
                <c:pt idx="104">
                  <c:v>24.40083283632428</c:v>
                </c:pt>
                <c:pt idx="105">
                  <c:v>31.125112789976594</c:v>
                </c:pt>
                <c:pt idx="106">
                  <c:v>31.500207493733569</c:v>
                </c:pt>
                <c:pt idx="107">
                  <c:v>28.633293048697936</c:v>
                </c:pt>
                <c:pt idx="108">
                  <c:v>35.879207241419316</c:v>
                </c:pt>
                <c:pt idx="109">
                  <c:v>57.547105356402398</c:v>
                </c:pt>
                <c:pt idx="110">
                  <c:v>33.970538901925295</c:v>
                </c:pt>
                <c:pt idx="111">
                  <c:v>20.884081230577571</c:v>
                </c:pt>
                <c:pt idx="112">
                  <c:v>38.276260903526065</c:v>
                </c:pt>
                <c:pt idx="113">
                  <c:v>31.817524598258057</c:v>
                </c:pt>
                <c:pt idx="114">
                  <c:v>29.19017546885841</c:v>
                </c:pt>
                <c:pt idx="115">
                  <c:v>25.621544845508687</c:v>
                </c:pt>
                <c:pt idx="116">
                  <c:v>40.691843110561003</c:v>
                </c:pt>
                <c:pt idx="117">
                  <c:v>25.190476058877167</c:v>
                </c:pt>
                <c:pt idx="118">
                  <c:v>22.405982400490053</c:v>
                </c:pt>
                <c:pt idx="119">
                  <c:v>28.164571788517755</c:v>
                </c:pt>
                <c:pt idx="120">
                  <c:v>36.67556425324473</c:v>
                </c:pt>
                <c:pt idx="121">
                  <c:v>28.531444323726323</c:v>
                </c:pt>
                <c:pt idx="122">
                  <c:v>30.116796190081338</c:v>
                </c:pt>
                <c:pt idx="123">
                  <c:v>45.641615679079436</c:v>
                </c:pt>
                <c:pt idx="124">
                  <c:v>24.405827815310253</c:v>
                </c:pt>
                <c:pt idx="125">
                  <c:v>32.75968138023395</c:v>
                </c:pt>
                <c:pt idx="126">
                  <c:v>31.314912769118262</c:v>
                </c:pt>
                <c:pt idx="127">
                  <c:v>24.59884906465847</c:v>
                </c:pt>
                <c:pt idx="128">
                  <c:v>30.319310635285824</c:v>
                </c:pt>
                <c:pt idx="129">
                  <c:v>17.24541321160665</c:v>
                </c:pt>
                <c:pt idx="130">
                  <c:v>42.600611317220135</c:v>
                </c:pt>
                <c:pt idx="131">
                  <c:v>44.158783352508969</c:v>
                </c:pt>
                <c:pt idx="132">
                  <c:v>25.683114731831857</c:v>
                </c:pt>
                <c:pt idx="133">
                  <c:v>22.31950129003053</c:v>
                </c:pt>
                <c:pt idx="134">
                  <c:v>22.678297990986948</c:v>
                </c:pt>
                <c:pt idx="135">
                  <c:v>26.493842311267404</c:v>
                </c:pt>
                <c:pt idx="136">
                  <c:v>23.847778835573656</c:v>
                </c:pt>
                <c:pt idx="137">
                  <c:v>30.497047244404801</c:v>
                </c:pt>
                <c:pt idx="138">
                  <c:v>27.893765376405572</c:v>
                </c:pt>
                <c:pt idx="139">
                  <c:v>21.616646638991931</c:v>
                </c:pt>
                <c:pt idx="140">
                  <c:v>27.891574339077401</c:v>
                </c:pt>
                <c:pt idx="141">
                  <c:v>25.098524772829375</c:v>
                </c:pt>
                <c:pt idx="142">
                  <c:v>64.137403062701352</c:v>
                </c:pt>
                <c:pt idx="143">
                  <c:v>25.829412321080881</c:v>
                </c:pt>
                <c:pt idx="144">
                  <c:v>27.549218579701801</c:v>
                </c:pt>
                <c:pt idx="145">
                  <c:v>27.47441717920886</c:v>
                </c:pt>
                <c:pt idx="146">
                  <c:v>21.107423030499152</c:v>
                </c:pt>
                <c:pt idx="147">
                  <c:v>26.032262949433779</c:v>
                </c:pt>
                <c:pt idx="148">
                  <c:v>21.694353352927262</c:v>
                </c:pt>
                <c:pt idx="149">
                  <c:v>28.434510992714284</c:v>
                </c:pt>
                <c:pt idx="150">
                  <c:v>29.653705744281229</c:v>
                </c:pt>
                <c:pt idx="151">
                  <c:v>43.595683658227422</c:v>
                </c:pt>
                <c:pt idx="152">
                  <c:v>20.061202869005598</c:v>
                </c:pt>
                <c:pt idx="153">
                  <c:v>39.750836560377593</c:v>
                </c:pt>
                <c:pt idx="154">
                  <c:v>32.874175803538257</c:v>
                </c:pt>
                <c:pt idx="155">
                  <c:v>52.859532578369958</c:v>
                </c:pt>
                <c:pt idx="156">
                  <c:v>24.991043418700702</c:v>
                </c:pt>
                <c:pt idx="157">
                  <c:v>23.818406383296065</c:v>
                </c:pt>
                <c:pt idx="158">
                  <c:v>45.640327572332076</c:v>
                </c:pt>
                <c:pt idx="159">
                  <c:v>22.375774400635649</c:v>
                </c:pt>
                <c:pt idx="160">
                  <c:v>41.130035363968737</c:v>
                </c:pt>
                <c:pt idx="161">
                  <c:v>23.120565541455107</c:v>
                </c:pt>
                <c:pt idx="162">
                  <c:v>29.082409583108493</c:v>
                </c:pt>
                <c:pt idx="163">
                  <c:v>53.992091021167312</c:v>
                </c:pt>
                <c:pt idx="164">
                  <c:v>47.726653221612544</c:v>
                </c:pt>
                <c:pt idx="165">
                  <c:v>33.670239551817943</c:v>
                </c:pt>
                <c:pt idx="166">
                  <c:v>48.360954032954027</c:v>
                </c:pt>
                <c:pt idx="167">
                  <c:v>31.321678175619613</c:v>
                </c:pt>
                <c:pt idx="168">
                  <c:v>52.810570875066787</c:v>
                </c:pt>
                <c:pt idx="169">
                  <c:v>16.62665133842874</c:v>
                </c:pt>
                <c:pt idx="170">
                  <c:v>47.433992871653587</c:v>
                </c:pt>
                <c:pt idx="171">
                  <c:v>30.106954492795197</c:v>
                </c:pt>
                <c:pt idx="172">
                  <c:v>39.507009394997738</c:v>
                </c:pt>
                <c:pt idx="173">
                  <c:v>33.60457001522667</c:v>
                </c:pt>
                <c:pt idx="174">
                  <c:v>34.263296644832039</c:v>
                </c:pt>
                <c:pt idx="175">
                  <c:v>29.550185072127036</c:v>
                </c:pt>
                <c:pt idx="176">
                  <c:v>34.581545560286983</c:v>
                </c:pt>
                <c:pt idx="177">
                  <c:v>28.72420259632333</c:v>
                </c:pt>
                <c:pt idx="178">
                  <c:v>44.543802816221799</c:v>
                </c:pt>
                <c:pt idx="179">
                  <c:v>43.867577718142122</c:v>
                </c:pt>
                <c:pt idx="180">
                  <c:v>21.844122653733525</c:v>
                </c:pt>
                <c:pt idx="181">
                  <c:v>37.495986099556717</c:v>
                </c:pt>
                <c:pt idx="182">
                  <c:v>36.194671273498393</c:v>
                </c:pt>
                <c:pt idx="183">
                  <c:v>35.532038741071432</c:v>
                </c:pt>
                <c:pt idx="184">
                  <c:v>39.402291447886945</c:v>
                </c:pt>
                <c:pt idx="185">
                  <c:v>35.013193440315547</c:v>
                </c:pt>
                <c:pt idx="186">
                  <c:v>19.877917241238485</c:v>
                </c:pt>
                <c:pt idx="187">
                  <c:v>38.744675320207101</c:v>
                </c:pt>
                <c:pt idx="188">
                  <c:v>25.736928242709428</c:v>
                </c:pt>
                <c:pt idx="189">
                  <c:v>21.359960472494521</c:v>
                </c:pt>
                <c:pt idx="190">
                  <c:v>27.239732542818608</c:v>
                </c:pt>
                <c:pt idx="191">
                  <c:v>32.026810470746753</c:v>
                </c:pt>
                <c:pt idx="192">
                  <c:v>23.342327918596734</c:v>
                </c:pt>
                <c:pt idx="193">
                  <c:v>53.417432346414941</c:v>
                </c:pt>
                <c:pt idx="194">
                  <c:v>29.898768917462341</c:v>
                </c:pt>
                <c:pt idx="195">
                  <c:v>58.72748825005678</c:v>
                </c:pt>
                <c:pt idx="196">
                  <c:v>46.629847188994482</c:v>
                </c:pt>
                <c:pt idx="197">
                  <c:v>30.400320905261815</c:v>
                </c:pt>
                <c:pt idx="198">
                  <c:v>39.932684070255277</c:v>
                </c:pt>
                <c:pt idx="199">
                  <c:v>27.191588376513714</c:v>
                </c:pt>
                <c:pt idx="200">
                  <c:v>25.064076071597583</c:v>
                </c:pt>
                <c:pt idx="201">
                  <c:v>37.275772146629691</c:v>
                </c:pt>
                <c:pt idx="202">
                  <c:v>37.579193554304261</c:v>
                </c:pt>
                <c:pt idx="203">
                  <c:v>32.549271779047508</c:v>
                </c:pt>
                <c:pt idx="204">
                  <c:v>41.816048361476938</c:v>
                </c:pt>
                <c:pt idx="205">
                  <c:v>20.075753201234683</c:v>
                </c:pt>
                <c:pt idx="206">
                  <c:v>26.546777447989456</c:v>
                </c:pt>
                <c:pt idx="207">
                  <c:v>45.824652101935492</c:v>
                </c:pt>
                <c:pt idx="208">
                  <c:v>24.973806974023898</c:v>
                </c:pt>
                <c:pt idx="209">
                  <c:v>24.104596545608018</c:v>
                </c:pt>
                <c:pt idx="210">
                  <c:v>23.815641611035357</c:v>
                </c:pt>
                <c:pt idx="211">
                  <c:v>57.133696942070856</c:v>
                </c:pt>
                <c:pt idx="212">
                  <c:v>29.76611000684975</c:v>
                </c:pt>
                <c:pt idx="213">
                  <c:v>38.700586469280971</c:v>
                </c:pt>
                <c:pt idx="214">
                  <c:v>20.285502826242716</c:v>
                </c:pt>
                <c:pt idx="215">
                  <c:v>44.568065769578062</c:v>
                </c:pt>
                <c:pt idx="216">
                  <c:v>16.926094819826883</c:v>
                </c:pt>
                <c:pt idx="217">
                  <c:v>34.276803468296158</c:v>
                </c:pt>
                <c:pt idx="218">
                  <c:v>28.387948545981036</c:v>
                </c:pt>
                <c:pt idx="219">
                  <c:v>25.336809874343182</c:v>
                </c:pt>
                <c:pt idx="220">
                  <c:v>32.127348781656416</c:v>
                </c:pt>
                <c:pt idx="221">
                  <c:v>27.274817051810466</c:v>
                </c:pt>
                <c:pt idx="222">
                  <c:v>33.945315124311108</c:v>
                </c:pt>
                <c:pt idx="223">
                  <c:v>22.888298372639671</c:v>
                </c:pt>
                <c:pt idx="224">
                  <c:v>28.512005125761331</c:v>
                </c:pt>
                <c:pt idx="225">
                  <c:v>34.947466662526629</c:v>
                </c:pt>
                <c:pt idx="226">
                  <c:v>26.922477188249601</c:v>
                </c:pt>
                <c:pt idx="227">
                  <c:v>21.076407005784723</c:v>
                </c:pt>
                <c:pt idx="228">
                  <c:v>44.878440808644385</c:v>
                </c:pt>
                <c:pt idx="229">
                  <c:v>50.175708719271903</c:v>
                </c:pt>
                <c:pt idx="230">
                  <c:v>23.633121269301199</c:v>
                </c:pt>
                <c:pt idx="231">
                  <c:v>35.970990876327946</c:v>
                </c:pt>
                <c:pt idx="232">
                  <c:v>29.552569993407111</c:v>
                </c:pt>
                <c:pt idx="233">
                  <c:v>32.52678373255025</c:v>
                </c:pt>
                <c:pt idx="234">
                  <c:v>45.341321462113676</c:v>
                </c:pt>
                <c:pt idx="235">
                  <c:v>23.266436801828792</c:v>
                </c:pt>
                <c:pt idx="236">
                  <c:v>28.515425431760661</c:v>
                </c:pt>
                <c:pt idx="237">
                  <c:v>30.354274272582145</c:v>
                </c:pt>
                <c:pt idx="238">
                  <c:v>32.534609870516888</c:v>
                </c:pt>
                <c:pt idx="239">
                  <c:v>29.733575313715015</c:v>
                </c:pt>
                <c:pt idx="240">
                  <c:v>36.372286610979288</c:v>
                </c:pt>
                <c:pt idx="241">
                  <c:v>26.839929197663018</c:v>
                </c:pt>
                <c:pt idx="242">
                  <c:v>30.525772333223308</c:v>
                </c:pt>
                <c:pt idx="243">
                  <c:v>23.92386286003444</c:v>
                </c:pt>
                <c:pt idx="244">
                  <c:v>26.230585210931096</c:v>
                </c:pt>
                <c:pt idx="245">
                  <c:v>28.023197494983016</c:v>
                </c:pt>
                <c:pt idx="246">
                  <c:v>26.029585797288291</c:v>
                </c:pt>
                <c:pt idx="247">
                  <c:v>37.317876411468205</c:v>
                </c:pt>
                <c:pt idx="248">
                  <c:v>24.664615463809334</c:v>
                </c:pt>
                <c:pt idx="249">
                  <c:v>38.809694595169304</c:v>
                </c:pt>
                <c:pt idx="250">
                  <c:v>34.907016594279007</c:v>
                </c:pt>
                <c:pt idx="251">
                  <c:v>26.993473990978252</c:v>
                </c:pt>
                <c:pt idx="252">
                  <c:v>24.996433820507509</c:v>
                </c:pt>
                <c:pt idx="253">
                  <c:v>54.675497540958936</c:v>
                </c:pt>
                <c:pt idx="254">
                  <c:v>25.188757477920809</c:v>
                </c:pt>
                <c:pt idx="255">
                  <c:v>31.262739131954355</c:v>
                </c:pt>
                <c:pt idx="256">
                  <c:v>21.328239051396167</c:v>
                </c:pt>
                <c:pt idx="257">
                  <c:v>30.217733592038826</c:v>
                </c:pt>
                <c:pt idx="258">
                  <c:v>55.917359993158456</c:v>
                </c:pt>
                <c:pt idx="259">
                  <c:v>21.54858592986016</c:v>
                </c:pt>
                <c:pt idx="260">
                  <c:v>26.119549290040826</c:v>
                </c:pt>
                <c:pt idx="261">
                  <c:v>24.49206203709835</c:v>
                </c:pt>
                <c:pt idx="262">
                  <c:v>20.852225279808327</c:v>
                </c:pt>
                <c:pt idx="263">
                  <c:v>28.880146218324665</c:v>
                </c:pt>
                <c:pt idx="264">
                  <c:v>29.660204312556868</c:v>
                </c:pt>
                <c:pt idx="265">
                  <c:v>39.962551319651517</c:v>
                </c:pt>
                <c:pt idx="266">
                  <c:v>22.505539872385967</c:v>
                </c:pt>
                <c:pt idx="267">
                  <c:v>31.374459015478124</c:v>
                </c:pt>
                <c:pt idx="268">
                  <c:v>27.44766325116511</c:v>
                </c:pt>
                <c:pt idx="269">
                  <c:v>32.446913511228203</c:v>
                </c:pt>
                <c:pt idx="270">
                  <c:v>26.589864712311222</c:v>
                </c:pt>
                <c:pt idx="271">
                  <c:v>53.10418234249758</c:v>
                </c:pt>
                <c:pt idx="272">
                  <c:v>51.407708138768768</c:v>
                </c:pt>
                <c:pt idx="273">
                  <c:v>25.66884859205275</c:v>
                </c:pt>
                <c:pt idx="274">
                  <c:v>26.097243720293068</c:v>
                </c:pt>
                <c:pt idx="275">
                  <c:v>25.501129342644454</c:v>
                </c:pt>
                <c:pt idx="276">
                  <c:v>32.391566183999444</c:v>
                </c:pt>
                <c:pt idx="277">
                  <c:v>23.319805129941802</c:v>
                </c:pt>
                <c:pt idx="278">
                  <c:v>49.617672922501406</c:v>
                </c:pt>
                <c:pt idx="279">
                  <c:v>36.333366153707985</c:v>
                </c:pt>
                <c:pt idx="280">
                  <c:v>25.857938756374921</c:v>
                </c:pt>
                <c:pt idx="281">
                  <c:v>32.194706856973717</c:v>
                </c:pt>
                <c:pt idx="282">
                  <c:v>23.572032337205837</c:v>
                </c:pt>
                <c:pt idx="283">
                  <c:v>29.012107928952616</c:v>
                </c:pt>
                <c:pt idx="284">
                  <c:v>25.148478956667574</c:v>
                </c:pt>
                <c:pt idx="285">
                  <c:v>34.685890479675429</c:v>
                </c:pt>
                <c:pt idx="286">
                  <c:v>27.876903240169877</c:v>
                </c:pt>
                <c:pt idx="287">
                  <c:v>32.65585556567342</c:v>
                </c:pt>
                <c:pt idx="288">
                  <c:v>22.361912887720159</c:v>
                </c:pt>
                <c:pt idx="289">
                  <c:v>23.027823386636566</c:v>
                </c:pt>
                <c:pt idx="290">
                  <c:v>27.601684578259324</c:v>
                </c:pt>
                <c:pt idx="291">
                  <c:v>21.158875863018736</c:v>
                </c:pt>
                <c:pt idx="292">
                  <c:v>33.501130615310707</c:v>
                </c:pt>
                <c:pt idx="293">
                  <c:v>59.301018037055663</c:v>
                </c:pt>
                <c:pt idx="294">
                  <c:v>33.12333940238728</c:v>
                </c:pt>
                <c:pt idx="295">
                  <c:v>25.666814184173372</c:v>
                </c:pt>
                <c:pt idx="296">
                  <c:v>27.477196801498117</c:v>
                </c:pt>
                <c:pt idx="297">
                  <c:v>21.061925957287592</c:v>
                </c:pt>
                <c:pt idx="298">
                  <c:v>19.128062521692815</c:v>
                </c:pt>
                <c:pt idx="299">
                  <c:v>35.246585677317235</c:v>
                </c:pt>
                <c:pt idx="300">
                  <c:v>29.973385078374182</c:v>
                </c:pt>
                <c:pt idx="301">
                  <c:v>41.788149626693048</c:v>
                </c:pt>
                <c:pt idx="302">
                  <c:v>15.600872715876248</c:v>
                </c:pt>
                <c:pt idx="303">
                  <c:v>51.572667766106868</c:v>
                </c:pt>
                <c:pt idx="304">
                  <c:v>30.07326472723625</c:v>
                </c:pt>
                <c:pt idx="305">
                  <c:v>22.534207755936908</c:v>
                </c:pt>
                <c:pt idx="306">
                  <c:v>22.128206325665946</c:v>
                </c:pt>
                <c:pt idx="307">
                  <c:v>23.63585985329901</c:v>
                </c:pt>
                <c:pt idx="308">
                  <c:v>44.57124530383377</c:v>
                </c:pt>
                <c:pt idx="309">
                  <c:v>62.905509019204636</c:v>
                </c:pt>
                <c:pt idx="310">
                  <c:v>22.775846372259416</c:v>
                </c:pt>
                <c:pt idx="311">
                  <c:v>57.046578993396039</c:v>
                </c:pt>
                <c:pt idx="312">
                  <c:v>28.76270936349389</c:v>
                </c:pt>
                <c:pt idx="313">
                  <c:v>25.04708307179429</c:v>
                </c:pt>
                <c:pt idx="314">
                  <c:v>24.442030571696552</c:v>
                </c:pt>
                <c:pt idx="315">
                  <c:v>65.432373896717934</c:v>
                </c:pt>
                <c:pt idx="316">
                  <c:v>23.121109699917632</c:v>
                </c:pt>
                <c:pt idx="317">
                  <c:v>29.83078436604309</c:v>
                </c:pt>
                <c:pt idx="318">
                  <c:v>30.039337681037424</c:v>
                </c:pt>
                <c:pt idx="319">
                  <c:v>26.314938899927977</c:v>
                </c:pt>
                <c:pt idx="320">
                  <c:v>20.584380708339499</c:v>
                </c:pt>
                <c:pt idx="321">
                  <c:v>47.833765251574555</c:v>
                </c:pt>
                <c:pt idx="322">
                  <c:v>21.229029197354144</c:v>
                </c:pt>
                <c:pt idx="323">
                  <c:v>26.168652480355764</c:v>
                </c:pt>
                <c:pt idx="324">
                  <c:v>53.225481993981475</c:v>
                </c:pt>
                <c:pt idx="325">
                  <c:v>56.251480125029651</c:v>
                </c:pt>
                <c:pt idx="326">
                  <c:v>24.584489534672443</c:v>
                </c:pt>
                <c:pt idx="327">
                  <c:v>30.564887065276032</c:v>
                </c:pt>
                <c:pt idx="328">
                  <c:v>31.471893740598968</c:v>
                </c:pt>
                <c:pt idx="329">
                  <c:v>55.607449283419072</c:v>
                </c:pt>
                <c:pt idx="330">
                  <c:v>45.450725611613727</c:v>
                </c:pt>
                <c:pt idx="331">
                  <c:v>22.463388703171731</c:v>
                </c:pt>
                <c:pt idx="332">
                  <c:v>32.896921299622051</c:v>
                </c:pt>
                <c:pt idx="333">
                  <c:v>52.727766052576918</c:v>
                </c:pt>
                <c:pt idx="334">
                  <c:v>22.932099176312921</c:v>
                </c:pt>
                <c:pt idx="335">
                  <c:v>26.98132626881257</c:v>
                </c:pt>
                <c:pt idx="336">
                  <c:v>27.56637119277644</c:v>
                </c:pt>
                <c:pt idx="337">
                  <c:v>23.44503534987804</c:v>
                </c:pt>
                <c:pt idx="338">
                  <c:v>30.69751840247099</c:v>
                </c:pt>
                <c:pt idx="339">
                  <c:v>34.38292309099171</c:v>
                </c:pt>
                <c:pt idx="340">
                  <c:v>22.036998868725924</c:v>
                </c:pt>
                <c:pt idx="341">
                  <c:v>43.528270744004317</c:v>
                </c:pt>
                <c:pt idx="342">
                  <c:v>20.284113416988841</c:v>
                </c:pt>
                <c:pt idx="343">
                  <c:v>48.26643615885542</c:v>
                </c:pt>
                <c:pt idx="344">
                  <c:v>33.3573329321259</c:v>
                </c:pt>
                <c:pt idx="345">
                  <c:v>52.02351725026071</c:v>
                </c:pt>
                <c:pt idx="346">
                  <c:v>25.885053815573102</c:v>
                </c:pt>
                <c:pt idx="347">
                  <c:v>30.723739600760485</c:v>
                </c:pt>
                <c:pt idx="348">
                  <c:v>48.028670432780729</c:v>
                </c:pt>
                <c:pt idx="349">
                  <c:v>30.412740234286751</c:v>
                </c:pt>
                <c:pt idx="350">
                  <c:v>24.941581159731562</c:v>
                </c:pt>
                <c:pt idx="351">
                  <c:v>19.920010646894131</c:v>
                </c:pt>
                <c:pt idx="352">
                  <c:v>22.155600867627022</c:v>
                </c:pt>
                <c:pt idx="353">
                  <c:v>51.281730600784101</c:v>
                </c:pt>
                <c:pt idx="354">
                  <c:v>27.731209025628516</c:v>
                </c:pt>
                <c:pt idx="355">
                  <c:v>22.623901555111122</c:v>
                </c:pt>
                <c:pt idx="356">
                  <c:v>27.701798430639517</c:v>
                </c:pt>
                <c:pt idx="357">
                  <c:v>27.233552827131675</c:v>
                </c:pt>
                <c:pt idx="358">
                  <c:v>38.845568070025465</c:v>
                </c:pt>
                <c:pt idx="359">
                  <c:v>25.855708998006179</c:v>
                </c:pt>
                <c:pt idx="360">
                  <c:v>27.980115184332035</c:v>
                </c:pt>
                <c:pt idx="361">
                  <c:v>32.074891181688429</c:v>
                </c:pt>
                <c:pt idx="362">
                  <c:v>37.26869784153812</c:v>
                </c:pt>
                <c:pt idx="363">
                  <c:v>29.308822560511398</c:v>
                </c:pt>
                <c:pt idx="364">
                  <c:v>48.986101907333484</c:v>
                </c:pt>
                <c:pt idx="365">
                  <c:v>24.23609923880359</c:v>
                </c:pt>
                <c:pt idx="366">
                  <c:v>24.850169233559832</c:v>
                </c:pt>
                <c:pt idx="367">
                  <c:v>50.940159199861867</c:v>
                </c:pt>
                <c:pt idx="368">
                  <c:v>24.746809088116919</c:v>
                </c:pt>
                <c:pt idx="369">
                  <c:v>45.277666099527458</c:v>
                </c:pt>
                <c:pt idx="370">
                  <c:v>25.022106723665171</c:v>
                </c:pt>
                <c:pt idx="371">
                  <c:v>24.967929625838057</c:v>
                </c:pt>
                <c:pt idx="372">
                  <c:v>38.918840827709246</c:v>
                </c:pt>
                <c:pt idx="373">
                  <c:v>29.43289509351688</c:v>
                </c:pt>
                <c:pt idx="374">
                  <c:v>24.143703864884898</c:v>
                </c:pt>
                <c:pt idx="375">
                  <c:v>27.068054263062489</c:v>
                </c:pt>
                <c:pt idx="376">
                  <c:v>36.887044200605295</c:v>
                </c:pt>
                <c:pt idx="377">
                  <c:v>25.972436849540088</c:v>
                </c:pt>
                <c:pt idx="378">
                  <c:v>29.074755684190333</c:v>
                </c:pt>
                <c:pt idx="379">
                  <c:v>31.074631795248713</c:v>
                </c:pt>
                <c:pt idx="380">
                  <c:v>27.266057198016675</c:v>
                </c:pt>
                <c:pt idx="381">
                  <c:v>31.050728792070231</c:v>
                </c:pt>
                <c:pt idx="382">
                  <c:v>26.809769074853687</c:v>
                </c:pt>
                <c:pt idx="383">
                  <c:v>28.152415607157501</c:v>
                </c:pt>
                <c:pt idx="384">
                  <c:v>35.489605156026457</c:v>
                </c:pt>
                <c:pt idx="385">
                  <c:v>27.447935043250926</c:v>
                </c:pt>
                <c:pt idx="386">
                  <c:v>49.21178773509692</c:v>
                </c:pt>
                <c:pt idx="387">
                  <c:v>22.428460536061841</c:v>
                </c:pt>
                <c:pt idx="388">
                  <c:v>22.834749124310033</c:v>
                </c:pt>
                <c:pt idx="389">
                  <c:v>26.328217211005473</c:v>
                </c:pt>
                <c:pt idx="390">
                  <c:v>30.052309516022611</c:v>
                </c:pt>
                <c:pt idx="391">
                  <c:v>38.455954788016108</c:v>
                </c:pt>
                <c:pt idx="392">
                  <c:v>25.416535063887679</c:v>
                </c:pt>
                <c:pt idx="393">
                  <c:v>17.251999359567453</c:v>
                </c:pt>
                <c:pt idx="394">
                  <c:v>27.019912301505286</c:v>
                </c:pt>
                <c:pt idx="395">
                  <c:v>25.895759694725992</c:v>
                </c:pt>
                <c:pt idx="396">
                  <c:v>41.944468622092138</c:v>
                </c:pt>
                <c:pt idx="397">
                  <c:v>25.955541251035275</c:v>
                </c:pt>
                <c:pt idx="398">
                  <c:v>25.040987631982656</c:v>
                </c:pt>
                <c:pt idx="399">
                  <c:v>22.759959110195528</c:v>
                </c:pt>
                <c:pt idx="400">
                  <c:v>65.909690876464978</c:v>
                </c:pt>
                <c:pt idx="401">
                  <c:v>33.046558789553536</c:v>
                </c:pt>
                <c:pt idx="402">
                  <c:v>26.534756666200042</c:v>
                </c:pt>
                <c:pt idx="403">
                  <c:v>40.722214566120641</c:v>
                </c:pt>
                <c:pt idx="404">
                  <c:v>26.038681006007707</c:v>
                </c:pt>
                <c:pt idx="405">
                  <c:v>28.683176034920717</c:v>
                </c:pt>
                <c:pt idx="406">
                  <c:v>21.755597025865757</c:v>
                </c:pt>
                <c:pt idx="407">
                  <c:v>27.026191989479468</c:v>
                </c:pt>
                <c:pt idx="408">
                  <c:v>28.74800177893335</c:v>
                </c:pt>
                <c:pt idx="409">
                  <c:v>43.404823523254386</c:v>
                </c:pt>
                <c:pt idx="410">
                  <c:v>28.103784930285258</c:v>
                </c:pt>
                <c:pt idx="411">
                  <c:v>42.960686278149396</c:v>
                </c:pt>
                <c:pt idx="412">
                  <c:v>17.404271482444855</c:v>
                </c:pt>
                <c:pt idx="413">
                  <c:v>46.072011694890904</c:v>
                </c:pt>
                <c:pt idx="414">
                  <c:v>35.385429389392563</c:v>
                </c:pt>
                <c:pt idx="415">
                  <c:v>30.307246317024198</c:v>
                </c:pt>
                <c:pt idx="416">
                  <c:v>29.662869052694489</c:v>
                </c:pt>
                <c:pt idx="417">
                  <c:v>37.84002608917244</c:v>
                </c:pt>
                <c:pt idx="418">
                  <c:v>46.68897296786772</c:v>
                </c:pt>
                <c:pt idx="419">
                  <c:v>21.492694171851056</c:v>
                </c:pt>
                <c:pt idx="420">
                  <c:v>23.858237950866528</c:v>
                </c:pt>
                <c:pt idx="421">
                  <c:v>47.888951866972533</c:v>
                </c:pt>
                <c:pt idx="422">
                  <c:v>46.836231335787858</c:v>
                </c:pt>
                <c:pt idx="423">
                  <c:v>35.794076146291957</c:v>
                </c:pt>
                <c:pt idx="424">
                  <c:v>23.121929733680872</c:v>
                </c:pt>
                <c:pt idx="425">
                  <c:v>25.020275928521556</c:v>
                </c:pt>
                <c:pt idx="426">
                  <c:v>47.837909935188584</c:v>
                </c:pt>
                <c:pt idx="427">
                  <c:v>41.60925080051679</c:v>
                </c:pt>
                <c:pt idx="428">
                  <c:v>26.675041201244081</c:v>
                </c:pt>
                <c:pt idx="429">
                  <c:v>33.456046796983358</c:v>
                </c:pt>
                <c:pt idx="430">
                  <c:v>41.340520339103719</c:v>
                </c:pt>
                <c:pt idx="431">
                  <c:v>55.77388581171293</c:v>
                </c:pt>
                <c:pt idx="432">
                  <c:v>27.554170744930794</c:v>
                </c:pt>
                <c:pt idx="433">
                  <c:v>28.282515807949977</c:v>
                </c:pt>
                <c:pt idx="434">
                  <c:v>52.546486611171048</c:v>
                </c:pt>
                <c:pt idx="435">
                  <c:v>24.658399361370073</c:v>
                </c:pt>
                <c:pt idx="436">
                  <c:v>34.606977080274639</c:v>
                </c:pt>
                <c:pt idx="437">
                  <c:v>22.270203979899286</c:v>
                </c:pt>
                <c:pt idx="438">
                  <c:v>33.028134061384854</c:v>
                </c:pt>
                <c:pt idx="439">
                  <c:v>42.798413685111811</c:v>
                </c:pt>
                <c:pt idx="440">
                  <c:v>42.186064789206455</c:v>
                </c:pt>
                <c:pt idx="441">
                  <c:v>24.356254062036044</c:v>
                </c:pt>
                <c:pt idx="442">
                  <c:v>23.224969406837051</c:v>
                </c:pt>
                <c:pt idx="443">
                  <c:v>33.360491018535171</c:v>
                </c:pt>
                <c:pt idx="444">
                  <c:v>24.401510914820442</c:v>
                </c:pt>
                <c:pt idx="445">
                  <c:v>47.058113111418074</c:v>
                </c:pt>
                <c:pt idx="446">
                  <c:v>43.227207379805577</c:v>
                </c:pt>
                <c:pt idx="447">
                  <c:v>27.537250373244078</c:v>
                </c:pt>
                <c:pt idx="448">
                  <c:v>23.629452279836748</c:v>
                </c:pt>
                <c:pt idx="449">
                  <c:v>25.74344845513507</c:v>
                </c:pt>
                <c:pt idx="450">
                  <c:v>20.9150571917212</c:v>
                </c:pt>
                <c:pt idx="451">
                  <c:v>29.441406870985098</c:v>
                </c:pt>
                <c:pt idx="452">
                  <c:v>24.323309571966924</c:v>
                </c:pt>
                <c:pt idx="453">
                  <c:v>27.645311745265538</c:v>
                </c:pt>
                <c:pt idx="454">
                  <c:v>28.217931317085821</c:v>
                </c:pt>
                <c:pt idx="455">
                  <c:v>26.757486123383739</c:v>
                </c:pt>
                <c:pt idx="456">
                  <c:v>28.791307575329288</c:v>
                </c:pt>
                <c:pt idx="457">
                  <c:v>29.985277996637343</c:v>
                </c:pt>
                <c:pt idx="458">
                  <c:v>28.272183000175392</c:v>
                </c:pt>
                <c:pt idx="459">
                  <c:v>42.284089693184917</c:v>
                </c:pt>
                <c:pt idx="460">
                  <c:v>42.695652491072842</c:v>
                </c:pt>
                <c:pt idx="461">
                  <c:v>27.921211494414784</c:v>
                </c:pt>
                <c:pt idx="462">
                  <c:v>25.438367316846303</c:v>
                </c:pt>
                <c:pt idx="463">
                  <c:v>24.185476766876434</c:v>
                </c:pt>
                <c:pt idx="464">
                  <c:v>34.968073473658919</c:v>
                </c:pt>
                <c:pt idx="465">
                  <c:v>35.26222932162154</c:v>
                </c:pt>
                <c:pt idx="466">
                  <c:v>35.225425356700384</c:v>
                </c:pt>
                <c:pt idx="467">
                  <c:v>17.118140708731293</c:v>
                </c:pt>
                <c:pt idx="468">
                  <c:v>43.916972120079976</c:v>
                </c:pt>
                <c:pt idx="469">
                  <c:v>29.776121397226238</c:v>
                </c:pt>
                <c:pt idx="470">
                  <c:v>18.266729599515859</c:v>
                </c:pt>
                <c:pt idx="471">
                  <c:v>27.878744864372557</c:v>
                </c:pt>
                <c:pt idx="472">
                  <c:v>24.958290844105051</c:v>
                </c:pt>
                <c:pt idx="473">
                  <c:v>22.442751882694566</c:v>
                </c:pt>
                <c:pt idx="474">
                  <c:v>21.652073806880381</c:v>
                </c:pt>
                <c:pt idx="475">
                  <c:v>19.781412732016829</c:v>
                </c:pt>
                <c:pt idx="476">
                  <c:v>38.270030800178134</c:v>
                </c:pt>
                <c:pt idx="477">
                  <c:v>26.66449135153081</c:v>
                </c:pt>
                <c:pt idx="478">
                  <c:v>39.502717562576912</c:v>
                </c:pt>
                <c:pt idx="479">
                  <c:v>22.365228666378954</c:v>
                </c:pt>
                <c:pt idx="480">
                  <c:v>29.464101772782207</c:v>
                </c:pt>
                <c:pt idx="481">
                  <c:v>32.522730243728667</c:v>
                </c:pt>
                <c:pt idx="482">
                  <c:v>22.560059688467504</c:v>
                </c:pt>
                <c:pt idx="483">
                  <c:v>26.187331636425416</c:v>
                </c:pt>
                <c:pt idx="484">
                  <c:v>39.559511160662531</c:v>
                </c:pt>
                <c:pt idx="485">
                  <c:v>27.945023980022967</c:v>
                </c:pt>
                <c:pt idx="486">
                  <c:v>22.199933716630998</c:v>
                </c:pt>
                <c:pt idx="487">
                  <c:v>34.850012993109232</c:v>
                </c:pt>
                <c:pt idx="488">
                  <c:v>31.376070106968395</c:v>
                </c:pt>
                <c:pt idx="489">
                  <c:v>32.38401066042578</c:v>
                </c:pt>
                <c:pt idx="490">
                  <c:v>26.95500204899632</c:v>
                </c:pt>
                <c:pt idx="491">
                  <c:v>54.738795406929654</c:v>
                </c:pt>
                <c:pt idx="492">
                  <c:v>22.487169026614417</c:v>
                </c:pt>
                <c:pt idx="493">
                  <c:v>20.456491638786417</c:v>
                </c:pt>
                <c:pt idx="494">
                  <c:v>23.90327332311255</c:v>
                </c:pt>
                <c:pt idx="495">
                  <c:v>29.71201436748995</c:v>
                </c:pt>
                <c:pt idx="496">
                  <c:v>29.445773836227609</c:v>
                </c:pt>
                <c:pt idx="497">
                  <c:v>42.062810469723047</c:v>
                </c:pt>
                <c:pt idx="498">
                  <c:v>24.263164921988611</c:v>
                </c:pt>
                <c:pt idx="499">
                  <c:v>42.735649053681513</c:v>
                </c:pt>
                <c:pt idx="500">
                  <c:v>51.680165396447002</c:v>
                </c:pt>
                <c:pt idx="501">
                  <c:v>27.121525948609637</c:v>
                </c:pt>
                <c:pt idx="502">
                  <c:v>37.098349985683782</c:v>
                </c:pt>
                <c:pt idx="503">
                  <c:v>30.630719409391478</c:v>
                </c:pt>
                <c:pt idx="504">
                  <c:v>28.197528164606517</c:v>
                </c:pt>
                <c:pt idx="505">
                  <c:v>25.562790932563054</c:v>
                </c:pt>
                <c:pt idx="506">
                  <c:v>27.313736366982504</c:v>
                </c:pt>
                <c:pt idx="507">
                  <c:v>50.313895752566381</c:v>
                </c:pt>
                <c:pt idx="508">
                  <c:v>29.937766271070554</c:v>
                </c:pt>
                <c:pt idx="509">
                  <c:v>27.404073701114513</c:v>
                </c:pt>
                <c:pt idx="510">
                  <c:v>30.043847274505332</c:v>
                </c:pt>
                <c:pt idx="511">
                  <c:v>38.535686124992885</c:v>
                </c:pt>
                <c:pt idx="512">
                  <c:v>40.786256554387897</c:v>
                </c:pt>
                <c:pt idx="513">
                  <c:v>27.68038210304816</c:v>
                </c:pt>
                <c:pt idx="514">
                  <c:v>22.720219660149652</c:v>
                </c:pt>
                <c:pt idx="515">
                  <c:v>26.338971852276483</c:v>
                </c:pt>
                <c:pt idx="516">
                  <c:v>26.215114752954634</c:v>
                </c:pt>
                <c:pt idx="517">
                  <c:v>25.394346079677703</c:v>
                </c:pt>
                <c:pt idx="518">
                  <c:v>26.870787234318385</c:v>
                </c:pt>
                <c:pt idx="519">
                  <c:v>28.549859501720142</c:v>
                </c:pt>
                <c:pt idx="520">
                  <c:v>20.111455862314415</c:v>
                </c:pt>
                <c:pt idx="521">
                  <c:v>25.160335327897229</c:v>
                </c:pt>
                <c:pt idx="522">
                  <c:v>28.962583396399644</c:v>
                </c:pt>
                <c:pt idx="523">
                  <c:v>29.568522252236836</c:v>
                </c:pt>
                <c:pt idx="524">
                  <c:v>29.947652916087947</c:v>
                </c:pt>
                <c:pt idx="525">
                  <c:v>30.500689858662639</c:v>
                </c:pt>
                <c:pt idx="526">
                  <c:v>34.396901476136883</c:v>
                </c:pt>
                <c:pt idx="527">
                  <c:v>46.212223836183298</c:v>
                </c:pt>
                <c:pt idx="528">
                  <c:v>13.77403834474346</c:v>
                </c:pt>
                <c:pt idx="529">
                  <c:v>27.027253377986654</c:v>
                </c:pt>
                <c:pt idx="530">
                  <c:v>42.457118304621162</c:v>
                </c:pt>
                <c:pt idx="531">
                  <c:v>24.609657870499856</c:v>
                </c:pt>
                <c:pt idx="532">
                  <c:v>26.360409524692408</c:v>
                </c:pt>
                <c:pt idx="533">
                  <c:v>29.632975003644141</c:v>
                </c:pt>
                <c:pt idx="534">
                  <c:v>35.136389781828079</c:v>
                </c:pt>
                <c:pt idx="535">
                  <c:v>28.579587199163704</c:v>
                </c:pt>
                <c:pt idx="536">
                  <c:v>31.942618541736412</c:v>
                </c:pt>
                <c:pt idx="537">
                  <c:v>26.234238912319547</c:v>
                </c:pt>
                <c:pt idx="538">
                  <c:v>39.871358849937067</c:v>
                </c:pt>
                <c:pt idx="539">
                  <c:v>55.296830866144717</c:v>
                </c:pt>
                <c:pt idx="540">
                  <c:v>23.24220299655839</c:v>
                </c:pt>
                <c:pt idx="541">
                  <c:v>42.83392756481129</c:v>
                </c:pt>
                <c:pt idx="542">
                  <c:v>26.421981025921973</c:v>
                </c:pt>
                <c:pt idx="543">
                  <c:v>24.149908263716615</c:v>
                </c:pt>
                <c:pt idx="544">
                  <c:v>43.782561764665836</c:v>
                </c:pt>
                <c:pt idx="545">
                  <c:v>31.883404320970726</c:v>
                </c:pt>
                <c:pt idx="546">
                  <c:v>32.851718303783144</c:v>
                </c:pt>
                <c:pt idx="547">
                  <c:v>23.983825859123893</c:v>
                </c:pt>
                <c:pt idx="548">
                  <c:v>30.572527928309924</c:v>
                </c:pt>
                <c:pt idx="549">
                  <c:v>45.976477767752705</c:v>
                </c:pt>
                <c:pt idx="550">
                  <c:v>44.771552928206987</c:v>
                </c:pt>
                <c:pt idx="551">
                  <c:v>35.971325640914607</c:v>
                </c:pt>
                <c:pt idx="552">
                  <c:v>18.376713550673237</c:v>
                </c:pt>
                <c:pt idx="553">
                  <c:v>28.534006669980414</c:v>
                </c:pt>
                <c:pt idx="554">
                  <c:v>46.447531774976603</c:v>
                </c:pt>
                <c:pt idx="555">
                  <c:v>19.071030086656158</c:v>
                </c:pt>
                <c:pt idx="556">
                  <c:v>33.03820414482805</c:v>
                </c:pt>
                <c:pt idx="557">
                  <c:v>30.67950343404739</c:v>
                </c:pt>
                <c:pt idx="558">
                  <c:v>51.388784583106506</c:v>
                </c:pt>
                <c:pt idx="559">
                  <c:v>24.073685958861759</c:v>
                </c:pt>
                <c:pt idx="560">
                  <c:v>35.110090322584064</c:v>
                </c:pt>
                <c:pt idx="561">
                  <c:v>30.102358729500764</c:v>
                </c:pt>
                <c:pt idx="562">
                  <c:v>26.775768935340668</c:v>
                </c:pt>
                <c:pt idx="563">
                  <c:v>23.876900634750378</c:v>
                </c:pt>
                <c:pt idx="564">
                  <c:v>49.494362200888773</c:v>
                </c:pt>
                <c:pt idx="565">
                  <c:v>44.710669468051982</c:v>
                </c:pt>
                <c:pt idx="566">
                  <c:v>28.217222675377265</c:v>
                </c:pt>
                <c:pt idx="567">
                  <c:v>60.670292930473224</c:v>
                </c:pt>
                <c:pt idx="568">
                  <c:v>37.709369079992229</c:v>
                </c:pt>
                <c:pt idx="569">
                  <c:v>27.913661394808905</c:v>
                </c:pt>
                <c:pt idx="570">
                  <c:v>35.668255398922526</c:v>
                </c:pt>
                <c:pt idx="571">
                  <c:v>30.811278734210177</c:v>
                </c:pt>
                <c:pt idx="572">
                  <c:v>18.83378382098444</c:v>
                </c:pt>
                <c:pt idx="573">
                  <c:v>24.578459407199738</c:v>
                </c:pt>
                <c:pt idx="574">
                  <c:v>19.963952295734572</c:v>
                </c:pt>
                <c:pt idx="575">
                  <c:v>30.056945244398829</c:v>
                </c:pt>
                <c:pt idx="576">
                  <c:v>51.373910521988506</c:v>
                </c:pt>
                <c:pt idx="577">
                  <c:v>42.439197086642622</c:v>
                </c:pt>
                <c:pt idx="578">
                  <c:v>39.734609419266931</c:v>
                </c:pt>
                <c:pt idx="579">
                  <c:v>37.675382177279374</c:v>
                </c:pt>
                <c:pt idx="580">
                  <c:v>27.052943886865442</c:v>
                </c:pt>
                <c:pt idx="581">
                  <c:v>51.397179100395377</c:v>
                </c:pt>
                <c:pt idx="582">
                  <c:v>24.223987600706529</c:v>
                </c:pt>
                <c:pt idx="583">
                  <c:v>22.423380962402302</c:v>
                </c:pt>
                <c:pt idx="584">
                  <c:v>27.09546385971889</c:v>
                </c:pt>
                <c:pt idx="585">
                  <c:v>26.201920754454218</c:v>
                </c:pt>
                <c:pt idx="586">
                  <c:v>23.732454633429612</c:v>
                </c:pt>
                <c:pt idx="587">
                  <c:v>25.431653590143675</c:v>
                </c:pt>
                <c:pt idx="588">
                  <c:v>23.631054323557013</c:v>
                </c:pt>
                <c:pt idx="589">
                  <c:v>53.461381312422432</c:v>
                </c:pt>
                <c:pt idx="590">
                  <c:v>46.23013060763811</c:v>
                </c:pt>
                <c:pt idx="591">
                  <c:v>18.798180697812057</c:v>
                </c:pt>
                <c:pt idx="592">
                  <c:v>22.666543218291466</c:v>
                </c:pt>
                <c:pt idx="593">
                  <c:v>31.268348750342106</c:v>
                </c:pt>
                <c:pt idx="594">
                  <c:v>31.101158456709069</c:v>
                </c:pt>
                <c:pt idx="595">
                  <c:v>21.959836178976087</c:v>
                </c:pt>
                <c:pt idx="596">
                  <c:v>30.013445873903372</c:v>
                </c:pt>
                <c:pt idx="597">
                  <c:v>47.17736838227863</c:v>
                </c:pt>
                <c:pt idx="598">
                  <c:v>26.050358723450579</c:v>
                </c:pt>
                <c:pt idx="599">
                  <c:v>29.665893737069098</c:v>
                </c:pt>
                <c:pt idx="600">
                  <c:v>29.714667551407366</c:v>
                </c:pt>
                <c:pt idx="601">
                  <c:v>20.305088189353889</c:v>
                </c:pt>
                <c:pt idx="602">
                  <c:v>55.396512404682639</c:v>
                </c:pt>
                <c:pt idx="603">
                  <c:v>22.96913303391182</c:v>
                </c:pt>
                <c:pt idx="604">
                  <c:v>46.792871888537007</c:v>
                </c:pt>
                <c:pt idx="605">
                  <c:v>21.300272123781557</c:v>
                </c:pt>
                <c:pt idx="606">
                  <c:v>29.617823867089921</c:v>
                </c:pt>
                <c:pt idx="607">
                  <c:v>30.305360265577782</c:v>
                </c:pt>
                <c:pt idx="608">
                  <c:v>27.457870061433521</c:v>
                </c:pt>
                <c:pt idx="609">
                  <c:v>43.170223186652066</c:v>
                </c:pt>
                <c:pt idx="610">
                  <c:v>22.983744162877979</c:v>
                </c:pt>
                <c:pt idx="611">
                  <c:v>31.786555638508649</c:v>
                </c:pt>
                <c:pt idx="612">
                  <c:v>21.852266946710532</c:v>
                </c:pt>
                <c:pt idx="613">
                  <c:v>24.161215238020542</c:v>
                </c:pt>
                <c:pt idx="614">
                  <c:v>27.918116368009208</c:v>
                </c:pt>
                <c:pt idx="615">
                  <c:v>24.310857302631462</c:v>
                </c:pt>
                <c:pt idx="616">
                  <c:v>29.032018063891609</c:v>
                </c:pt>
                <c:pt idx="617">
                  <c:v>37.576122066946667</c:v>
                </c:pt>
                <c:pt idx="618">
                  <c:v>43.170830709831179</c:v>
                </c:pt>
                <c:pt idx="619">
                  <c:v>16.803533987942906</c:v>
                </c:pt>
                <c:pt idx="620">
                  <c:v>47.116910901556849</c:v>
                </c:pt>
                <c:pt idx="621">
                  <c:v>23.033988807721293</c:v>
                </c:pt>
                <c:pt idx="622">
                  <c:v>24.845851252114109</c:v>
                </c:pt>
                <c:pt idx="623">
                  <c:v>55.597070781851983</c:v>
                </c:pt>
                <c:pt idx="624">
                  <c:v>39.022806485127049</c:v>
                </c:pt>
                <c:pt idx="625">
                  <c:v>25.311847431101167</c:v>
                </c:pt>
                <c:pt idx="626">
                  <c:v>46.111683713860089</c:v>
                </c:pt>
                <c:pt idx="627">
                  <c:v>29.888283738616451</c:v>
                </c:pt>
                <c:pt idx="628">
                  <c:v>18.718244478014405</c:v>
                </c:pt>
                <c:pt idx="629">
                  <c:v>31.552874788834988</c:v>
                </c:pt>
                <c:pt idx="630">
                  <c:v>25.207820495224688</c:v>
                </c:pt>
                <c:pt idx="631">
                  <c:v>32.562875204930947</c:v>
                </c:pt>
                <c:pt idx="632">
                  <c:v>48.707412197126992</c:v>
                </c:pt>
                <c:pt idx="633">
                  <c:v>32.084195946354065</c:v>
                </c:pt>
                <c:pt idx="634">
                  <c:v>16.995727037525285</c:v>
                </c:pt>
                <c:pt idx="635">
                  <c:v>40.81845519471662</c:v>
                </c:pt>
                <c:pt idx="636">
                  <c:v>59.306337527265008</c:v>
                </c:pt>
                <c:pt idx="637">
                  <c:v>43.847086093320911</c:v>
                </c:pt>
                <c:pt idx="638">
                  <c:v>40.83067193484851</c:v>
                </c:pt>
                <c:pt idx="639">
                  <c:v>33.282004676258381</c:v>
                </c:pt>
                <c:pt idx="640">
                  <c:v>31.630253872347172</c:v>
                </c:pt>
                <c:pt idx="641">
                  <c:v>20.517079402962786</c:v>
                </c:pt>
                <c:pt idx="642">
                  <c:v>57.490756977001077</c:v>
                </c:pt>
                <c:pt idx="643">
                  <c:v>51.352519830253293</c:v>
                </c:pt>
                <c:pt idx="644">
                  <c:v>30.120326861009559</c:v>
                </c:pt>
                <c:pt idx="645">
                  <c:v>23.771673084360895</c:v>
                </c:pt>
                <c:pt idx="646">
                  <c:v>32.96428011792166</c:v>
                </c:pt>
                <c:pt idx="647">
                  <c:v>45.09934329904555</c:v>
                </c:pt>
                <c:pt idx="648">
                  <c:v>19.524159376846001</c:v>
                </c:pt>
                <c:pt idx="649">
                  <c:v>22.884342731166093</c:v>
                </c:pt>
                <c:pt idx="650">
                  <c:v>41.773235042525656</c:v>
                </c:pt>
                <c:pt idx="651">
                  <c:v>21.412142932696991</c:v>
                </c:pt>
                <c:pt idx="652">
                  <c:v>28.43322453924862</c:v>
                </c:pt>
                <c:pt idx="653">
                  <c:v>23.821324321868602</c:v>
                </c:pt>
                <c:pt idx="654">
                  <c:v>32.401927761853408</c:v>
                </c:pt>
                <c:pt idx="655">
                  <c:v>15.059669592814529</c:v>
                </c:pt>
                <c:pt idx="656">
                  <c:v>42.216915883367029</c:v>
                </c:pt>
                <c:pt idx="657">
                  <c:v>52.744705427082963</c:v>
                </c:pt>
                <c:pt idx="658">
                  <c:v>59.749980920030495</c:v>
                </c:pt>
                <c:pt idx="659">
                  <c:v>54.394228793313218</c:v>
                </c:pt>
                <c:pt idx="660">
                  <c:v>44.154674582339297</c:v>
                </c:pt>
                <c:pt idx="661">
                  <c:v>27.195778611280769</c:v>
                </c:pt>
                <c:pt idx="662">
                  <c:v>35.118271560321354</c:v>
                </c:pt>
                <c:pt idx="663">
                  <c:v>22.232013685533634</c:v>
                </c:pt>
                <c:pt idx="664">
                  <c:v>22.870632156861671</c:v>
                </c:pt>
                <c:pt idx="665">
                  <c:v>25.639037913401221</c:v>
                </c:pt>
                <c:pt idx="666">
                  <c:v>27.591828959078441</c:v>
                </c:pt>
                <c:pt idx="667">
                  <c:v>28.108018567718883</c:v>
                </c:pt>
                <c:pt idx="668">
                  <c:v>38.758448451760451</c:v>
                </c:pt>
                <c:pt idx="669">
                  <c:v>49.997750934832069</c:v>
                </c:pt>
                <c:pt idx="670">
                  <c:v>47.042087792236636</c:v>
                </c:pt>
                <c:pt idx="671">
                  <c:v>33.514330102948762</c:v>
                </c:pt>
                <c:pt idx="672">
                  <c:v>42.684909485569385</c:v>
                </c:pt>
                <c:pt idx="673">
                  <c:v>21.008464829642797</c:v>
                </c:pt>
                <c:pt idx="674">
                  <c:v>28.151006919130854</c:v>
                </c:pt>
                <c:pt idx="675">
                  <c:v>20.04892507371278</c:v>
                </c:pt>
                <c:pt idx="676">
                  <c:v>47.379067624798054</c:v>
                </c:pt>
                <c:pt idx="677">
                  <c:v>35.811274867145769</c:v>
                </c:pt>
                <c:pt idx="678">
                  <c:v>39.52301161789272</c:v>
                </c:pt>
                <c:pt idx="679">
                  <c:v>31.407377666982395</c:v>
                </c:pt>
                <c:pt idx="680">
                  <c:v>33.664534650891561</c:v>
                </c:pt>
                <c:pt idx="681">
                  <c:v>28.958197894043227</c:v>
                </c:pt>
                <c:pt idx="682">
                  <c:v>30.0174852451158</c:v>
                </c:pt>
                <c:pt idx="683">
                  <c:v>26.889565763738766</c:v>
                </c:pt>
                <c:pt idx="684">
                  <c:v>29.389230533847282</c:v>
                </c:pt>
                <c:pt idx="685">
                  <c:v>50.612679234579389</c:v>
                </c:pt>
                <c:pt idx="686">
                  <c:v>27.017236711060011</c:v>
                </c:pt>
                <c:pt idx="687">
                  <c:v>26.798510576908232</c:v>
                </c:pt>
                <c:pt idx="688">
                  <c:v>25.576539982058264</c:v>
                </c:pt>
                <c:pt idx="689">
                  <c:v>31.198264844191179</c:v>
                </c:pt>
                <c:pt idx="690">
                  <c:v>46.851993599405716</c:v>
                </c:pt>
                <c:pt idx="691">
                  <c:v>28.202588589246467</c:v>
                </c:pt>
                <c:pt idx="692">
                  <c:v>22.83544603793278</c:v>
                </c:pt>
                <c:pt idx="693">
                  <c:v>32.48894581199346</c:v>
                </c:pt>
                <c:pt idx="694">
                  <c:v>20.287355398136128</c:v>
                </c:pt>
                <c:pt idx="695">
                  <c:v>23.4895664404591</c:v>
                </c:pt>
                <c:pt idx="696">
                  <c:v>26.367167254125082</c:v>
                </c:pt>
                <c:pt idx="697">
                  <c:v>28.614958979074835</c:v>
                </c:pt>
                <c:pt idx="698">
                  <c:v>49.48913533782153</c:v>
                </c:pt>
                <c:pt idx="699">
                  <c:v>24.62662602013615</c:v>
                </c:pt>
                <c:pt idx="700">
                  <c:v>47.320259224011529</c:v>
                </c:pt>
                <c:pt idx="701">
                  <c:v>29.981955349828382</c:v>
                </c:pt>
                <c:pt idx="702">
                  <c:v>46.011016658676155</c:v>
                </c:pt>
                <c:pt idx="703">
                  <c:v>29.461539993271618</c:v>
                </c:pt>
                <c:pt idx="704">
                  <c:v>32.164485863773905</c:v>
                </c:pt>
                <c:pt idx="705">
                  <c:v>48.500900359442866</c:v>
                </c:pt>
                <c:pt idx="706">
                  <c:v>24.819622184813312</c:v>
                </c:pt>
                <c:pt idx="707">
                  <c:v>26.945785870627489</c:v>
                </c:pt>
                <c:pt idx="708">
                  <c:v>27.88090879268821</c:v>
                </c:pt>
                <c:pt idx="709">
                  <c:v>36.55851863762161</c:v>
                </c:pt>
                <c:pt idx="710">
                  <c:v>36.398928363302566</c:v>
                </c:pt>
                <c:pt idx="711">
                  <c:v>26.435563043208127</c:v>
                </c:pt>
                <c:pt idx="712">
                  <c:v>32.526420656234563</c:v>
                </c:pt>
                <c:pt idx="713">
                  <c:v>20.233912849598966</c:v>
                </c:pt>
                <c:pt idx="714">
                  <c:v>26.989778772530642</c:v>
                </c:pt>
                <c:pt idx="715">
                  <c:v>26.389954741265171</c:v>
                </c:pt>
                <c:pt idx="716">
                  <c:v>27.062451678379929</c:v>
                </c:pt>
                <c:pt idx="717">
                  <c:v>22.567459520434618</c:v>
                </c:pt>
                <c:pt idx="718">
                  <c:v>25.751919765787083</c:v>
                </c:pt>
                <c:pt idx="719">
                  <c:v>28.279269706628629</c:v>
                </c:pt>
                <c:pt idx="720">
                  <c:v>31.801470044960951</c:v>
                </c:pt>
                <c:pt idx="721">
                  <c:v>20.136817316636364</c:v>
                </c:pt>
                <c:pt idx="722">
                  <c:v>38.076104662456139</c:v>
                </c:pt>
                <c:pt idx="723">
                  <c:v>31.98314168309615</c:v>
                </c:pt>
                <c:pt idx="724">
                  <c:v>29.5894031142161</c:v>
                </c:pt>
                <c:pt idx="725">
                  <c:v>21.751166627911235</c:v>
                </c:pt>
                <c:pt idx="726">
                  <c:v>29.701605648529465</c:v>
                </c:pt>
                <c:pt idx="727">
                  <c:v>34.807051485246028</c:v>
                </c:pt>
                <c:pt idx="728">
                  <c:v>29.670080796337153</c:v>
                </c:pt>
                <c:pt idx="729">
                  <c:v>31.067361430957551</c:v>
                </c:pt>
                <c:pt idx="730">
                  <c:v>20.103696233669552</c:v>
                </c:pt>
                <c:pt idx="731">
                  <c:v>24.871336743738354</c:v>
                </c:pt>
                <c:pt idx="732">
                  <c:v>23.405359044562218</c:v>
                </c:pt>
                <c:pt idx="733">
                  <c:v>24.448877343918593</c:v>
                </c:pt>
                <c:pt idx="734">
                  <c:v>45.551893886976558</c:v>
                </c:pt>
                <c:pt idx="735">
                  <c:v>24.592936574551885</c:v>
                </c:pt>
                <c:pt idx="736">
                  <c:v>27.311075253312872</c:v>
                </c:pt>
                <c:pt idx="737">
                  <c:v>35.539408216167196</c:v>
                </c:pt>
                <c:pt idx="738">
                  <c:v>23.390022817470246</c:v>
                </c:pt>
                <c:pt idx="739">
                  <c:v>25.305498134301065</c:v>
                </c:pt>
                <c:pt idx="740">
                  <c:v>37.616831385841778</c:v>
                </c:pt>
                <c:pt idx="741">
                  <c:v>35.286240248984001</c:v>
                </c:pt>
                <c:pt idx="742">
                  <c:v>28.517408995331948</c:v>
                </c:pt>
                <c:pt idx="743">
                  <c:v>28.316068018013134</c:v>
                </c:pt>
                <c:pt idx="744">
                  <c:v>28.00792891743124</c:v>
                </c:pt>
                <c:pt idx="745">
                  <c:v>39.171820953970894</c:v>
                </c:pt>
                <c:pt idx="746">
                  <c:v>43.755628650353131</c:v>
                </c:pt>
                <c:pt idx="747">
                  <c:v>21.890897312732328</c:v>
                </c:pt>
                <c:pt idx="748">
                  <c:v>31.16987868975405</c:v>
                </c:pt>
                <c:pt idx="749">
                  <c:v>27.51362138449824</c:v>
                </c:pt>
                <c:pt idx="750">
                  <c:v>25.844128698101173</c:v>
                </c:pt>
                <c:pt idx="751">
                  <c:v>15.354800744505432</c:v>
                </c:pt>
                <c:pt idx="752">
                  <c:v>53.528602439315932</c:v>
                </c:pt>
                <c:pt idx="753">
                  <c:v>28.786739388835947</c:v>
                </c:pt>
                <c:pt idx="754">
                  <c:v>30.907483301555914</c:v>
                </c:pt>
                <c:pt idx="755">
                  <c:v>26.749152035948338</c:v>
                </c:pt>
                <c:pt idx="756">
                  <c:v>37.869484351506728</c:v>
                </c:pt>
                <c:pt idx="757">
                  <c:v>19.772378914142244</c:v>
                </c:pt>
                <c:pt idx="758">
                  <c:v>30.768999633343817</c:v>
                </c:pt>
                <c:pt idx="759">
                  <c:v>26.486032232185316</c:v>
                </c:pt>
                <c:pt idx="760">
                  <c:v>42.944599863927401</c:v>
                </c:pt>
                <c:pt idx="761">
                  <c:v>23.399127840111749</c:v>
                </c:pt>
                <c:pt idx="762">
                  <c:v>19.778869937203055</c:v>
                </c:pt>
                <c:pt idx="763">
                  <c:v>25.913062811850473</c:v>
                </c:pt>
                <c:pt idx="764">
                  <c:v>44.077081471001712</c:v>
                </c:pt>
                <c:pt idx="765">
                  <c:v>31.995827281407287</c:v>
                </c:pt>
                <c:pt idx="766">
                  <c:v>25.252362534911271</c:v>
                </c:pt>
                <c:pt idx="767">
                  <c:v>47.535227507081594</c:v>
                </c:pt>
                <c:pt idx="768">
                  <c:v>20.692392022538655</c:v>
                </c:pt>
                <c:pt idx="769">
                  <c:v>22.020443227792835</c:v>
                </c:pt>
                <c:pt idx="770">
                  <c:v>30.340834578272215</c:v>
                </c:pt>
                <c:pt idx="771">
                  <c:v>51.443058292624109</c:v>
                </c:pt>
                <c:pt idx="772">
                  <c:v>32.507983040065213</c:v>
                </c:pt>
                <c:pt idx="773">
                  <c:v>35.331255348243126</c:v>
                </c:pt>
                <c:pt idx="774">
                  <c:v>32.571523060079272</c:v>
                </c:pt>
                <c:pt idx="775">
                  <c:v>29.36579102409711</c:v>
                </c:pt>
                <c:pt idx="776">
                  <c:v>52.113972687886587</c:v>
                </c:pt>
                <c:pt idx="777">
                  <c:v>25.448826793225717</c:v>
                </c:pt>
                <c:pt idx="778">
                  <c:v>25.436061699567681</c:v>
                </c:pt>
                <c:pt idx="779">
                  <c:v>25.348600245987537</c:v>
                </c:pt>
                <c:pt idx="780">
                  <c:v>29.608049088974692</c:v>
                </c:pt>
                <c:pt idx="781">
                  <c:v>47.743700966384573</c:v>
                </c:pt>
                <c:pt idx="782">
                  <c:v>52.499639710671097</c:v>
                </c:pt>
                <c:pt idx="783">
                  <c:v>42.97952817468564</c:v>
                </c:pt>
                <c:pt idx="784">
                  <c:v>56.931108941574649</c:v>
                </c:pt>
                <c:pt idx="785">
                  <c:v>18.134290857796096</c:v>
                </c:pt>
                <c:pt idx="786">
                  <c:v>22.274996634136414</c:v>
                </c:pt>
                <c:pt idx="787">
                  <c:v>26.842126141359543</c:v>
                </c:pt>
                <c:pt idx="788">
                  <c:v>28.707668151604814</c:v>
                </c:pt>
                <c:pt idx="789">
                  <c:v>25.058484262616211</c:v>
                </c:pt>
                <c:pt idx="790">
                  <c:v>27.669278669964442</c:v>
                </c:pt>
                <c:pt idx="791">
                  <c:v>20.527602158206498</c:v>
                </c:pt>
                <c:pt idx="792">
                  <c:v>21.366267172508699</c:v>
                </c:pt>
                <c:pt idx="793">
                  <c:v>24.771663349376265</c:v>
                </c:pt>
                <c:pt idx="794">
                  <c:v>26.563434967560223</c:v>
                </c:pt>
                <c:pt idx="795">
                  <c:v>38.5913347447067</c:v>
                </c:pt>
                <c:pt idx="796">
                  <c:v>32.071977066117206</c:v>
                </c:pt>
                <c:pt idx="797">
                  <c:v>25.646930014906452</c:v>
                </c:pt>
                <c:pt idx="798">
                  <c:v>37.763024628500339</c:v>
                </c:pt>
                <c:pt idx="799">
                  <c:v>28.43323331843354</c:v>
                </c:pt>
                <c:pt idx="800">
                  <c:v>39.338356316100473</c:v>
                </c:pt>
                <c:pt idx="801">
                  <c:v>18.402374109954145</c:v>
                </c:pt>
                <c:pt idx="802">
                  <c:v>29.948264304659304</c:v>
                </c:pt>
                <c:pt idx="803">
                  <c:v>31.036589269302063</c:v>
                </c:pt>
                <c:pt idx="804">
                  <c:v>20.808127723602361</c:v>
                </c:pt>
                <c:pt idx="805">
                  <c:v>31.146010629389533</c:v>
                </c:pt>
                <c:pt idx="806">
                  <c:v>31.637148189153525</c:v>
                </c:pt>
                <c:pt idx="807">
                  <c:v>31.093923238233636</c:v>
                </c:pt>
                <c:pt idx="808">
                  <c:v>38.096426737342462</c:v>
                </c:pt>
                <c:pt idx="809">
                  <c:v>31.635620974636705</c:v>
                </c:pt>
                <c:pt idx="810">
                  <c:v>50.529155325834957</c:v>
                </c:pt>
                <c:pt idx="811">
                  <c:v>25.351937029368198</c:v>
                </c:pt>
                <c:pt idx="812">
                  <c:v>17.016048476863475</c:v>
                </c:pt>
                <c:pt idx="813">
                  <c:v>26.840481566374862</c:v>
                </c:pt>
                <c:pt idx="814">
                  <c:v>27.457641603203037</c:v>
                </c:pt>
                <c:pt idx="815">
                  <c:v>20.413845783588791</c:v>
                </c:pt>
                <c:pt idx="816">
                  <c:v>23.748294017268698</c:v>
                </c:pt>
                <c:pt idx="817">
                  <c:v>38.988914697364422</c:v>
                </c:pt>
                <c:pt idx="818">
                  <c:v>19.858413113807245</c:v>
                </c:pt>
                <c:pt idx="819">
                  <c:v>25.596446074514834</c:v>
                </c:pt>
                <c:pt idx="820">
                  <c:v>29.419801021126091</c:v>
                </c:pt>
                <c:pt idx="821">
                  <c:v>47.290289721945683</c:v>
                </c:pt>
                <c:pt idx="822">
                  <c:v>37.386595639360372</c:v>
                </c:pt>
                <c:pt idx="823">
                  <c:v>32.360177144657001</c:v>
                </c:pt>
                <c:pt idx="824">
                  <c:v>21.941894460166893</c:v>
                </c:pt>
                <c:pt idx="825">
                  <c:v>28.261662062937109</c:v>
                </c:pt>
                <c:pt idx="826">
                  <c:v>30.812224468478028</c:v>
                </c:pt>
                <c:pt idx="827">
                  <c:v>25.480285055821774</c:v>
                </c:pt>
                <c:pt idx="828">
                  <c:v>35.548393261535082</c:v>
                </c:pt>
                <c:pt idx="829">
                  <c:v>48.377152577333348</c:v>
                </c:pt>
                <c:pt idx="830">
                  <c:v>23.338254855559363</c:v>
                </c:pt>
                <c:pt idx="831">
                  <c:v>26.520717962188165</c:v>
                </c:pt>
                <c:pt idx="832">
                  <c:v>29.270002061610576</c:v>
                </c:pt>
                <c:pt idx="833">
                  <c:v>52.455059508175736</c:v>
                </c:pt>
                <c:pt idx="834">
                  <c:v>24.156280574650964</c:v>
                </c:pt>
                <c:pt idx="835">
                  <c:v>41.10742155519609</c:v>
                </c:pt>
                <c:pt idx="836">
                  <c:v>25.094870707611154</c:v>
                </c:pt>
                <c:pt idx="837">
                  <c:v>30.889845071821561</c:v>
                </c:pt>
                <c:pt idx="838">
                  <c:v>48.340413412344219</c:v>
                </c:pt>
                <c:pt idx="839">
                  <c:v>32.400774195827402</c:v>
                </c:pt>
                <c:pt idx="840">
                  <c:v>64.751190497238952</c:v>
                </c:pt>
                <c:pt idx="841">
                  <c:v>30.953850198836182</c:v>
                </c:pt>
                <c:pt idx="842">
                  <c:v>27.655125548626355</c:v>
                </c:pt>
                <c:pt idx="843">
                  <c:v>50.650945841378572</c:v>
                </c:pt>
                <c:pt idx="844">
                  <c:v>24.07066946033294</c:v>
                </c:pt>
                <c:pt idx="845">
                  <c:v>31.841128373876103</c:v>
                </c:pt>
                <c:pt idx="846">
                  <c:v>24.845169958015838</c:v>
                </c:pt>
                <c:pt idx="847">
                  <c:v>22.258551997315791</c:v>
                </c:pt>
                <c:pt idx="848">
                  <c:v>53.297465280738642</c:v>
                </c:pt>
                <c:pt idx="849">
                  <c:v>57.670435359438677</c:v>
                </c:pt>
                <c:pt idx="850">
                  <c:v>42.662040378660798</c:v>
                </c:pt>
                <c:pt idx="851">
                  <c:v>30.860637867592303</c:v>
                </c:pt>
                <c:pt idx="852">
                  <c:v>22.392663790140897</c:v>
                </c:pt>
                <c:pt idx="853">
                  <c:v>22.391276119152515</c:v>
                </c:pt>
                <c:pt idx="854">
                  <c:v>22.173014273847858</c:v>
                </c:pt>
                <c:pt idx="855">
                  <c:v>30.521946902470372</c:v>
                </c:pt>
                <c:pt idx="856">
                  <c:v>27.378099062261072</c:v>
                </c:pt>
                <c:pt idx="857">
                  <c:v>26.245921859951107</c:v>
                </c:pt>
                <c:pt idx="858">
                  <c:v>46.384229419828955</c:v>
                </c:pt>
                <c:pt idx="859">
                  <c:v>23.764310479206092</c:v>
                </c:pt>
                <c:pt idx="860">
                  <c:v>22.976151645727239</c:v>
                </c:pt>
                <c:pt idx="861">
                  <c:v>39.563370497728435</c:v>
                </c:pt>
                <c:pt idx="862">
                  <c:v>28.767789654718616</c:v>
                </c:pt>
                <c:pt idx="863">
                  <c:v>28.620378425322013</c:v>
                </c:pt>
                <c:pt idx="864">
                  <c:v>58.923999229773145</c:v>
                </c:pt>
                <c:pt idx="865">
                  <c:v>29.293030965389214</c:v>
                </c:pt>
                <c:pt idx="866">
                  <c:v>32.90047996509513</c:v>
                </c:pt>
                <c:pt idx="867">
                  <c:v>37.005132691050854</c:v>
                </c:pt>
                <c:pt idx="868">
                  <c:v>42.485912753247902</c:v>
                </c:pt>
                <c:pt idx="869">
                  <c:v>19.527521669526305</c:v>
                </c:pt>
                <c:pt idx="870">
                  <c:v>32.341360655547078</c:v>
                </c:pt>
                <c:pt idx="871">
                  <c:v>25.092388202258476</c:v>
                </c:pt>
                <c:pt idx="872">
                  <c:v>26.315605663844856</c:v>
                </c:pt>
                <c:pt idx="873">
                  <c:v>54.006554092386928</c:v>
                </c:pt>
                <c:pt idx="874">
                  <c:v>29.593211152316535</c:v>
                </c:pt>
                <c:pt idx="875">
                  <c:v>32.58821109706291</c:v>
                </c:pt>
                <c:pt idx="876">
                  <c:v>46.752940006511835</c:v>
                </c:pt>
                <c:pt idx="877">
                  <c:v>51.371172934184514</c:v>
                </c:pt>
                <c:pt idx="878">
                  <c:v>30.32776194835504</c:v>
                </c:pt>
                <c:pt idx="879">
                  <c:v>26.023283659129877</c:v>
                </c:pt>
                <c:pt idx="880">
                  <c:v>26.477100302996387</c:v>
                </c:pt>
                <c:pt idx="881">
                  <c:v>23.082853163571045</c:v>
                </c:pt>
                <c:pt idx="882">
                  <c:v>21.289535484549006</c:v>
                </c:pt>
                <c:pt idx="883">
                  <c:v>29.618747022432103</c:v>
                </c:pt>
                <c:pt idx="884">
                  <c:v>43.706640353248957</c:v>
                </c:pt>
                <c:pt idx="885">
                  <c:v>26.965131671350225</c:v>
                </c:pt>
                <c:pt idx="886">
                  <c:v>19.210632244925243</c:v>
                </c:pt>
                <c:pt idx="887">
                  <c:v>33.966435048312405</c:v>
                </c:pt>
                <c:pt idx="888">
                  <c:v>41.11390339962275</c:v>
                </c:pt>
                <c:pt idx="889">
                  <c:v>27.82260783474656</c:v>
                </c:pt>
                <c:pt idx="890">
                  <c:v>43.330482216669509</c:v>
                </c:pt>
                <c:pt idx="891">
                  <c:v>44.191388749074612</c:v>
                </c:pt>
                <c:pt idx="892">
                  <c:v>43.75596978192624</c:v>
                </c:pt>
                <c:pt idx="893">
                  <c:v>21.904084670088885</c:v>
                </c:pt>
                <c:pt idx="894">
                  <c:v>32.649349920861077</c:v>
                </c:pt>
                <c:pt idx="895">
                  <c:v>24.272322110359589</c:v>
                </c:pt>
                <c:pt idx="896">
                  <c:v>20.48722801142139</c:v>
                </c:pt>
                <c:pt idx="897">
                  <c:v>31.389160655579531</c:v>
                </c:pt>
                <c:pt idx="898">
                  <c:v>67.558091703852412</c:v>
                </c:pt>
                <c:pt idx="899">
                  <c:v>21.939747924275522</c:v>
                </c:pt>
                <c:pt idx="900">
                  <c:v>37.604666049877977</c:v>
                </c:pt>
                <c:pt idx="901">
                  <c:v>36.082180898686133</c:v>
                </c:pt>
                <c:pt idx="902">
                  <c:v>21.030109202022501</c:v>
                </c:pt>
                <c:pt idx="903">
                  <c:v>25.619311427381852</c:v>
                </c:pt>
                <c:pt idx="904">
                  <c:v>36.850128595974212</c:v>
                </c:pt>
                <c:pt idx="905">
                  <c:v>32.889302157029071</c:v>
                </c:pt>
                <c:pt idx="906">
                  <c:v>33.35764764894747</c:v>
                </c:pt>
                <c:pt idx="907">
                  <c:v>26.339504239897742</c:v>
                </c:pt>
                <c:pt idx="908">
                  <c:v>27.082076685762097</c:v>
                </c:pt>
                <c:pt idx="909">
                  <c:v>30.951849686313402</c:v>
                </c:pt>
                <c:pt idx="910">
                  <c:v>36.008214394267839</c:v>
                </c:pt>
                <c:pt idx="911">
                  <c:v>23.002474100234362</c:v>
                </c:pt>
                <c:pt idx="912">
                  <c:v>30.139837810356596</c:v>
                </c:pt>
                <c:pt idx="913">
                  <c:v>30.615565629649655</c:v>
                </c:pt>
                <c:pt idx="914">
                  <c:v>27.306394336451646</c:v>
                </c:pt>
                <c:pt idx="915">
                  <c:v>35.547098788820726</c:v>
                </c:pt>
                <c:pt idx="916">
                  <c:v>24.108729341020496</c:v>
                </c:pt>
                <c:pt idx="917">
                  <c:v>51.165637165349395</c:v>
                </c:pt>
                <c:pt idx="918">
                  <c:v>29.491419290473722</c:v>
                </c:pt>
                <c:pt idx="919">
                  <c:v>53.141924049902372</c:v>
                </c:pt>
                <c:pt idx="920">
                  <c:v>16.380687338168233</c:v>
                </c:pt>
                <c:pt idx="921">
                  <c:v>24.636842595672679</c:v>
                </c:pt>
                <c:pt idx="922">
                  <c:v>31.949531457341728</c:v>
                </c:pt>
                <c:pt idx="923">
                  <c:v>28.446348120976467</c:v>
                </c:pt>
                <c:pt idx="924">
                  <c:v>24.055664079039133</c:v>
                </c:pt>
                <c:pt idx="925">
                  <c:v>31.38144662461405</c:v>
                </c:pt>
                <c:pt idx="926">
                  <c:v>27.486677621153692</c:v>
                </c:pt>
                <c:pt idx="927">
                  <c:v>28.075954331035796</c:v>
                </c:pt>
                <c:pt idx="928">
                  <c:v>30.718822824511648</c:v>
                </c:pt>
                <c:pt idx="929">
                  <c:v>52.827894673840866</c:v>
                </c:pt>
                <c:pt idx="930">
                  <c:v>39.188578895882046</c:v>
                </c:pt>
                <c:pt idx="931">
                  <c:v>27.17250104060254</c:v>
                </c:pt>
                <c:pt idx="932">
                  <c:v>31.63810184155362</c:v>
                </c:pt>
                <c:pt idx="933">
                  <c:v>43.333578414985006</c:v>
                </c:pt>
                <c:pt idx="934">
                  <c:v>28.260065057200801</c:v>
                </c:pt>
                <c:pt idx="935">
                  <c:v>38.188455089021929</c:v>
                </c:pt>
                <c:pt idx="936">
                  <c:v>30.315921703169408</c:v>
                </c:pt>
                <c:pt idx="937">
                  <c:v>25.661809685825915</c:v>
                </c:pt>
                <c:pt idx="938">
                  <c:v>28.869270601473058</c:v>
                </c:pt>
                <c:pt idx="939">
                  <c:v>25.67220482034773</c:v>
                </c:pt>
                <c:pt idx="940">
                  <c:v>48.247132012470011</c:v>
                </c:pt>
                <c:pt idx="941">
                  <c:v>31.299232630131968</c:v>
                </c:pt>
                <c:pt idx="942">
                  <c:v>44.526091813330616</c:v>
                </c:pt>
                <c:pt idx="943">
                  <c:v>42.712074198682963</c:v>
                </c:pt>
                <c:pt idx="944">
                  <c:v>25.453544143163754</c:v>
                </c:pt>
                <c:pt idx="945">
                  <c:v>28.434216085471096</c:v>
                </c:pt>
                <c:pt idx="946">
                  <c:v>25.620535808246423</c:v>
                </c:pt>
                <c:pt idx="947">
                  <c:v>29.995395704738176</c:v>
                </c:pt>
                <c:pt idx="948">
                  <c:v>31.526154146122032</c:v>
                </c:pt>
                <c:pt idx="949">
                  <c:v>27.933637619260587</c:v>
                </c:pt>
                <c:pt idx="950">
                  <c:v>44.240386672503789</c:v>
                </c:pt>
                <c:pt idx="951">
                  <c:v>23.336625083983616</c:v>
                </c:pt>
                <c:pt idx="952">
                  <c:v>43.888024837038138</c:v>
                </c:pt>
                <c:pt idx="953">
                  <c:v>35.349720722660265</c:v>
                </c:pt>
                <c:pt idx="954">
                  <c:v>27.279497344217145</c:v>
                </c:pt>
                <c:pt idx="955">
                  <c:v>26.099116090230542</c:v>
                </c:pt>
                <c:pt idx="956">
                  <c:v>44.721547596882871</c:v>
                </c:pt>
                <c:pt idx="957">
                  <c:v>44.759169300413504</c:v>
                </c:pt>
                <c:pt idx="958">
                  <c:v>26.647505163951866</c:v>
                </c:pt>
                <c:pt idx="959">
                  <c:v>20.294469860970189</c:v>
                </c:pt>
                <c:pt idx="960">
                  <c:v>24.462325552884849</c:v>
                </c:pt>
                <c:pt idx="961">
                  <c:v>39.137048685969944</c:v>
                </c:pt>
                <c:pt idx="962">
                  <c:v>25.438695808170149</c:v>
                </c:pt>
                <c:pt idx="963">
                  <c:v>21.613882829625741</c:v>
                </c:pt>
                <c:pt idx="964">
                  <c:v>37.856147186631695</c:v>
                </c:pt>
                <c:pt idx="965">
                  <c:v>29.349751128648929</c:v>
                </c:pt>
                <c:pt idx="966">
                  <c:v>24.521949843841462</c:v>
                </c:pt>
                <c:pt idx="967">
                  <c:v>30.294233261501759</c:v>
                </c:pt>
                <c:pt idx="968">
                  <c:v>35.959887476150946</c:v>
                </c:pt>
                <c:pt idx="969">
                  <c:v>28.501664716262329</c:v>
                </c:pt>
                <c:pt idx="970">
                  <c:v>37.671482054230808</c:v>
                </c:pt>
                <c:pt idx="971">
                  <c:v>33.816768314567696</c:v>
                </c:pt>
                <c:pt idx="972">
                  <c:v>32.904398955714612</c:v>
                </c:pt>
                <c:pt idx="973">
                  <c:v>28.116090757167076</c:v>
                </c:pt>
                <c:pt idx="974">
                  <c:v>44.189999112400905</c:v>
                </c:pt>
                <c:pt idx="975">
                  <c:v>43.734226889820476</c:v>
                </c:pt>
                <c:pt idx="976">
                  <c:v>29.488281580055578</c:v>
                </c:pt>
                <c:pt idx="977">
                  <c:v>21.146427655976211</c:v>
                </c:pt>
                <c:pt idx="978">
                  <c:v>50.821472180767685</c:v>
                </c:pt>
                <c:pt idx="979">
                  <c:v>49.898030395650387</c:v>
                </c:pt>
                <c:pt idx="980">
                  <c:v>27.694464125162245</c:v>
                </c:pt>
                <c:pt idx="981">
                  <c:v>46.206319354469905</c:v>
                </c:pt>
                <c:pt idx="982">
                  <c:v>31.377832019454122</c:v>
                </c:pt>
                <c:pt idx="983">
                  <c:v>33.910587999897665</c:v>
                </c:pt>
                <c:pt idx="984">
                  <c:v>21.200997955998112</c:v>
                </c:pt>
                <c:pt idx="985">
                  <c:v>22.046118629216103</c:v>
                </c:pt>
                <c:pt idx="986">
                  <c:v>29.310661099021242</c:v>
                </c:pt>
                <c:pt idx="987">
                  <c:v>21.853992772272633</c:v>
                </c:pt>
                <c:pt idx="988">
                  <c:v>32.563358900058169</c:v>
                </c:pt>
                <c:pt idx="989">
                  <c:v>25.024780445421353</c:v>
                </c:pt>
                <c:pt idx="990">
                  <c:v>33.632340288111777</c:v>
                </c:pt>
                <c:pt idx="991">
                  <c:v>27.198934750784666</c:v>
                </c:pt>
                <c:pt idx="992">
                  <c:v>54.732555024449404</c:v>
                </c:pt>
                <c:pt idx="993">
                  <c:v>26.330564306065746</c:v>
                </c:pt>
                <c:pt idx="994">
                  <c:v>38.645738468496248</c:v>
                </c:pt>
                <c:pt idx="995">
                  <c:v>45.220006213263822</c:v>
                </c:pt>
                <c:pt idx="996">
                  <c:v>36.380773870152915</c:v>
                </c:pt>
                <c:pt idx="997">
                  <c:v>28.406680661808245</c:v>
                </c:pt>
                <c:pt idx="998">
                  <c:v>26.16244770307113</c:v>
                </c:pt>
                <c:pt idx="999">
                  <c:v>21.761113241376862</c:v>
                </c:pt>
                <c:pt idx="1000">
                  <c:v>31.817450477507702</c:v>
                </c:pt>
                <c:pt idx="1001">
                  <c:v>27.559718249942463</c:v>
                </c:pt>
                <c:pt idx="1002">
                  <c:v>44.582581124049042</c:v>
                </c:pt>
                <c:pt idx="1003">
                  <c:v>47.318310420141458</c:v>
                </c:pt>
                <c:pt idx="1004">
                  <c:v>22.018050164796943</c:v>
                </c:pt>
                <c:pt idx="1005">
                  <c:v>24.264588786774116</c:v>
                </c:pt>
                <c:pt idx="1006">
                  <c:v>40.228215205280748</c:v>
                </c:pt>
                <c:pt idx="1007">
                  <c:v>23.677965473023349</c:v>
                </c:pt>
                <c:pt idx="1008">
                  <c:v>35.638892195898435</c:v>
                </c:pt>
                <c:pt idx="1009">
                  <c:v>27.775696612858955</c:v>
                </c:pt>
                <c:pt idx="1010">
                  <c:v>32.56095157312761</c:v>
                </c:pt>
                <c:pt idx="1011">
                  <c:v>28.05355235702838</c:v>
                </c:pt>
                <c:pt idx="1012">
                  <c:v>27.272333660858866</c:v>
                </c:pt>
                <c:pt idx="1013">
                  <c:v>20.982328929412361</c:v>
                </c:pt>
                <c:pt idx="1014">
                  <c:v>26.551635941482711</c:v>
                </c:pt>
                <c:pt idx="1015">
                  <c:v>32.49354521582886</c:v>
                </c:pt>
                <c:pt idx="1016">
                  <c:v>17.109256521449261</c:v>
                </c:pt>
                <c:pt idx="1017">
                  <c:v>43.802168378486421</c:v>
                </c:pt>
                <c:pt idx="1018">
                  <c:v>48.998146288982042</c:v>
                </c:pt>
                <c:pt idx="1019">
                  <c:v>38.980797633634467</c:v>
                </c:pt>
                <c:pt idx="1020">
                  <c:v>27.77668979191786</c:v>
                </c:pt>
                <c:pt idx="1021">
                  <c:v>56.165848067207548</c:v>
                </c:pt>
                <c:pt idx="1022">
                  <c:v>53.254946035220918</c:v>
                </c:pt>
                <c:pt idx="1023">
                  <c:v>21.386854209657233</c:v>
                </c:pt>
                <c:pt idx="1024">
                  <c:v>24.292333351767766</c:v>
                </c:pt>
                <c:pt idx="1025">
                  <c:v>27.471500416872541</c:v>
                </c:pt>
                <c:pt idx="1026">
                  <c:v>24.581409835213446</c:v>
                </c:pt>
                <c:pt idx="1027">
                  <c:v>29.797475572667537</c:v>
                </c:pt>
                <c:pt idx="1028">
                  <c:v>42.782196042601498</c:v>
                </c:pt>
                <c:pt idx="1029">
                  <c:v>23.057774369579739</c:v>
                </c:pt>
                <c:pt idx="1030">
                  <c:v>27.848518573517843</c:v>
                </c:pt>
                <c:pt idx="1031">
                  <c:v>39.71062952669562</c:v>
                </c:pt>
                <c:pt idx="1032">
                  <c:v>22.574216549842561</c:v>
                </c:pt>
                <c:pt idx="1033">
                  <c:v>23.325219481588778</c:v>
                </c:pt>
                <c:pt idx="1034">
                  <c:v>21.151178172789997</c:v>
                </c:pt>
                <c:pt idx="1035">
                  <c:v>33.204952310473182</c:v>
                </c:pt>
                <c:pt idx="1036">
                  <c:v>19.118352909378245</c:v>
                </c:pt>
                <c:pt idx="1037">
                  <c:v>43.137925339307863</c:v>
                </c:pt>
                <c:pt idx="1038">
                  <c:v>29.014081320032368</c:v>
                </c:pt>
                <c:pt idx="1039">
                  <c:v>38.638966598325226</c:v>
                </c:pt>
                <c:pt idx="1040">
                  <c:v>38.806267543720324</c:v>
                </c:pt>
                <c:pt idx="1041">
                  <c:v>32.341556390230622</c:v>
                </c:pt>
                <c:pt idx="1042">
                  <c:v>28.775528538508492</c:v>
                </c:pt>
                <c:pt idx="1043">
                  <c:v>27.157863485377955</c:v>
                </c:pt>
                <c:pt idx="1044">
                  <c:v>26.488442677573016</c:v>
                </c:pt>
                <c:pt idx="1045">
                  <c:v>28.338636525720702</c:v>
                </c:pt>
                <c:pt idx="1046">
                  <c:v>32.591034128997279</c:v>
                </c:pt>
                <c:pt idx="1047">
                  <c:v>17.510880647235801</c:v>
                </c:pt>
                <c:pt idx="1048">
                  <c:v>53.095020467375647</c:v>
                </c:pt>
                <c:pt idx="1049">
                  <c:v>23.146658439681062</c:v>
                </c:pt>
                <c:pt idx="1050">
                  <c:v>24.258472936076139</c:v>
                </c:pt>
                <c:pt idx="1051">
                  <c:v>42.403947991509398</c:v>
                </c:pt>
                <c:pt idx="1052">
                  <c:v>27.246899856309788</c:v>
                </c:pt>
                <c:pt idx="1053">
                  <c:v>40.012546490432094</c:v>
                </c:pt>
                <c:pt idx="1054">
                  <c:v>41.291655326055931</c:v>
                </c:pt>
                <c:pt idx="1055">
                  <c:v>21.967210289957649</c:v>
                </c:pt>
                <c:pt idx="1056">
                  <c:v>53.361973925053341</c:v>
                </c:pt>
                <c:pt idx="1057">
                  <c:v>51.770576360322323</c:v>
                </c:pt>
                <c:pt idx="1058">
                  <c:v>22.967998763075339</c:v>
                </c:pt>
                <c:pt idx="1059">
                  <c:v>26.322120775028466</c:v>
                </c:pt>
                <c:pt idx="1060">
                  <c:v>26.86898462880302</c:v>
                </c:pt>
                <c:pt idx="1061">
                  <c:v>23.208921923107823</c:v>
                </c:pt>
                <c:pt idx="1062">
                  <c:v>27.671811146041339</c:v>
                </c:pt>
                <c:pt idx="1063">
                  <c:v>46.318260968492751</c:v>
                </c:pt>
                <c:pt idx="1064">
                  <c:v>50.387461950032943</c:v>
                </c:pt>
                <c:pt idx="1065">
                  <c:v>40.145738598773193</c:v>
                </c:pt>
                <c:pt idx="1066">
                  <c:v>30.513184429285662</c:v>
                </c:pt>
                <c:pt idx="1067">
                  <c:v>28.893694975625031</c:v>
                </c:pt>
                <c:pt idx="1068">
                  <c:v>27.390109792256954</c:v>
                </c:pt>
                <c:pt idx="1069">
                  <c:v>30.868695717734859</c:v>
                </c:pt>
                <c:pt idx="1070">
                  <c:v>30.957701124320074</c:v>
                </c:pt>
                <c:pt idx="1071">
                  <c:v>26.412432763375325</c:v>
                </c:pt>
                <c:pt idx="1072">
                  <c:v>23.99506694434659</c:v>
                </c:pt>
                <c:pt idx="1073">
                  <c:v>52.544225638557208</c:v>
                </c:pt>
                <c:pt idx="1074">
                  <c:v>22.694103233313747</c:v>
                </c:pt>
                <c:pt idx="1075">
                  <c:v>49.144835807937746</c:v>
                </c:pt>
                <c:pt idx="1076">
                  <c:v>37.766140562877389</c:v>
                </c:pt>
                <c:pt idx="1077">
                  <c:v>21.986816891915989</c:v>
                </c:pt>
                <c:pt idx="1078">
                  <c:v>31.80324898613803</c:v>
                </c:pt>
                <c:pt idx="1079">
                  <c:v>23.618681431243662</c:v>
                </c:pt>
                <c:pt idx="1080">
                  <c:v>32.925610876920771</c:v>
                </c:pt>
                <c:pt idx="1081">
                  <c:v>58.582639577798417</c:v>
                </c:pt>
                <c:pt idx="1082">
                  <c:v>27.39948655277778</c:v>
                </c:pt>
                <c:pt idx="1083">
                  <c:v>28.896800502323856</c:v>
                </c:pt>
                <c:pt idx="1084">
                  <c:v>31.987101630829656</c:v>
                </c:pt>
                <c:pt idx="1085">
                  <c:v>44.051155892740262</c:v>
                </c:pt>
                <c:pt idx="1086">
                  <c:v>57.874121850475717</c:v>
                </c:pt>
                <c:pt idx="1087">
                  <c:v>27.774922338687119</c:v>
                </c:pt>
                <c:pt idx="1088">
                  <c:v>17.362800977594514</c:v>
                </c:pt>
                <c:pt idx="1089">
                  <c:v>35.441834968109305</c:v>
                </c:pt>
                <c:pt idx="1090">
                  <c:v>25.483540912367353</c:v>
                </c:pt>
                <c:pt idx="1091">
                  <c:v>21.181756609348781</c:v>
                </c:pt>
                <c:pt idx="1092">
                  <c:v>57.577525779559963</c:v>
                </c:pt>
                <c:pt idx="1093">
                  <c:v>31.071621283697962</c:v>
                </c:pt>
                <c:pt idx="1094">
                  <c:v>21.766166492424915</c:v>
                </c:pt>
                <c:pt idx="1095">
                  <c:v>38.03312800008699</c:v>
                </c:pt>
                <c:pt idx="1096">
                  <c:v>53.958023966104918</c:v>
                </c:pt>
                <c:pt idx="1097">
                  <c:v>26.973464637506172</c:v>
                </c:pt>
                <c:pt idx="1098">
                  <c:v>18.626972522153871</c:v>
                </c:pt>
                <c:pt idx="1099">
                  <c:v>35.889653567872919</c:v>
                </c:pt>
                <c:pt idx="1100">
                  <c:v>26.628170495797615</c:v>
                </c:pt>
                <c:pt idx="1101">
                  <c:v>19.958804634185061</c:v>
                </c:pt>
                <c:pt idx="1102">
                  <c:v>24.93706987879661</c:v>
                </c:pt>
                <c:pt idx="1103">
                  <c:v>35.004115598917032</c:v>
                </c:pt>
                <c:pt idx="1104">
                  <c:v>54.90924722126617</c:v>
                </c:pt>
                <c:pt idx="1105">
                  <c:v>56.109337966823311</c:v>
                </c:pt>
                <c:pt idx="1106">
                  <c:v>25.884857903219952</c:v>
                </c:pt>
                <c:pt idx="1107">
                  <c:v>33.127053797499059</c:v>
                </c:pt>
                <c:pt idx="1108">
                  <c:v>29.409444583978146</c:v>
                </c:pt>
                <c:pt idx="1109">
                  <c:v>26.485947681756564</c:v>
                </c:pt>
                <c:pt idx="1110">
                  <c:v>34.84468468967809</c:v>
                </c:pt>
                <c:pt idx="1111">
                  <c:v>47.239440737566596</c:v>
                </c:pt>
                <c:pt idx="1112">
                  <c:v>36.920556223635295</c:v>
                </c:pt>
                <c:pt idx="1113">
                  <c:v>30.239436951395518</c:v>
                </c:pt>
                <c:pt idx="1114">
                  <c:v>29.412512117254494</c:v>
                </c:pt>
                <c:pt idx="1115">
                  <c:v>36.470194146814258</c:v>
                </c:pt>
                <c:pt idx="1116">
                  <c:v>23.073091851434093</c:v>
                </c:pt>
                <c:pt idx="1117">
                  <c:v>33.544152010082101</c:v>
                </c:pt>
                <c:pt idx="1118">
                  <c:v>25.182098168646164</c:v>
                </c:pt>
                <c:pt idx="1119">
                  <c:v>31.126889211046453</c:v>
                </c:pt>
                <c:pt idx="1120">
                  <c:v>41.508692291123566</c:v>
                </c:pt>
                <c:pt idx="1121">
                  <c:v>19.952363981112502</c:v>
                </c:pt>
                <c:pt idx="1122">
                  <c:v>24.418783973165414</c:v>
                </c:pt>
                <c:pt idx="1123">
                  <c:v>37.636543206595242</c:v>
                </c:pt>
                <c:pt idx="1124">
                  <c:v>48.706913334341323</c:v>
                </c:pt>
                <c:pt idx="1125">
                  <c:v>28.077707621905034</c:v>
                </c:pt>
                <c:pt idx="1126">
                  <c:v>23.353947450567802</c:v>
                </c:pt>
                <c:pt idx="1127">
                  <c:v>23.188780968055919</c:v>
                </c:pt>
                <c:pt idx="1128">
                  <c:v>29.159796352931735</c:v>
                </c:pt>
                <c:pt idx="1129">
                  <c:v>24.270288081215107</c:v>
                </c:pt>
                <c:pt idx="1130">
                  <c:v>26.422280041160903</c:v>
                </c:pt>
                <c:pt idx="1131">
                  <c:v>48.034718171324251</c:v>
                </c:pt>
                <c:pt idx="1132">
                  <c:v>24.433417713734965</c:v>
                </c:pt>
                <c:pt idx="1133">
                  <c:v>32.194537456815148</c:v>
                </c:pt>
                <c:pt idx="1134">
                  <c:v>30.508508632271024</c:v>
                </c:pt>
                <c:pt idx="1135">
                  <c:v>25.604961360886982</c:v>
                </c:pt>
                <c:pt idx="1136">
                  <c:v>22.432912673266884</c:v>
                </c:pt>
                <c:pt idx="1137">
                  <c:v>18.642938512803465</c:v>
                </c:pt>
                <c:pt idx="1138">
                  <c:v>30.01460747400942</c:v>
                </c:pt>
                <c:pt idx="1139">
                  <c:v>43.031229066623752</c:v>
                </c:pt>
                <c:pt idx="1140">
                  <c:v>24.128924976825576</c:v>
                </c:pt>
                <c:pt idx="1141">
                  <c:v>56.404050861879632</c:v>
                </c:pt>
                <c:pt idx="1142">
                  <c:v>43.919265847276606</c:v>
                </c:pt>
                <c:pt idx="1143">
                  <c:v>25.461633786479439</c:v>
                </c:pt>
                <c:pt idx="1144">
                  <c:v>26.464135874263384</c:v>
                </c:pt>
                <c:pt idx="1145">
                  <c:v>34.428066197579831</c:v>
                </c:pt>
                <c:pt idx="1146">
                  <c:v>25.130032106588089</c:v>
                </c:pt>
                <c:pt idx="1147">
                  <c:v>30.086420219115396</c:v>
                </c:pt>
                <c:pt idx="1148">
                  <c:v>23.321567685389866</c:v>
                </c:pt>
                <c:pt idx="1149">
                  <c:v>18.322988798017157</c:v>
                </c:pt>
                <c:pt idx="1150">
                  <c:v>45.133426379347021</c:v>
                </c:pt>
                <c:pt idx="1151">
                  <c:v>43.125024716120492</c:v>
                </c:pt>
                <c:pt idx="1152">
                  <c:v>40.014196330723486</c:v>
                </c:pt>
                <c:pt idx="1153">
                  <c:v>24.557249356778655</c:v>
                </c:pt>
                <c:pt idx="1154">
                  <c:v>29.573052966000766</c:v>
                </c:pt>
                <c:pt idx="1155">
                  <c:v>27.909548515052713</c:v>
                </c:pt>
                <c:pt idx="1156">
                  <c:v>40.255419015364552</c:v>
                </c:pt>
                <c:pt idx="1157">
                  <c:v>21.863107576120349</c:v>
                </c:pt>
                <c:pt idx="1158">
                  <c:v>25.50077027895988</c:v>
                </c:pt>
                <c:pt idx="1159">
                  <c:v>39.745265578655101</c:v>
                </c:pt>
                <c:pt idx="1160">
                  <c:v>27.00329403612723</c:v>
                </c:pt>
                <c:pt idx="1161">
                  <c:v>24.71988858067396</c:v>
                </c:pt>
                <c:pt idx="1162">
                  <c:v>26.473487736309625</c:v>
                </c:pt>
                <c:pt idx="1163">
                  <c:v>22.46141007827903</c:v>
                </c:pt>
                <c:pt idx="1164">
                  <c:v>16.164893215408178</c:v>
                </c:pt>
                <c:pt idx="1165">
                  <c:v>32.035721010459262</c:v>
                </c:pt>
                <c:pt idx="1166">
                  <c:v>36.336793287019439</c:v>
                </c:pt>
                <c:pt idx="1167">
                  <c:v>38.903360615171707</c:v>
                </c:pt>
                <c:pt idx="1168">
                  <c:v>26.482294911387807</c:v>
                </c:pt>
                <c:pt idx="1169">
                  <c:v>33.002382719141934</c:v>
                </c:pt>
                <c:pt idx="1170">
                  <c:v>45.78292139370442</c:v>
                </c:pt>
                <c:pt idx="1171">
                  <c:v>29.442908581780149</c:v>
                </c:pt>
                <c:pt idx="1172">
                  <c:v>33.213580857636387</c:v>
                </c:pt>
                <c:pt idx="1173">
                  <c:v>30.197717786603839</c:v>
                </c:pt>
                <c:pt idx="1174">
                  <c:v>29.186869976277855</c:v>
                </c:pt>
                <c:pt idx="1175">
                  <c:v>27.6225289627276</c:v>
                </c:pt>
                <c:pt idx="1176">
                  <c:v>42.483073137557781</c:v>
                </c:pt>
                <c:pt idx="1177">
                  <c:v>25.899617589272026</c:v>
                </c:pt>
                <c:pt idx="1178">
                  <c:v>26.819144756177668</c:v>
                </c:pt>
                <c:pt idx="1179">
                  <c:v>34.336099156548237</c:v>
                </c:pt>
                <c:pt idx="1180">
                  <c:v>22.799819712869539</c:v>
                </c:pt>
                <c:pt idx="1181">
                  <c:v>24.790561378631359</c:v>
                </c:pt>
                <c:pt idx="1182">
                  <c:v>21.00471054651771</c:v>
                </c:pt>
                <c:pt idx="1183">
                  <c:v>28.368680861692226</c:v>
                </c:pt>
                <c:pt idx="1184">
                  <c:v>23.94014462106955</c:v>
                </c:pt>
                <c:pt idx="1185">
                  <c:v>31.556418378206331</c:v>
                </c:pt>
                <c:pt idx="1186">
                  <c:v>39.322883354564837</c:v>
                </c:pt>
                <c:pt idx="1187">
                  <c:v>28.547973391056324</c:v>
                </c:pt>
                <c:pt idx="1188">
                  <c:v>29.149217635332711</c:v>
                </c:pt>
                <c:pt idx="1189">
                  <c:v>20.248904935187372</c:v>
                </c:pt>
                <c:pt idx="1190">
                  <c:v>20.46805840871658</c:v>
                </c:pt>
                <c:pt idx="1191">
                  <c:v>28.119918960943284</c:v>
                </c:pt>
                <c:pt idx="1192">
                  <c:v>23.067104486029383</c:v>
                </c:pt>
                <c:pt idx="1193">
                  <c:v>26.160094066858278</c:v>
                </c:pt>
                <c:pt idx="1194">
                  <c:v>31.377441733571445</c:v>
                </c:pt>
                <c:pt idx="1195">
                  <c:v>24.017102028240025</c:v>
                </c:pt>
                <c:pt idx="1196">
                  <c:v>24.331051679692326</c:v>
                </c:pt>
                <c:pt idx="1197">
                  <c:v>39.341373066578655</c:v>
                </c:pt>
                <c:pt idx="1198">
                  <c:v>19.065766188141346</c:v>
                </c:pt>
                <c:pt idx="1199">
                  <c:v>17.40521623028917</c:v>
                </c:pt>
                <c:pt idx="1200">
                  <c:v>29.452898341081603</c:v>
                </c:pt>
                <c:pt idx="1201">
                  <c:v>29.149832422753772</c:v>
                </c:pt>
                <c:pt idx="1202">
                  <c:v>19.736170179980586</c:v>
                </c:pt>
                <c:pt idx="1203">
                  <c:v>29.841930288833936</c:v>
                </c:pt>
                <c:pt idx="1204">
                  <c:v>22.999988107287084</c:v>
                </c:pt>
                <c:pt idx="1205">
                  <c:v>22.485415806206984</c:v>
                </c:pt>
                <c:pt idx="1206">
                  <c:v>33.833250262874493</c:v>
                </c:pt>
                <c:pt idx="1207">
                  <c:v>29.97585193375993</c:v>
                </c:pt>
                <c:pt idx="1208">
                  <c:v>44.405582894015424</c:v>
                </c:pt>
                <c:pt idx="1209">
                  <c:v>31.163851457009152</c:v>
                </c:pt>
                <c:pt idx="1210">
                  <c:v>24.24269755174668</c:v>
                </c:pt>
                <c:pt idx="1211">
                  <c:v>24.565948095625906</c:v>
                </c:pt>
                <c:pt idx="1212">
                  <c:v>27.361265136442565</c:v>
                </c:pt>
                <c:pt idx="1213">
                  <c:v>24.086384226235605</c:v>
                </c:pt>
                <c:pt idx="1214">
                  <c:v>28.146471465076829</c:v>
                </c:pt>
                <c:pt idx="1215">
                  <c:v>23.807335936949578</c:v>
                </c:pt>
                <c:pt idx="1216">
                  <c:v>42.169419303175516</c:v>
                </c:pt>
                <c:pt idx="1217">
                  <c:v>22.981973280774515</c:v>
                </c:pt>
                <c:pt idx="1218">
                  <c:v>30.833596555317037</c:v>
                </c:pt>
                <c:pt idx="1219">
                  <c:v>26.279272973650311</c:v>
                </c:pt>
                <c:pt idx="1220">
                  <c:v>42.626796418988846</c:v>
                </c:pt>
                <c:pt idx="1221">
                  <c:v>37.340922046628862</c:v>
                </c:pt>
                <c:pt idx="1222">
                  <c:v>26.16768201421246</c:v>
                </c:pt>
                <c:pt idx="1223">
                  <c:v>47.249978124284553</c:v>
                </c:pt>
                <c:pt idx="1224">
                  <c:v>23.446416284423243</c:v>
                </c:pt>
                <c:pt idx="1225">
                  <c:v>52.186349980663813</c:v>
                </c:pt>
                <c:pt idx="1226">
                  <c:v>24.164713198253995</c:v>
                </c:pt>
                <c:pt idx="1227">
                  <c:v>51.609111916085041</c:v>
                </c:pt>
                <c:pt idx="1228">
                  <c:v>37.911873075833412</c:v>
                </c:pt>
                <c:pt idx="1229">
                  <c:v>21.909609581107407</c:v>
                </c:pt>
                <c:pt idx="1230">
                  <c:v>18.70352694985981</c:v>
                </c:pt>
                <c:pt idx="1231">
                  <c:v>26.23410778462096</c:v>
                </c:pt>
                <c:pt idx="1232">
                  <c:v>22.223611972235943</c:v>
                </c:pt>
                <c:pt idx="1233">
                  <c:v>34.253212464547531</c:v>
                </c:pt>
                <c:pt idx="1234">
                  <c:v>36.87147891543853</c:v>
                </c:pt>
                <c:pt idx="1235">
                  <c:v>22.356263107080473</c:v>
                </c:pt>
                <c:pt idx="1236">
                  <c:v>31.264779319448742</c:v>
                </c:pt>
                <c:pt idx="1237">
                  <c:v>27.702095507435992</c:v>
                </c:pt>
                <c:pt idx="1238">
                  <c:v>34.383078946963508</c:v>
                </c:pt>
                <c:pt idx="1239">
                  <c:v>21.500765230203722</c:v>
                </c:pt>
                <c:pt idx="1240">
                  <c:v>28.759625617937459</c:v>
                </c:pt>
                <c:pt idx="1241">
                  <c:v>29.360256724171659</c:v>
                </c:pt>
                <c:pt idx="1242">
                  <c:v>47.407375110361549</c:v>
                </c:pt>
                <c:pt idx="1243">
                  <c:v>19.929208797029421</c:v>
                </c:pt>
                <c:pt idx="1244">
                  <c:v>31.2744454804726</c:v>
                </c:pt>
                <c:pt idx="1245">
                  <c:v>26.407769552028739</c:v>
                </c:pt>
                <c:pt idx="1246">
                  <c:v>26.472391003517966</c:v>
                </c:pt>
                <c:pt idx="1247">
                  <c:v>32.653243232798701</c:v>
                </c:pt>
                <c:pt idx="1248">
                  <c:v>30.527048690441582</c:v>
                </c:pt>
                <c:pt idx="1249">
                  <c:v>38.32235417480539</c:v>
                </c:pt>
                <c:pt idx="1250">
                  <c:v>25.508413891022833</c:v>
                </c:pt>
                <c:pt idx="1251">
                  <c:v>23.774040895761811</c:v>
                </c:pt>
                <c:pt idx="1252">
                  <c:v>41.940764454835708</c:v>
                </c:pt>
                <c:pt idx="1253">
                  <c:v>27.949429705402352</c:v>
                </c:pt>
                <c:pt idx="1254">
                  <c:v>32.559970737524907</c:v>
                </c:pt>
                <c:pt idx="1255">
                  <c:v>24.690309225883318</c:v>
                </c:pt>
                <c:pt idx="1256">
                  <c:v>27.992616147007499</c:v>
                </c:pt>
                <c:pt idx="1257">
                  <c:v>22.408212875144351</c:v>
                </c:pt>
                <c:pt idx="1258">
                  <c:v>38.951537729175229</c:v>
                </c:pt>
                <c:pt idx="1259">
                  <c:v>30.321075612358428</c:v>
                </c:pt>
                <c:pt idx="1260">
                  <c:v>19.094696426214213</c:v>
                </c:pt>
                <c:pt idx="1261">
                  <c:v>52.56115540526288</c:v>
                </c:pt>
                <c:pt idx="1262">
                  <c:v>43.965710223113618</c:v>
                </c:pt>
                <c:pt idx="1263">
                  <c:v>37.690373287857383</c:v>
                </c:pt>
                <c:pt idx="1264">
                  <c:v>25.422875948623101</c:v>
                </c:pt>
                <c:pt idx="1265">
                  <c:v>24.757132367938784</c:v>
                </c:pt>
                <c:pt idx="1266">
                  <c:v>51.353962512120127</c:v>
                </c:pt>
                <c:pt idx="1267">
                  <c:v>32.544569416995728</c:v>
                </c:pt>
                <c:pt idx="1268">
                  <c:v>38.042456454810008</c:v>
                </c:pt>
                <c:pt idx="1269">
                  <c:v>30.635858959873069</c:v>
                </c:pt>
                <c:pt idx="1270">
                  <c:v>29.750833747574937</c:v>
                </c:pt>
                <c:pt idx="1271">
                  <c:v>21.578583546483998</c:v>
                </c:pt>
                <c:pt idx="1272">
                  <c:v>21.973983962265304</c:v>
                </c:pt>
                <c:pt idx="1273">
                  <c:v>28.474087865728265</c:v>
                </c:pt>
                <c:pt idx="1274">
                  <c:v>25.0005700536354</c:v>
                </c:pt>
                <c:pt idx="1275">
                  <c:v>24.388174161214192</c:v>
                </c:pt>
                <c:pt idx="1276">
                  <c:v>27.981466601219285</c:v>
                </c:pt>
                <c:pt idx="1277">
                  <c:v>27.466744801060756</c:v>
                </c:pt>
                <c:pt idx="1278">
                  <c:v>37.585091831242806</c:v>
                </c:pt>
                <c:pt idx="1279">
                  <c:v>47.520601285139556</c:v>
                </c:pt>
                <c:pt idx="1280">
                  <c:v>32.429741053086637</c:v>
                </c:pt>
                <c:pt idx="1281">
                  <c:v>23.970083319951272</c:v>
                </c:pt>
                <c:pt idx="1282">
                  <c:v>25.069069365906198</c:v>
                </c:pt>
                <c:pt idx="1283">
                  <c:v>22.652574031113527</c:v>
                </c:pt>
                <c:pt idx="1284">
                  <c:v>29.688389551920789</c:v>
                </c:pt>
                <c:pt idx="1285">
                  <c:v>36.859879931426455</c:v>
                </c:pt>
                <c:pt idx="1286">
                  <c:v>32.136133696962041</c:v>
                </c:pt>
                <c:pt idx="1287">
                  <c:v>28.851105400805267</c:v>
                </c:pt>
                <c:pt idx="1288">
                  <c:v>27.122374344805355</c:v>
                </c:pt>
                <c:pt idx="1289">
                  <c:v>27.69844201885207</c:v>
                </c:pt>
                <c:pt idx="1290">
                  <c:v>36.688381667558161</c:v>
                </c:pt>
                <c:pt idx="1291">
                  <c:v>42.72786329384887</c:v>
                </c:pt>
                <c:pt idx="1292">
                  <c:v>26.964555647254464</c:v>
                </c:pt>
                <c:pt idx="1293">
                  <c:v>34.455860807545726</c:v>
                </c:pt>
                <c:pt idx="1294">
                  <c:v>34.21571158349834</c:v>
                </c:pt>
                <c:pt idx="1295">
                  <c:v>50.579612633067278</c:v>
                </c:pt>
                <c:pt idx="1296">
                  <c:v>27.760182317994545</c:v>
                </c:pt>
                <c:pt idx="1297">
                  <c:v>34.070497359361887</c:v>
                </c:pt>
                <c:pt idx="1298">
                  <c:v>49.340970670394569</c:v>
                </c:pt>
                <c:pt idx="1299">
                  <c:v>56.740948427037864</c:v>
                </c:pt>
                <c:pt idx="1300">
                  <c:v>30.864984618825137</c:v>
                </c:pt>
                <c:pt idx="1301">
                  <c:v>46.806744361089564</c:v>
                </c:pt>
                <c:pt idx="1302">
                  <c:v>31.259469357351577</c:v>
                </c:pt>
                <c:pt idx="1303">
                  <c:v>29.433187926880457</c:v>
                </c:pt>
                <c:pt idx="1304">
                  <c:v>47.924675350027712</c:v>
                </c:pt>
                <c:pt idx="1305">
                  <c:v>42.918142592884237</c:v>
                </c:pt>
                <c:pt idx="1306">
                  <c:v>41.749746538568502</c:v>
                </c:pt>
                <c:pt idx="1307">
                  <c:v>45.45259947511731</c:v>
                </c:pt>
                <c:pt idx="1308">
                  <c:v>26.606114765321486</c:v>
                </c:pt>
                <c:pt idx="1309">
                  <c:v>24.391052988133836</c:v>
                </c:pt>
                <c:pt idx="1310">
                  <c:v>51.926648728449372</c:v>
                </c:pt>
                <c:pt idx="1311">
                  <c:v>37.650581072397181</c:v>
                </c:pt>
                <c:pt idx="1312">
                  <c:v>24.717907909576251</c:v>
                </c:pt>
                <c:pt idx="1313">
                  <c:v>28.543924887076894</c:v>
                </c:pt>
                <c:pt idx="1314">
                  <c:v>53.505100889556672</c:v>
                </c:pt>
                <c:pt idx="1315">
                  <c:v>28.574259394749962</c:v>
                </c:pt>
                <c:pt idx="1316">
                  <c:v>25.758207927351148</c:v>
                </c:pt>
                <c:pt idx="1317">
                  <c:v>32.325417795712362</c:v>
                </c:pt>
                <c:pt idx="1318">
                  <c:v>28.485164508321933</c:v>
                </c:pt>
                <c:pt idx="1319">
                  <c:v>24.505481903933862</c:v>
                </c:pt>
                <c:pt idx="1320">
                  <c:v>23.271813879708468</c:v>
                </c:pt>
                <c:pt idx="1321">
                  <c:v>19.648537705831892</c:v>
                </c:pt>
                <c:pt idx="1322">
                  <c:v>37.263083731842649</c:v>
                </c:pt>
                <c:pt idx="1323">
                  <c:v>24.45024842951533</c:v>
                </c:pt>
                <c:pt idx="1324">
                  <c:v>19.805136899957695</c:v>
                </c:pt>
                <c:pt idx="1325">
                  <c:v>20.67984582008453</c:v>
                </c:pt>
                <c:pt idx="1326">
                  <c:v>53.30259508581134</c:v>
                </c:pt>
                <c:pt idx="1327">
                  <c:v>22.590554261429489</c:v>
                </c:pt>
                <c:pt idx="1328">
                  <c:v>20.149108957478454</c:v>
                </c:pt>
                <c:pt idx="1329">
                  <c:v>30.050191872993601</c:v>
                </c:pt>
                <c:pt idx="1330">
                  <c:v>37.880537456866172</c:v>
                </c:pt>
                <c:pt idx="1331">
                  <c:v>23.947172981585474</c:v>
                </c:pt>
                <c:pt idx="1332">
                  <c:v>21.558127408557194</c:v>
                </c:pt>
                <c:pt idx="1333">
                  <c:v>54.083341121900396</c:v>
                </c:pt>
                <c:pt idx="1334">
                  <c:v>20.636190389891585</c:v>
                </c:pt>
                <c:pt idx="1335">
                  <c:v>32.198122703115068</c:v>
                </c:pt>
                <c:pt idx="1336">
                  <c:v>28.815892314762937</c:v>
                </c:pt>
                <c:pt idx="1337">
                  <c:v>28.012848179624832</c:v>
                </c:pt>
                <c:pt idx="1338">
                  <c:v>69.729611403790614</c:v>
                </c:pt>
                <c:pt idx="1339">
                  <c:v>33.96306646331891</c:v>
                </c:pt>
                <c:pt idx="1340">
                  <c:v>33.497963453308856</c:v>
                </c:pt>
                <c:pt idx="1341">
                  <c:v>23.360192115842672</c:v>
                </c:pt>
                <c:pt idx="1342">
                  <c:v>21.544694835047913</c:v>
                </c:pt>
                <c:pt idx="1343">
                  <c:v>27.470429099877897</c:v>
                </c:pt>
                <c:pt idx="1344">
                  <c:v>26.755903269270259</c:v>
                </c:pt>
                <c:pt idx="1345">
                  <c:v>29.563136360919618</c:v>
                </c:pt>
                <c:pt idx="1346">
                  <c:v>30.260018153867264</c:v>
                </c:pt>
                <c:pt idx="1347">
                  <c:v>26.393554018698822</c:v>
                </c:pt>
                <c:pt idx="1348">
                  <c:v>27.564682185693716</c:v>
                </c:pt>
                <c:pt idx="1349">
                  <c:v>27.088082225828586</c:v>
                </c:pt>
                <c:pt idx="1350">
                  <c:v>29.870722810016957</c:v>
                </c:pt>
                <c:pt idx="1351">
                  <c:v>36.053705792768447</c:v>
                </c:pt>
                <c:pt idx="1352">
                  <c:v>17.423799256335769</c:v>
                </c:pt>
                <c:pt idx="1353">
                  <c:v>39.820535919919202</c:v>
                </c:pt>
                <c:pt idx="1354">
                  <c:v>42.349582658051531</c:v>
                </c:pt>
                <c:pt idx="1355">
                  <c:v>42.438841115646561</c:v>
                </c:pt>
                <c:pt idx="1356">
                  <c:v>28.398775677215809</c:v>
                </c:pt>
                <c:pt idx="1357">
                  <c:v>46.835940455618768</c:v>
                </c:pt>
                <c:pt idx="1358">
                  <c:v>19.087052336271089</c:v>
                </c:pt>
                <c:pt idx="1359">
                  <c:v>31.17599645803417</c:v>
                </c:pt>
                <c:pt idx="1360">
                  <c:v>29.360365626037371</c:v>
                </c:pt>
                <c:pt idx="1361">
                  <c:v>25.765260062558458</c:v>
                </c:pt>
                <c:pt idx="1362">
                  <c:v>34.271964931305156</c:v>
                </c:pt>
                <c:pt idx="1363">
                  <c:v>32.498806693744498</c:v>
                </c:pt>
                <c:pt idx="1364">
                  <c:v>37.894464036026946</c:v>
                </c:pt>
                <c:pt idx="1365">
                  <c:v>27.358626417216648</c:v>
                </c:pt>
                <c:pt idx="1366">
                  <c:v>27.834168241740564</c:v>
                </c:pt>
                <c:pt idx="1367">
                  <c:v>32.989857966812913</c:v>
                </c:pt>
                <c:pt idx="1368">
                  <c:v>30.454062744134607</c:v>
                </c:pt>
                <c:pt idx="1369">
                  <c:v>28.511507576356703</c:v>
                </c:pt>
                <c:pt idx="1370">
                  <c:v>33.976441726503253</c:v>
                </c:pt>
                <c:pt idx="1371">
                  <c:v>59.388811172830884</c:v>
                </c:pt>
                <c:pt idx="1372">
                  <c:v>22.632833468396392</c:v>
                </c:pt>
                <c:pt idx="1373">
                  <c:v>26.749846024759982</c:v>
                </c:pt>
                <c:pt idx="1374">
                  <c:v>20.57129413321038</c:v>
                </c:pt>
                <c:pt idx="1375">
                  <c:v>22.322670524504304</c:v>
                </c:pt>
                <c:pt idx="1376">
                  <c:v>36.236673033119814</c:v>
                </c:pt>
                <c:pt idx="1377">
                  <c:v>32.022088517471701</c:v>
                </c:pt>
                <c:pt idx="1378">
                  <c:v>21.739729045679336</c:v>
                </c:pt>
                <c:pt idx="1379">
                  <c:v>26.141945458318364</c:v>
                </c:pt>
                <c:pt idx="1380">
                  <c:v>52.849013053461505</c:v>
                </c:pt>
                <c:pt idx="1381">
                  <c:v>59.405016240978824</c:v>
                </c:pt>
                <c:pt idx="1382">
                  <c:v>74.257130207773812</c:v>
                </c:pt>
                <c:pt idx="1383">
                  <c:v>26.34835197314619</c:v>
                </c:pt>
                <c:pt idx="1384">
                  <c:v>33.24100617741933</c:v>
                </c:pt>
                <c:pt idx="1385">
                  <c:v>37.765144592776906</c:v>
                </c:pt>
                <c:pt idx="1386">
                  <c:v>62.147787184052262</c:v>
                </c:pt>
                <c:pt idx="1387">
                  <c:v>24.344630712427033</c:v>
                </c:pt>
                <c:pt idx="1388">
                  <c:v>31.205709094158564</c:v>
                </c:pt>
                <c:pt idx="1389">
                  <c:v>55.383645652703379</c:v>
                </c:pt>
                <c:pt idx="1390">
                  <c:v>30.030608270603992</c:v>
                </c:pt>
                <c:pt idx="1391">
                  <c:v>26.887763199183652</c:v>
                </c:pt>
                <c:pt idx="1392">
                  <c:v>33.542367632447991</c:v>
                </c:pt>
                <c:pt idx="1393">
                  <c:v>25.570419767955691</c:v>
                </c:pt>
                <c:pt idx="1394">
                  <c:v>29.574779240432033</c:v>
                </c:pt>
                <c:pt idx="1395">
                  <c:v>63.406034926753762</c:v>
                </c:pt>
                <c:pt idx="1396">
                  <c:v>33.72733667869003</c:v>
                </c:pt>
                <c:pt idx="1397">
                  <c:v>27.001490334551402</c:v>
                </c:pt>
                <c:pt idx="1398">
                  <c:v>16.318354816190961</c:v>
                </c:pt>
                <c:pt idx="1399">
                  <c:v>26.048432629528993</c:v>
                </c:pt>
                <c:pt idx="1400">
                  <c:v>53.455005051602299</c:v>
                </c:pt>
                <c:pt idx="1401">
                  <c:v>47.007373274551313</c:v>
                </c:pt>
                <c:pt idx="1402">
                  <c:v>28.461848102348345</c:v>
                </c:pt>
                <c:pt idx="1403">
                  <c:v>24.515471054235149</c:v>
                </c:pt>
                <c:pt idx="1404">
                  <c:v>28.035829575152249</c:v>
                </c:pt>
                <c:pt idx="1405">
                  <c:v>22.104039128305146</c:v>
                </c:pt>
                <c:pt idx="1406">
                  <c:v>29.672365011292015</c:v>
                </c:pt>
                <c:pt idx="1407">
                  <c:v>19.696070686712936</c:v>
                </c:pt>
                <c:pt idx="1408">
                  <c:v>29.78537653878994</c:v>
                </c:pt>
                <c:pt idx="1409">
                  <c:v>24.630216022174302</c:v>
                </c:pt>
                <c:pt idx="1410">
                  <c:v>28.914972960332598</c:v>
                </c:pt>
                <c:pt idx="1411">
                  <c:v>52.664091767371765</c:v>
                </c:pt>
                <c:pt idx="1412">
                  <c:v>30.760019912527333</c:v>
                </c:pt>
                <c:pt idx="1413">
                  <c:v>25.947380384388445</c:v>
                </c:pt>
                <c:pt idx="1414">
                  <c:v>34.653258721986134</c:v>
                </c:pt>
                <c:pt idx="1415">
                  <c:v>55.684672196091967</c:v>
                </c:pt>
                <c:pt idx="1416">
                  <c:v>22.230100580600563</c:v>
                </c:pt>
                <c:pt idx="1417">
                  <c:v>32.351749660878987</c:v>
                </c:pt>
                <c:pt idx="1418">
                  <c:v>29.76685196227865</c:v>
                </c:pt>
                <c:pt idx="1419">
                  <c:v>23.034348153302901</c:v>
                </c:pt>
                <c:pt idx="1420">
                  <c:v>31.236244480971216</c:v>
                </c:pt>
                <c:pt idx="1421">
                  <c:v>21.448213165767534</c:v>
                </c:pt>
                <c:pt idx="1422">
                  <c:v>17.187389479358501</c:v>
                </c:pt>
                <c:pt idx="1423">
                  <c:v>40.352247055734807</c:v>
                </c:pt>
                <c:pt idx="1424">
                  <c:v>23.894727327748985</c:v>
                </c:pt>
                <c:pt idx="1425">
                  <c:v>26.196091806695811</c:v>
                </c:pt>
                <c:pt idx="1426">
                  <c:v>23.828917735779047</c:v>
                </c:pt>
                <c:pt idx="1427">
                  <c:v>22.41732812640922</c:v>
                </c:pt>
                <c:pt idx="1428">
                  <c:v>36.223980654667251</c:v>
                </c:pt>
                <c:pt idx="1429">
                  <c:v>29.913027980619376</c:v>
                </c:pt>
                <c:pt idx="1430">
                  <c:v>29.284336224324331</c:v>
                </c:pt>
                <c:pt idx="1431">
                  <c:v>38.426885832551164</c:v>
                </c:pt>
                <c:pt idx="1432">
                  <c:v>28.375774340548219</c:v>
                </c:pt>
                <c:pt idx="1433">
                  <c:v>24.816049256312503</c:v>
                </c:pt>
                <c:pt idx="1434">
                  <c:v>33.034430710302793</c:v>
                </c:pt>
                <c:pt idx="1435">
                  <c:v>37.813623671227944</c:v>
                </c:pt>
                <c:pt idx="1436">
                  <c:v>27.701254146111598</c:v>
                </c:pt>
                <c:pt idx="1437">
                  <c:v>24.643333386920141</c:v>
                </c:pt>
                <c:pt idx="1438">
                  <c:v>30.679208520948677</c:v>
                </c:pt>
                <c:pt idx="1439">
                  <c:v>46.987433603470841</c:v>
                </c:pt>
                <c:pt idx="1440">
                  <c:v>24.534649318490633</c:v>
                </c:pt>
                <c:pt idx="1441">
                  <c:v>26.627987434791578</c:v>
                </c:pt>
                <c:pt idx="1442">
                  <c:v>26.288235811301821</c:v>
                </c:pt>
                <c:pt idx="1443">
                  <c:v>18.335231303559031</c:v>
                </c:pt>
                <c:pt idx="1444">
                  <c:v>26.216049321266553</c:v>
                </c:pt>
                <c:pt idx="1445">
                  <c:v>38.349852513836133</c:v>
                </c:pt>
                <c:pt idx="1446">
                  <c:v>22.56527720409948</c:v>
                </c:pt>
                <c:pt idx="1447">
                  <c:v>45.744243926948123</c:v>
                </c:pt>
                <c:pt idx="1448">
                  <c:v>39.466765556852017</c:v>
                </c:pt>
                <c:pt idx="1449">
                  <c:v>26.47388905007978</c:v>
                </c:pt>
                <c:pt idx="1450">
                  <c:v>30.983032322841375</c:v>
                </c:pt>
                <c:pt idx="1451">
                  <c:v>25.297364007841946</c:v>
                </c:pt>
                <c:pt idx="1452">
                  <c:v>47.723193716105314</c:v>
                </c:pt>
                <c:pt idx="1453">
                  <c:v>30.397805748075513</c:v>
                </c:pt>
                <c:pt idx="1454">
                  <c:v>37.788787279612187</c:v>
                </c:pt>
                <c:pt idx="1455">
                  <c:v>39.645927564323571</c:v>
                </c:pt>
                <c:pt idx="1456">
                  <c:v>22.46342057092361</c:v>
                </c:pt>
                <c:pt idx="1457">
                  <c:v>40.061583253335137</c:v>
                </c:pt>
                <c:pt idx="1458">
                  <c:v>21.383135723150172</c:v>
                </c:pt>
                <c:pt idx="1459">
                  <c:v>59.243815663572349</c:v>
                </c:pt>
                <c:pt idx="1460">
                  <c:v>22.223229032377631</c:v>
                </c:pt>
                <c:pt idx="1461">
                  <c:v>25.252119354282822</c:v>
                </c:pt>
                <c:pt idx="1462">
                  <c:v>20.200084114925236</c:v>
                </c:pt>
                <c:pt idx="1463">
                  <c:v>23.555582424435293</c:v>
                </c:pt>
                <c:pt idx="1464">
                  <c:v>30.065124188821844</c:v>
                </c:pt>
                <c:pt idx="1465">
                  <c:v>25.260966751141058</c:v>
                </c:pt>
                <c:pt idx="1466">
                  <c:v>19.296646744710198</c:v>
                </c:pt>
                <c:pt idx="1467">
                  <c:v>42.730946695866713</c:v>
                </c:pt>
                <c:pt idx="1468">
                  <c:v>27.233569500047622</c:v>
                </c:pt>
                <c:pt idx="1469">
                  <c:v>35.506033521340299</c:v>
                </c:pt>
                <c:pt idx="1470">
                  <c:v>26.786163049084539</c:v>
                </c:pt>
                <c:pt idx="1471">
                  <c:v>29.087660174702904</c:v>
                </c:pt>
                <c:pt idx="1472">
                  <c:v>28.319238138479314</c:v>
                </c:pt>
                <c:pt idx="1473">
                  <c:v>60.397958425733705</c:v>
                </c:pt>
                <c:pt idx="1474">
                  <c:v>39.734997670986118</c:v>
                </c:pt>
                <c:pt idx="1475">
                  <c:v>28.109119034997974</c:v>
                </c:pt>
                <c:pt idx="1476">
                  <c:v>54.153826201601184</c:v>
                </c:pt>
                <c:pt idx="1477">
                  <c:v>20.973215229003888</c:v>
                </c:pt>
                <c:pt idx="1478">
                  <c:v>28.3374796346728</c:v>
                </c:pt>
                <c:pt idx="1479">
                  <c:v>48.984111474262988</c:v>
                </c:pt>
                <c:pt idx="1480">
                  <c:v>24.353812589331064</c:v>
                </c:pt>
                <c:pt idx="1481">
                  <c:v>48.403577140554432</c:v>
                </c:pt>
                <c:pt idx="1482">
                  <c:v>50.905893505801558</c:v>
                </c:pt>
                <c:pt idx="1483">
                  <c:v>57.3320131281572</c:v>
                </c:pt>
                <c:pt idx="1484">
                  <c:v>18.809541186132154</c:v>
                </c:pt>
                <c:pt idx="1485">
                  <c:v>32.41595081203063</c:v>
                </c:pt>
                <c:pt idx="1486">
                  <c:v>40.674448845626408</c:v>
                </c:pt>
                <c:pt idx="1487">
                  <c:v>43.85337296886626</c:v>
                </c:pt>
                <c:pt idx="1488">
                  <c:v>29.484949597892847</c:v>
                </c:pt>
                <c:pt idx="1489">
                  <c:v>43.735972632771116</c:v>
                </c:pt>
                <c:pt idx="1490">
                  <c:v>27.840689026009908</c:v>
                </c:pt>
                <c:pt idx="1491">
                  <c:v>23.01190167906562</c:v>
                </c:pt>
                <c:pt idx="1492">
                  <c:v>37.864045235898331</c:v>
                </c:pt>
                <c:pt idx="1493">
                  <c:v>28.326834802739945</c:v>
                </c:pt>
                <c:pt idx="1494">
                  <c:v>25.76354870741374</c:v>
                </c:pt>
                <c:pt idx="1495">
                  <c:v>29.363905640545159</c:v>
                </c:pt>
                <c:pt idx="1496">
                  <c:v>25.767338775352762</c:v>
                </c:pt>
                <c:pt idx="1497">
                  <c:v>20.57355252602574</c:v>
                </c:pt>
                <c:pt idx="1498">
                  <c:v>21.910106994926206</c:v>
                </c:pt>
                <c:pt idx="1499">
                  <c:v>56.916823051415911</c:v>
                </c:pt>
                <c:pt idx="1500">
                  <c:v>25.973242145866855</c:v>
                </c:pt>
                <c:pt idx="1501">
                  <c:v>26.800182119417371</c:v>
                </c:pt>
                <c:pt idx="1502">
                  <c:v>31.214914608238907</c:v>
                </c:pt>
                <c:pt idx="1503">
                  <c:v>25.190575830062901</c:v>
                </c:pt>
                <c:pt idx="1504">
                  <c:v>31.243081966428527</c:v>
                </c:pt>
                <c:pt idx="1505">
                  <c:v>53.188503376783487</c:v>
                </c:pt>
                <c:pt idx="1506">
                  <c:v>25.070963044479008</c:v>
                </c:pt>
                <c:pt idx="1507">
                  <c:v>31.295287182003861</c:v>
                </c:pt>
                <c:pt idx="1508">
                  <c:v>29.192234308524284</c:v>
                </c:pt>
                <c:pt idx="1509">
                  <c:v>66.246009912916165</c:v>
                </c:pt>
                <c:pt idx="1510">
                  <c:v>44.226628481425116</c:v>
                </c:pt>
                <c:pt idx="1511">
                  <c:v>37.115820445612428</c:v>
                </c:pt>
                <c:pt idx="1512">
                  <c:v>32.703775760872517</c:v>
                </c:pt>
                <c:pt idx="1513">
                  <c:v>50.947375501129031</c:v>
                </c:pt>
                <c:pt idx="1514">
                  <c:v>21.202140068104363</c:v>
                </c:pt>
                <c:pt idx="1515">
                  <c:v>41.514281233123135</c:v>
                </c:pt>
                <c:pt idx="1516">
                  <c:v>44.813328745832777</c:v>
                </c:pt>
                <c:pt idx="1517">
                  <c:v>42.440996416339573</c:v>
                </c:pt>
                <c:pt idx="1518">
                  <c:v>18.232546200400009</c:v>
                </c:pt>
                <c:pt idx="1519">
                  <c:v>31.807845497042415</c:v>
                </c:pt>
                <c:pt idx="1520">
                  <c:v>43.012963019157326</c:v>
                </c:pt>
                <c:pt idx="1521">
                  <c:v>39.600451745578759</c:v>
                </c:pt>
                <c:pt idx="1522">
                  <c:v>32.587801747832877</c:v>
                </c:pt>
                <c:pt idx="1523">
                  <c:v>28.344380083434917</c:v>
                </c:pt>
                <c:pt idx="1524">
                  <c:v>20.566262590833663</c:v>
                </c:pt>
                <c:pt idx="1525">
                  <c:v>39.158240340744129</c:v>
                </c:pt>
                <c:pt idx="1526">
                  <c:v>30.72025889524712</c:v>
                </c:pt>
                <c:pt idx="1527">
                  <c:v>24.917729545097153</c:v>
                </c:pt>
                <c:pt idx="1528">
                  <c:v>19.804221817267258</c:v>
                </c:pt>
                <c:pt idx="1529">
                  <c:v>29.389310841456346</c:v>
                </c:pt>
                <c:pt idx="1530">
                  <c:v>33.246729765731686</c:v>
                </c:pt>
                <c:pt idx="1531">
                  <c:v>25.777896992963175</c:v>
                </c:pt>
                <c:pt idx="1532">
                  <c:v>30.285124693560348</c:v>
                </c:pt>
                <c:pt idx="1533">
                  <c:v>26.793607136541965</c:v>
                </c:pt>
                <c:pt idx="1534">
                  <c:v>24.389419452581436</c:v>
                </c:pt>
                <c:pt idx="1535">
                  <c:v>25.485937020623428</c:v>
                </c:pt>
                <c:pt idx="1536">
                  <c:v>49.171742144340413</c:v>
                </c:pt>
                <c:pt idx="1537">
                  <c:v>35.717181866042829</c:v>
                </c:pt>
                <c:pt idx="1538">
                  <c:v>25.905485532621416</c:v>
                </c:pt>
                <c:pt idx="1539">
                  <c:v>54.498070230050168</c:v>
                </c:pt>
                <c:pt idx="1540">
                  <c:v>30.818591791132103</c:v>
                </c:pt>
                <c:pt idx="1541">
                  <c:v>48.712368066436113</c:v>
                </c:pt>
                <c:pt idx="1542">
                  <c:v>24.12088365071007</c:v>
                </c:pt>
                <c:pt idx="1543">
                  <c:v>27.567771438154608</c:v>
                </c:pt>
                <c:pt idx="1544">
                  <c:v>41.984887802003328</c:v>
                </c:pt>
                <c:pt idx="1545">
                  <c:v>32.408689544941311</c:v>
                </c:pt>
                <c:pt idx="1546">
                  <c:v>29.202515964623327</c:v>
                </c:pt>
                <c:pt idx="1547">
                  <c:v>47.772024248589915</c:v>
                </c:pt>
                <c:pt idx="1548">
                  <c:v>43.801614972246682</c:v>
                </c:pt>
                <c:pt idx="1549">
                  <c:v>22.245776287649321</c:v>
                </c:pt>
                <c:pt idx="1550">
                  <c:v>30.385232072394928</c:v>
                </c:pt>
                <c:pt idx="1551">
                  <c:v>31.22445475006149</c:v>
                </c:pt>
                <c:pt idx="1552">
                  <c:v>42.012731749038039</c:v>
                </c:pt>
                <c:pt idx="1553">
                  <c:v>26.439164619543014</c:v>
                </c:pt>
                <c:pt idx="1554">
                  <c:v>23.966289201496096</c:v>
                </c:pt>
                <c:pt idx="1555">
                  <c:v>34.146915860152021</c:v>
                </c:pt>
                <c:pt idx="1556">
                  <c:v>25.485077453922059</c:v>
                </c:pt>
                <c:pt idx="1557">
                  <c:v>38.163780022612102</c:v>
                </c:pt>
                <c:pt idx="1558">
                  <c:v>48.984369715387864</c:v>
                </c:pt>
                <c:pt idx="1559">
                  <c:v>26.084070570186348</c:v>
                </c:pt>
                <c:pt idx="1560">
                  <c:v>48.696560954705745</c:v>
                </c:pt>
                <c:pt idx="1561">
                  <c:v>23.358011833003644</c:v>
                </c:pt>
                <c:pt idx="1562">
                  <c:v>28.781958029164159</c:v>
                </c:pt>
                <c:pt idx="1563">
                  <c:v>32.91462405683442</c:v>
                </c:pt>
                <c:pt idx="1564">
                  <c:v>25.920445957730905</c:v>
                </c:pt>
                <c:pt idx="1565">
                  <c:v>23.414084205911745</c:v>
                </c:pt>
                <c:pt idx="1566">
                  <c:v>31.067807035727245</c:v>
                </c:pt>
                <c:pt idx="1567">
                  <c:v>25.69629004032225</c:v>
                </c:pt>
                <c:pt idx="1568">
                  <c:v>32.710871298376141</c:v>
                </c:pt>
                <c:pt idx="1569">
                  <c:v>39.414689128559857</c:v>
                </c:pt>
                <c:pt idx="1570">
                  <c:v>32.973307818559817</c:v>
                </c:pt>
                <c:pt idx="1571">
                  <c:v>29.909564772508162</c:v>
                </c:pt>
                <c:pt idx="1572">
                  <c:v>28.661057633647133</c:v>
                </c:pt>
                <c:pt idx="1573">
                  <c:v>25.802858468133195</c:v>
                </c:pt>
                <c:pt idx="1574">
                  <c:v>57.36491246452087</c:v>
                </c:pt>
                <c:pt idx="1575">
                  <c:v>33.650533768645133</c:v>
                </c:pt>
                <c:pt idx="1576">
                  <c:v>28.390375071876576</c:v>
                </c:pt>
                <c:pt idx="1577">
                  <c:v>30.155704564364477</c:v>
                </c:pt>
                <c:pt idx="1578">
                  <c:v>20.895427484417326</c:v>
                </c:pt>
                <c:pt idx="1579">
                  <c:v>26.070696240363343</c:v>
                </c:pt>
                <c:pt idx="1580">
                  <c:v>45.668657153189436</c:v>
                </c:pt>
                <c:pt idx="1581">
                  <c:v>54.493070999147292</c:v>
                </c:pt>
                <c:pt idx="1582">
                  <c:v>26.100997161376245</c:v>
                </c:pt>
                <c:pt idx="1583">
                  <c:v>22.408857206701846</c:v>
                </c:pt>
                <c:pt idx="1584">
                  <c:v>29.352964323859695</c:v>
                </c:pt>
                <c:pt idx="1585">
                  <c:v>28.647770536124291</c:v>
                </c:pt>
                <c:pt idx="1586">
                  <c:v>48.971016934268398</c:v>
                </c:pt>
                <c:pt idx="1587">
                  <c:v>19.983433250904614</c:v>
                </c:pt>
                <c:pt idx="1588">
                  <c:v>19.583460385570326</c:v>
                </c:pt>
                <c:pt idx="1589">
                  <c:v>31.156554820945878</c:v>
                </c:pt>
                <c:pt idx="1590">
                  <c:v>47.405928917065481</c:v>
                </c:pt>
                <c:pt idx="1591">
                  <c:v>32.177359225371767</c:v>
                </c:pt>
                <c:pt idx="1592">
                  <c:v>45.236578208409725</c:v>
                </c:pt>
                <c:pt idx="1593">
                  <c:v>33.201325657453808</c:v>
                </c:pt>
                <c:pt idx="1594">
                  <c:v>27.860862044459289</c:v>
                </c:pt>
                <c:pt idx="1595">
                  <c:v>43.419914628389549</c:v>
                </c:pt>
                <c:pt idx="1596">
                  <c:v>37.766986066471567</c:v>
                </c:pt>
                <c:pt idx="1597">
                  <c:v>32.948736963505063</c:v>
                </c:pt>
                <c:pt idx="1598">
                  <c:v>27.378700674174695</c:v>
                </c:pt>
                <c:pt idx="1599">
                  <c:v>49.732963219905692</c:v>
                </c:pt>
                <c:pt idx="1600">
                  <c:v>20.866375196831097</c:v>
                </c:pt>
                <c:pt idx="1601">
                  <c:v>28.185802951524924</c:v>
                </c:pt>
                <c:pt idx="1602">
                  <c:v>30.441897956015374</c:v>
                </c:pt>
                <c:pt idx="1603">
                  <c:v>25.380939838688892</c:v>
                </c:pt>
                <c:pt idx="1604">
                  <c:v>20.279448793850769</c:v>
                </c:pt>
                <c:pt idx="1605">
                  <c:v>44.212758142594303</c:v>
                </c:pt>
                <c:pt idx="1606">
                  <c:v>49.4379445614274</c:v>
                </c:pt>
                <c:pt idx="1607">
                  <c:v>33.991553391726036</c:v>
                </c:pt>
                <c:pt idx="1608">
                  <c:v>47.660595671784762</c:v>
                </c:pt>
                <c:pt idx="1609">
                  <c:v>28.509668668311104</c:v>
                </c:pt>
                <c:pt idx="1610">
                  <c:v>18.23662478607141</c:v>
                </c:pt>
                <c:pt idx="1611">
                  <c:v>50.579092627886297</c:v>
                </c:pt>
                <c:pt idx="1612">
                  <c:v>29.913097697778881</c:v>
                </c:pt>
                <c:pt idx="1613">
                  <c:v>21.410365304930391</c:v>
                </c:pt>
                <c:pt idx="1614">
                  <c:v>40.476043431778962</c:v>
                </c:pt>
                <c:pt idx="1615">
                  <c:v>21.637062094871869</c:v>
                </c:pt>
                <c:pt idx="1616">
                  <c:v>49.330679793588388</c:v>
                </c:pt>
                <c:pt idx="1617">
                  <c:v>39.901562053166167</c:v>
                </c:pt>
                <c:pt idx="1618">
                  <c:v>21.380082099364387</c:v>
                </c:pt>
                <c:pt idx="1619">
                  <c:v>45.774285986822534</c:v>
                </c:pt>
                <c:pt idx="1620">
                  <c:v>30.212677292437981</c:v>
                </c:pt>
                <c:pt idx="1621">
                  <c:v>25.876409115172528</c:v>
                </c:pt>
                <c:pt idx="1622">
                  <c:v>50.44719834352528</c:v>
                </c:pt>
                <c:pt idx="1623">
                  <c:v>44.394929747562642</c:v>
                </c:pt>
                <c:pt idx="1624">
                  <c:v>20.143173621163267</c:v>
                </c:pt>
                <c:pt idx="1625">
                  <c:v>34.530333334274509</c:v>
                </c:pt>
                <c:pt idx="1626">
                  <c:v>26.710535595084806</c:v>
                </c:pt>
                <c:pt idx="1627">
                  <c:v>40.845268272638769</c:v>
                </c:pt>
                <c:pt idx="1628">
                  <c:v>35.173988407101206</c:v>
                </c:pt>
                <c:pt idx="1629">
                  <c:v>27.154433678252026</c:v>
                </c:pt>
                <c:pt idx="1630">
                  <c:v>28.634261289463502</c:v>
                </c:pt>
                <c:pt idx="1631">
                  <c:v>25.17196147877106</c:v>
                </c:pt>
                <c:pt idx="1632">
                  <c:v>23.229147517188288</c:v>
                </c:pt>
                <c:pt idx="1633">
                  <c:v>36.08869928259081</c:v>
                </c:pt>
                <c:pt idx="1634">
                  <c:v>21.029138386859611</c:v>
                </c:pt>
                <c:pt idx="1635">
                  <c:v>24.991548683843963</c:v>
                </c:pt>
                <c:pt idx="1636">
                  <c:v>50.643634039357046</c:v>
                </c:pt>
                <c:pt idx="1637">
                  <c:v>25.108611144557596</c:v>
                </c:pt>
                <c:pt idx="1638">
                  <c:v>30.537570778376349</c:v>
                </c:pt>
                <c:pt idx="1639">
                  <c:v>38.956875374753203</c:v>
                </c:pt>
                <c:pt idx="1640">
                  <c:v>33.270663908607702</c:v>
                </c:pt>
                <c:pt idx="1641">
                  <c:v>23.502137695527438</c:v>
                </c:pt>
                <c:pt idx="1642">
                  <c:v>28.007071116115455</c:v>
                </c:pt>
                <c:pt idx="1643">
                  <c:v>20.883317956536946</c:v>
                </c:pt>
                <c:pt idx="1644">
                  <c:v>31.041541269724227</c:v>
                </c:pt>
                <c:pt idx="1645">
                  <c:v>29.225845806441814</c:v>
                </c:pt>
                <c:pt idx="1646">
                  <c:v>29.656474551362571</c:v>
                </c:pt>
                <c:pt idx="1647">
                  <c:v>29.339101693765208</c:v>
                </c:pt>
                <c:pt idx="1648">
                  <c:v>32.521674218262348</c:v>
                </c:pt>
                <c:pt idx="1649">
                  <c:v>28.315307852944642</c:v>
                </c:pt>
                <c:pt idx="1650">
                  <c:v>34.388570622738186</c:v>
                </c:pt>
                <c:pt idx="1651">
                  <c:v>54.690742047391701</c:v>
                </c:pt>
                <c:pt idx="1652">
                  <c:v>30.94184167360774</c:v>
                </c:pt>
                <c:pt idx="1653">
                  <c:v>23.203312504763034</c:v>
                </c:pt>
                <c:pt idx="1654">
                  <c:v>43.679034447875047</c:v>
                </c:pt>
                <c:pt idx="1655">
                  <c:v>34.183127164506018</c:v>
                </c:pt>
                <c:pt idx="1656">
                  <c:v>37.928681183669163</c:v>
                </c:pt>
                <c:pt idx="1657">
                  <c:v>24.156236749589155</c:v>
                </c:pt>
                <c:pt idx="1658">
                  <c:v>25.065002864209614</c:v>
                </c:pt>
                <c:pt idx="1659">
                  <c:v>28.338920531172686</c:v>
                </c:pt>
                <c:pt idx="1660">
                  <c:v>24.373387646773637</c:v>
                </c:pt>
                <c:pt idx="1661">
                  <c:v>27.189721736916535</c:v>
                </c:pt>
                <c:pt idx="1662">
                  <c:v>31.049729318184486</c:v>
                </c:pt>
                <c:pt idx="1663">
                  <c:v>37.870950037711779</c:v>
                </c:pt>
                <c:pt idx="1664">
                  <c:v>26.139011893172096</c:v>
                </c:pt>
                <c:pt idx="1665">
                  <c:v>39.733547325855433</c:v>
                </c:pt>
                <c:pt idx="1666">
                  <c:v>21.903151622859458</c:v>
                </c:pt>
                <c:pt idx="1667">
                  <c:v>27.244650708816366</c:v>
                </c:pt>
                <c:pt idx="1668">
                  <c:v>28.596363261749552</c:v>
                </c:pt>
                <c:pt idx="1669">
                  <c:v>44.401145569455011</c:v>
                </c:pt>
                <c:pt idx="1670">
                  <c:v>48.869242982067902</c:v>
                </c:pt>
                <c:pt idx="1671">
                  <c:v>35.696259099717977</c:v>
                </c:pt>
                <c:pt idx="1672">
                  <c:v>40.910595059407285</c:v>
                </c:pt>
                <c:pt idx="1673">
                  <c:v>33.502156061427421</c:v>
                </c:pt>
                <c:pt idx="1674">
                  <c:v>27.445527590568233</c:v>
                </c:pt>
                <c:pt idx="1675">
                  <c:v>52.568445435496827</c:v>
                </c:pt>
                <c:pt idx="1676">
                  <c:v>32.171464313848887</c:v>
                </c:pt>
                <c:pt idx="1677">
                  <c:v>20.652896478213339</c:v>
                </c:pt>
                <c:pt idx="1678">
                  <c:v>39.448027990373717</c:v>
                </c:pt>
                <c:pt idx="1679">
                  <c:v>19.725676015553489</c:v>
                </c:pt>
                <c:pt idx="1680">
                  <c:v>32.526817393490688</c:v>
                </c:pt>
                <c:pt idx="1681">
                  <c:v>24.10949701820163</c:v>
                </c:pt>
                <c:pt idx="1682">
                  <c:v>28.152079710330185</c:v>
                </c:pt>
                <c:pt idx="1683">
                  <c:v>22.863997546808672</c:v>
                </c:pt>
                <c:pt idx="1684">
                  <c:v>20.482485998005753</c:v>
                </c:pt>
                <c:pt idx="1685">
                  <c:v>26.181493637063198</c:v>
                </c:pt>
                <c:pt idx="1686">
                  <c:v>17.825836857728518</c:v>
                </c:pt>
                <c:pt idx="1687">
                  <c:v>47.672881673818473</c:v>
                </c:pt>
                <c:pt idx="1688">
                  <c:v>28.613832848173583</c:v>
                </c:pt>
                <c:pt idx="1689">
                  <c:v>29.319443104822398</c:v>
                </c:pt>
                <c:pt idx="1690">
                  <c:v>56.583791645123085</c:v>
                </c:pt>
                <c:pt idx="1691">
                  <c:v>22.540354850525411</c:v>
                </c:pt>
                <c:pt idx="1692">
                  <c:v>26.406467145580237</c:v>
                </c:pt>
                <c:pt idx="1693">
                  <c:v>41.890811077285328</c:v>
                </c:pt>
                <c:pt idx="1694">
                  <c:v>29.887915307677172</c:v>
                </c:pt>
                <c:pt idx="1695">
                  <c:v>25.460408609966304</c:v>
                </c:pt>
                <c:pt idx="1696">
                  <c:v>24.233364496927056</c:v>
                </c:pt>
                <c:pt idx="1697">
                  <c:v>23.673482067663393</c:v>
                </c:pt>
                <c:pt idx="1698">
                  <c:v>19.243547201231298</c:v>
                </c:pt>
                <c:pt idx="1699">
                  <c:v>42.921993963078101</c:v>
                </c:pt>
                <c:pt idx="1700">
                  <c:v>24.052200342384417</c:v>
                </c:pt>
                <c:pt idx="1701">
                  <c:v>32.121379269082318</c:v>
                </c:pt>
                <c:pt idx="1702">
                  <c:v>29.746243282220469</c:v>
                </c:pt>
                <c:pt idx="1703">
                  <c:v>43.259161594719934</c:v>
                </c:pt>
                <c:pt idx="1704">
                  <c:v>32.749131750895998</c:v>
                </c:pt>
                <c:pt idx="1705">
                  <c:v>18.48500366873953</c:v>
                </c:pt>
                <c:pt idx="1706">
                  <c:v>26.57458592130525</c:v>
                </c:pt>
                <c:pt idx="1707">
                  <c:v>24.957144422677771</c:v>
                </c:pt>
                <c:pt idx="1708">
                  <c:v>28.796432749510998</c:v>
                </c:pt>
                <c:pt idx="1709">
                  <c:v>35.717935473250094</c:v>
                </c:pt>
                <c:pt idx="1710">
                  <c:v>30.835693215405534</c:v>
                </c:pt>
                <c:pt idx="1711">
                  <c:v>20.114215411741927</c:v>
                </c:pt>
                <c:pt idx="1712">
                  <c:v>30.307372714851365</c:v>
                </c:pt>
                <c:pt idx="1713">
                  <c:v>23.420286120702286</c:v>
                </c:pt>
                <c:pt idx="1714">
                  <c:v>42.042641379640102</c:v>
                </c:pt>
                <c:pt idx="1715">
                  <c:v>47.480921101953633</c:v>
                </c:pt>
                <c:pt idx="1716">
                  <c:v>22.496820837294777</c:v>
                </c:pt>
                <c:pt idx="1717">
                  <c:v>21.730458767363864</c:v>
                </c:pt>
                <c:pt idx="1718">
                  <c:v>26.158822317903319</c:v>
                </c:pt>
                <c:pt idx="1719">
                  <c:v>54.565147679683449</c:v>
                </c:pt>
                <c:pt idx="1720">
                  <c:v>47.60197362612724</c:v>
                </c:pt>
                <c:pt idx="1721">
                  <c:v>34.139085667465849</c:v>
                </c:pt>
                <c:pt idx="1722">
                  <c:v>29.204128662685324</c:v>
                </c:pt>
                <c:pt idx="1723">
                  <c:v>28.087547838705675</c:v>
                </c:pt>
                <c:pt idx="1724">
                  <c:v>26.40826766793964</c:v>
                </c:pt>
                <c:pt idx="1725">
                  <c:v>28.313072828829853</c:v>
                </c:pt>
                <c:pt idx="1726">
                  <c:v>23.581454057133179</c:v>
                </c:pt>
                <c:pt idx="1727">
                  <c:v>26.576204299703285</c:v>
                </c:pt>
                <c:pt idx="1728">
                  <c:v>28.531004129124756</c:v>
                </c:pt>
                <c:pt idx="1729">
                  <c:v>28.421845320267956</c:v>
                </c:pt>
                <c:pt idx="1730">
                  <c:v>47.669344934320833</c:v>
                </c:pt>
                <c:pt idx="1731">
                  <c:v>44.071386348373444</c:v>
                </c:pt>
                <c:pt idx="1732">
                  <c:v>22.091847589007251</c:v>
                </c:pt>
                <c:pt idx="1733">
                  <c:v>36.2536504303743</c:v>
                </c:pt>
                <c:pt idx="1734">
                  <c:v>20.299353094739754</c:v>
                </c:pt>
                <c:pt idx="1735">
                  <c:v>24.370253071821924</c:v>
                </c:pt>
                <c:pt idx="1736">
                  <c:v>32.56069373677488</c:v>
                </c:pt>
                <c:pt idx="1737">
                  <c:v>29.053629259672793</c:v>
                </c:pt>
                <c:pt idx="1738">
                  <c:v>18.648443416507327</c:v>
                </c:pt>
                <c:pt idx="1739">
                  <c:v>27.131508794754513</c:v>
                </c:pt>
                <c:pt idx="1740">
                  <c:v>30.535778497363751</c:v>
                </c:pt>
                <c:pt idx="1741">
                  <c:v>26.46962682957119</c:v>
                </c:pt>
                <c:pt idx="1742">
                  <c:v>31.595080701941349</c:v>
                </c:pt>
                <c:pt idx="1743">
                  <c:v>23.488447309998659</c:v>
                </c:pt>
                <c:pt idx="1744">
                  <c:v>52.71794166719684</c:v>
                </c:pt>
                <c:pt idx="1745">
                  <c:v>33.397290527983444</c:v>
                </c:pt>
                <c:pt idx="1746">
                  <c:v>24.156939593381427</c:v>
                </c:pt>
                <c:pt idx="1747">
                  <c:v>25.433545493304237</c:v>
                </c:pt>
                <c:pt idx="1748">
                  <c:v>24.372207551233192</c:v>
                </c:pt>
                <c:pt idx="1749">
                  <c:v>30.807793521095356</c:v>
                </c:pt>
                <c:pt idx="1750">
                  <c:v>39.661643463179473</c:v>
                </c:pt>
                <c:pt idx="1751">
                  <c:v>22.032524009631036</c:v>
                </c:pt>
                <c:pt idx="1752">
                  <c:v>24.98105440454238</c:v>
                </c:pt>
                <c:pt idx="1753">
                  <c:v>31.375526584697827</c:v>
                </c:pt>
                <c:pt idx="1754">
                  <c:v>28.548589558003748</c:v>
                </c:pt>
                <c:pt idx="1755">
                  <c:v>21.917820655454232</c:v>
                </c:pt>
                <c:pt idx="1756">
                  <c:v>28.305919100943708</c:v>
                </c:pt>
                <c:pt idx="1757">
                  <c:v>27.790044806373039</c:v>
                </c:pt>
                <c:pt idx="1758">
                  <c:v>27.895734651233031</c:v>
                </c:pt>
                <c:pt idx="1759">
                  <c:v>23.871550188216958</c:v>
                </c:pt>
                <c:pt idx="1760">
                  <c:v>19.055538838473478</c:v>
                </c:pt>
                <c:pt idx="1761">
                  <c:v>30.701285904197565</c:v>
                </c:pt>
                <c:pt idx="1762">
                  <c:v>22.35370043748026</c:v>
                </c:pt>
                <c:pt idx="1763">
                  <c:v>42.011122831316939</c:v>
                </c:pt>
                <c:pt idx="1764">
                  <c:v>23.280011720582177</c:v>
                </c:pt>
                <c:pt idx="1765">
                  <c:v>31.066149231945232</c:v>
                </c:pt>
                <c:pt idx="1766">
                  <c:v>31.144039014535934</c:v>
                </c:pt>
                <c:pt idx="1767">
                  <c:v>22.388235823488323</c:v>
                </c:pt>
                <c:pt idx="1768">
                  <c:v>24.344686642242849</c:v>
                </c:pt>
                <c:pt idx="1769">
                  <c:v>22.648381034069565</c:v>
                </c:pt>
                <c:pt idx="1770">
                  <c:v>25.30734472870256</c:v>
                </c:pt>
                <c:pt idx="1771">
                  <c:v>26.953538049288969</c:v>
                </c:pt>
                <c:pt idx="1772">
                  <c:v>42.496853672479602</c:v>
                </c:pt>
                <c:pt idx="1773">
                  <c:v>23.989384913172419</c:v>
                </c:pt>
                <c:pt idx="1774">
                  <c:v>19.678245791812763</c:v>
                </c:pt>
                <c:pt idx="1775">
                  <c:v>35.649289848222097</c:v>
                </c:pt>
                <c:pt idx="1776">
                  <c:v>26.006851159138471</c:v>
                </c:pt>
                <c:pt idx="1777">
                  <c:v>23.557232122212813</c:v>
                </c:pt>
                <c:pt idx="1778">
                  <c:v>21.577687357822118</c:v>
                </c:pt>
                <c:pt idx="1779">
                  <c:v>25.829705538487616</c:v>
                </c:pt>
                <c:pt idx="1780">
                  <c:v>19.214135753414954</c:v>
                </c:pt>
                <c:pt idx="1781">
                  <c:v>35.063287053426613</c:v>
                </c:pt>
                <c:pt idx="1782">
                  <c:v>40.765950390423477</c:v>
                </c:pt>
                <c:pt idx="1783">
                  <c:v>40.608149529605207</c:v>
                </c:pt>
                <c:pt idx="1784">
                  <c:v>30.649182525521198</c:v>
                </c:pt>
                <c:pt idx="1785">
                  <c:v>54.649992645528442</c:v>
                </c:pt>
                <c:pt idx="1786">
                  <c:v>31.404398428918164</c:v>
                </c:pt>
                <c:pt idx="1787">
                  <c:v>61.162615765899389</c:v>
                </c:pt>
                <c:pt idx="1788">
                  <c:v>27.95645832839023</c:v>
                </c:pt>
                <c:pt idx="1789">
                  <c:v>29.70239908965808</c:v>
                </c:pt>
                <c:pt idx="1790">
                  <c:v>25.111364021153129</c:v>
                </c:pt>
                <c:pt idx="1791">
                  <c:v>30.390236380092343</c:v>
                </c:pt>
                <c:pt idx="1792">
                  <c:v>28.825832685875049</c:v>
                </c:pt>
                <c:pt idx="1793">
                  <c:v>23.50096265976498</c:v>
                </c:pt>
                <c:pt idx="1794">
                  <c:v>30.016872265798099</c:v>
                </c:pt>
                <c:pt idx="1795">
                  <c:v>17.588128697847718</c:v>
                </c:pt>
                <c:pt idx="1796">
                  <c:v>28.985100663415402</c:v>
                </c:pt>
                <c:pt idx="1797">
                  <c:v>29.791248119054181</c:v>
                </c:pt>
                <c:pt idx="1798">
                  <c:v>27.779261060395125</c:v>
                </c:pt>
                <c:pt idx="1799">
                  <c:v>25.861796479254632</c:v>
                </c:pt>
                <c:pt idx="1800">
                  <c:v>32.154811618781615</c:v>
                </c:pt>
                <c:pt idx="1801">
                  <c:v>37.034010632244005</c:v>
                </c:pt>
                <c:pt idx="1802">
                  <c:v>35.283213029943475</c:v>
                </c:pt>
                <c:pt idx="1803">
                  <c:v>29.711705323278458</c:v>
                </c:pt>
                <c:pt idx="1804">
                  <c:v>19.795049538403479</c:v>
                </c:pt>
                <c:pt idx="1805">
                  <c:v>54.869576709470394</c:v>
                </c:pt>
                <c:pt idx="1806">
                  <c:v>35.934592537006822</c:v>
                </c:pt>
                <c:pt idx="1807">
                  <c:v>22.825201251011844</c:v>
                </c:pt>
                <c:pt idx="1808">
                  <c:v>21.31309123756715</c:v>
                </c:pt>
                <c:pt idx="1809">
                  <c:v>23.569575066028939</c:v>
                </c:pt>
                <c:pt idx="1810">
                  <c:v>31.645696653733452</c:v>
                </c:pt>
                <c:pt idx="1811">
                  <c:v>51.811441487279488</c:v>
                </c:pt>
                <c:pt idx="1812">
                  <c:v>29.853927096990695</c:v>
                </c:pt>
                <c:pt idx="1813">
                  <c:v>40.65915398460205</c:v>
                </c:pt>
                <c:pt idx="1814">
                  <c:v>25.338987476348695</c:v>
                </c:pt>
                <c:pt idx="1815">
                  <c:v>19.987452778544274</c:v>
                </c:pt>
                <c:pt idx="1816">
                  <c:v>26.38121413940457</c:v>
                </c:pt>
                <c:pt idx="1817">
                  <c:v>29.485678086873055</c:v>
                </c:pt>
                <c:pt idx="1818">
                  <c:v>26.175425530834989</c:v>
                </c:pt>
                <c:pt idx="1819">
                  <c:v>28.872277420529358</c:v>
                </c:pt>
                <c:pt idx="1820">
                  <c:v>32.719218302893751</c:v>
                </c:pt>
                <c:pt idx="1821">
                  <c:v>42.798489896638209</c:v>
                </c:pt>
                <c:pt idx="1822">
                  <c:v>37.90753717123458</c:v>
                </c:pt>
                <c:pt idx="1823">
                  <c:v>29.877436574840814</c:v>
                </c:pt>
                <c:pt idx="1824">
                  <c:v>22.114124958220906</c:v>
                </c:pt>
                <c:pt idx="1825">
                  <c:v>31.506405063687581</c:v>
                </c:pt>
                <c:pt idx="1826">
                  <c:v>49.808360388086975</c:v>
                </c:pt>
                <c:pt idx="1827">
                  <c:v>30.742170439633394</c:v>
                </c:pt>
                <c:pt idx="1828">
                  <c:v>32.647822811176894</c:v>
                </c:pt>
                <c:pt idx="1829">
                  <c:v>30.206390161435579</c:v>
                </c:pt>
                <c:pt idx="1830">
                  <c:v>22.861225643687874</c:v>
                </c:pt>
                <c:pt idx="1831">
                  <c:v>26.062952699867235</c:v>
                </c:pt>
                <c:pt idx="1832">
                  <c:v>23.022952405774099</c:v>
                </c:pt>
                <c:pt idx="1833">
                  <c:v>38.185073671767618</c:v>
                </c:pt>
                <c:pt idx="1834">
                  <c:v>21.525783629970377</c:v>
                </c:pt>
                <c:pt idx="1835">
                  <c:v>24.75264453586097</c:v>
                </c:pt>
                <c:pt idx="1836">
                  <c:v>22.745355149113898</c:v>
                </c:pt>
                <c:pt idx="1837">
                  <c:v>25.714053212881332</c:v>
                </c:pt>
                <c:pt idx="1838">
                  <c:v>27.965022974625445</c:v>
                </c:pt>
                <c:pt idx="1839">
                  <c:v>25.418679366184193</c:v>
                </c:pt>
                <c:pt idx="1840">
                  <c:v>45.98093963470798</c:v>
                </c:pt>
                <c:pt idx="1841">
                  <c:v>35.846530273665039</c:v>
                </c:pt>
                <c:pt idx="1842">
                  <c:v>43.065172678784556</c:v>
                </c:pt>
                <c:pt idx="1843">
                  <c:v>49.214009629729134</c:v>
                </c:pt>
                <c:pt idx="1844">
                  <c:v>52.537837351239737</c:v>
                </c:pt>
                <c:pt idx="1845">
                  <c:v>24.410892264833286</c:v>
                </c:pt>
                <c:pt idx="1846">
                  <c:v>21.027716391861919</c:v>
                </c:pt>
                <c:pt idx="1847">
                  <c:v>28.849127188403308</c:v>
                </c:pt>
                <c:pt idx="1848">
                  <c:v>38.502422206855634</c:v>
                </c:pt>
                <c:pt idx="1849">
                  <c:v>43.482642547943883</c:v>
                </c:pt>
                <c:pt idx="1850">
                  <c:v>33.53562026682215</c:v>
                </c:pt>
                <c:pt idx="1851">
                  <c:v>41.248350490663398</c:v>
                </c:pt>
                <c:pt idx="1852">
                  <c:v>24.593764420273786</c:v>
                </c:pt>
                <c:pt idx="1853">
                  <c:v>29.281967757842619</c:v>
                </c:pt>
                <c:pt idx="1854">
                  <c:v>27.798784002534767</c:v>
                </c:pt>
                <c:pt idx="1855">
                  <c:v>46.949843167542873</c:v>
                </c:pt>
                <c:pt idx="1856">
                  <c:v>32.509291655742743</c:v>
                </c:pt>
                <c:pt idx="1857">
                  <c:v>45.44355431428982</c:v>
                </c:pt>
                <c:pt idx="1858">
                  <c:v>24.770165444436124</c:v>
                </c:pt>
                <c:pt idx="1859">
                  <c:v>41.481255667273501</c:v>
                </c:pt>
                <c:pt idx="1860">
                  <c:v>26.492364226468069</c:v>
                </c:pt>
                <c:pt idx="1861">
                  <c:v>28.809552880536462</c:v>
                </c:pt>
                <c:pt idx="1862">
                  <c:v>22.345618008250234</c:v>
                </c:pt>
                <c:pt idx="1863">
                  <c:v>36.721059691457015</c:v>
                </c:pt>
                <c:pt idx="1864">
                  <c:v>29.882451692081037</c:v>
                </c:pt>
                <c:pt idx="1865">
                  <c:v>49.462620748310876</c:v>
                </c:pt>
                <c:pt idx="1866">
                  <c:v>28.54423802455085</c:v>
                </c:pt>
                <c:pt idx="1867">
                  <c:v>41.926498284428888</c:v>
                </c:pt>
                <c:pt idx="1868">
                  <c:v>31.432725471248538</c:v>
                </c:pt>
                <c:pt idx="1869">
                  <c:v>27.419931529095809</c:v>
                </c:pt>
                <c:pt idx="1870">
                  <c:v>23.267563884153166</c:v>
                </c:pt>
                <c:pt idx="1871">
                  <c:v>30.025664713027318</c:v>
                </c:pt>
                <c:pt idx="1872">
                  <c:v>21.682831169471786</c:v>
                </c:pt>
                <c:pt idx="1873">
                  <c:v>29.226198414433714</c:v>
                </c:pt>
                <c:pt idx="1874">
                  <c:v>42.109440146093668</c:v>
                </c:pt>
                <c:pt idx="1875">
                  <c:v>27.305751310357902</c:v>
                </c:pt>
                <c:pt idx="1876">
                  <c:v>27.893569341959513</c:v>
                </c:pt>
                <c:pt idx="1877">
                  <c:v>22.419622436187559</c:v>
                </c:pt>
                <c:pt idx="1878">
                  <c:v>26.276098458945878</c:v>
                </c:pt>
                <c:pt idx="1879">
                  <c:v>26.908067108989414</c:v>
                </c:pt>
                <c:pt idx="1880">
                  <c:v>22.983899946692588</c:v>
                </c:pt>
                <c:pt idx="1881">
                  <c:v>26.790791275908898</c:v>
                </c:pt>
                <c:pt idx="1882">
                  <c:v>21.822106819044492</c:v>
                </c:pt>
                <c:pt idx="1883">
                  <c:v>23.134393754710786</c:v>
                </c:pt>
                <c:pt idx="1884">
                  <c:v>22.264440735414006</c:v>
                </c:pt>
                <c:pt idx="1885">
                  <c:v>29.789778840610207</c:v>
                </c:pt>
                <c:pt idx="1886">
                  <c:v>22.536039293840251</c:v>
                </c:pt>
                <c:pt idx="1887">
                  <c:v>50.323737452913221</c:v>
                </c:pt>
                <c:pt idx="1888">
                  <c:v>19.857798240830707</c:v>
                </c:pt>
                <c:pt idx="1889">
                  <c:v>22.669121314887846</c:v>
                </c:pt>
                <c:pt idx="1890">
                  <c:v>27.296692930583859</c:v>
                </c:pt>
                <c:pt idx="1891">
                  <c:v>22.182787271624193</c:v>
                </c:pt>
                <c:pt idx="1892">
                  <c:v>55.66498030730456</c:v>
                </c:pt>
                <c:pt idx="1893">
                  <c:v>32.289846227439511</c:v>
                </c:pt>
                <c:pt idx="1894">
                  <c:v>22.23177983076237</c:v>
                </c:pt>
                <c:pt idx="1895">
                  <c:v>24.427030077392722</c:v>
                </c:pt>
                <c:pt idx="1896">
                  <c:v>30.056825035772434</c:v>
                </c:pt>
                <c:pt idx="1897">
                  <c:v>61.282994520996056</c:v>
                </c:pt>
                <c:pt idx="1898">
                  <c:v>42.136231799259704</c:v>
                </c:pt>
                <c:pt idx="1899">
                  <c:v>27.192542296508762</c:v>
                </c:pt>
                <c:pt idx="1900">
                  <c:v>21.362708848311527</c:v>
                </c:pt>
                <c:pt idx="1901">
                  <c:v>26.61789830748727</c:v>
                </c:pt>
                <c:pt idx="1902">
                  <c:v>46.869272122917735</c:v>
                </c:pt>
                <c:pt idx="1903">
                  <c:v>23.861526132977893</c:v>
                </c:pt>
                <c:pt idx="1904">
                  <c:v>25.584111964522275</c:v>
                </c:pt>
                <c:pt idx="1905">
                  <c:v>42.806457861838823</c:v>
                </c:pt>
                <c:pt idx="1906">
                  <c:v>40.519877557216041</c:v>
                </c:pt>
                <c:pt idx="1907">
                  <c:v>24.895727489540167</c:v>
                </c:pt>
                <c:pt idx="1908">
                  <c:v>42.776647825628302</c:v>
                </c:pt>
                <c:pt idx="1909">
                  <c:v>25.642855082614364</c:v>
                </c:pt>
                <c:pt idx="1910">
                  <c:v>37.044260502578474</c:v>
                </c:pt>
                <c:pt idx="1911">
                  <c:v>49.839705561916844</c:v>
                </c:pt>
                <c:pt idx="1912">
                  <c:v>32.280797943224229</c:v>
                </c:pt>
                <c:pt idx="1913">
                  <c:v>44.770793339129582</c:v>
                </c:pt>
                <c:pt idx="1914">
                  <c:v>37.18789405154012</c:v>
                </c:pt>
                <c:pt idx="1915">
                  <c:v>18.375849727863255</c:v>
                </c:pt>
                <c:pt idx="1916">
                  <c:v>37.58786637593662</c:v>
                </c:pt>
                <c:pt idx="1917">
                  <c:v>28.122538074211526</c:v>
                </c:pt>
                <c:pt idx="1918">
                  <c:v>21.83181144559731</c:v>
                </c:pt>
                <c:pt idx="1919">
                  <c:v>28.415140871083207</c:v>
                </c:pt>
                <c:pt idx="1920">
                  <c:v>50.066694776025741</c:v>
                </c:pt>
                <c:pt idx="1921">
                  <c:v>33.819146117439679</c:v>
                </c:pt>
                <c:pt idx="1922">
                  <c:v>27.332534106503008</c:v>
                </c:pt>
                <c:pt idx="1923">
                  <c:v>19.637538296640543</c:v>
                </c:pt>
                <c:pt idx="1924">
                  <c:v>24.872145791080584</c:v>
                </c:pt>
                <c:pt idx="1925">
                  <c:v>22.793055159796694</c:v>
                </c:pt>
                <c:pt idx="1926">
                  <c:v>22.632136079364422</c:v>
                </c:pt>
                <c:pt idx="1927">
                  <c:v>15.340172051497614</c:v>
                </c:pt>
                <c:pt idx="1928">
                  <c:v>51.946962488603745</c:v>
                </c:pt>
                <c:pt idx="1929">
                  <c:v>26.244132334043449</c:v>
                </c:pt>
                <c:pt idx="1930">
                  <c:v>43.57692945147771</c:v>
                </c:pt>
                <c:pt idx="1931">
                  <c:v>24.230936180729472</c:v>
                </c:pt>
                <c:pt idx="1932">
                  <c:v>44.854212293927702</c:v>
                </c:pt>
                <c:pt idx="1933">
                  <c:v>33.909346504731779</c:v>
                </c:pt>
                <c:pt idx="1934">
                  <c:v>28.883602206604145</c:v>
                </c:pt>
                <c:pt idx="1935">
                  <c:v>26.752277645410306</c:v>
                </c:pt>
                <c:pt idx="1936">
                  <c:v>21.166291034857057</c:v>
                </c:pt>
                <c:pt idx="1937">
                  <c:v>44.346244642363146</c:v>
                </c:pt>
                <c:pt idx="1938">
                  <c:v>50.827118279451739</c:v>
                </c:pt>
                <c:pt idx="1939">
                  <c:v>25.416509328530886</c:v>
                </c:pt>
                <c:pt idx="1940">
                  <c:v>24.622460939674873</c:v>
                </c:pt>
                <c:pt idx="1941">
                  <c:v>36.870142841483755</c:v>
                </c:pt>
                <c:pt idx="1942">
                  <c:v>28.254682507821606</c:v>
                </c:pt>
                <c:pt idx="1943">
                  <c:v>22.560621316288628</c:v>
                </c:pt>
                <c:pt idx="1944">
                  <c:v>27.06880218545021</c:v>
                </c:pt>
                <c:pt idx="1945">
                  <c:v>27.765807583910096</c:v>
                </c:pt>
                <c:pt idx="1946">
                  <c:v>38.855928690436869</c:v>
                </c:pt>
                <c:pt idx="1947">
                  <c:v>24.716623702879794</c:v>
                </c:pt>
                <c:pt idx="1948">
                  <c:v>37.444487562518248</c:v>
                </c:pt>
                <c:pt idx="1949">
                  <c:v>28.350491243253362</c:v>
                </c:pt>
                <c:pt idx="1950">
                  <c:v>26.55350991241648</c:v>
                </c:pt>
                <c:pt idx="1951">
                  <c:v>30.449932656341105</c:v>
                </c:pt>
                <c:pt idx="1952">
                  <c:v>31.936403213704232</c:v>
                </c:pt>
                <c:pt idx="1953">
                  <c:v>33.626980530143605</c:v>
                </c:pt>
                <c:pt idx="1954">
                  <c:v>30.796928654715266</c:v>
                </c:pt>
                <c:pt idx="1955">
                  <c:v>31.253013486669403</c:v>
                </c:pt>
                <c:pt idx="1956">
                  <c:v>28.524912989416379</c:v>
                </c:pt>
                <c:pt idx="1957">
                  <c:v>35.830506325176522</c:v>
                </c:pt>
                <c:pt idx="1958">
                  <c:v>35.749816962806506</c:v>
                </c:pt>
                <c:pt idx="1959">
                  <c:v>29.609630049981561</c:v>
                </c:pt>
                <c:pt idx="1960">
                  <c:v>44.299667067457953</c:v>
                </c:pt>
                <c:pt idx="1961">
                  <c:v>29.178198575437218</c:v>
                </c:pt>
                <c:pt idx="1962">
                  <c:v>48.573621932551909</c:v>
                </c:pt>
                <c:pt idx="1963">
                  <c:v>49.519954679906597</c:v>
                </c:pt>
                <c:pt idx="1964">
                  <c:v>23.999183469039714</c:v>
                </c:pt>
                <c:pt idx="1965">
                  <c:v>32.719796208983425</c:v>
                </c:pt>
                <c:pt idx="1966">
                  <c:v>43.435162381112377</c:v>
                </c:pt>
                <c:pt idx="1967">
                  <c:v>27.697395458028165</c:v>
                </c:pt>
                <c:pt idx="1968">
                  <c:v>30.878846705239621</c:v>
                </c:pt>
                <c:pt idx="1969">
                  <c:v>52.867089715926156</c:v>
                </c:pt>
                <c:pt idx="1970">
                  <c:v>26.691330525551592</c:v>
                </c:pt>
                <c:pt idx="1971">
                  <c:v>16.023378790915125</c:v>
                </c:pt>
                <c:pt idx="1972">
                  <c:v>22.619358077461481</c:v>
                </c:pt>
                <c:pt idx="1973">
                  <c:v>23.960901197032822</c:v>
                </c:pt>
                <c:pt idx="1974">
                  <c:v>32.541164489154959</c:v>
                </c:pt>
                <c:pt idx="1975">
                  <c:v>21.835845341920916</c:v>
                </c:pt>
                <c:pt idx="1976">
                  <c:v>46.777229014712553</c:v>
                </c:pt>
                <c:pt idx="1977">
                  <c:v>29.027622701175314</c:v>
                </c:pt>
                <c:pt idx="1978">
                  <c:v>21.872601577357131</c:v>
                </c:pt>
                <c:pt idx="1979">
                  <c:v>20.66946297384969</c:v>
                </c:pt>
                <c:pt idx="1980">
                  <c:v>27.229843424072541</c:v>
                </c:pt>
                <c:pt idx="1981">
                  <c:v>25.314384032503103</c:v>
                </c:pt>
                <c:pt idx="1982">
                  <c:v>26.301931028717863</c:v>
                </c:pt>
                <c:pt idx="1983">
                  <c:v>31.911069132710502</c:v>
                </c:pt>
                <c:pt idx="1984">
                  <c:v>30.78428337625251</c:v>
                </c:pt>
                <c:pt idx="1985">
                  <c:v>56.70264951656636</c:v>
                </c:pt>
                <c:pt idx="1986">
                  <c:v>35.70288709192193</c:v>
                </c:pt>
                <c:pt idx="1987">
                  <c:v>37.577750227129684</c:v>
                </c:pt>
                <c:pt idx="1988">
                  <c:v>39.897437411453488</c:v>
                </c:pt>
                <c:pt idx="1989">
                  <c:v>33.040665704301645</c:v>
                </c:pt>
                <c:pt idx="1990">
                  <c:v>15.418420712612932</c:v>
                </c:pt>
                <c:pt idx="1991">
                  <c:v>23.909849264318563</c:v>
                </c:pt>
                <c:pt idx="1992">
                  <c:v>41.622065360253281</c:v>
                </c:pt>
                <c:pt idx="1993">
                  <c:v>23.788104645732513</c:v>
                </c:pt>
                <c:pt idx="1994">
                  <c:v>25.444741153898789</c:v>
                </c:pt>
                <c:pt idx="1995">
                  <c:v>36.529922833326133</c:v>
                </c:pt>
                <c:pt idx="1996">
                  <c:v>31.90451945822775</c:v>
                </c:pt>
                <c:pt idx="1997">
                  <c:v>47.474725174233463</c:v>
                </c:pt>
                <c:pt idx="1998">
                  <c:v>23.381987190631506</c:v>
                </c:pt>
                <c:pt idx="1999">
                  <c:v>28.440386926412373</c:v>
                </c:pt>
                <c:pt idx="2000">
                  <c:v>45.446735188495168</c:v>
                </c:pt>
                <c:pt idx="2001">
                  <c:v>28.329090626038976</c:v>
                </c:pt>
                <c:pt idx="2002">
                  <c:v>25.629568990141355</c:v>
                </c:pt>
                <c:pt idx="2003">
                  <c:v>43.793107055813792</c:v>
                </c:pt>
                <c:pt idx="2004">
                  <c:v>30.209524368914551</c:v>
                </c:pt>
                <c:pt idx="2005">
                  <c:v>52.127553526398714</c:v>
                </c:pt>
                <c:pt idx="2006">
                  <c:v>40.083095043382599</c:v>
                </c:pt>
                <c:pt idx="2007">
                  <c:v>28.271719916858018</c:v>
                </c:pt>
                <c:pt idx="2008">
                  <c:v>47.891889739083915</c:v>
                </c:pt>
                <c:pt idx="2009">
                  <c:v>29.944262603254536</c:v>
                </c:pt>
                <c:pt idx="2010">
                  <c:v>27.880947366545147</c:v>
                </c:pt>
                <c:pt idx="2011">
                  <c:v>49.865230139246876</c:v>
                </c:pt>
                <c:pt idx="2012">
                  <c:v>26.999911917167427</c:v>
                </c:pt>
                <c:pt idx="2013">
                  <c:v>28.089605728112563</c:v>
                </c:pt>
                <c:pt idx="2014">
                  <c:v>19.587810622299266</c:v>
                </c:pt>
                <c:pt idx="2015">
                  <c:v>36.258701924721279</c:v>
                </c:pt>
                <c:pt idx="2016">
                  <c:v>38.442508782830011</c:v>
                </c:pt>
                <c:pt idx="2017">
                  <c:v>18.845038999889557</c:v>
                </c:pt>
                <c:pt idx="2018">
                  <c:v>56.336305378734565</c:v>
                </c:pt>
                <c:pt idx="2019">
                  <c:v>42.272749791292753</c:v>
                </c:pt>
                <c:pt idx="2020">
                  <c:v>23.597455794400386</c:v>
                </c:pt>
                <c:pt idx="2021">
                  <c:v>42.624951256615702</c:v>
                </c:pt>
                <c:pt idx="2022">
                  <c:v>26.259077658550318</c:v>
                </c:pt>
                <c:pt idx="2023">
                  <c:v>28.289901491326457</c:v>
                </c:pt>
                <c:pt idx="2024">
                  <c:v>52.545336032053399</c:v>
                </c:pt>
                <c:pt idx="2025">
                  <c:v>30.1112873027039</c:v>
                </c:pt>
                <c:pt idx="2026">
                  <c:v>23.413031837323274</c:v>
                </c:pt>
                <c:pt idx="2027">
                  <c:v>25.990957137555178</c:v>
                </c:pt>
                <c:pt idx="2028">
                  <c:v>25.812588835330757</c:v>
                </c:pt>
                <c:pt idx="2029">
                  <c:v>20.264354594992525</c:v>
                </c:pt>
                <c:pt idx="2030">
                  <c:v>26.786786162585106</c:v>
                </c:pt>
                <c:pt idx="2031">
                  <c:v>34.18674126018567</c:v>
                </c:pt>
                <c:pt idx="2032">
                  <c:v>38.449893050156696</c:v>
                </c:pt>
                <c:pt idx="2033">
                  <c:v>37.991363671969864</c:v>
                </c:pt>
                <c:pt idx="2034">
                  <c:v>21.941641825514925</c:v>
                </c:pt>
                <c:pt idx="2035">
                  <c:v>40.522052704046821</c:v>
                </c:pt>
                <c:pt idx="2036">
                  <c:v>27.70956254933283</c:v>
                </c:pt>
                <c:pt idx="2037">
                  <c:v>29.151296467406144</c:v>
                </c:pt>
                <c:pt idx="2038">
                  <c:v>42.305934004387289</c:v>
                </c:pt>
                <c:pt idx="2039">
                  <c:v>26.129105646053659</c:v>
                </c:pt>
                <c:pt idx="2040">
                  <c:v>45.719531850950538</c:v>
                </c:pt>
                <c:pt idx="2041">
                  <c:v>29.438378228143232</c:v>
                </c:pt>
                <c:pt idx="2042">
                  <c:v>30.463858595356001</c:v>
                </c:pt>
                <c:pt idx="2043">
                  <c:v>26.185316326971236</c:v>
                </c:pt>
                <c:pt idx="2044">
                  <c:v>26.702213562334848</c:v>
                </c:pt>
                <c:pt idx="2045">
                  <c:v>36.748061680522163</c:v>
                </c:pt>
                <c:pt idx="2046">
                  <c:v>37.860467107507887</c:v>
                </c:pt>
                <c:pt idx="2047">
                  <c:v>32.14828713070235</c:v>
                </c:pt>
                <c:pt idx="2048">
                  <c:v>30.929423862786916</c:v>
                </c:pt>
                <c:pt idx="2049">
                  <c:v>26.479993224171686</c:v>
                </c:pt>
                <c:pt idx="2050">
                  <c:v>30.458286515528332</c:v>
                </c:pt>
                <c:pt idx="2051">
                  <c:v>46.605651849745847</c:v>
                </c:pt>
                <c:pt idx="2052">
                  <c:v>42.406638168949456</c:v>
                </c:pt>
                <c:pt idx="2053">
                  <c:v>54.936643513089749</c:v>
                </c:pt>
                <c:pt idx="2054">
                  <c:v>46.384100980638635</c:v>
                </c:pt>
                <c:pt idx="2055">
                  <c:v>30.754560627651497</c:v>
                </c:pt>
                <c:pt idx="2056">
                  <c:v>22.530582835227001</c:v>
                </c:pt>
                <c:pt idx="2057">
                  <c:v>25.679772162881317</c:v>
                </c:pt>
                <c:pt idx="2058">
                  <c:v>16.926025500916158</c:v>
                </c:pt>
                <c:pt idx="2059">
                  <c:v>25.400149728640184</c:v>
                </c:pt>
                <c:pt idx="2060">
                  <c:v>30.279079508086816</c:v>
                </c:pt>
                <c:pt idx="2061">
                  <c:v>27.867032216395383</c:v>
                </c:pt>
                <c:pt idx="2062">
                  <c:v>23.182872174133767</c:v>
                </c:pt>
                <c:pt idx="2063">
                  <c:v>35.822736533182955</c:v>
                </c:pt>
                <c:pt idx="2064">
                  <c:v>28.609709419531598</c:v>
                </c:pt>
                <c:pt idx="2065">
                  <c:v>27.737803733544517</c:v>
                </c:pt>
                <c:pt idx="2066">
                  <c:v>44.540827311105517</c:v>
                </c:pt>
                <c:pt idx="2067">
                  <c:v>56.230392499172751</c:v>
                </c:pt>
                <c:pt idx="2068">
                  <c:v>31.344243558127904</c:v>
                </c:pt>
                <c:pt idx="2069">
                  <c:v>37.955068083307026</c:v>
                </c:pt>
                <c:pt idx="2070">
                  <c:v>30.718345453011878</c:v>
                </c:pt>
                <c:pt idx="2071">
                  <c:v>57.497099234224521</c:v>
                </c:pt>
                <c:pt idx="2072">
                  <c:v>48.333255244617426</c:v>
                </c:pt>
                <c:pt idx="2073">
                  <c:v>46.301420739529377</c:v>
                </c:pt>
                <c:pt idx="2074">
                  <c:v>22.593990649772557</c:v>
                </c:pt>
                <c:pt idx="2075">
                  <c:v>39.864386170376129</c:v>
                </c:pt>
                <c:pt idx="2076">
                  <c:v>28.737005906200089</c:v>
                </c:pt>
                <c:pt idx="2077">
                  <c:v>41.558882041097625</c:v>
                </c:pt>
                <c:pt idx="2078">
                  <c:v>35.810033900417785</c:v>
                </c:pt>
                <c:pt idx="2079">
                  <c:v>27.41613359329823</c:v>
                </c:pt>
                <c:pt idx="2080">
                  <c:v>16.114141896690818</c:v>
                </c:pt>
                <c:pt idx="2081">
                  <c:v>46.606154668804578</c:v>
                </c:pt>
                <c:pt idx="2082">
                  <c:v>27.885181667222895</c:v>
                </c:pt>
                <c:pt idx="2083">
                  <c:v>24.633512474838518</c:v>
                </c:pt>
                <c:pt idx="2084">
                  <c:v>28.814081767627993</c:v>
                </c:pt>
                <c:pt idx="2085">
                  <c:v>30.13249248402429</c:v>
                </c:pt>
                <c:pt idx="2086">
                  <c:v>28.695850083578591</c:v>
                </c:pt>
                <c:pt idx="2087">
                  <c:v>28.446354432423767</c:v>
                </c:pt>
                <c:pt idx="2088">
                  <c:v>57.623051412428083</c:v>
                </c:pt>
                <c:pt idx="2089">
                  <c:v>30.544772829891329</c:v>
                </c:pt>
                <c:pt idx="2090">
                  <c:v>24.162852814132922</c:v>
                </c:pt>
                <c:pt idx="2091">
                  <c:v>31.700653145335252</c:v>
                </c:pt>
                <c:pt idx="2092">
                  <c:v>27.149310789024437</c:v>
                </c:pt>
                <c:pt idx="2093">
                  <c:v>35.122815599350695</c:v>
                </c:pt>
                <c:pt idx="2094">
                  <c:v>32.731308905756833</c:v>
                </c:pt>
                <c:pt idx="2095">
                  <c:v>33.624895652835406</c:v>
                </c:pt>
                <c:pt idx="2096">
                  <c:v>35.147466157164132</c:v>
                </c:pt>
                <c:pt idx="2097">
                  <c:v>48.697728768880943</c:v>
                </c:pt>
                <c:pt idx="2098">
                  <c:v>27.012159821079887</c:v>
                </c:pt>
                <c:pt idx="2099">
                  <c:v>30.703932440826303</c:v>
                </c:pt>
                <c:pt idx="2100">
                  <c:v>33.816687700686046</c:v>
                </c:pt>
                <c:pt idx="2101">
                  <c:v>31.527087812947574</c:v>
                </c:pt>
                <c:pt idx="2102">
                  <c:v>21.795853877827177</c:v>
                </c:pt>
                <c:pt idx="2103">
                  <c:v>48.016346377725597</c:v>
                </c:pt>
                <c:pt idx="2104">
                  <c:v>26.706505254255266</c:v>
                </c:pt>
                <c:pt idx="2105">
                  <c:v>33.682675683765154</c:v>
                </c:pt>
                <c:pt idx="2106">
                  <c:v>21.402075088945431</c:v>
                </c:pt>
                <c:pt idx="2107">
                  <c:v>29.219363878332576</c:v>
                </c:pt>
                <c:pt idx="2108">
                  <c:v>25.951936338810622</c:v>
                </c:pt>
                <c:pt idx="2109">
                  <c:v>37.295728576689733</c:v>
                </c:pt>
                <c:pt idx="2110">
                  <c:v>26.814526420300993</c:v>
                </c:pt>
                <c:pt idx="2111">
                  <c:v>21.023739932907866</c:v>
                </c:pt>
                <c:pt idx="2112">
                  <c:v>54.34027171486386</c:v>
                </c:pt>
                <c:pt idx="2113">
                  <c:v>37.827617517605667</c:v>
                </c:pt>
                <c:pt idx="2114">
                  <c:v>20.91986584788447</c:v>
                </c:pt>
                <c:pt idx="2115">
                  <c:v>19.126814594563772</c:v>
                </c:pt>
                <c:pt idx="2116">
                  <c:v>21.922042524420355</c:v>
                </c:pt>
                <c:pt idx="2117">
                  <c:v>43.866057036082402</c:v>
                </c:pt>
                <c:pt idx="2118">
                  <c:v>23.377676474486382</c:v>
                </c:pt>
                <c:pt idx="2119">
                  <c:v>20.780802923450278</c:v>
                </c:pt>
                <c:pt idx="2120">
                  <c:v>25.186611255010448</c:v>
                </c:pt>
                <c:pt idx="2121">
                  <c:v>20.954964883673178</c:v>
                </c:pt>
                <c:pt idx="2122">
                  <c:v>60.431254642365481</c:v>
                </c:pt>
                <c:pt idx="2123">
                  <c:v>25.314290202098505</c:v>
                </c:pt>
                <c:pt idx="2124">
                  <c:v>34.677643812492626</c:v>
                </c:pt>
                <c:pt idx="2125">
                  <c:v>23.232919260942104</c:v>
                </c:pt>
                <c:pt idx="2126">
                  <c:v>20.615831111752929</c:v>
                </c:pt>
                <c:pt idx="2127">
                  <c:v>22.493727762649399</c:v>
                </c:pt>
                <c:pt idx="2128">
                  <c:v>26.070699397348363</c:v>
                </c:pt>
                <c:pt idx="2129">
                  <c:v>23.052576961545387</c:v>
                </c:pt>
                <c:pt idx="2130">
                  <c:v>33.959386934918513</c:v>
                </c:pt>
                <c:pt idx="2131">
                  <c:v>27.445896258251143</c:v>
                </c:pt>
                <c:pt idx="2132">
                  <c:v>23.940216150256692</c:v>
                </c:pt>
                <c:pt idx="2133">
                  <c:v>27.022255104681619</c:v>
                </c:pt>
                <c:pt idx="2134">
                  <c:v>45.930149231561053</c:v>
                </c:pt>
                <c:pt idx="2135">
                  <c:v>29.984429597717874</c:v>
                </c:pt>
                <c:pt idx="2136">
                  <c:v>36.566798319807702</c:v>
                </c:pt>
                <c:pt idx="2137">
                  <c:v>19.025434060859133</c:v>
                </c:pt>
                <c:pt idx="2138">
                  <c:v>19.307954749935075</c:v>
                </c:pt>
                <c:pt idx="2139">
                  <c:v>24.086691388540185</c:v>
                </c:pt>
                <c:pt idx="2140">
                  <c:v>32.980913594957087</c:v>
                </c:pt>
                <c:pt idx="2141">
                  <c:v>29.040384752594136</c:v>
                </c:pt>
                <c:pt idx="2142">
                  <c:v>28.738797121082118</c:v>
                </c:pt>
                <c:pt idx="2143">
                  <c:v>34.190932512978094</c:v>
                </c:pt>
                <c:pt idx="2144">
                  <c:v>22.665460165444792</c:v>
                </c:pt>
                <c:pt idx="2145">
                  <c:v>51.084138513224786</c:v>
                </c:pt>
                <c:pt idx="2146">
                  <c:v>27.550655313505203</c:v>
                </c:pt>
                <c:pt idx="2147">
                  <c:v>30.390959457882015</c:v>
                </c:pt>
                <c:pt idx="2148">
                  <c:v>30.397027365187981</c:v>
                </c:pt>
                <c:pt idx="2149">
                  <c:v>24.801744352638138</c:v>
                </c:pt>
                <c:pt idx="2150">
                  <c:v>30.262841788031345</c:v>
                </c:pt>
                <c:pt idx="2151">
                  <c:v>42.170622727481984</c:v>
                </c:pt>
                <c:pt idx="2152">
                  <c:v>26.842474504445772</c:v>
                </c:pt>
                <c:pt idx="2153">
                  <c:v>48.201921953216768</c:v>
                </c:pt>
                <c:pt idx="2154">
                  <c:v>20.316459322973675</c:v>
                </c:pt>
                <c:pt idx="2155">
                  <c:v>23.180165274016876</c:v>
                </c:pt>
                <c:pt idx="2156">
                  <c:v>27.319692431282022</c:v>
                </c:pt>
                <c:pt idx="2157">
                  <c:v>32.755498547723391</c:v>
                </c:pt>
                <c:pt idx="2158">
                  <c:v>50.640995017134514</c:v>
                </c:pt>
                <c:pt idx="2159">
                  <c:v>37.874028590133577</c:v>
                </c:pt>
                <c:pt idx="2160">
                  <c:v>32.895044166413484</c:v>
                </c:pt>
                <c:pt idx="2161">
                  <c:v>51.794358073343872</c:v>
                </c:pt>
                <c:pt idx="2162">
                  <c:v>25.756447075421065</c:v>
                </c:pt>
                <c:pt idx="2163">
                  <c:v>51.04167594142065</c:v>
                </c:pt>
                <c:pt idx="2164">
                  <c:v>41.582462744833073</c:v>
                </c:pt>
                <c:pt idx="2165">
                  <c:v>25.0718331113668</c:v>
                </c:pt>
                <c:pt idx="2166">
                  <c:v>56.924446848031074</c:v>
                </c:pt>
                <c:pt idx="2167">
                  <c:v>21.611894767951156</c:v>
                </c:pt>
                <c:pt idx="2168">
                  <c:v>28.18140838901224</c:v>
                </c:pt>
                <c:pt idx="2169">
                  <c:v>30.046197830878338</c:v>
                </c:pt>
                <c:pt idx="2170">
                  <c:v>43.493953576179301</c:v>
                </c:pt>
                <c:pt idx="2171">
                  <c:v>29.31795261278193</c:v>
                </c:pt>
                <c:pt idx="2172">
                  <c:v>21.164859633199143</c:v>
                </c:pt>
                <c:pt idx="2173">
                  <c:v>31.041300065335307</c:v>
                </c:pt>
                <c:pt idx="2174">
                  <c:v>31.111709230595615</c:v>
                </c:pt>
                <c:pt idx="2175">
                  <c:v>19.651482153213806</c:v>
                </c:pt>
                <c:pt idx="2176">
                  <c:v>18.994193408376141</c:v>
                </c:pt>
                <c:pt idx="2177">
                  <c:v>28.176640490975622</c:v>
                </c:pt>
                <c:pt idx="2178">
                  <c:v>36.030758754861289</c:v>
                </c:pt>
                <c:pt idx="2179">
                  <c:v>42.97237184314816</c:v>
                </c:pt>
                <c:pt idx="2180">
                  <c:v>39.141570568528813</c:v>
                </c:pt>
                <c:pt idx="2181">
                  <c:v>23.437737061862276</c:v>
                </c:pt>
                <c:pt idx="2182">
                  <c:v>27.152997486002842</c:v>
                </c:pt>
                <c:pt idx="2183">
                  <c:v>27.323703617303252</c:v>
                </c:pt>
                <c:pt idx="2184">
                  <c:v>28.852971709953884</c:v>
                </c:pt>
                <c:pt idx="2185">
                  <c:v>36.604075629852304</c:v>
                </c:pt>
                <c:pt idx="2186">
                  <c:v>33.032538952121534</c:v>
                </c:pt>
                <c:pt idx="2187">
                  <c:v>30.226121125097841</c:v>
                </c:pt>
                <c:pt idx="2188">
                  <c:v>49.33864988291861</c:v>
                </c:pt>
                <c:pt idx="2189">
                  <c:v>45.217102132326268</c:v>
                </c:pt>
                <c:pt idx="2190">
                  <c:v>18.539135825313792</c:v>
                </c:pt>
                <c:pt idx="2191">
                  <c:v>31.667664934389855</c:v>
                </c:pt>
                <c:pt idx="2192">
                  <c:v>27.656308811693467</c:v>
                </c:pt>
                <c:pt idx="2193">
                  <c:v>20.244510784920401</c:v>
                </c:pt>
                <c:pt idx="2194">
                  <c:v>32.495083775265883</c:v>
                </c:pt>
                <c:pt idx="2195">
                  <c:v>25.688210294307524</c:v>
                </c:pt>
                <c:pt idx="2196">
                  <c:v>27.276137486261682</c:v>
                </c:pt>
                <c:pt idx="2197">
                  <c:v>24.059328110386282</c:v>
                </c:pt>
                <c:pt idx="2198">
                  <c:v>20.836359563573925</c:v>
                </c:pt>
                <c:pt idx="2199">
                  <c:v>23.387141562728111</c:v>
                </c:pt>
                <c:pt idx="2200">
                  <c:v>45.748180308135076</c:v>
                </c:pt>
                <c:pt idx="2201">
                  <c:v>19.536765291341631</c:v>
                </c:pt>
                <c:pt idx="2202">
                  <c:v>47.752423799592449</c:v>
                </c:pt>
                <c:pt idx="2203">
                  <c:v>29.315699681697055</c:v>
                </c:pt>
                <c:pt idx="2204">
                  <c:v>57.706497125226633</c:v>
                </c:pt>
                <c:pt idx="2205">
                  <c:v>49.704511297531155</c:v>
                </c:pt>
                <c:pt idx="2206">
                  <c:v>27.44389958427351</c:v>
                </c:pt>
                <c:pt idx="2207">
                  <c:v>23.735700730330397</c:v>
                </c:pt>
                <c:pt idx="2208">
                  <c:v>35.795875412456432</c:v>
                </c:pt>
                <c:pt idx="2209">
                  <c:v>22.578576579547157</c:v>
                </c:pt>
                <c:pt idx="2210">
                  <c:v>20.21260114030791</c:v>
                </c:pt>
                <c:pt idx="2211">
                  <c:v>35.315180334328879</c:v>
                </c:pt>
                <c:pt idx="2212">
                  <c:v>43.907909578830825</c:v>
                </c:pt>
                <c:pt idx="2213">
                  <c:v>26.008458252419377</c:v>
                </c:pt>
                <c:pt idx="2214">
                  <c:v>34.247118181877227</c:v>
                </c:pt>
                <c:pt idx="2215">
                  <c:v>29.732631159192714</c:v>
                </c:pt>
                <c:pt idx="2216">
                  <c:v>20.958548798647655</c:v>
                </c:pt>
                <c:pt idx="2217">
                  <c:v>30.852721935328866</c:v>
                </c:pt>
                <c:pt idx="2218">
                  <c:v>34.590359824586869</c:v>
                </c:pt>
                <c:pt idx="2219">
                  <c:v>21.244424060099963</c:v>
                </c:pt>
                <c:pt idx="2220">
                  <c:v>24.401619436903438</c:v>
                </c:pt>
                <c:pt idx="2221">
                  <c:v>23.70369266406022</c:v>
                </c:pt>
                <c:pt idx="2222">
                  <c:v>23.70800545350237</c:v>
                </c:pt>
                <c:pt idx="2223">
                  <c:v>24.226301520934104</c:v>
                </c:pt>
                <c:pt idx="2224">
                  <c:v>24.240938046275097</c:v>
                </c:pt>
                <c:pt idx="2225">
                  <c:v>20.794123388277196</c:v>
                </c:pt>
                <c:pt idx="2226">
                  <c:v>30.583654573802747</c:v>
                </c:pt>
                <c:pt idx="2227">
                  <c:v>28.158910998863298</c:v>
                </c:pt>
                <c:pt idx="2228">
                  <c:v>27.137787477998458</c:v>
                </c:pt>
                <c:pt idx="2229">
                  <c:v>32.095556386758069</c:v>
                </c:pt>
                <c:pt idx="2230">
                  <c:v>30.008367703680037</c:v>
                </c:pt>
                <c:pt idx="2231">
                  <c:v>26.724811744086519</c:v>
                </c:pt>
                <c:pt idx="2232">
                  <c:v>23.571718343172975</c:v>
                </c:pt>
                <c:pt idx="2233">
                  <c:v>23.521225201494886</c:v>
                </c:pt>
                <c:pt idx="2234">
                  <c:v>57.884652753731089</c:v>
                </c:pt>
                <c:pt idx="2235">
                  <c:v>30.613088349032036</c:v>
                </c:pt>
                <c:pt idx="2236">
                  <c:v>22.867378679281511</c:v>
                </c:pt>
                <c:pt idx="2237">
                  <c:v>20.171595956302088</c:v>
                </c:pt>
                <c:pt idx="2238">
                  <c:v>23.321287047179126</c:v>
                </c:pt>
                <c:pt idx="2239">
                  <c:v>37.513224819232228</c:v>
                </c:pt>
                <c:pt idx="2240">
                  <c:v>28.235707129772333</c:v>
                </c:pt>
                <c:pt idx="2241">
                  <c:v>29.134326931278562</c:v>
                </c:pt>
                <c:pt idx="2242">
                  <c:v>49.924744502914855</c:v>
                </c:pt>
                <c:pt idx="2243">
                  <c:v>60.679841262087827</c:v>
                </c:pt>
                <c:pt idx="2244">
                  <c:v>48.883064536759782</c:v>
                </c:pt>
                <c:pt idx="2245">
                  <c:v>47.450610395392857</c:v>
                </c:pt>
                <c:pt idx="2246">
                  <c:v>29.3246830240912</c:v>
                </c:pt>
                <c:pt idx="2247">
                  <c:v>29.325202457579444</c:v>
                </c:pt>
                <c:pt idx="2248">
                  <c:v>34.324056553553717</c:v>
                </c:pt>
                <c:pt idx="2249">
                  <c:v>28.045430012730243</c:v>
                </c:pt>
                <c:pt idx="2250">
                  <c:v>26.090790038083263</c:v>
                </c:pt>
                <c:pt idx="2251">
                  <c:v>31.212325795239796</c:v>
                </c:pt>
                <c:pt idx="2252">
                  <c:v>22.28275219263212</c:v>
                </c:pt>
                <c:pt idx="2253">
                  <c:v>27.571298486005091</c:v>
                </c:pt>
                <c:pt idx="2254">
                  <c:v>31.665613868644517</c:v>
                </c:pt>
                <c:pt idx="2255">
                  <c:v>26.423675212892789</c:v>
                </c:pt>
                <c:pt idx="2256">
                  <c:v>29.115798985156914</c:v>
                </c:pt>
                <c:pt idx="2257">
                  <c:v>22.363134952852928</c:v>
                </c:pt>
                <c:pt idx="2258">
                  <c:v>29.488861993155105</c:v>
                </c:pt>
                <c:pt idx="2259">
                  <c:v>30.363101795227642</c:v>
                </c:pt>
                <c:pt idx="2260">
                  <c:v>31.689067365737337</c:v>
                </c:pt>
                <c:pt idx="2261">
                  <c:v>41.09255576597613</c:v>
                </c:pt>
                <c:pt idx="2262">
                  <c:v>20.386080490663947</c:v>
                </c:pt>
                <c:pt idx="2263">
                  <c:v>42.083000900453143</c:v>
                </c:pt>
                <c:pt idx="2264">
                  <c:v>26.769650623013732</c:v>
                </c:pt>
                <c:pt idx="2265">
                  <c:v>33.268058674092408</c:v>
                </c:pt>
                <c:pt idx="2266">
                  <c:v>31.313933874103999</c:v>
                </c:pt>
                <c:pt idx="2267">
                  <c:v>29.667561397270568</c:v>
                </c:pt>
                <c:pt idx="2268">
                  <c:v>24.138945599642774</c:v>
                </c:pt>
                <c:pt idx="2269">
                  <c:v>44.694201495242233</c:v>
                </c:pt>
                <c:pt idx="2270">
                  <c:v>24.403164721058541</c:v>
                </c:pt>
                <c:pt idx="2271">
                  <c:v>34.185128472649716</c:v>
                </c:pt>
                <c:pt idx="2272">
                  <c:v>24.049112737593305</c:v>
                </c:pt>
                <c:pt idx="2273">
                  <c:v>25.986840555864525</c:v>
                </c:pt>
                <c:pt idx="2274">
                  <c:v>46.957032494425881</c:v>
                </c:pt>
                <c:pt idx="2275">
                  <c:v>41.721618659401919</c:v>
                </c:pt>
                <c:pt idx="2276">
                  <c:v>28.721822233269414</c:v>
                </c:pt>
                <c:pt idx="2277">
                  <c:v>42.871354832027968</c:v>
                </c:pt>
                <c:pt idx="2278">
                  <c:v>20.6320746622158</c:v>
                </c:pt>
                <c:pt idx="2279">
                  <c:v>20.625487831805017</c:v>
                </c:pt>
                <c:pt idx="2280">
                  <c:v>26.955210150527638</c:v>
                </c:pt>
                <c:pt idx="2281">
                  <c:v>46.394920168553483</c:v>
                </c:pt>
                <c:pt idx="2282">
                  <c:v>26.501657270749543</c:v>
                </c:pt>
                <c:pt idx="2283">
                  <c:v>24.863107816821877</c:v>
                </c:pt>
                <c:pt idx="2284">
                  <c:v>24.167253188092861</c:v>
                </c:pt>
                <c:pt idx="2285">
                  <c:v>27.117331777938723</c:v>
                </c:pt>
                <c:pt idx="2286">
                  <c:v>52.508797477094063</c:v>
                </c:pt>
                <c:pt idx="2287">
                  <c:v>46.822073101338475</c:v>
                </c:pt>
                <c:pt idx="2288">
                  <c:v>25.660554742285267</c:v>
                </c:pt>
                <c:pt idx="2289">
                  <c:v>47.049984934014276</c:v>
                </c:pt>
                <c:pt idx="2290">
                  <c:v>25.989358355762555</c:v>
                </c:pt>
                <c:pt idx="2291">
                  <c:v>26.8981299615761</c:v>
                </c:pt>
                <c:pt idx="2292">
                  <c:v>26.74020930027179</c:v>
                </c:pt>
                <c:pt idx="2293">
                  <c:v>36.233767512531458</c:v>
                </c:pt>
                <c:pt idx="2294">
                  <c:v>27.294481531259475</c:v>
                </c:pt>
                <c:pt idx="2295">
                  <c:v>28.846138897043264</c:v>
                </c:pt>
                <c:pt idx="2296">
                  <c:v>34.187238947681792</c:v>
                </c:pt>
                <c:pt idx="2297">
                  <c:v>18.911877870814187</c:v>
                </c:pt>
                <c:pt idx="2298">
                  <c:v>52.091136953481119</c:v>
                </c:pt>
                <c:pt idx="2299">
                  <c:v>27.275286203943882</c:v>
                </c:pt>
                <c:pt idx="2300">
                  <c:v>44.476841762137866</c:v>
                </c:pt>
                <c:pt idx="2301">
                  <c:v>49.075488986403144</c:v>
                </c:pt>
                <c:pt idx="2302">
                  <c:v>22.093810119799763</c:v>
                </c:pt>
                <c:pt idx="2303">
                  <c:v>30.293960558438169</c:v>
                </c:pt>
                <c:pt idx="2304">
                  <c:v>29.620681346370127</c:v>
                </c:pt>
                <c:pt idx="2305">
                  <c:v>31.523040827797409</c:v>
                </c:pt>
                <c:pt idx="2306">
                  <c:v>30.19530097004079</c:v>
                </c:pt>
                <c:pt idx="2307">
                  <c:v>15.697068146451745</c:v>
                </c:pt>
                <c:pt idx="2308">
                  <c:v>27.501625709378356</c:v>
                </c:pt>
                <c:pt idx="2309">
                  <c:v>32.485404802312516</c:v>
                </c:pt>
                <c:pt idx="2310">
                  <c:v>15.725449065526545</c:v>
                </c:pt>
                <c:pt idx="2311">
                  <c:v>21.108109634717675</c:v>
                </c:pt>
                <c:pt idx="2312">
                  <c:v>19.126301046910285</c:v>
                </c:pt>
                <c:pt idx="2313">
                  <c:v>19.81303713694561</c:v>
                </c:pt>
                <c:pt idx="2314">
                  <c:v>24.847311066794099</c:v>
                </c:pt>
                <c:pt idx="2315">
                  <c:v>29.230328605849429</c:v>
                </c:pt>
                <c:pt idx="2316">
                  <c:v>24.854330349350757</c:v>
                </c:pt>
                <c:pt idx="2317">
                  <c:v>28.604036240371912</c:v>
                </c:pt>
                <c:pt idx="2318">
                  <c:v>27.922889542282171</c:v>
                </c:pt>
                <c:pt idx="2319">
                  <c:v>26.677266927693758</c:v>
                </c:pt>
                <c:pt idx="2320">
                  <c:v>34.770530636068976</c:v>
                </c:pt>
                <c:pt idx="2321">
                  <c:v>23.652823601561572</c:v>
                </c:pt>
                <c:pt idx="2322">
                  <c:v>21.836276093905337</c:v>
                </c:pt>
                <c:pt idx="2323">
                  <c:v>29.190686639488931</c:v>
                </c:pt>
                <c:pt idx="2324">
                  <c:v>56.038471822558797</c:v>
                </c:pt>
                <c:pt idx="2325">
                  <c:v>37.73692736686408</c:v>
                </c:pt>
                <c:pt idx="2326">
                  <c:v>24.019432098723144</c:v>
                </c:pt>
                <c:pt idx="2327">
                  <c:v>29.913130970794864</c:v>
                </c:pt>
                <c:pt idx="2328">
                  <c:v>27.776531187914149</c:v>
                </c:pt>
                <c:pt idx="2329">
                  <c:v>47.666867634539706</c:v>
                </c:pt>
                <c:pt idx="2330">
                  <c:v>52.589709305559957</c:v>
                </c:pt>
                <c:pt idx="2331">
                  <c:v>28.236259741584409</c:v>
                </c:pt>
                <c:pt idx="2332">
                  <c:v>32.215447427744849</c:v>
                </c:pt>
                <c:pt idx="2333">
                  <c:v>26.57976719684175</c:v>
                </c:pt>
                <c:pt idx="2334">
                  <c:v>20.120601318627781</c:v>
                </c:pt>
                <c:pt idx="2335">
                  <c:v>31.947626477578897</c:v>
                </c:pt>
                <c:pt idx="2336">
                  <c:v>36.745257033402979</c:v>
                </c:pt>
                <c:pt idx="2337">
                  <c:v>51.656048463377481</c:v>
                </c:pt>
                <c:pt idx="2338">
                  <c:v>27.689419483419961</c:v>
                </c:pt>
                <c:pt idx="2339">
                  <c:v>25.892947648449073</c:v>
                </c:pt>
                <c:pt idx="2340">
                  <c:v>56.457570310741886</c:v>
                </c:pt>
                <c:pt idx="2341">
                  <c:v>19.078799771798845</c:v>
                </c:pt>
                <c:pt idx="2342">
                  <c:v>32.408000897303673</c:v>
                </c:pt>
                <c:pt idx="2343">
                  <c:v>21.988291737752839</c:v>
                </c:pt>
                <c:pt idx="2344">
                  <c:v>25.973374315086019</c:v>
                </c:pt>
                <c:pt idx="2345">
                  <c:v>28.337175678063783</c:v>
                </c:pt>
                <c:pt idx="2346">
                  <c:v>24.752428178127087</c:v>
                </c:pt>
                <c:pt idx="2347">
                  <c:v>34.462828080790615</c:v>
                </c:pt>
                <c:pt idx="2348">
                  <c:v>23.57810939256084</c:v>
                </c:pt>
                <c:pt idx="2349">
                  <c:v>21.809312203670974</c:v>
                </c:pt>
                <c:pt idx="2350">
                  <c:v>44.68497709102553</c:v>
                </c:pt>
                <c:pt idx="2351">
                  <c:v>22.546721226679058</c:v>
                </c:pt>
                <c:pt idx="2352">
                  <c:v>25.424889292825171</c:v>
                </c:pt>
                <c:pt idx="2353">
                  <c:v>24.865748069060377</c:v>
                </c:pt>
                <c:pt idx="2354">
                  <c:v>39.638448830904387</c:v>
                </c:pt>
                <c:pt idx="2355">
                  <c:v>30.609170954431548</c:v>
                </c:pt>
                <c:pt idx="2356">
                  <c:v>27.812433200603103</c:v>
                </c:pt>
                <c:pt idx="2357">
                  <c:v>28.246653789330544</c:v>
                </c:pt>
                <c:pt idx="2358">
                  <c:v>40.420013793695801</c:v>
                </c:pt>
                <c:pt idx="2359">
                  <c:v>26.655338614395014</c:v>
                </c:pt>
                <c:pt idx="2360">
                  <c:v>20.304950028993236</c:v>
                </c:pt>
                <c:pt idx="2361">
                  <c:v>25.87684718122815</c:v>
                </c:pt>
                <c:pt idx="2362">
                  <c:v>30.245761629568698</c:v>
                </c:pt>
                <c:pt idx="2363">
                  <c:v>17.824959799603612</c:v>
                </c:pt>
                <c:pt idx="2364">
                  <c:v>31.053986697253215</c:v>
                </c:pt>
                <c:pt idx="2365">
                  <c:v>41.924175741081449</c:v>
                </c:pt>
                <c:pt idx="2366">
                  <c:v>58.558369727409818</c:v>
                </c:pt>
                <c:pt idx="2367">
                  <c:v>30.736138324066847</c:v>
                </c:pt>
                <c:pt idx="2368">
                  <c:v>33.579817183796543</c:v>
                </c:pt>
                <c:pt idx="2369">
                  <c:v>32.552829797774443</c:v>
                </c:pt>
                <c:pt idx="2370">
                  <c:v>40.114129744203474</c:v>
                </c:pt>
                <c:pt idx="2371">
                  <c:v>23.282021727290271</c:v>
                </c:pt>
                <c:pt idx="2372">
                  <c:v>50.199681535877026</c:v>
                </c:pt>
                <c:pt idx="2373">
                  <c:v>30.498435675054214</c:v>
                </c:pt>
                <c:pt idx="2374">
                  <c:v>47.851132318613608</c:v>
                </c:pt>
                <c:pt idx="2375">
                  <c:v>33.109016901592419</c:v>
                </c:pt>
                <c:pt idx="2376">
                  <c:v>24.596050119731153</c:v>
                </c:pt>
                <c:pt idx="2377">
                  <c:v>28.019944646806326</c:v>
                </c:pt>
                <c:pt idx="2378">
                  <c:v>28.617424448709308</c:v>
                </c:pt>
                <c:pt idx="2379">
                  <c:v>41.096828257069006</c:v>
                </c:pt>
                <c:pt idx="2380">
                  <c:v>28.959453889596659</c:v>
                </c:pt>
                <c:pt idx="2381">
                  <c:v>27.436551502967539</c:v>
                </c:pt>
                <c:pt idx="2382">
                  <c:v>24.622941345169707</c:v>
                </c:pt>
                <c:pt idx="2383">
                  <c:v>34.99113198347311</c:v>
                </c:pt>
                <c:pt idx="2384">
                  <c:v>35.4619270327427</c:v>
                </c:pt>
                <c:pt idx="2385">
                  <c:v>45.378057126368404</c:v>
                </c:pt>
                <c:pt idx="2386">
                  <c:v>33.230567832676464</c:v>
                </c:pt>
                <c:pt idx="2387">
                  <c:v>20.580803629364794</c:v>
                </c:pt>
                <c:pt idx="2388">
                  <c:v>26.817695101404048</c:v>
                </c:pt>
                <c:pt idx="2389">
                  <c:v>41.714681435721864</c:v>
                </c:pt>
                <c:pt idx="2390">
                  <c:v>41.230588134867411</c:v>
                </c:pt>
                <c:pt idx="2391">
                  <c:v>50.750652509966827</c:v>
                </c:pt>
                <c:pt idx="2392">
                  <c:v>44.308326157863135</c:v>
                </c:pt>
                <c:pt idx="2393">
                  <c:v>34.424327403964412</c:v>
                </c:pt>
                <c:pt idx="2394">
                  <c:v>34.240291347795981</c:v>
                </c:pt>
                <c:pt idx="2395">
                  <c:v>25.311314516278433</c:v>
                </c:pt>
                <c:pt idx="2396">
                  <c:v>26.270992397393155</c:v>
                </c:pt>
                <c:pt idx="2397">
                  <c:v>26.223994084076331</c:v>
                </c:pt>
                <c:pt idx="2398">
                  <c:v>43.202467071552427</c:v>
                </c:pt>
                <c:pt idx="2399">
                  <c:v>29.667218438041367</c:v>
                </c:pt>
                <c:pt idx="2400">
                  <c:v>56.148167053275998</c:v>
                </c:pt>
                <c:pt idx="2401">
                  <c:v>46.677037240362949</c:v>
                </c:pt>
                <c:pt idx="2402">
                  <c:v>23.066282974045794</c:v>
                </c:pt>
                <c:pt idx="2403">
                  <c:v>20.657254845055277</c:v>
                </c:pt>
                <c:pt idx="2404">
                  <c:v>30.314012663005624</c:v>
                </c:pt>
                <c:pt idx="2405">
                  <c:v>30.412604450065157</c:v>
                </c:pt>
                <c:pt idx="2406">
                  <c:v>28.031958359211419</c:v>
                </c:pt>
                <c:pt idx="2407">
                  <c:v>49.393375708435933</c:v>
                </c:pt>
                <c:pt idx="2408">
                  <c:v>25.081479229949657</c:v>
                </c:pt>
                <c:pt idx="2409">
                  <c:v>38.955177232441201</c:v>
                </c:pt>
                <c:pt idx="2410">
                  <c:v>29.11472219932287</c:v>
                </c:pt>
                <c:pt idx="2411">
                  <c:v>27.704020291715096</c:v>
                </c:pt>
                <c:pt idx="2412">
                  <c:v>35.029207573504245</c:v>
                </c:pt>
                <c:pt idx="2413">
                  <c:v>31.14744007548207</c:v>
                </c:pt>
                <c:pt idx="2414">
                  <c:v>33.498328420103071</c:v>
                </c:pt>
                <c:pt idx="2415">
                  <c:v>18.684205039342366</c:v>
                </c:pt>
                <c:pt idx="2416">
                  <c:v>32.478235332474299</c:v>
                </c:pt>
                <c:pt idx="2417">
                  <c:v>30.943531435312693</c:v>
                </c:pt>
                <c:pt idx="2418">
                  <c:v>29.464404739605193</c:v>
                </c:pt>
                <c:pt idx="2419">
                  <c:v>34.231686204839654</c:v>
                </c:pt>
                <c:pt idx="2420">
                  <c:v>23.717558964905816</c:v>
                </c:pt>
                <c:pt idx="2421">
                  <c:v>24.94694099098794</c:v>
                </c:pt>
                <c:pt idx="2422">
                  <c:v>25.700012973385498</c:v>
                </c:pt>
                <c:pt idx="2423">
                  <c:v>25.302654642686349</c:v>
                </c:pt>
                <c:pt idx="2424">
                  <c:v>23.566974257123853</c:v>
                </c:pt>
                <c:pt idx="2425">
                  <c:v>39.710987727374281</c:v>
                </c:pt>
                <c:pt idx="2426">
                  <c:v>25.268718371529282</c:v>
                </c:pt>
                <c:pt idx="2427">
                  <c:v>30.440642210199027</c:v>
                </c:pt>
                <c:pt idx="2428">
                  <c:v>31.512807765847576</c:v>
                </c:pt>
                <c:pt idx="2429">
                  <c:v>40.229896952038906</c:v>
                </c:pt>
                <c:pt idx="2430">
                  <c:v>60.847571416702493</c:v>
                </c:pt>
                <c:pt idx="2431">
                  <c:v>47.580649449642124</c:v>
                </c:pt>
                <c:pt idx="2432">
                  <c:v>25.123806915356248</c:v>
                </c:pt>
                <c:pt idx="2433">
                  <c:v>24.494293503483867</c:v>
                </c:pt>
                <c:pt idx="2434">
                  <c:v>26.687487257186454</c:v>
                </c:pt>
                <c:pt idx="2435">
                  <c:v>22.545836163071325</c:v>
                </c:pt>
                <c:pt idx="2436">
                  <c:v>28.214290964049319</c:v>
                </c:pt>
                <c:pt idx="2437">
                  <c:v>24.500465288293569</c:v>
                </c:pt>
                <c:pt idx="2438">
                  <c:v>26.923176087495097</c:v>
                </c:pt>
                <c:pt idx="2439">
                  <c:v>19.961486171512394</c:v>
                </c:pt>
                <c:pt idx="2440">
                  <c:v>30.973074703599309</c:v>
                </c:pt>
                <c:pt idx="2441">
                  <c:v>39.296129909381861</c:v>
                </c:pt>
                <c:pt idx="2442">
                  <c:v>26.43749521401773</c:v>
                </c:pt>
                <c:pt idx="2443">
                  <c:v>45.798525751012214</c:v>
                </c:pt>
                <c:pt idx="2444">
                  <c:v>36.416095179396748</c:v>
                </c:pt>
                <c:pt idx="2445">
                  <c:v>51.521239636501022</c:v>
                </c:pt>
                <c:pt idx="2446">
                  <c:v>24.093049042170001</c:v>
                </c:pt>
                <c:pt idx="2447">
                  <c:v>32.769283334212687</c:v>
                </c:pt>
                <c:pt idx="2448">
                  <c:v>24.259915018045369</c:v>
                </c:pt>
                <c:pt idx="2449">
                  <c:v>26.33501189918378</c:v>
                </c:pt>
                <c:pt idx="2450">
                  <c:v>32.861224106142402</c:v>
                </c:pt>
                <c:pt idx="2451">
                  <c:v>24.792659917160037</c:v>
                </c:pt>
                <c:pt idx="2452">
                  <c:v>35.739505715002487</c:v>
                </c:pt>
                <c:pt idx="2453">
                  <c:v>18.119000804173631</c:v>
                </c:pt>
                <c:pt idx="2454">
                  <c:v>26.078499702515419</c:v>
                </c:pt>
                <c:pt idx="2455">
                  <c:v>18.002531026641712</c:v>
                </c:pt>
                <c:pt idx="2456">
                  <c:v>44.977381061040226</c:v>
                </c:pt>
                <c:pt idx="2457">
                  <c:v>25.999919969109701</c:v>
                </c:pt>
                <c:pt idx="2458">
                  <c:v>27.363210538284317</c:v>
                </c:pt>
                <c:pt idx="2459">
                  <c:v>40.943195338505873</c:v>
                </c:pt>
                <c:pt idx="2460">
                  <c:v>25.308346944311843</c:v>
                </c:pt>
                <c:pt idx="2461">
                  <c:v>32.749729710686488</c:v>
                </c:pt>
                <c:pt idx="2462">
                  <c:v>44.796686904819794</c:v>
                </c:pt>
                <c:pt idx="2463">
                  <c:v>21.324693510567602</c:v>
                </c:pt>
                <c:pt idx="2464">
                  <c:v>47.32952220114889</c:v>
                </c:pt>
                <c:pt idx="2465">
                  <c:v>20.455113420354877</c:v>
                </c:pt>
                <c:pt idx="2466">
                  <c:v>15.188860607283136</c:v>
                </c:pt>
                <c:pt idx="2467">
                  <c:v>29.356598969471733</c:v>
                </c:pt>
                <c:pt idx="2468">
                  <c:v>23.640646644313048</c:v>
                </c:pt>
                <c:pt idx="2469">
                  <c:v>31.45066345687323</c:v>
                </c:pt>
                <c:pt idx="2470">
                  <c:v>30.712963463029507</c:v>
                </c:pt>
                <c:pt idx="2471">
                  <c:v>23.924989115312584</c:v>
                </c:pt>
                <c:pt idx="2472">
                  <c:v>61.995646346767579</c:v>
                </c:pt>
                <c:pt idx="2473">
                  <c:v>23.098935140751585</c:v>
                </c:pt>
                <c:pt idx="2474">
                  <c:v>25.239066391640112</c:v>
                </c:pt>
                <c:pt idx="2475">
                  <c:v>37.211094673667759</c:v>
                </c:pt>
                <c:pt idx="2476">
                  <c:v>23.266509168074755</c:v>
                </c:pt>
                <c:pt idx="2477">
                  <c:v>28.785090329494324</c:v>
                </c:pt>
                <c:pt idx="2478">
                  <c:v>30.006864589071913</c:v>
                </c:pt>
                <c:pt idx="2479">
                  <c:v>47.659476090771186</c:v>
                </c:pt>
                <c:pt idx="2480">
                  <c:v>36.110467363749876</c:v>
                </c:pt>
                <c:pt idx="2481">
                  <c:v>20.003123454789186</c:v>
                </c:pt>
                <c:pt idx="2482">
                  <c:v>26.147050857079549</c:v>
                </c:pt>
                <c:pt idx="2483">
                  <c:v>28.976584496977388</c:v>
                </c:pt>
                <c:pt idx="2484">
                  <c:v>42.661815758786531</c:v>
                </c:pt>
                <c:pt idx="2485">
                  <c:v>38.254125143711946</c:v>
                </c:pt>
                <c:pt idx="2486">
                  <c:v>34.818878809264412</c:v>
                </c:pt>
                <c:pt idx="2487">
                  <c:v>23.376781336761653</c:v>
                </c:pt>
                <c:pt idx="2488">
                  <c:v>29.206551098677757</c:v>
                </c:pt>
                <c:pt idx="2489">
                  <c:v>25.583344691064813</c:v>
                </c:pt>
                <c:pt idx="2490">
                  <c:v>35.853938568702645</c:v>
                </c:pt>
                <c:pt idx="2491">
                  <c:v>19.873472346411049</c:v>
                </c:pt>
                <c:pt idx="2492">
                  <c:v>40.433055807995487</c:v>
                </c:pt>
                <c:pt idx="2493">
                  <c:v>33.400662667616515</c:v>
                </c:pt>
                <c:pt idx="2494">
                  <c:v>36.996692326787752</c:v>
                </c:pt>
                <c:pt idx="2495">
                  <c:v>40.168786984300496</c:v>
                </c:pt>
                <c:pt idx="2496">
                  <c:v>34.502599610640949</c:v>
                </c:pt>
                <c:pt idx="2497">
                  <c:v>31.470660453575906</c:v>
                </c:pt>
                <c:pt idx="2498">
                  <c:v>21.510991806987565</c:v>
                </c:pt>
                <c:pt idx="2499">
                  <c:v>23.529571580281232</c:v>
                </c:pt>
                <c:pt idx="2500">
                  <c:v>29.604494656898247</c:v>
                </c:pt>
                <c:pt idx="2501">
                  <c:v>36.784077877754498</c:v>
                </c:pt>
                <c:pt idx="2502">
                  <c:v>29.515554839253834</c:v>
                </c:pt>
                <c:pt idx="2503">
                  <c:v>46.730066677465999</c:v>
                </c:pt>
                <c:pt idx="2504">
                  <c:v>28.498842224421416</c:v>
                </c:pt>
                <c:pt idx="2505">
                  <c:v>23.553405561092244</c:v>
                </c:pt>
                <c:pt idx="2506">
                  <c:v>25.113922344618466</c:v>
                </c:pt>
                <c:pt idx="2507">
                  <c:v>56.320876326878953</c:v>
                </c:pt>
                <c:pt idx="2508">
                  <c:v>26.330535709244103</c:v>
                </c:pt>
                <c:pt idx="2509">
                  <c:v>28.669503909086174</c:v>
                </c:pt>
                <c:pt idx="2510">
                  <c:v>25.741608121780168</c:v>
                </c:pt>
                <c:pt idx="2511">
                  <c:v>36.231519186407013</c:v>
                </c:pt>
                <c:pt idx="2512">
                  <c:v>23.737195707846169</c:v>
                </c:pt>
                <c:pt idx="2513">
                  <c:v>25.528677030111343</c:v>
                </c:pt>
                <c:pt idx="2514">
                  <c:v>30.38818386162324</c:v>
                </c:pt>
                <c:pt idx="2515">
                  <c:v>22.51230573497158</c:v>
                </c:pt>
                <c:pt idx="2516">
                  <c:v>24.923372052443309</c:v>
                </c:pt>
                <c:pt idx="2517">
                  <c:v>23.780523015788958</c:v>
                </c:pt>
                <c:pt idx="2518">
                  <c:v>28.997669071580439</c:v>
                </c:pt>
                <c:pt idx="2519">
                  <c:v>28.274080754469267</c:v>
                </c:pt>
                <c:pt idx="2520">
                  <c:v>31.037283855992907</c:v>
                </c:pt>
                <c:pt idx="2521">
                  <c:v>53.179884719074352</c:v>
                </c:pt>
                <c:pt idx="2522">
                  <c:v>41.304609697833968</c:v>
                </c:pt>
                <c:pt idx="2523">
                  <c:v>31.805124321614244</c:v>
                </c:pt>
                <c:pt idx="2524">
                  <c:v>29.183646708936632</c:v>
                </c:pt>
                <c:pt idx="2525">
                  <c:v>43.428436424777573</c:v>
                </c:pt>
                <c:pt idx="2526">
                  <c:v>29.541741243051479</c:v>
                </c:pt>
                <c:pt idx="2527">
                  <c:v>32.113593591099225</c:v>
                </c:pt>
                <c:pt idx="2528">
                  <c:v>28.101281258237115</c:v>
                </c:pt>
                <c:pt idx="2529">
                  <c:v>41.428178919407841</c:v>
                </c:pt>
                <c:pt idx="2530">
                  <c:v>38.855933842395707</c:v>
                </c:pt>
                <c:pt idx="2531">
                  <c:v>24.17437918887347</c:v>
                </c:pt>
                <c:pt idx="2532">
                  <c:v>25.443580494520127</c:v>
                </c:pt>
                <c:pt idx="2533">
                  <c:v>26.486165878877017</c:v>
                </c:pt>
                <c:pt idx="2534">
                  <c:v>15.868080051549905</c:v>
                </c:pt>
                <c:pt idx="2535">
                  <c:v>19.037284853416335</c:v>
                </c:pt>
                <c:pt idx="2536">
                  <c:v>27.956229405041356</c:v>
                </c:pt>
                <c:pt idx="2537">
                  <c:v>32.507951168786988</c:v>
                </c:pt>
                <c:pt idx="2538">
                  <c:v>25.464829215749347</c:v>
                </c:pt>
                <c:pt idx="2539">
                  <c:v>38.26329970495815</c:v>
                </c:pt>
                <c:pt idx="2540">
                  <c:v>33.132154314298788</c:v>
                </c:pt>
                <c:pt idx="2541">
                  <c:v>36.106946233097929</c:v>
                </c:pt>
                <c:pt idx="2542">
                  <c:v>22.893033956626461</c:v>
                </c:pt>
                <c:pt idx="2543">
                  <c:v>30.195983733115277</c:v>
                </c:pt>
                <c:pt idx="2544">
                  <c:v>19.260042713734755</c:v>
                </c:pt>
                <c:pt idx="2545">
                  <c:v>47.857236024338519</c:v>
                </c:pt>
                <c:pt idx="2546">
                  <c:v>26.371204135212192</c:v>
                </c:pt>
                <c:pt idx="2547">
                  <c:v>42.257177166298924</c:v>
                </c:pt>
                <c:pt idx="2548">
                  <c:v>32.265812566949172</c:v>
                </c:pt>
                <c:pt idx="2549">
                  <c:v>28.505601349478027</c:v>
                </c:pt>
                <c:pt idx="2550">
                  <c:v>30.564214109088635</c:v>
                </c:pt>
                <c:pt idx="2551">
                  <c:v>23.245659026739787</c:v>
                </c:pt>
                <c:pt idx="2552">
                  <c:v>24.256789297976649</c:v>
                </c:pt>
                <c:pt idx="2553">
                  <c:v>37.998641411362804</c:v>
                </c:pt>
                <c:pt idx="2554">
                  <c:v>30.699656692655672</c:v>
                </c:pt>
                <c:pt idx="2555">
                  <c:v>53.13075057124226</c:v>
                </c:pt>
                <c:pt idx="2556">
                  <c:v>21.576217162563044</c:v>
                </c:pt>
                <c:pt idx="2557">
                  <c:v>38.33889814183857</c:v>
                </c:pt>
                <c:pt idx="2558">
                  <c:v>22.306240308818762</c:v>
                </c:pt>
                <c:pt idx="2559">
                  <c:v>41.367844889124044</c:v>
                </c:pt>
                <c:pt idx="2560">
                  <c:v>23.578306876100406</c:v>
                </c:pt>
                <c:pt idx="2561">
                  <c:v>26.184722157470574</c:v>
                </c:pt>
                <c:pt idx="2562">
                  <c:v>35.32456650073653</c:v>
                </c:pt>
                <c:pt idx="2563">
                  <c:v>30.584651933874792</c:v>
                </c:pt>
                <c:pt idx="2564">
                  <c:v>49.969859675372902</c:v>
                </c:pt>
                <c:pt idx="2565">
                  <c:v>29.825366981928738</c:v>
                </c:pt>
                <c:pt idx="2566">
                  <c:v>32.820798149658231</c:v>
                </c:pt>
                <c:pt idx="2567">
                  <c:v>45.273018151608397</c:v>
                </c:pt>
                <c:pt idx="2568">
                  <c:v>22.680872708827359</c:v>
                </c:pt>
                <c:pt idx="2569">
                  <c:v>31.035849384685203</c:v>
                </c:pt>
                <c:pt idx="2570">
                  <c:v>56.53197593312008</c:v>
                </c:pt>
                <c:pt idx="2571">
                  <c:v>19.276529554755619</c:v>
                </c:pt>
                <c:pt idx="2572">
                  <c:v>27.508312673695766</c:v>
                </c:pt>
                <c:pt idx="2573">
                  <c:v>29.4858432514424</c:v>
                </c:pt>
                <c:pt idx="2574">
                  <c:v>23.221445398610253</c:v>
                </c:pt>
                <c:pt idx="2575">
                  <c:v>27.664158827860604</c:v>
                </c:pt>
                <c:pt idx="2576">
                  <c:v>44.395530001094386</c:v>
                </c:pt>
                <c:pt idx="2577">
                  <c:v>21.230110389790422</c:v>
                </c:pt>
                <c:pt idx="2578">
                  <c:v>31.640872995833345</c:v>
                </c:pt>
                <c:pt idx="2579">
                  <c:v>34.448903408487794</c:v>
                </c:pt>
                <c:pt idx="2580">
                  <c:v>20.86823205542229</c:v>
                </c:pt>
                <c:pt idx="2581">
                  <c:v>41.204154924411306</c:v>
                </c:pt>
                <c:pt idx="2582">
                  <c:v>26.922146485964142</c:v>
                </c:pt>
                <c:pt idx="2583">
                  <c:v>22.111953989705</c:v>
                </c:pt>
                <c:pt idx="2584">
                  <c:v>21.463247957609475</c:v>
                </c:pt>
                <c:pt idx="2585">
                  <c:v>29.514740288772217</c:v>
                </c:pt>
                <c:pt idx="2586">
                  <c:v>27.401325891170064</c:v>
                </c:pt>
                <c:pt idx="2587">
                  <c:v>48.786064053378254</c:v>
                </c:pt>
                <c:pt idx="2588">
                  <c:v>23.744715559815688</c:v>
                </c:pt>
                <c:pt idx="2589">
                  <c:v>30.46020972862523</c:v>
                </c:pt>
                <c:pt idx="2590">
                  <c:v>51.245602084718371</c:v>
                </c:pt>
                <c:pt idx="2591">
                  <c:v>27.567877962569248</c:v>
                </c:pt>
                <c:pt idx="2592">
                  <c:v>36.344917410616091</c:v>
                </c:pt>
                <c:pt idx="2593">
                  <c:v>26.376262416340662</c:v>
                </c:pt>
                <c:pt idx="2594">
                  <c:v>27.915258327723087</c:v>
                </c:pt>
                <c:pt idx="2595">
                  <c:v>28.366193309595971</c:v>
                </c:pt>
                <c:pt idx="2596">
                  <c:v>44.290564320250326</c:v>
                </c:pt>
                <c:pt idx="2597">
                  <c:v>43.042103909366979</c:v>
                </c:pt>
                <c:pt idx="2598">
                  <c:v>21.550577618206226</c:v>
                </c:pt>
                <c:pt idx="2599">
                  <c:v>24.509071409853057</c:v>
                </c:pt>
                <c:pt idx="2600">
                  <c:v>25.512252035241396</c:v>
                </c:pt>
                <c:pt idx="2601">
                  <c:v>28.951883622766026</c:v>
                </c:pt>
                <c:pt idx="2602">
                  <c:v>39.432897632790151</c:v>
                </c:pt>
                <c:pt idx="2603">
                  <c:v>23.996958584919835</c:v>
                </c:pt>
                <c:pt idx="2604">
                  <c:v>21.070957212046938</c:v>
                </c:pt>
                <c:pt idx="2605">
                  <c:v>21.728265414270787</c:v>
                </c:pt>
                <c:pt idx="2606">
                  <c:v>43.901504664001074</c:v>
                </c:pt>
                <c:pt idx="2607">
                  <c:v>44.919808169133184</c:v>
                </c:pt>
                <c:pt idx="2608">
                  <c:v>21.959467668729221</c:v>
                </c:pt>
                <c:pt idx="2609">
                  <c:v>26.443862276490677</c:v>
                </c:pt>
                <c:pt idx="2610">
                  <c:v>46.812744476597253</c:v>
                </c:pt>
                <c:pt idx="2611">
                  <c:v>23.887897385467383</c:v>
                </c:pt>
                <c:pt idx="2612">
                  <c:v>43.984982893561636</c:v>
                </c:pt>
                <c:pt idx="2613">
                  <c:v>49.676881428440247</c:v>
                </c:pt>
                <c:pt idx="2614">
                  <c:v>23.010759528173175</c:v>
                </c:pt>
                <c:pt idx="2615">
                  <c:v>40.418406063018644</c:v>
                </c:pt>
                <c:pt idx="2616">
                  <c:v>25.208603285698651</c:v>
                </c:pt>
                <c:pt idx="2617">
                  <c:v>56.659173456364577</c:v>
                </c:pt>
                <c:pt idx="2618">
                  <c:v>46.782155101414929</c:v>
                </c:pt>
                <c:pt idx="2619">
                  <c:v>29.768359241259198</c:v>
                </c:pt>
                <c:pt idx="2620">
                  <c:v>22.540520903968474</c:v>
                </c:pt>
                <c:pt idx="2621">
                  <c:v>38.082041117314589</c:v>
                </c:pt>
                <c:pt idx="2622">
                  <c:v>50.552380326263773</c:v>
                </c:pt>
                <c:pt idx="2623">
                  <c:v>19.228084389213919</c:v>
                </c:pt>
                <c:pt idx="2624">
                  <c:v>30.769099489168191</c:v>
                </c:pt>
                <c:pt idx="2625">
                  <c:v>42.530533424811495</c:v>
                </c:pt>
                <c:pt idx="2626">
                  <c:v>24.204238762992659</c:v>
                </c:pt>
                <c:pt idx="2627">
                  <c:v>45.979128042795054</c:v>
                </c:pt>
                <c:pt idx="2628">
                  <c:v>21.62734366772694</c:v>
                </c:pt>
                <c:pt idx="2629">
                  <c:v>33.647743804228007</c:v>
                </c:pt>
                <c:pt idx="2630">
                  <c:v>26.635006023839747</c:v>
                </c:pt>
                <c:pt idx="2631">
                  <c:v>48.448462388409077</c:v>
                </c:pt>
                <c:pt idx="2632">
                  <c:v>34.642657687911914</c:v>
                </c:pt>
                <c:pt idx="2633">
                  <c:v>26.898732582962634</c:v>
                </c:pt>
                <c:pt idx="2634">
                  <c:v>25.148788529443134</c:v>
                </c:pt>
                <c:pt idx="2635">
                  <c:v>24.642099824867927</c:v>
                </c:pt>
                <c:pt idx="2636">
                  <c:v>23.327411432620735</c:v>
                </c:pt>
                <c:pt idx="2637">
                  <c:v>22.318137078877104</c:v>
                </c:pt>
                <c:pt idx="2638">
                  <c:v>27.651570884304</c:v>
                </c:pt>
                <c:pt idx="2639">
                  <c:v>25.583366016700538</c:v>
                </c:pt>
                <c:pt idx="2640">
                  <c:v>23.840319003287348</c:v>
                </c:pt>
                <c:pt idx="2641">
                  <c:v>45.582853389699935</c:v>
                </c:pt>
                <c:pt idx="2642">
                  <c:v>29.475597522950647</c:v>
                </c:pt>
                <c:pt idx="2643">
                  <c:v>26.488398526262262</c:v>
                </c:pt>
                <c:pt idx="2644">
                  <c:v>27.63322275311366</c:v>
                </c:pt>
                <c:pt idx="2645">
                  <c:v>32.923498477185127</c:v>
                </c:pt>
                <c:pt idx="2646">
                  <c:v>35.004101395578395</c:v>
                </c:pt>
                <c:pt idx="2647">
                  <c:v>26.7514726826494</c:v>
                </c:pt>
                <c:pt idx="2648">
                  <c:v>24.158112260174441</c:v>
                </c:pt>
                <c:pt idx="2649">
                  <c:v>54.169295258725164</c:v>
                </c:pt>
                <c:pt idx="2650">
                  <c:v>27.989293412661887</c:v>
                </c:pt>
                <c:pt idx="2651">
                  <c:v>38.404586194305182</c:v>
                </c:pt>
                <c:pt idx="2652">
                  <c:v>25.418076331517458</c:v>
                </c:pt>
                <c:pt idx="2653">
                  <c:v>32.796743820564245</c:v>
                </c:pt>
                <c:pt idx="2654">
                  <c:v>24.082316324929387</c:v>
                </c:pt>
                <c:pt idx="2655">
                  <c:v>26.44670676431587</c:v>
                </c:pt>
                <c:pt idx="2656">
                  <c:v>30.908977655424707</c:v>
                </c:pt>
                <c:pt idx="2657">
                  <c:v>47.258584432788304</c:v>
                </c:pt>
                <c:pt idx="2658">
                  <c:v>24.91584922222227</c:v>
                </c:pt>
                <c:pt idx="2659">
                  <c:v>24.868517259241148</c:v>
                </c:pt>
                <c:pt idx="2660">
                  <c:v>44.152000666874784</c:v>
                </c:pt>
                <c:pt idx="2661">
                  <c:v>29.849020642990894</c:v>
                </c:pt>
                <c:pt idx="2662">
                  <c:v>39.079667062128301</c:v>
                </c:pt>
                <c:pt idx="2663">
                  <c:v>50.816058651003488</c:v>
                </c:pt>
                <c:pt idx="2664">
                  <c:v>24.416866971161653</c:v>
                </c:pt>
                <c:pt idx="2665">
                  <c:v>26.07988237280529</c:v>
                </c:pt>
                <c:pt idx="2666">
                  <c:v>26.942470001326484</c:v>
                </c:pt>
                <c:pt idx="2667">
                  <c:v>18.943750194856726</c:v>
                </c:pt>
                <c:pt idx="2668">
                  <c:v>24.000561529849243</c:v>
                </c:pt>
                <c:pt idx="2669">
                  <c:v>25.647544495132291</c:v>
                </c:pt>
                <c:pt idx="2670">
                  <c:v>24.12178376024459</c:v>
                </c:pt>
                <c:pt idx="2671">
                  <c:v>18.610036556698326</c:v>
                </c:pt>
                <c:pt idx="2672">
                  <c:v>32.25653787769663</c:v>
                </c:pt>
                <c:pt idx="2673">
                  <c:v>28.55409487659772</c:v>
                </c:pt>
                <c:pt idx="2674">
                  <c:v>35.276917511962999</c:v>
                </c:pt>
                <c:pt idx="2675">
                  <c:v>28.131719325944957</c:v>
                </c:pt>
                <c:pt idx="2676">
                  <c:v>40.860639085807705</c:v>
                </c:pt>
                <c:pt idx="2677">
                  <c:v>28.639812853677739</c:v>
                </c:pt>
                <c:pt idx="2678">
                  <c:v>20.85510200380158</c:v>
                </c:pt>
                <c:pt idx="2679">
                  <c:v>29.939462346230652</c:v>
                </c:pt>
                <c:pt idx="2680">
                  <c:v>17.024235707777521</c:v>
                </c:pt>
                <c:pt idx="2681">
                  <c:v>29.654725119660341</c:v>
                </c:pt>
                <c:pt idx="2682">
                  <c:v>26.000186808431479</c:v>
                </c:pt>
                <c:pt idx="2683">
                  <c:v>39.182515076147133</c:v>
                </c:pt>
                <c:pt idx="2684">
                  <c:v>20.605479054627558</c:v>
                </c:pt>
                <c:pt idx="2685">
                  <c:v>38.633199803726711</c:v>
                </c:pt>
                <c:pt idx="2686">
                  <c:v>53.18369792190083</c:v>
                </c:pt>
                <c:pt idx="2687">
                  <c:v>44.515913761395026</c:v>
                </c:pt>
                <c:pt idx="2688">
                  <c:v>29.473563865348368</c:v>
                </c:pt>
                <c:pt idx="2689">
                  <c:v>30.991235103190039</c:v>
                </c:pt>
                <c:pt idx="2690">
                  <c:v>24.439409794059355</c:v>
                </c:pt>
                <c:pt idx="2691">
                  <c:v>21.129504804837243</c:v>
                </c:pt>
                <c:pt idx="2692">
                  <c:v>27.11811157244772</c:v>
                </c:pt>
                <c:pt idx="2693">
                  <c:v>44.158016765773453</c:v>
                </c:pt>
                <c:pt idx="2694">
                  <c:v>57.750362578528424</c:v>
                </c:pt>
                <c:pt idx="2695">
                  <c:v>36.309516600433781</c:v>
                </c:pt>
                <c:pt idx="2696">
                  <c:v>54.198843991176972</c:v>
                </c:pt>
                <c:pt idx="2697">
                  <c:v>18.996152065893924</c:v>
                </c:pt>
                <c:pt idx="2698">
                  <c:v>38.657001313297044</c:v>
                </c:pt>
                <c:pt idx="2699">
                  <c:v>27.232025339837492</c:v>
                </c:pt>
                <c:pt idx="2700">
                  <c:v>29.845155550236797</c:v>
                </c:pt>
                <c:pt idx="2701">
                  <c:v>28.446957050557472</c:v>
                </c:pt>
                <c:pt idx="2702">
                  <c:v>53.800050603777592</c:v>
                </c:pt>
                <c:pt idx="2703">
                  <c:v>30.188792284070018</c:v>
                </c:pt>
                <c:pt idx="2704">
                  <c:v>52.498224660812845</c:v>
                </c:pt>
                <c:pt idx="2705">
                  <c:v>19.722827538307989</c:v>
                </c:pt>
                <c:pt idx="2706">
                  <c:v>21.963377992330898</c:v>
                </c:pt>
                <c:pt idx="2707">
                  <c:v>46.762635228106369</c:v>
                </c:pt>
                <c:pt idx="2708">
                  <c:v>28.22403531286924</c:v>
                </c:pt>
                <c:pt idx="2709">
                  <c:v>30.861186032911213</c:v>
                </c:pt>
                <c:pt idx="2710">
                  <c:v>33.469301323037115</c:v>
                </c:pt>
                <c:pt idx="2711">
                  <c:v>27.862485332861752</c:v>
                </c:pt>
                <c:pt idx="2712">
                  <c:v>30.140227178828859</c:v>
                </c:pt>
                <c:pt idx="2713">
                  <c:v>60.362673868675394</c:v>
                </c:pt>
                <c:pt idx="2714">
                  <c:v>38.36436947497041</c:v>
                </c:pt>
                <c:pt idx="2715">
                  <c:v>25.066710889174328</c:v>
                </c:pt>
                <c:pt idx="2716">
                  <c:v>37.649691398965977</c:v>
                </c:pt>
                <c:pt idx="2717">
                  <c:v>36.975682258081484</c:v>
                </c:pt>
                <c:pt idx="2718">
                  <c:v>61.411111314953416</c:v>
                </c:pt>
                <c:pt idx="2719">
                  <c:v>20.052522401782479</c:v>
                </c:pt>
                <c:pt idx="2720">
                  <c:v>12.70358267861609</c:v>
                </c:pt>
                <c:pt idx="2721">
                  <c:v>24.90988651509943</c:v>
                </c:pt>
                <c:pt idx="2722">
                  <c:v>28.192545180825746</c:v>
                </c:pt>
                <c:pt idx="2723">
                  <c:v>25.120287016690934</c:v>
                </c:pt>
                <c:pt idx="2724">
                  <c:v>31.371787536930476</c:v>
                </c:pt>
                <c:pt idx="2725">
                  <c:v>43.967982443453288</c:v>
                </c:pt>
                <c:pt idx="2726">
                  <c:v>23.691329789768488</c:v>
                </c:pt>
                <c:pt idx="2727">
                  <c:v>43.782844511198483</c:v>
                </c:pt>
                <c:pt idx="2728">
                  <c:v>29.48562279231254</c:v>
                </c:pt>
                <c:pt idx="2729">
                  <c:v>39.593873305158475</c:v>
                </c:pt>
                <c:pt idx="2730">
                  <c:v>30.653198013215189</c:v>
                </c:pt>
                <c:pt idx="2731">
                  <c:v>25.028816901825884</c:v>
                </c:pt>
                <c:pt idx="2732">
                  <c:v>31.500303606407112</c:v>
                </c:pt>
                <c:pt idx="2733">
                  <c:v>27.093465765870661</c:v>
                </c:pt>
                <c:pt idx="2734">
                  <c:v>19.681873669228306</c:v>
                </c:pt>
                <c:pt idx="2735">
                  <c:v>36.653178479908071</c:v>
                </c:pt>
                <c:pt idx="2736">
                  <c:v>28.364143624801791</c:v>
                </c:pt>
                <c:pt idx="2737">
                  <c:v>45.30297978336452</c:v>
                </c:pt>
                <c:pt idx="2738">
                  <c:v>32.81751424616445</c:v>
                </c:pt>
                <c:pt idx="2739">
                  <c:v>24.798266863025376</c:v>
                </c:pt>
                <c:pt idx="2740">
                  <c:v>30.655268346948226</c:v>
                </c:pt>
                <c:pt idx="2741">
                  <c:v>31.439990655764536</c:v>
                </c:pt>
                <c:pt idx="2742">
                  <c:v>27.382234683562181</c:v>
                </c:pt>
                <c:pt idx="2743">
                  <c:v>25.654670668758172</c:v>
                </c:pt>
                <c:pt idx="2744">
                  <c:v>28.711431606811331</c:v>
                </c:pt>
                <c:pt idx="2745">
                  <c:v>27.747715776523986</c:v>
                </c:pt>
                <c:pt idx="2746">
                  <c:v>35.319677572166938</c:v>
                </c:pt>
                <c:pt idx="2747">
                  <c:v>57.47433924997511</c:v>
                </c:pt>
                <c:pt idx="2748">
                  <c:v>22.390356852777845</c:v>
                </c:pt>
                <c:pt idx="2749">
                  <c:v>21.46790209145421</c:v>
                </c:pt>
                <c:pt idx="2750">
                  <c:v>38.648872282155793</c:v>
                </c:pt>
                <c:pt idx="2751">
                  <c:v>20.658877434555869</c:v>
                </c:pt>
                <c:pt idx="2752">
                  <c:v>25.335156806512053</c:v>
                </c:pt>
                <c:pt idx="2753">
                  <c:v>17.731415356799488</c:v>
                </c:pt>
                <c:pt idx="2754">
                  <c:v>26.167376156450235</c:v>
                </c:pt>
                <c:pt idx="2755">
                  <c:v>28.372701762887896</c:v>
                </c:pt>
                <c:pt idx="2756">
                  <c:v>25.518669630526066</c:v>
                </c:pt>
                <c:pt idx="2757">
                  <c:v>24.723457322251214</c:v>
                </c:pt>
                <c:pt idx="2758">
                  <c:v>23.280587461288896</c:v>
                </c:pt>
                <c:pt idx="2759">
                  <c:v>24.665113937581566</c:v>
                </c:pt>
                <c:pt idx="2760">
                  <c:v>47.975022872357435</c:v>
                </c:pt>
                <c:pt idx="2761">
                  <c:v>46.354557253748872</c:v>
                </c:pt>
                <c:pt idx="2762">
                  <c:v>31.957604691288104</c:v>
                </c:pt>
                <c:pt idx="2763">
                  <c:v>32.184250430476595</c:v>
                </c:pt>
                <c:pt idx="2764">
                  <c:v>35.049526425180154</c:v>
                </c:pt>
                <c:pt idx="2765">
                  <c:v>27.83237985481361</c:v>
                </c:pt>
                <c:pt idx="2766">
                  <c:v>15.720036371910293</c:v>
                </c:pt>
                <c:pt idx="2767">
                  <c:v>31.672914951077328</c:v>
                </c:pt>
                <c:pt idx="2768">
                  <c:v>45.421449061550696</c:v>
                </c:pt>
                <c:pt idx="2769">
                  <c:v>34.72836548369154</c:v>
                </c:pt>
                <c:pt idx="2770">
                  <c:v>29.953716961252269</c:v>
                </c:pt>
                <c:pt idx="2771">
                  <c:v>37.468799361680951</c:v>
                </c:pt>
                <c:pt idx="2772">
                  <c:v>25.803631342517349</c:v>
                </c:pt>
                <c:pt idx="2773">
                  <c:v>27.674584793417271</c:v>
                </c:pt>
                <c:pt idx="2774">
                  <c:v>48.092862240422328</c:v>
                </c:pt>
                <c:pt idx="2775">
                  <c:v>26.689151813195831</c:v>
                </c:pt>
                <c:pt idx="2776">
                  <c:v>44.65982123182097</c:v>
                </c:pt>
                <c:pt idx="2777">
                  <c:v>39.519158806724064</c:v>
                </c:pt>
                <c:pt idx="2778">
                  <c:v>37.774229868461831</c:v>
                </c:pt>
                <c:pt idx="2779">
                  <c:v>24.511588660467993</c:v>
                </c:pt>
                <c:pt idx="2780">
                  <c:v>28.278534373995235</c:v>
                </c:pt>
                <c:pt idx="2781">
                  <c:v>24.281886932535073</c:v>
                </c:pt>
                <c:pt idx="2782">
                  <c:v>26.635288580523031</c:v>
                </c:pt>
                <c:pt idx="2783">
                  <c:v>44.814699280406749</c:v>
                </c:pt>
                <c:pt idx="2784">
                  <c:v>49.169683946253457</c:v>
                </c:pt>
                <c:pt idx="2785">
                  <c:v>21.264229549188482</c:v>
                </c:pt>
                <c:pt idx="2786">
                  <c:v>26.63132266423856</c:v>
                </c:pt>
                <c:pt idx="2787">
                  <c:v>24.406155921071196</c:v>
                </c:pt>
                <c:pt idx="2788">
                  <c:v>31.652849646250374</c:v>
                </c:pt>
                <c:pt idx="2789">
                  <c:v>17.446701874901979</c:v>
                </c:pt>
                <c:pt idx="2790">
                  <c:v>26.909756824759782</c:v>
                </c:pt>
                <c:pt idx="2791">
                  <c:v>19.912204070432836</c:v>
                </c:pt>
                <c:pt idx="2792">
                  <c:v>22.203506267409512</c:v>
                </c:pt>
                <c:pt idx="2793">
                  <c:v>33.192577121475793</c:v>
                </c:pt>
                <c:pt idx="2794">
                  <c:v>28.594600027237455</c:v>
                </c:pt>
                <c:pt idx="2795">
                  <c:v>29.459570480526896</c:v>
                </c:pt>
                <c:pt idx="2796">
                  <c:v>20.392117949205534</c:v>
                </c:pt>
                <c:pt idx="2797">
                  <c:v>24.206189656146872</c:v>
                </c:pt>
                <c:pt idx="2798">
                  <c:v>27.255146364657755</c:v>
                </c:pt>
                <c:pt idx="2799">
                  <c:v>25.205935119849485</c:v>
                </c:pt>
                <c:pt idx="2800">
                  <c:v>23.469418073083691</c:v>
                </c:pt>
                <c:pt idx="2801">
                  <c:v>33.870716502167056</c:v>
                </c:pt>
                <c:pt idx="2802">
                  <c:v>37.021609738637068</c:v>
                </c:pt>
                <c:pt idx="2803">
                  <c:v>29.113679765184635</c:v>
                </c:pt>
                <c:pt idx="2804">
                  <c:v>40.275116976911157</c:v>
                </c:pt>
                <c:pt idx="2805">
                  <c:v>43.993381473119243</c:v>
                </c:pt>
                <c:pt idx="2806">
                  <c:v>40.477504022780948</c:v>
                </c:pt>
                <c:pt idx="2807">
                  <c:v>30.606085974993452</c:v>
                </c:pt>
                <c:pt idx="2808">
                  <c:v>22.513894335815163</c:v>
                </c:pt>
                <c:pt idx="2809">
                  <c:v>25.884017591483122</c:v>
                </c:pt>
                <c:pt idx="2810">
                  <c:v>27.908121004429901</c:v>
                </c:pt>
                <c:pt idx="2811">
                  <c:v>19.980984906116394</c:v>
                </c:pt>
                <c:pt idx="2812">
                  <c:v>40.411274108315389</c:v>
                </c:pt>
                <c:pt idx="2813">
                  <c:v>17.741414667704202</c:v>
                </c:pt>
                <c:pt idx="2814">
                  <c:v>29.836327263467307</c:v>
                </c:pt>
                <c:pt idx="2815">
                  <c:v>44.453406739734405</c:v>
                </c:pt>
                <c:pt idx="2816">
                  <c:v>31.189564185355415</c:v>
                </c:pt>
                <c:pt idx="2817">
                  <c:v>50.350582288496582</c:v>
                </c:pt>
                <c:pt idx="2818">
                  <c:v>51.447040847357357</c:v>
                </c:pt>
                <c:pt idx="2819">
                  <c:v>22.874411574804789</c:v>
                </c:pt>
                <c:pt idx="2820">
                  <c:v>19.322894989902327</c:v>
                </c:pt>
                <c:pt idx="2821">
                  <c:v>26.514989551873903</c:v>
                </c:pt>
                <c:pt idx="2822">
                  <c:v>26.10805197786409</c:v>
                </c:pt>
                <c:pt idx="2823">
                  <c:v>26.434908379305586</c:v>
                </c:pt>
                <c:pt idx="2824">
                  <c:v>23.344988809993097</c:v>
                </c:pt>
                <c:pt idx="2825">
                  <c:v>41.7677585127173</c:v>
                </c:pt>
                <c:pt idx="2826">
                  <c:v>25.403586043724257</c:v>
                </c:pt>
                <c:pt idx="2827">
                  <c:v>58.575198253688953</c:v>
                </c:pt>
                <c:pt idx="2828">
                  <c:v>31.335078970751464</c:v>
                </c:pt>
                <c:pt idx="2829">
                  <c:v>28.351727216452659</c:v>
                </c:pt>
                <c:pt idx="2830">
                  <c:v>36.297422901527284</c:v>
                </c:pt>
                <c:pt idx="2831">
                  <c:v>30.284670853143094</c:v>
                </c:pt>
                <c:pt idx="2832">
                  <c:v>17.520853668904316</c:v>
                </c:pt>
                <c:pt idx="2833">
                  <c:v>29.841805933833768</c:v>
                </c:pt>
                <c:pt idx="2834">
                  <c:v>41.368136761958198</c:v>
                </c:pt>
                <c:pt idx="2835">
                  <c:v>30.546651048087735</c:v>
                </c:pt>
                <c:pt idx="2836">
                  <c:v>19.816246350482302</c:v>
                </c:pt>
                <c:pt idx="2837">
                  <c:v>26.174344981133217</c:v>
                </c:pt>
                <c:pt idx="2838">
                  <c:v>36.459703826135836</c:v>
                </c:pt>
                <c:pt idx="2839">
                  <c:v>52.284543738115033</c:v>
                </c:pt>
                <c:pt idx="2840">
                  <c:v>29.959895925942195</c:v>
                </c:pt>
                <c:pt idx="2841">
                  <c:v>22.251320652671993</c:v>
                </c:pt>
                <c:pt idx="2842">
                  <c:v>33.044517300206508</c:v>
                </c:pt>
                <c:pt idx="2843">
                  <c:v>20.740695950622538</c:v>
                </c:pt>
                <c:pt idx="2844">
                  <c:v>23.190940769155517</c:v>
                </c:pt>
                <c:pt idx="2845">
                  <c:v>23.578696046629904</c:v>
                </c:pt>
                <c:pt idx="2846">
                  <c:v>26.914453022789441</c:v>
                </c:pt>
                <c:pt idx="2847">
                  <c:v>28.926960107827366</c:v>
                </c:pt>
                <c:pt idx="2848">
                  <c:v>32.252264115314333</c:v>
                </c:pt>
                <c:pt idx="2849">
                  <c:v>24.328430214957102</c:v>
                </c:pt>
                <c:pt idx="2850">
                  <c:v>29.370383434321916</c:v>
                </c:pt>
                <c:pt idx="2851">
                  <c:v>60.092541009256955</c:v>
                </c:pt>
                <c:pt idx="2852">
                  <c:v>23.076071287351663</c:v>
                </c:pt>
                <c:pt idx="2853">
                  <c:v>47.958814875936632</c:v>
                </c:pt>
                <c:pt idx="2854">
                  <c:v>34.325442663540258</c:v>
                </c:pt>
                <c:pt idx="2855">
                  <c:v>27.536723075828785</c:v>
                </c:pt>
                <c:pt idx="2856">
                  <c:v>51.17605967110633</c:v>
                </c:pt>
                <c:pt idx="2857">
                  <c:v>34.654661892765496</c:v>
                </c:pt>
                <c:pt idx="2858">
                  <c:v>32.780167316011962</c:v>
                </c:pt>
                <c:pt idx="2859">
                  <c:v>31.398605319893989</c:v>
                </c:pt>
                <c:pt idx="2860">
                  <c:v>31.668896919121604</c:v>
                </c:pt>
                <c:pt idx="2861">
                  <c:v>30.34816537044038</c:v>
                </c:pt>
                <c:pt idx="2862">
                  <c:v>23.585077720529718</c:v>
                </c:pt>
                <c:pt idx="2863">
                  <c:v>35.17336002708047</c:v>
                </c:pt>
                <c:pt idx="2864">
                  <c:v>24.581459036107628</c:v>
                </c:pt>
                <c:pt idx="2865">
                  <c:v>44.593988546728447</c:v>
                </c:pt>
                <c:pt idx="2866">
                  <c:v>19.74707006288812</c:v>
                </c:pt>
                <c:pt idx="2867">
                  <c:v>26.278480391897915</c:v>
                </c:pt>
                <c:pt idx="2868">
                  <c:v>31.496049929467301</c:v>
                </c:pt>
                <c:pt idx="2869">
                  <c:v>48.944054136289836</c:v>
                </c:pt>
                <c:pt idx="2870">
                  <c:v>24.590243026931741</c:v>
                </c:pt>
                <c:pt idx="2871">
                  <c:v>21.562054357566495</c:v>
                </c:pt>
                <c:pt idx="2872">
                  <c:v>28.947387114951237</c:v>
                </c:pt>
                <c:pt idx="2873">
                  <c:v>32.066245903925768</c:v>
                </c:pt>
                <c:pt idx="2874">
                  <c:v>24.20648609821631</c:v>
                </c:pt>
                <c:pt idx="2875">
                  <c:v>24.899663561127333</c:v>
                </c:pt>
                <c:pt idx="2876">
                  <c:v>38.294456123479627</c:v>
                </c:pt>
                <c:pt idx="2877">
                  <c:v>47.280702292833048</c:v>
                </c:pt>
                <c:pt idx="2878">
                  <c:v>36.196119416619965</c:v>
                </c:pt>
                <c:pt idx="2879">
                  <c:v>18.047231963166546</c:v>
                </c:pt>
                <c:pt idx="2880">
                  <c:v>27.098830375316385</c:v>
                </c:pt>
                <c:pt idx="2881">
                  <c:v>36.33885486112586</c:v>
                </c:pt>
                <c:pt idx="2882">
                  <c:v>50.722927410315449</c:v>
                </c:pt>
                <c:pt idx="2883">
                  <c:v>31.050445669051246</c:v>
                </c:pt>
                <c:pt idx="2884">
                  <c:v>26.704816470816187</c:v>
                </c:pt>
                <c:pt idx="2885">
                  <c:v>24.892575734922346</c:v>
                </c:pt>
                <c:pt idx="2886">
                  <c:v>18.249728790211837</c:v>
                </c:pt>
                <c:pt idx="2887">
                  <c:v>26.256950481161702</c:v>
                </c:pt>
                <c:pt idx="2888">
                  <c:v>24.156742877412054</c:v>
                </c:pt>
                <c:pt idx="2889">
                  <c:v>20.633554483209309</c:v>
                </c:pt>
                <c:pt idx="2890">
                  <c:v>54.016129527801503</c:v>
                </c:pt>
                <c:pt idx="2891">
                  <c:v>46.529547579628741</c:v>
                </c:pt>
                <c:pt idx="2892">
                  <c:v>21.313334666389014</c:v>
                </c:pt>
                <c:pt idx="2893">
                  <c:v>53.084159970439025</c:v>
                </c:pt>
                <c:pt idx="2894">
                  <c:v>21.805888862468727</c:v>
                </c:pt>
                <c:pt idx="2895">
                  <c:v>26.340847055347702</c:v>
                </c:pt>
                <c:pt idx="2896">
                  <c:v>26.291018582491347</c:v>
                </c:pt>
                <c:pt idx="2897">
                  <c:v>24.218493837375767</c:v>
                </c:pt>
                <c:pt idx="2898">
                  <c:v>29.365827064351112</c:v>
                </c:pt>
                <c:pt idx="2899">
                  <c:v>38.933535018435542</c:v>
                </c:pt>
                <c:pt idx="2900">
                  <c:v>26.030525693210997</c:v>
                </c:pt>
                <c:pt idx="2901">
                  <c:v>41.61019127662555</c:v>
                </c:pt>
                <c:pt idx="2902">
                  <c:v>32.365484143276142</c:v>
                </c:pt>
                <c:pt idx="2903">
                  <c:v>44.075226421010996</c:v>
                </c:pt>
                <c:pt idx="2904">
                  <c:v>26.815118708084206</c:v>
                </c:pt>
                <c:pt idx="2905">
                  <c:v>54.109260890513298</c:v>
                </c:pt>
                <c:pt idx="2906">
                  <c:v>34.195114199435466</c:v>
                </c:pt>
                <c:pt idx="2907">
                  <c:v>21.064639862152596</c:v>
                </c:pt>
                <c:pt idx="2908">
                  <c:v>22.063234853117109</c:v>
                </c:pt>
                <c:pt idx="2909">
                  <c:v>57.596503095177376</c:v>
                </c:pt>
                <c:pt idx="2910">
                  <c:v>32.198708195302174</c:v>
                </c:pt>
                <c:pt idx="2911">
                  <c:v>26.702590002340337</c:v>
                </c:pt>
                <c:pt idx="2912">
                  <c:v>37.456289110525539</c:v>
                </c:pt>
                <c:pt idx="2913">
                  <c:v>35.34087576881987</c:v>
                </c:pt>
                <c:pt idx="2914">
                  <c:v>28.914525993250017</c:v>
                </c:pt>
                <c:pt idx="2915">
                  <c:v>29.443305908817823</c:v>
                </c:pt>
                <c:pt idx="2916">
                  <c:v>26.20555713682581</c:v>
                </c:pt>
                <c:pt idx="2917">
                  <c:v>40.962794278049692</c:v>
                </c:pt>
                <c:pt idx="2918">
                  <c:v>50.355139907460092</c:v>
                </c:pt>
                <c:pt idx="2919">
                  <c:v>35.910264178111568</c:v>
                </c:pt>
                <c:pt idx="2920">
                  <c:v>28.214799938777446</c:v>
                </c:pt>
                <c:pt idx="2921">
                  <c:v>31.182266216664154</c:v>
                </c:pt>
                <c:pt idx="2922">
                  <c:v>28.155074570474749</c:v>
                </c:pt>
                <c:pt idx="2923">
                  <c:v>26.916489200479003</c:v>
                </c:pt>
                <c:pt idx="2924">
                  <c:v>26.395900819807878</c:v>
                </c:pt>
                <c:pt idx="2925">
                  <c:v>39.533280189038351</c:v>
                </c:pt>
                <c:pt idx="2926">
                  <c:v>50.200267165636141</c:v>
                </c:pt>
                <c:pt idx="2927">
                  <c:v>33.81478752043131</c:v>
                </c:pt>
                <c:pt idx="2928">
                  <c:v>26.828888267093454</c:v>
                </c:pt>
                <c:pt idx="2929">
                  <c:v>23.779443003994714</c:v>
                </c:pt>
                <c:pt idx="2930">
                  <c:v>45.455435844900023</c:v>
                </c:pt>
                <c:pt idx="2931">
                  <c:v>25.78534402650622</c:v>
                </c:pt>
                <c:pt idx="2932">
                  <c:v>21.969960509244643</c:v>
                </c:pt>
                <c:pt idx="2933">
                  <c:v>56.971242844532121</c:v>
                </c:pt>
                <c:pt idx="2934">
                  <c:v>25.162651266024035</c:v>
                </c:pt>
                <c:pt idx="2935">
                  <c:v>28.265776510600659</c:v>
                </c:pt>
                <c:pt idx="2936">
                  <c:v>46.511088699540956</c:v>
                </c:pt>
                <c:pt idx="2937">
                  <c:v>53.273521632530915</c:v>
                </c:pt>
                <c:pt idx="2938">
                  <c:v>28.494267418492875</c:v>
                </c:pt>
                <c:pt idx="2939">
                  <c:v>40.000144741435925</c:v>
                </c:pt>
                <c:pt idx="2940">
                  <c:v>31.549859394048564</c:v>
                </c:pt>
                <c:pt idx="2941">
                  <c:v>31.115551743629673</c:v>
                </c:pt>
                <c:pt idx="2942">
                  <c:v>19.970283447132488</c:v>
                </c:pt>
                <c:pt idx="2943">
                  <c:v>43.964002102097716</c:v>
                </c:pt>
                <c:pt idx="2944">
                  <c:v>25.545172802241922</c:v>
                </c:pt>
                <c:pt idx="2945">
                  <c:v>36.966513028081771</c:v>
                </c:pt>
                <c:pt idx="2946">
                  <c:v>26.873634095202213</c:v>
                </c:pt>
                <c:pt idx="2947">
                  <c:v>22.072636352526338</c:v>
                </c:pt>
                <c:pt idx="2948">
                  <c:v>33.605489719596008</c:v>
                </c:pt>
                <c:pt idx="2949">
                  <c:v>22.753471590844956</c:v>
                </c:pt>
                <c:pt idx="2950">
                  <c:v>24.217892246594037</c:v>
                </c:pt>
                <c:pt idx="2951">
                  <c:v>26.657523434880819</c:v>
                </c:pt>
                <c:pt idx="2952">
                  <c:v>48.963826719255771</c:v>
                </c:pt>
                <c:pt idx="2953">
                  <c:v>41.422669069345197</c:v>
                </c:pt>
                <c:pt idx="2954">
                  <c:v>24.040573757151375</c:v>
                </c:pt>
                <c:pt idx="2955">
                  <c:v>16.189083266579015</c:v>
                </c:pt>
                <c:pt idx="2956">
                  <c:v>25.944879195814664</c:v>
                </c:pt>
                <c:pt idx="2957">
                  <c:v>30.527748052851582</c:v>
                </c:pt>
                <c:pt idx="2958">
                  <c:v>28.614521897448491</c:v>
                </c:pt>
                <c:pt idx="2959">
                  <c:v>21.72766666351291</c:v>
                </c:pt>
                <c:pt idx="2960">
                  <c:v>48.66167541158898</c:v>
                </c:pt>
                <c:pt idx="2961">
                  <c:v>23.681394266843192</c:v>
                </c:pt>
                <c:pt idx="2962">
                  <c:v>29.163310289544704</c:v>
                </c:pt>
                <c:pt idx="2963">
                  <c:v>29.836340569909346</c:v>
                </c:pt>
                <c:pt idx="2964">
                  <c:v>51.577023140766549</c:v>
                </c:pt>
                <c:pt idx="2965">
                  <c:v>23.082904379152204</c:v>
                </c:pt>
                <c:pt idx="2966">
                  <c:v>40.567968072144062</c:v>
                </c:pt>
                <c:pt idx="2967">
                  <c:v>29.439689384314129</c:v>
                </c:pt>
                <c:pt idx="2968">
                  <c:v>35.527502390633806</c:v>
                </c:pt>
                <c:pt idx="2969">
                  <c:v>42.066295670074851</c:v>
                </c:pt>
                <c:pt idx="2970">
                  <c:v>25.805359293552929</c:v>
                </c:pt>
                <c:pt idx="2971">
                  <c:v>17.643658097082515</c:v>
                </c:pt>
                <c:pt idx="2972">
                  <c:v>30.437618221716264</c:v>
                </c:pt>
                <c:pt idx="2973">
                  <c:v>51.760806879360558</c:v>
                </c:pt>
                <c:pt idx="2974">
                  <c:v>32.726210736043726</c:v>
                </c:pt>
                <c:pt idx="2975">
                  <c:v>21.037364880049449</c:v>
                </c:pt>
                <c:pt idx="2976">
                  <c:v>24.860055594334938</c:v>
                </c:pt>
                <c:pt idx="2977">
                  <c:v>31.753756482850104</c:v>
                </c:pt>
                <c:pt idx="2978">
                  <c:v>21.905501885740829</c:v>
                </c:pt>
                <c:pt idx="2979">
                  <c:v>25.347087866218658</c:v>
                </c:pt>
                <c:pt idx="2980">
                  <c:v>26.43999594413815</c:v>
                </c:pt>
                <c:pt idx="2981">
                  <c:v>26.45185677876988</c:v>
                </c:pt>
                <c:pt idx="2982">
                  <c:v>22.477663706797934</c:v>
                </c:pt>
                <c:pt idx="2983">
                  <c:v>46.022851088279253</c:v>
                </c:pt>
                <c:pt idx="2984">
                  <c:v>28.697059524515527</c:v>
                </c:pt>
                <c:pt idx="2985">
                  <c:v>21.429958470798304</c:v>
                </c:pt>
                <c:pt idx="2986">
                  <c:v>30.185676712086103</c:v>
                </c:pt>
                <c:pt idx="2987">
                  <c:v>24.725050103666661</c:v>
                </c:pt>
                <c:pt idx="2988">
                  <c:v>23.570416503776769</c:v>
                </c:pt>
                <c:pt idx="2989">
                  <c:v>28.155843616680837</c:v>
                </c:pt>
                <c:pt idx="2990">
                  <c:v>23.249088032815951</c:v>
                </c:pt>
                <c:pt idx="2991">
                  <c:v>51.375815016856912</c:v>
                </c:pt>
                <c:pt idx="2992">
                  <c:v>25.413709348979847</c:v>
                </c:pt>
                <c:pt idx="2993">
                  <c:v>37.491374024528234</c:v>
                </c:pt>
                <c:pt idx="2994">
                  <c:v>30.243975221212921</c:v>
                </c:pt>
                <c:pt idx="2995">
                  <c:v>36.296627894410619</c:v>
                </c:pt>
                <c:pt idx="2996">
                  <c:v>22.783160866647538</c:v>
                </c:pt>
                <c:pt idx="2997">
                  <c:v>34.915060657482961</c:v>
                </c:pt>
                <c:pt idx="2998">
                  <c:v>38.390205816667532</c:v>
                </c:pt>
                <c:pt idx="2999">
                  <c:v>21.172108761685447</c:v>
                </c:pt>
                <c:pt idx="3000">
                  <c:v>24.503692193138789</c:v>
                </c:pt>
                <c:pt idx="3001">
                  <c:v>33.817422721233442</c:v>
                </c:pt>
                <c:pt idx="3002">
                  <c:v>23.040233165768857</c:v>
                </c:pt>
                <c:pt idx="3003">
                  <c:v>58.390869372803174</c:v>
                </c:pt>
                <c:pt idx="3004">
                  <c:v>52.452449951630989</c:v>
                </c:pt>
                <c:pt idx="3005">
                  <c:v>25.7162296175613</c:v>
                </c:pt>
                <c:pt idx="3006">
                  <c:v>29.251594285761101</c:v>
                </c:pt>
                <c:pt idx="3007">
                  <c:v>22.140067560774416</c:v>
                </c:pt>
                <c:pt idx="3008">
                  <c:v>26.204233336809573</c:v>
                </c:pt>
                <c:pt idx="3009">
                  <c:v>21.216965083602897</c:v>
                </c:pt>
                <c:pt idx="3010">
                  <c:v>28.599509658338203</c:v>
                </c:pt>
                <c:pt idx="3011">
                  <c:v>30.236989419448424</c:v>
                </c:pt>
                <c:pt idx="3012">
                  <c:v>33.582322642722431</c:v>
                </c:pt>
                <c:pt idx="3013">
                  <c:v>29.255942371867285</c:v>
                </c:pt>
                <c:pt idx="3014">
                  <c:v>26.511492118040017</c:v>
                </c:pt>
                <c:pt idx="3015">
                  <c:v>53.645609930084973</c:v>
                </c:pt>
                <c:pt idx="3016">
                  <c:v>24.72883469570727</c:v>
                </c:pt>
                <c:pt idx="3017">
                  <c:v>43.373166519626572</c:v>
                </c:pt>
                <c:pt idx="3018">
                  <c:v>26.254141687579846</c:v>
                </c:pt>
                <c:pt idx="3019">
                  <c:v>27.533010706084802</c:v>
                </c:pt>
                <c:pt idx="3020">
                  <c:v>26.836590250356121</c:v>
                </c:pt>
                <c:pt idx="3021">
                  <c:v>40.179611991967128</c:v>
                </c:pt>
                <c:pt idx="3022">
                  <c:v>21.561566338224399</c:v>
                </c:pt>
                <c:pt idx="3023">
                  <c:v>33.647277160980231</c:v>
                </c:pt>
                <c:pt idx="3024">
                  <c:v>31.09251694569674</c:v>
                </c:pt>
                <c:pt idx="3025">
                  <c:v>28.951378182440873</c:v>
                </c:pt>
                <c:pt idx="3026">
                  <c:v>32.208206504883769</c:v>
                </c:pt>
                <c:pt idx="3027">
                  <c:v>25.137902604849739</c:v>
                </c:pt>
                <c:pt idx="3028">
                  <c:v>29.379164766662388</c:v>
                </c:pt>
                <c:pt idx="3029">
                  <c:v>23.372269794891359</c:v>
                </c:pt>
                <c:pt idx="3030">
                  <c:v>21.848788376491086</c:v>
                </c:pt>
                <c:pt idx="3031">
                  <c:v>25.409395903581377</c:v>
                </c:pt>
                <c:pt idx="3032">
                  <c:v>28.977501615186306</c:v>
                </c:pt>
                <c:pt idx="3033">
                  <c:v>23.281136807432969</c:v>
                </c:pt>
                <c:pt idx="3034">
                  <c:v>30.225697826883508</c:v>
                </c:pt>
                <c:pt idx="3035">
                  <c:v>25.907831971151751</c:v>
                </c:pt>
                <c:pt idx="3036">
                  <c:v>24.53843983431068</c:v>
                </c:pt>
                <c:pt idx="3037">
                  <c:v>24.110715392381891</c:v>
                </c:pt>
                <c:pt idx="3038">
                  <c:v>61.424216775234257</c:v>
                </c:pt>
                <c:pt idx="3039">
                  <c:v>25.281264613672434</c:v>
                </c:pt>
                <c:pt idx="3040">
                  <c:v>41.012716976988074</c:v>
                </c:pt>
                <c:pt idx="3041">
                  <c:v>21.818807539959693</c:v>
                </c:pt>
                <c:pt idx="3042">
                  <c:v>27.220612440669441</c:v>
                </c:pt>
                <c:pt idx="3043">
                  <c:v>28.051657662837712</c:v>
                </c:pt>
                <c:pt idx="3044">
                  <c:v>16.271752621812986</c:v>
                </c:pt>
                <c:pt idx="3045">
                  <c:v>29.619129341285664</c:v>
                </c:pt>
                <c:pt idx="3046">
                  <c:v>25.679858060063999</c:v>
                </c:pt>
                <c:pt idx="3047">
                  <c:v>22.023999748862163</c:v>
                </c:pt>
                <c:pt idx="3048">
                  <c:v>57.666415887035072</c:v>
                </c:pt>
                <c:pt idx="3049">
                  <c:v>48.93403480989943</c:v>
                </c:pt>
                <c:pt idx="3050">
                  <c:v>35.477876198696499</c:v>
                </c:pt>
                <c:pt idx="3051">
                  <c:v>33.300378279657458</c:v>
                </c:pt>
                <c:pt idx="3052">
                  <c:v>27.225931304504165</c:v>
                </c:pt>
                <c:pt idx="3053">
                  <c:v>25.417632191512443</c:v>
                </c:pt>
                <c:pt idx="3054">
                  <c:v>27.539958251209057</c:v>
                </c:pt>
                <c:pt idx="3055">
                  <c:v>32.069406464880643</c:v>
                </c:pt>
                <c:pt idx="3056">
                  <c:v>29.57409866472117</c:v>
                </c:pt>
                <c:pt idx="3057">
                  <c:v>23.574598117723941</c:v>
                </c:pt>
                <c:pt idx="3058">
                  <c:v>41.760591890277347</c:v>
                </c:pt>
                <c:pt idx="3059">
                  <c:v>53.328780181854896</c:v>
                </c:pt>
                <c:pt idx="3060">
                  <c:v>28.269103205329557</c:v>
                </c:pt>
                <c:pt idx="3061">
                  <c:v>25.693546603474861</c:v>
                </c:pt>
                <c:pt idx="3062">
                  <c:v>30.467553689822015</c:v>
                </c:pt>
                <c:pt idx="3063">
                  <c:v>28.264893445712431</c:v>
                </c:pt>
                <c:pt idx="3064">
                  <c:v>46.88419001735933</c:v>
                </c:pt>
                <c:pt idx="3065">
                  <c:v>18.432210564637987</c:v>
                </c:pt>
                <c:pt idx="3066">
                  <c:v>29.314553432606132</c:v>
                </c:pt>
                <c:pt idx="3067">
                  <c:v>38.815012533410936</c:v>
                </c:pt>
                <c:pt idx="3068">
                  <c:v>35.80551672277597</c:v>
                </c:pt>
                <c:pt idx="3069">
                  <c:v>47.092728351858653</c:v>
                </c:pt>
                <c:pt idx="3070">
                  <c:v>29.531590440383344</c:v>
                </c:pt>
                <c:pt idx="3071">
                  <c:v>31.293622168342914</c:v>
                </c:pt>
                <c:pt idx="3072">
                  <c:v>21.392828952795846</c:v>
                </c:pt>
                <c:pt idx="3073">
                  <c:v>28.113331836915652</c:v>
                </c:pt>
                <c:pt idx="3074">
                  <c:v>28.896449420741181</c:v>
                </c:pt>
                <c:pt idx="3075">
                  <c:v>28.952793044963602</c:v>
                </c:pt>
                <c:pt idx="3076">
                  <c:v>38.791801290039011</c:v>
                </c:pt>
                <c:pt idx="3077">
                  <c:v>42.676023220433052</c:v>
                </c:pt>
                <c:pt idx="3078">
                  <c:v>25.174088913974561</c:v>
                </c:pt>
                <c:pt idx="3079">
                  <c:v>28.492024832673959</c:v>
                </c:pt>
                <c:pt idx="3080">
                  <c:v>22.985934690171984</c:v>
                </c:pt>
                <c:pt idx="3081">
                  <c:v>31.977516931206917</c:v>
                </c:pt>
                <c:pt idx="3082">
                  <c:v>27.280392479685553</c:v>
                </c:pt>
                <c:pt idx="3083">
                  <c:v>24.298245819406564</c:v>
                </c:pt>
                <c:pt idx="3084">
                  <c:v>31.172623871133766</c:v>
                </c:pt>
                <c:pt idx="3085">
                  <c:v>34.989864147893613</c:v>
                </c:pt>
                <c:pt idx="3086">
                  <c:v>42.103321987227247</c:v>
                </c:pt>
                <c:pt idx="3087">
                  <c:v>23.808824214653715</c:v>
                </c:pt>
                <c:pt idx="3088">
                  <c:v>34.28369676410081</c:v>
                </c:pt>
                <c:pt idx="3089">
                  <c:v>28.133810535892927</c:v>
                </c:pt>
                <c:pt idx="3090">
                  <c:v>30.428567149467167</c:v>
                </c:pt>
                <c:pt idx="3091">
                  <c:v>25.299844659728656</c:v>
                </c:pt>
                <c:pt idx="3092">
                  <c:v>33.69424969214883</c:v>
                </c:pt>
                <c:pt idx="3093">
                  <c:v>28.720580761469364</c:v>
                </c:pt>
                <c:pt idx="3094">
                  <c:v>26.777058407918354</c:v>
                </c:pt>
                <c:pt idx="3095">
                  <c:v>21.388835385797247</c:v>
                </c:pt>
                <c:pt idx="3096">
                  <c:v>40.787681483315929</c:v>
                </c:pt>
                <c:pt idx="3097">
                  <c:v>20.56355948043214</c:v>
                </c:pt>
                <c:pt idx="3098">
                  <c:v>30.316800000019168</c:v>
                </c:pt>
                <c:pt idx="3099">
                  <c:v>36.520371975724721</c:v>
                </c:pt>
                <c:pt idx="3100">
                  <c:v>32.895192937195489</c:v>
                </c:pt>
                <c:pt idx="3101">
                  <c:v>42.241757197857972</c:v>
                </c:pt>
                <c:pt idx="3102">
                  <c:v>37.638080883206186</c:v>
                </c:pt>
                <c:pt idx="3103">
                  <c:v>32.418295738305424</c:v>
                </c:pt>
                <c:pt idx="3104">
                  <c:v>27.677313268333208</c:v>
                </c:pt>
                <c:pt idx="3105">
                  <c:v>43.992203695517034</c:v>
                </c:pt>
                <c:pt idx="3106">
                  <c:v>26.845621543542464</c:v>
                </c:pt>
                <c:pt idx="3107">
                  <c:v>26.575079899983791</c:v>
                </c:pt>
                <c:pt idx="3108">
                  <c:v>32.81431147641505</c:v>
                </c:pt>
                <c:pt idx="3109">
                  <c:v>45.020126397205381</c:v>
                </c:pt>
                <c:pt idx="3110">
                  <c:v>52.173509856164948</c:v>
                </c:pt>
                <c:pt idx="3111">
                  <c:v>34.994123860024253</c:v>
                </c:pt>
                <c:pt idx="3112">
                  <c:v>26.114275356201247</c:v>
                </c:pt>
                <c:pt idx="3113">
                  <c:v>22.743493454004131</c:v>
                </c:pt>
                <c:pt idx="3114">
                  <c:v>33.393335108825333</c:v>
                </c:pt>
                <c:pt idx="3115">
                  <c:v>24.769028066882193</c:v>
                </c:pt>
                <c:pt idx="3116">
                  <c:v>30.298429294313074</c:v>
                </c:pt>
                <c:pt idx="3117">
                  <c:v>38.083124124796477</c:v>
                </c:pt>
                <c:pt idx="3118">
                  <c:v>47.253847438913283</c:v>
                </c:pt>
                <c:pt idx="3119">
                  <c:v>33.128365800031226</c:v>
                </c:pt>
                <c:pt idx="3120">
                  <c:v>30.323988981052739</c:v>
                </c:pt>
                <c:pt idx="3121">
                  <c:v>21.632226547885249</c:v>
                </c:pt>
                <c:pt idx="3122">
                  <c:v>32.982090590467301</c:v>
                </c:pt>
                <c:pt idx="3123">
                  <c:v>39.835487280392698</c:v>
                </c:pt>
                <c:pt idx="3124">
                  <c:v>23.907286586835838</c:v>
                </c:pt>
                <c:pt idx="3125">
                  <c:v>20.674330751055244</c:v>
                </c:pt>
                <c:pt idx="3126">
                  <c:v>38.287264191227393</c:v>
                </c:pt>
                <c:pt idx="3127">
                  <c:v>57.012260746173062</c:v>
                </c:pt>
                <c:pt idx="3128">
                  <c:v>23.447199656920343</c:v>
                </c:pt>
                <c:pt idx="3129">
                  <c:v>39.390849992278163</c:v>
                </c:pt>
                <c:pt idx="3130">
                  <c:v>25.529832492460443</c:v>
                </c:pt>
                <c:pt idx="3131">
                  <c:v>54.535205870114282</c:v>
                </c:pt>
                <c:pt idx="3132">
                  <c:v>27.317110539364421</c:v>
                </c:pt>
                <c:pt idx="3133">
                  <c:v>51.917057499365427</c:v>
                </c:pt>
                <c:pt idx="3134">
                  <c:v>33.419967629577293</c:v>
                </c:pt>
                <c:pt idx="3135">
                  <c:v>40.893364279225707</c:v>
                </c:pt>
                <c:pt idx="3136">
                  <c:v>26.858404442797688</c:v>
                </c:pt>
                <c:pt idx="3137">
                  <c:v>30.410149791384672</c:v>
                </c:pt>
                <c:pt idx="3138">
                  <c:v>36.943399722647534</c:v>
                </c:pt>
                <c:pt idx="3139">
                  <c:v>27.079746555997183</c:v>
                </c:pt>
                <c:pt idx="3140">
                  <c:v>45.109630483605166</c:v>
                </c:pt>
                <c:pt idx="3141">
                  <c:v>23.486439724091621</c:v>
                </c:pt>
                <c:pt idx="3142">
                  <c:v>27.497508909742589</c:v>
                </c:pt>
                <c:pt idx="3143">
                  <c:v>23.33502052555918</c:v>
                </c:pt>
                <c:pt idx="3144">
                  <c:v>51.076074334621467</c:v>
                </c:pt>
                <c:pt idx="3145">
                  <c:v>35.709847038870898</c:v>
                </c:pt>
                <c:pt idx="3146">
                  <c:v>34.605595031707743</c:v>
                </c:pt>
                <c:pt idx="3147">
                  <c:v>30.194176732821418</c:v>
                </c:pt>
                <c:pt idx="3148">
                  <c:v>24.072851609313368</c:v>
                </c:pt>
                <c:pt idx="3149">
                  <c:v>28.256980139317459</c:v>
                </c:pt>
                <c:pt idx="3150">
                  <c:v>24.9196374772865</c:v>
                </c:pt>
                <c:pt idx="3151">
                  <c:v>30.416717824861244</c:v>
                </c:pt>
                <c:pt idx="3152">
                  <c:v>30.096306249854052</c:v>
                </c:pt>
                <c:pt idx="3153">
                  <c:v>24.826582109840366</c:v>
                </c:pt>
                <c:pt idx="3154">
                  <c:v>29.611871641087326</c:v>
                </c:pt>
                <c:pt idx="3155">
                  <c:v>26.124416319311884</c:v>
                </c:pt>
                <c:pt idx="3156">
                  <c:v>26.719535560612986</c:v>
                </c:pt>
                <c:pt idx="3157">
                  <c:v>32.771999328855465</c:v>
                </c:pt>
                <c:pt idx="3158">
                  <c:v>40.503713734140504</c:v>
                </c:pt>
                <c:pt idx="3159">
                  <c:v>26.977276947462215</c:v>
                </c:pt>
                <c:pt idx="3160">
                  <c:v>24.415760919647013</c:v>
                </c:pt>
                <c:pt idx="3161">
                  <c:v>22.249413234533986</c:v>
                </c:pt>
                <c:pt idx="3162">
                  <c:v>29.593535411367284</c:v>
                </c:pt>
                <c:pt idx="3163">
                  <c:v>25.43283788564456</c:v>
                </c:pt>
                <c:pt idx="3164">
                  <c:v>21.207630318418097</c:v>
                </c:pt>
                <c:pt idx="3165">
                  <c:v>45.981913267192418</c:v>
                </c:pt>
                <c:pt idx="3166">
                  <c:v>43.333937953796266</c:v>
                </c:pt>
                <c:pt idx="3167">
                  <c:v>15.354957337279814</c:v>
                </c:pt>
                <c:pt idx="3168">
                  <c:v>30.964487076787734</c:v>
                </c:pt>
                <c:pt idx="3169">
                  <c:v>36.18406284265226</c:v>
                </c:pt>
                <c:pt idx="3170">
                  <c:v>28.763412944182498</c:v>
                </c:pt>
                <c:pt idx="3171">
                  <c:v>20.897172061292121</c:v>
                </c:pt>
                <c:pt idx="3172">
                  <c:v>25.196669384134143</c:v>
                </c:pt>
                <c:pt idx="3173">
                  <c:v>24.217302372731794</c:v>
                </c:pt>
                <c:pt idx="3174">
                  <c:v>22.057947438463462</c:v>
                </c:pt>
                <c:pt idx="3175">
                  <c:v>28.893292475197708</c:v>
                </c:pt>
                <c:pt idx="3176">
                  <c:v>34.89150385223703</c:v>
                </c:pt>
                <c:pt idx="3177">
                  <c:v>52.653366592053466</c:v>
                </c:pt>
                <c:pt idx="3178">
                  <c:v>16.763860510214929</c:v>
                </c:pt>
                <c:pt idx="3179">
                  <c:v>23.800352796253009</c:v>
                </c:pt>
                <c:pt idx="3180">
                  <c:v>23.604850247273006</c:v>
                </c:pt>
                <c:pt idx="3181">
                  <c:v>33.111931733869078</c:v>
                </c:pt>
                <c:pt idx="3182">
                  <c:v>21.255214882985783</c:v>
                </c:pt>
                <c:pt idx="3183">
                  <c:v>22.219775521975837</c:v>
                </c:pt>
                <c:pt idx="3184">
                  <c:v>20.378206418943151</c:v>
                </c:pt>
                <c:pt idx="3185">
                  <c:v>25.276485842531272</c:v>
                </c:pt>
                <c:pt idx="3186">
                  <c:v>22.36332167885536</c:v>
                </c:pt>
                <c:pt idx="3187">
                  <c:v>37.369180796340132</c:v>
                </c:pt>
                <c:pt idx="3188">
                  <c:v>21.814092358945736</c:v>
                </c:pt>
                <c:pt idx="3189">
                  <c:v>32.185629918299234</c:v>
                </c:pt>
                <c:pt idx="3190">
                  <c:v>26.933840313686833</c:v>
                </c:pt>
                <c:pt idx="3191">
                  <c:v>45.033587386111165</c:v>
                </c:pt>
                <c:pt idx="3192">
                  <c:v>25.901415189686688</c:v>
                </c:pt>
                <c:pt idx="3193">
                  <c:v>26.343123356967354</c:v>
                </c:pt>
                <c:pt idx="3194">
                  <c:v>18.803270042721579</c:v>
                </c:pt>
                <c:pt idx="3195">
                  <c:v>19.745839323836552</c:v>
                </c:pt>
                <c:pt idx="3196">
                  <c:v>42.44702497685666</c:v>
                </c:pt>
                <c:pt idx="3197">
                  <c:v>20.272653491329731</c:v>
                </c:pt>
                <c:pt idx="3198">
                  <c:v>22.366916024634055</c:v>
                </c:pt>
                <c:pt idx="3199">
                  <c:v>44.81711182235302</c:v>
                </c:pt>
                <c:pt idx="3200">
                  <c:v>37.771892836779216</c:v>
                </c:pt>
                <c:pt idx="3201">
                  <c:v>25.944839723769444</c:v>
                </c:pt>
                <c:pt idx="3202">
                  <c:v>34.86053270122656</c:v>
                </c:pt>
                <c:pt idx="3203">
                  <c:v>28.29941468480148</c:v>
                </c:pt>
                <c:pt idx="3204">
                  <c:v>24.522473465981697</c:v>
                </c:pt>
                <c:pt idx="3205">
                  <c:v>19.067059903871019</c:v>
                </c:pt>
                <c:pt idx="3206">
                  <c:v>35.514109853876619</c:v>
                </c:pt>
                <c:pt idx="3207">
                  <c:v>26.103235658651521</c:v>
                </c:pt>
                <c:pt idx="3208">
                  <c:v>40.958723599976452</c:v>
                </c:pt>
                <c:pt idx="3209">
                  <c:v>23.313776430618493</c:v>
                </c:pt>
                <c:pt idx="3210">
                  <c:v>45.668667093713907</c:v>
                </c:pt>
                <c:pt idx="3211">
                  <c:v>43.464231085117028</c:v>
                </c:pt>
                <c:pt idx="3212">
                  <c:v>18.370759292085609</c:v>
                </c:pt>
                <c:pt idx="3213">
                  <c:v>41.944846906541834</c:v>
                </c:pt>
                <c:pt idx="3214">
                  <c:v>24.047277943913148</c:v>
                </c:pt>
                <c:pt idx="3215">
                  <c:v>38.895283367609537</c:v>
                </c:pt>
                <c:pt idx="3216">
                  <c:v>16.134687048709271</c:v>
                </c:pt>
                <c:pt idx="3217">
                  <c:v>26.955617002749676</c:v>
                </c:pt>
                <c:pt idx="3218">
                  <c:v>41.546254266855442</c:v>
                </c:pt>
                <c:pt idx="3219">
                  <c:v>23.346409083012265</c:v>
                </c:pt>
                <c:pt idx="3220">
                  <c:v>41.17778674935871</c:v>
                </c:pt>
                <c:pt idx="3221">
                  <c:v>25.672297001231165</c:v>
                </c:pt>
                <c:pt idx="3222">
                  <c:v>38.651110267388937</c:v>
                </c:pt>
                <c:pt idx="3223">
                  <c:v>23.224734385102145</c:v>
                </c:pt>
                <c:pt idx="3224">
                  <c:v>26.904328042729894</c:v>
                </c:pt>
                <c:pt idx="3225">
                  <c:v>34.698313373676413</c:v>
                </c:pt>
                <c:pt idx="3226">
                  <c:v>26.44426633906718</c:v>
                </c:pt>
                <c:pt idx="3227">
                  <c:v>26.018874755615677</c:v>
                </c:pt>
                <c:pt idx="3228">
                  <c:v>30.564874001606114</c:v>
                </c:pt>
                <c:pt idx="3229">
                  <c:v>22.383672226083128</c:v>
                </c:pt>
                <c:pt idx="3230">
                  <c:v>37.473300120755638</c:v>
                </c:pt>
                <c:pt idx="3231">
                  <c:v>41.247039805489322</c:v>
                </c:pt>
                <c:pt idx="3232">
                  <c:v>31.268228007752228</c:v>
                </c:pt>
                <c:pt idx="3233">
                  <c:v>24.320240226407861</c:v>
                </c:pt>
                <c:pt idx="3234">
                  <c:v>37.932310694702664</c:v>
                </c:pt>
                <c:pt idx="3235">
                  <c:v>58.044267724541136</c:v>
                </c:pt>
                <c:pt idx="3236">
                  <c:v>48.949884389489895</c:v>
                </c:pt>
                <c:pt idx="3237">
                  <c:v>25.889100032343485</c:v>
                </c:pt>
                <c:pt idx="3238">
                  <c:v>29.606013378377106</c:v>
                </c:pt>
                <c:pt idx="3239">
                  <c:v>42.638799017448918</c:v>
                </c:pt>
                <c:pt idx="3240">
                  <c:v>20.135639280397704</c:v>
                </c:pt>
                <c:pt idx="3241">
                  <c:v>24.308328159772405</c:v>
                </c:pt>
                <c:pt idx="3242">
                  <c:v>24.153943741877928</c:v>
                </c:pt>
                <c:pt idx="3243">
                  <c:v>29.780636907993006</c:v>
                </c:pt>
                <c:pt idx="3244">
                  <c:v>31.097970608063687</c:v>
                </c:pt>
                <c:pt idx="3245">
                  <c:v>30.843468337489902</c:v>
                </c:pt>
                <c:pt idx="3246">
                  <c:v>26.400459900493306</c:v>
                </c:pt>
                <c:pt idx="3247">
                  <c:v>27.672672576379746</c:v>
                </c:pt>
                <c:pt idx="3248">
                  <c:v>36.63074565212856</c:v>
                </c:pt>
                <c:pt idx="3249">
                  <c:v>35.393950469695262</c:v>
                </c:pt>
                <c:pt idx="3250">
                  <c:v>44.861069675934239</c:v>
                </c:pt>
                <c:pt idx="3251">
                  <c:v>31.541004328014921</c:v>
                </c:pt>
                <c:pt idx="3252">
                  <c:v>24.734872698770875</c:v>
                </c:pt>
                <c:pt idx="3253">
                  <c:v>51.45345612918566</c:v>
                </c:pt>
                <c:pt idx="3254">
                  <c:v>20.232492953008883</c:v>
                </c:pt>
                <c:pt idx="3255">
                  <c:v>30.684436890531003</c:v>
                </c:pt>
                <c:pt idx="3256">
                  <c:v>27.568617123261706</c:v>
                </c:pt>
                <c:pt idx="3257">
                  <c:v>24.828413915944132</c:v>
                </c:pt>
                <c:pt idx="3258">
                  <c:v>26.360378461390084</c:v>
                </c:pt>
                <c:pt idx="3259">
                  <c:v>56.896852722932891</c:v>
                </c:pt>
                <c:pt idx="3260">
                  <c:v>22.692395004747127</c:v>
                </c:pt>
                <c:pt idx="3261">
                  <c:v>38.913798800505681</c:v>
                </c:pt>
                <c:pt idx="3262">
                  <c:v>48.983170858985062</c:v>
                </c:pt>
                <c:pt idx="3263">
                  <c:v>31.223977275100125</c:v>
                </c:pt>
                <c:pt idx="3264">
                  <c:v>23.227956207454394</c:v>
                </c:pt>
                <c:pt idx="3265">
                  <c:v>52.994411115663034</c:v>
                </c:pt>
                <c:pt idx="3266">
                  <c:v>31.404577263166026</c:v>
                </c:pt>
                <c:pt idx="3267">
                  <c:v>32.689427481512453</c:v>
                </c:pt>
                <c:pt idx="3268">
                  <c:v>39.48484870530811</c:v>
                </c:pt>
                <c:pt idx="3269">
                  <c:v>33.732868394413444</c:v>
                </c:pt>
                <c:pt idx="3270">
                  <c:v>22.165496627369535</c:v>
                </c:pt>
                <c:pt idx="3271">
                  <c:v>32.477250348907745</c:v>
                </c:pt>
                <c:pt idx="3272">
                  <c:v>56.472830115458159</c:v>
                </c:pt>
                <c:pt idx="3273">
                  <c:v>25.519283276607865</c:v>
                </c:pt>
                <c:pt idx="3274">
                  <c:v>53.388628752245644</c:v>
                </c:pt>
                <c:pt idx="3275">
                  <c:v>23.418099043903439</c:v>
                </c:pt>
                <c:pt idx="3276">
                  <c:v>24.991887356640085</c:v>
                </c:pt>
                <c:pt idx="3277">
                  <c:v>25.511415147930411</c:v>
                </c:pt>
                <c:pt idx="3278">
                  <c:v>37.75088602919503</c:v>
                </c:pt>
                <c:pt idx="3279">
                  <c:v>26.666413669193588</c:v>
                </c:pt>
                <c:pt idx="3280">
                  <c:v>24.381719967420896</c:v>
                </c:pt>
                <c:pt idx="3281">
                  <c:v>21.010946797285904</c:v>
                </c:pt>
                <c:pt idx="3282">
                  <c:v>30.323489868356901</c:v>
                </c:pt>
                <c:pt idx="3283">
                  <c:v>32.90141146337848</c:v>
                </c:pt>
                <c:pt idx="3284">
                  <c:v>22.569482090732841</c:v>
                </c:pt>
                <c:pt idx="3285">
                  <c:v>25.422350321594113</c:v>
                </c:pt>
                <c:pt idx="3286">
                  <c:v>19.926291807354151</c:v>
                </c:pt>
                <c:pt idx="3287">
                  <c:v>48.721365180054299</c:v>
                </c:pt>
                <c:pt idx="3288">
                  <c:v>32.262694935036116</c:v>
                </c:pt>
                <c:pt idx="3289">
                  <c:v>31.860357277714428</c:v>
                </c:pt>
                <c:pt idx="3290">
                  <c:v>31.129474906551177</c:v>
                </c:pt>
                <c:pt idx="3291">
                  <c:v>43.676450843534894</c:v>
                </c:pt>
                <c:pt idx="3292">
                  <c:v>20.64193154089886</c:v>
                </c:pt>
                <c:pt idx="3293">
                  <c:v>23.120211035255004</c:v>
                </c:pt>
                <c:pt idx="3294">
                  <c:v>47.63200660290984</c:v>
                </c:pt>
                <c:pt idx="3295">
                  <c:v>51.213616018029875</c:v>
                </c:pt>
                <c:pt idx="3296">
                  <c:v>29.260420732491578</c:v>
                </c:pt>
                <c:pt idx="3297">
                  <c:v>35.204759188055434</c:v>
                </c:pt>
                <c:pt idx="3298">
                  <c:v>48.457219954499521</c:v>
                </c:pt>
                <c:pt idx="3299">
                  <c:v>62.251970182611416</c:v>
                </c:pt>
                <c:pt idx="3300">
                  <c:v>24.600100121045479</c:v>
                </c:pt>
                <c:pt idx="3301">
                  <c:v>38.030031781977499</c:v>
                </c:pt>
                <c:pt idx="3302">
                  <c:v>27.569318852540871</c:v>
                </c:pt>
                <c:pt idx="3303">
                  <c:v>24.098440675196603</c:v>
                </c:pt>
                <c:pt idx="3304">
                  <c:v>23.035454598036658</c:v>
                </c:pt>
                <c:pt idx="3305">
                  <c:v>23.377030767878139</c:v>
                </c:pt>
                <c:pt idx="3306">
                  <c:v>23.126109308407536</c:v>
                </c:pt>
                <c:pt idx="3307">
                  <c:v>32.424546340286355</c:v>
                </c:pt>
                <c:pt idx="3308">
                  <c:v>48.998150569752156</c:v>
                </c:pt>
                <c:pt idx="3309">
                  <c:v>29.204589236701395</c:v>
                </c:pt>
                <c:pt idx="3310">
                  <c:v>24.153117329748738</c:v>
                </c:pt>
                <c:pt idx="3311">
                  <c:v>26.750350825283785</c:v>
                </c:pt>
                <c:pt idx="3312">
                  <c:v>23.102909799470929</c:v>
                </c:pt>
                <c:pt idx="3313">
                  <c:v>31.057810830872175</c:v>
                </c:pt>
                <c:pt idx="3314">
                  <c:v>22.826786201170478</c:v>
                </c:pt>
                <c:pt idx="3315">
                  <c:v>26.283022320838448</c:v>
                </c:pt>
                <c:pt idx="3316">
                  <c:v>43.459826648529948</c:v>
                </c:pt>
                <c:pt idx="3317">
                  <c:v>31.910428986816701</c:v>
                </c:pt>
                <c:pt idx="3318">
                  <c:v>30.626742012430608</c:v>
                </c:pt>
                <c:pt idx="3319">
                  <c:v>34.068660358568621</c:v>
                </c:pt>
                <c:pt idx="3320">
                  <c:v>30.308300241544444</c:v>
                </c:pt>
                <c:pt idx="3321">
                  <c:v>34.712492632427754</c:v>
                </c:pt>
                <c:pt idx="3322">
                  <c:v>22.89144789350236</c:v>
                </c:pt>
                <c:pt idx="3323">
                  <c:v>20.322431328707601</c:v>
                </c:pt>
                <c:pt idx="3324">
                  <c:v>26.099953066462739</c:v>
                </c:pt>
                <c:pt idx="3325">
                  <c:v>35.540605754491892</c:v>
                </c:pt>
                <c:pt idx="3326">
                  <c:v>25.464811849296346</c:v>
                </c:pt>
                <c:pt idx="3327">
                  <c:v>28.989357498810051</c:v>
                </c:pt>
                <c:pt idx="3328">
                  <c:v>22.644220809320316</c:v>
                </c:pt>
                <c:pt idx="3329">
                  <c:v>23.427034580376166</c:v>
                </c:pt>
                <c:pt idx="3330">
                  <c:v>28.291218762066116</c:v>
                </c:pt>
                <c:pt idx="3331">
                  <c:v>43.533422148078486</c:v>
                </c:pt>
                <c:pt idx="3332">
                  <c:v>57.726966342974237</c:v>
                </c:pt>
                <c:pt idx="3333">
                  <c:v>24.763791076284015</c:v>
                </c:pt>
                <c:pt idx="3334">
                  <c:v>28.804865261286682</c:v>
                </c:pt>
                <c:pt idx="3335">
                  <c:v>23.978946021860938</c:v>
                </c:pt>
                <c:pt idx="3336">
                  <c:v>27.863497428044941</c:v>
                </c:pt>
                <c:pt idx="3337">
                  <c:v>47.135745521042168</c:v>
                </c:pt>
                <c:pt idx="3338">
                  <c:v>23.768143079638392</c:v>
                </c:pt>
                <c:pt idx="3339">
                  <c:v>30.060422559924049</c:v>
                </c:pt>
                <c:pt idx="3340">
                  <c:v>37.465288903956306</c:v>
                </c:pt>
                <c:pt idx="3341">
                  <c:v>21.489848733318102</c:v>
                </c:pt>
                <c:pt idx="3342">
                  <c:v>35.953212687977413</c:v>
                </c:pt>
                <c:pt idx="3343">
                  <c:v>26.49538421945763</c:v>
                </c:pt>
                <c:pt idx="3344">
                  <c:v>54.843978652536549</c:v>
                </c:pt>
                <c:pt idx="3345">
                  <c:v>35.056576137982773</c:v>
                </c:pt>
                <c:pt idx="3346">
                  <c:v>29.739246899396001</c:v>
                </c:pt>
                <c:pt idx="3347">
                  <c:v>25.280368969898905</c:v>
                </c:pt>
                <c:pt idx="3348">
                  <c:v>45.144997426038309</c:v>
                </c:pt>
                <c:pt idx="3349">
                  <c:v>55.863993760663305</c:v>
                </c:pt>
                <c:pt idx="3350">
                  <c:v>28.355216266259859</c:v>
                </c:pt>
                <c:pt idx="3351">
                  <c:v>28.972389904415461</c:v>
                </c:pt>
                <c:pt idx="3352">
                  <c:v>27.076363092521422</c:v>
                </c:pt>
                <c:pt idx="3353">
                  <c:v>21.702838270108323</c:v>
                </c:pt>
                <c:pt idx="3354">
                  <c:v>44.350171595727559</c:v>
                </c:pt>
                <c:pt idx="3355">
                  <c:v>23.020726491264057</c:v>
                </c:pt>
                <c:pt idx="3356">
                  <c:v>28.340376394089006</c:v>
                </c:pt>
                <c:pt idx="3357">
                  <c:v>31.47772263005514</c:v>
                </c:pt>
                <c:pt idx="3358">
                  <c:v>34.49872886536906</c:v>
                </c:pt>
                <c:pt idx="3359">
                  <c:v>32.364095368496066</c:v>
                </c:pt>
                <c:pt idx="3360">
                  <c:v>19.704128453260143</c:v>
                </c:pt>
                <c:pt idx="3361">
                  <c:v>27.017622314429374</c:v>
                </c:pt>
                <c:pt idx="3362">
                  <c:v>33.204486158737033</c:v>
                </c:pt>
                <c:pt idx="3363">
                  <c:v>28.24602984025594</c:v>
                </c:pt>
                <c:pt idx="3364">
                  <c:v>29.261522646375774</c:v>
                </c:pt>
                <c:pt idx="3365">
                  <c:v>26.027525070370224</c:v>
                </c:pt>
                <c:pt idx="3366">
                  <c:v>33.088381771828388</c:v>
                </c:pt>
                <c:pt idx="3367">
                  <c:v>27.343019782655567</c:v>
                </c:pt>
                <c:pt idx="3368">
                  <c:v>24.657298594525962</c:v>
                </c:pt>
                <c:pt idx="3369">
                  <c:v>23.994826603467821</c:v>
                </c:pt>
                <c:pt idx="3370">
                  <c:v>37.072100793668305</c:v>
                </c:pt>
                <c:pt idx="3371">
                  <c:v>25.378977330037568</c:v>
                </c:pt>
                <c:pt idx="3372">
                  <c:v>32.439652654892335</c:v>
                </c:pt>
                <c:pt idx="3373">
                  <c:v>21.828880613407403</c:v>
                </c:pt>
                <c:pt idx="3374">
                  <c:v>27.551964382004918</c:v>
                </c:pt>
                <c:pt idx="3375">
                  <c:v>33.38007361764771</c:v>
                </c:pt>
                <c:pt idx="3376">
                  <c:v>29.080817080380751</c:v>
                </c:pt>
                <c:pt idx="3377">
                  <c:v>26.691938012106974</c:v>
                </c:pt>
                <c:pt idx="3378">
                  <c:v>26.233363477334265</c:v>
                </c:pt>
                <c:pt idx="3379">
                  <c:v>29.081054645483604</c:v>
                </c:pt>
                <c:pt idx="3380">
                  <c:v>27.397250113569214</c:v>
                </c:pt>
                <c:pt idx="3381">
                  <c:v>26.353496312879823</c:v>
                </c:pt>
                <c:pt idx="3382">
                  <c:v>36.370640587476601</c:v>
                </c:pt>
                <c:pt idx="3383">
                  <c:v>51.383154385678523</c:v>
                </c:pt>
                <c:pt idx="3384">
                  <c:v>30.440461034865578</c:v>
                </c:pt>
                <c:pt idx="3385">
                  <c:v>44.756699115389608</c:v>
                </c:pt>
                <c:pt idx="3386">
                  <c:v>26.478911794303219</c:v>
                </c:pt>
                <c:pt idx="3387">
                  <c:v>26.543914036677272</c:v>
                </c:pt>
                <c:pt idx="3388">
                  <c:v>44.104976224553099</c:v>
                </c:pt>
                <c:pt idx="3389">
                  <c:v>29.056994075925395</c:v>
                </c:pt>
                <c:pt idx="3390">
                  <c:v>23.054766582122891</c:v>
                </c:pt>
                <c:pt idx="3391">
                  <c:v>34.411626602864033</c:v>
                </c:pt>
                <c:pt idx="3392">
                  <c:v>24.279241740552102</c:v>
                </c:pt>
                <c:pt idx="3393">
                  <c:v>37.011386422158829</c:v>
                </c:pt>
                <c:pt idx="3394">
                  <c:v>48.179637280634289</c:v>
                </c:pt>
                <c:pt idx="3395">
                  <c:v>24.57061665347587</c:v>
                </c:pt>
                <c:pt idx="3396">
                  <c:v>46.373044927838151</c:v>
                </c:pt>
                <c:pt idx="3397">
                  <c:v>25.220541142807793</c:v>
                </c:pt>
                <c:pt idx="3398">
                  <c:v>24.419857573632015</c:v>
                </c:pt>
                <c:pt idx="3399">
                  <c:v>47.294793884755428</c:v>
                </c:pt>
                <c:pt idx="3400">
                  <c:v>21.362111374477863</c:v>
                </c:pt>
                <c:pt idx="3401">
                  <c:v>38.432421150499486</c:v>
                </c:pt>
                <c:pt idx="3402">
                  <c:v>38.482224540320473</c:v>
                </c:pt>
                <c:pt idx="3403">
                  <c:v>21.719033851540225</c:v>
                </c:pt>
                <c:pt idx="3404">
                  <c:v>33.394134884654996</c:v>
                </c:pt>
                <c:pt idx="3405">
                  <c:v>24.933248133809332</c:v>
                </c:pt>
                <c:pt idx="3406">
                  <c:v>44.167177101684985</c:v>
                </c:pt>
                <c:pt idx="3407">
                  <c:v>31.629924777277399</c:v>
                </c:pt>
                <c:pt idx="3408">
                  <c:v>26.375874717089051</c:v>
                </c:pt>
                <c:pt idx="3409">
                  <c:v>20.803808122201303</c:v>
                </c:pt>
                <c:pt idx="3410">
                  <c:v>21.582243185423312</c:v>
                </c:pt>
                <c:pt idx="3411">
                  <c:v>59.956397743334755</c:v>
                </c:pt>
                <c:pt idx="3412">
                  <c:v>49.565796016408193</c:v>
                </c:pt>
                <c:pt idx="3413">
                  <c:v>31.553295925861956</c:v>
                </c:pt>
                <c:pt idx="3414">
                  <c:v>26.264563242246258</c:v>
                </c:pt>
                <c:pt idx="3415">
                  <c:v>31.389866739307447</c:v>
                </c:pt>
                <c:pt idx="3416">
                  <c:v>22.389810643296688</c:v>
                </c:pt>
                <c:pt idx="3417">
                  <c:v>30.175984923776838</c:v>
                </c:pt>
                <c:pt idx="3418">
                  <c:v>26.765746418200436</c:v>
                </c:pt>
                <c:pt idx="3419">
                  <c:v>27.455071283420956</c:v>
                </c:pt>
                <c:pt idx="3420">
                  <c:v>32.427102419047557</c:v>
                </c:pt>
                <c:pt idx="3421">
                  <c:v>22.990995534838177</c:v>
                </c:pt>
                <c:pt idx="3422">
                  <c:v>28.308840293419827</c:v>
                </c:pt>
                <c:pt idx="3423">
                  <c:v>29.447820710937147</c:v>
                </c:pt>
                <c:pt idx="3424">
                  <c:v>32.288745196084299</c:v>
                </c:pt>
                <c:pt idx="3425">
                  <c:v>41.47162424886713</c:v>
                </c:pt>
                <c:pt idx="3426">
                  <c:v>28.672897893581819</c:v>
                </c:pt>
                <c:pt idx="3427">
                  <c:v>23.956767174960873</c:v>
                </c:pt>
                <c:pt idx="3428">
                  <c:v>32.847850649513141</c:v>
                </c:pt>
                <c:pt idx="3429">
                  <c:v>29.841372687888214</c:v>
                </c:pt>
                <c:pt idx="3430">
                  <c:v>23.371044745938701</c:v>
                </c:pt>
                <c:pt idx="3431">
                  <c:v>26.909741664389649</c:v>
                </c:pt>
                <c:pt idx="3432">
                  <c:v>25.76436935878391</c:v>
                </c:pt>
                <c:pt idx="3433">
                  <c:v>26.20280143448057</c:v>
                </c:pt>
                <c:pt idx="3434">
                  <c:v>48.729871984648994</c:v>
                </c:pt>
                <c:pt idx="3435">
                  <c:v>49.81516677570697</c:v>
                </c:pt>
                <c:pt idx="3436">
                  <c:v>30.734800263263935</c:v>
                </c:pt>
                <c:pt idx="3437">
                  <c:v>26.011668238624441</c:v>
                </c:pt>
                <c:pt idx="3438">
                  <c:v>24.921538128416813</c:v>
                </c:pt>
                <c:pt idx="3439">
                  <c:v>29.703421523989832</c:v>
                </c:pt>
                <c:pt idx="3440">
                  <c:v>30.352902257357076</c:v>
                </c:pt>
                <c:pt idx="3441">
                  <c:v>26.898577081137216</c:v>
                </c:pt>
                <c:pt idx="3442">
                  <c:v>24.785220881648478</c:v>
                </c:pt>
                <c:pt idx="3443">
                  <c:v>29.57877802328294</c:v>
                </c:pt>
                <c:pt idx="3444">
                  <c:v>30.479503485576867</c:v>
                </c:pt>
                <c:pt idx="3445">
                  <c:v>26.172550416882022</c:v>
                </c:pt>
                <c:pt idx="3446">
                  <c:v>25.914401891716807</c:v>
                </c:pt>
                <c:pt idx="3447">
                  <c:v>57.854887963750969</c:v>
                </c:pt>
                <c:pt idx="3448">
                  <c:v>26.348449430159125</c:v>
                </c:pt>
                <c:pt idx="3449">
                  <c:v>28.003978342334381</c:v>
                </c:pt>
                <c:pt idx="3450">
                  <c:v>45.922485309869757</c:v>
                </c:pt>
                <c:pt idx="3451">
                  <c:v>26.821249263573446</c:v>
                </c:pt>
                <c:pt idx="3452">
                  <c:v>18.257590549422133</c:v>
                </c:pt>
                <c:pt idx="3453">
                  <c:v>33.482537834991</c:v>
                </c:pt>
                <c:pt idx="3454">
                  <c:v>26.577387292582046</c:v>
                </c:pt>
                <c:pt idx="3455">
                  <c:v>49.236174903572092</c:v>
                </c:pt>
                <c:pt idx="3456">
                  <c:v>49.548770992406006</c:v>
                </c:pt>
                <c:pt idx="3457">
                  <c:v>28.027589945692647</c:v>
                </c:pt>
                <c:pt idx="3458">
                  <c:v>33.05302042510295</c:v>
                </c:pt>
                <c:pt idx="3459">
                  <c:v>29.444468806384414</c:v>
                </c:pt>
                <c:pt idx="3460">
                  <c:v>42.803399247463013</c:v>
                </c:pt>
                <c:pt idx="3461">
                  <c:v>19.915647345750706</c:v>
                </c:pt>
                <c:pt idx="3462">
                  <c:v>28.554594347342036</c:v>
                </c:pt>
                <c:pt idx="3463">
                  <c:v>52.065678158881525</c:v>
                </c:pt>
                <c:pt idx="3464">
                  <c:v>26.131019313676831</c:v>
                </c:pt>
                <c:pt idx="3465">
                  <c:v>57.366031409958467</c:v>
                </c:pt>
                <c:pt idx="3466">
                  <c:v>44.698503454827076</c:v>
                </c:pt>
                <c:pt idx="3467">
                  <c:v>24.396431177603397</c:v>
                </c:pt>
                <c:pt idx="3468">
                  <c:v>25.210030239497755</c:v>
                </c:pt>
                <c:pt idx="3469">
                  <c:v>27.65375230629018</c:v>
                </c:pt>
                <c:pt idx="3470">
                  <c:v>49.191495179287294</c:v>
                </c:pt>
                <c:pt idx="3471">
                  <c:v>30.877861821182542</c:v>
                </c:pt>
                <c:pt idx="3472">
                  <c:v>23.80867251135809</c:v>
                </c:pt>
                <c:pt idx="3473">
                  <c:v>26.776313199337235</c:v>
                </c:pt>
                <c:pt idx="3474">
                  <c:v>25.357096680258344</c:v>
                </c:pt>
                <c:pt idx="3475">
                  <c:v>45.528412191408002</c:v>
                </c:pt>
                <c:pt idx="3476">
                  <c:v>27.892946046996329</c:v>
                </c:pt>
                <c:pt idx="3477">
                  <c:v>44.659234567485271</c:v>
                </c:pt>
                <c:pt idx="3478">
                  <c:v>44.0088247999511</c:v>
                </c:pt>
                <c:pt idx="3479">
                  <c:v>41.679209646466759</c:v>
                </c:pt>
                <c:pt idx="3480">
                  <c:v>22.805529489028409</c:v>
                </c:pt>
                <c:pt idx="3481">
                  <c:v>22.023987978164556</c:v>
                </c:pt>
                <c:pt idx="3482">
                  <c:v>40.510832659154474</c:v>
                </c:pt>
                <c:pt idx="3483">
                  <c:v>34.588217526999479</c:v>
                </c:pt>
                <c:pt idx="3484">
                  <c:v>33.701066143304736</c:v>
                </c:pt>
                <c:pt idx="3485">
                  <c:v>44.437310458137432</c:v>
                </c:pt>
                <c:pt idx="3486">
                  <c:v>24.321596175082657</c:v>
                </c:pt>
                <c:pt idx="3487">
                  <c:v>19.185864141507896</c:v>
                </c:pt>
                <c:pt idx="3488">
                  <c:v>32.073624434601484</c:v>
                </c:pt>
                <c:pt idx="3489">
                  <c:v>22.741029437354673</c:v>
                </c:pt>
                <c:pt idx="3490">
                  <c:v>18.815172415987622</c:v>
                </c:pt>
                <c:pt idx="3491">
                  <c:v>34.980150704025867</c:v>
                </c:pt>
                <c:pt idx="3492">
                  <c:v>33.10216542069427</c:v>
                </c:pt>
                <c:pt idx="3493">
                  <c:v>29.861090156046426</c:v>
                </c:pt>
                <c:pt idx="3494">
                  <c:v>28.194000754054482</c:v>
                </c:pt>
                <c:pt idx="3495">
                  <c:v>24.608941930625711</c:v>
                </c:pt>
                <c:pt idx="3496">
                  <c:v>26.703168260034378</c:v>
                </c:pt>
                <c:pt idx="3497">
                  <c:v>37.958755600142375</c:v>
                </c:pt>
                <c:pt idx="3498">
                  <c:v>22.078021136448683</c:v>
                </c:pt>
                <c:pt idx="3499">
                  <c:v>52.037406386136603</c:v>
                </c:pt>
                <c:pt idx="3500">
                  <c:v>41.934578578569877</c:v>
                </c:pt>
                <c:pt idx="3501">
                  <c:v>30.697951740154373</c:v>
                </c:pt>
                <c:pt idx="3502">
                  <c:v>25.194650729503341</c:v>
                </c:pt>
                <c:pt idx="3503">
                  <c:v>29.477095922946422</c:v>
                </c:pt>
                <c:pt idx="3504">
                  <c:v>26.234537808992883</c:v>
                </c:pt>
                <c:pt idx="3505">
                  <c:v>47.878683589201394</c:v>
                </c:pt>
                <c:pt idx="3506">
                  <c:v>22.666144187508667</c:v>
                </c:pt>
                <c:pt idx="3507">
                  <c:v>22.817984621047355</c:v>
                </c:pt>
                <c:pt idx="3508">
                  <c:v>27.377533952809074</c:v>
                </c:pt>
                <c:pt idx="3509">
                  <c:v>41.027107551007731</c:v>
                </c:pt>
                <c:pt idx="3510">
                  <c:v>44.925165795816255</c:v>
                </c:pt>
                <c:pt idx="3511">
                  <c:v>30.392221757981606</c:v>
                </c:pt>
                <c:pt idx="3512">
                  <c:v>48.097218379665513</c:v>
                </c:pt>
                <c:pt idx="3513">
                  <c:v>47.962652264864168</c:v>
                </c:pt>
                <c:pt idx="3514">
                  <c:v>34.142926647948613</c:v>
                </c:pt>
                <c:pt idx="3515">
                  <c:v>24.656846135632399</c:v>
                </c:pt>
                <c:pt idx="3516">
                  <c:v>18.23309999828032</c:v>
                </c:pt>
                <c:pt idx="3517">
                  <c:v>33.887810947397298</c:v>
                </c:pt>
                <c:pt idx="3518">
                  <c:v>25.96536270909364</c:v>
                </c:pt>
                <c:pt idx="3519">
                  <c:v>27.448481799068968</c:v>
                </c:pt>
                <c:pt idx="3520">
                  <c:v>25.963897832171732</c:v>
                </c:pt>
                <c:pt idx="3521">
                  <c:v>36.06726486668569</c:v>
                </c:pt>
                <c:pt idx="3522">
                  <c:v>29.406945508452996</c:v>
                </c:pt>
                <c:pt idx="3523">
                  <c:v>31.78101757151007</c:v>
                </c:pt>
                <c:pt idx="3524">
                  <c:v>47.938496208068443</c:v>
                </c:pt>
                <c:pt idx="3525">
                  <c:v>22.940784876871355</c:v>
                </c:pt>
                <c:pt idx="3526">
                  <c:v>40.621973534615073</c:v>
                </c:pt>
                <c:pt idx="3527">
                  <c:v>46.879821954791765</c:v>
                </c:pt>
                <c:pt idx="3528">
                  <c:v>29.250821455740585</c:v>
                </c:pt>
                <c:pt idx="3529">
                  <c:v>49.27948744909051</c:v>
                </c:pt>
                <c:pt idx="3530">
                  <c:v>46.272268167760032</c:v>
                </c:pt>
                <c:pt idx="3531">
                  <c:v>31.129266330531749</c:v>
                </c:pt>
                <c:pt idx="3532">
                  <c:v>26.594775527392468</c:v>
                </c:pt>
                <c:pt idx="3533">
                  <c:v>51.496114340610312</c:v>
                </c:pt>
                <c:pt idx="3534">
                  <c:v>53.551358926217304</c:v>
                </c:pt>
                <c:pt idx="3535">
                  <c:v>46.437875541700386</c:v>
                </c:pt>
                <c:pt idx="3536">
                  <c:v>42.354578688092026</c:v>
                </c:pt>
                <c:pt idx="3537">
                  <c:v>28.206135928097051</c:v>
                </c:pt>
                <c:pt idx="3538">
                  <c:v>36.302223544394039</c:v>
                </c:pt>
                <c:pt idx="3539">
                  <c:v>53.878490525729561</c:v>
                </c:pt>
                <c:pt idx="3540">
                  <c:v>26.460984922519032</c:v>
                </c:pt>
                <c:pt idx="3541">
                  <c:v>24.154868275449829</c:v>
                </c:pt>
                <c:pt idx="3542">
                  <c:v>25.516856448854266</c:v>
                </c:pt>
                <c:pt idx="3543">
                  <c:v>22.359663535320866</c:v>
                </c:pt>
                <c:pt idx="3544">
                  <c:v>21.896321567864845</c:v>
                </c:pt>
                <c:pt idx="3545">
                  <c:v>37.222478851373907</c:v>
                </c:pt>
                <c:pt idx="3546">
                  <c:v>24.287087883436048</c:v>
                </c:pt>
                <c:pt idx="3547">
                  <c:v>33.775003379564154</c:v>
                </c:pt>
                <c:pt idx="3548">
                  <c:v>21.756753430942112</c:v>
                </c:pt>
                <c:pt idx="3549">
                  <c:v>27.773889897153008</c:v>
                </c:pt>
                <c:pt idx="3550">
                  <c:v>38.862280441864989</c:v>
                </c:pt>
                <c:pt idx="3551">
                  <c:v>33.916957460432563</c:v>
                </c:pt>
                <c:pt idx="3552">
                  <c:v>49.350479351163784</c:v>
                </c:pt>
                <c:pt idx="3553">
                  <c:v>22.392223249425598</c:v>
                </c:pt>
                <c:pt idx="3554">
                  <c:v>25.158758710443884</c:v>
                </c:pt>
                <c:pt idx="3555">
                  <c:v>20.718639823929021</c:v>
                </c:pt>
                <c:pt idx="3556">
                  <c:v>25.214987627760863</c:v>
                </c:pt>
                <c:pt idx="3557">
                  <c:v>59.418292959764315</c:v>
                </c:pt>
                <c:pt idx="3558">
                  <c:v>35.499262453267676</c:v>
                </c:pt>
                <c:pt idx="3559">
                  <c:v>32.622294244716265</c:v>
                </c:pt>
                <c:pt idx="3560">
                  <c:v>30.726305840253183</c:v>
                </c:pt>
                <c:pt idx="3561">
                  <c:v>23.312382069564364</c:v>
                </c:pt>
                <c:pt idx="3562">
                  <c:v>23.921732167756037</c:v>
                </c:pt>
                <c:pt idx="3563">
                  <c:v>21.071995811578176</c:v>
                </c:pt>
                <c:pt idx="3564">
                  <c:v>36.954221703732316</c:v>
                </c:pt>
                <c:pt idx="3565">
                  <c:v>31.295064115528213</c:v>
                </c:pt>
                <c:pt idx="3566">
                  <c:v>38.787696836052092</c:v>
                </c:pt>
                <c:pt idx="3567">
                  <c:v>18.319038447963194</c:v>
                </c:pt>
                <c:pt idx="3568">
                  <c:v>33.212930035848188</c:v>
                </c:pt>
                <c:pt idx="3569">
                  <c:v>38.830896104665605</c:v>
                </c:pt>
                <c:pt idx="3570">
                  <c:v>26.99858876843258</c:v>
                </c:pt>
                <c:pt idx="3571">
                  <c:v>27.330737679688681</c:v>
                </c:pt>
                <c:pt idx="3572">
                  <c:v>21.343125592774577</c:v>
                </c:pt>
                <c:pt idx="3573">
                  <c:v>42.890715959190331</c:v>
                </c:pt>
                <c:pt idx="3574">
                  <c:v>25.015340599891598</c:v>
                </c:pt>
                <c:pt idx="3575">
                  <c:v>23.902894853570157</c:v>
                </c:pt>
                <c:pt idx="3576">
                  <c:v>24.270211297636365</c:v>
                </c:pt>
                <c:pt idx="3577">
                  <c:v>29.849086245919501</c:v>
                </c:pt>
                <c:pt idx="3578">
                  <c:v>19.506214519090914</c:v>
                </c:pt>
                <c:pt idx="3579">
                  <c:v>42.680395419203151</c:v>
                </c:pt>
                <c:pt idx="3580">
                  <c:v>28.931122405895476</c:v>
                </c:pt>
                <c:pt idx="3581">
                  <c:v>35.187167370948785</c:v>
                </c:pt>
                <c:pt idx="3582">
                  <c:v>32.017987963961545</c:v>
                </c:pt>
                <c:pt idx="3583">
                  <c:v>24.738643952844022</c:v>
                </c:pt>
                <c:pt idx="3584">
                  <c:v>27.888861109449824</c:v>
                </c:pt>
                <c:pt idx="3585">
                  <c:v>35.012238287407911</c:v>
                </c:pt>
                <c:pt idx="3586">
                  <c:v>51.300246147695496</c:v>
                </c:pt>
                <c:pt idx="3587">
                  <c:v>42.683440197415713</c:v>
                </c:pt>
                <c:pt idx="3588">
                  <c:v>28.625112766869364</c:v>
                </c:pt>
                <c:pt idx="3589">
                  <c:v>23.83973108635719</c:v>
                </c:pt>
                <c:pt idx="3590">
                  <c:v>21.13284088896603</c:v>
                </c:pt>
                <c:pt idx="3591">
                  <c:v>21.550515143449275</c:v>
                </c:pt>
                <c:pt idx="3592">
                  <c:v>30.362725319078113</c:v>
                </c:pt>
                <c:pt idx="3593">
                  <c:v>22.776708703180319</c:v>
                </c:pt>
                <c:pt idx="3594">
                  <c:v>21.365903041776534</c:v>
                </c:pt>
                <c:pt idx="3595">
                  <c:v>44.711571257124632</c:v>
                </c:pt>
                <c:pt idx="3596">
                  <c:v>29.415983438429976</c:v>
                </c:pt>
                <c:pt idx="3597">
                  <c:v>21.95357488861162</c:v>
                </c:pt>
                <c:pt idx="3598">
                  <c:v>44.208784588800704</c:v>
                </c:pt>
                <c:pt idx="3599">
                  <c:v>31.49740006369851</c:v>
                </c:pt>
                <c:pt idx="3600">
                  <c:v>24.210315811276629</c:v>
                </c:pt>
                <c:pt idx="3601">
                  <c:v>26.246812610263362</c:v>
                </c:pt>
                <c:pt idx="3602">
                  <c:v>33.187894466223625</c:v>
                </c:pt>
                <c:pt idx="3603">
                  <c:v>29.541401591831697</c:v>
                </c:pt>
                <c:pt idx="3604">
                  <c:v>41.921553836416138</c:v>
                </c:pt>
                <c:pt idx="3605">
                  <c:v>27.108389802797177</c:v>
                </c:pt>
                <c:pt idx="3606">
                  <c:v>34.515867122504929</c:v>
                </c:pt>
                <c:pt idx="3607">
                  <c:v>27.096186101282829</c:v>
                </c:pt>
                <c:pt idx="3608">
                  <c:v>38.763538470196124</c:v>
                </c:pt>
                <c:pt idx="3609">
                  <c:v>33.977892956458994</c:v>
                </c:pt>
                <c:pt idx="3610">
                  <c:v>34.358199756557994</c:v>
                </c:pt>
                <c:pt idx="3611">
                  <c:v>22.336221429118378</c:v>
                </c:pt>
                <c:pt idx="3612">
                  <c:v>19.774831420375129</c:v>
                </c:pt>
                <c:pt idx="3613">
                  <c:v>22.153750379780551</c:v>
                </c:pt>
                <c:pt idx="3614">
                  <c:v>36.441141645284098</c:v>
                </c:pt>
                <c:pt idx="3615">
                  <c:v>32.537404536279666</c:v>
                </c:pt>
                <c:pt idx="3616">
                  <c:v>35.315418708200745</c:v>
                </c:pt>
                <c:pt idx="3617">
                  <c:v>27.339350116632946</c:v>
                </c:pt>
                <c:pt idx="3618">
                  <c:v>23.761557263351747</c:v>
                </c:pt>
                <c:pt idx="3619">
                  <c:v>29.063191722597416</c:v>
                </c:pt>
                <c:pt idx="3620">
                  <c:v>23.331715450856251</c:v>
                </c:pt>
                <c:pt idx="3621">
                  <c:v>45.540077057036363</c:v>
                </c:pt>
                <c:pt idx="3622">
                  <c:v>33.691730002695294</c:v>
                </c:pt>
                <c:pt idx="3623">
                  <c:v>50.877555603635571</c:v>
                </c:pt>
                <c:pt idx="3624">
                  <c:v>43.451904410727863</c:v>
                </c:pt>
                <c:pt idx="3625">
                  <c:v>25.918153975159171</c:v>
                </c:pt>
                <c:pt idx="3626">
                  <c:v>42.27303843420318</c:v>
                </c:pt>
                <c:pt idx="3627">
                  <c:v>26.428404510608459</c:v>
                </c:pt>
                <c:pt idx="3628">
                  <c:v>27.316834013331636</c:v>
                </c:pt>
                <c:pt idx="3629">
                  <c:v>26.359450237243372</c:v>
                </c:pt>
                <c:pt idx="3630">
                  <c:v>44.568708735879895</c:v>
                </c:pt>
                <c:pt idx="3631">
                  <c:v>40.835097809097057</c:v>
                </c:pt>
                <c:pt idx="3632">
                  <c:v>28.204268071955156</c:v>
                </c:pt>
                <c:pt idx="3633">
                  <c:v>25.844920708581782</c:v>
                </c:pt>
                <c:pt idx="3634">
                  <c:v>20.703824620878194</c:v>
                </c:pt>
                <c:pt idx="3635">
                  <c:v>17.364668838358913</c:v>
                </c:pt>
                <c:pt idx="3636">
                  <c:v>52.973562027172854</c:v>
                </c:pt>
                <c:pt idx="3637">
                  <c:v>53.03281665098347</c:v>
                </c:pt>
                <c:pt idx="3638">
                  <c:v>43.672673511678539</c:v>
                </c:pt>
                <c:pt idx="3639">
                  <c:v>28.593106238843042</c:v>
                </c:pt>
                <c:pt idx="3640">
                  <c:v>33.717474048047485</c:v>
                </c:pt>
                <c:pt idx="3641">
                  <c:v>27.091642493463304</c:v>
                </c:pt>
                <c:pt idx="3642">
                  <c:v>41.821927412882403</c:v>
                </c:pt>
                <c:pt idx="3643">
                  <c:v>48.131247819785955</c:v>
                </c:pt>
                <c:pt idx="3644">
                  <c:v>29.164561384317519</c:v>
                </c:pt>
                <c:pt idx="3645">
                  <c:v>36.071102712494778</c:v>
                </c:pt>
                <c:pt idx="3646">
                  <c:v>48.738362948024708</c:v>
                </c:pt>
                <c:pt idx="3647">
                  <c:v>23.717161534334085</c:v>
                </c:pt>
                <c:pt idx="3648">
                  <c:v>29.623413669803526</c:v>
                </c:pt>
                <c:pt idx="3649">
                  <c:v>21.164630033668985</c:v>
                </c:pt>
                <c:pt idx="3650">
                  <c:v>39.564532679728096</c:v>
                </c:pt>
                <c:pt idx="3651">
                  <c:v>30.361776188787662</c:v>
                </c:pt>
                <c:pt idx="3652">
                  <c:v>28.517361981709698</c:v>
                </c:pt>
                <c:pt idx="3653">
                  <c:v>26.556139907714183</c:v>
                </c:pt>
                <c:pt idx="3654">
                  <c:v>26.647817712676773</c:v>
                </c:pt>
                <c:pt idx="3655">
                  <c:v>47.572813376473114</c:v>
                </c:pt>
                <c:pt idx="3656">
                  <c:v>15.979481975231259</c:v>
                </c:pt>
                <c:pt idx="3657">
                  <c:v>25.980828245661439</c:v>
                </c:pt>
                <c:pt idx="3658">
                  <c:v>49.163904604482354</c:v>
                </c:pt>
                <c:pt idx="3659">
                  <c:v>27.368163559417525</c:v>
                </c:pt>
                <c:pt idx="3660">
                  <c:v>24.827654707102944</c:v>
                </c:pt>
                <c:pt idx="3661">
                  <c:v>26.958763096455858</c:v>
                </c:pt>
                <c:pt idx="3662">
                  <c:v>28.539679520417998</c:v>
                </c:pt>
                <c:pt idx="3663">
                  <c:v>24.102134005688701</c:v>
                </c:pt>
                <c:pt idx="3664">
                  <c:v>21.552037981520971</c:v>
                </c:pt>
                <c:pt idx="3665">
                  <c:v>28.40723897014249</c:v>
                </c:pt>
                <c:pt idx="3666">
                  <c:v>26.813131107980791</c:v>
                </c:pt>
                <c:pt idx="3667">
                  <c:v>39.539107766525866</c:v>
                </c:pt>
                <c:pt idx="3668">
                  <c:v>34.03758236476078</c:v>
                </c:pt>
                <c:pt idx="3669">
                  <c:v>41.368937703492975</c:v>
                </c:pt>
                <c:pt idx="3670">
                  <c:v>34.295561471748734</c:v>
                </c:pt>
                <c:pt idx="3671">
                  <c:v>30.76597388562606</c:v>
                </c:pt>
                <c:pt idx="3672">
                  <c:v>26.600853949238964</c:v>
                </c:pt>
                <c:pt idx="3673">
                  <c:v>22.048619326003895</c:v>
                </c:pt>
                <c:pt idx="3674">
                  <c:v>36.050078078405598</c:v>
                </c:pt>
                <c:pt idx="3675">
                  <c:v>17.100844154737061</c:v>
                </c:pt>
                <c:pt idx="3676">
                  <c:v>34.647640797942969</c:v>
                </c:pt>
                <c:pt idx="3677">
                  <c:v>28.015898978472922</c:v>
                </c:pt>
                <c:pt idx="3678">
                  <c:v>25.021175146439607</c:v>
                </c:pt>
                <c:pt idx="3679">
                  <c:v>33.477415477437042</c:v>
                </c:pt>
                <c:pt idx="3680">
                  <c:v>28.747882234342885</c:v>
                </c:pt>
                <c:pt idx="3681">
                  <c:v>27.876832407599416</c:v>
                </c:pt>
                <c:pt idx="3682">
                  <c:v>34.32264645280658</c:v>
                </c:pt>
                <c:pt idx="3683">
                  <c:v>33.127626989548652</c:v>
                </c:pt>
                <c:pt idx="3684">
                  <c:v>28.281262526286056</c:v>
                </c:pt>
                <c:pt idx="3685">
                  <c:v>28.117180002929558</c:v>
                </c:pt>
                <c:pt idx="3686">
                  <c:v>29.333807294669519</c:v>
                </c:pt>
                <c:pt idx="3687">
                  <c:v>45.8743444927239</c:v>
                </c:pt>
                <c:pt idx="3688">
                  <c:v>22.291575890568623</c:v>
                </c:pt>
                <c:pt idx="3689">
                  <c:v>25.199849476039162</c:v>
                </c:pt>
                <c:pt idx="3690">
                  <c:v>28.222806635628213</c:v>
                </c:pt>
                <c:pt idx="3691">
                  <c:v>24.446816751129308</c:v>
                </c:pt>
                <c:pt idx="3692">
                  <c:v>27.992794102480914</c:v>
                </c:pt>
                <c:pt idx="3693">
                  <c:v>28.507826319559161</c:v>
                </c:pt>
                <c:pt idx="3694">
                  <c:v>25.470795883622017</c:v>
                </c:pt>
                <c:pt idx="3695">
                  <c:v>53.045205569870809</c:v>
                </c:pt>
                <c:pt idx="3696">
                  <c:v>23.216436097363779</c:v>
                </c:pt>
                <c:pt idx="3697">
                  <c:v>26.447832588269748</c:v>
                </c:pt>
                <c:pt idx="3698">
                  <c:v>33.695736587590318</c:v>
                </c:pt>
                <c:pt idx="3699">
                  <c:v>24.075527631350976</c:v>
                </c:pt>
                <c:pt idx="3700">
                  <c:v>43.752469803334172</c:v>
                </c:pt>
                <c:pt idx="3701">
                  <c:v>25.444538689017392</c:v>
                </c:pt>
                <c:pt idx="3702">
                  <c:v>45.236093250886427</c:v>
                </c:pt>
                <c:pt idx="3703">
                  <c:v>34.97007824245668</c:v>
                </c:pt>
                <c:pt idx="3704">
                  <c:v>44.718512595093721</c:v>
                </c:pt>
                <c:pt idx="3705">
                  <c:v>29.075183354739625</c:v>
                </c:pt>
                <c:pt idx="3706">
                  <c:v>34.191782559378765</c:v>
                </c:pt>
                <c:pt idx="3707">
                  <c:v>20.567038702263616</c:v>
                </c:pt>
                <c:pt idx="3708">
                  <c:v>24.778013978201585</c:v>
                </c:pt>
                <c:pt idx="3709">
                  <c:v>25.295101415607569</c:v>
                </c:pt>
                <c:pt idx="3710">
                  <c:v>42.781741301897775</c:v>
                </c:pt>
                <c:pt idx="3711">
                  <c:v>24.057006098180274</c:v>
                </c:pt>
                <c:pt idx="3712">
                  <c:v>22.716702116329721</c:v>
                </c:pt>
                <c:pt idx="3713">
                  <c:v>33.431489668383136</c:v>
                </c:pt>
                <c:pt idx="3714">
                  <c:v>28.433011438233741</c:v>
                </c:pt>
                <c:pt idx="3715">
                  <c:v>29.041502927482469</c:v>
                </c:pt>
                <c:pt idx="3716">
                  <c:v>45.401691404680022</c:v>
                </c:pt>
                <c:pt idx="3717">
                  <c:v>27.952233975832236</c:v>
                </c:pt>
                <c:pt idx="3718">
                  <c:v>31.902042250959184</c:v>
                </c:pt>
                <c:pt idx="3719">
                  <c:v>45.41529530574838</c:v>
                </c:pt>
                <c:pt idx="3720">
                  <c:v>25.850699294008791</c:v>
                </c:pt>
                <c:pt idx="3721">
                  <c:v>22.349560431622443</c:v>
                </c:pt>
                <c:pt idx="3722">
                  <c:v>52.455335782764479</c:v>
                </c:pt>
                <c:pt idx="3723">
                  <c:v>27.751773982437609</c:v>
                </c:pt>
                <c:pt idx="3724">
                  <c:v>35.345215999876487</c:v>
                </c:pt>
                <c:pt idx="3725">
                  <c:v>52.396693819272095</c:v>
                </c:pt>
                <c:pt idx="3726">
                  <c:v>59.486529026300836</c:v>
                </c:pt>
                <c:pt idx="3727">
                  <c:v>26.245615205130516</c:v>
                </c:pt>
                <c:pt idx="3728">
                  <c:v>47.223124567501415</c:v>
                </c:pt>
                <c:pt idx="3729">
                  <c:v>25.466513638549436</c:v>
                </c:pt>
                <c:pt idx="3730">
                  <c:v>27.431863049780123</c:v>
                </c:pt>
                <c:pt idx="3731">
                  <c:v>29.250688048418436</c:v>
                </c:pt>
                <c:pt idx="3732">
                  <c:v>21.697334708241687</c:v>
                </c:pt>
                <c:pt idx="3733">
                  <c:v>28.080480077953773</c:v>
                </c:pt>
                <c:pt idx="3734">
                  <c:v>32.684111755896552</c:v>
                </c:pt>
                <c:pt idx="3735">
                  <c:v>40.379293580525044</c:v>
                </c:pt>
                <c:pt idx="3736">
                  <c:v>26.111637632428842</c:v>
                </c:pt>
                <c:pt idx="3737">
                  <c:v>35.981690121953065</c:v>
                </c:pt>
                <c:pt idx="3738">
                  <c:v>39.108362387065881</c:v>
                </c:pt>
                <c:pt idx="3739">
                  <c:v>46.369086410818866</c:v>
                </c:pt>
                <c:pt idx="3740">
                  <c:v>18.981478235004218</c:v>
                </c:pt>
                <c:pt idx="3741">
                  <c:v>20.090056535355867</c:v>
                </c:pt>
                <c:pt idx="3742">
                  <c:v>34.051475745098841</c:v>
                </c:pt>
                <c:pt idx="3743">
                  <c:v>25.634472319250229</c:v>
                </c:pt>
                <c:pt idx="3744">
                  <c:v>24.558388815934002</c:v>
                </c:pt>
                <c:pt idx="3745">
                  <c:v>19.943308328858379</c:v>
                </c:pt>
                <c:pt idx="3746">
                  <c:v>38.379785446129198</c:v>
                </c:pt>
                <c:pt idx="3747">
                  <c:v>30.945656117985436</c:v>
                </c:pt>
                <c:pt idx="3748">
                  <c:v>31.855583662145005</c:v>
                </c:pt>
                <c:pt idx="3749">
                  <c:v>53.626740732493211</c:v>
                </c:pt>
                <c:pt idx="3750">
                  <c:v>36.403429679766937</c:v>
                </c:pt>
                <c:pt idx="3751">
                  <c:v>41.953310637509603</c:v>
                </c:pt>
                <c:pt idx="3752">
                  <c:v>30.24715047294611</c:v>
                </c:pt>
                <c:pt idx="3753">
                  <c:v>25.48270502221342</c:v>
                </c:pt>
                <c:pt idx="3754">
                  <c:v>27.32579144918742</c:v>
                </c:pt>
                <c:pt idx="3755">
                  <c:v>32.627898322714159</c:v>
                </c:pt>
                <c:pt idx="3756">
                  <c:v>22.424222811313118</c:v>
                </c:pt>
                <c:pt idx="3757">
                  <c:v>20.706671705031034</c:v>
                </c:pt>
                <c:pt idx="3758">
                  <c:v>32.667744123443235</c:v>
                </c:pt>
                <c:pt idx="3759">
                  <c:v>24.748448864058496</c:v>
                </c:pt>
                <c:pt idx="3760">
                  <c:v>24.472045986903311</c:v>
                </c:pt>
                <c:pt idx="3761">
                  <c:v>27.319547994973231</c:v>
                </c:pt>
                <c:pt idx="3762">
                  <c:v>45.35083235461839</c:v>
                </c:pt>
                <c:pt idx="3763">
                  <c:v>43.356134519739882</c:v>
                </c:pt>
                <c:pt idx="3764">
                  <c:v>26.091087347524279</c:v>
                </c:pt>
                <c:pt idx="3765">
                  <c:v>53.115453037298742</c:v>
                </c:pt>
                <c:pt idx="3766">
                  <c:v>55.5449761401347</c:v>
                </c:pt>
                <c:pt idx="3767">
                  <c:v>51.819665099771804</c:v>
                </c:pt>
                <c:pt idx="3768">
                  <c:v>44.202343782003325</c:v>
                </c:pt>
                <c:pt idx="3769">
                  <c:v>48.554092594960643</c:v>
                </c:pt>
                <c:pt idx="3770">
                  <c:v>27.056724101559986</c:v>
                </c:pt>
                <c:pt idx="3771">
                  <c:v>26.621292157733571</c:v>
                </c:pt>
                <c:pt idx="3772">
                  <c:v>29.830162762470014</c:v>
                </c:pt>
                <c:pt idx="3773">
                  <c:v>26.270567783108085</c:v>
                </c:pt>
                <c:pt idx="3774">
                  <c:v>49.440240463471383</c:v>
                </c:pt>
                <c:pt idx="3775">
                  <c:v>30.580453072787066</c:v>
                </c:pt>
                <c:pt idx="3776">
                  <c:v>25.21173624125117</c:v>
                </c:pt>
                <c:pt idx="3777">
                  <c:v>49.027411599712721</c:v>
                </c:pt>
                <c:pt idx="3778">
                  <c:v>31.50450453728331</c:v>
                </c:pt>
                <c:pt idx="3779">
                  <c:v>29.426917102589204</c:v>
                </c:pt>
                <c:pt idx="3780">
                  <c:v>29.141253005694171</c:v>
                </c:pt>
                <c:pt idx="3781">
                  <c:v>26.987536866323154</c:v>
                </c:pt>
                <c:pt idx="3782">
                  <c:v>26.383704377468696</c:v>
                </c:pt>
                <c:pt idx="3783">
                  <c:v>25.361148209231686</c:v>
                </c:pt>
                <c:pt idx="3784">
                  <c:v>38.989982158250449</c:v>
                </c:pt>
                <c:pt idx="3785">
                  <c:v>54.229749984782764</c:v>
                </c:pt>
                <c:pt idx="3786">
                  <c:v>24.435055368919052</c:v>
                </c:pt>
                <c:pt idx="3787">
                  <c:v>22.304099157950525</c:v>
                </c:pt>
                <c:pt idx="3788">
                  <c:v>35.295713215013443</c:v>
                </c:pt>
                <c:pt idx="3789">
                  <c:v>53.968967627977108</c:v>
                </c:pt>
                <c:pt idx="3790">
                  <c:v>30.187787732309328</c:v>
                </c:pt>
                <c:pt idx="3791">
                  <c:v>28.87777045846461</c:v>
                </c:pt>
                <c:pt idx="3792">
                  <c:v>27.853389942187139</c:v>
                </c:pt>
                <c:pt idx="3793">
                  <c:v>28.685677188930953</c:v>
                </c:pt>
                <c:pt idx="3794">
                  <c:v>29.507570124055025</c:v>
                </c:pt>
                <c:pt idx="3795">
                  <c:v>29.035785837032854</c:v>
                </c:pt>
                <c:pt idx="3796">
                  <c:v>21.162006320380215</c:v>
                </c:pt>
                <c:pt idx="3797">
                  <c:v>57.736158423866527</c:v>
                </c:pt>
                <c:pt idx="3798">
                  <c:v>21.00740709922033</c:v>
                </c:pt>
                <c:pt idx="3799">
                  <c:v>28.303368938951749</c:v>
                </c:pt>
                <c:pt idx="3800">
                  <c:v>26.512934180966674</c:v>
                </c:pt>
                <c:pt idx="3801">
                  <c:v>63.301282833716797</c:v>
                </c:pt>
                <c:pt idx="3802">
                  <c:v>42.94450179809192</c:v>
                </c:pt>
                <c:pt idx="3803">
                  <c:v>53.14980806488456</c:v>
                </c:pt>
                <c:pt idx="3804">
                  <c:v>27.715909222042001</c:v>
                </c:pt>
                <c:pt idx="3805">
                  <c:v>27.484731505682035</c:v>
                </c:pt>
                <c:pt idx="3806">
                  <c:v>37.669253712175639</c:v>
                </c:pt>
                <c:pt idx="3807">
                  <c:v>26.290363491579495</c:v>
                </c:pt>
                <c:pt idx="3808">
                  <c:v>26.202627314257374</c:v>
                </c:pt>
                <c:pt idx="3809">
                  <c:v>22.436470184937043</c:v>
                </c:pt>
                <c:pt idx="3810">
                  <c:v>24.892489878085335</c:v>
                </c:pt>
                <c:pt idx="3811">
                  <c:v>26.944415141722708</c:v>
                </c:pt>
                <c:pt idx="3812">
                  <c:v>27.450370045530164</c:v>
                </c:pt>
                <c:pt idx="3813">
                  <c:v>33.950318692782425</c:v>
                </c:pt>
                <c:pt idx="3814">
                  <c:v>50.139803325100004</c:v>
                </c:pt>
                <c:pt idx="3815">
                  <c:v>55.138129946019419</c:v>
                </c:pt>
                <c:pt idx="3816">
                  <c:v>33.065077661100446</c:v>
                </c:pt>
                <c:pt idx="3817">
                  <c:v>18.433675502553854</c:v>
                </c:pt>
                <c:pt idx="3818">
                  <c:v>26.811531557360116</c:v>
                </c:pt>
                <c:pt idx="3819">
                  <c:v>27.299261064478245</c:v>
                </c:pt>
                <c:pt idx="3820">
                  <c:v>55.133409677759097</c:v>
                </c:pt>
                <c:pt idx="3821">
                  <c:v>32.935850421583325</c:v>
                </c:pt>
                <c:pt idx="3822">
                  <c:v>24.178753812268685</c:v>
                </c:pt>
                <c:pt idx="3823">
                  <c:v>24.502346889688695</c:v>
                </c:pt>
                <c:pt idx="3824">
                  <c:v>39.996586051378657</c:v>
                </c:pt>
                <c:pt idx="3825">
                  <c:v>29.783762405132123</c:v>
                </c:pt>
                <c:pt idx="3826">
                  <c:v>41.323012403152894</c:v>
                </c:pt>
                <c:pt idx="3827">
                  <c:v>38.03613316025384</c:v>
                </c:pt>
                <c:pt idx="3828">
                  <c:v>27.053999443439412</c:v>
                </c:pt>
                <c:pt idx="3829">
                  <c:v>25.701262275561412</c:v>
                </c:pt>
                <c:pt idx="3830">
                  <c:v>43.018902747979077</c:v>
                </c:pt>
                <c:pt idx="3831">
                  <c:v>53.972648027311742</c:v>
                </c:pt>
                <c:pt idx="3832">
                  <c:v>47.643645956414979</c:v>
                </c:pt>
                <c:pt idx="3833">
                  <c:v>37.522599831972499</c:v>
                </c:pt>
                <c:pt idx="3834">
                  <c:v>44.09524447351901</c:v>
                </c:pt>
                <c:pt idx="3835">
                  <c:v>53.96987793704546</c:v>
                </c:pt>
                <c:pt idx="3836">
                  <c:v>30.265458187474067</c:v>
                </c:pt>
                <c:pt idx="3837">
                  <c:v>45.41881218560944</c:v>
                </c:pt>
                <c:pt idx="3838">
                  <c:v>26.304668673997828</c:v>
                </c:pt>
                <c:pt idx="3839">
                  <c:v>24.005068727700134</c:v>
                </c:pt>
                <c:pt idx="3840">
                  <c:v>45.036019237704025</c:v>
                </c:pt>
                <c:pt idx="3841">
                  <c:v>41.203092552596317</c:v>
                </c:pt>
                <c:pt idx="3842">
                  <c:v>18.47620661270448</c:v>
                </c:pt>
                <c:pt idx="3843">
                  <c:v>31.209451490663646</c:v>
                </c:pt>
                <c:pt idx="3844">
                  <c:v>25.843904264187827</c:v>
                </c:pt>
                <c:pt idx="3845">
                  <c:v>52.558393720684805</c:v>
                </c:pt>
                <c:pt idx="3846">
                  <c:v>20.966363939569025</c:v>
                </c:pt>
                <c:pt idx="3847">
                  <c:v>25.627442873345107</c:v>
                </c:pt>
                <c:pt idx="3848">
                  <c:v>28.577023103928113</c:v>
                </c:pt>
                <c:pt idx="3849">
                  <c:v>23.476378757863969</c:v>
                </c:pt>
                <c:pt idx="3850">
                  <c:v>26.622596436476528</c:v>
                </c:pt>
                <c:pt idx="3851">
                  <c:v>44.916258779238724</c:v>
                </c:pt>
                <c:pt idx="3852">
                  <c:v>22.984716077986569</c:v>
                </c:pt>
                <c:pt idx="3853">
                  <c:v>20.577202259874433</c:v>
                </c:pt>
                <c:pt idx="3854">
                  <c:v>49.548788649278364</c:v>
                </c:pt>
                <c:pt idx="3855">
                  <c:v>23.755906875926932</c:v>
                </c:pt>
                <c:pt idx="3856">
                  <c:v>20.179954289197301</c:v>
                </c:pt>
                <c:pt idx="3857">
                  <c:v>51.921374403336536</c:v>
                </c:pt>
                <c:pt idx="3858">
                  <c:v>28.276411108695306</c:v>
                </c:pt>
                <c:pt idx="3859">
                  <c:v>45.373820331504994</c:v>
                </c:pt>
                <c:pt idx="3860">
                  <c:v>25.218464263024593</c:v>
                </c:pt>
                <c:pt idx="3861">
                  <c:v>26.249824237258554</c:v>
                </c:pt>
                <c:pt idx="3862">
                  <c:v>41.139952573178348</c:v>
                </c:pt>
                <c:pt idx="3863">
                  <c:v>22.210734074439817</c:v>
                </c:pt>
                <c:pt idx="3864">
                  <c:v>23.171638492648796</c:v>
                </c:pt>
                <c:pt idx="3865">
                  <c:v>59.019022257590507</c:v>
                </c:pt>
                <c:pt idx="3866">
                  <c:v>38.142978133334395</c:v>
                </c:pt>
                <c:pt idx="3867">
                  <c:v>34.219348756203885</c:v>
                </c:pt>
                <c:pt idx="3868">
                  <c:v>17.447459465367949</c:v>
                </c:pt>
                <c:pt idx="3869">
                  <c:v>43.52776718800736</c:v>
                </c:pt>
                <c:pt idx="3870">
                  <c:v>23.472457520188652</c:v>
                </c:pt>
                <c:pt idx="3871">
                  <c:v>25.649348046554781</c:v>
                </c:pt>
                <c:pt idx="3872">
                  <c:v>30.076744958100861</c:v>
                </c:pt>
                <c:pt idx="3873">
                  <c:v>31.462632953126292</c:v>
                </c:pt>
                <c:pt idx="3874">
                  <c:v>24.351327374460812</c:v>
                </c:pt>
                <c:pt idx="3875">
                  <c:v>38.575078974867033</c:v>
                </c:pt>
                <c:pt idx="3876">
                  <c:v>27.704771222060913</c:v>
                </c:pt>
                <c:pt idx="3877">
                  <c:v>42.112936612805711</c:v>
                </c:pt>
                <c:pt idx="3878">
                  <c:v>23.362244933837498</c:v>
                </c:pt>
                <c:pt idx="3879">
                  <c:v>22.711763967653006</c:v>
                </c:pt>
                <c:pt idx="3880">
                  <c:v>37.851024393550354</c:v>
                </c:pt>
                <c:pt idx="3881">
                  <c:v>60.209868297114198</c:v>
                </c:pt>
                <c:pt idx="3882">
                  <c:v>18.030618394431524</c:v>
                </c:pt>
                <c:pt idx="3883">
                  <c:v>40.167790129641247</c:v>
                </c:pt>
                <c:pt idx="3884">
                  <c:v>35.365090561343834</c:v>
                </c:pt>
                <c:pt idx="3885">
                  <c:v>27.43385337740682</c:v>
                </c:pt>
                <c:pt idx="3886">
                  <c:v>29.064986868304359</c:v>
                </c:pt>
                <c:pt idx="3887">
                  <c:v>43.19034511072735</c:v>
                </c:pt>
                <c:pt idx="3888">
                  <c:v>30.90299179678744</c:v>
                </c:pt>
                <c:pt idx="3889">
                  <c:v>50.856629930852101</c:v>
                </c:pt>
                <c:pt idx="3890">
                  <c:v>38.970245170939975</c:v>
                </c:pt>
                <c:pt idx="3891">
                  <c:v>55.717049433849837</c:v>
                </c:pt>
                <c:pt idx="3892">
                  <c:v>25.507631511011169</c:v>
                </c:pt>
                <c:pt idx="3893">
                  <c:v>28.088416771041889</c:v>
                </c:pt>
                <c:pt idx="3894">
                  <c:v>25.979812944314958</c:v>
                </c:pt>
                <c:pt idx="3895">
                  <c:v>27.883402606636629</c:v>
                </c:pt>
                <c:pt idx="3896">
                  <c:v>22.519654256574306</c:v>
                </c:pt>
                <c:pt idx="3897">
                  <c:v>31.352513404599989</c:v>
                </c:pt>
                <c:pt idx="3898">
                  <c:v>25.758015597949672</c:v>
                </c:pt>
                <c:pt idx="3899">
                  <c:v>29.556018651694309</c:v>
                </c:pt>
                <c:pt idx="3900">
                  <c:v>31.658395760268633</c:v>
                </c:pt>
                <c:pt idx="3901">
                  <c:v>43.478491657929339</c:v>
                </c:pt>
                <c:pt idx="3902">
                  <c:v>45.105390654462823</c:v>
                </c:pt>
                <c:pt idx="3903">
                  <c:v>50.079220010971859</c:v>
                </c:pt>
                <c:pt idx="3904">
                  <c:v>28.679598353872677</c:v>
                </c:pt>
                <c:pt idx="3905">
                  <c:v>31.110268744600077</c:v>
                </c:pt>
                <c:pt idx="3906">
                  <c:v>38.38892802449913</c:v>
                </c:pt>
                <c:pt idx="3907">
                  <c:v>26.067494702790349</c:v>
                </c:pt>
                <c:pt idx="3908">
                  <c:v>28.763497334053788</c:v>
                </c:pt>
                <c:pt idx="3909">
                  <c:v>52.993133940106524</c:v>
                </c:pt>
                <c:pt idx="3910">
                  <c:v>48.140896535593193</c:v>
                </c:pt>
                <c:pt idx="3911">
                  <c:v>24.497875628736335</c:v>
                </c:pt>
                <c:pt idx="3912">
                  <c:v>25.657375788165151</c:v>
                </c:pt>
                <c:pt idx="3913">
                  <c:v>40.812374804490922</c:v>
                </c:pt>
                <c:pt idx="3914">
                  <c:v>33.355689391329413</c:v>
                </c:pt>
                <c:pt idx="3915">
                  <c:v>24.524954750497063</c:v>
                </c:pt>
                <c:pt idx="3916">
                  <c:v>31.203134378061847</c:v>
                </c:pt>
                <c:pt idx="3917">
                  <c:v>46.253985748465084</c:v>
                </c:pt>
                <c:pt idx="3918">
                  <c:v>28.199320638497475</c:v>
                </c:pt>
                <c:pt idx="3919">
                  <c:v>26.574162001454798</c:v>
                </c:pt>
                <c:pt idx="3920">
                  <c:v>28.384008799878803</c:v>
                </c:pt>
                <c:pt idx="3921">
                  <c:v>33.169124438926453</c:v>
                </c:pt>
                <c:pt idx="3922">
                  <c:v>26.419481797891919</c:v>
                </c:pt>
                <c:pt idx="3923">
                  <c:v>59.490703277490361</c:v>
                </c:pt>
                <c:pt idx="3924">
                  <c:v>22.424523897508934</c:v>
                </c:pt>
                <c:pt idx="3925">
                  <c:v>25.129620107875738</c:v>
                </c:pt>
                <c:pt idx="3926">
                  <c:v>27.175533256901456</c:v>
                </c:pt>
                <c:pt idx="3927">
                  <c:v>21.498621123853589</c:v>
                </c:pt>
                <c:pt idx="3928">
                  <c:v>48.157789068415468</c:v>
                </c:pt>
                <c:pt idx="3929">
                  <c:v>28.040673757629303</c:v>
                </c:pt>
                <c:pt idx="3930">
                  <c:v>52.277904243507393</c:v>
                </c:pt>
                <c:pt idx="3931">
                  <c:v>32.021624237929821</c:v>
                </c:pt>
                <c:pt idx="3932">
                  <c:v>25.452076209948395</c:v>
                </c:pt>
                <c:pt idx="3933">
                  <c:v>32.502222961604097</c:v>
                </c:pt>
                <c:pt idx="3934">
                  <c:v>28.273434798480729</c:v>
                </c:pt>
                <c:pt idx="3935">
                  <c:v>26.660376448132599</c:v>
                </c:pt>
                <c:pt idx="3936">
                  <c:v>22.163888609827506</c:v>
                </c:pt>
                <c:pt idx="3937">
                  <c:v>23.659832679147282</c:v>
                </c:pt>
                <c:pt idx="3938">
                  <c:v>53.025683074158557</c:v>
                </c:pt>
                <c:pt idx="3939">
                  <c:v>23.084656637874026</c:v>
                </c:pt>
                <c:pt idx="3940">
                  <c:v>29.882661680425315</c:v>
                </c:pt>
                <c:pt idx="3941">
                  <c:v>31.88789900399658</c:v>
                </c:pt>
                <c:pt idx="3942">
                  <c:v>65.153865937450377</c:v>
                </c:pt>
                <c:pt idx="3943">
                  <c:v>22.465559207234048</c:v>
                </c:pt>
                <c:pt idx="3944">
                  <c:v>23.265008619382098</c:v>
                </c:pt>
                <c:pt idx="3945">
                  <c:v>29.766492808622822</c:v>
                </c:pt>
                <c:pt idx="3946">
                  <c:v>47.531120079115389</c:v>
                </c:pt>
                <c:pt idx="3947">
                  <c:v>54.798126038904911</c:v>
                </c:pt>
                <c:pt idx="3948">
                  <c:v>50.365128958265053</c:v>
                </c:pt>
                <c:pt idx="3949">
                  <c:v>37.08455198103514</c:v>
                </c:pt>
                <c:pt idx="3950">
                  <c:v>35.279591434926957</c:v>
                </c:pt>
                <c:pt idx="3951">
                  <c:v>26.303281749431015</c:v>
                </c:pt>
                <c:pt idx="3952">
                  <c:v>25.19255559762281</c:v>
                </c:pt>
                <c:pt idx="3953">
                  <c:v>50.441750066198772</c:v>
                </c:pt>
                <c:pt idx="3954">
                  <c:v>31.484840671837794</c:v>
                </c:pt>
                <c:pt idx="3955">
                  <c:v>27.881619809061995</c:v>
                </c:pt>
                <c:pt idx="3956">
                  <c:v>33.279747278234481</c:v>
                </c:pt>
                <c:pt idx="3957">
                  <c:v>17.843368544394401</c:v>
                </c:pt>
                <c:pt idx="3958">
                  <c:v>43.420466822867198</c:v>
                </c:pt>
                <c:pt idx="3959">
                  <c:v>26.013009384344585</c:v>
                </c:pt>
                <c:pt idx="3960">
                  <c:v>50.201734927970122</c:v>
                </c:pt>
                <c:pt idx="3961">
                  <c:v>15.362551477640817</c:v>
                </c:pt>
                <c:pt idx="3962">
                  <c:v>26.604603519436694</c:v>
                </c:pt>
                <c:pt idx="3963">
                  <c:v>30.116613802770079</c:v>
                </c:pt>
                <c:pt idx="3964">
                  <c:v>36.427434327557734</c:v>
                </c:pt>
                <c:pt idx="3965">
                  <c:v>37.870080411738115</c:v>
                </c:pt>
                <c:pt idx="3966">
                  <c:v>49.965750376320045</c:v>
                </c:pt>
                <c:pt idx="3967">
                  <c:v>31.719346662019632</c:v>
                </c:pt>
                <c:pt idx="3968">
                  <c:v>42.068716354097134</c:v>
                </c:pt>
                <c:pt idx="3969">
                  <c:v>23.397987587394383</c:v>
                </c:pt>
                <c:pt idx="3970">
                  <c:v>40.418337120915417</c:v>
                </c:pt>
                <c:pt idx="3971">
                  <c:v>25.138572541488369</c:v>
                </c:pt>
                <c:pt idx="3972">
                  <c:v>23.942184363110229</c:v>
                </c:pt>
                <c:pt idx="3973">
                  <c:v>26.682186367043151</c:v>
                </c:pt>
                <c:pt idx="3974">
                  <c:v>18.986231933215308</c:v>
                </c:pt>
                <c:pt idx="3975">
                  <c:v>48.40086139198948</c:v>
                </c:pt>
                <c:pt idx="3976">
                  <c:v>36.825480147471609</c:v>
                </c:pt>
                <c:pt idx="3977">
                  <c:v>27.655730303224441</c:v>
                </c:pt>
                <c:pt idx="3978">
                  <c:v>51.239018494554614</c:v>
                </c:pt>
                <c:pt idx="3979">
                  <c:v>40.882884396888457</c:v>
                </c:pt>
                <c:pt idx="3980">
                  <c:v>29.204347105849969</c:v>
                </c:pt>
                <c:pt idx="3981">
                  <c:v>36.979417191189107</c:v>
                </c:pt>
                <c:pt idx="3982">
                  <c:v>49.441577827118024</c:v>
                </c:pt>
                <c:pt idx="3983">
                  <c:v>42.42300794396845</c:v>
                </c:pt>
                <c:pt idx="3984">
                  <c:v>52.270260582235721</c:v>
                </c:pt>
                <c:pt idx="3985">
                  <c:v>33.5655511413581</c:v>
                </c:pt>
                <c:pt idx="3986">
                  <c:v>35.935959089538457</c:v>
                </c:pt>
                <c:pt idx="3987">
                  <c:v>36.189185303889019</c:v>
                </c:pt>
                <c:pt idx="3988">
                  <c:v>34.798972298744808</c:v>
                </c:pt>
                <c:pt idx="3989">
                  <c:v>25.876125212383329</c:v>
                </c:pt>
                <c:pt idx="3990">
                  <c:v>20.335668664571415</c:v>
                </c:pt>
                <c:pt idx="3991">
                  <c:v>31.031460756980287</c:v>
                </c:pt>
                <c:pt idx="3992">
                  <c:v>26.791687720561796</c:v>
                </c:pt>
                <c:pt idx="3993">
                  <c:v>27.706430901346245</c:v>
                </c:pt>
                <c:pt idx="3994">
                  <c:v>30.648811026293576</c:v>
                </c:pt>
                <c:pt idx="3995">
                  <c:v>40.216978861388299</c:v>
                </c:pt>
                <c:pt idx="3996">
                  <c:v>44.679862186967185</c:v>
                </c:pt>
                <c:pt idx="3997">
                  <c:v>33.43735240963953</c:v>
                </c:pt>
                <c:pt idx="3998">
                  <c:v>26.36738393298867</c:v>
                </c:pt>
                <c:pt idx="3999">
                  <c:v>22.787993959841646</c:v>
                </c:pt>
                <c:pt idx="4000">
                  <c:v>28.894551471866343</c:v>
                </c:pt>
                <c:pt idx="4001">
                  <c:v>40.219476023241903</c:v>
                </c:pt>
                <c:pt idx="4002">
                  <c:v>42.12933113276911</c:v>
                </c:pt>
                <c:pt idx="4003">
                  <c:v>31.004080359332136</c:v>
                </c:pt>
                <c:pt idx="4004">
                  <c:v>45.970269851457601</c:v>
                </c:pt>
                <c:pt idx="4005">
                  <c:v>22.83123676893176</c:v>
                </c:pt>
                <c:pt idx="4006">
                  <c:v>24.02510898309318</c:v>
                </c:pt>
                <c:pt idx="4007">
                  <c:v>29.541635450823318</c:v>
                </c:pt>
                <c:pt idx="4008">
                  <c:v>43.530784448411289</c:v>
                </c:pt>
                <c:pt idx="4009">
                  <c:v>28.027586007238462</c:v>
                </c:pt>
                <c:pt idx="4010">
                  <c:v>29.666204470293341</c:v>
                </c:pt>
                <c:pt idx="4011">
                  <c:v>25.959011198864797</c:v>
                </c:pt>
                <c:pt idx="4012">
                  <c:v>25.293065520788641</c:v>
                </c:pt>
                <c:pt idx="4013">
                  <c:v>43.599555509890962</c:v>
                </c:pt>
                <c:pt idx="4014">
                  <c:v>25.805075712517166</c:v>
                </c:pt>
                <c:pt idx="4015">
                  <c:v>52.508899368131118</c:v>
                </c:pt>
                <c:pt idx="4016">
                  <c:v>39.61836809320171</c:v>
                </c:pt>
                <c:pt idx="4017">
                  <c:v>23.568926305087334</c:v>
                </c:pt>
                <c:pt idx="4018">
                  <c:v>27.885543711424752</c:v>
                </c:pt>
                <c:pt idx="4019">
                  <c:v>41.097558603238696</c:v>
                </c:pt>
                <c:pt idx="4020">
                  <c:v>29.552783325725631</c:v>
                </c:pt>
                <c:pt idx="4021">
                  <c:v>29.10337301532001</c:v>
                </c:pt>
                <c:pt idx="4022">
                  <c:v>25.182707033040696</c:v>
                </c:pt>
                <c:pt idx="4023">
                  <c:v>25.482251299609139</c:v>
                </c:pt>
                <c:pt idx="4024">
                  <c:v>25.966864440928301</c:v>
                </c:pt>
                <c:pt idx="4025">
                  <c:v>28.879960121347281</c:v>
                </c:pt>
                <c:pt idx="4026">
                  <c:v>18.060706791305844</c:v>
                </c:pt>
                <c:pt idx="4027">
                  <c:v>34.357085068133422</c:v>
                </c:pt>
                <c:pt idx="4028">
                  <c:v>35.086979235146828</c:v>
                </c:pt>
                <c:pt idx="4029">
                  <c:v>26.171829884420909</c:v>
                </c:pt>
                <c:pt idx="4030">
                  <c:v>48.493498801856944</c:v>
                </c:pt>
                <c:pt idx="4031">
                  <c:v>53.406684433162837</c:v>
                </c:pt>
                <c:pt idx="4032">
                  <c:v>29.909850442753914</c:v>
                </c:pt>
                <c:pt idx="4033">
                  <c:v>31.959381836172113</c:v>
                </c:pt>
                <c:pt idx="4034">
                  <c:v>24.731165218255228</c:v>
                </c:pt>
                <c:pt idx="4035">
                  <c:v>40.990593509505501</c:v>
                </c:pt>
                <c:pt idx="4036">
                  <c:v>28.535769908827749</c:v>
                </c:pt>
                <c:pt idx="4037">
                  <c:v>45.201131755204763</c:v>
                </c:pt>
                <c:pt idx="4038">
                  <c:v>25.925274588975416</c:v>
                </c:pt>
                <c:pt idx="4039">
                  <c:v>26.305093836425904</c:v>
                </c:pt>
                <c:pt idx="4040">
                  <c:v>22.792430823905185</c:v>
                </c:pt>
                <c:pt idx="4041">
                  <c:v>26.046178006632932</c:v>
                </c:pt>
                <c:pt idx="4042">
                  <c:v>34.172919354252812</c:v>
                </c:pt>
                <c:pt idx="4043">
                  <c:v>21.846458184769904</c:v>
                </c:pt>
                <c:pt idx="4044">
                  <c:v>23.785298339443294</c:v>
                </c:pt>
                <c:pt idx="4045">
                  <c:v>29.169436692320925</c:v>
                </c:pt>
                <c:pt idx="4046">
                  <c:v>21.671111420800774</c:v>
                </c:pt>
                <c:pt idx="4047">
                  <c:v>20.856116734011287</c:v>
                </c:pt>
                <c:pt idx="4048">
                  <c:v>31.167844864096544</c:v>
                </c:pt>
                <c:pt idx="4049">
                  <c:v>22.353556353954097</c:v>
                </c:pt>
                <c:pt idx="4050">
                  <c:v>26.153895660515577</c:v>
                </c:pt>
                <c:pt idx="4051">
                  <c:v>20.490602535607884</c:v>
                </c:pt>
                <c:pt idx="4052">
                  <c:v>36.572414911484053</c:v>
                </c:pt>
                <c:pt idx="4053">
                  <c:v>23.856569275574437</c:v>
                </c:pt>
                <c:pt idx="4054">
                  <c:v>28.094586351657949</c:v>
                </c:pt>
                <c:pt idx="4055">
                  <c:v>48.005284815559747</c:v>
                </c:pt>
                <c:pt idx="4056">
                  <c:v>33.277723290904689</c:v>
                </c:pt>
                <c:pt idx="4057">
                  <c:v>24.37375715357399</c:v>
                </c:pt>
                <c:pt idx="4058">
                  <c:v>25.323566018062674</c:v>
                </c:pt>
                <c:pt idx="4059">
                  <c:v>28.286629269679686</c:v>
                </c:pt>
                <c:pt idx="4060">
                  <c:v>28.452664619404935</c:v>
                </c:pt>
                <c:pt idx="4061">
                  <c:v>18.285845233239769</c:v>
                </c:pt>
                <c:pt idx="4062">
                  <c:v>29.758118530276199</c:v>
                </c:pt>
                <c:pt idx="4063">
                  <c:v>25.576941656371801</c:v>
                </c:pt>
                <c:pt idx="4064">
                  <c:v>30.082837087174973</c:v>
                </c:pt>
                <c:pt idx="4065">
                  <c:v>31.396017227982583</c:v>
                </c:pt>
                <c:pt idx="4066">
                  <c:v>29.502759593991662</c:v>
                </c:pt>
                <c:pt idx="4067">
                  <c:v>36.374877654747486</c:v>
                </c:pt>
                <c:pt idx="4068">
                  <c:v>21.878816998835347</c:v>
                </c:pt>
                <c:pt idx="4069">
                  <c:v>44.572160671263589</c:v>
                </c:pt>
                <c:pt idx="4070">
                  <c:v>44.142625323611348</c:v>
                </c:pt>
                <c:pt idx="4071">
                  <c:v>34.042274893406805</c:v>
                </c:pt>
                <c:pt idx="4072">
                  <c:v>25.279445341570668</c:v>
                </c:pt>
                <c:pt idx="4073">
                  <c:v>16.739162129296965</c:v>
                </c:pt>
                <c:pt idx="4074">
                  <c:v>25.916522709190478</c:v>
                </c:pt>
                <c:pt idx="4075">
                  <c:v>24.215710417365614</c:v>
                </c:pt>
                <c:pt idx="4076">
                  <c:v>28.983250824222363</c:v>
                </c:pt>
                <c:pt idx="4077">
                  <c:v>27.33065487108497</c:v>
                </c:pt>
                <c:pt idx="4078">
                  <c:v>24.082501631793182</c:v>
                </c:pt>
                <c:pt idx="4079">
                  <c:v>27.993223673556454</c:v>
                </c:pt>
                <c:pt idx="4080">
                  <c:v>23.430617009393867</c:v>
                </c:pt>
                <c:pt idx="4081">
                  <c:v>47.889184882278208</c:v>
                </c:pt>
                <c:pt idx="4082">
                  <c:v>48.841163173418451</c:v>
                </c:pt>
                <c:pt idx="4083">
                  <c:v>49.80328508445178</c:v>
                </c:pt>
                <c:pt idx="4084">
                  <c:v>29.655348010256922</c:v>
                </c:pt>
                <c:pt idx="4085">
                  <c:v>23.210508745365672</c:v>
                </c:pt>
                <c:pt idx="4086">
                  <c:v>21.758704122150569</c:v>
                </c:pt>
                <c:pt idx="4087">
                  <c:v>39.433385403105397</c:v>
                </c:pt>
                <c:pt idx="4088">
                  <c:v>55.574214253220276</c:v>
                </c:pt>
                <c:pt idx="4089">
                  <c:v>20.900372207602064</c:v>
                </c:pt>
                <c:pt idx="4090">
                  <c:v>26.995996808129082</c:v>
                </c:pt>
                <c:pt idx="4091">
                  <c:v>23.823069985408665</c:v>
                </c:pt>
                <c:pt idx="4092">
                  <c:v>50.890134813476685</c:v>
                </c:pt>
                <c:pt idx="4093">
                  <c:v>24.853027639740723</c:v>
                </c:pt>
                <c:pt idx="4094">
                  <c:v>24.78106507501807</c:v>
                </c:pt>
                <c:pt idx="4095">
                  <c:v>49.203127336107492</c:v>
                </c:pt>
                <c:pt idx="4096">
                  <c:v>25.962183163056579</c:v>
                </c:pt>
                <c:pt idx="4097">
                  <c:v>22.281900173022684</c:v>
                </c:pt>
                <c:pt idx="4098">
                  <c:v>27.771915272224589</c:v>
                </c:pt>
                <c:pt idx="4099">
                  <c:v>24.747781086440437</c:v>
                </c:pt>
                <c:pt idx="4100">
                  <c:v>26.090480853220729</c:v>
                </c:pt>
                <c:pt idx="4101">
                  <c:v>29.892268745664197</c:v>
                </c:pt>
                <c:pt idx="4102">
                  <c:v>30.444726900480994</c:v>
                </c:pt>
                <c:pt idx="4103">
                  <c:v>25.27159496455338</c:v>
                </c:pt>
                <c:pt idx="4104">
                  <c:v>19.724726465297401</c:v>
                </c:pt>
                <c:pt idx="4105">
                  <c:v>22.229247226992801</c:v>
                </c:pt>
                <c:pt idx="4106">
                  <c:v>28.571315806278662</c:v>
                </c:pt>
                <c:pt idx="4107">
                  <c:v>43.323292497281116</c:v>
                </c:pt>
                <c:pt idx="4108">
                  <c:v>27.46511612381579</c:v>
                </c:pt>
                <c:pt idx="4109">
                  <c:v>23.417937147037378</c:v>
                </c:pt>
                <c:pt idx="4110">
                  <c:v>46.82778047346828</c:v>
                </c:pt>
                <c:pt idx="4111">
                  <c:v>32.591993928584785</c:v>
                </c:pt>
                <c:pt idx="4112">
                  <c:v>59.374627026742104</c:v>
                </c:pt>
                <c:pt idx="4113">
                  <c:v>49.0713527726151</c:v>
                </c:pt>
                <c:pt idx="4114">
                  <c:v>29.024358855327229</c:v>
                </c:pt>
                <c:pt idx="4115">
                  <c:v>46.714250584523263</c:v>
                </c:pt>
                <c:pt idx="4116">
                  <c:v>27.978493338482579</c:v>
                </c:pt>
                <c:pt idx="4117">
                  <c:v>29.058817835004007</c:v>
                </c:pt>
                <c:pt idx="4118">
                  <c:v>30.923322007350318</c:v>
                </c:pt>
                <c:pt idx="4119">
                  <c:v>21.188639264512936</c:v>
                </c:pt>
                <c:pt idx="4120">
                  <c:v>26.71391409896853</c:v>
                </c:pt>
                <c:pt idx="4121">
                  <c:v>24.127605973213242</c:v>
                </c:pt>
                <c:pt idx="4122">
                  <c:v>21.834724449045595</c:v>
                </c:pt>
                <c:pt idx="4123">
                  <c:v>22.917359189189252</c:v>
                </c:pt>
                <c:pt idx="4124">
                  <c:v>26.837434124377904</c:v>
                </c:pt>
                <c:pt idx="4125">
                  <c:v>16.750612815232966</c:v>
                </c:pt>
                <c:pt idx="4126">
                  <c:v>37.569110837071833</c:v>
                </c:pt>
                <c:pt idx="4127">
                  <c:v>37.29258068187842</c:v>
                </c:pt>
                <c:pt idx="4128">
                  <c:v>53.098119334010491</c:v>
                </c:pt>
                <c:pt idx="4129">
                  <c:v>45.754394249996807</c:v>
                </c:pt>
                <c:pt idx="4130">
                  <c:v>55.689490387094907</c:v>
                </c:pt>
                <c:pt idx="4131">
                  <c:v>22.225787897638817</c:v>
                </c:pt>
                <c:pt idx="4132">
                  <c:v>35.353805229657006</c:v>
                </c:pt>
                <c:pt idx="4133">
                  <c:v>22.795378734754394</c:v>
                </c:pt>
                <c:pt idx="4134">
                  <c:v>36.352716582003254</c:v>
                </c:pt>
                <c:pt idx="4135">
                  <c:v>24.949188597517978</c:v>
                </c:pt>
                <c:pt idx="4136">
                  <c:v>23.020020268199204</c:v>
                </c:pt>
                <c:pt idx="4137">
                  <c:v>45.084688867120107</c:v>
                </c:pt>
                <c:pt idx="4138">
                  <c:v>32.894945975696587</c:v>
                </c:pt>
                <c:pt idx="4139">
                  <c:v>25.268639058793894</c:v>
                </c:pt>
                <c:pt idx="4140">
                  <c:v>25.721187238928675</c:v>
                </c:pt>
                <c:pt idx="4141">
                  <c:v>34.84641630362222</c:v>
                </c:pt>
                <c:pt idx="4142">
                  <c:v>30.876599460249256</c:v>
                </c:pt>
                <c:pt idx="4143">
                  <c:v>32.515437526579255</c:v>
                </c:pt>
                <c:pt idx="4144">
                  <c:v>54.840449024508558</c:v>
                </c:pt>
                <c:pt idx="4145">
                  <c:v>42.647401855778291</c:v>
                </c:pt>
                <c:pt idx="4146">
                  <c:v>55.29460147223611</c:v>
                </c:pt>
                <c:pt idx="4147">
                  <c:v>31.97516063086151</c:v>
                </c:pt>
                <c:pt idx="4148">
                  <c:v>32.580228295947613</c:v>
                </c:pt>
                <c:pt idx="4149">
                  <c:v>28.038045464525922</c:v>
                </c:pt>
                <c:pt idx="4150">
                  <c:v>32.993143288346218</c:v>
                </c:pt>
                <c:pt idx="4151">
                  <c:v>19.522276989244112</c:v>
                </c:pt>
                <c:pt idx="4152">
                  <c:v>36.89138670848984</c:v>
                </c:pt>
                <c:pt idx="4153">
                  <c:v>36.312517846032691</c:v>
                </c:pt>
                <c:pt idx="4154">
                  <c:v>29.24530740663894</c:v>
                </c:pt>
                <c:pt idx="4155">
                  <c:v>45.313293506128169</c:v>
                </c:pt>
                <c:pt idx="4156">
                  <c:v>28.78034933079217</c:v>
                </c:pt>
                <c:pt idx="4157">
                  <c:v>50.199875919702905</c:v>
                </c:pt>
                <c:pt idx="4158">
                  <c:v>27.73496488012637</c:v>
                </c:pt>
                <c:pt idx="4159">
                  <c:v>37.986515562984891</c:v>
                </c:pt>
                <c:pt idx="4160">
                  <c:v>21.075890164924107</c:v>
                </c:pt>
                <c:pt idx="4161">
                  <c:v>32.846767297254161</c:v>
                </c:pt>
                <c:pt idx="4162">
                  <c:v>22.535564884874574</c:v>
                </c:pt>
                <c:pt idx="4163">
                  <c:v>22.642127366869413</c:v>
                </c:pt>
                <c:pt idx="4164">
                  <c:v>44.839567377444475</c:v>
                </c:pt>
                <c:pt idx="4165">
                  <c:v>49.928696471331477</c:v>
                </c:pt>
                <c:pt idx="4166">
                  <c:v>20.769507078119361</c:v>
                </c:pt>
                <c:pt idx="4167">
                  <c:v>50.648000262156479</c:v>
                </c:pt>
                <c:pt idx="4168">
                  <c:v>24.927366920962893</c:v>
                </c:pt>
                <c:pt idx="4169">
                  <c:v>39.637396475580978</c:v>
                </c:pt>
                <c:pt idx="4170">
                  <c:v>29.439739176503043</c:v>
                </c:pt>
                <c:pt idx="4171">
                  <c:v>21.130651046187076</c:v>
                </c:pt>
                <c:pt idx="4172">
                  <c:v>43.131255538445664</c:v>
                </c:pt>
                <c:pt idx="4173">
                  <c:v>22.031449108757403</c:v>
                </c:pt>
                <c:pt idx="4174">
                  <c:v>23.814163539617716</c:v>
                </c:pt>
                <c:pt idx="4175">
                  <c:v>37.88391132024654</c:v>
                </c:pt>
                <c:pt idx="4176">
                  <c:v>26.840552527111253</c:v>
                </c:pt>
                <c:pt idx="4177">
                  <c:v>33.820712227102575</c:v>
                </c:pt>
                <c:pt idx="4178">
                  <c:v>39.699953283376928</c:v>
                </c:pt>
                <c:pt idx="4179">
                  <c:v>26.112683783750967</c:v>
                </c:pt>
                <c:pt idx="4180">
                  <c:v>41.477462397824283</c:v>
                </c:pt>
                <c:pt idx="4181">
                  <c:v>19.398780685031713</c:v>
                </c:pt>
                <c:pt idx="4182">
                  <c:v>42.626078612906625</c:v>
                </c:pt>
                <c:pt idx="4183">
                  <c:v>36.659802981377155</c:v>
                </c:pt>
                <c:pt idx="4184">
                  <c:v>23.438537027624037</c:v>
                </c:pt>
                <c:pt idx="4185">
                  <c:v>32.309133143277975</c:v>
                </c:pt>
                <c:pt idx="4186">
                  <c:v>25.760179288036639</c:v>
                </c:pt>
                <c:pt idx="4187">
                  <c:v>27.397164992604935</c:v>
                </c:pt>
                <c:pt idx="4188">
                  <c:v>21.967416056962861</c:v>
                </c:pt>
                <c:pt idx="4189">
                  <c:v>28.416818803745812</c:v>
                </c:pt>
                <c:pt idx="4190">
                  <c:v>25.595031922632941</c:v>
                </c:pt>
                <c:pt idx="4191">
                  <c:v>21.648790285449369</c:v>
                </c:pt>
                <c:pt idx="4192">
                  <c:v>19.764125704425059</c:v>
                </c:pt>
                <c:pt idx="4193">
                  <c:v>23.376020473785459</c:v>
                </c:pt>
                <c:pt idx="4194">
                  <c:v>27.160910024337412</c:v>
                </c:pt>
                <c:pt idx="4195">
                  <c:v>20.788015752716028</c:v>
                </c:pt>
                <c:pt idx="4196">
                  <c:v>34.467380686513451</c:v>
                </c:pt>
                <c:pt idx="4197">
                  <c:v>24.991598380524817</c:v>
                </c:pt>
                <c:pt idx="4198">
                  <c:v>53.926695039195764</c:v>
                </c:pt>
                <c:pt idx="4199">
                  <c:v>15.747201881522859</c:v>
                </c:pt>
                <c:pt idx="4200">
                  <c:v>27.041891372500494</c:v>
                </c:pt>
                <c:pt idx="4201">
                  <c:v>34.39633279725448</c:v>
                </c:pt>
                <c:pt idx="4202">
                  <c:v>44.084022824291154</c:v>
                </c:pt>
                <c:pt idx="4203">
                  <c:v>24.04886201136275</c:v>
                </c:pt>
                <c:pt idx="4204">
                  <c:v>24.362041735212557</c:v>
                </c:pt>
                <c:pt idx="4205">
                  <c:v>56.95809395728233</c:v>
                </c:pt>
                <c:pt idx="4206">
                  <c:v>27.478649746086845</c:v>
                </c:pt>
                <c:pt idx="4207">
                  <c:v>29.221597299845101</c:v>
                </c:pt>
                <c:pt idx="4208">
                  <c:v>34.036037964888401</c:v>
                </c:pt>
                <c:pt idx="4209">
                  <c:v>22.639278907288908</c:v>
                </c:pt>
                <c:pt idx="4210">
                  <c:v>47.189984189960924</c:v>
                </c:pt>
                <c:pt idx="4211">
                  <c:v>28.118139416734383</c:v>
                </c:pt>
                <c:pt idx="4212">
                  <c:v>26.112561967920392</c:v>
                </c:pt>
                <c:pt idx="4213">
                  <c:v>32.246670721677006</c:v>
                </c:pt>
                <c:pt idx="4214">
                  <c:v>26.047157886094702</c:v>
                </c:pt>
                <c:pt idx="4215">
                  <c:v>29.420015538096308</c:v>
                </c:pt>
                <c:pt idx="4216">
                  <c:v>46.830346149763905</c:v>
                </c:pt>
                <c:pt idx="4217">
                  <c:v>35.709744009763682</c:v>
                </c:pt>
                <c:pt idx="4218">
                  <c:v>26.777249663419397</c:v>
                </c:pt>
                <c:pt idx="4219">
                  <c:v>27.656378056046641</c:v>
                </c:pt>
                <c:pt idx="4220">
                  <c:v>27.007351625805441</c:v>
                </c:pt>
                <c:pt idx="4221">
                  <c:v>32.395624268272307</c:v>
                </c:pt>
                <c:pt idx="4222">
                  <c:v>27.691029390151655</c:v>
                </c:pt>
                <c:pt idx="4223">
                  <c:v>27.32275215858909</c:v>
                </c:pt>
                <c:pt idx="4224">
                  <c:v>32.620049899854401</c:v>
                </c:pt>
                <c:pt idx="4225">
                  <c:v>30.899765126467109</c:v>
                </c:pt>
                <c:pt idx="4226">
                  <c:v>42.026229027734153</c:v>
                </c:pt>
                <c:pt idx="4227">
                  <c:v>21.53607558798797</c:v>
                </c:pt>
                <c:pt idx="4228">
                  <c:v>41.12505540159308</c:v>
                </c:pt>
                <c:pt idx="4229">
                  <c:v>26.29186998789212</c:v>
                </c:pt>
                <c:pt idx="4230">
                  <c:v>47.265838849362851</c:v>
                </c:pt>
                <c:pt idx="4231">
                  <c:v>37.858032602286258</c:v>
                </c:pt>
                <c:pt idx="4232">
                  <c:v>31.402658272565848</c:v>
                </c:pt>
                <c:pt idx="4233">
                  <c:v>26.340653114276982</c:v>
                </c:pt>
                <c:pt idx="4234">
                  <c:v>20.891645940154252</c:v>
                </c:pt>
                <c:pt idx="4235">
                  <c:v>37.855529315014643</c:v>
                </c:pt>
                <c:pt idx="4236">
                  <c:v>24.214172257244307</c:v>
                </c:pt>
                <c:pt idx="4237">
                  <c:v>28.636638378058638</c:v>
                </c:pt>
                <c:pt idx="4238">
                  <c:v>27.804593031968142</c:v>
                </c:pt>
                <c:pt idx="4239">
                  <c:v>32.040022090045305</c:v>
                </c:pt>
                <c:pt idx="4240">
                  <c:v>33.076553561256802</c:v>
                </c:pt>
                <c:pt idx="4241">
                  <c:v>21.105419351237284</c:v>
                </c:pt>
                <c:pt idx="4242">
                  <c:v>33.269272465864667</c:v>
                </c:pt>
                <c:pt idx="4243">
                  <c:v>36.448713972247518</c:v>
                </c:pt>
                <c:pt idx="4244">
                  <c:v>24.879649086144866</c:v>
                </c:pt>
                <c:pt idx="4245">
                  <c:v>27.443211373601496</c:v>
                </c:pt>
                <c:pt idx="4246">
                  <c:v>29.171434483072463</c:v>
                </c:pt>
                <c:pt idx="4247">
                  <c:v>26.710708326428339</c:v>
                </c:pt>
                <c:pt idx="4248">
                  <c:v>37.989054794547343</c:v>
                </c:pt>
                <c:pt idx="4249">
                  <c:v>31.102658812617392</c:v>
                </c:pt>
                <c:pt idx="4250">
                  <c:v>52.753949767544547</c:v>
                </c:pt>
                <c:pt idx="4251">
                  <c:v>48.630939898895825</c:v>
                </c:pt>
                <c:pt idx="4252">
                  <c:v>22.267393429018774</c:v>
                </c:pt>
                <c:pt idx="4253">
                  <c:v>34.894548726071569</c:v>
                </c:pt>
                <c:pt idx="4254">
                  <c:v>25.030500582718744</c:v>
                </c:pt>
                <c:pt idx="4255">
                  <c:v>28.46724681886862</c:v>
                </c:pt>
                <c:pt idx="4256">
                  <c:v>24.26484952662247</c:v>
                </c:pt>
                <c:pt idx="4257">
                  <c:v>30.768424882581854</c:v>
                </c:pt>
                <c:pt idx="4258">
                  <c:v>54.747148734450001</c:v>
                </c:pt>
                <c:pt idx="4259">
                  <c:v>27.46190508164236</c:v>
                </c:pt>
                <c:pt idx="4260">
                  <c:v>40.03875860079377</c:v>
                </c:pt>
                <c:pt idx="4261">
                  <c:v>34.740272303494905</c:v>
                </c:pt>
                <c:pt idx="4262">
                  <c:v>63.667654013618701</c:v>
                </c:pt>
                <c:pt idx="4263">
                  <c:v>25.771680082355001</c:v>
                </c:pt>
                <c:pt idx="4264">
                  <c:v>46.92070828566272</c:v>
                </c:pt>
                <c:pt idx="4265">
                  <c:v>30.361578191668244</c:v>
                </c:pt>
                <c:pt idx="4266">
                  <c:v>25.454057307291027</c:v>
                </c:pt>
                <c:pt idx="4267">
                  <c:v>41.030785048838091</c:v>
                </c:pt>
                <c:pt idx="4268">
                  <c:v>25.766069201062553</c:v>
                </c:pt>
                <c:pt idx="4269">
                  <c:v>38.760400168459597</c:v>
                </c:pt>
                <c:pt idx="4270">
                  <c:v>19.011479629779956</c:v>
                </c:pt>
                <c:pt idx="4271">
                  <c:v>26.917246220389519</c:v>
                </c:pt>
                <c:pt idx="4272">
                  <c:v>30.092197908750421</c:v>
                </c:pt>
                <c:pt idx="4273">
                  <c:v>22.626528485783293</c:v>
                </c:pt>
                <c:pt idx="4274">
                  <c:v>48.446523875212904</c:v>
                </c:pt>
                <c:pt idx="4275">
                  <c:v>53.555469287699118</c:v>
                </c:pt>
                <c:pt idx="4276">
                  <c:v>26.769234480675522</c:v>
                </c:pt>
                <c:pt idx="4277">
                  <c:v>32.948301792545308</c:v>
                </c:pt>
                <c:pt idx="4278">
                  <c:v>23.634878677582737</c:v>
                </c:pt>
                <c:pt idx="4279">
                  <c:v>24.770989167840913</c:v>
                </c:pt>
                <c:pt idx="4280">
                  <c:v>43.195635376446944</c:v>
                </c:pt>
                <c:pt idx="4281">
                  <c:v>45.747140957467849</c:v>
                </c:pt>
                <c:pt idx="4282">
                  <c:v>54.433360653762691</c:v>
                </c:pt>
                <c:pt idx="4283">
                  <c:v>24.59787580085521</c:v>
                </c:pt>
                <c:pt idx="4284">
                  <c:v>53.31430070436901</c:v>
                </c:pt>
                <c:pt idx="4285">
                  <c:v>26.930391708540043</c:v>
                </c:pt>
                <c:pt idx="4286">
                  <c:v>22.613797715123329</c:v>
                </c:pt>
                <c:pt idx="4287">
                  <c:v>32.92825048973333</c:v>
                </c:pt>
                <c:pt idx="4288">
                  <c:v>39.162528470069049</c:v>
                </c:pt>
                <c:pt idx="4289">
                  <c:v>23.575186175724362</c:v>
                </c:pt>
                <c:pt idx="4290">
                  <c:v>26.238920243296079</c:v>
                </c:pt>
                <c:pt idx="4291">
                  <c:v>24.773541191401122</c:v>
                </c:pt>
                <c:pt idx="4292">
                  <c:v>33.30505023991465</c:v>
                </c:pt>
                <c:pt idx="4293">
                  <c:v>29.830843249970268</c:v>
                </c:pt>
                <c:pt idx="4294">
                  <c:v>45.23062491821257</c:v>
                </c:pt>
                <c:pt idx="4295">
                  <c:v>29.813602837623115</c:v>
                </c:pt>
                <c:pt idx="4296">
                  <c:v>30.446529187484003</c:v>
                </c:pt>
                <c:pt idx="4297">
                  <c:v>65.462098146482958</c:v>
                </c:pt>
                <c:pt idx="4298">
                  <c:v>64.011524615372792</c:v>
                </c:pt>
                <c:pt idx="4299">
                  <c:v>51.57382439321016</c:v>
                </c:pt>
                <c:pt idx="4300">
                  <c:v>41.166873276751517</c:v>
                </c:pt>
                <c:pt idx="4301">
                  <c:v>31.967418505691143</c:v>
                </c:pt>
                <c:pt idx="4302">
                  <c:v>21.027026235278001</c:v>
                </c:pt>
                <c:pt idx="4303">
                  <c:v>27.483608142592907</c:v>
                </c:pt>
                <c:pt idx="4304">
                  <c:v>51.390687010247845</c:v>
                </c:pt>
                <c:pt idx="4305">
                  <c:v>54.013319567277193</c:v>
                </c:pt>
                <c:pt idx="4306">
                  <c:v>21.706940923237909</c:v>
                </c:pt>
                <c:pt idx="4307">
                  <c:v>27.492237026098312</c:v>
                </c:pt>
                <c:pt idx="4308">
                  <c:v>29.094252014622988</c:v>
                </c:pt>
                <c:pt idx="4309">
                  <c:v>28.198788769854357</c:v>
                </c:pt>
                <c:pt idx="4310">
                  <c:v>21.104452011732185</c:v>
                </c:pt>
                <c:pt idx="4311">
                  <c:v>42.487537963269205</c:v>
                </c:pt>
                <c:pt idx="4312">
                  <c:v>19.99020419720058</c:v>
                </c:pt>
                <c:pt idx="4313">
                  <c:v>49.04706644851148</c:v>
                </c:pt>
                <c:pt idx="4314">
                  <c:v>22.964023324256349</c:v>
                </c:pt>
                <c:pt idx="4315">
                  <c:v>23.989844777877533</c:v>
                </c:pt>
                <c:pt idx="4316">
                  <c:v>28.011305439642257</c:v>
                </c:pt>
                <c:pt idx="4317">
                  <c:v>32.372478199620161</c:v>
                </c:pt>
                <c:pt idx="4318">
                  <c:v>27.304897686565688</c:v>
                </c:pt>
                <c:pt idx="4319">
                  <c:v>20.561729994269186</c:v>
                </c:pt>
                <c:pt idx="4320">
                  <c:v>40.193876574585275</c:v>
                </c:pt>
                <c:pt idx="4321">
                  <c:v>40.487676384553239</c:v>
                </c:pt>
                <c:pt idx="4322">
                  <c:v>25.524953481840527</c:v>
                </c:pt>
                <c:pt idx="4323">
                  <c:v>26.980848456661562</c:v>
                </c:pt>
                <c:pt idx="4324">
                  <c:v>23.043408218121851</c:v>
                </c:pt>
                <c:pt idx="4325">
                  <c:v>24.926880720117978</c:v>
                </c:pt>
                <c:pt idx="4326">
                  <c:v>35.393213371276218</c:v>
                </c:pt>
                <c:pt idx="4327">
                  <c:v>38.612270498756182</c:v>
                </c:pt>
                <c:pt idx="4328">
                  <c:v>31.992058271567124</c:v>
                </c:pt>
                <c:pt idx="4329">
                  <c:v>37.699584140658089</c:v>
                </c:pt>
                <c:pt idx="4330">
                  <c:v>25.086153001237157</c:v>
                </c:pt>
                <c:pt idx="4331">
                  <c:v>26.337929423449218</c:v>
                </c:pt>
                <c:pt idx="4332">
                  <c:v>46.533903376793923</c:v>
                </c:pt>
                <c:pt idx="4333">
                  <c:v>19.834335520071967</c:v>
                </c:pt>
                <c:pt idx="4334">
                  <c:v>27.216181002028236</c:v>
                </c:pt>
                <c:pt idx="4335">
                  <c:v>24.609962451849366</c:v>
                </c:pt>
                <c:pt idx="4336">
                  <c:v>26.386022517104578</c:v>
                </c:pt>
                <c:pt idx="4337">
                  <c:v>26.627251504114493</c:v>
                </c:pt>
                <c:pt idx="4338">
                  <c:v>23.847161723067238</c:v>
                </c:pt>
                <c:pt idx="4339">
                  <c:v>33.473658650495324</c:v>
                </c:pt>
                <c:pt idx="4340">
                  <c:v>24.035261899357266</c:v>
                </c:pt>
                <c:pt idx="4341">
                  <c:v>24.210119143410068</c:v>
                </c:pt>
                <c:pt idx="4342">
                  <c:v>42.153177254022147</c:v>
                </c:pt>
                <c:pt idx="4343">
                  <c:v>28.268358091521911</c:v>
                </c:pt>
                <c:pt idx="4344">
                  <c:v>36.682841573378838</c:v>
                </c:pt>
                <c:pt idx="4345">
                  <c:v>31.494608026604361</c:v>
                </c:pt>
                <c:pt idx="4346">
                  <c:v>30.778294447938702</c:v>
                </c:pt>
                <c:pt idx="4347">
                  <c:v>47.519192831474186</c:v>
                </c:pt>
                <c:pt idx="4348">
                  <c:v>36.440431712516073</c:v>
                </c:pt>
                <c:pt idx="4349">
                  <c:v>29.178098886577715</c:v>
                </c:pt>
                <c:pt idx="4350">
                  <c:v>29.237853581821415</c:v>
                </c:pt>
                <c:pt idx="4351">
                  <c:v>31.882455813958579</c:v>
                </c:pt>
                <c:pt idx="4352">
                  <c:v>57.162277823385118</c:v>
                </c:pt>
                <c:pt idx="4353">
                  <c:v>22.554043448350576</c:v>
                </c:pt>
                <c:pt idx="4354">
                  <c:v>44.441232244363732</c:v>
                </c:pt>
                <c:pt idx="4355">
                  <c:v>46.037136731845486</c:v>
                </c:pt>
                <c:pt idx="4356">
                  <c:v>21.993042628046449</c:v>
                </c:pt>
                <c:pt idx="4357">
                  <c:v>27.403550299496231</c:v>
                </c:pt>
                <c:pt idx="4358">
                  <c:v>23.328347963624985</c:v>
                </c:pt>
                <c:pt idx="4359">
                  <c:v>49.92209566393479</c:v>
                </c:pt>
                <c:pt idx="4360">
                  <c:v>22.622390716491743</c:v>
                </c:pt>
                <c:pt idx="4361">
                  <c:v>46.042756138739975</c:v>
                </c:pt>
                <c:pt idx="4362">
                  <c:v>33.902973347721051</c:v>
                </c:pt>
                <c:pt idx="4363">
                  <c:v>34.785277033698648</c:v>
                </c:pt>
                <c:pt idx="4364">
                  <c:v>39.925202168727296</c:v>
                </c:pt>
                <c:pt idx="4365">
                  <c:v>28.784390338940238</c:v>
                </c:pt>
                <c:pt idx="4366">
                  <c:v>51.099700264718912</c:v>
                </c:pt>
                <c:pt idx="4367">
                  <c:v>27.860742078670086</c:v>
                </c:pt>
                <c:pt idx="4368">
                  <c:v>25.653223613552065</c:v>
                </c:pt>
                <c:pt idx="4369">
                  <c:v>31.324176037583392</c:v>
                </c:pt>
                <c:pt idx="4370">
                  <c:v>29.080045954732476</c:v>
                </c:pt>
                <c:pt idx="4371">
                  <c:v>33.752346181572484</c:v>
                </c:pt>
                <c:pt idx="4372">
                  <c:v>26.073421882838232</c:v>
                </c:pt>
                <c:pt idx="4373">
                  <c:v>28.184138172609579</c:v>
                </c:pt>
                <c:pt idx="4374">
                  <c:v>29.795247890230712</c:v>
                </c:pt>
                <c:pt idx="4375">
                  <c:v>45.341627429246657</c:v>
                </c:pt>
                <c:pt idx="4376">
                  <c:v>28.288500511058455</c:v>
                </c:pt>
                <c:pt idx="4377">
                  <c:v>24.321472717876304</c:v>
                </c:pt>
                <c:pt idx="4378">
                  <c:v>36.529510728419659</c:v>
                </c:pt>
                <c:pt idx="4379">
                  <c:v>23.395896321967083</c:v>
                </c:pt>
                <c:pt idx="4380">
                  <c:v>18.491160263127632</c:v>
                </c:pt>
                <c:pt idx="4381">
                  <c:v>23.940609960114415</c:v>
                </c:pt>
                <c:pt idx="4382">
                  <c:v>30.244331679896252</c:v>
                </c:pt>
                <c:pt idx="4383">
                  <c:v>23.135983079325033</c:v>
                </c:pt>
                <c:pt idx="4384">
                  <c:v>47.644091728818182</c:v>
                </c:pt>
                <c:pt idx="4385">
                  <c:v>32.681202364173046</c:v>
                </c:pt>
                <c:pt idx="4386">
                  <c:v>52.99212023302784</c:v>
                </c:pt>
                <c:pt idx="4387">
                  <c:v>24.487844318698031</c:v>
                </c:pt>
                <c:pt idx="4388">
                  <c:v>47.997011982332069</c:v>
                </c:pt>
                <c:pt idx="4389">
                  <c:v>32.655504230922567</c:v>
                </c:pt>
                <c:pt idx="4390">
                  <c:v>21.340379836780734</c:v>
                </c:pt>
                <c:pt idx="4391">
                  <c:v>24.066098251076905</c:v>
                </c:pt>
                <c:pt idx="4392">
                  <c:v>47.262701586382285</c:v>
                </c:pt>
                <c:pt idx="4393">
                  <c:v>24.049094848814768</c:v>
                </c:pt>
                <c:pt idx="4394">
                  <c:v>50.254211688468544</c:v>
                </c:pt>
                <c:pt idx="4395">
                  <c:v>43.58987905494628</c:v>
                </c:pt>
                <c:pt idx="4396">
                  <c:v>30.359487106756209</c:v>
                </c:pt>
                <c:pt idx="4397">
                  <c:v>32.14614942646007</c:v>
                </c:pt>
                <c:pt idx="4398">
                  <c:v>27.518184110022819</c:v>
                </c:pt>
                <c:pt idx="4399">
                  <c:v>28.548450852919615</c:v>
                </c:pt>
                <c:pt idx="4400">
                  <c:v>23.018965894576134</c:v>
                </c:pt>
                <c:pt idx="4401">
                  <c:v>28.682769236014238</c:v>
                </c:pt>
                <c:pt idx="4402">
                  <c:v>19.986287899100468</c:v>
                </c:pt>
                <c:pt idx="4403">
                  <c:v>19.570218830048141</c:v>
                </c:pt>
                <c:pt idx="4404">
                  <c:v>59.552893841317349</c:v>
                </c:pt>
                <c:pt idx="4405">
                  <c:v>52.600217430021623</c:v>
                </c:pt>
                <c:pt idx="4406">
                  <c:v>24.03944254483714</c:v>
                </c:pt>
                <c:pt idx="4407">
                  <c:v>30.472664739319054</c:v>
                </c:pt>
                <c:pt idx="4408">
                  <c:v>47.778422123000929</c:v>
                </c:pt>
                <c:pt idx="4409">
                  <c:v>50.850717433969223</c:v>
                </c:pt>
                <c:pt idx="4410">
                  <c:v>51.383713341050218</c:v>
                </c:pt>
                <c:pt idx="4411">
                  <c:v>22.4832551051975</c:v>
                </c:pt>
                <c:pt idx="4412">
                  <c:v>41.236775390766795</c:v>
                </c:pt>
                <c:pt idx="4413">
                  <c:v>35.677299861139254</c:v>
                </c:pt>
                <c:pt idx="4414">
                  <c:v>28.538633741598755</c:v>
                </c:pt>
                <c:pt idx="4415">
                  <c:v>50.171062892988111</c:v>
                </c:pt>
                <c:pt idx="4416">
                  <c:v>30.018448721624097</c:v>
                </c:pt>
                <c:pt idx="4417">
                  <c:v>25.638830437975987</c:v>
                </c:pt>
                <c:pt idx="4418">
                  <c:v>31.578333155577614</c:v>
                </c:pt>
                <c:pt idx="4419">
                  <c:v>40.006992895238078</c:v>
                </c:pt>
                <c:pt idx="4420">
                  <c:v>16.73396870896552</c:v>
                </c:pt>
                <c:pt idx="4421">
                  <c:v>23.654955149468101</c:v>
                </c:pt>
                <c:pt idx="4422">
                  <c:v>34.265833617166408</c:v>
                </c:pt>
                <c:pt idx="4423">
                  <c:v>34.050853062057087</c:v>
                </c:pt>
                <c:pt idx="4424">
                  <c:v>31.086835373986265</c:v>
                </c:pt>
                <c:pt idx="4425">
                  <c:v>34.194711821449324</c:v>
                </c:pt>
                <c:pt idx="4426">
                  <c:v>26.782785235493183</c:v>
                </c:pt>
                <c:pt idx="4427">
                  <c:v>23.751219184175884</c:v>
                </c:pt>
                <c:pt idx="4428">
                  <c:v>22.09470977503462</c:v>
                </c:pt>
                <c:pt idx="4429">
                  <c:v>34.907564402157156</c:v>
                </c:pt>
                <c:pt idx="4430">
                  <c:v>32.463027724301142</c:v>
                </c:pt>
                <c:pt idx="4431">
                  <c:v>36.381433808851156</c:v>
                </c:pt>
                <c:pt idx="4432">
                  <c:v>31.539450084807118</c:v>
                </c:pt>
                <c:pt idx="4433">
                  <c:v>28.504643576071384</c:v>
                </c:pt>
                <c:pt idx="4434">
                  <c:v>28.369598563586521</c:v>
                </c:pt>
                <c:pt idx="4435">
                  <c:v>53.297472597169261</c:v>
                </c:pt>
                <c:pt idx="4436">
                  <c:v>21.459036709201488</c:v>
                </c:pt>
                <c:pt idx="4437">
                  <c:v>20.25071905554811</c:v>
                </c:pt>
                <c:pt idx="4438">
                  <c:v>30.685437382940915</c:v>
                </c:pt>
                <c:pt idx="4439">
                  <c:v>23.262799266273692</c:v>
                </c:pt>
                <c:pt idx="4440">
                  <c:v>24.758934629556975</c:v>
                </c:pt>
                <c:pt idx="4441">
                  <c:v>27.861246038352981</c:v>
                </c:pt>
                <c:pt idx="4442">
                  <c:v>22.51350925808044</c:v>
                </c:pt>
                <c:pt idx="4443">
                  <c:v>30.188143679759147</c:v>
                </c:pt>
                <c:pt idx="4444">
                  <c:v>29.0990387461427</c:v>
                </c:pt>
                <c:pt idx="4445">
                  <c:v>57.279861696629744</c:v>
                </c:pt>
                <c:pt idx="4446">
                  <c:v>21.807160188802335</c:v>
                </c:pt>
                <c:pt idx="4447">
                  <c:v>28.15095624257938</c:v>
                </c:pt>
                <c:pt idx="4448">
                  <c:v>23.848223553025448</c:v>
                </c:pt>
                <c:pt idx="4449">
                  <c:v>47.443773304400175</c:v>
                </c:pt>
                <c:pt idx="4450">
                  <c:v>31.973874247793212</c:v>
                </c:pt>
                <c:pt idx="4451">
                  <c:v>28.008966526476407</c:v>
                </c:pt>
                <c:pt idx="4452">
                  <c:v>50.516811238387227</c:v>
                </c:pt>
                <c:pt idx="4453">
                  <c:v>26.820857551710709</c:v>
                </c:pt>
                <c:pt idx="4454">
                  <c:v>41.55454204369898</c:v>
                </c:pt>
                <c:pt idx="4455">
                  <c:v>24.045586863236487</c:v>
                </c:pt>
                <c:pt idx="4456">
                  <c:v>56.420632112729585</c:v>
                </c:pt>
                <c:pt idx="4457">
                  <c:v>18.609940832909246</c:v>
                </c:pt>
                <c:pt idx="4458">
                  <c:v>24.611287241817905</c:v>
                </c:pt>
                <c:pt idx="4459">
                  <c:v>44.42184592744389</c:v>
                </c:pt>
                <c:pt idx="4460">
                  <c:v>49.54780614319526</c:v>
                </c:pt>
                <c:pt idx="4461">
                  <c:v>55.776951242506485</c:v>
                </c:pt>
                <c:pt idx="4462">
                  <c:v>31.013560769831592</c:v>
                </c:pt>
                <c:pt idx="4463">
                  <c:v>21.356944726897009</c:v>
                </c:pt>
                <c:pt idx="4464">
                  <c:v>23.935430966336956</c:v>
                </c:pt>
                <c:pt idx="4465">
                  <c:v>25.923001938823759</c:v>
                </c:pt>
                <c:pt idx="4466">
                  <c:v>26.853489101686904</c:v>
                </c:pt>
                <c:pt idx="4467">
                  <c:v>26.607817654245995</c:v>
                </c:pt>
                <c:pt idx="4468">
                  <c:v>43.718023135730689</c:v>
                </c:pt>
                <c:pt idx="4469">
                  <c:v>24.248585249381676</c:v>
                </c:pt>
                <c:pt idx="4470">
                  <c:v>43.309924837156757</c:v>
                </c:pt>
                <c:pt idx="4471">
                  <c:v>45.081216145597708</c:v>
                </c:pt>
                <c:pt idx="4472">
                  <c:v>35.557830421075764</c:v>
                </c:pt>
                <c:pt idx="4473">
                  <c:v>29.145299202732929</c:v>
                </c:pt>
                <c:pt idx="4474">
                  <c:v>24.097919207513574</c:v>
                </c:pt>
                <c:pt idx="4475">
                  <c:v>45.901070532511248</c:v>
                </c:pt>
                <c:pt idx="4476">
                  <c:v>30.605535983327901</c:v>
                </c:pt>
                <c:pt idx="4477">
                  <c:v>39.291174330469303</c:v>
                </c:pt>
                <c:pt idx="4478">
                  <c:v>30.14925045493203</c:v>
                </c:pt>
                <c:pt idx="4479">
                  <c:v>38.882194866080766</c:v>
                </c:pt>
                <c:pt idx="4480">
                  <c:v>25.425479255312137</c:v>
                </c:pt>
                <c:pt idx="4481">
                  <c:v>27.212792744238314</c:v>
                </c:pt>
                <c:pt idx="4482">
                  <c:v>28.463523620447109</c:v>
                </c:pt>
                <c:pt idx="4483">
                  <c:v>48.157367404104171</c:v>
                </c:pt>
                <c:pt idx="4484">
                  <c:v>28.417906042896483</c:v>
                </c:pt>
                <c:pt idx="4485">
                  <c:v>21.75127655671519</c:v>
                </c:pt>
                <c:pt idx="4486">
                  <c:v>22.150704305903641</c:v>
                </c:pt>
                <c:pt idx="4487">
                  <c:v>25.642958636484089</c:v>
                </c:pt>
                <c:pt idx="4488">
                  <c:v>25.819726529056958</c:v>
                </c:pt>
                <c:pt idx="4489">
                  <c:v>35.256455877616837</c:v>
                </c:pt>
                <c:pt idx="4490">
                  <c:v>48.259329365329975</c:v>
                </c:pt>
                <c:pt idx="4491">
                  <c:v>26.215886877260598</c:v>
                </c:pt>
                <c:pt idx="4492">
                  <c:v>28.363628246142639</c:v>
                </c:pt>
                <c:pt idx="4493">
                  <c:v>19.459040412844065</c:v>
                </c:pt>
                <c:pt idx="4494">
                  <c:v>32.070980361198636</c:v>
                </c:pt>
                <c:pt idx="4495">
                  <c:v>23.500871119299571</c:v>
                </c:pt>
                <c:pt idx="4496">
                  <c:v>23.100308909683228</c:v>
                </c:pt>
                <c:pt idx="4497">
                  <c:v>28.936997513617502</c:v>
                </c:pt>
                <c:pt idx="4498">
                  <c:v>27.629697807640198</c:v>
                </c:pt>
                <c:pt idx="4499">
                  <c:v>25.575624541525222</c:v>
                </c:pt>
                <c:pt idx="4500">
                  <c:v>36.519097347304573</c:v>
                </c:pt>
                <c:pt idx="4501">
                  <c:v>24.878810086540145</c:v>
                </c:pt>
                <c:pt idx="4502">
                  <c:v>41.311935611145884</c:v>
                </c:pt>
                <c:pt idx="4503">
                  <c:v>32.732164178504576</c:v>
                </c:pt>
                <c:pt idx="4504">
                  <c:v>27.224045221431634</c:v>
                </c:pt>
                <c:pt idx="4505">
                  <c:v>54.459185044967754</c:v>
                </c:pt>
                <c:pt idx="4506">
                  <c:v>41.062049400621497</c:v>
                </c:pt>
                <c:pt idx="4507">
                  <c:v>29.854773231445236</c:v>
                </c:pt>
                <c:pt idx="4508">
                  <c:v>24.796612588726752</c:v>
                </c:pt>
                <c:pt idx="4509">
                  <c:v>23.1556739399674</c:v>
                </c:pt>
                <c:pt idx="4510">
                  <c:v>24.402165823259903</c:v>
                </c:pt>
                <c:pt idx="4511">
                  <c:v>28.614295969329213</c:v>
                </c:pt>
                <c:pt idx="4512">
                  <c:v>35.365029468254768</c:v>
                </c:pt>
                <c:pt idx="4513">
                  <c:v>32.918292738129757</c:v>
                </c:pt>
                <c:pt idx="4514">
                  <c:v>23.138709558128475</c:v>
                </c:pt>
                <c:pt idx="4515">
                  <c:v>37.865659670005051</c:v>
                </c:pt>
                <c:pt idx="4516">
                  <c:v>54.016746096377673</c:v>
                </c:pt>
                <c:pt idx="4517">
                  <c:v>41.201018983346984</c:v>
                </c:pt>
                <c:pt idx="4518">
                  <c:v>34.499273117820721</c:v>
                </c:pt>
                <c:pt idx="4519">
                  <c:v>15.304681746633204</c:v>
                </c:pt>
                <c:pt idx="4520">
                  <c:v>31.193223771621067</c:v>
                </c:pt>
                <c:pt idx="4521">
                  <c:v>19.947964975697875</c:v>
                </c:pt>
                <c:pt idx="4522">
                  <c:v>54.430198190836158</c:v>
                </c:pt>
                <c:pt idx="4523">
                  <c:v>36.622340493693954</c:v>
                </c:pt>
                <c:pt idx="4524">
                  <c:v>34.875191809607202</c:v>
                </c:pt>
                <c:pt idx="4525">
                  <c:v>34.282232194665006</c:v>
                </c:pt>
                <c:pt idx="4526">
                  <c:v>26.161452968699706</c:v>
                </c:pt>
                <c:pt idx="4527">
                  <c:v>31.498665502941634</c:v>
                </c:pt>
                <c:pt idx="4528">
                  <c:v>25.80541442264612</c:v>
                </c:pt>
                <c:pt idx="4529">
                  <c:v>17.005126867974166</c:v>
                </c:pt>
                <c:pt idx="4530">
                  <c:v>49.724188640548796</c:v>
                </c:pt>
                <c:pt idx="4531">
                  <c:v>37.214325342354229</c:v>
                </c:pt>
                <c:pt idx="4532">
                  <c:v>26.792982478950478</c:v>
                </c:pt>
                <c:pt idx="4533">
                  <c:v>29.86228317211442</c:v>
                </c:pt>
                <c:pt idx="4534">
                  <c:v>56.816847504551525</c:v>
                </c:pt>
                <c:pt idx="4535">
                  <c:v>24.234340979380065</c:v>
                </c:pt>
                <c:pt idx="4536">
                  <c:v>30.513950296808421</c:v>
                </c:pt>
                <c:pt idx="4537">
                  <c:v>31.329708467911772</c:v>
                </c:pt>
                <c:pt idx="4538">
                  <c:v>27.661585600020018</c:v>
                </c:pt>
                <c:pt idx="4539">
                  <c:v>24.633018142502859</c:v>
                </c:pt>
                <c:pt idx="4540">
                  <c:v>23.612155499974691</c:v>
                </c:pt>
                <c:pt idx="4541">
                  <c:v>54.724125917928134</c:v>
                </c:pt>
                <c:pt idx="4542">
                  <c:v>29.019664393853418</c:v>
                </c:pt>
                <c:pt idx="4543">
                  <c:v>24.887213140754795</c:v>
                </c:pt>
                <c:pt idx="4544">
                  <c:v>46.38788949927158</c:v>
                </c:pt>
                <c:pt idx="4545">
                  <c:v>27.509302936084932</c:v>
                </c:pt>
                <c:pt idx="4546">
                  <c:v>35.574734825668045</c:v>
                </c:pt>
                <c:pt idx="4547">
                  <c:v>28.001328766428045</c:v>
                </c:pt>
                <c:pt idx="4548">
                  <c:v>16.786147356002136</c:v>
                </c:pt>
                <c:pt idx="4549">
                  <c:v>27.264069651511377</c:v>
                </c:pt>
                <c:pt idx="4550">
                  <c:v>30.861659577695313</c:v>
                </c:pt>
                <c:pt idx="4551">
                  <c:v>27.040575941559997</c:v>
                </c:pt>
                <c:pt idx="4552">
                  <c:v>25.754251205706179</c:v>
                </c:pt>
                <c:pt idx="4553">
                  <c:v>49.443579834876232</c:v>
                </c:pt>
                <c:pt idx="4554">
                  <c:v>36.58044816907509</c:v>
                </c:pt>
                <c:pt idx="4555">
                  <c:v>41.205392094642271</c:v>
                </c:pt>
                <c:pt idx="4556">
                  <c:v>44.094717669661705</c:v>
                </c:pt>
                <c:pt idx="4557">
                  <c:v>18.532023286541992</c:v>
                </c:pt>
                <c:pt idx="4558">
                  <c:v>28.496467958412492</c:v>
                </c:pt>
                <c:pt idx="4559">
                  <c:v>35.054999219328316</c:v>
                </c:pt>
                <c:pt idx="4560">
                  <c:v>26.993872615850702</c:v>
                </c:pt>
                <c:pt idx="4561">
                  <c:v>32.073209548159241</c:v>
                </c:pt>
                <c:pt idx="4562">
                  <c:v>40.995475775778843</c:v>
                </c:pt>
                <c:pt idx="4563">
                  <c:v>29.770257363202855</c:v>
                </c:pt>
                <c:pt idx="4564">
                  <c:v>25.269950071094271</c:v>
                </c:pt>
                <c:pt idx="4565">
                  <c:v>53.327532604755703</c:v>
                </c:pt>
                <c:pt idx="4566">
                  <c:v>23.323592505804708</c:v>
                </c:pt>
                <c:pt idx="4567">
                  <c:v>26.512779247057171</c:v>
                </c:pt>
                <c:pt idx="4568">
                  <c:v>56.065286790999977</c:v>
                </c:pt>
                <c:pt idx="4569">
                  <c:v>33.046405663257971</c:v>
                </c:pt>
                <c:pt idx="4570">
                  <c:v>26.073717854277103</c:v>
                </c:pt>
                <c:pt idx="4571">
                  <c:v>43.928595741753988</c:v>
                </c:pt>
                <c:pt idx="4572">
                  <c:v>20.309327449724108</c:v>
                </c:pt>
                <c:pt idx="4573">
                  <c:v>31.866495961173719</c:v>
                </c:pt>
                <c:pt idx="4574">
                  <c:v>27.595500705929126</c:v>
                </c:pt>
                <c:pt idx="4575">
                  <c:v>55.693551886522847</c:v>
                </c:pt>
                <c:pt idx="4576">
                  <c:v>29.198979331930094</c:v>
                </c:pt>
                <c:pt idx="4577">
                  <c:v>21.862877927214655</c:v>
                </c:pt>
                <c:pt idx="4578">
                  <c:v>22.314909846115448</c:v>
                </c:pt>
                <c:pt idx="4579">
                  <c:v>25.877932106009332</c:v>
                </c:pt>
                <c:pt idx="4580">
                  <c:v>35.926661268399769</c:v>
                </c:pt>
                <c:pt idx="4581">
                  <c:v>27.628560923943127</c:v>
                </c:pt>
                <c:pt idx="4582">
                  <c:v>39.807344467181437</c:v>
                </c:pt>
                <c:pt idx="4583">
                  <c:v>31.526567043488363</c:v>
                </c:pt>
                <c:pt idx="4584">
                  <c:v>40.809626123625186</c:v>
                </c:pt>
                <c:pt idx="4585">
                  <c:v>24.887657947192075</c:v>
                </c:pt>
                <c:pt idx="4586">
                  <c:v>22.41104869760202</c:v>
                </c:pt>
                <c:pt idx="4587">
                  <c:v>34.660098944723281</c:v>
                </c:pt>
                <c:pt idx="4588">
                  <c:v>45.470089868633067</c:v>
                </c:pt>
                <c:pt idx="4589">
                  <c:v>35.175342980157431</c:v>
                </c:pt>
                <c:pt idx="4590">
                  <c:v>29.74651070397347</c:v>
                </c:pt>
                <c:pt idx="4591">
                  <c:v>23.075278927806153</c:v>
                </c:pt>
                <c:pt idx="4592">
                  <c:v>25.599829210914411</c:v>
                </c:pt>
                <c:pt idx="4593">
                  <c:v>30.936156273435959</c:v>
                </c:pt>
                <c:pt idx="4594">
                  <c:v>27.15246846766702</c:v>
                </c:pt>
                <c:pt idx="4595">
                  <c:v>40.424668517359763</c:v>
                </c:pt>
                <c:pt idx="4596">
                  <c:v>48.478215802212404</c:v>
                </c:pt>
                <c:pt idx="4597">
                  <c:v>19.315029092633015</c:v>
                </c:pt>
                <c:pt idx="4598">
                  <c:v>26.785264804532513</c:v>
                </c:pt>
                <c:pt idx="4599">
                  <c:v>27.229392681338229</c:v>
                </c:pt>
                <c:pt idx="4600">
                  <c:v>30.150625159853085</c:v>
                </c:pt>
                <c:pt idx="4601">
                  <c:v>65.196070556977119</c:v>
                </c:pt>
                <c:pt idx="4602">
                  <c:v>48.538352405766204</c:v>
                </c:pt>
                <c:pt idx="4603">
                  <c:v>27.744192333970016</c:v>
                </c:pt>
                <c:pt idx="4604">
                  <c:v>30.071885016349913</c:v>
                </c:pt>
                <c:pt idx="4605">
                  <c:v>20.327224770329938</c:v>
                </c:pt>
                <c:pt idx="4606">
                  <c:v>45.439518909840771</c:v>
                </c:pt>
                <c:pt idx="4607">
                  <c:v>23.965516623381969</c:v>
                </c:pt>
                <c:pt idx="4608">
                  <c:v>25.456414593418366</c:v>
                </c:pt>
                <c:pt idx="4609">
                  <c:v>24.924153967730369</c:v>
                </c:pt>
                <c:pt idx="4610">
                  <c:v>33.574633451310248</c:v>
                </c:pt>
                <c:pt idx="4611">
                  <c:v>20.829390388653103</c:v>
                </c:pt>
                <c:pt idx="4612">
                  <c:v>30.276944457595462</c:v>
                </c:pt>
                <c:pt idx="4613">
                  <c:v>29.093141702138709</c:v>
                </c:pt>
                <c:pt idx="4614">
                  <c:v>17.739597212991495</c:v>
                </c:pt>
                <c:pt idx="4615">
                  <c:v>25.081026536975415</c:v>
                </c:pt>
                <c:pt idx="4616">
                  <c:v>17.195423381778301</c:v>
                </c:pt>
                <c:pt idx="4617">
                  <c:v>33.794490793096422</c:v>
                </c:pt>
                <c:pt idx="4618">
                  <c:v>30.414142374000729</c:v>
                </c:pt>
                <c:pt idx="4619">
                  <c:v>22.191650655757279</c:v>
                </c:pt>
                <c:pt idx="4620">
                  <c:v>25.942903609759796</c:v>
                </c:pt>
                <c:pt idx="4621">
                  <c:v>33.191413876411829</c:v>
                </c:pt>
                <c:pt idx="4622">
                  <c:v>21.891043989780091</c:v>
                </c:pt>
                <c:pt idx="4623">
                  <c:v>28.110811963877026</c:v>
                </c:pt>
                <c:pt idx="4624">
                  <c:v>43.995833086031809</c:v>
                </c:pt>
                <c:pt idx="4625">
                  <c:v>35.032844264520101</c:v>
                </c:pt>
                <c:pt idx="4626">
                  <c:v>48.769744555965282</c:v>
                </c:pt>
                <c:pt idx="4627">
                  <c:v>25.557805780630492</c:v>
                </c:pt>
                <c:pt idx="4628">
                  <c:v>32.804729948128092</c:v>
                </c:pt>
                <c:pt idx="4629">
                  <c:v>31.211318444496403</c:v>
                </c:pt>
                <c:pt idx="4630">
                  <c:v>24.131841842179053</c:v>
                </c:pt>
                <c:pt idx="4631">
                  <c:v>27.576374834548417</c:v>
                </c:pt>
                <c:pt idx="4632">
                  <c:v>44.51122399821638</c:v>
                </c:pt>
                <c:pt idx="4633">
                  <c:v>28.990114810604336</c:v>
                </c:pt>
                <c:pt idx="4634">
                  <c:v>32.911243296738846</c:v>
                </c:pt>
                <c:pt idx="4635">
                  <c:v>22.022658572197109</c:v>
                </c:pt>
                <c:pt idx="4636">
                  <c:v>52.552494872932257</c:v>
                </c:pt>
                <c:pt idx="4637">
                  <c:v>26.06641150386902</c:v>
                </c:pt>
                <c:pt idx="4638">
                  <c:v>39.556124754273519</c:v>
                </c:pt>
                <c:pt idx="4639">
                  <c:v>24.483000410338072</c:v>
                </c:pt>
                <c:pt idx="4640">
                  <c:v>23.98972210842129</c:v>
                </c:pt>
                <c:pt idx="4641">
                  <c:v>31.046179004893492</c:v>
                </c:pt>
                <c:pt idx="4642">
                  <c:v>49.399252626804582</c:v>
                </c:pt>
                <c:pt idx="4643">
                  <c:v>23.379037100681508</c:v>
                </c:pt>
                <c:pt idx="4644">
                  <c:v>26.850648489671194</c:v>
                </c:pt>
                <c:pt idx="4645">
                  <c:v>30.91956365514887</c:v>
                </c:pt>
                <c:pt idx="4646">
                  <c:v>25.543525326571249</c:v>
                </c:pt>
                <c:pt idx="4647">
                  <c:v>23.492543268229838</c:v>
                </c:pt>
                <c:pt idx="4648">
                  <c:v>26.569943988772405</c:v>
                </c:pt>
                <c:pt idx="4649">
                  <c:v>49.489531692313683</c:v>
                </c:pt>
                <c:pt idx="4650">
                  <c:v>25.953169107347957</c:v>
                </c:pt>
                <c:pt idx="4651">
                  <c:v>21.494881393609241</c:v>
                </c:pt>
                <c:pt idx="4652">
                  <c:v>23.55053826221954</c:v>
                </c:pt>
                <c:pt idx="4653">
                  <c:v>47.632334061879661</c:v>
                </c:pt>
                <c:pt idx="4654">
                  <c:v>26.935550805365974</c:v>
                </c:pt>
                <c:pt idx="4655">
                  <c:v>50.861206458522538</c:v>
                </c:pt>
                <c:pt idx="4656">
                  <c:v>35.962889321513956</c:v>
                </c:pt>
                <c:pt idx="4657">
                  <c:v>25.88844469066855</c:v>
                </c:pt>
                <c:pt idx="4658">
                  <c:v>31.080514629480266</c:v>
                </c:pt>
                <c:pt idx="4659">
                  <c:v>36.752422752356857</c:v>
                </c:pt>
                <c:pt idx="4660">
                  <c:v>28.356262275636269</c:v>
                </c:pt>
                <c:pt idx="4661">
                  <c:v>31.089810325870197</c:v>
                </c:pt>
                <c:pt idx="4662">
                  <c:v>18.728118924403315</c:v>
                </c:pt>
                <c:pt idx="4663">
                  <c:v>36.535874538324315</c:v>
                </c:pt>
                <c:pt idx="4664">
                  <c:v>45.016469210949872</c:v>
                </c:pt>
                <c:pt idx="4665">
                  <c:v>36.986758962233552</c:v>
                </c:pt>
                <c:pt idx="4666">
                  <c:v>49.84732988564361</c:v>
                </c:pt>
                <c:pt idx="4667">
                  <c:v>43.090060830092014</c:v>
                </c:pt>
                <c:pt idx="4668">
                  <c:v>29.442226393947948</c:v>
                </c:pt>
                <c:pt idx="4669">
                  <c:v>19.078706349249423</c:v>
                </c:pt>
                <c:pt idx="4670">
                  <c:v>25.666822475444405</c:v>
                </c:pt>
                <c:pt idx="4671">
                  <c:v>28.085472247641505</c:v>
                </c:pt>
                <c:pt idx="4672">
                  <c:v>29.329460065635381</c:v>
                </c:pt>
                <c:pt idx="4673">
                  <c:v>29.201630997115053</c:v>
                </c:pt>
                <c:pt idx="4674">
                  <c:v>36.201591750840528</c:v>
                </c:pt>
                <c:pt idx="4675">
                  <c:v>22.632135368600842</c:v>
                </c:pt>
                <c:pt idx="4676">
                  <c:v>26.077324737021712</c:v>
                </c:pt>
                <c:pt idx="4677">
                  <c:v>34.672502283176627</c:v>
                </c:pt>
                <c:pt idx="4678">
                  <c:v>27.56938342654891</c:v>
                </c:pt>
                <c:pt idx="4679">
                  <c:v>34.562417372697112</c:v>
                </c:pt>
                <c:pt idx="4680">
                  <c:v>21.908919329994916</c:v>
                </c:pt>
                <c:pt idx="4681">
                  <c:v>28.647769638912212</c:v>
                </c:pt>
                <c:pt idx="4682">
                  <c:v>28.73060784653158</c:v>
                </c:pt>
                <c:pt idx="4683">
                  <c:v>19.173478649992585</c:v>
                </c:pt>
                <c:pt idx="4684">
                  <c:v>27.524351702992064</c:v>
                </c:pt>
                <c:pt idx="4685">
                  <c:v>38.244188454791527</c:v>
                </c:pt>
                <c:pt idx="4686">
                  <c:v>29.50873716132903</c:v>
                </c:pt>
                <c:pt idx="4687">
                  <c:v>27.901506343663833</c:v>
                </c:pt>
                <c:pt idx="4688">
                  <c:v>45.559093496041228</c:v>
                </c:pt>
                <c:pt idx="4689">
                  <c:v>26.41116352451634</c:v>
                </c:pt>
                <c:pt idx="4690">
                  <c:v>22.081671137047007</c:v>
                </c:pt>
                <c:pt idx="4691">
                  <c:v>22.063862605924612</c:v>
                </c:pt>
                <c:pt idx="4692">
                  <c:v>29.464086490181039</c:v>
                </c:pt>
                <c:pt idx="4693">
                  <c:v>40.18769594285088</c:v>
                </c:pt>
                <c:pt idx="4694">
                  <c:v>30.543422541513266</c:v>
                </c:pt>
                <c:pt idx="4695">
                  <c:v>37.809992885527294</c:v>
                </c:pt>
                <c:pt idx="4696">
                  <c:v>19.328870505504831</c:v>
                </c:pt>
                <c:pt idx="4697">
                  <c:v>44.422631034725889</c:v>
                </c:pt>
                <c:pt idx="4698">
                  <c:v>39.630007455330698</c:v>
                </c:pt>
                <c:pt idx="4699">
                  <c:v>31.906517891180403</c:v>
                </c:pt>
                <c:pt idx="4700">
                  <c:v>48.252537644062144</c:v>
                </c:pt>
                <c:pt idx="4701">
                  <c:v>49.991855342548334</c:v>
                </c:pt>
                <c:pt idx="4702">
                  <c:v>23.464589301730676</c:v>
                </c:pt>
                <c:pt idx="4703">
                  <c:v>24.172178502639404</c:v>
                </c:pt>
                <c:pt idx="4704">
                  <c:v>41.939103818991939</c:v>
                </c:pt>
                <c:pt idx="4705">
                  <c:v>22.706721701226691</c:v>
                </c:pt>
                <c:pt idx="4706">
                  <c:v>44.289092500175201</c:v>
                </c:pt>
                <c:pt idx="4707">
                  <c:v>25.332783118519114</c:v>
                </c:pt>
                <c:pt idx="4708">
                  <c:v>22.242664630295408</c:v>
                </c:pt>
                <c:pt idx="4709">
                  <c:v>47.371660521030755</c:v>
                </c:pt>
                <c:pt idx="4710">
                  <c:v>53.240533796052169</c:v>
                </c:pt>
                <c:pt idx="4711">
                  <c:v>27.878448452695373</c:v>
                </c:pt>
                <c:pt idx="4712">
                  <c:v>26.495298602419144</c:v>
                </c:pt>
                <c:pt idx="4713">
                  <c:v>24.293225533017431</c:v>
                </c:pt>
                <c:pt idx="4714">
                  <c:v>27.126215700153374</c:v>
                </c:pt>
                <c:pt idx="4715">
                  <c:v>29.032298866782774</c:v>
                </c:pt>
                <c:pt idx="4716">
                  <c:v>52.732431425564407</c:v>
                </c:pt>
                <c:pt idx="4717">
                  <c:v>54.002220510489515</c:v>
                </c:pt>
                <c:pt idx="4718">
                  <c:v>29.383654871184618</c:v>
                </c:pt>
                <c:pt idx="4719">
                  <c:v>31.527623283716611</c:v>
                </c:pt>
                <c:pt idx="4720">
                  <c:v>23.72807854295003</c:v>
                </c:pt>
                <c:pt idx="4721">
                  <c:v>18.459605513908411</c:v>
                </c:pt>
                <c:pt idx="4722">
                  <c:v>24.833448317088287</c:v>
                </c:pt>
                <c:pt idx="4723">
                  <c:v>23.982149112342995</c:v>
                </c:pt>
                <c:pt idx="4724">
                  <c:v>59.191116818911446</c:v>
                </c:pt>
                <c:pt idx="4725">
                  <c:v>54.000167291671048</c:v>
                </c:pt>
                <c:pt idx="4726">
                  <c:v>27.675748254482393</c:v>
                </c:pt>
                <c:pt idx="4727">
                  <c:v>26.203246948650687</c:v>
                </c:pt>
                <c:pt idx="4728">
                  <c:v>54.291649438267832</c:v>
                </c:pt>
                <c:pt idx="4729">
                  <c:v>29.937688353405878</c:v>
                </c:pt>
                <c:pt idx="4730">
                  <c:v>48.488885325499169</c:v>
                </c:pt>
                <c:pt idx="4731">
                  <c:v>19.157542719305361</c:v>
                </c:pt>
                <c:pt idx="4732">
                  <c:v>29.242578257057261</c:v>
                </c:pt>
                <c:pt idx="4733">
                  <c:v>48.143883357317932</c:v>
                </c:pt>
                <c:pt idx="4734">
                  <c:v>43.838273555305733</c:v>
                </c:pt>
                <c:pt idx="4735">
                  <c:v>26.320506174324301</c:v>
                </c:pt>
                <c:pt idx="4736">
                  <c:v>21.70050570189246</c:v>
                </c:pt>
                <c:pt idx="4737">
                  <c:v>41.612025272246981</c:v>
                </c:pt>
                <c:pt idx="4738">
                  <c:v>54.064209412899537</c:v>
                </c:pt>
                <c:pt idx="4739">
                  <c:v>49.573636136403586</c:v>
                </c:pt>
                <c:pt idx="4740">
                  <c:v>33.4310757986608</c:v>
                </c:pt>
                <c:pt idx="4741">
                  <c:v>32.994308391549424</c:v>
                </c:pt>
                <c:pt idx="4742">
                  <c:v>39.790011438258468</c:v>
                </c:pt>
                <c:pt idx="4743">
                  <c:v>33.303352289101966</c:v>
                </c:pt>
                <c:pt idx="4744">
                  <c:v>27.936924026532143</c:v>
                </c:pt>
                <c:pt idx="4745">
                  <c:v>22.180176379827291</c:v>
                </c:pt>
                <c:pt idx="4746">
                  <c:v>49.14545459319595</c:v>
                </c:pt>
                <c:pt idx="4747">
                  <c:v>58.366972970112116</c:v>
                </c:pt>
                <c:pt idx="4748">
                  <c:v>22.944286564879246</c:v>
                </c:pt>
                <c:pt idx="4749">
                  <c:v>47.741258991018896</c:v>
                </c:pt>
                <c:pt idx="4750">
                  <c:v>55.382173077257455</c:v>
                </c:pt>
                <c:pt idx="4751">
                  <c:v>28.366811262394052</c:v>
                </c:pt>
                <c:pt idx="4752">
                  <c:v>19.081697576675104</c:v>
                </c:pt>
                <c:pt idx="4753">
                  <c:v>28.08494028991953</c:v>
                </c:pt>
                <c:pt idx="4754">
                  <c:v>51.56507273119535</c:v>
                </c:pt>
                <c:pt idx="4755">
                  <c:v>29.38555496118612</c:v>
                </c:pt>
                <c:pt idx="4756">
                  <c:v>52.588190316792684</c:v>
                </c:pt>
                <c:pt idx="4757">
                  <c:v>24.032886510058738</c:v>
                </c:pt>
                <c:pt idx="4758">
                  <c:v>29.709317640715749</c:v>
                </c:pt>
                <c:pt idx="4759">
                  <c:v>33.604415197277604</c:v>
                </c:pt>
                <c:pt idx="4760">
                  <c:v>50.741020981674211</c:v>
                </c:pt>
                <c:pt idx="4761">
                  <c:v>47.892616012528784</c:v>
                </c:pt>
                <c:pt idx="4762">
                  <c:v>24.044069477608094</c:v>
                </c:pt>
                <c:pt idx="4763">
                  <c:v>49.893726926606988</c:v>
                </c:pt>
                <c:pt idx="4764">
                  <c:v>43.707962177602177</c:v>
                </c:pt>
                <c:pt idx="4765">
                  <c:v>42.735063936782907</c:v>
                </c:pt>
                <c:pt idx="4766">
                  <c:v>34.352060082147773</c:v>
                </c:pt>
                <c:pt idx="4767">
                  <c:v>55.748640578775607</c:v>
                </c:pt>
                <c:pt idx="4768">
                  <c:v>30.982640276301861</c:v>
                </c:pt>
                <c:pt idx="4769">
                  <c:v>30.148110900332941</c:v>
                </c:pt>
                <c:pt idx="4770">
                  <c:v>27.414318378599805</c:v>
                </c:pt>
                <c:pt idx="4771">
                  <c:v>24.66329451574239</c:v>
                </c:pt>
                <c:pt idx="4772">
                  <c:v>23.980041500379663</c:v>
                </c:pt>
                <c:pt idx="4773">
                  <c:v>27.151509742902675</c:v>
                </c:pt>
                <c:pt idx="4774">
                  <c:v>57.745280430079944</c:v>
                </c:pt>
                <c:pt idx="4775">
                  <c:v>40.728869342405801</c:v>
                </c:pt>
                <c:pt idx="4776">
                  <c:v>24.609183051917572</c:v>
                </c:pt>
                <c:pt idx="4777">
                  <c:v>18.173688683984775</c:v>
                </c:pt>
                <c:pt idx="4778">
                  <c:v>52.795248568493562</c:v>
                </c:pt>
                <c:pt idx="4779">
                  <c:v>27.919435302996913</c:v>
                </c:pt>
                <c:pt idx="4780">
                  <c:v>29.807371680534267</c:v>
                </c:pt>
                <c:pt idx="4781">
                  <c:v>38.433774665811249</c:v>
                </c:pt>
                <c:pt idx="4782">
                  <c:v>24.727617423132539</c:v>
                </c:pt>
                <c:pt idx="4783">
                  <c:v>40.23650824144373</c:v>
                </c:pt>
                <c:pt idx="4784">
                  <c:v>25.919382600629454</c:v>
                </c:pt>
                <c:pt idx="4785">
                  <c:v>26.496428155675368</c:v>
                </c:pt>
                <c:pt idx="4786">
                  <c:v>25.149357569335486</c:v>
                </c:pt>
                <c:pt idx="4787">
                  <c:v>24.714220924235569</c:v>
                </c:pt>
                <c:pt idx="4788">
                  <c:v>27.898435448497082</c:v>
                </c:pt>
                <c:pt idx="4789">
                  <c:v>59.051230669842063</c:v>
                </c:pt>
                <c:pt idx="4790">
                  <c:v>24.290853475160908</c:v>
                </c:pt>
                <c:pt idx="4791">
                  <c:v>34.880660857938281</c:v>
                </c:pt>
                <c:pt idx="4792">
                  <c:v>25.855438204794847</c:v>
                </c:pt>
                <c:pt idx="4793">
                  <c:v>24.804144540449517</c:v>
                </c:pt>
                <c:pt idx="4794">
                  <c:v>28.043388918247008</c:v>
                </c:pt>
                <c:pt idx="4795">
                  <c:v>56.515381058283964</c:v>
                </c:pt>
                <c:pt idx="4796">
                  <c:v>43.289469178474519</c:v>
                </c:pt>
                <c:pt idx="4797">
                  <c:v>50.437434153536138</c:v>
                </c:pt>
                <c:pt idx="4798">
                  <c:v>28.85197260352863</c:v>
                </c:pt>
                <c:pt idx="4799">
                  <c:v>37.138822725069886</c:v>
                </c:pt>
                <c:pt idx="4800">
                  <c:v>35.102951863256528</c:v>
                </c:pt>
                <c:pt idx="4801">
                  <c:v>22.054298360397762</c:v>
                </c:pt>
                <c:pt idx="4802">
                  <c:v>37.873967728107594</c:v>
                </c:pt>
                <c:pt idx="4803">
                  <c:v>23.982415170297674</c:v>
                </c:pt>
                <c:pt idx="4804">
                  <c:v>21.180315325592847</c:v>
                </c:pt>
                <c:pt idx="4805">
                  <c:v>34.007538580044105</c:v>
                </c:pt>
                <c:pt idx="4806">
                  <c:v>35.919667049605316</c:v>
                </c:pt>
                <c:pt idx="4807">
                  <c:v>29.724397530193169</c:v>
                </c:pt>
                <c:pt idx="4808">
                  <c:v>28.639142206492828</c:v>
                </c:pt>
                <c:pt idx="4809">
                  <c:v>45.607605256423618</c:v>
                </c:pt>
                <c:pt idx="4810">
                  <c:v>19.91425194959653</c:v>
                </c:pt>
                <c:pt idx="4811">
                  <c:v>30.485955765220563</c:v>
                </c:pt>
                <c:pt idx="4812">
                  <c:v>28.115766853140293</c:v>
                </c:pt>
                <c:pt idx="4813">
                  <c:v>35.021671179670747</c:v>
                </c:pt>
                <c:pt idx="4814">
                  <c:v>29.660517548862664</c:v>
                </c:pt>
                <c:pt idx="4815">
                  <c:v>49.88484864359377</c:v>
                </c:pt>
                <c:pt idx="4816">
                  <c:v>51.665448086962023</c:v>
                </c:pt>
                <c:pt idx="4817">
                  <c:v>55.224498835658274</c:v>
                </c:pt>
                <c:pt idx="4818">
                  <c:v>23.247977701904311</c:v>
                </c:pt>
                <c:pt idx="4819">
                  <c:v>23.566703526197994</c:v>
                </c:pt>
                <c:pt idx="4820">
                  <c:v>26.468264407613852</c:v>
                </c:pt>
                <c:pt idx="4821">
                  <c:v>30.690037208049066</c:v>
                </c:pt>
                <c:pt idx="4822">
                  <c:v>19.138408780092462</c:v>
                </c:pt>
                <c:pt idx="4823">
                  <c:v>25.529115067152887</c:v>
                </c:pt>
                <c:pt idx="4824">
                  <c:v>25.798334499536132</c:v>
                </c:pt>
                <c:pt idx="4825">
                  <c:v>50.115256862796407</c:v>
                </c:pt>
                <c:pt idx="4826">
                  <c:v>37.985693966587199</c:v>
                </c:pt>
                <c:pt idx="4827">
                  <c:v>19.926231990489455</c:v>
                </c:pt>
                <c:pt idx="4828">
                  <c:v>25.985460956807486</c:v>
                </c:pt>
                <c:pt idx="4829">
                  <c:v>25.444237539538392</c:v>
                </c:pt>
                <c:pt idx="4830">
                  <c:v>31.744487760740967</c:v>
                </c:pt>
                <c:pt idx="4831">
                  <c:v>43.532413680807764</c:v>
                </c:pt>
                <c:pt idx="4832">
                  <c:v>25.906344963380338</c:v>
                </c:pt>
                <c:pt idx="4833">
                  <c:v>27.658503557971326</c:v>
                </c:pt>
                <c:pt idx="4834">
                  <c:v>27.308446548439075</c:v>
                </c:pt>
                <c:pt idx="4835">
                  <c:v>33.160227061931366</c:v>
                </c:pt>
                <c:pt idx="4836">
                  <c:v>33.491177671468336</c:v>
                </c:pt>
                <c:pt idx="4837">
                  <c:v>32.363751566523234</c:v>
                </c:pt>
                <c:pt idx="4838">
                  <c:v>20.969928384230045</c:v>
                </c:pt>
                <c:pt idx="4839">
                  <c:v>22.706504482727798</c:v>
                </c:pt>
                <c:pt idx="4840">
                  <c:v>27.977812781061502</c:v>
                </c:pt>
                <c:pt idx="4841">
                  <c:v>27.002457672700373</c:v>
                </c:pt>
                <c:pt idx="4842">
                  <c:v>28.509190704385816</c:v>
                </c:pt>
                <c:pt idx="4843">
                  <c:v>48.986402062801147</c:v>
                </c:pt>
                <c:pt idx="4844">
                  <c:v>30.266432903348601</c:v>
                </c:pt>
                <c:pt idx="4845">
                  <c:v>28.867550117033929</c:v>
                </c:pt>
                <c:pt idx="4846">
                  <c:v>46.967036526154239</c:v>
                </c:pt>
                <c:pt idx="4847">
                  <c:v>22.714145828010039</c:v>
                </c:pt>
                <c:pt idx="4848">
                  <c:v>32.077490433760104</c:v>
                </c:pt>
                <c:pt idx="4849">
                  <c:v>27.429180373164911</c:v>
                </c:pt>
                <c:pt idx="4850">
                  <c:v>25.488044864284692</c:v>
                </c:pt>
                <c:pt idx="4851">
                  <c:v>28.147907527975399</c:v>
                </c:pt>
                <c:pt idx="4852">
                  <c:v>16.044375697991441</c:v>
                </c:pt>
                <c:pt idx="4853">
                  <c:v>44.657452872680324</c:v>
                </c:pt>
                <c:pt idx="4854">
                  <c:v>30.497520912342644</c:v>
                </c:pt>
                <c:pt idx="4855">
                  <c:v>20.888385517104577</c:v>
                </c:pt>
                <c:pt idx="4856">
                  <c:v>29.280221500407592</c:v>
                </c:pt>
                <c:pt idx="4857">
                  <c:v>22.182281008976698</c:v>
                </c:pt>
                <c:pt idx="4858">
                  <c:v>26.504995790442557</c:v>
                </c:pt>
                <c:pt idx="4859">
                  <c:v>27.616333854727202</c:v>
                </c:pt>
                <c:pt idx="4860">
                  <c:v>34.924297086704819</c:v>
                </c:pt>
                <c:pt idx="4861">
                  <c:v>16.678007036224454</c:v>
                </c:pt>
                <c:pt idx="4862">
                  <c:v>27.274465702773711</c:v>
                </c:pt>
                <c:pt idx="4863">
                  <c:v>22.775723743316341</c:v>
                </c:pt>
                <c:pt idx="4864">
                  <c:v>43.021602789158351</c:v>
                </c:pt>
                <c:pt idx="4865">
                  <c:v>26.32187926704194</c:v>
                </c:pt>
                <c:pt idx="4866">
                  <c:v>31.70365853789334</c:v>
                </c:pt>
                <c:pt idx="4867">
                  <c:v>28.490137646930673</c:v>
                </c:pt>
                <c:pt idx="4868">
                  <c:v>48.174916814093329</c:v>
                </c:pt>
                <c:pt idx="4869">
                  <c:v>34.573969913656839</c:v>
                </c:pt>
                <c:pt idx="4870">
                  <c:v>36.305766858234605</c:v>
                </c:pt>
                <c:pt idx="4871">
                  <c:v>31.203097488567856</c:v>
                </c:pt>
                <c:pt idx="4872">
                  <c:v>28.09071085446627</c:v>
                </c:pt>
                <c:pt idx="4873">
                  <c:v>32.118186365098431</c:v>
                </c:pt>
                <c:pt idx="4874">
                  <c:v>19.758399428340525</c:v>
                </c:pt>
                <c:pt idx="4875">
                  <c:v>44.731951054649436</c:v>
                </c:pt>
                <c:pt idx="4876">
                  <c:v>20.228893367810016</c:v>
                </c:pt>
                <c:pt idx="4877">
                  <c:v>43.014779994778891</c:v>
                </c:pt>
                <c:pt idx="4878">
                  <c:v>58.719148333059763</c:v>
                </c:pt>
                <c:pt idx="4879">
                  <c:v>51.38534089469217</c:v>
                </c:pt>
                <c:pt idx="4880">
                  <c:v>20.39369308227716</c:v>
                </c:pt>
                <c:pt idx="4881">
                  <c:v>28.82897105324394</c:v>
                </c:pt>
                <c:pt idx="4882">
                  <c:v>26.999902970358761</c:v>
                </c:pt>
                <c:pt idx="4883">
                  <c:v>23.433445651803787</c:v>
                </c:pt>
                <c:pt idx="4884">
                  <c:v>26.899518218023204</c:v>
                </c:pt>
                <c:pt idx="4885">
                  <c:v>28.535714288161742</c:v>
                </c:pt>
                <c:pt idx="4886">
                  <c:v>25.575593421048865</c:v>
                </c:pt>
                <c:pt idx="4887">
                  <c:v>28.701064705112643</c:v>
                </c:pt>
                <c:pt idx="4888">
                  <c:v>33.106929742458554</c:v>
                </c:pt>
                <c:pt idx="4889">
                  <c:v>22.008756505704664</c:v>
                </c:pt>
                <c:pt idx="4890">
                  <c:v>18.344072632333667</c:v>
                </c:pt>
                <c:pt idx="4891">
                  <c:v>19.665836219640489</c:v>
                </c:pt>
                <c:pt idx="4892">
                  <c:v>31.637685248299217</c:v>
                </c:pt>
                <c:pt idx="4893">
                  <c:v>37.662062097947157</c:v>
                </c:pt>
                <c:pt idx="4894">
                  <c:v>40.841418910938096</c:v>
                </c:pt>
                <c:pt idx="4895">
                  <c:v>30.877914813377469</c:v>
                </c:pt>
                <c:pt idx="4896">
                  <c:v>27.587198588805514</c:v>
                </c:pt>
                <c:pt idx="4897">
                  <c:v>26.317499321976186</c:v>
                </c:pt>
                <c:pt idx="4898">
                  <c:v>30.761385260289742</c:v>
                </c:pt>
                <c:pt idx="4899">
                  <c:v>46.987690520726801</c:v>
                </c:pt>
                <c:pt idx="4900">
                  <c:v>24.508948470661856</c:v>
                </c:pt>
                <c:pt idx="4901">
                  <c:v>26.04923549344662</c:v>
                </c:pt>
                <c:pt idx="4902">
                  <c:v>29.060519909162334</c:v>
                </c:pt>
                <c:pt idx="4903">
                  <c:v>30.492366982149168</c:v>
                </c:pt>
                <c:pt idx="4904">
                  <c:v>30.8086793670543</c:v>
                </c:pt>
                <c:pt idx="4905">
                  <c:v>23.09151292116362</c:v>
                </c:pt>
                <c:pt idx="4906">
                  <c:v>25.239453499235282</c:v>
                </c:pt>
                <c:pt idx="4907">
                  <c:v>24.463558330844968</c:v>
                </c:pt>
                <c:pt idx="4908">
                  <c:v>28.973017653845041</c:v>
                </c:pt>
                <c:pt idx="4909">
                  <c:v>39.90982610218326</c:v>
                </c:pt>
                <c:pt idx="4910">
                  <c:v>55.554968507147024</c:v>
                </c:pt>
                <c:pt idx="4911">
                  <c:v>35.142693927956152</c:v>
                </c:pt>
                <c:pt idx="4912">
                  <c:v>23.627737793513468</c:v>
                </c:pt>
                <c:pt idx="4913">
                  <c:v>40.460132432774238</c:v>
                </c:pt>
                <c:pt idx="4914">
                  <c:v>48.399418216929725</c:v>
                </c:pt>
                <c:pt idx="4915">
                  <c:v>42.6609591616076</c:v>
                </c:pt>
                <c:pt idx="4916">
                  <c:v>30.516463122192331</c:v>
                </c:pt>
                <c:pt idx="4917">
                  <c:v>23.033982223384079</c:v>
                </c:pt>
                <c:pt idx="4918">
                  <c:v>23.25959807675379</c:v>
                </c:pt>
                <c:pt idx="4919">
                  <c:v>29.588492551801675</c:v>
                </c:pt>
                <c:pt idx="4920">
                  <c:v>47.55100146918295</c:v>
                </c:pt>
                <c:pt idx="4921">
                  <c:v>40.593896126524172</c:v>
                </c:pt>
                <c:pt idx="4922">
                  <c:v>22.22381060059756</c:v>
                </c:pt>
                <c:pt idx="4923">
                  <c:v>31.967720916500582</c:v>
                </c:pt>
                <c:pt idx="4924">
                  <c:v>21.470136184421165</c:v>
                </c:pt>
                <c:pt idx="4925">
                  <c:v>27.399266914864544</c:v>
                </c:pt>
                <c:pt idx="4926">
                  <c:v>55.989546998436147</c:v>
                </c:pt>
                <c:pt idx="4927">
                  <c:v>29.276875941811198</c:v>
                </c:pt>
                <c:pt idx="4928">
                  <c:v>33.731416095051962</c:v>
                </c:pt>
                <c:pt idx="4929">
                  <c:v>64.502650688242397</c:v>
                </c:pt>
                <c:pt idx="4930">
                  <c:v>26.431513448695881</c:v>
                </c:pt>
                <c:pt idx="4931">
                  <c:v>16.611152332217056</c:v>
                </c:pt>
                <c:pt idx="4932">
                  <c:v>31.579238139880502</c:v>
                </c:pt>
                <c:pt idx="4933">
                  <c:v>22.230916598451412</c:v>
                </c:pt>
                <c:pt idx="4934">
                  <c:v>29.251210594394273</c:v>
                </c:pt>
                <c:pt idx="4935">
                  <c:v>27.220332593526265</c:v>
                </c:pt>
                <c:pt idx="4936">
                  <c:v>26.339858876038516</c:v>
                </c:pt>
                <c:pt idx="4937">
                  <c:v>28.263689202414646</c:v>
                </c:pt>
                <c:pt idx="4938">
                  <c:v>30.904006350011997</c:v>
                </c:pt>
                <c:pt idx="4939">
                  <c:v>29.372536486399863</c:v>
                </c:pt>
                <c:pt idx="4940">
                  <c:v>46.26791357650616</c:v>
                </c:pt>
                <c:pt idx="4941">
                  <c:v>26.891502572273332</c:v>
                </c:pt>
                <c:pt idx="4942">
                  <c:v>20.130531206478111</c:v>
                </c:pt>
                <c:pt idx="4943">
                  <c:v>69.184385986633529</c:v>
                </c:pt>
                <c:pt idx="4944">
                  <c:v>33.965490455586945</c:v>
                </c:pt>
                <c:pt idx="4945">
                  <c:v>30.555037396444213</c:v>
                </c:pt>
                <c:pt idx="4946">
                  <c:v>21.786251241380889</c:v>
                </c:pt>
                <c:pt idx="4947">
                  <c:v>20.630428373375587</c:v>
                </c:pt>
                <c:pt idx="4948">
                  <c:v>32.472400082647972</c:v>
                </c:pt>
                <c:pt idx="4949">
                  <c:v>28.327075447230417</c:v>
                </c:pt>
                <c:pt idx="4950">
                  <c:v>20.400521776824014</c:v>
                </c:pt>
                <c:pt idx="4951">
                  <c:v>28.351004533483966</c:v>
                </c:pt>
                <c:pt idx="4952">
                  <c:v>15.65003748574232</c:v>
                </c:pt>
                <c:pt idx="4953">
                  <c:v>51.248020445674612</c:v>
                </c:pt>
                <c:pt idx="4954">
                  <c:v>54.119347557324076</c:v>
                </c:pt>
                <c:pt idx="4955">
                  <c:v>28.711089146282003</c:v>
                </c:pt>
                <c:pt idx="4956">
                  <c:v>47.042687653584643</c:v>
                </c:pt>
                <c:pt idx="4957">
                  <c:v>32.195345281364595</c:v>
                </c:pt>
                <c:pt idx="4958">
                  <c:v>28.817332561644292</c:v>
                </c:pt>
                <c:pt idx="4959">
                  <c:v>26.438003976998399</c:v>
                </c:pt>
                <c:pt idx="4960">
                  <c:v>42.639902559188279</c:v>
                </c:pt>
                <c:pt idx="4961">
                  <c:v>60.05885780390188</c:v>
                </c:pt>
                <c:pt idx="4962">
                  <c:v>28.978243404937682</c:v>
                </c:pt>
                <c:pt idx="4963">
                  <c:v>25.141052173030978</c:v>
                </c:pt>
                <c:pt idx="4964">
                  <c:v>51.778323878240663</c:v>
                </c:pt>
                <c:pt idx="4965">
                  <c:v>48.092532864053027</c:v>
                </c:pt>
                <c:pt idx="4966">
                  <c:v>44.809421439880239</c:v>
                </c:pt>
                <c:pt idx="4967">
                  <c:v>26.26162412736274</c:v>
                </c:pt>
                <c:pt idx="4968">
                  <c:v>28.78315324243929</c:v>
                </c:pt>
                <c:pt idx="4969">
                  <c:v>39.925279517299956</c:v>
                </c:pt>
                <c:pt idx="4970">
                  <c:v>29.82408061184216</c:v>
                </c:pt>
                <c:pt idx="4971">
                  <c:v>42.143727128557693</c:v>
                </c:pt>
                <c:pt idx="4972">
                  <c:v>34.17399422029284</c:v>
                </c:pt>
                <c:pt idx="4973">
                  <c:v>29.773714937814461</c:v>
                </c:pt>
                <c:pt idx="4974">
                  <c:v>24.538546526711954</c:v>
                </c:pt>
                <c:pt idx="4975">
                  <c:v>21.960452758234759</c:v>
                </c:pt>
                <c:pt idx="4976">
                  <c:v>25.468159151305695</c:v>
                </c:pt>
                <c:pt idx="4977">
                  <c:v>24.726962025418381</c:v>
                </c:pt>
                <c:pt idx="4978">
                  <c:v>47.642295418214921</c:v>
                </c:pt>
                <c:pt idx="4979">
                  <c:v>42.999814574808838</c:v>
                </c:pt>
                <c:pt idx="4980">
                  <c:v>40.265014341381402</c:v>
                </c:pt>
                <c:pt idx="4981">
                  <c:v>23.958760851992132</c:v>
                </c:pt>
                <c:pt idx="4982">
                  <c:v>27.602515542026374</c:v>
                </c:pt>
                <c:pt idx="4983">
                  <c:v>37.381813811602875</c:v>
                </c:pt>
                <c:pt idx="4984">
                  <c:v>24.697816689285126</c:v>
                </c:pt>
                <c:pt idx="4985">
                  <c:v>36.791646721769467</c:v>
                </c:pt>
                <c:pt idx="4986">
                  <c:v>33.379320242818942</c:v>
                </c:pt>
                <c:pt idx="4987">
                  <c:v>33.702299835084453</c:v>
                </c:pt>
                <c:pt idx="4988">
                  <c:v>49.024653550101306</c:v>
                </c:pt>
                <c:pt idx="4989">
                  <c:v>27.953935339436494</c:v>
                </c:pt>
                <c:pt idx="4990">
                  <c:v>39.094893329597525</c:v>
                </c:pt>
                <c:pt idx="4991">
                  <c:v>19.498944534583934</c:v>
                </c:pt>
                <c:pt idx="4992">
                  <c:v>44.662186526743724</c:v>
                </c:pt>
                <c:pt idx="4993">
                  <c:v>30.154618868858744</c:v>
                </c:pt>
                <c:pt idx="4994">
                  <c:v>27.246279466071726</c:v>
                </c:pt>
                <c:pt idx="4995">
                  <c:v>26.107140345449324</c:v>
                </c:pt>
                <c:pt idx="4996">
                  <c:v>21.502940612294726</c:v>
                </c:pt>
                <c:pt idx="4997">
                  <c:v>24.430813318743279</c:v>
                </c:pt>
                <c:pt idx="4998">
                  <c:v>28.045066333207817</c:v>
                </c:pt>
                <c:pt idx="4999">
                  <c:v>63.414990050703871</c:v>
                </c:pt>
                <c:pt idx="5000">
                  <c:v>32.169343393793156</c:v>
                </c:pt>
                <c:pt idx="5001">
                  <c:v>39.347232899296621</c:v>
                </c:pt>
                <c:pt idx="5002">
                  <c:v>53.140973009856637</c:v>
                </c:pt>
                <c:pt idx="5003">
                  <c:v>26.065508626190457</c:v>
                </c:pt>
                <c:pt idx="5004">
                  <c:v>22.913969733440968</c:v>
                </c:pt>
                <c:pt idx="5005">
                  <c:v>49.269552097918158</c:v>
                </c:pt>
                <c:pt idx="5006">
                  <c:v>23.980503308541309</c:v>
                </c:pt>
                <c:pt idx="5007">
                  <c:v>28.702654728422726</c:v>
                </c:pt>
                <c:pt idx="5008">
                  <c:v>32.265962595611839</c:v>
                </c:pt>
                <c:pt idx="5009">
                  <c:v>22.519402511373336</c:v>
                </c:pt>
                <c:pt idx="5010">
                  <c:v>27.570352920816944</c:v>
                </c:pt>
                <c:pt idx="5011">
                  <c:v>50.304654293020143</c:v>
                </c:pt>
                <c:pt idx="5012">
                  <c:v>24.768364917967169</c:v>
                </c:pt>
                <c:pt idx="5013">
                  <c:v>31.068665071654554</c:v>
                </c:pt>
                <c:pt idx="5014">
                  <c:v>25.486459809119793</c:v>
                </c:pt>
                <c:pt idx="5015">
                  <c:v>26.745241834765746</c:v>
                </c:pt>
                <c:pt idx="5016">
                  <c:v>21.957066480935918</c:v>
                </c:pt>
                <c:pt idx="5017">
                  <c:v>34.01216943577672</c:v>
                </c:pt>
                <c:pt idx="5018">
                  <c:v>28.933806969160358</c:v>
                </c:pt>
                <c:pt idx="5019">
                  <c:v>28.346109819257006</c:v>
                </c:pt>
                <c:pt idx="5020">
                  <c:v>24.594965906340271</c:v>
                </c:pt>
                <c:pt idx="5021">
                  <c:v>23.465662279888306</c:v>
                </c:pt>
                <c:pt idx="5022">
                  <c:v>19.787361133096532</c:v>
                </c:pt>
                <c:pt idx="5023">
                  <c:v>57.496086026806964</c:v>
                </c:pt>
                <c:pt idx="5024">
                  <c:v>29.496711293888104</c:v>
                </c:pt>
                <c:pt idx="5025">
                  <c:v>23.249464859050249</c:v>
                </c:pt>
                <c:pt idx="5026">
                  <c:v>49.113514566817003</c:v>
                </c:pt>
                <c:pt idx="5027">
                  <c:v>38.04391092002723</c:v>
                </c:pt>
                <c:pt idx="5028">
                  <c:v>31.920937988233266</c:v>
                </c:pt>
                <c:pt idx="5029">
                  <c:v>27.867524408843241</c:v>
                </c:pt>
                <c:pt idx="5030">
                  <c:v>30.274314835621141</c:v>
                </c:pt>
                <c:pt idx="5031">
                  <c:v>27.364974126703892</c:v>
                </c:pt>
                <c:pt idx="5032">
                  <c:v>33.752341915966973</c:v>
                </c:pt>
                <c:pt idx="5033">
                  <c:v>40.468298166537643</c:v>
                </c:pt>
                <c:pt idx="5034">
                  <c:v>26.879260254425059</c:v>
                </c:pt>
                <c:pt idx="5035">
                  <c:v>24.462192584511865</c:v>
                </c:pt>
                <c:pt idx="5036">
                  <c:v>27.185186653536469</c:v>
                </c:pt>
                <c:pt idx="5037">
                  <c:v>34.343669641229141</c:v>
                </c:pt>
                <c:pt idx="5038">
                  <c:v>53.194624319064616</c:v>
                </c:pt>
                <c:pt idx="5039">
                  <c:v>24.942571735881444</c:v>
                </c:pt>
                <c:pt idx="5040">
                  <c:v>36.475718424455934</c:v>
                </c:pt>
                <c:pt idx="5041">
                  <c:v>26.496477734980736</c:v>
                </c:pt>
                <c:pt idx="5042">
                  <c:v>42.757008336242023</c:v>
                </c:pt>
                <c:pt idx="5043">
                  <c:v>48.620892865506612</c:v>
                </c:pt>
                <c:pt idx="5044">
                  <c:v>23.930913289154017</c:v>
                </c:pt>
                <c:pt idx="5045">
                  <c:v>32.291901135735635</c:v>
                </c:pt>
                <c:pt idx="5046">
                  <c:v>47.347678835990607</c:v>
                </c:pt>
                <c:pt idx="5047">
                  <c:v>20.227892049824924</c:v>
                </c:pt>
                <c:pt idx="5048">
                  <c:v>34.184287608769544</c:v>
                </c:pt>
                <c:pt idx="5049">
                  <c:v>32.584246219695018</c:v>
                </c:pt>
                <c:pt idx="5050">
                  <c:v>50.232443092193989</c:v>
                </c:pt>
                <c:pt idx="5051">
                  <c:v>41.294534361047852</c:v>
                </c:pt>
                <c:pt idx="5052">
                  <c:v>24.929538809552525</c:v>
                </c:pt>
                <c:pt idx="5053">
                  <c:v>43.88561767489464</c:v>
                </c:pt>
                <c:pt idx="5054">
                  <c:v>18.850159947142259</c:v>
                </c:pt>
                <c:pt idx="5055">
                  <c:v>31.736873908228343</c:v>
                </c:pt>
                <c:pt idx="5056">
                  <c:v>32.267289875647286</c:v>
                </c:pt>
                <c:pt idx="5057">
                  <c:v>30.376829469828806</c:v>
                </c:pt>
                <c:pt idx="5058">
                  <c:v>16.074580062108893</c:v>
                </c:pt>
                <c:pt idx="5059">
                  <c:v>50.525236953419586</c:v>
                </c:pt>
                <c:pt idx="5060">
                  <c:v>46.737867415459604</c:v>
                </c:pt>
                <c:pt idx="5061">
                  <c:v>29.019940923247347</c:v>
                </c:pt>
                <c:pt idx="5062">
                  <c:v>20.783210210364096</c:v>
                </c:pt>
                <c:pt idx="5063">
                  <c:v>35.959428252087143</c:v>
                </c:pt>
                <c:pt idx="5064">
                  <c:v>43.825350509358096</c:v>
                </c:pt>
                <c:pt idx="5065">
                  <c:v>29.968274937550792</c:v>
                </c:pt>
                <c:pt idx="5066">
                  <c:v>69.276318758538565</c:v>
                </c:pt>
                <c:pt idx="5067">
                  <c:v>29.08035493229978</c:v>
                </c:pt>
                <c:pt idx="5068">
                  <c:v>30.187170650653599</c:v>
                </c:pt>
                <c:pt idx="5069">
                  <c:v>27.674614720685391</c:v>
                </c:pt>
                <c:pt idx="5070">
                  <c:v>23.67209117526183</c:v>
                </c:pt>
                <c:pt idx="5071">
                  <c:v>52.652223841737282</c:v>
                </c:pt>
                <c:pt idx="5072">
                  <c:v>27.43360132237493</c:v>
                </c:pt>
                <c:pt idx="5073">
                  <c:v>25.706161392667788</c:v>
                </c:pt>
                <c:pt idx="5074">
                  <c:v>20.550178276730868</c:v>
                </c:pt>
                <c:pt idx="5075">
                  <c:v>23.730239776375065</c:v>
                </c:pt>
                <c:pt idx="5076">
                  <c:v>31.978222948449481</c:v>
                </c:pt>
                <c:pt idx="5077">
                  <c:v>51.481858318659711</c:v>
                </c:pt>
                <c:pt idx="5078">
                  <c:v>54.582997938246656</c:v>
                </c:pt>
                <c:pt idx="5079">
                  <c:v>46.038644535986464</c:v>
                </c:pt>
                <c:pt idx="5080">
                  <c:v>33.931234590779923</c:v>
                </c:pt>
                <c:pt idx="5081">
                  <c:v>38.24763700039621</c:v>
                </c:pt>
                <c:pt idx="5082">
                  <c:v>28.920849388514014</c:v>
                </c:pt>
                <c:pt idx="5083">
                  <c:v>25.445421108374397</c:v>
                </c:pt>
                <c:pt idx="5084">
                  <c:v>28.18112911883437</c:v>
                </c:pt>
                <c:pt idx="5085">
                  <c:v>22.715556989723062</c:v>
                </c:pt>
                <c:pt idx="5086">
                  <c:v>20.229476452211621</c:v>
                </c:pt>
                <c:pt idx="5087">
                  <c:v>47.943410676696061</c:v>
                </c:pt>
                <c:pt idx="5088">
                  <c:v>29.820830552753907</c:v>
                </c:pt>
                <c:pt idx="5089">
                  <c:v>46.525842491840315</c:v>
                </c:pt>
                <c:pt idx="5090">
                  <c:v>25.053155351728325</c:v>
                </c:pt>
                <c:pt idx="5091">
                  <c:v>42.480449193608948</c:v>
                </c:pt>
                <c:pt idx="5092">
                  <c:v>49.768879395982289</c:v>
                </c:pt>
                <c:pt idx="5093">
                  <c:v>60.156956047733985</c:v>
                </c:pt>
                <c:pt idx="5094">
                  <c:v>38.573553164118429</c:v>
                </c:pt>
                <c:pt idx="5095">
                  <c:v>18.690097768804236</c:v>
                </c:pt>
                <c:pt idx="5096">
                  <c:v>53.305977818125399</c:v>
                </c:pt>
                <c:pt idx="5097">
                  <c:v>21.608265258771581</c:v>
                </c:pt>
                <c:pt idx="5098">
                  <c:v>27.742655298800493</c:v>
                </c:pt>
                <c:pt idx="5099">
                  <c:v>19.744824769252656</c:v>
                </c:pt>
                <c:pt idx="5100">
                  <c:v>25.515896596020063</c:v>
                </c:pt>
                <c:pt idx="5101">
                  <c:v>44.606136517263941</c:v>
                </c:pt>
                <c:pt idx="5102">
                  <c:v>18.720618203229609</c:v>
                </c:pt>
                <c:pt idx="5103">
                  <c:v>40.853616333468423</c:v>
                </c:pt>
                <c:pt idx="5104">
                  <c:v>50.832230404977928</c:v>
                </c:pt>
                <c:pt idx="5105">
                  <c:v>22.161855007031605</c:v>
                </c:pt>
                <c:pt idx="5106">
                  <c:v>30.389670283143325</c:v>
                </c:pt>
                <c:pt idx="5107">
                  <c:v>46.005446604545419</c:v>
                </c:pt>
                <c:pt idx="5108">
                  <c:v>31.184721288410806</c:v>
                </c:pt>
                <c:pt idx="5109">
                  <c:v>36.091727968371181</c:v>
                </c:pt>
                <c:pt idx="5110">
                  <c:v>52.456624561358687</c:v>
                </c:pt>
                <c:pt idx="5111">
                  <c:v>41.124884538865452</c:v>
                </c:pt>
                <c:pt idx="5112">
                  <c:v>43.167449212696575</c:v>
                </c:pt>
                <c:pt idx="5113">
                  <c:v>23.209038218072557</c:v>
                </c:pt>
                <c:pt idx="5114">
                  <c:v>27.780960472179643</c:v>
                </c:pt>
                <c:pt idx="5115">
                  <c:v>25.732555314071725</c:v>
                </c:pt>
                <c:pt idx="5116">
                  <c:v>26.263994126898847</c:v>
                </c:pt>
                <c:pt idx="5117">
                  <c:v>28.975325052062715</c:v>
                </c:pt>
                <c:pt idx="5118">
                  <c:v>30.01034669909939</c:v>
                </c:pt>
                <c:pt idx="5119">
                  <c:v>38.924081963065703</c:v>
                </c:pt>
                <c:pt idx="5120">
                  <c:v>29.201107216983736</c:v>
                </c:pt>
                <c:pt idx="5121">
                  <c:v>21.9727642783701</c:v>
                </c:pt>
                <c:pt idx="5122">
                  <c:v>47.262426046852042</c:v>
                </c:pt>
                <c:pt idx="5123">
                  <c:v>27.252347662341634</c:v>
                </c:pt>
                <c:pt idx="5124">
                  <c:v>26.112092010008197</c:v>
                </c:pt>
                <c:pt idx="5125">
                  <c:v>25.936727591573913</c:v>
                </c:pt>
                <c:pt idx="5126">
                  <c:v>35.061568806513847</c:v>
                </c:pt>
                <c:pt idx="5127">
                  <c:v>38.768394961285765</c:v>
                </c:pt>
                <c:pt idx="5128">
                  <c:v>31.599125408045531</c:v>
                </c:pt>
                <c:pt idx="5129">
                  <c:v>24.886371251552717</c:v>
                </c:pt>
                <c:pt idx="5130">
                  <c:v>28.428656447817026</c:v>
                </c:pt>
                <c:pt idx="5131">
                  <c:v>28.712154750621018</c:v>
                </c:pt>
                <c:pt idx="5132">
                  <c:v>28.966949618972524</c:v>
                </c:pt>
                <c:pt idx="5133">
                  <c:v>24.317453871650574</c:v>
                </c:pt>
                <c:pt idx="5134">
                  <c:v>46.070726326810068</c:v>
                </c:pt>
                <c:pt idx="5135">
                  <c:v>23.712019974960818</c:v>
                </c:pt>
                <c:pt idx="5136">
                  <c:v>31.166120195604559</c:v>
                </c:pt>
                <c:pt idx="5137">
                  <c:v>42.155137274976973</c:v>
                </c:pt>
                <c:pt idx="5138">
                  <c:v>31.274578978779076</c:v>
                </c:pt>
                <c:pt idx="5139">
                  <c:v>43.42897176163271</c:v>
                </c:pt>
                <c:pt idx="5140">
                  <c:v>32.537409071601587</c:v>
                </c:pt>
                <c:pt idx="5141">
                  <c:v>20.049260354907325</c:v>
                </c:pt>
                <c:pt idx="5142">
                  <c:v>28.674891720931193</c:v>
                </c:pt>
                <c:pt idx="5143">
                  <c:v>20.817804126646202</c:v>
                </c:pt>
                <c:pt idx="5144">
                  <c:v>19.937017714353964</c:v>
                </c:pt>
                <c:pt idx="5145">
                  <c:v>43.983595739238694</c:v>
                </c:pt>
                <c:pt idx="5146">
                  <c:v>42.50002668934868</c:v>
                </c:pt>
                <c:pt idx="5147">
                  <c:v>40.402528831315642</c:v>
                </c:pt>
                <c:pt idx="5148">
                  <c:v>21.393419926509072</c:v>
                </c:pt>
                <c:pt idx="5149">
                  <c:v>26.018194846234625</c:v>
                </c:pt>
                <c:pt idx="5150">
                  <c:v>27.576457192688107</c:v>
                </c:pt>
                <c:pt idx="5151">
                  <c:v>22.725440583748799</c:v>
                </c:pt>
                <c:pt idx="5152">
                  <c:v>18.840795101328659</c:v>
                </c:pt>
                <c:pt idx="5153">
                  <c:v>36.384336626798671</c:v>
                </c:pt>
                <c:pt idx="5154">
                  <c:v>59.821893734630386</c:v>
                </c:pt>
                <c:pt idx="5155">
                  <c:v>33.724297589176459</c:v>
                </c:pt>
                <c:pt idx="5156">
                  <c:v>29.720022095658393</c:v>
                </c:pt>
                <c:pt idx="5157">
                  <c:v>54.062328807583668</c:v>
                </c:pt>
                <c:pt idx="5158">
                  <c:v>53.072472104151387</c:v>
                </c:pt>
                <c:pt idx="5159">
                  <c:v>25.320375961731791</c:v>
                </c:pt>
                <c:pt idx="5160">
                  <c:v>28.934318239053216</c:v>
                </c:pt>
                <c:pt idx="5161">
                  <c:v>29.815612779417872</c:v>
                </c:pt>
                <c:pt idx="5162">
                  <c:v>26.835735398557404</c:v>
                </c:pt>
                <c:pt idx="5163">
                  <c:v>44.832499853055246</c:v>
                </c:pt>
                <c:pt idx="5164">
                  <c:v>30.371524999324674</c:v>
                </c:pt>
                <c:pt idx="5165">
                  <c:v>24.299600914735592</c:v>
                </c:pt>
                <c:pt idx="5166">
                  <c:v>54.452857474877874</c:v>
                </c:pt>
                <c:pt idx="5167">
                  <c:v>23.330008223382169</c:v>
                </c:pt>
                <c:pt idx="5168">
                  <c:v>38.828452930383968</c:v>
                </c:pt>
                <c:pt idx="5169">
                  <c:v>21.114192367600751</c:v>
                </c:pt>
                <c:pt idx="5170">
                  <c:v>54.167156043492184</c:v>
                </c:pt>
                <c:pt idx="5171">
                  <c:v>40.662449122660114</c:v>
                </c:pt>
                <c:pt idx="5172">
                  <c:v>47.602964178214208</c:v>
                </c:pt>
                <c:pt idx="5173">
                  <c:v>25.266803465478318</c:v>
                </c:pt>
                <c:pt idx="5174">
                  <c:v>34.68667877737763</c:v>
                </c:pt>
                <c:pt idx="5175">
                  <c:v>21.554757063624592</c:v>
                </c:pt>
                <c:pt idx="5176">
                  <c:v>32.641951606238244</c:v>
                </c:pt>
                <c:pt idx="5177">
                  <c:v>32.186353366086578</c:v>
                </c:pt>
                <c:pt idx="5178">
                  <c:v>29.698137846273127</c:v>
                </c:pt>
                <c:pt idx="5179">
                  <c:v>46.446986050858946</c:v>
                </c:pt>
                <c:pt idx="5180">
                  <c:v>30.815223180623768</c:v>
                </c:pt>
                <c:pt idx="5181">
                  <c:v>37.897722177622605</c:v>
                </c:pt>
                <c:pt idx="5182">
                  <c:v>22.399312365625338</c:v>
                </c:pt>
                <c:pt idx="5183">
                  <c:v>23.700574733285762</c:v>
                </c:pt>
                <c:pt idx="5184">
                  <c:v>18.79540322185689</c:v>
                </c:pt>
                <c:pt idx="5185">
                  <c:v>45.985345288842758</c:v>
                </c:pt>
                <c:pt idx="5186">
                  <c:v>34.275433848442269</c:v>
                </c:pt>
                <c:pt idx="5187">
                  <c:v>46.434536078119869</c:v>
                </c:pt>
                <c:pt idx="5188">
                  <c:v>24.883453432865242</c:v>
                </c:pt>
                <c:pt idx="5189">
                  <c:v>25.830433223502993</c:v>
                </c:pt>
                <c:pt idx="5190">
                  <c:v>28.50166704409056</c:v>
                </c:pt>
                <c:pt idx="5191">
                  <c:v>34.701845984508964</c:v>
                </c:pt>
                <c:pt idx="5192">
                  <c:v>29.130249957030827</c:v>
                </c:pt>
                <c:pt idx="5193">
                  <c:v>50.172743967859134</c:v>
                </c:pt>
                <c:pt idx="5194">
                  <c:v>22.917771775727019</c:v>
                </c:pt>
                <c:pt idx="5195">
                  <c:v>29.572865314740667</c:v>
                </c:pt>
                <c:pt idx="5196">
                  <c:v>22.295780910287977</c:v>
                </c:pt>
                <c:pt idx="5197">
                  <c:v>26.220951112110701</c:v>
                </c:pt>
                <c:pt idx="5198">
                  <c:v>26.870090017396446</c:v>
                </c:pt>
                <c:pt idx="5199">
                  <c:v>22.501526365240913</c:v>
                </c:pt>
                <c:pt idx="5200">
                  <c:v>26.559819433691572</c:v>
                </c:pt>
                <c:pt idx="5201">
                  <c:v>22.547587031619237</c:v>
                </c:pt>
                <c:pt idx="5202">
                  <c:v>19.763118757445604</c:v>
                </c:pt>
                <c:pt idx="5203">
                  <c:v>29.166706599426409</c:v>
                </c:pt>
                <c:pt idx="5204">
                  <c:v>58.914044201139674</c:v>
                </c:pt>
                <c:pt idx="5205">
                  <c:v>44.009552348425522</c:v>
                </c:pt>
                <c:pt idx="5206">
                  <c:v>24.358302314184854</c:v>
                </c:pt>
                <c:pt idx="5207">
                  <c:v>32.288406803636782</c:v>
                </c:pt>
                <c:pt idx="5208">
                  <c:v>22.980532811392454</c:v>
                </c:pt>
                <c:pt idx="5209">
                  <c:v>33.813550256673238</c:v>
                </c:pt>
                <c:pt idx="5210">
                  <c:v>42.026757450156545</c:v>
                </c:pt>
                <c:pt idx="5211">
                  <c:v>42.424650393059288</c:v>
                </c:pt>
                <c:pt idx="5212">
                  <c:v>32.523616183173459</c:v>
                </c:pt>
                <c:pt idx="5213">
                  <c:v>30.970526215544055</c:v>
                </c:pt>
                <c:pt idx="5214">
                  <c:v>54.155684829705983</c:v>
                </c:pt>
                <c:pt idx="5215">
                  <c:v>35.60201886290492</c:v>
                </c:pt>
                <c:pt idx="5216">
                  <c:v>50.985245472953736</c:v>
                </c:pt>
                <c:pt idx="5217">
                  <c:v>17.291739687560931</c:v>
                </c:pt>
                <c:pt idx="5218">
                  <c:v>20.641814011565206</c:v>
                </c:pt>
                <c:pt idx="5219">
                  <c:v>26.793686816050787</c:v>
                </c:pt>
                <c:pt idx="5220">
                  <c:v>21.918619583274399</c:v>
                </c:pt>
                <c:pt idx="5221">
                  <c:v>27.301394381879089</c:v>
                </c:pt>
                <c:pt idx="5222">
                  <c:v>39.993523548581955</c:v>
                </c:pt>
                <c:pt idx="5223">
                  <c:v>29.066644037671999</c:v>
                </c:pt>
                <c:pt idx="5224">
                  <c:v>32.037199489404244</c:v>
                </c:pt>
                <c:pt idx="5225">
                  <c:v>58.11748752253331</c:v>
                </c:pt>
                <c:pt idx="5226">
                  <c:v>35.606169734118552</c:v>
                </c:pt>
                <c:pt idx="5227">
                  <c:v>32.981704688683941</c:v>
                </c:pt>
                <c:pt idx="5228">
                  <c:v>31.050573805857436</c:v>
                </c:pt>
                <c:pt idx="5229">
                  <c:v>22.268369671597547</c:v>
                </c:pt>
                <c:pt idx="5230">
                  <c:v>26.603303883853517</c:v>
                </c:pt>
                <c:pt idx="5231">
                  <c:v>22.730226366903977</c:v>
                </c:pt>
                <c:pt idx="5232">
                  <c:v>26.811033297153571</c:v>
                </c:pt>
                <c:pt idx="5233">
                  <c:v>34.272152011584353</c:v>
                </c:pt>
                <c:pt idx="5234">
                  <c:v>18.551750260432115</c:v>
                </c:pt>
                <c:pt idx="5235">
                  <c:v>36.533360008980523</c:v>
                </c:pt>
                <c:pt idx="5236">
                  <c:v>21.091694321682013</c:v>
                </c:pt>
                <c:pt idx="5237">
                  <c:v>38.226985284068647</c:v>
                </c:pt>
                <c:pt idx="5238">
                  <c:v>33.017908644445143</c:v>
                </c:pt>
                <c:pt idx="5239">
                  <c:v>24.379004629545886</c:v>
                </c:pt>
                <c:pt idx="5240">
                  <c:v>27.568993748341747</c:v>
                </c:pt>
                <c:pt idx="5241">
                  <c:v>19.013035062597382</c:v>
                </c:pt>
                <c:pt idx="5242">
                  <c:v>18.737947157979125</c:v>
                </c:pt>
                <c:pt idx="5243">
                  <c:v>27.930818668824163</c:v>
                </c:pt>
                <c:pt idx="5244">
                  <c:v>29.55432530488552</c:v>
                </c:pt>
                <c:pt idx="5245">
                  <c:v>28.723131765298167</c:v>
                </c:pt>
                <c:pt idx="5246">
                  <c:v>25.312565239962915</c:v>
                </c:pt>
                <c:pt idx="5247">
                  <c:v>26.587036548591335</c:v>
                </c:pt>
                <c:pt idx="5248">
                  <c:v>20.272589911536301</c:v>
                </c:pt>
                <c:pt idx="5249">
                  <c:v>29.808718784900396</c:v>
                </c:pt>
                <c:pt idx="5250">
                  <c:v>26.087547192451442</c:v>
                </c:pt>
                <c:pt idx="5251">
                  <c:v>33.634423168229041</c:v>
                </c:pt>
                <c:pt idx="5252">
                  <c:v>29.505776977188571</c:v>
                </c:pt>
                <c:pt idx="5253">
                  <c:v>32.516408581321173</c:v>
                </c:pt>
                <c:pt idx="5254">
                  <c:v>45.004392444301068</c:v>
                </c:pt>
                <c:pt idx="5255">
                  <c:v>40.690952884709475</c:v>
                </c:pt>
                <c:pt idx="5256">
                  <c:v>41.870774973118756</c:v>
                </c:pt>
                <c:pt idx="5257">
                  <c:v>39.860800556473038</c:v>
                </c:pt>
                <c:pt idx="5258">
                  <c:v>22.304957292531942</c:v>
                </c:pt>
                <c:pt idx="5259">
                  <c:v>28.479487771611772</c:v>
                </c:pt>
                <c:pt idx="5260">
                  <c:v>22.496598701589047</c:v>
                </c:pt>
                <c:pt idx="5261">
                  <c:v>20.039612090486919</c:v>
                </c:pt>
                <c:pt idx="5262">
                  <c:v>59.15137157161616</c:v>
                </c:pt>
                <c:pt idx="5263">
                  <c:v>36.349946127136292</c:v>
                </c:pt>
                <c:pt idx="5264">
                  <c:v>24.81508220363057</c:v>
                </c:pt>
                <c:pt idx="5265">
                  <c:v>31.165679627427014</c:v>
                </c:pt>
                <c:pt idx="5266">
                  <c:v>20.287031475257816</c:v>
                </c:pt>
                <c:pt idx="5267">
                  <c:v>36.551551394594469</c:v>
                </c:pt>
                <c:pt idx="5268">
                  <c:v>38.2043414062314</c:v>
                </c:pt>
                <c:pt idx="5269">
                  <c:v>32.728823785724018</c:v>
                </c:pt>
                <c:pt idx="5270">
                  <c:v>31.405428817258354</c:v>
                </c:pt>
                <c:pt idx="5271">
                  <c:v>43.998197408015223</c:v>
                </c:pt>
                <c:pt idx="5272">
                  <c:v>42.469947127158889</c:v>
                </c:pt>
                <c:pt idx="5273">
                  <c:v>34.639230822797828</c:v>
                </c:pt>
                <c:pt idx="5274">
                  <c:v>53.234133734013803</c:v>
                </c:pt>
                <c:pt idx="5275">
                  <c:v>26.171943455737235</c:v>
                </c:pt>
                <c:pt idx="5276">
                  <c:v>19.962380274044854</c:v>
                </c:pt>
                <c:pt idx="5277">
                  <c:v>30.282472814600194</c:v>
                </c:pt>
                <c:pt idx="5278">
                  <c:v>27.091007943752523</c:v>
                </c:pt>
                <c:pt idx="5279">
                  <c:v>23.071152210265204</c:v>
                </c:pt>
                <c:pt idx="5280">
                  <c:v>28.78972292153572</c:v>
                </c:pt>
                <c:pt idx="5281">
                  <c:v>51.199821791582806</c:v>
                </c:pt>
                <c:pt idx="5282">
                  <c:v>40.845446489978023</c:v>
                </c:pt>
                <c:pt idx="5283">
                  <c:v>50.681788992649189</c:v>
                </c:pt>
                <c:pt idx="5284">
                  <c:v>55.203526567495167</c:v>
                </c:pt>
                <c:pt idx="5285">
                  <c:v>27.073227307749352</c:v>
                </c:pt>
                <c:pt idx="5286">
                  <c:v>24.132043578022412</c:v>
                </c:pt>
                <c:pt idx="5287">
                  <c:v>32.772061697317525</c:v>
                </c:pt>
                <c:pt idx="5288">
                  <c:v>23.929207737168376</c:v>
                </c:pt>
                <c:pt idx="5289">
                  <c:v>34.142625971518775</c:v>
                </c:pt>
                <c:pt idx="5290">
                  <c:v>26.904866766769139</c:v>
                </c:pt>
                <c:pt idx="5291">
                  <c:v>63.867686659806033</c:v>
                </c:pt>
                <c:pt idx="5292">
                  <c:v>17.042437078812533</c:v>
                </c:pt>
                <c:pt idx="5293">
                  <c:v>22.53123736328201</c:v>
                </c:pt>
                <c:pt idx="5294">
                  <c:v>35.158176296319837</c:v>
                </c:pt>
                <c:pt idx="5295">
                  <c:v>52.256805406269194</c:v>
                </c:pt>
                <c:pt idx="5296">
                  <c:v>39.415573651511494</c:v>
                </c:pt>
                <c:pt idx="5297">
                  <c:v>47.808763691780484</c:v>
                </c:pt>
                <c:pt idx="5298">
                  <c:v>42.047679104943526</c:v>
                </c:pt>
                <c:pt idx="5299">
                  <c:v>38.733677771263586</c:v>
                </c:pt>
                <c:pt idx="5300">
                  <c:v>33.644239749226941</c:v>
                </c:pt>
                <c:pt idx="5301">
                  <c:v>23.098583916811116</c:v>
                </c:pt>
                <c:pt idx="5302">
                  <c:v>32.663721335223769</c:v>
                </c:pt>
                <c:pt idx="5303">
                  <c:v>41.749004136581718</c:v>
                </c:pt>
                <c:pt idx="5304">
                  <c:v>56.998770260032238</c:v>
                </c:pt>
                <c:pt idx="5305">
                  <c:v>28.069355854626121</c:v>
                </c:pt>
                <c:pt idx="5306">
                  <c:v>28.814878107780245</c:v>
                </c:pt>
                <c:pt idx="5307">
                  <c:v>27.481897104385251</c:v>
                </c:pt>
                <c:pt idx="5308">
                  <c:v>29.905821200997735</c:v>
                </c:pt>
                <c:pt idx="5309">
                  <c:v>23.187387968976729</c:v>
                </c:pt>
                <c:pt idx="5310">
                  <c:v>22.400815827684823</c:v>
                </c:pt>
                <c:pt idx="5311">
                  <c:v>19.591022412718068</c:v>
                </c:pt>
                <c:pt idx="5312">
                  <c:v>38.257202602439847</c:v>
                </c:pt>
                <c:pt idx="5313">
                  <c:v>42.648510082312299</c:v>
                </c:pt>
                <c:pt idx="5314">
                  <c:v>34.408839270606585</c:v>
                </c:pt>
                <c:pt idx="5315">
                  <c:v>19.759847411444799</c:v>
                </c:pt>
                <c:pt idx="5316">
                  <c:v>31.07857671540755</c:v>
                </c:pt>
                <c:pt idx="5317">
                  <c:v>28.297506918492495</c:v>
                </c:pt>
                <c:pt idx="5318">
                  <c:v>24.897431481548715</c:v>
                </c:pt>
                <c:pt idx="5319">
                  <c:v>25.276914007977599</c:v>
                </c:pt>
                <c:pt idx="5320">
                  <c:v>35.58611623760217</c:v>
                </c:pt>
                <c:pt idx="5321">
                  <c:v>41.240032664605749</c:v>
                </c:pt>
                <c:pt idx="5322">
                  <c:v>22.304758454464579</c:v>
                </c:pt>
                <c:pt idx="5323">
                  <c:v>20.611284231126803</c:v>
                </c:pt>
                <c:pt idx="5324">
                  <c:v>25.386556024460294</c:v>
                </c:pt>
                <c:pt idx="5325">
                  <c:v>35.955473800607905</c:v>
                </c:pt>
                <c:pt idx="5326">
                  <c:v>27.156834175575934</c:v>
                </c:pt>
                <c:pt idx="5327">
                  <c:v>30.366897329966775</c:v>
                </c:pt>
                <c:pt idx="5328">
                  <c:v>32.871826446422865</c:v>
                </c:pt>
                <c:pt idx="5329">
                  <c:v>55.1624940767867</c:v>
                </c:pt>
                <c:pt idx="5330">
                  <c:v>31.414885632276906</c:v>
                </c:pt>
                <c:pt idx="5331">
                  <c:v>53.434100367690348</c:v>
                </c:pt>
                <c:pt idx="5332">
                  <c:v>25.1173990810593</c:v>
                </c:pt>
                <c:pt idx="5333">
                  <c:v>23.404958640148351</c:v>
                </c:pt>
                <c:pt idx="5334">
                  <c:v>53.593130544580923</c:v>
                </c:pt>
                <c:pt idx="5335">
                  <c:v>54.219323433692743</c:v>
                </c:pt>
                <c:pt idx="5336">
                  <c:v>27.407977963109438</c:v>
                </c:pt>
                <c:pt idx="5337">
                  <c:v>43.566160402535068</c:v>
                </c:pt>
                <c:pt idx="5338">
                  <c:v>35.834457244803502</c:v>
                </c:pt>
                <c:pt idx="5339">
                  <c:v>25.901979578419681</c:v>
                </c:pt>
                <c:pt idx="5340">
                  <c:v>30.905792303138554</c:v>
                </c:pt>
                <c:pt idx="5341">
                  <c:v>30.275057029330046</c:v>
                </c:pt>
                <c:pt idx="5342">
                  <c:v>26.58194063439446</c:v>
                </c:pt>
                <c:pt idx="5343">
                  <c:v>36.536991100691914</c:v>
                </c:pt>
                <c:pt idx="5344">
                  <c:v>21.082388223672886</c:v>
                </c:pt>
                <c:pt idx="5345">
                  <c:v>23.140170367575369</c:v>
                </c:pt>
                <c:pt idx="5346">
                  <c:v>32.188106418660226</c:v>
                </c:pt>
                <c:pt idx="5347">
                  <c:v>25.287906940095084</c:v>
                </c:pt>
                <c:pt idx="5348">
                  <c:v>30.092571928500007</c:v>
                </c:pt>
                <c:pt idx="5349">
                  <c:v>26.2387379293042</c:v>
                </c:pt>
                <c:pt idx="5350">
                  <c:v>25.97922596533914</c:v>
                </c:pt>
                <c:pt idx="5351">
                  <c:v>45.81550884154791</c:v>
                </c:pt>
                <c:pt idx="5352">
                  <c:v>40.219440870414779</c:v>
                </c:pt>
                <c:pt idx="5353">
                  <c:v>34.628134508749291</c:v>
                </c:pt>
                <c:pt idx="5354">
                  <c:v>46.859130586697304</c:v>
                </c:pt>
                <c:pt idx="5355">
                  <c:v>24.768210297538207</c:v>
                </c:pt>
                <c:pt idx="5356">
                  <c:v>25.740332243563241</c:v>
                </c:pt>
                <c:pt idx="5357">
                  <c:v>41.557421782188001</c:v>
                </c:pt>
                <c:pt idx="5358">
                  <c:v>22.88579080557977</c:v>
                </c:pt>
                <c:pt idx="5359">
                  <c:v>31.252959114947338</c:v>
                </c:pt>
                <c:pt idx="5360">
                  <c:v>22.62942917043101</c:v>
                </c:pt>
                <c:pt idx="5361">
                  <c:v>25.295056245817499</c:v>
                </c:pt>
                <c:pt idx="5362">
                  <c:v>44.130775318713425</c:v>
                </c:pt>
                <c:pt idx="5363">
                  <c:v>42.555997569089321</c:v>
                </c:pt>
                <c:pt idx="5364">
                  <c:v>33.135960612866548</c:v>
                </c:pt>
                <c:pt idx="5365">
                  <c:v>49.227330509854866</c:v>
                </c:pt>
                <c:pt idx="5366">
                  <c:v>54.430922426407115</c:v>
                </c:pt>
                <c:pt idx="5367">
                  <c:v>26.792226867586891</c:v>
                </c:pt>
                <c:pt idx="5368">
                  <c:v>28.053856751480229</c:v>
                </c:pt>
                <c:pt idx="5369">
                  <c:v>29.351985100216211</c:v>
                </c:pt>
                <c:pt idx="5370">
                  <c:v>25.215653914439166</c:v>
                </c:pt>
                <c:pt idx="5371">
                  <c:v>34.020497316421341</c:v>
                </c:pt>
                <c:pt idx="5372">
                  <c:v>38.136948910959561</c:v>
                </c:pt>
                <c:pt idx="5373">
                  <c:v>35.666855276440117</c:v>
                </c:pt>
                <c:pt idx="5374">
                  <c:v>24.992661376896251</c:v>
                </c:pt>
                <c:pt idx="5375">
                  <c:v>29.537470658494072</c:v>
                </c:pt>
                <c:pt idx="5376">
                  <c:v>26.001866998727763</c:v>
                </c:pt>
                <c:pt idx="5377">
                  <c:v>48.962619928225585</c:v>
                </c:pt>
                <c:pt idx="5378">
                  <c:v>26.228285752270462</c:v>
                </c:pt>
                <c:pt idx="5379">
                  <c:v>21.607366159728777</c:v>
                </c:pt>
                <c:pt idx="5380">
                  <c:v>26.431861088274957</c:v>
                </c:pt>
                <c:pt idx="5381">
                  <c:v>29.775333171459405</c:v>
                </c:pt>
                <c:pt idx="5382">
                  <c:v>50.267183168863205</c:v>
                </c:pt>
                <c:pt idx="5383">
                  <c:v>38.622910333959581</c:v>
                </c:pt>
                <c:pt idx="5384">
                  <c:v>28.722762650581355</c:v>
                </c:pt>
                <c:pt idx="5385">
                  <c:v>41.735716470429161</c:v>
                </c:pt>
                <c:pt idx="5386">
                  <c:v>27.704524074490436</c:v>
                </c:pt>
                <c:pt idx="5387">
                  <c:v>43.553213222192824</c:v>
                </c:pt>
                <c:pt idx="5388">
                  <c:v>29.359284421891161</c:v>
                </c:pt>
                <c:pt idx="5389">
                  <c:v>18.14894524348345</c:v>
                </c:pt>
                <c:pt idx="5390">
                  <c:v>15.490631081039501</c:v>
                </c:pt>
                <c:pt idx="5391">
                  <c:v>26.174716008760942</c:v>
                </c:pt>
                <c:pt idx="5392">
                  <c:v>29.412489182531449</c:v>
                </c:pt>
                <c:pt idx="5393">
                  <c:v>34.117165028639576</c:v>
                </c:pt>
                <c:pt idx="5394">
                  <c:v>20.433894823533343</c:v>
                </c:pt>
                <c:pt idx="5395">
                  <c:v>26.927631628330307</c:v>
                </c:pt>
                <c:pt idx="5396">
                  <c:v>37.270641332816616</c:v>
                </c:pt>
                <c:pt idx="5397">
                  <c:v>23.323281479022505</c:v>
                </c:pt>
                <c:pt idx="5398">
                  <c:v>25.83155571117193</c:v>
                </c:pt>
                <c:pt idx="5399">
                  <c:v>31.911176342441426</c:v>
                </c:pt>
                <c:pt idx="5400">
                  <c:v>43.789172368868776</c:v>
                </c:pt>
                <c:pt idx="5401">
                  <c:v>23.663461215737328</c:v>
                </c:pt>
                <c:pt idx="5402">
                  <c:v>21.430550339522185</c:v>
                </c:pt>
                <c:pt idx="5403">
                  <c:v>25.093226078427911</c:v>
                </c:pt>
                <c:pt idx="5404">
                  <c:v>41.867314698070203</c:v>
                </c:pt>
                <c:pt idx="5405">
                  <c:v>29.605551021127937</c:v>
                </c:pt>
                <c:pt idx="5406">
                  <c:v>34.607932246579296</c:v>
                </c:pt>
                <c:pt idx="5407">
                  <c:v>42.208921612060081</c:v>
                </c:pt>
                <c:pt idx="5408">
                  <c:v>25.979318551533488</c:v>
                </c:pt>
                <c:pt idx="5409">
                  <c:v>44.804448372917179</c:v>
                </c:pt>
                <c:pt idx="5410">
                  <c:v>36.514001077330072</c:v>
                </c:pt>
                <c:pt idx="5411">
                  <c:v>16.585289749143296</c:v>
                </c:pt>
                <c:pt idx="5412">
                  <c:v>52.157553975779933</c:v>
                </c:pt>
                <c:pt idx="5413">
                  <c:v>34.259647670366469</c:v>
                </c:pt>
                <c:pt idx="5414">
                  <c:v>23.862235735703486</c:v>
                </c:pt>
                <c:pt idx="5415">
                  <c:v>42.994944981876834</c:v>
                </c:pt>
                <c:pt idx="5416">
                  <c:v>21.68871084996821</c:v>
                </c:pt>
                <c:pt idx="5417">
                  <c:v>31.177358464420436</c:v>
                </c:pt>
                <c:pt idx="5418">
                  <c:v>34.423724851125058</c:v>
                </c:pt>
                <c:pt idx="5419">
                  <c:v>40.409060273525874</c:v>
                </c:pt>
                <c:pt idx="5420">
                  <c:v>31.782374473021214</c:v>
                </c:pt>
                <c:pt idx="5421">
                  <c:v>27.766802975297544</c:v>
                </c:pt>
                <c:pt idx="5422">
                  <c:v>26.0424566478777</c:v>
                </c:pt>
                <c:pt idx="5423">
                  <c:v>27.242302974629492</c:v>
                </c:pt>
                <c:pt idx="5424">
                  <c:v>30.439125566972457</c:v>
                </c:pt>
                <c:pt idx="5425">
                  <c:v>42.833993633256135</c:v>
                </c:pt>
                <c:pt idx="5426">
                  <c:v>28.801253570411713</c:v>
                </c:pt>
                <c:pt idx="5427">
                  <c:v>47.72052165580952</c:v>
                </c:pt>
                <c:pt idx="5428">
                  <c:v>20.694389513864266</c:v>
                </c:pt>
                <c:pt idx="5429">
                  <c:v>54.387323369242381</c:v>
                </c:pt>
                <c:pt idx="5430">
                  <c:v>27.372566299776871</c:v>
                </c:pt>
                <c:pt idx="5431">
                  <c:v>24.388880466063455</c:v>
                </c:pt>
                <c:pt idx="5432">
                  <c:v>28.921226361478183</c:v>
                </c:pt>
                <c:pt idx="5433">
                  <c:v>31.221082092255795</c:v>
                </c:pt>
                <c:pt idx="5434">
                  <c:v>31.08848411828037</c:v>
                </c:pt>
                <c:pt idx="5435">
                  <c:v>36.739930949815957</c:v>
                </c:pt>
                <c:pt idx="5436">
                  <c:v>23.509746671022775</c:v>
                </c:pt>
                <c:pt idx="5437">
                  <c:v>30.336082165652165</c:v>
                </c:pt>
                <c:pt idx="5438">
                  <c:v>26.292841498553699</c:v>
                </c:pt>
                <c:pt idx="5439">
                  <c:v>26.940461691880348</c:v>
                </c:pt>
                <c:pt idx="5440">
                  <c:v>24.829122808094535</c:v>
                </c:pt>
                <c:pt idx="5441">
                  <c:v>15.754093770178329</c:v>
                </c:pt>
                <c:pt idx="5442">
                  <c:v>47.821756914034097</c:v>
                </c:pt>
                <c:pt idx="5443">
                  <c:v>32.481498743257944</c:v>
                </c:pt>
                <c:pt idx="5444">
                  <c:v>44.907484669923868</c:v>
                </c:pt>
                <c:pt idx="5445">
                  <c:v>50.897657489359993</c:v>
                </c:pt>
                <c:pt idx="5446">
                  <c:v>27.883910169805027</c:v>
                </c:pt>
                <c:pt idx="5447">
                  <c:v>22.220191918132578</c:v>
                </c:pt>
                <c:pt idx="5448">
                  <c:v>37.28667805543266</c:v>
                </c:pt>
                <c:pt idx="5449">
                  <c:v>24.78467958078387</c:v>
                </c:pt>
                <c:pt idx="5450">
                  <c:v>39.251503971284947</c:v>
                </c:pt>
                <c:pt idx="5451">
                  <c:v>53.184925907791957</c:v>
                </c:pt>
                <c:pt idx="5452">
                  <c:v>53.062075378086298</c:v>
                </c:pt>
                <c:pt idx="5453">
                  <c:v>45.596993111289791</c:v>
                </c:pt>
                <c:pt idx="5454">
                  <c:v>26.356975489784027</c:v>
                </c:pt>
                <c:pt idx="5455">
                  <c:v>33.555389217707592</c:v>
                </c:pt>
                <c:pt idx="5456">
                  <c:v>57.156861264174879</c:v>
                </c:pt>
                <c:pt idx="5457">
                  <c:v>24.886033048437319</c:v>
                </c:pt>
                <c:pt idx="5458">
                  <c:v>20.539283363873498</c:v>
                </c:pt>
                <c:pt idx="5459">
                  <c:v>31.308342355842704</c:v>
                </c:pt>
                <c:pt idx="5460">
                  <c:v>26.66513588553871</c:v>
                </c:pt>
                <c:pt idx="5461">
                  <c:v>32.433040398678052</c:v>
                </c:pt>
                <c:pt idx="5462">
                  <c:v>25.510032676199717</c:v>
                </c:pt>
                <c:pt idx="5463">
                  <c:v>35.993174459689946</c:v>
                </c:pt>
                <c:pt idx="5464">
                  <c:v>30.726996886804326</c:v>
                </c:pt>
                <c:pt idx="5465">
                  <c:v>55.667466660306978</c:v>
                </c:pt>
                <c:pt idx="5466">
                  <c:v>27.318454083387437</c:v>
                </c:pt>
                <c:pt idx="5467">
                  <c:v>35.515295071931931</c:v>
                </c:pt>
                <c:pt idx="5468">
                  <c:v>28.08789222872813</c:v>
                </c:pt>
                <c:pt idx="5469">
                  <c:v>23.291579807593926</c:v>
                </c:pt>
                <c:pt idx="5470">
                  <c:v>28.130973781950221</c:v>
                </c:pt>
                <c:pt idx="5471">
                  <c:v>27.079182023882073</c:v>
                </c:pt>
                <c:pt idx="5472">
                  <c:v>27.180165745125514</c:v>
                </c:pt>
                <c:pt idx="5473">
                  <c:v>34.406143032355821</c:v>
                </c:pt>
                <c:pt idx="5474">
                  <c:v>19.339942946770794</c:v>
                </c:pt>
                <c:pt idx="5475">
                  <c:v>25.667891637180624</c:v>
                </c:pt>
                <c:pt idx="5476">
                  <c:v>20.670503040366846</c:v>
                </c:pt>
                <c:pt idx="5477">
                  <c:v>43.811130629793126</c:v>
                </c:pt>
                <c:pt idx="5478">
                  <c:v>27.892210866820626</c:v>
                </c:pt>
                <c:pt idx="5479">
                  <c:v>26.821097474502185</c:v>
                </c:pt>
                <c:pt idx="5480">
                  <c:v>29.865623166589657</c:v>
                </c:pt>
                <c:pt idx="5481">
                  <c:v>25.109992496254232</c:v>
                </c:pt>
                <c:pt idx="5482">
                  <c:v>47.030495076207096</c:v>
                </c:pt>
                <c:pt idx="5483">
                  <c:v>25.825406316580537</c:v>
                </c:pt>
                <c:pt idx="5484">
                  <c:v>26.710314804354194</c:v>
                </c:pt>
                <c:pt idx="5485">
                  <c:v>28.462412650333782</c:v>
                </c:pt>
                <c:pt idx="5486">
                  <c:v>53.614046465628803</c:v>
                </c:pt>
                <c:pt idx="5487">
                  <c:v>33.37372539398006</c:v>
                </c:pt>
                <c:pt idx="5488">
                  <c:v>29.129110100667493</c:v>
                </c:pt>
                <c:pt idx="5489">
                  <c:v>27.829909240165108</c:v>
                </c:pt>
                <c:pt idx="5490">
                  <c:v>37.034289465026127</c:v>
                </c:pt>
                <c:pt idx="5491">
                  <c:v>39.949106648584042</c:v>
                </c:pt>
                <c:pt idx="5492">
                  <c:v>49.674993139638978</c:v>
                </c:pt>
                <c:pt idx="5493">
                  <c:v>40.976319245777361</c:v>
                </c:pt>
                <c:pt idx="5494">
                  <c:v>23.337964693048406</c:v>
                </c:pt>
                <c:pt idx="5495">
                  <c:v>25.72616771709507</c:v>
                </c:pt>
                <c:pt idx="5496">
                  <c:v>22.756665619131546</c:v>
                </c:pt>
                <c:pt idx="5497">
                  <c:v>41.559675342409832</c:v>
                </c:pt>
                <c:pt idx="5498">
                  <c:v>32.808084383129369</c:v>
                </c:pt>
                <c:pt idx="5499">
                  <c:v>36.934541623811832</c:v>
                </c:pt>
                <c:pt idx="5500">
                  <c:v>48.89374131128222</c:v>
                </c:pt>
                <c:pt idx="5501">
                  <c:v>34.067408912204755</c:v>
                </c:pt>
                <c:pt idx="5502">
                  <c:v>50.712970083896238</c:v>
                </c:pt>
                <c:pt idx="5503">
                  <c:v>52.301806564639435</c:v>
                </c:pt>
                <c:pt idx="5504">
                  <c:v>26.181368344343845</c:v>
                </c:pt>
                <c:pt idx="5505">
                  <c:v>29.121334887375347</c:v>
                </c:pt>
                <c:pt idx="5506">
                  <c:v>41.311733512967059</c:v>
                </c:pt>
                <c:pt idx="5507">
                  <c:v>55.855980917981775</c:v>
                </c:pt>
                <c:pt idx="5508">
                  <c:v>52.520330829787639</c:v>
                </c:pt>
                <c:pt idx="5509">
                  <c:v>23.904382585126367</c:v>
                </c:pt>
                <c:pt idx="5510">
                  <c:v>23.388105837100941</c:v>
                </c:pt>
                <c:pt idx="5511">
                  <c:v>31.338548853219116</c:v>
                </c:pt>
                <c:pt idx="5512">
                  <c:v>36.417565282550989</c:v>
                </c:pt>
                <c:pt idx="5513">
                  <c:v>22.249995580905775</c:v>
                </c:pt>
                <c:pt idx="5514">
                  <c:v>29.858869079630985</c:v>
                </c:pt>
                <c:pt idx="5515">
                  <c:v>29.707803062704365</c:v>
                </c:pt>
                <c:pt idx="5516">
                  <c:v>52.914080880325464</c:v>
                </c:pt>
                <c:pt idx="5517">
                  <c:v>24.866733317638985</c:v>
                </c:pt>
                <c:pt idx="5518">
                  <c:v>47.123204704551576</c:v>
                </c:pt>
                <c:pt idx="5519">
                  <c:v>19.664248353314896</c:v>
                </c:pt>
                <c:pt idx="5520">
                  <c:v>28.247759129873192</c:v>
                </c:pt>
                <c:pt idx="5521">
                  <c:v>32.490541206430457</c:v>
                </c:pt>
                <c:pt idx="5522">
                  <c:v>32.821140527812346</c:v>
                </c:pt>
                <c:pt idx="5523">
                  <c:v>34.918496189642333</c:v>
                </c:pt>
                <c:pt idx="5524">
                  <c:v>46.39919162723622</c:v>
                </c:pt>
                <c:pt idx="5525">
                  <c:v>48.403055485328849</c:v>
                </c:pt>
                <c:pt idx="5526">
                  <c:v>37.188868062870412</c:v>
                </c:pt>
                <c:pt idx="5527">
                  <c:v>23.203286836771863</c:v>
                </c:pt>
                <c:pt idx="5528">
                  <c:v>32.073368986695726</c:v>
                </c:pt>
                <c:pt idx="5529">
                  <c:v>30.393843614075742</c:v>
                </c:pt>
                <c:pt idx="5530">
                  <c:v>34.626726084609238</c:v>
                </c:pt>
                <c:pt idx="5531">
                  <c:v>18.059809120685038</c:v>
                </c:pt>
                <c:pt idx="5532">
                  <c:v>32.112699741409813</c:v>
                </c:pt>
                <c:pt idx="5533">
                  <c:v>19.864489834291252</c:v>
                </c:pt>
                <c:pt idx="5534">
                  <c:v>24.716050061922193</c:v>
                </c:pt>
                <c:pt idx="5535">
                  <c:v>46.268703695752656</c:v>
                </c:pt>
                <c:pt idx="5536">
                  <c:v>31.580313076452544</c:v>
                </c:pt>
                <c:pt idx="5537">
                  <c:v>43.151654271555444</c:v>
                </c:pt>
                <c:pt idx="5538">
                  <c:v>30.685065199966083</c:v>
                </c:pt>
                <c:pt idx="5539">
                  <c:v>28.414388521656527</c:v>
                </c:pt>
                <c:pt idx="5540">
                  <c:v>34.449605221235288</c:v>
                </c:pt>
                <c:pt idx="5541">
                  <c:v>29.57352043261136</c:v>
                </c:pt>
                <c:pt idx="5542">
                  <c:v>21.104986179357645</c:v>
                </c:pt>
                <c:pt idx="5543">
                  <c:v>29.531056237735179</c:v>
                </c:pt>
                <c:pt idx="5544">
                  <c:v>25.455063987026687</c:v>
                </c:pt>
                <c:pt idx="5545">
                  <c:v>31.215170281641203</c:v>
                </c:pt>
                <c:pt idx="5546">
                  <c:v>20.965069497363167</c:v>
                </c:pt>
                <c:pt idx="5547">
                  <c:v>56.363904666574356</c:v>
                </c:pt>
                <c:pt idx="5548">
                  <c:v>43.187030295209198</c:v>
                </c:pt>
                <c:pt idx="5549">
                  <c:v>44.548240773772172</c:v>
                </c:pt>
                <c:pt idx="5550">
                  <c:v>36.1799334408812</c:v>
                </c:pt>
                <c:pt idx="5551">
                  <c:v>34.421247133796143</c:v>
                </c:pt>
                <c:pt idx="5552">
                  <c:v>27.943857882883567</c:v>
                </c:pt>
                <c:pt idx="5553">
                  <c:v>18.556481038840186</c:v>
                </c:pt>
                <c:pt idx="5554">
                  <c:v>33.722416655288612</c:v>
                </c:pt>
                <c:pt idx="5555">
                  <c:v>29.268738918050992</c:v>
                </c:pt>
                <c:pt idx="5556">
                  <c:v>58.039562201177134</c:v>
                </c:pt>
                <c:pt idx="5557">
                  <c:v>22.158632847445606</c:v>
                </c:pt>
                <c:pt idx="5558">
                  <c:v>23.366186636147432</c:v>
                </c:pt>
                <c:pt idx="5559">
                  <c:v>40.319784178817649</c:v>
                </c:pt>
                <c:pt idx="5560">
                  <c:v>22.379153974250315</c:v>
                </c:pt>
                <c:pt idx="5561">
                  <c:v>22.474100208119463</c:v>
                </c:pt>
                <c:pt idx="5562">
                  <c:v>20.742970757450813</c:v>
                </c:pt>
                <c:pt idx="5563">
                  <c:v>25.222349990607309</c:v>
                </c:pt>
                <c:pt idx="5564">
                  <c:v>19.026578868275099</c:v>
                </c:pt>
                <c:pt idx="5565">
                  <c:v>26.216512710383981</c:v>
                </c:pt>
                <c:pt idx="5566">
                  <c:v>22.219661999461128</c:v>
                </c:pt>
                <c:pt idx="5567">
                  <c:v>23.502661106125981</c:v>
                </c:pt>
                <c:pt idx="5568">
                  <c:v>36.021191678370364</c:v>
                </c:pt>
                <c:pt idx="5569">
                  <c:v>46.0799128350316</c:v>
                </c:pt>
                <c:pt idx="5570">
                  <c:v>53.500079381329037</c:v>
                </c:pt>
                <c:pt idx="5571">
                  <c:v>25.045441568971537</c:v>
                </c:pt>
                <c:pt idx="5572">
                  <c:v>48.497719889701564</c:v>
                </c:pt>
                <c:pt idx="5573">
                  <c:v>35.900043516768847</c:v>
                </c:pt>
                <c:pt idx="5574">
                  <c:v>26.071116727041119</c:v>
                </c:pt>
                <c:pt idx="5575">
                  <c:v>49.81658855165378</c:v>
                </c:pt>
                <c:pt idx="5576">
                  <c:v>17.581870671676789</c:v>
                </c:pt>
                <c:pt idx="5577">
                  <c:v>40.161856737875496</c:v>
                </c:pt>
                <c:pt idx="5578">
                  <c:v>25.230815149447203</c:v>
                </c:pt>
                <c:pt idx="5579">
                  <c:v>41.868816857621411</c:v>
                </c:pt>
                <c:pt idx="5580">
                  <c:v>40.060868314972346</c:v>
                </c:pt>
                <c:pt idx="5581">
                  <c:v>26.475293129012311</c:v>
                </c:pt>
                <c:pt idx="5582">
                  <c:v>53.789035063336215</c:v>
                </c:pt>
                <c:pt idx="5583">
                  <c:v>27.98453515250597</c:v>
                </c:pt>
                <c:pt idx="5584">
                  <c:v>51.404656220870585</c:v>
                </c:pt>
                <c:pt idx="5585">
                  <c:v>61.472955519600063</c:v>
                </c:pt>
                <c:pt idx="5586">
                  <c:v>24.981426889726087</c:v>
                </c:pt>
                <c:pt idx="5587">
                  <c:v>29.728920646165008</c:v>
                </c:pt>
                <c:pt idx="5588">
                  <c:v>45.789179463045727</c:v>
                </c:pt>
                <c:pt idx="5589">
                  <c:v>27.531908877660044</c:v>
                </c:pt>
                <c:pt idx="5590">
                  <c:v>31.554224836875974</c:v>
                </c:pt>
                <c:pt idx="5591">
                  <c:v>25.640758922214655</c:v>
                </c:pt>
                <c:pt idx="5592">
                  <c:v>31.160163368872581</c:v>
                </c:pt>
                <c:pt idx="5593">
                  <c:v>29.23880200117388</c:v>
                </c:pt>
                <c:pt idx="5594">
                  <c:v>19.389567131146922</c:v>
                </c:pt>
                <c:pt idx="5595">
                  <c:v>29.675683636253041</c:v>
                </c:pt>
                <c:pt idx="5596">
                  <c:v>19.956260127931465</c:v>
                </c:pt>
                <c:pt idx="5597">
                  <c:v>22.696189965115675</c:v>
                </c:pt>
                <c:pt idx="5598">
                  <c:v>26.393577650992889</c:v>
                </c:pt>
                <c:pt idx="5599">
                  <c:v>40.485455338178589</c:v>
                </c:pt>
                <c:pt idx="5600">
                  <c:v>25.872193983911828</c:v>
                </c:pt>
                <c:pt idx="5601">
                  <c:v>48.326935609767112</c:v>
                </c:pt>
                <c:pt idx="5602">
                  <c:v>43.77899360295703</c:v>
                </c:pt>
                <c:pt idx="5603">
                  <c:v>17.64937596642071</c:v>
                </c:pt>
                <c:pt idx="5604">
                  <c:v>52.447052567999037</c:v>
                </c:pt>
                <c:pt idx="5605">
                  <c:v>28.872962678169696</c:v>
                </c:pt>
                <c:pt idx="5606">
                  <c:v>43.238829397299277</c:v>
                </c:pt>
                <c:pt idx="5607">
                  <c:v>26.279809771563599</c:v>
                </c:pt>
                <c:pt idx="5608">
                  <c:v>24.418738191061252</c:v>
                </c:pt>
                <c:pt idx="5609">
                  <c:v>46.164388941053566</c:v>
                </c:pt>
                <c:pt idx="5610">
                  <c:v>26.803510709051828</c:v>
                </c:pt>
                <c:pt idx="5611">
                  <c:v>31.354027509215527</c:v>
                </c:pt>
                <c:pt idx="5612">
                  <c:v>45.580635323487499</c:v>
                </c:pt>
                <c:pt idx="5613">
                  <c:v>21.684322826826524</c:v>
                </c:pt>
                <c:pt idx="5614">
                  <c:v>23.307584950746353</c:v>
                </c:pt>
                <c:pt idx="5615">
                  <c:v>34.464290551991894</c:v>
                </c:pt>
                <c:pt idx="5616">
                  <c:v>31.61227522047297</c:v>
                </c:pt>
                <c:pt idx="5617">
                  <c:v>30.54448571834002</c:v>
                </c:pt>
                <c:pt idx="5618">
                  <c:v>32.72251655785486</c:v>
                </c:pt>
                <c:pt idx="5619">
                  <c:v>45.387452463208653</c:v>
                </c:pt>
                <c:pt idx="5620">
                  <c:v>29.660864688430372</c:v>
                </c:pt>
                <c:pt idx="5621">
                  <c:v>46.975914091993019</c:v>
                </c:pt>
                <c:pt idx="5622">
                  <c:v>27.496850696197694</c:v>
                </c:pt>
                <c:pt idx="5623">
                  <c:v>26.170171174995552</c:v>
                </c:pt>
                <c:pt idx="5624">
                  <c:v>28.925362321755017</c:v>
                </c:pt>
                <c:pt idx="5625">
                  <c:v>29.306971932293429</c:v>
                </c:pt>
                <c:pt idx="5626">
                  <c:v>23.842132233847373</c:v>
                </c:pt>
                <c:pt idx="5627">
                  <c:v>32.937690354441081</c:v>
                </c:pt>
                <c:pt idx="5628">
                  <c:v>33.588081897811485</c:v>
                </c:pt>
                <c:pt idx="5629">
                  <c:v>26.663942140226844</c:v>
                </c:pt>
                <c:pt idx="5630">
                  <c:v>33.587357229067145</c:v>
                </c:pt>
                <c:pt idx="5631">
                  <c:v>22.232361732190935</c:v>
                </c:pt>
                <c:pt idx="5632">
                  <c:v>48.205726920296669</c:v>
                </c:pt>
                <c:pt idx="5633">
                  <c:v>29.510621176767557</c:v>
                </c:pt>
                <c:pt idx="5634">
                  <c:v>33.271926978074191</c:v>
                </c:pt>
                <c:pt idx="5635">
                  <c:v>25.229316968320092</c:v>
                </c:pt>
                <c:pt idx="5636">
                  <c:v>45.690660740241697</c:v>
                </c:pt>
                <c:pt idx="5637">
                  <c:v>45.448546719840728</c:v>
                </c:pt>
                <c:pt idx="5638">
                  <c:v>46.581663793844832</c:v>
                </c:pt>
                <c:pt idx="5639">
                  <c:v>31.981145776423066</c:v>
                </c:pt>
                <c:pt idx="5640">
                  <c:v>25.514580408224582</c:v>
                </c:pt>
                <c:pt idx="5641">
                  <c:v>28.805062052093248</c:v>
                </c:pt>
                <c:pt idx="5642">
                  <c:v>50.485612138117325</c:v>
                </c:pt>
                <c:pt idx="5643">
                  <c:v>31.211499400665971</c:v>
                </c:pt>
                <c:pt idx="5644">
                  <c:v>25.175918329899126</c:v>
                </c:pt>
                <c:pt idx="5645">
                  <c:v>24.226539063075158</c:v>
                </c:pt>
                <c:pt idx="5646">
                  <c:v>25.027023647229047</c:v>
                </c:pt>
                <c:pt idx="5647">
                  <c:v>26.380261411863913</c:v>
                </c:pt>
                <c:pt idx="5648">
                  <c:v>23.98446230785067</c:v>
                </c:pt>
                <c:pt idx="5649">
                  <c:v>38.30435695376238</c:v>
                </c:pt>
                <c:pt idx="5650">
                  <c:v>19.068888890736496</c:v>
                </c:pt>
                <c:pt idx="5651">
                  <c:v>29.339348026363076</c:v>
                </c:pt>
                <c:pt idx="5652">
                  <c:v>46.687064581281859</c:v>
                </c:pt>
                <c:pt idx="5653">
                  <c:v>26.313300922567965</c:v>
                </c:pt>
                <c:pt idx="5654">
                  <c:v>38.391627738305168</c:v>
                </c:pt>
                <c:pt idx="5655">
                  <c:v>53.618303906922812</c:v>
                </c:pt>
                <c:pt idx="5656">
                  <c:v>43.908925340430883</c:v>
                </c:pt>
                <c:pt idx="5657">
                  <c:v>27.345530735729344</c:v>
                </c:pt>
                <c:pt idx="5658">
                  <c:v>28.467683940419505</c:v>
                </c:pt>
                <c:pt idx="5659">
                  <c:v>28.321570437369296</c:v>
                </c:pt>
                <c:pt idx="5660">
                  <c:v>46.75110870391822</c:v>
                </c:pt>
                <c:pt idx="5661">
                  <c:v>27.466611771264748</c:v>
                </c:pt>
                <c:pt idx="5662">
                  <c:v>22.603607802754105</c:v>
                </c:pt>
                <c:pt idx="5663">
                  <c:v>29.253796684174624</c:v>
                </c:pt>
                <c:pt idx="5664">
                  <c:v>30.797062955981701</c:v>
                </c:pt>
                <c:pt idx="5665">
                  <c:v>48.364522058615371</c:v>
                </c:pt>
                <c:pt idx="5666">
                  <c:v>24.164194001516957</c:v>
                </c:pt>
                <c:pt idx="5667">
                  <c:v>20.649468304360997</c:v>
                </c:pt>
                <c:pt idx="5668">
                  <c:v>45.474969655810575</c:v>
                </c:pt>
                <c:pt idx="5669">
                  <c:v>30.748868596607217</c:v>
                </c:pt>
                <c:pt idx="5670">
                  <c:v>33.231851180559744</c:v>
                </c:pt>
                <c:pt idx="5671">
                  <c:v>37.160671923027394</c:v>
                </c:pt>
                <c:pt idx="5672">
                  <c:v>29.024030594676784</c:v>
                </c:pt>
                <c:pt idx="5673">
                  <c:v>31.686165743293756</c:v>
                </c:pt>
                <c:pt idx="5674">
                  <c:v>39.999657109883984</c:v>
                </c:pt>
                <c:pt idx="5675">
                  <c:v>19.839609089356824</c:v>
                </c:pt>
                <c:pt idx="5676">
                  <c:v>27.32247945702369</c:v>
                </c:pt>
                <c:pt idx="5677">
                  <c:v>50.825196810601817</c:v>
                </c:pt>
                <c:pt idx="5678">
                  <c:v>24.496889442880214</c:v>
                </c:pt>
                <c:pt idx="5679">
                  <c:v>27.083523339042216</c:v>
                </c:pt>
                <c:pt idx="5680">
                  <c:v>30.464088327391554</c:v>
                </c:pt>
                <c:pt idx="5681">
                  <c:v>30.328010289544508</c:v>
                </c:pt>
                <c:pt idx="5682">
                  <c:v>24.91633304225736</c:v>
                </c:pt>
                <c:pt idx="5683">
                  <c:v>37.172873267700268</c:v>
                </c:pt>
                <c:pt idx="5684">
                  <c:v>29.817379129649122</c:v>
                </c:pt>
                <c:pt idx="5685">
                  <c:v>24.119132108628289</c:v>
                </c:pt>
                <c:pt idx="5686">
                  <c:v>24.939675643299232</c:v>
                </c:pt>
                <c:pt idx="5687">
                  <c:v>26.716317264495984</c:v>
                </c:pt>
                <c:pt idx="5688">
                  <c:v>26.980667228753656</c:v>
                </c:pt>
                <c:pt idx="5689">
                  <c:v>20.229701717802598</c:v>
                </c:pt>
                <c:pt idx="5690">
                  <c:v>26.926149968556043</c:v>
                </c:pt>
                <c:pt idx="5691">
                  <c:v>51.63101921193153</c:v>
                </c:pt>
                <c:pt idx="5692">
                  <c:v>30.699561744482367</c:v>
                </c:pt>
                <c:pt idx="5693">
                  <c:v>37.644385034979663</c:v>
                </c:pt>
                <c:pt idx="5694">
                  <c:v>30.931691483846222</c:v>
                </c:pt>
                <c:pt idx="5695">
                  <c:v>30.07417274654836</c:v>
                </c:pt>
                <c:pt idx="5696">
                  <c:v>25.031833528737693</c:v>
                </c:pt>
                <c:pt idx="5697">
                  <c:v>36.338314848226908</c:v>
                </c:pt>
                <c:pt idx="5698">
                  <c:v>60.258602416127935</c:v>
                </c:pt>
                <c:pt idx="5699">
                  <c:v>52.702369746803427</c:v>
                </c:pt>
                <c:pt idx="5700">
                  <c:v>28.560832598910906</c:v>
                </c:pt>
                <c:pt idx="5701">
                  <c:v>25.137219565940946</c:v>
                </c:pt>
                <c:pt idx="5702">
                  <c:v>32.217420693562488</c:v>
                </c:pt>
                <c:pt idx="5703">
                  <c:v>29.273594063050275</c:v>
                </c:pt>
                <c:pt idx="5704">
                  <c:v>18.913411430033069</c:v>
                </c:pt>
                <c:pt idx="5705">
                  <c:v>21.920465289882287</c:v>
                </c:pt>
                <c:pt idx="5706">
                  <c:v>31.707960478235179</c:v>
                </c:pt>
                <c:pt idx="5707">
                  <c:v>18.622719071971158</c:v>
                </c:pt>
                <c:pt idx="5708">
                  <c:v>28.833923812115533</c:v>
                </c:pt>
                <c:pt idx="5709">
                  <c:v>25.48451433562148</c:v>
                </c:pt>
                <c:pt idx="5710">
                  <c:v>49.114267428141275</c:v>
                </c:pt>
                <c:pt idx="5711">
                  <c:v>32.430982675485296</c:v>
                </c:pt>
                <c:pt idx="5712">
                  <c:v>31.565638542020835</c:v>
                </c:pt>
                <c:pt idx="5713">
                  <c:v>31.183130427808774</c:v>
                </c:pt>
                <c:pt idx="5714">
                  <c:v>21.456710649378344</c:v>
                </c:pt>
                <c:pt idx="5715">
                  <c:v>51.571969475314845</c:v>
                </c:pt>
                <c:pt idx="5716">
                  <c:v>26.216966376892138</c:v>
                </c:pt>
                <c:pt idx="5717">
                  <c:v>29.22610554852071</c:v>
                </c:pt>
                <c:pt idx="5718">
                  <c:v>43.636263626999124</c:v>
                </c:pt>
                <c:pt idx="5719">
                  <c:v>48.797206557458175</c:v>
                </c:pt>
                <c:pt idx="5720">
                  <c:v>37.634727016130178</c:v>
                </c:pt>
                <c:pt idx="5721">
                  <c:v>31.476048987567378</c:v>
                </c:pt>
                <c:pt idx="5722">
                  <c:v>30.358345522048321</c:v>
                </c:pt>
                <c:pt idx="5723">
                  <c:v>52.387210155105656</c:v>
                </c:pt>
                <c:pt idx="5724">
                  <c:v>29.6749861485144</c:v>
                </c:pt>
                <c:pt idx="5725">
                  <c:v>53.049810048361721</c:v>
                </c:pt>
                <c:pt idx="5726">
                  <c:v>31.790045084115679</c:v>
                </c:pt>
                <c:pt idx="5727">
                  <c:v>20.453642988583212</c:v>
                </c:pt>
                <c:pt idx="5728">
                  <c:v>41.134736070716691</c:v>
                </c:pt>
                <c:pt idx="5729">
                  <c:v>25.438970014572742</c:v>
                </c:pt>
                <c:pt idx="5730">
                  <c:v>31.182934237277859</c:v>
                </c:pt>
                <c:pt idx="5731">
                  <c:v>26.679356842245326</c:v>
                </c:pt>
                <c:pt idx="5732">
                  <c:v>35.926943348393621</c:v>
                </c:pt>
                <c:pt idx="5733">
                  <c:v>23.999783983406132</c:v>
                </c:pt>
                <c:pt idx="5734">
                  <c:v>21.949198128228968</c:v>
                </c:pt>
                <c:pt idx="5735">
                  <c:v>24.293518953813823</c:v>
                </c:pt>
                <c:pt idx="5736">
                  <c:v>30.789721414696999</c:v>
                </c:pt>
                <c:pt idx="5737">
                  <c:v>24.52404820658554</c:v>
                </c:pt>
                <c:pt idx="5738">
                  <c:v>32.574911746116875</c:v>
                </c:pt>
                <c:pt idx="5739">
                  <c:v>47.24209142116176</c:v>
                </c:pt>
                <c:pt idx="5740">
                  <c:v>29.387695128472647</c:v>
                </c:pt>
                <c:pt idx="5741">
                  <c:v>26.757925757283466</c:v>
                </c:pt>
                <c:pt idx="5742">
                  <c:v>32.120997511580718</c:v>
                </c:pt>
                <c:pt idx="5743">
                  <c:v>26.623040149120637</c:v>
                </c:pt>
                <c:pt idx="5744">
                  <c:v>29.021134106317042</c:v>
                </c:pt>
                <c:pt idx="5745">
                  <c:v>34.432693336824762</c:v>
                </c:pt>
                <c:pt idx="5746">
                  <c:v>46.446017496718021</c:v>
                </c:pt>
                <c:pt idx="5747">
                  <c:v>21.808122767675705</c:v>
                </c:pt>
                <c:pt idx="5748">
                  <c:v>28.318507037115907</c:v>
                </c:pt>
                <c:pt idx="5749">
                  <c:v>48.271650926854939</c:v>
                </c:pt>
                <c:pt idx="5750">
                  <c:v>42.448885418387832</c:v>
                </c:pt>
                <c:pt idx="5751">
                  <c:v>35.974771600283958</c:v>
                </c:pt>
                <c:pt idx="5752">
                  <c:v>37.82662814993639</c:v>
                </c:pt>
                <c:pt idx="5753">
                  <c:v>49.332243197476529</c:v>
                </c:pt>
                <c:pt idx="5754">
                  <c:v>33.267415001250377</c:v>
                </c:pt>
                <c:pt idx="5755">
                  <c:v>47.224516943468331</c:v>
                </c:pt>
                <c:pt idx="5756">
                  <c:v>40.600304466376485</c:v>
                </c:pt>
                <c:pt idx="5757">
                  <c:v>55.484457760449054</c:v>
                </c:pt>
                <c:pt idx="5758">
                  <c:v>28.111049115598405</c:v>
                </c:pt>
                <c:pt idx="5759">
                  <c:v>24.984606579987066</c:v>
                </c:pt>
                <c:pt idx="5760">
                  <c:v>25.793741593724132</c:v>
                </c:pt>
                <c:pt idx="5761">
                  <c:v>26.975985392039625</c:v>
                </c:pt>
                <c:pt idx="5762">
                  <c:v>19.772205050015167</c:v>
                </c:pt>
                <c:pt idx="5763">
                  <c:v>18.625520725313269</c:v>
                </c:pt>
                <c:pt idx="5764">
                  <c:v>45.488095597257782</c:v>
                </c:pt>
                <c:pt idx="5765">
                  <c:v>49.835793459089224</c:v>
                </c:pt>
                <c:pt idx="5766">
                  <c:v>31.329917806323081</c:v>
                </c:pt>
                <c:pt idx="5767">
                  <c:v>29.373977670489857</c:v>
                </c:pt>
                <c:pt idx="5768">
                  <c:v>29.32512597252612</c:v>
                </c:pt>
                <c:pt idx="5769">
                  <c:v>27.839935676718738</c:v>
                </c:pt>
                <c:pt idx="5770">
                  <c:v>28.541851178337012</c:v>
                </c:pt>
                <c:pt idx="5771">
                  <c:v>32.447147559939118</c:v>
                </c:pt>
                <c:pt idx="5772">
                  <c:v>26.082791966128177</c:v>
                </c:pt>
                <c:pt idx="5773">
                  <c:v>32.248242938395911</c:v>
                </c:pt>
                <c:pt idx="5774">
                  <c:v>19.935842011714239</c:v>
                </c:pt>
                <c:pt idx="5775">
                  <c:v>36.526700265253751</c:v>
                </c:pt>
                <c:pt idx="5776">
                  <c:v>29.204155688862965</c:v>
                </c:pt>
                <c:pt idx="5777">
                  <c:v>39.107866659020544</c:v>
                </c:pt>
                <c:pt idx="5778">
                  <c:v>20.746435793209017</c:v>
                </c:pt>
                <c:pt idx="5779">
                  <c:v>44.58802100274724</c:v>
                </c:pt>
                <c:pt idx="5780">
                  <c:v>21.332063215869937</c:v>
                </c:pt>
                <c:pt idx="5781">
                  <c:v>23.67822427032505</c:v>
                </c:pt>
                <c:pt idx="5782">
                  <c:v>14.999305695810598</c:v>
                </c:pt>
                <c:pt idx="5783">
                  <c:v>22.817429003194697</c:v>
                </c:pt>
                <c:pt idx="5784">
                  <c:v>27.276071804651636</c:v>
                </c:pt>
                <c:pt idx="5785">
                  <c:v>27.408030798154247</c:v>
                </c:pt>
                <c:pt idx="5786">
                  <c:v>28.77739940426779</c:v>
                </c:pt>
                <c:pt idx="5787">
                  <c:v>23.199554804315618</c:v>
                </c:pt>
                <c:pt idx="5788">
                  <c:v>38.764339249575656</c:v>
                </c:pt>
                <c:pt idx="5789">
                  <c:v>29.561032275815499</c:v>
                </c:pt>
                <c:pt idx="5790">
                  <c:v>23.486618800283399</c:v>
                </c:pt>
                <c:pt idx="5791">
                  <c:v>19.386044072212627</c:v>
                </c:pt>
                <c:pt idx="5792">
                  <c:v>45.101411291297211</c:v>
                </c:pt>
                <c:pt idx="5793">
                  <c:v>25.167701628904627</c:v>
                </c:pt>
                <c:pt idx="5794">
                  <c:v>34.004262184015793</c:v>
                </c:pt>
                <c:pt idx="5795">
                  <c:v>29.370493637769286</c:v>
                </c:pt>
                <c:pt idx="5796">
                  <c:v>24.120833636467541</c:v>
                </c:pt>
                <c:pt idx="5797">
                  <c:v>28.060769262471631</c:v>
                </c:pt>
                <c:pt idx="5798">
                  <c:v>25.145672607431226</c:v>
                </c:pt>
                <c:pt idx="5799">
                  <c:v>36.790296231517317</c:v>
                </c:pt>
                <c:pt idx="5800">
                  <c:v>51.444318934861521</c:v>
                </c:pt>
                <c:pt idx="5801">
                  <c:v>27.695380158022889</c:v>
                </c:pt>
                <c:pt idx="5802">
                  <c:v>57.465817006463681</c:v>
                </c:pt>
                <c:pt idx="5803">
                  <c:v>18.325979633739284</c:v>
                </c:pt>
                <c:pt idx="5804">
                  <c:v>29.099157492635715</c:v>
                </c:pt>
                <c:pt idx="5805">
                  <c:v>28.181022274605908</c:v>
                </c:pt>
                <c:pt idx="5806">
                  <c:v>37.457924513467717</c:v>
                </c:pt>
                <c:pt idx="5807">
                  <c:v>54.541522273477625</c:v>
                </c:pt>
                <c:pt idx="5808">
                  <c:v>31.410882480260643</c:v>
                </c:pt>
                <c:pt idx="5809">
                  <c:v>22.684875589492119</c:v>
                </c:pt>
                <c:pt idx="5810">
                  <c:v>34.860861118921299</c:v>
                </c:pt>
                <c:pt idx="5811">
                  <c:v>20.598250300255991</c:v>
                </c:pt>
                <c:pt idx="5812">
                  <c:v>25.612884132018443</c:v>
                </c:pt>
                <c:pt idx="5813">
                  <c:v>25.52524730137889</c:v>
                </c:pt>
                <c:pt idx="5814">
                  <c:v>29.949432094900576</c:v>
                </c:pt>
                <c:pt idx="5815">
                  <c:v>29.759873088390968</c:v>
                </c:pt>
                <c:pt idx="5816">
                  <c:v>19.559107455989452</c:v>
                </c:pt>
                <c:pt idx="5817">
                  <c:v>24.722590165592418</c:v>
                </c:pt>
                <c:pt idx="5818">
                  <c:v>30.353203007464163</c:v>
                </c:pt>
                <c:pt idx="5819">
                  <c:v>21.654455617443055</c:v>
                </c:pt>
                <c:pt idx="5820">
                  <c:v>25.604534079843724</c:v>
                </c:pt>
                <c:pt idx="5821">
                  <c:v>29.74962657570984</c:v>
                </c:pt>
                <c:pt idx="5822">
                  <c:v>30.389804910388996</c:v>
                </c:pt>
                <c:pt idx="5823">
                  <c:v>24.172368168646798</c:v>
                </c:pt>
                <c:pt idx="5824">
                  <c:v>21.333734160312545</c:v>
                </c:pt>
                <c:pt idx="5825">
                  <c:v>20.226771479220467</c:v>
                </c:pt>
                <c:pt idx="5826">
                  <c:v>28.480017396776546</c:v>
                </c:pt>
                <c:pt idx="5827">
                  <c:v>33.283456107878429</c:v>
                </c:pt>
                <c:pt idx="5828">
                  <c:v>38.002225004013283</c:v>
                </c:pt>
                <c:pt idx="5829">
                  <c:v>22.574535033486676</c:v>
                </c:pt>
                <c:pt idx="5830">
                  <c:v>20.633345946520635</c:v>
                </c:pt>
                <c:pt idx="5831">
                  <c:v>47.270949915290373</c:v>
                </c:pt>
                <c:pt idx="5832">
                  <c:v>21.279088663926156</c:v>
                </c:pt>
                <c:pt idx="5833">
                  <c:v>30.965275419206996</c:v>
                </c:pt>
                <c:pt idx="5834">
                  <c:v>22.1979685216718</c:v>
                </c:pt>
                <c:pt idx="5835">
                  <c:v>51.032093903178648</c:v>
                </c:pt>
                <c:pt idx="5836">
                  <c:v>31.374987217911251</c:v>
                </c:pt>
                <c:pt idx="5837">
                  <c:v>41.58806270585994</c:v>
                </c:pt>
                <c:pt idx="5838">
                  <c:v>32.419286239518819</c:v>
                </c:pt>
                <c:pt idx="5839">
                  <c:v>31.264882315127672</c:v>
                </c:pt>
                <c:pt idx="5840">
                  <c:v>37.14934752984864</c:v>
                </c:pt>
                <c:pt idx="5841">
                  <c:v>32.092415571886377</c:v>
                </c:pt>
                <c:pt idx="5842">
                  <c:v>25.675502169729814</c:v>
                </c:pt>
                <c:pt idx="5843">
                  <c:v>45.131508267911734</c:v>
                </c:pt>
                <c:pt idx="5844">
                  <c:v>43.300454234132729</c:v>
                </c:pt>
                <c:pt idx="5845">
                  <c:v>27.336246361367444</c:v>
                </c:pt>
                <c:pt idx="5846">
                  <c:v>22.690045614841587</c:v>
                </c:pt>
                <c:pt idx="5847">
                  <c:v>25.609244766769095</c:v>
                </c:pt>
                <c:pt idx="5848">
                  <c:v>29.449067897833686</c:v>
                </c:pt>
                <c:pt idx="5849">
                  <c:v>31.978304901410404</c:v>
                </c:pt>
                <c:pt idx="5850">
                  <c:v>30.037365805815046</c:v>
                </c:pt>
                <c:pt idx="5851">
                  <c:v>22.024536311763281</c:v>
                </c:pt>
                <c:pt idx="5852">
                  <c:v>28.074451968218057</c:v>
                </c:pt>
                <c:pt idx="5853">
                  <c:v>27.761073983546705</c:v>
                </c:pt>
                <c:pt idx="5854">
                  <c:v>47.778733815397473</c:v>
                </c:pt>
                <c:pt idx="5855">
                  <c:v>17.934500399790995</c:v>
                </c:pt>
                <c:pt idx="5856">
                  <c:v>19.955664546831077</c:v>
                </c:pt>
                <c:pt idx="5857">
                  <c:v>18.167990430690804</c:v>
                </c:pt>
                <c:pt idx="5858">
                  <c:v>42.669079655115638</c:v>
                </c:pt>
                <c:pt idx="5859">
                  <c:v>23.941302099084339</c:v>
                </c:pt>
                <c:pt idx="5860">
                  <c:v>26.262100882480794</c:v>
                </c:pt>
                <c:pt idx="5861">
                  <c:v>34.431306204911856</c:v>
                </c:pt>
                <c:pt idx="5862">
                  <c:v>47.725618531130308</c:v>
                </c:pt>
                <c:pt idx="5863">
                  <c:v>44.241302216318289</c:v>
                </c:pt>
                <c:pt idx="5864">
                  <c:v>27.333389358992743</c:v>
                </c:pt>
                <c:pt idx="5865">
                  <c:v>32.567940535236318</c:v>
                </c:pt>
                <c:pt idx="5866">
                  <c:v>40.931222536684032</c:v>
                </c:pt>
                <c:pt idx="5867">
                  <c:v>49.928528151692383</c:v>
                </c:pt>
                <c:pt idx="5868">
                  <c:v>27.349393950632109</c:v>
                </c:pt>
                <c:pt idx="5869">
                  <c:v>39.803503234501171</c:v>
                </c:pt>
                <c:pt idx="5870">
                  <c:v>32.416057320048289</c:v>
                </c:pt>
                <c:pt idx="5871">
                  <c:v>18.817438655778616</c:v>
                </c:pt>
                <c:pt idx="5872">
                  <c:v>29.488743390385366</c:v>
                </c:pt>
                <c:pt idx="5873">
                  <c:v>25.314989822296241</c:v>
                </c:pt>
                <c:pt idx="5874">
                  <c:v>18.56524827600245</c:v>
                </c:pt>
                <c:pt idx="5875">
                  <c:v>47.697719505980352</c:v>
                </c:pt>
                <c:pt idx="5876">
                  <c:v>27.244771468132008</c:v>
                </c:pt>
                <c:pt idx="5877">
                  <c:v>49.589429546873831</c:v>
                </c:pt>
                <c:pt idx="5878">
                  <c:v>28.821999664812875</c:v>
                </c:pt>
                <c:pt idx="5879">
                  <c:v>47.552052899191857</c:v>
                </c:pt>
                <c:pt idx="5880">
                  <c:v>51.704279113000212</c:v>
                </c:pt>
                <c:pt idx="5881">
                  <c:v>31.306022596896156</c:v>
                </c:pt>
                <c:pt idx="5882">
                  <c:v>27.963911192418728</c:v>
                </c:pt>
                <c:pt idx="5883">
                  <c:v>40.553419274440849</c:v>
                </c:pt>
                <c:pt idx="5884">
                  <c:v>21.378065295884298</c:v>
                </c:pt>
                <c:pt idx="5885">
                  <c:v>27.483918452203323</c:v>
                </c:pt>
                <c:pt idx="5886">
                  <c:v>31.353513456960414</c:v>
                </c:pt>
                <c:pt idx="5887">
                  <c:v>58.949298656981057</c:v>
                </c:pt>
                <c:pt idx="5888">
                  <c:v>31.047484534784932</c:v>
                </c:pt>
                <c:pt idx="5889">
                  <c:v>28.110125429458982</c:v>
                </c:pt>
                <c:pt idx="5890">
                  <c:v>44.874666818928901</c:v>
                </c:pt>
                <c:pt idx="5891">
                  <c:v>35.446592195003696</c:v>
                </c:pt>
                <c:pt idx="5892">
                  <c:v>42.699141818638353</c:v>
                </c:pt>
                <c:pt idx="5893">
                  <c:v>25.975404924360024</c:v>
                </c:pt>
                <c:pt idx="5894">
                  <c:v>42.708066308135848</c:v>
                </c:pt>
                <c:pt idx="5895">
                  <c:v>30.255993872708743</c:v>
                </c:pt>
                <c:pt idx="5896">
                  <c:v>29.106702876515637</c:v>
                </c:pt>
                <c:pt idx="5897">
                  <c:v>27.275247497069866</c:v>
                </c:pt>
                <c:pt idx="5898">
                  <c:v>52.322964289886187</c:v>
                </c:pt>
                <c:pt idx="5899">
                  <c:v>27.283338719792894</c:v>
                </c:pt>
                <c:pt idx="5900">
                  <c:v>30.470184671336561</c:v>
                </c:pt>
                <c:pt idx="5901">
                  <c:v>16.175824645218146</c:v>
                </c:pt>
                <c:pt idx="5902">
                  <c:v>24.916508155467952</c:v>
                </c:pt>
                <c:pt idx="5903">
                  <c:v>29.595481939587259</c:v>
                </c:pt>
                <c:pt idx="5904">
                  <c:v>31.12293959063717</c:v>
                </c:pt>
                <c:pt idx="5905">
                  <c:v>19.562063655408966</c:v>
                </c:pt>
                <c:pt idx="5906">
                  <c:v>29.610647205105657</c:v>
                </c:pt>
                <c:pt idx="5907">
                  <c:v>25.049227224079292</c:v>
                </c:pt>
                <c:pt idx="5908">
                  <c:v>30.342228159531945</c:v>
                </c:pt>
                <c:pt idx="5909">
                  <c:v>34.650683476341023</c:v>
                </c:pt>
                <c:pt idx="5910">
                  <c:v>18.391656561415523</c:v>
                </c:pt>
                <c:pt idx="5911">
                  <c:v>21.620881471413913</c:v>
                </c:pt>
                <c:pt idx="5912">
                  <c:v>23.574455102602148</c:v>
                </c:pt>
                <c:pt idx="5913">
                  <c:v>31.182403709090483</c:v>
                </c:pt>
                <c:pt idx="5914">
                  <c:v>35.423543385140029</c:v>
                </c:pt>
                <c:pt idx="5915">
                  <c:v>30.054174999711734</c:v>
                </c:pt>
                <c:pt idx="5916">
                  <c:v>38.589574605337639</c:v>
                </c:pt>
                <c:pt idx="5917">
                  <c:v>21.432627525044211</c:v>
                </c:pt>
                <c:pt idx="5918">
                  <c:v>31.222409409291146</c:v>
                </c:pt>
                <c:pt idx="5919">
                  <c:v>24.968095886057075</c:v>
                </c:pt>
                <c:pt idx="5920">
                  <c:v>22.51516338999064</c:v>
                </c:pt>
                <c:pt idx="5921">
                  <c:v>55.226396685147748</c:v>
                </c:pt>
                <c:pt idx="5922">
                  <c:v>34.905542783712391</c:v>
                </c:pt>
                <c:pt idx="5923">
                  <c:v>24.174134619536854</c:v>
                </c:pt>
                <c:pt idx="5924">
                  <c:v>44.083511867918176</c:v>
                </c:pt>
                <c:pt idx="5925">
                  <c:v>54.524609791156117</c:v>
                </c:pt>
                <c:pt idx="5926">
                  <c:v>44.577044319395853</c:v>
                </c:pt>
                <c:pt idx="5927">
                  <c:v>24.950295369289776</c:v>
                </c:pt>
                <c:pt idx="5928">
                  <c:v>22.878954908672693</c:v>
                </c:pt>
                <c:pt idx="5929">
                  <c:v>28.248892774080979</c:v>
                </c:pt>
                <c:pt idx="5930">
                  <c:v>30.770544774426025</c:v>
                </c:pt>
                <c:pt idx="5931">
                  <c:v>25.031033511282434</c:v>
                </c:pt>
                <c:pt idx="5932">
                  <c:v>39.76612792850149</c:v>
                </c:pt>
                <c:pt idx="5933">
                  <c:v>28.573450903766368</c:v>
                </c:pt>
                <c:pt idx="5934">
                  <c:v>23.689438071704874</c:v>
                </c:pt>
                <c:pt idx="5935">
                  <c:v>32.307172605851719</c:v>
                </c:pt>
                <c:pt idx="5936">
                  <c:v>22.475983212927581</c:v>
                </c:pt>
                <c:pt idx="5937">
                  <c:v>27.550377134687313</c:v>
                </c:pt>
                <c:pt idx="5938">
                  <c:v>37.310575378596127</c:v>
                </c:pt>
                <c:pt idx="5939">
                  <c:v>40.788072008578403</c:v>
                </c:pt>
                <c:pt idx="5940">
                  <c:v>24.3163825545113</c:v>
                </c:pt>
                <c:pt idx="5941">
                  <c:v>22.2456735140719</c:v>
                </c:pt>
                <c:pt idx="5942">
                  <c:v>25.01515930568771</c:v>
                </c:pt>
                <c:pt idx="5943">
                  <c:v>32.512893407084512</c:v>
                </c:pt>
                <c:pt idx="5944">
                  <c:v>42.090688659641593</c:v>
                </c:pt>
                <c:pt idx="5945">
                  <c:v>23.438218964545619</c:v>
                </c:pt>
                <c:pt idx="5946">
                  <c:v>27.878930575623755</c:v>
                </c:pt>
                <c:pt idx="5947">
                  <c:v>31.305924226029472</c:v>
                </c:pt>
                <c:pt idx="5948">
                  <c:v>26.41994279165894</c:v>
                </c:pt>
                <c:pt idx="5949">
                  <c:v>29.113734594193588</c:v>
                </c:pt>
                <c:pt idx="5950">
                  <c:v>24.287353964454891</c:v>
                </c:pt>
                <c:pt idx="5951">
                  <c:v>43.819619332249346</c:v>
                </c:pt>
                <c:pt idx="5952">
                  <c:v>26.548371136369347</c:v>
                </c:pt>
                <c:pt idx="5953">
                  <c:v>49.532100728103281</c:v>
                </c:pt>
                <c:pt idx="5954">
                  <c:v>39.259161126884109</c:v>
                </c:pt>
                <c:pt idx="5955">
                  <c:v>46.694450705593717</c:v>
                </c:pt>
                <c:pt idx="5956">
                  <c:v>31.216344818605442</c:v>
                </c:pt>
                <c:pt idx="5957">
                  <c:v>25.83027521952458</c:v>
                </c:pt>
                <c:pt idx="5958">
                  <c:v>20.2812555807674</c:v>
                </c:pt>
                <c:pt idx="5959">
                  <c:v>52.173771288505215</c:v>
                </c:pt>
                <c:pt idx="5960">
                  <c:v>26.870259255742056</c:v>
                </c:pt>
                <c:pt idx="5961">
                  <c:v>27.409519784939523</c:v>
                </c:pt>
                <c:pt idx="5962">
                  <c:v>39.804972246562023</c:v>
                </c:pt>
                <c:pt idx="5963">
                  <c:v>45.764663824191345</c:v>
                </c:pt>
                <c:pt idx="5964">
                  <c:v>61.415895371408631</c:v>
                </c:pt>
                <c:pt idx="5965">
                  <c:v>41.897796007066063</c:v>
                </c:pt>
                <c:pt idx="5966">
                  <c:v>25.273882576099759</c:v>
                </c:pt>
                <c:pt idx="5967">
                  <c:v>17.863032125327642</c:v>
                </c:pt>
                <c:pt idx="5968">
                  <c:v>52.142637582417009</c:v>
                </c:pt>
                <c:pt idx="5969">
                  <c:v>28.405951373837937</c:v>
                </c:pt>
                <c:pt idx="5970">
                  <c:v>38.191031490250637</c:v>
                </c:pt>
                <c:pt idx="5971">
                  <c:v>24.800501225749599</c:v>
                </c:pt>
                <c:pt idx="5972">
                  <c:v>22.7161855130487</c:v>
                </c:pt>
                <c:pt idx="5973">
                  <c:v>36.478754834123464</c:v>
                </c:pt>
                <c:pt idx="5974">
                  <c:v>62.357116700038553</c:v>
                </c:pt>
                <c:pt idx="5975">
                  <c:v>17.336032498019449</c:v>
                </c:pt>
                <c:pt idx="5976">
                  <c:v>33.567163955411139</c:v>
                </c:pt>
                <c:pt idx="5977">
                  <c:v>37.009258030455591</c:v>
                </c:pt>
                <c:pt idx="5978">
                  <c:v>22.165199720080231</c:v>
                </c:pt>
                <c:pt idx="5979">
                  <c:v>21.755034046256224</c:v>
                </c:pt>
                <c:pt idx="5980">
                  <c:v>17.381255212324991</c:v>
                </c:pt>
                <c:pt idx="5981">
                  <c:v>27.664997443106106</c:v>
                </c:pt>
                <c:pt idx="5982">
                  <c:v>20.878388973428947</c:v>
                </c:pt>
                <c:pt idx="5983">
                  <c:v>30.180600577579789</c:v>
                </c:pt>
                <c:pt idx="5984">
                  <c:v>22.767619091241272</c:v>
                </c:pt>
                <c:pt idx="5985">
                  <c:v>21.699778137371144</c:v>
                </c:pt>
                <c:pt idx="5986">
                  <c:v>26.981222352314049</c:v>
                </c:pt>
                <c:pt idx="5987">
                  <c:v>27.610943775447744</c:v>
                </c:pt>
                <c:pt idx="5988">
                  <c:v>48.543084096327973</c:v>
                </c:pt>
                <c:pt idx="5989">
                  <c:v>18.699072769499693</c:v>
                </c:pt>
                <c:pt idx="5990">
                  <c:v>45.300888639994319</c:v>
                </c:pt>
                <c:pt idx="5991">
                  <c:v>29.713954957414821</c:v>
                </c:pt>
                <c:pt idx="5992">
                  <c:v>23.087444771686311</c:v>
                </c:pt>
                <c:pt idx="5993">
                  <c:v>53.383298223412723</c:v>
                </c:pt>
                <c:pt idx="5994">
                  <c:v>59.605924459176684</c:v>
                </c:pt>
                <c:pt idx="5995">
                  <c:v>26.975114138979219</c:v>
                </c:pt>
                <c:pt idx="5996">
                  <c:v>30.372016217243559</c:v>
                </c:pt>
                <c:pt idx="5997">
                  <c:v>38.662486629305342</c:v>
                </c:pt>
                <c:pt idx="5998">
                  <c:v>20.632061375529585</c:v>
                </c:pt>
                <c:pt idx="5999">
                  <c:v>24.510453789446547</c:v>
                </c:pt>
                <c:pt idx="6000">
                  <c:v>32.635943589849653</c:v>
                </c:pt>
                <c:pt idx="6001">
                  <c:v>35.123168643423234</c:v>
                </c:pt>
                <c:pt idx="6002">
                  <c:v>26.00709894903731</c:v>
                </c:pt>
                <c:pt idx="6003">
                  <c:v>20.972905906155578</c:v>
                </c:pt>
                <c:pt idx="6004">
                  <c:v>43.795321112285727</c:v>
                </c:pt>
                <c:pt idx="6005">
                  <c:v>27.470256087231029</c:v>
                </c:pt>
                <c:pt idx="6006">
                  <c:v>27.417119432202512</c:v>
                </c:pt>
                <c:pt idx="6007">
                  <c:v>27.67906047558342</c:v>
                </c:pt>
                <c:pt idx="6008">
                  <c:v>27.632599804309521</c:v>
                </c:pt>
                <c:pt idx="6009">
                  <c:v>59.930809849912002</c:v>
                </c:pt>
                <c:pt idx="6010">
                  <c:v>43.967317894822912</c:v>
                </c:pt>
                <c:pt idx="6011">
                  <c:v>23.726331329559606</c:v>
                </c:pt>
                <c:pt idx="6012">
                  <c:v>29.337301924629138</c:v>
                </c:pt>
                <c:pt idx="6013">
                  <c:v>29.060097195146508</c:v>
                </c:pt>
                <c:pt idx="6014">
                  <c:v>31.337432907493579</c:v>
                </c:pt>
                <c:pt idx="6015">
                  <c:v>29.433567681127016</c:v>
                </c:pt>
                <c:pt idx="6016">
                  <c:v>21.859285953512114</c:v>
                </c:pt>
                <c:pt idx="6017">
                  <c:v>27.650619807529196</c:v>
                </c:pt>
                <c:pt idx="6018">
                  <c:v>41.398214237824639</c:v>
                </c:pt>
                <c:pt idx="6019">
                  <c:v>25.217799452646204</c:v>
                </c:pt>
                <c:pt idx="6020">
                  <c:v>22.201694537351695</c:v>
                </c:pt>
                <c:pt idx="6021">
                  <c:v>24.689848259201931</c:v>
                </c:pt>
                <c:pt idx="6022">
                  <c:v>25.254773449976589</c:v>
                </c:pt>
                <c:pt idx="6023">
                  <c:v>30.217496311404691</c:v>
                </c:pt>
                <c:pt idx="6024">
                  <c:v>17.563837652308941</c:v>
                </c:pt>
                <c:pt idx="6025">
                  <c:v>21.248991624733847</c:v>
                </c:pt>
                <c:pt idx="6026">
                  <c:v>22.07191087745484</c:v>
                </c:pt>
                <c:pt idx="6027">
                  <c:v>49.134539853136232</c:v>
                </c:pt>
                <c:pt idx="6028">
                  <c:v>24.003696202215039</c:v>
                </c:pt>
                <c:pt idx="6029">
                  <c:v>22.804942650003095</c:v>
                </c:pt>
                <c:pt idx="6030">
                  <c:v>31.038249561557937</c:v>
                </c:pt>
                <c:pt idx="6031">
                  <c:v>31.580719419443298</c:v>
                </c:pt>
                <c:pt idx="6032">
                  <c:v>51.450379524082337</c:v>
                </c:pt>
                <c:pt idx="6033">
                  <c:v>30.755688480301092</c:v>
                </c:pt>
                <c:pt idx="6034">
                  <c:v>28.871658174885084</c:v>
                </c:pt>
                <c:pt idx="6035">
                  <c:v>30.07306830031532</c:v>
                </c:pt>
                <c:pt idx="6036">
                  <c:v>33.310158532663607</c:v>
                </c:pt>
                <c:pt idx="6037">
                  <c:v>23.520911317104289</c:v>
                </c:pt>
                <c:pt idx="6038">
                  <c:v>32.298125808570603</c:v>
                </c:pt>
                <c:pt idx="6039">
                  <c:v>48.232866458664695</c:v>
                </c:pt>
                <c:pt idx="6040">
                  <c:v>31.015563183185666</c:v>
                </c:pt>
                <c:pt idx="6041">
                  <c:v>32.304331867386907</c:v>
                </c:pt>
                <c:pt idx="6042">
                  <c:v>47.743569177104199</c:v>
                </c:pt>
                <c:pt idx="6043">
                  <c:v>31.579622586907618</c:v>
                </c:pt>
                <c:pt idx="6044">
                  <c:v>26.786417727358419</c:v>
                </c:pt>
                <c:pt idx="6045">
                  <c:v>33.74507557936343</c:v>
                </c:pt>
                <c:pt idx="6046">
                  <c:v>61.518269675300786</c:v>
                </c:pt>
                <c:pt idx="6047">
                  <c:v>40.790509512224773</c:v>
                </c:pt>
                <c:pt idx="6048">
                  <c:v>46.767956657883211</c:v>
                </c:pt>
                <c:pt idx="6049">
                  <c:v>26.048612220234908</c:v>
                </c:pt>
                <c:pt idx="6050">
                  <c:v>22.369465175321686</c:v>
                </c:pt>
                <c:pt idx="6051">
                  <c:v>31.547817155963727</c:v>
                </c:pt>
                <c:pt idx="6052">
                  <c:v>16.512463003400722</c:v>
                </c:pt>
                <c:pt idx="6053">
                  <c:v>55.879134725603606</c:v>
                </c:pt>
                <c:pt idx="6054">
                  <c:v>43.203216954478485</c:v>
                </c:pt>
                <c:pt idx="6055">
                  <c:v>32.662392310188878</c:v>
                </c:pt>
                <c:pt idx="6056">
                  <c:v>25.352469569952529</c:v>
                </c:pt>
                <c:pt idx="6057">
                  <c:v>26.736620100875818</c:v>
                </c:pt>
                <c:pt idx="6058">
                  <c:v>23.354905993248821</c:v>
                </c:pt>
                <c:pt idx="6059">
                  <c:v>41.255504529556731</c:v>
                </c:pt>
                <c:pt idx="6060">
                  <c:v>25.489050189963756</c:v>
                </c:pt>
                <c:pt idx="6061">
                  <c:v>31.538702160326544</c:v>
                </c:pt>
                <c:pt idx="6062">
                  <c:v>44.019483312370696</c:v>
                </c:pt>
                <c:pt idx="6063">
                  <c:v>24.093630164408353</c:v>
                </c:pt>
                <c:pt idx="6064">
                  <c:v>33.613770773831121</c:v>
                </c:pt>
                <c:pt idx="6065">
                  <c:v>45.315058084543466</c:v>
                </c:pt>
                <c:pt idx="6066">
                  <c:v>53.864141444480389</c:v>
                </c:pt>
                <c:pt idx="6067">
                  <c:v>35.746031964002029</c:v>
                </c:pt>
                <c:pt idx="6068">
                  <c:v>34.877014607859813</c:v>
                </c:pt>
                <c:pt idx="6069">
                  <c:v>25.179993004369926</c:v>
                </c:pt>
                <c:pt idx="6070">
                  <c:v>37.389035100630764</c:v>
                </c:pt>
                <c:pt idx="6071">
                  <c:v>48.038648732284855</c:v>
                </c:pt>
                <c:pt idx="6072">
                  <c:v>31.923125688575151</c:v>
                </c:pt>
                <c:pt idx="6073">
                  <c:v>32.249387399334871</c:v>
                </c:pt>
                <c:pt idx="6074">
                  <c:v>32.535586312801009</c:v>
                </c:pt>
                <c:pt idx="6075">
                  <c:v>54.195436543613056</c:v>
                </c:pt>
                <c:pt idx="6076">
                  <c:v>39.19934275371449</c:v>
                </c:pt>
                <c:pt idx="6077">
                  <c:v>22.063391098002612</c:v>
                </c:pt>
                <c:pt idx="6078">
                  <c:v>25.177970059510397</c:v>
                </c:pt>
                <c:pt idx="6079">
                  <c:v>26.856214183889918</c:v>
                </c:pt>
                <c:pt idx="6080">
                  <c:v>27.625784450423119</c:v>
                </c:pt>
                <c:pt idx="6081">
                  <c:v>21.042781908624068</c:v>
                </c:pt>
                <c:pt idx="6082">
                  <c:v>23.548377062141952</c:v>
                </c:pt>
                <c:pt idx="6083">
                  <c:v>30.336212066761981</c:v>
                </c:pt>
                <c:pt idx="6084">
                  <c:v>34.313753041153113</c:v>
                </c:pt>
                <c:pt idx="6085">
                  <c:v>25.882137506334221</c:v>
                </c:pt>
                <c:pt idx="6086">
                  <c:v>31.805238819282049</c:v>
                </c:pt>
                <c:pt idx="6087">
                  <c:v>42.152744190637378</c:v>
                </c:pt>
                <c:pt idx="6088">
                  <c:v>37.02154533712249</c:v>
                </c:pt>
                <c:pt idx="6089">
                  <c:v>26.892096925136183</c:v>
                </c:pt>
                <c:pt idx="6090">
                  <c:v>33.675863491826632</c:v>
                </c:pt>
                <c:pt idx="6091">
                  <c:v>17.41850363950487</c:v>
                </c:pt>
                <c:pt idx="6092">
                  <c:v>29.636181224750793</c:v>
                </c:pt>
                <c:pt idx="6093">
                  <c:v>44.231996907044383</c:v>
                </c:pt>
                <c:pt idx="6094">
                  <c:v>47.929281318994519</c:v>
                </c:pt>
                <c:pt idx="6095">
                  <c:v>24.226287673581538</c:v>
                </c:pt>
                <c:pt idx="6096">
                  <c:v>28.542131736502192</c:v>
                </c:pt>
                <c:pt idx="6097">
                  <c:v>25.81192540407482</c:v>
                </c:pt>
                <c:pt idx="6098">
                  <c:v>24.750755346894564</c:v>
                </c:pt>
                <c:pt idx="6099">
                  <c:v>24.917366653132866</c:v>
                </c:pt>
                <c:pt idx="6100">
                  <c:v>27.694840382336317</c:v>
                </c:pt>
                <c:pt idx="6101">
                  <c:v>22.999474362077528</c:v>
                </c:pt>
                <c:pt idx="6102">
                  <c:v>26.393034948643002</c:v>
                </c:pt>
                <c:pt idx="6103">
                  <c:v>31.0505407711346</c:v>
                </c:pt>
                <c:pt idx="6104">
                  <c:v>55.738318737523855</c:v>
                </c:pt>
                <c:pt idx="6105">
                  <c:v>33.508970275011137</c:v>
                </c:pt>
                <c:pt idx="6106">
                  <c:v>20.277557428819961</c:v>
                </c:pt>
                <c:pt idx="6107">
                  <c:v>50.712391518022038</c:v>
                </c:pt>
                <c:pt idx="6108">
                  <c:v>25.056200251103732</c:v>
                </c:pt>
                <c:pt idx="6109">
                  <c:v>34.988702223569462</c:v>
                </c:pt>
                <c:pt idx="6110">
                  <c:v>27.929222305914216</c:v>
                </c:pt>
                <c:pt idx="6111">
                  <c:v>50.7299004150968</c:v>
                </c:pt>
                <c:pt idx="6112">
                  <c:v>25.007388165388427</c:v>
                </c:pt>
                <c:pt idx="6113">
                  <c:v>61.243065082380284</c:v>
                </c:pt>
                <c:pt idx="6114">
                  <c:v>26.913670739151751</c:v>
                </c:pt>
                <c:pt idx="6115">
                  <c:v>25.363593635566136</c:v>
                </c:pt>
                <c:pt idx="6116">
                  <c:v>30.522280102640259</c:v>
                </c:pt>
                <c:pt idx="6117">
                  <c:v>22.142546856949458</c:v>
                </c:pt>
                <c:pt idx="6118">
                  <c:v>32.678657601855924</c:v>
                </c:pt>
                <c:pt idx="6119">
                  <c:v>30.421190457802709</c:v>
                </c:pt>
                <c:pt idx="6120">
                  <c:v>48.257686058777928</c:v>
                </c:pt>
                <c:pt idx="6121">
                  <c:v>22.493235151843422</c:v>
                </c:pt>
                <c:pt idx="6122">
                  <c:v>23.795108099009653</c:v>
                </c:pt>
                <c:pt idx="6123">
                  <c:v>54.849318600083251</c:v>
                </c:pt>
                <c:pt idx="6124">
                  <c:v>46.880408276283767</c:v>
                </c:pt>
                <c:pt idx="6125">
                  <c:v>29.899127540739659</c:v>
                </c:pt>
                <c:pt idx="6126">
                  <c:v>39.209583166265979</c:v>
                </c:pt>
                <c:pt idx="6127">
                  <c:v>32.208740332676228</c:v>
                </c:pt>
                <c:pt idx="6128">
                  <c:v>44.738694518082056</c:v>
                </c:pt>
                <c:pt idx="6129">
                  <c:v>52.953759881192468</c:v>
                </c:pt>
                <c:pt idx="6130">
                  <c:v>19.569196758074497</c:v>
                </c:pt>
                <c:pt idx="6131">
                  <c:v>25.020052143111908</c:v>
                </c:pt>
                <c:pt idx="6132">
                  <c:v>20.203370864949477</c:v>
                </c:pt>
                <c:pt idx="6133">
                  <c:v>35.528068358574764</c:v>
                </c:pt>
                <c:pt idx="6134">
                  <c:v>30.251309705451504</c:v>
                </c:pt>
                <c:pt idx="6135">
                  <c:v>24.658175420845296</c:v>
                </c:pt>
                <c:pt idx="6136">
                  <c:v>19.268514979880724</c:v>
                </c:pt>
                <c:pt idx="6137">
                  <c:v>27.67853196129877</c:v>
                </c:pt>
                <c:pt idx="6138">
                  <c:v>29.851444403045722</c:v>
                </c:pt>
                <c:pt idx="6139">
                  <c:v>37.183301915977793</c:v>
                </c:pt>
                <c:pt idx="6140">
                  <c:v>38.886671255785615</c:v>
                </c:pt>
                <c:pt idx="6141">
                  <c:v>40.500854209723315</c:v>
                </c:pt>
                <c:pt idx="6142">
                  <c:v>20.180455483655923</c:v>
                </c:pt>
                <c:pt idx="6143">
                  <c:v>27.598869749571712</c:v>
                </c:pt>
                <c:pt idx="6144">
                  <c:v>29.237920490127067</c:v>
                </c:pt>
                <c:pt idx="6145">
                  <c:v>28.42077580777109</c:v>
                </c:pt>
                <c:pt idx="6146">
                  <c:v>32.735181204630265</c:v>
                </c:pt>
                <c:pt idx="6147">
                  <c:v>56.781750989970163</c:v>
                </c:pt>
                <c:pt idx="6148">
                  <c:v>13.68770165270297</c:v>
                </c:pt>
                <c:pt idx="6149">
                  <c:v>27.655273945213082</c:v>
                </c:pt>
                <c:pt idx="6150">
                  <c:v>26.564094469251497</c:v>
                </c:pt>
                <c:pt idx="6151">
                  <c:v>30.607212214684537</c:v>
                </c:pt>
                <c:pt idx="6152">
                  <c:v>40.281927424960841</c:v>
                </c:pt>
                <c:pt idx="6153">
                  <c:v>27.855058137917403</c:v>
                </c:pt>
                <c:pt idx="6154">
                  <c:v>31.302343270192004</c:v>
                </c:pt>
                <c:pt idx="6155">
                  <c:v>28.16511352173114</c:v>
                </c:pt>
                <c:pt idx="6156">
                  <c:v>41.111529605042421</c:v>
                </c:pt>
                <c:pt idx="6157">
                  <c:v>44.693004300911838</c:v>
                </c:pt>
                <c:pt idx="6158">
                  <c:v>37.930174370483485</c:v>
                </c:pt>
                <c:pt idx="6159">
                  <c:v>30.87947546223031</c:v>
                </c:pt>
                <c:pt idx="6160">
                  <c:v>55.110406562205775</c:v>
                </c:pt>
                <c:pt idx="6161">
                  <c:v>30.182320702411264</c:v>
                </c:pt>
                <c:pt idx="6162">
                  <c:v>25.303684703501407</c:v>
                </c:pt>
                <c:pt idx="6163">
                  <c:v>28.206353112105749</c:v>
                </c:pt>
                <c:pt idx="6164">
                  <c:v>23.075406864471297</c:v>
                </c:pt>
                <c:pt idx="6165">
                  <c:v>31.872004853870855</c:v>
                </c:pt>
                <c:pt idx="6166">
                  <c:v>46.506085499651668</c:v>
                </c:pt>
                <c:pt idx="6167">
                  <c:v>61.690373319586186</c:v>
                </c:pt>
                <c:pt idx="6168">
                  <c:v>49.228900229932663</c:v>
                </c:pt>
                <c:pt idx="6169">
                  <c:v>25.764265997260694</c:v>
                </c:pt>
                <c:pt idx="6170">
                  <c:v>23.437697211678131</c:v>
                </c:pt>
                <c:pt idx="6171">
                  <c:v>49.609024546660216</c:v>
                </c:pt>
                <c:pt idx="6172">
                  <c:v>22.650455202527809</c:v>
                </c:pt>
                <c:pt idx="6173">
                  <c:v>30.443339460257537</c:v>
                </c:pt>
                <c:pt idx="6174">
                  <c:v>25.562492912893489</c:v>
                </c:pt>
                <c:pt idx="6175">
                  <c:v>26.861579322016961</c:v>
                </c:pt>
                <c:pt idx="6176">
                  <c:v>26.631398632134967</c:v>
                </c:pt>
                <c:pt idx="6177">
                  <c:v>26.724313227974726</c:v>
                </c:pt>
                <c:pt idx="6178">
                  <c:v>26.164875421384917</c:v>
                </c:pt>
                <c:pt idx="6179">
                  <c:v>25.138020822092017</c:v>
                </c:pt>
                <c:pt idx="6180">
                  <c:v>26.934418521804254</c:v>
                </c:pt>
                <c:pt idx="6181">
                  <c:v>44.752526271920111</c:v>
                </c:pt>
                <c:pt idx="6182">
                  <c:v>31.377078958609548</c:v>
                </c:pt>
                <c:pt idx="6183">
                  <c:v>22.970974472754445</c:v>
                </c:pt>
                <c:pt idx="6184">
                  <c:v>39.809396149458081</c:v>
                </c:pt>
                <c:pt idx="6185">
                  <c:v>22.597618558865978</c:v>
                </c:pt>
                <c:pt idx="6186">
                  <c:v>33.379962394257952</c:v>
                </c:pt>
                <c:pt idx="6187">
                  <c:v>26.240433732888174</c:v>
                </c:pt>
                <c:pt idx="6188">
                  <c:v>49.985650513008046</c:v>
                </c:pt>
                <c:pt idx="6189">
                  <c:v>24.263042885887931</c:v>
                </c:pt>
                <c:pt idx="6190">
                  <c:v>60.928242837278084</c:v>
                </c:pt>
                <c:pt idx="6191">
                  <c:v>22.602261746677907</c:v>
                </c:pt>
                <c:pt idx="6192">
                  <c:v>26.892418851987269</c:v>
                </c:pt>
                <c:pt idx="6193">
                  <c:v>24.107310068928467</c:v>
                </c:pt>
                <c:pt idx="6194">
                  <c:v>40.209632251881203</c:v>
                </c:pt>
                <c:pt idx="6195">
                  <c:v>50.673172873487943</c:v>
                </c:pt>
                <c:pt idx="6196">
                  <c:v>30.779904104058552</c:v>
                </c:pt>
                <c:pt idx="6197">
                  <c:v>37.392511287024178</c:v>
                </c:pt>
                <c:pt idx="6198">
                  <c:v>23.685633908289709</c:v>
                </c:pt>
                <c:pt idx="6199">
                  <c:v>42.873696528299064</c:v>
                </c:pt>
                <c:pt idx="6200">
                  <c:v>33.857233881986865</c:v>
                </c:pt>
                <c:pt idx="6201">
                  <c:v>33.014999013900265</c:v>
                </c:pt>
                <c:pt idx="6202">
                  <c:v>23.854065116478111</c:v>
                </c:pt>
                <c:pt idx="6203">
                  <c:v>31.984108594480663</c:v>
                </c:pt>
                <c:pt idx="6204">
                  <c:v>30.301942702644837</c:v>
                </c:pt>
                <c:pt idx="6205">
                  <c:v>50.571473301367156</c:v>
                </c:pt>
                <c:pt idx="6206">
                  <c:v>30.90328547999512</c:v>
                </c:pt>
                <c:pt idx="6207">
                  <c:v>27.209224123412842</c:v>
                </c:pt>
                <c:pt idx="6208">
                  <c:v>27.889328584351155</c:v>
                </c:pt>
                <c:pt idx="6209">
                  <c:v>30.299693231746211</c:v>
                </c:pt>
                <c:pt idx="6210">
                  <c:v>21.499727089729987</c:v>
                </c:pt>
                <c:pt idx="6211">
                  <c:v>20.855948261667319</c:v>
                </c:pt>
                <c:pt idx="6212">
                  <c:v>27.306516043453833</c:v>
                </c:pt>
                <c:pt idx="6213">
                  <c:v>45.324837500723092</c:v>
                </c:pt>
                <c:pt idx="6214">
                  <c:v>27.077194864888746</c:v>
                </c:pt>
                <c:pt idx="6215">
                  <c:v>39.944962035684362</c:v>
                </c:pt>
                <c:pt idx="6216">
                  <c:v>30.572483645618711</c:v>
                </c:pt>
                <c:pt idx="6217">
                  <c:v>38.896336012773382</c:v>
                </c:pt>
                <c:pt idx="6218">
                  <c:v>33.13365810419792</c:v>
                </c:pt>
                <c:pt idx="6219">
                  <c:v>20.861502591180095</c:v>
                </c:pt>
                <c:pt idx="6220">
                  <c:v>22.471987890392498</c:v>
                </c:pt>
                <c:pt idx="6221">
                  <c:v>45.745824169679864</c:v>
                </c:pt>
                <c:pt idx="6222">
                  <c:v>46.915863142884419</c:v>
                </c:pt>
                <c:pt idx="6223">
                  <c:v>35.659050591091344</c:v>
                </c:pt>
                <c:pt idx="6224">
                  <c:v>37.866929932979176</c:v>
                </c:pt>
                <c:pt idx="6225">
                  <c:v>36.77068359467485</c:v>
                </c:pt>
                <c:pt idx="6226">
                  <c:v>24.501810404249273</c:v>
                </c:pt>
                <c:pt idx="6227">
                  <c:v>18.225309380394652</c:v>
                </c:pt>
                <c:pt idx="6228">
                  <c:v>35.802081731337488</c:v>
                </c:pt>
                <c:pt idx="6229">
                  <c:v>23.967919608615464</c:v>
                </c:pt>
                <c:pt idx="6230">
                  <c:v>25.797607475079161</c:v>
                </c:pt>
                <c:pt idx="6231">
                  <c:v>27.310515295820437</c:v>
                </c:pt>
                <c:pt idx="6232">
                  <c:v>28.826803576843723</c:v>
                </c:pt>
                <c:pt idx="6233">
                  <c:v>30.738544147605189</c:v>
                </c:pt>
                <c:pt idx="6234">
                  <c:v>25.463918077828993</c:v>
                </c:pt>
                <c:pt idx="6235">
                  <c:v>33.502496928137475</c:v>
                </c:pt>
                <c:pt idx="6236">
                  <c:v>43.774816872099144</c:v>
                </c:pt>
                <c:pt idx="6237">
                  <c:v>29.731882646786595</c:v>
                </c:pt>
                <c:pt idx="6238">
                  <c:v>28.772689426825643</c:v>
                </c:pt>
                <c:pt idx="6239">
                  <c:v>48.554525362431335</c:v>
                </c:pt>
                <c:pt idx="6240">
                  <c:v>23.156090814811911</c:v>
                </c:pt>
                <c:pt idx="6241">
                  <c:v>28.291992744814824</c:v>
                </c:pt>
                <c:pt idx="6242">
                  <c:v>24.011631304839007</c:v>
                </c:pt>
                <c:pt idx="6243">
                  <c:v>23.279494498172571</c:v>
                </c:pt>
                <c:pt idx="6244">
                  <c:v>31.355168857411403</c:v>
                </c:pt>
                <c:pt idx="6245">
                  <c:v>54.496856909738057</c:v>
                </c:pt>
                <c:pt idx="6246">
                  <c:v>28.245474211997049</c:v>
                </c:pt>
                <c:pt idx="6247">
                  <c:v>22.08186153700246</c:v>
                </c:pt>
                <c:pt idx="6248">
                  <c:v>26.721286101300485</c:v>
                </c:pt>
                <c:pt idx="6249">
                  <c:v>53.014843133327574</c:v>
                </c:pt>
                <c:pt idx="6250">
                  <c:v>49.163718954476671</c:v>
                </c:pt>
                <c:pt idx="6251">
                  <c:v>29.328467235328745</c:v>
                </c:pt>
                <c:pt idx="6252">
                  <c:v>27.879330927767985</c:v>
                </c:pt>
                <c:pt idx="6253">
                  <c:v>22.601578917586156</c:v>
                </c:pt>
                <c:pt idx="6254">
                  <c:v>41.483563643294403</c:v>
                </c:pt>
                <c:pt idx="6255">
                  <c:v>25.4551482666132</c:v>
                </c:pt>
                <c:pt idx="6256">
                  <c:v>51.256840644321485</c:v>
                </c:pt>
                <c:pt idx="6257">
                  <c:v>26.628245538497588</c:v>
                </c:pt>
                <c:pt idx="6258">
                  <c:v>37.493662831039863</c:v>
                </c:pt>
                <c:pt idx="6259">
                  <c:v>27.123592499209629</c:v>
                </c:pt>
                <c:pt idx="6260">
                  <c:v>39.074658964467936</c:v>
                </c:pt>
                <c:pt idx="6261">
                  <c:v>27.301319419822295</c:v>
                </c:pt>
                <c:pt idx="6262">
                  <c:v>24.800547167553287</c:v>
                </c:pt>
                <c:pt idx="6263">
                  <c:v>31.095481545339815</c:v>
                </c:pt>
                <c:pt idx="6264">
                  <c:v>30.170381292849054</c:v>
                </c:pt>
                <c:pt idx="6265">
                  <c:v>26.378665834245709</c:v>
                </c:pt>
                <c:pt idx="6266">
                  <c:v>32.475980908307889</c:v>
                </c:pt>
                <c:pt idx="6267">
                  <c:v>27.334909437989221</c:v>
                </c:pt>
                <c:pt idx="6268">
                  <c:v>25.836646401981945</c:v>
                </c:pt>
                <c:pt idx="6269">
                  <c:v>32.433831519551696</c:v>
                </c:pt>
                <c:pt idx="6270">
                  <c:v>25.720086989808312</c:v>
                </c:pt>
                <c:pt idx="6271">
                  <c:v>31.449379391789801</c:v>
                </c:pt>
                <c:pt idx="6272">
                  <c:v>25.400207564477626</c:v>
                </c:pt>
                <c:pt idx="6273">
                  <c:v>32.355392023482054</c:v>
                </c:pt>
                <c:pt idx="6274">
                  <c:v>39.193094234333941</c:v>
                </c:pt>
                <c:pt idx="6275">
                  <c:v>26.380730980170462</c:v>
                </c:pt>
                <c:pt idx="6276">
                  <c:v>32.076783546799085</c:v>
                </c:pt>
                <c:pt idx="6277">
                  <c:v>28.320137005555587</c:v>
                </c:pt>
                <c:pt idx="6278">
                  <c:v>42.404153150723083</c:v>
                </c:pt>
                <c:pt idx="6279">
                  <c:v>14.672365504189184</c:v>
                </c:pt>
                <c:pt idx="6280">
                  <c:v>24.071743463140539</c:v>
                </c:pt>
                <c:pt idx="6281">
                  <c:v>30.661855254162461</c:v>
                </c:pt>
                <c:pt idx="6282">
                  <c:v>28.35842722802078</c:v>
                </c:pt>
                <c:pt idx="6283">
                  <c:v>29.55628196190343</c:v>
                </c:pt>
                <c:pt idx="6284">
                  <c:v>47.515637729142064</c:v>
                </c:pt>
                <c:pt idx="6285">
                  <c:v>30.549694139513264</c:v>
                </c:pt>
                <c:pt idx="6286">
                  <c:v>54.179773360496057</c:v>
                </c:pt>
                <c:pt idx="6287">
                  <c:v>26.890926832105983</c:v>
                </c:pt>
                <c:pt idx="6288">
                  <c:v>34.318397143488909</c:v>
                </c:pt>
                <c:pt idx="6289">
                  <c:v>26.48747317843268</c:v>
                </c:pt>
                <c:pt idx="6290">
                  <c:v>19.715100364880755</c:v>
                </c:pt>
                <c:pt idx="6291">
                  <c:v>46.652850621903248</c:v>
                </c:pt>
                <c:pt idx="6292">
                  <c:v>28.160623783617162</c:v>
                </c:pt>
                <c:pt idx="6293">
                  <c:v>41.154260056707408</c:v>
                </c:pt>
                <c:pt idx="6294">
                  <c:v>27.058932298411669</c:v>
                </c:pt>
                <c:pt idx="6295">
                  <c:v>25.537174367530792</c:v>
                </c:pt>
                <c:pt idx="6296">
                  <c:v>21.30685709609946</c:v>
                </c:pt>
                <c:pt idx="6297">
                  <c:v>18.195657588559985</c:v>
                </c:pt>
                <c:pt idx="6298">
                  <c:v>28.359722673547111</c:v>
                </c:pt>
                <c:pt idx="6299">
                  <c:v>42.208805059224744</c:v>
                </c:pt>
                <c:pt idx="6300">
                  <c:v>39.129947301845547</c:v>
                </c:pt>
                <c:pt idx="6301">
                  <c:v>33.5971207241085</c:v>
                </c:pt>
                <c:pt idx="6302">
                  <c:v>56.18485157596939</c:v>
                </c:pt>
                <c:pt idx="6303">
                  <c:v>30.915287377170312</c:v>
                </c:pt>
                <c:pt idx="6304">
                  <c:v>28.96719346771259</c:v>
                </c:pt>
                <c:pt idx="6305">
                  <c:v>24.031160141786238</c:v>
                </c:pt>
                <c:pt idx="6306">
                  <c:v>20.350055066903955</c:v>
                </c:pt>
                <c:pt idx="6307">
                  <c:v>40.58121697689991</c:v>
                </c:pt>
                <c:pt idx="6308">
                  <c:v>27.511964557884767</c:v>
                </c:pt>
                <c:pt idx="6309">
                  <c:v>27.674624297724307</c:v>
                </c:pt>
                <c:pt idx="6310">
                  <c:v>49.459749799869904</c:v>
                </c:pt>
                <c:pt idx="6311">
                  <c:v>24.400744213934804</c:v>
                </c:pt>
                <c:pt idx="6312">
                  <c:v>28.371172872208994</c:v>
                </c:pt>
                <c:pt idx="6313">
                  <c:v>52.561942710234739</c:v>
                </c:pt>
                <c:pt idx="6314">
                  <c:v>39.353539008072346</c:v>
                </c:pt>
                <c:pt idx="6315">
                  <c:v>48.210781598554526</c:v>
                </c:pt>
                <c:pt idx="6316">
                  <c:v>29.414035916175301</c:v>
                </c:pt>
                <c:pt idx="6317">
                  <c:v>44.41264534530201</c:v>
                </c:pt>
                <c:pt idx="6318">
                  <c:v>62.55890954803796</c:v>
                </c:pt>
                <c:pt idx="6319">
                  <c:v>30.78343566291873</c:v>
                </c:pt>
                <c:pt idx="6320">
                  <c:v>31.41275433397108</c:v>
                </c:pt>
                <c:pt idx="6321">
                  <c:v>27.75515352837116</c:v>
                </c:pt>
                <c:pt idx="6322">
                  <c:v>44.837660281855079</c:v>
                </c:pt>
                <c:pt idx="6323">
                  <c:v>25.7789898641809</c:v>
                </c:pt>
                <c:pt idx="6324">
                  <c:v>32.905873618914192</c:v>
                </c:pt>
                <c:pt idx="6325">
                  <c:v>30.176491907044742</c:v>
                </c:pt>
                <c:pt idx="6326">
                  <c:v>25.919144240965963</c:v>
                </c:pt>
                <c:pt idx="6327">
                  <c:v>19.871821722327969</c:v>
                </c:pt>
                <c:pt idx="6328">
                  <c:v>51.467085424404004</c:v>
                </c:pt>
                <c:pt idx="6329">
                  <c:v>25.428957533882972</c:v>
                </c:pt>
                <c:pt idx="6330">
                  <c:v>33.019544776301302</c:v>
                </c:pt>
                <c:pt idx="6331">
                  <c:v>34.912321898507095</c:v>
                </c:pt>
                <c:pt idx="6332">
                  <c:v>24.561932747012868</c:v>
                </c:pt>
                <c:pt idx="6333">
                  <c:v>47.363203513776888</c:v>
                </c:pt>
                <c:pt idx="6334">
                  <c:v>25.927075366188067</c:v>
                </c:pt>
                <c:pt idx="6335">
                  <c:v>25.420513045703743</c:v>
                </c:pt>
                <c:pt idx="6336">
                  <c:v>24.451841428633671</c:v>
                </c:pt>
                <c:pt idx="6337">
                  <c:v>22.205820569570555</c:v>
                </c:pt>
                <c:pt idx="6338">
                  <c:v>25.602831218851986</c:v>
                </c:pt>
                <c:pt idx="6339">
                  <c:v>40.350159882366889</c:v>
                </c:pt>
                <c:pt idx="6340">
                  <c:v>34.026843064524428</c:v>
                </c:pt>
                <c:pt idx="6341">
                  <c:v>41.121752325176061</c:v>
                </c:pt>
                <c:pt idx="6342">
                  <c:v>19.490958586181254</c:v>
                </c:pt>
                <c:pt idx="6343">
                  <c:v>31.990376019821952</c:v>
                </c:pt>
                <c:pt idx="6344">
                  <c:v>31.502794416102514</c:v>
                </c:pt>
                <c:pt idx="6345">
                  <c:v>26.758463779137017</c:v>
                </c:pt>
                <c:pt idx="6346">
                  <c:v>41.959365695342839</c:v>
                </c:pt>
                <c:pt idx="6347">
                  <c:v>27.841306339803033</c:v>
                </c:pt>
                <c:pt idx="6348">
                  <c:v>22.843256328087406</c:v>
                </c:pt>
                <c:pt idx="6349">
                  <c:v>20.407754478100387</c:v>
                </c:pt>
                <c:pt idx="6350">
                  <c:v>32.934644635928713</c:v>
                </c:pt>
                <c:pt idx="6351">
                  <c:v>22.931861340856916</c:v>
                </c:pt>
                <c:pt idx="6352">
                  <c:v>30.514775110193249</c:v>
                </c:pt>
                <c:pt idx="6353">
                  <c:v>24.249618001980433</c:v>
                </c:pt>
                <c:pt idx="6354">
                  <c:v>20.311445329557444</c:v>
                </c:pt>
                <c:pt idx="6355">
                  <c:v>42.735870628588231</c:v>
                </c:pt>
                <c:pt idx="6356">
                  <c:v>33.237543257300743</c:v>
                </c:pt>
                <c:pt idx="6357">
                  <c:v>29.33104578293532</c:v>
                </c:pt>
                <c:pt idx="6358">
                  <c:v>46.043040047351354</c:v>
                </c:pt>
                <c:pt idx="6359">
                  <c:v>26.212271195177202</c:v>
                </c:pt>
                <c:pt idx="6360">
                  <c:v>23.704467762883709</c:v>
                </c:pt>
                <c:pt idx="6361">
                  <c:v>30.626064590352897</c:v>
                </c:pt>
                <c:pt idx="6362">
                  <c:v>23.912285069753953</c:v>
                </c:pt>
                <c:pt idx="6363">
                  <c:v>28.446628480272295</c:v>
                </c:pt>
                <c:pt idx="6364">
                  <c:v>23.2560048714879</c:v>
                </c:pt>
                <c:pt idx="6365">
                  <c:v>33.094336699591807</c:v>
                </c:pt>
                <c:pt idx="6366">
                  <c:v>19.193373153397463</c:v>
                </c:pt>
                <c:pt idx="6367">
                  <c:v>47.941441877743792</c:v>
                </c:pt>
                <c:pt idx="6368">
                  <c:v>22.109125018676071</c:v>
                </c:pt>
                <c:pt idx="6369">
                  <c:v>39.47312329566963</c:v>
                </c:pt>
                <c:pt idx="6370">
                  <c:v>43.251943454877328</c:v>
                </c:pt>
                <c:pt idx="6371">
                  <c:v>31.592241487664317</c:v>
                </c:pt>
                <c:pt idx="6372">
                  <c:v>28.668661969063329</c:v>
                </c:pt>
                <c:pt idx="6373">
                  <c:v>52.618718934725685</c:v>
                </c:pt>
                <c:pt idx="6374">
                  <c:v>21.955633123419567</c:v>
                </c:pt>
                <c:pt idx="6375">
                  <c:v>20.165171303386362</c:v>
                </c:pt>
                <c:pt idx="6376">
                  <c:v>52.780002677925296</c:v>
                </c:pt>
                <c:pt idx="6377">
                  <c:v>24.888086152868432</c:v>
                </c:pt>
                <c:pt idx="6378">
                  <c:v>38.891779254404291</c:v>
                </c:pt>
                <c:pt idx="6379">
                  <c:v>27.911281443311829</c:v>
                </c:pt>
                <c:pt idx="6380">
                  <c:v>32.281243406782814</c:v>
                </c:pt>
                <c:pt idx="6381">
                  <c:v>42.406123841471647</c:v>
                </c:pt>
                <c:pt idx="6382">
                  <c:v>31.84392973620611</c:v>
                </c:pt>
                <c:pt idx="6383">
                  <c:v>46.056081478834592</c:v>
                </c:pt>
                <c:pt idx="6384">
                  <c:v>30.03136292060741</c:v>
                </c:pt>
                <c:pt idx="6385">
                  <c:v>24.637850448211218</c:v>
                </c:pt>
                <c:pt idx="6386">
                  <c:v>48.871766180995479</c:v>
                </c:pt>
                <c:pt idx="6387">
                  <c:v>24.660961245145053</c:v>
                </c:pt>
                <c:pt idx="6388">
                  <c:v>27.034356718951308</c:v>
                </c:pt>
                <c:pt idx="6389">
                  <c:v>27.0715289125243</c:v>
                </c:pt>
                <c:pt idx="6390">
                  <c:v>28.710614687346357</c:v>
                </c:pt>
                <c:pt idx="6391">
                  <c:v>25.816277303072852</c:v>
                </c:pt>
                <c:pt idx="6392">
                  <c:v>25.439072979659052</c:v>
                </c:pt>
                <c:pt idx="6393">
                  <c:v>27.329437442423583</c:v>
                </c:pt>
                <c:pt idx="6394">
                  <c:v>27.018339814196455</c:v>
                </c:pt>
                <c:pt idx="6395">
                  <c:v>25.666046330926637</c:v>
                </c:pt>
                <c:pt idx="6396">
                  <c:v>22.097567388717287</c:v>
                </c:pt>
                <c:pt idx="6397">
                  <c:v>25.11333231791005</c:v>
                </c:pt>
                <c:pt idx="6398">
                  <c:v>37.725826312842905</c:v>
                </c:pt>
                <c:pt idx="6399">
                  <c:v>28.502217154755183</c:v>
                </c:pt>
                <c:pt idx="6400">
                  <c:v>28.816330665405612</c:v>
                </c:pt>
                <c:pt idx="6401">
                  <c:v>48.04792926715799</c:v>
                </c:pt>
                <c:pt idx="6402">
                  <c:v>19.106401701211162</c:v>
                </c:pt>
                <c:pt idx="6403">
                  <c:v>44.898810553371142</c:v>
                </c:pt>
                <c:pt idx="6404">
                  <c:v>26.698858057061329</c:v>
                </c:pt>
                <c:pt idx="6405">
                  <c:v>48.960117155729179</c:v>
                </c:pt>
                <c:pt idx="6406">
                  <c:v>27.930053138094319</c:v>
                </c:pt>
                <c:pt idx="6407">
                  <c:v>36.353036785190639</c:v>
                </c:pt>
                <c:pt idx="6408">
                  <c:v>35.387075206945482</c:v>
                </c:pt>
                <c:pt idx="6409">
                  <c:v>28.40631638392269</c:v>
                </c:pt>
                <c:pt idx="6410">
                  <c:v>21.629129054984411</c:v>
                </c:pt>
                <c:pt idx="6411">
                  <c:v>28.014217478346048</c:v>
                </c:pt>
                <c:pt idx="6412">
                  <c:v>39.382990475884029</c:v>
                </c:pt>
                <c:pt idx="6413">
                  <c:v>30.271040538335441</c:v>
                </c:pt>
                <c:pt idx="6414">
                  <c:v>27.870727409248961</c:v>
                </c:pt>
                <c:pt idx="6415">
                  <c:v>26.78060051213086</c:v>
                </c:pt>
                <c:pt idx="6416">
                  <c:v>26.192007206522604</c:v>
                </c:pt>
                <c:pt idx="6417">
                  <c:v>33.535811709504877</c:v>
                </c:pt>
                <c:pt idx="6418">
                  <c:v>57.01607871346755</c:v>
                </c:pt>
                <c:pt idx="6419">
                  <c:v>24.776772289644931</c:v>
                </c:pt>
                <c:pt idx="6420">
                  <c:v>23.638322660918465</c:v>
                </c:pt>
                <c:pt idx="6421">
                  <c:v>26.497850306139117</c:v>
                </c:pt>
                <c:pt idx="6422">
                  <c:v>45.669390672727516</c:v>
                </c:pt>
                <c:pt idx="6423">
                  <c:v>28.49152841746729</c:v>
                </c:pt>
                <c:pt idx="6424">
                  <c:v>32.00064197054715</c:v>
                </c:pt>
                <c:pt idx="6425">
                  <c:v>48.299600458990732</c:v>
                </c:pt>
                <c:pt idx="6426">
                  <c:v>17.895362954140957</c:v>
                </c:pt>
                <c:pt idx="6427">
                  <c:v>19.817272022767824</c:v>
                </c:pt>
                <c:pt idx="6428">
                  <c:v>25.254690565504191</c:v>
                </c:pt>
                <c:pt idx="6429">
                  <c:v>45.743319306535888</c:v>
                </c:pt>
                <c:pt idx="6430">
                  <c:v>21.669643473136468</c:v>
                </c:pt>
                <c:pt idx="6431">
                  <c:v>30.706999305375884</c:v>
                </c:pt>
                <c:pt idx="6432">
                  <c:v>33.618842108773855</c:v>
                </c:pt>
                <c:pt idx="6433">
                  <c:v>35.558046197634113</c:v>
                </c:pt>
                <c:pt idx="6434">
                  <c:v>30.74092480627322</c:v>
                </c:pt>
                <c:pt idx="6435">
                  <c:v>38.89265657503978</c:v>
                </c:pt>
                <c:pt idx="6436">
                  <c:v>48.158475286810649</c:v>
                </c:pt>
                <c:pt idx="6437">
                  <c:v>25.583422892907585</c:v>
                </c:pt>
                <c:pt idx="6438">
                  <c:v>20.05719566607889</c:v>
                </c:pt>
                <c:pt idx="6439">
                  <c:v>49.12929246450696</c:v>
                </c:pt>
                <c:pt idx="6440">
                  <c:v>29.109698054248611</c:v>
                </c:pt>
                <c:pt idx="6441">
                  <c:v>49.55471560349271</c:v>
                </c:pt>
                <c:pt idx="6442">
                  <c:v>50.568399459736554</c:v>
                </c:pt>
                <c:pt idx="6443">
                  <c:v>17.682476854180504</c:v>
                </c:pt>
                <c:pt idx="6444">
                  <c:v>19.856662555376943</c:v>
                </c:pt>
                <c:pt idx="6445">
                  <c:v>53.108787941681499</c:v>
                </c:pt>
                <c:pt idx="6446">
                  <c:v>25.902148648652158</c:v>
                </c:pt>
                <c:pt idx="6447">
                  <c:v>26.896855054480479</c:v>
                </c:pt>
                <c:pt idx="6448">
                  <c:v>24.776048053690072</c:v>
                </c:pt>
                <c:pt idx="6449">
                  <c:v>15.543980956648209</c:v>
                </c:pt>
                <c:pt idx="6450">
                  <c:v>23.328025847151139</c:v>
                </c:pt>
                <c:pt idx="6451">
                  <c:v>59.114711258853362</c:v>
                </c:pt>
                <c:pt idx="6452">
                  <c:v>24.359577569214093</c:v>
                </c:pt>
                <c:pt idx="6453">
                  <c:v>37.100965968626959</c:v>
                </c:pt>
                <c:pt idx="6454">
                  <c:v>38.844044345262112</c:v>
                </c:pt>
                <c:pt idx="6455">
                  <c:v>26.865121437053585</c:v>
                </c:pt>
                <c:pt idx="6456">
                  <c:v>20.442763951277094</c:v>
                </c:pt>
                <c:pt idx="6457">
                  <c:v>45.865943057987764</c:v>
                </c:pt>
                <c:pt idx="6458">
                  <c:v>23.929013009705614</c:v>
                </c:pt>
                <c:pt idx="6459">
                  <c:v>30.766068141093381</c:v>
                </c:pt>
                <c:pt idx="6460">
                  <c:v>26.488256390147544</c:v>
                </c:pt>
                <c:pt idx="6461">
                  <c:v>34.24213149061957</c:v>
                </c:pt>
                <c:pt idx="6462">
                  <c:v>33.020652052602919</c:v>
                </c:pt>
                <c:pt idx="6463">
                  <c:v>30.131764837075949</c:v>
                </c:pt>
                <c:pt idx="6464">
                  <c:v>29.815667964881527</c:v>
                </c:pt>
                <c:pt idx="6465">
                  <c:v>42.70670041187946</c:v>
                </c:pt>
                <c:pt idx="6466">
                  <c:v>29.689723100730731</c:v>
                </c:pt>
                <c:pt idx="6467">
                  <c:v>41.250751803957328</c:v>
                </c:pt>
                <c:pt idx="6468">
                  <c:v>33.407541914024598</c:v>
                </c:pt>
                <c:pt idx="6469">
                  <c:v>32.046627326380587</c:v>
                </c:pt>
                <c:pt idx="6470">
                  <c:v>26.491286992383124</c:v>
                </c:pt>
                <c:pt idx="6471">
                  <c:v>22.228053984276947</c:v>
                </c:pt>
                <c:pt idx="6472">
                  <c:v>25.023742063783608</c:v>
                </c:pt>
                <c:pt idx="6473">
                  <c:v>20.632037457258399</c:v>
                </c:pt>
                <c:pt idx="6474">
                  <c:v>29.576169620498032</c:v>
                </c:pt>
                <c:pt idx="6475">
                  <c:v>37.08760799046015</c:v>
                </c:pt>
                <c:pt idx="6476">
                  <c:v>26.089370017197737</c:v>
                </c:pt>
                <c:pt idx="6477">
                  <c:v>38.186122264475586</c:v>
                </c:pt>
                <c:pt idx="6478">
                  <c:v>27.66792413480988</c:v>
                </c:pt>
                <c:pt idx="6479">
                  <c:v>53.437522120867683</c:v>
                </c:pt>
                <c:pt idx="6480">
                  <c:v>52.90632197012647</c:v>
                </c:pt>
                <c:pt idx="6481">
                  <c:v>28.033414346806296</c:v>
                </c:pt>
                <c:pt idx="6482">
                  <c:v>20.338761455265725</c:v>
                </c:pt>
                <c:pt idx="6483">
                  <c:v>29.325268322734757</c:v>
                </c:pt>
                <c:pt idx="6484">
                  <c:v>52.304779358559912</c:v>
                </c:pt>
                <c:pt idx="6485">
                  <c:v>29.002958503953025</c:v>
                </c:pt>
                <c:pt idx="6486">
                  <c:v>36.08370980550059</c:v>
                </c:pt>
                <c:pt idx="6487">
                  <c:v>31.982947425830758</c:v>
                </c:pt>
                <c:pt idx="6488">
                  <c:v>33.948286715681888</c:v>
                </c:pt>
                <c:pt idx="6489">
                  <c:v>48.261766992246081</c:v>
                </c:pt>
                <c:pt idx="6490">
                  <c:v>39.94282844168103</c:v>
                </c:pt>
                <c:pt idx="6491">
                  <c:v>52.641168667461244</c:v>
                </c:pt>
                <c:pt idx="6492">
                  <c:v>25.754966595109121</c:v>
                </c:pt>
                <c:pt idx="6493">
                  <c:v>24.609668397689287</c:v>
                </c:pt>
                <c:pt idx="6494">
                  <c:v>56.576300036062698</c:v>
                </c:pt>
                <c:pt idx="6495">
                  <c:v>24.57214763112885</c:v>
                </c:pt>
                <c:pt idx="6496">
                  <c:v>21.271425859591268</c:v>
                </c:pt>
                <c:pt idx="6497">
                  <c:v>24.231969059757592</c:v>
                </c:pt>
                <c:pt idx="6498">
                  <c:v>22.449909715898983</c:v>
                </c:pt>
                <c:pt idx="6499">
                  <c:v>43.357919218318493</c:v>
                </c:pt>
                <c:pt idx="6500">
                  <c:v>33.540350720638209</c:v>
                </c:pt>
                <c:pt idx="6501">
                  <c:v>33.613563735304119</c:v>
                </c:pt>
                <c:pt idx="6502">
                  <c:v>26.35618888214703</c:v>
                </c:pt>
                <c:pt idx="6503">
                  <c:v>42.072668366203835</c:v>
                </c:pt>
                <c:pt idx="6504">
                  <c:v>46.735671182672569</c:v>
                </c:pt>
                <c:pt idx="6505">
                  <c:v>50.521519154120249</c:v>
                </c:pt>
                <c:pt idx="6506">
                  <c:v>26.219329639570187</c:v>
                </c:pt>
                <c:pt idx="6507">
                  <c:v>30.32856773335287</c:v>
                </c:pt>
                <c:pt idx="6508">
                  <c:v>35.91817180136691</c:v>
                </c:pt>
                <c:pt idx="6509">
                  <c:v>25.901238409706888</c:v>
                </c:pt>
                <c:pt idx="6510">
                  <c:v>31.030586466615418</c:v>
                </c:pt>
                <c:pt idx="6511">
                  <c:v>29.954588889976911</c:v>
                </c:pt>
                <c:pt idx="6512">
                  <c:v>23.728521751470982</c:v>
                </c:pt>
                <c:pt idx="6513">
                  <c:v>22.634599160308749</c:v>
                </c:pt>
                <c:pt idx="6514">
                  <c:v>26.758334225517416</c:v>
                </c:pt>
                <c:pt idx="6515">
                  <c:v>28.271089074745994</c:v>
                </c:pt>
                <c:pt idx="6516">
                  <c:v>47.773806082186454</c:v>
                </c:pt>
                <c:pt idx="6517">
                  <c:v>26.12590750316755</c:v>
                </c:pt>
                <c:pt idx="6518">
                  <c:v>22.508114661823242</c:v>
                </c:pt>
                <c:pt idx="6519">
                  <c:v>29.848193795582752</c:v>
                </c:pt>
                <c:pt idx="6520">
                  <c:v>23.773740553993552</c:v>
                </c:pt>
                <c:pt idx="6521">
                  <c:v>42.729172290968279</c:v>
                </c:pt>
                <c:pt idx="6522">
                  <c:v>24.500402427062646</c:v>
                </c:pt>
                <c:pt idx="6523">
                  <c:v>24.25133270312363</c:v>
                </c:pt>
                <c:pt idx="6524">
                  <c:v>26.773962136592278</c:v>
                </c:pt>
                <c:pt idx="6525">
                  <c:v>23.113765259889952</c:v>
                </c:pt>
                <c:pt idx="6526">
                  <c:v>26.602004828363647</c:v>
                </c:pt>
                <c:pt idx="6527">
                  <c:v>36.270823064860032</c:v>
                </c:pt>
                <c:pt idx="6528">
                  <c:v>34.729948117600536</c:v>
                </c:pt>
                <c:pt idx="6529">
                  <c:v>16.373115827166639</c:v>
                </c:pt>
                <c:pt idx="6530">
                  <c:v>26.007915197000308</c:v>
                </c:pt>
                <c:pt idx="6531">
                  <c:v>20.011668140981996</c:v>
                </c:pt>
                <c:pt idx="6532">
                  <c:v>24.552019133597174</c:v>
                </c:pt>
                <c:pt idx="6533">
                  <c:v>27.223323592590624</c:v>
                </c:pt>
                <c:pt idx="6534">
                  <c:v>43.993828421154085</c:v>
                </c:pt>
                <c:pt idx="6535">
                  <c:v>23.744985379413638</c:v>
                </c:pt>
                <c:pt idx="6536">
                  <c:v>23.602116645148065</c:v>
                </c:pt>
                <c:pt idx="6537">
                  <c:v>33.298969138863356</c:v>
                </c:pt>
                <c:pt idx="6538">
                  <c:v>25.655149503581022</c:v>
                </c:pt>
                <c:pt idx="6539">
                  <c:v>35.196520011067108</c:v>
                </c:pt>
                <c:pt idx="6540">
                  <c:v>29.487130402274616</c:v>
                </c:pt>
                <c:pt idx="6541">
                  <c:v>29.377001901192855</c:v>
                </c:pt>
                <c:pt idx="6542">
                  <c:v>25.225310681318149</c:v>
                </c:pt>
                <c:pt idx="6543">
                  <c:v>26.640334295486852</c:v>
                </c:pt>
                <c:pt idx="6544">
                  <c:v>21.780969543392395</c:v>
                </c:pt>
                <c:pt idx="6545">
                  <c:v>20.827313941222823</c:v>
                </c:pt>
                <c:pt idx="6546">
                  <c:v>26.993225381968536</c:v>
                </c:pt>
                <c:pt idx="6547">
                  <c:v>48.487767434781404</c:v>
                </c:pt>
                <c:pt idx="6548">
                  <c:v>28.732093143972151</c:v>
                </c:pt>
                <c:pt idx="6549">
                  <c:v>39.443823392921928</c:v>
                </c:pt>
                <c:pt idx="6550">
                  <c:v>54.875501321690521</c:v>
                </c:pt>
                <c:pt idx="6551">
                  <c:v>28.827276090435973</c:v>
                </c:pt>
                <c:pt idx="6552">
                  <c:v>30.303193996028515</c:v>
                </c:pt>
                <c:pt idx="6553">
                  <c:v>32.709734864717674</c:v>
                </c:pt>
                <c:pt idx="6554">
                  <c:v>19.960779567653059</c:v>
                </c:pt>
                <c:pt idx="6555">
                  <c:v>23.269246286089196</c:v>
                </c:pt>
                <c:pt idx="6556">
                  <c:v>21.785598866470686</c:v>
                </c:pt>
                <c:pt idx="6557">
                  <c:v>27.701826477126829</c:v>
                </c:pt>
                <c:pt idx="6558">
                  <c:v>30.393300865904209</c:v>
                </c:pt>
                <c:pt idx="6559">
                  <c:v>29.961646911375468</c:v>
                </c:pt>
                <c:pt idx="6560">
                  <c:v>38.297750916975815</c:v>
                </c:pt>
                <c:pt idx="6561">
                  <c:v>24.098387687700487</c:v>
                </c:pt>
                <c:pt idx="6562">
                  <c:v>20.795562752756606</c:v>
                </c:pt>
                <c:pt idx="6563">
                  <c:v>19.885313358951304</c:v>
                </c:pt>
                <c:pt idx="6564">
                  <c:v>32.191062691419177</c:v>
                </c:pt>
                <c:pt idx="6565">
                  <c:v>23.624001860541618</c:v>
                </c:pt>
                <c:pt idx="6566">
                  <c:v>28.95823928227415</c:v>
                </c:pt>
                <c:pt idx="6567">
                  <c:v>27.213065799986474</c:v>
                </c:pt>
                <c:pt idx="6568">
                  <c:v>30.257302245555859</c:v>
                </c:pt>
                <c:pt idx="6569">
                  <c:v>34.695383616428522</c:v>
                </c:pt>
                <c:pt idx="6570">
                  <c:v>21.811858300217658</c:v>
                </c:pt>
                <c:pt idx="6571">
                  <c:v>25.909467390430819</c:v>
                </c:pt>
                <c:pt idx="6572">
                  <c:v>27.793611520622541</c:v>
                </c:pt>
                <c:pt idx="6573">
                  <c:v>33.975593079296509</c:v>
                </c:pt>
                <c:pt idx="6574">
                  <c:v>33.718143568631561</c:v>
                </c:pt>
                <c:pt idx="6575">
                  <c:v>31.124045916931678</c:v>
                </c:pt>
                <c:pt idx="6576">
                  <c:v>38.550746874102444</c:v>
                </c:pt>
                <c:pt idx="6577">
                  <c:v>24.514322529508437</c:v>
                </c:pt>
                <c:pt idx="6578">
                  <c:v>58.986450917035249</c:v>
                </c:pt>
                <c:pt idx="6579">
                  <c:v>20.339174581283281</c:v>
                </c:pt>
                <c:pt idx="6580">
                  <c:v>21.188264150723988</c:v>
                </c:pt>
                <c:pt idx="6581">
                  <c:v>32.752124008081466</c:v>
                </c:pt>
                <c:pt idx="6582">
                  <c:v>27.213586361221687</c:v>
                </c:pt>
                <c:pt idx="6583">
                  <c:v>23.170779091449862</c:v>
                </c:pt>
                <c:pt idx="6584">
                  <c:v>21.267549170028641</c:v>
                </c:pt>
                <c:pt idx="6585">
                  <c:v>44.268222931559258</c:v>
                </c:pt>
                <c:pt idx="6586">
                  <c:v>44.964087375801178</c:v>
                </c:pt>
                <c:pt idx="6587">
                  <c:v>21.061037604286877</c:v>
                </c:pt>
                <c:pt idx="6588">
                  <c:v>26.501506694146876</c:v>
                </c:pt>
                <c:pt idx="6589">
                  <c:v>24.905765456135661</c:v>
                </c:pt>
                <c:pt idx="6590">
                  <c:v>41.060746099962699</c:v>
                </c:pt>
                <c:pt idx="6591">
                  <c:v>20.42556599620832</c:v>
                </c:pt>
                <c:pt idx="6592">
                  <c:v>23.300403875532478</c:v>
                </c:pt>
                <c:pt idx="6593">
                  <c:v>37.036907927798843</c:v>
                </c:pt>
                <c:pt idx="6594">
                  <c:v>69.446638814231179</c:v>
                </c:pt>
                <c:pt idx="6595">
                  <c:v>21.686470860730271</c:v>
                </c:pt>
                <c:pt idx="6596">
                  <c:v>34.854438863953433</c:v>
                </c:pt>
                <c:pt idx="6597">
                  <c:v>39.355714581064056</c:v>
                </c:pt>
                <c:pt idx="6598">
                  <c:v>40.232638229623909</c:v>
                </c:pt>
                <c:pt idx="6599">
                  <c:v>15.720242485636495</c:v>
                </c:pt>
                <c:pt idx="6600">
                  <c:v>23.00981033663783</c:v>
                </c:pt>
                <c:pt idx="6601">
                  <c:v>23.005364099607831</c:v>
                </c:pt>
                <c:pt idx="6602">
                  <c:v>36.511117379302625</c:v>
                </c:pt>
                <c:pt idx="6603">
                  <c:v>24.714386851859739</c:v>
                </c:pt>
                <c:pt idx="6604">
                  <c:v>49.168755910326553</c:v>
                </c:pt>
                <c:pt idx="6605">
                  <c:v>22.02790006536955</c:v>
                </c:pt>
                <c:pt idx="6606">
                  <c:v>29.469880432765116</c:v>
                </c:pt>
                <c:pt idx="6607">
                  <c:v>30.500816566285124</c:v>
                </c:pt>
                <c:pt idx="6608">
                  <c:v>21.140878742216149</c:v>
                </c:pt>
                <c:pt idx="6609">
                  <c:v>46.097389592567239</c:v>
                </c:pt>
                <c:pt idx="6610">
                  <c:v>37.41347073205057</c:v>
                </c:pt>
                <c:pt idx="6611">
                  <c:v>39.720150806653102</c:v>
                </c:pt>
                <c:pt idx="6612">
                  <c:v>22.416429176164584</c:v>
                </c:pt>
                <c:pt idx="6613">
                  <c:v>29.752883620366536</c:v>
                </c:pt>
                <c:pt idx="6614">
                  <c:v>20.956460581478535</c:v>
                </c:pt>
                <c:pt idx="6615">
                  <c:v>34.096859304449993</c:v>
                </c:pt>
                <c:pt idx="6616">
                  <c:v>17.48908411711859</c:v>
                </c:pt>
                <c:pt idx="6617">
                  <c:v>14.984671542584737</c:v>
                </c:pt>
                <c:pt idx="6618">
                  <c:v>47.770401705752455</c:v>
                </c:pt>
                <c:pt idx="6619">
                  <c:v>25.594722258316601</c:v>
                </c:pt>
                <c:pt idx="6620">
                  <c:v>27.888337795017147</c:v>
                </c:pt>
                <c:pt idx="6621">
                  <c:v>21.270242004431669</c:v>
                </c:pt>
                <c:pt idx="6622">
                  <c:v>33.438467048820783</c:v>
                </c:pt>
                <c:pt idx="6623">
                  <c:v>28.214923685464665</c:v>
                </c:pt>
                <c:pt idx="6624">
                  <c:v>49.394190576024236</c:v>
                </c:pt>
                <c:pt idx="6625">
                  <c:v>24.818006749799498</c:v>
                </c:pt>
                <c:pt idx="6626">
                  <c:v>30.446556411860591</c:v>
                </c:pt>
                <c:pt idx="6627">
                  <c:v>35.224167635943751</c:v>
                </c:pt>
                <c:pt idx="6628">
                  <c:v>25.136076972761082</c:v>
                </c:pt>
                <c:pt idx="6629">
                  <c:v>57.440485998240703</c:v>
                </c:pt>
                <c:pt idx="6630">
                  <c:v>26.717600099580213</c:v>
                </c:pt>
                <c:pt idx="6631">
                  <c:v>44.609558937094079</c:v>
                </c:pt>
                <c:pt idx="6632">
                  <c:v>23.622234218494196</c:v>
                </c:pt>
                <c:pt idx="6633">
                  <c:v>32.512065958961763</c:v>
                </c:pt>
                <c:pt idx="6634">
                  <c:v>32.454439871788367</c:v>
                </c:pt>
                <c:pt idx="6635">
                  <c:v>51.340597700163535</c:v>
                </c:pt>
                <c:pt idx="6636">
                  <c:v>32.980670053769337</c:v>
                </c:pt>
                <c:pt idx="6637">
                  <c:v>23.282829002020343</c:v>
                </c:pt>
                <c:pt idx="6638">
                  <c:v>60.543895884664067</c:v>
                </c:pt>
                <c:pt idx="6639">
                  <c:v>27.063592420297944</c:v>
                </c:pt>
                <c:pt idx="6640">
                  <c:v>27.316533307881429</c:v>
                </c:pt>
                <c:pt idx="6641">
                  <c:v>27.00319224285294</c:v>
                </c:pt>
                <c:pt idx="6642">
                  <c:v>24.081438067531106</c:v>
                </c:pt>
                <c:pt idx="6643">
                  <c:v>30.241130572253681</c:v>
                </c:pt>
                <c:pt idx="6644">
                  <c:v>19.43264999398135</c:v>
                </c:pt>
                <c:pt idx="6645">
                  <c:v>54.533256023481876</c:v>
                </c:pt>
                <c:pt idx="6646">
                  <c:v>37.151644555280285</c:v>
                </c:pt>
                <c:pt idx="6647">
                  <c:v>31.995323390767403</c:v>
                </c:pt>
                <c:pt idx="6648">
                  <c:v>35.932892356338371</c:v>
                </c:pt>
                <c:pt idx="6649">
                  <c:v>45.295258916984174</c:v>
                </c:pt>
                <c:pt idx="6650">
                  <c:v>31.058521156147549</c:v>
                </c:pt>
                <c:pt idx="6651">
                  <c:v>17.624527471313677</c:v>
                </c:pt>
                <c:pt idx="6652">
                  <c:v>29.010184731695748</c:v>
                </c:pt>
                <c:pt idx="6653">
                  <c:v>22.857128896759718</c:v>
                </c:pt>
                <c:pt idx="6654">
                  <c:v>15.806511573224256</c:v>
                </c:pt>
                <c:pt idx="6655">
                  <c:v>28.018344302073348</c:v>
                </c:pt>
                <c:pt idx="6656">
                  <c:v>33.097709717825822</c:v>
                </c:pt>
                <c:pt idx="6657">
                  <c:v>31.578821451406434</c:v>
                </c:pt>
                <c:pt idx="6658">
                  <c:v>37.536274360923663</c:v>
                </c:pt>
                <c:pt idx="6659">
                  <c:v>21.731189905635564</c:v>
                </c:pt>
                <c:pt idx="6660">
                  <c:v>27.88290391859022</c:v>
                </c:pt>
                <c:pt idx="6661">
                  <c:v>44.978905368013052</c:v>
                </c:pt>
                <c:pt idx="6662">
                  <c:v>28.699419770253531</c:v>
                </c:pt>
                <c:pt idx="6663">
                  <c:v>27.899567187241406</c:v>
                </c:pt>
                <c:pt idx="6664">
                  <c:v>30.746941266085017</c:v>
                </c:pt>
                <c:pt idx="6665">
                  <c:v>34.783777022140079</c:v>
                </c:pt>
                <c:pt idx="6666">
                  <c:v>56.425364113211558</c:v>
                </c:pt>
                <c:pt idx="6667">
                  <c:v>38.24662329952686</c:v>
                </c:pt>
                <c:pt idx="6668">
                  <c:v>39.232137236344137</c:v>
                </c:pt>
                <c:pt idx="6669">
                  <c:v>48.51974142906424</c:v>
                </c:pt>
                <c:pt idx="6670">
                  <c:v>24.497837872733523</c:v>
                </c:pt>
                <c:pt idx="6671">
                  <c:v>22.136961515307323</c:v>
                </c:pt>
                <c:pt idx="6672">
                  <c:v>48.3882484047313</c:v>
                </c:pt>
                <c:pt idx="6673">
                  <c:v>22.483141737835766</c:v>
                </c:pt>
                <c:pt idx="6674">
                  <c:v>25.792943706351146</c:v>
                </c:pt>
                <c:pt idx="6675">
                  <c:v>44.186117217196887</c:v>
                </c:pt>
                <c:pt idx="6676">
                  <c:v>32.293959003204307</c:v>
                </c:pt>
                <c:pt idx="6677">
                  <c:v>38.042319258949021</c:v>
                </c:pt>
                <c:pt idx="6678">
                  <c:v>27.851869303583232</c:v>
                </c:pt>
                <c:pt idx="6679">
                  <c:v>38.227874772385121</c:v>
                </c:pt>
                <c:pt idx="6680">
                  <c:v>40.218345803384544</c:v>
                </c:pt>
                <c:pt idx="6681">
                  <c:v>32.355167267068332</c:v>
                </c:pt>
                <c:pt idx="6682">
                  <c:v>19.394508759971956</c:v>
                </c:pt>
                <c:pt idx="6683">
                  <c:v>24.872470064270424</c:v>
                </c:pt>
                <c:pt idx="6684">
                  <c:v>54.881330976902298</c:v>
                </c:pt>
                <c:pt idx="6685">
                  <c:v>38.643627755533608</c:v>
                </c:pt>
                <c:pt idx="6686">
                  <c:v>39.241977633570649</c:v>
                </c:pt>
                <c:pt idx="6687">
                  <c:v>24.147983982581017</c:v>
                </c:pt>
                <c:pt idx="6688">
                  <c:v>47.926102533544224</c:v>
                </c:pt>
                <c:pt idx="6689">
                  <c:v>24.794515720032944</c:v>
                </c:pt>
                <c:pt idx="6690">
                  <c:v>37.108895561009817</c:v>
                </c:pt>
                <c:pt idx="6691">
                  <c:v>37.813935544216612</c:v>
                </c:pt>
                <c:pt idx="6692">
                  <c:v>23.585616767279255</c:v>
                </c:pt>
                <c:pt idx="6693">
                  <c:v>31.908982625263175</c:v>
                </c:pt>
                <c:pt idx="6694">
                  <c:v>21.9796843434818</c:v>
                </c:pt>
                <c:pt idx="6695">
                  <c:v>30.042925163157037</c:v>
                </c:pt>
                <c:pt idx="6696">
                  <c:v>28.959277605656002</c:v>
                </c:pt>
                <c:pt idx="6697">
                  <c:v>18.429815358405925</c:v>
                </c:pt>
                <c:pt idx="6698">
                  <c:v>26.993244098086127</c:v>
                </c:pt>
                <c:pt idx="6699">
                  <c:v>52.947873028445834</c:v>
                </c:pt>
                <c:pt idx="6700">
                  <c:v>23.110959870823397</c:v>
                </c:pt>
                <c:pt idx="6701">
                  <c:v>28.783076562026814</c:v>
                </c:pt>
                <c:pt idx="6702">
                  <c:v>29.189966715754025</c:v>
                </c:pt>
                <c:pt idx="6703">
                  <c:v>35.090208924647364</c:v>
                </c:pt>
                <c:pt idx="6704">
                  <c:v>27.239130718628392</c:v>
                </c:pt>
                <c:pt idx="6705">
                  <c:v>35.72714962683294</c:v>
                </c:pt>
                <c:pt idx="6706">
                  <c:v>19.030481875696125</c:v>
                </c:pt>
                <c:pt idx="6707">
                  <c:v>32.437870687955417</c:v>
                </c:pt>
                <c:pt idx="6708">
                  <c:v>32.365415647891808</c:v>
                </c:pt>
                <c:pt idx="6709">
                  <c:v>39.468867028988036</c:v>
                </c:pt>
                <c:pt idx="6710">
                  <c:v>48.59921725681869</c:v>
                </c:pt>
                <c:pt idx="6711">
                  <c:v>22.687111020178477</c:v>
                </c:pt>
                <c:pt idx="6712">
                  <c:v>33.229463868125563</c:v>
                </c:pt>
                <c:pt idx="6713">
                  <c:v>27.998230650569369</c:v>
                </c:pt>
                <c:pt idx="6714">
                  <c:v>42.082367083827862</c:v>
                </c:pt>
                <c:pt idx="6715">
                  <c:v>36.6816000548869</c:v>
                </c:pt>
                <c:pt idx="6716">
                  <c:v>44.101188702510406</c:v>
                </c:pt>
                <c:pt idx="6717">
                  <c:v>31.765913674984041</c:v>
                </c:pt>
                <c:pt idx="6718">
                  <c:v>29.995264324228593</c:v>
                </c:pt>
                <c:pt idx="6719">
                  <c:v>47.11375143188819</c:v>
                </c:pt>
                <c:pt idx="6720">
                  <c:v>50.938179409578034</c:v>
                </c:pt>
                <c:pt idx="6721">
                  <c:v>27.198174173636808</c:v>
                </c:pt>
                <c:pt idx="6722">
                  <c:v>28.623321584458932</c:v>
                </c:pt>
                <c:pt idx="6723">
                  <c:v>53.618097833057092</c:v>
                </c:pt>
                <c:pt idx="6724">
                  <c:v>23.795478033911571</c:v>
                </c:pt>
                <c:pt idx="6725">
                  <c:v>26.450436767315058</c:v>
                </c:pt>
                <c:pt idx="6726">
                  <c:v>24.412669670326441</c:v>
                </c:pt>
                <c:pt idx="6727">
                  <c:v>25.452245090266342</c:v>
                </c:pt>
                <c:pt idx="6728">
                  <c:v>36.013342285278611</c:v>
                </c:pt>
                <c:pt idx="6729">
                  <c:v>46.947026809878125</c:v>
                </c:pt>
                <c:pt idx="6730">
                  <c:v>28.301636685991774</c:v>
                </c:pt>
                <c:pt idx="6731">
                  <c:v>31.370332432007736</c:v>
                </c:pt>
                <c:pt idx="6732">
                  <c:v>44.374065641136212</c:v>
                </c:pt>
                <c:pt idx="6733">
                  <c:v>21.136904677937292</c:v>
                </c:pt>
                <c:pt idx="6734">
                  <c:v>52.928375718164212</c:v>
                </c:pt>
                <c:pt idx="6735">
                  <c:v>25.854272842110589</c:v>
                </c:pt>
                <c:pt idx="6736">
                  <c:v>28.291048840631639</c:v>
                </c:pt>
                <c:pt idx="6737">
                  <c:v>49.467606854602785</c:v>
                </c:pt>
                <c:pt idx="6738">
                  <c:v>26.071168510984677</c:v>
                </c:pt>
                <c:pt idx="6739">
                  <c:v>23.59992548415855</c:v>
                </c:pt>
                <c:pt idx="6740">
                  <c:v>32.432609011794007</c:v>
                </c:pt>
                <c:pt idx="6741">
                  <c:v>20.34378513797639</c:v>
                </c:pt>
                <c:pt idx="6742">
                  <c:v>19.722963902356092</c:v>
                </c:pt>
                <c:pt idx="6743">
                  <c:v>24.532621733078162</c:v>
                </c:pt>
                <c:pt idx="6744">
                  <c:v>23.17605391266277</c:v>
                </c:pt>
                <c:pt idx="6745">
                  <c:v>40.996166009264662</c:v>
                </c:pt>
                <c:pt idx="6746">
                  <c:v>22.801306608159294</c:v>
                </c:pt>
                <c:pt idx="6747">
                  <c:v>32.744896552308475</c:v>
                </c:pt>
                <c:pt idx="6748">
                  <c:v>20.784879077492686</c:v>
                </c:pt>
                <c:pt idx="6749">
                  <c:v>23.47042020040023</c:v>
                </c:pt>
                <c:pt idx="6750">
                  <c:v>26.558564988387307</c:v>
                </c:pt>
                <c:pt idx="6751">
                  <c:v>21.697602897418701</c:v>
                </c:pt>
                <c:pt idx="6752">
                  <c:v>26.583874902657033</c:v>
                </c:pt>
                <c:pt idx="6753">
                  <c:v>26.759538058457039</c:v>
                </c:pt>
                <c:pt idx="6754">
                  <c:v>22.3949561351643</c:v>
                </c:pt>
                <c:pt idx="6755">
                  <c:v>33.750370746659577</c:v>
                </c:pt>
                <c:pt idx="6756">
                  <c:v>47.196874982476153</c:v>
                </c:pt>
                <c:pt idx="6757">
                  <c:v>48.277532652506061</c:v>
                </c:pt>
                <c:pt idx="6758">
                  <c:v>26.867233917222556</c:v>
                </c:pt>
                <c:pt idx="6759">
                  <c:v>27.451383549103475</c:v>
                </c:pt>
                <c:pt idx="6760">
                  <c:v>36.794554038712832</c:v>
                </c:pt>
                <c:pt idx="6761">
                  <c:v>26.95295969035443</c:v>
                </c:pt>
                <c:pt idx="6762">
                  <c:v>36.577749810812982</c:v>
                </c:pt>
                <c:pt idx="6763">
                  <c:v>31.391904468238387</c:v>
                </c:pt>
                <c:pt idx="6764">
                  <c:v>27.528432865640141</c:v>
                </c:pt>
                <c:pt idx="6765">
                  <c:v>20.917899963950077</c:v>
                </c:pt>
                <c:pt idx="6766">
                  <c:v>31.525963077742453</c:v>
                </c:pt>
                <c:pt idx="6767">
                  <c:v>25.189841528395981</c:v>
                </c:pt>
                <c:pt idx="6768">
                  <c:v>39.484790544305696</c:v>
                </c:pt>
                <c:pt idx="6769">
                  <c:v>40.959676532835658</c:v>
                </c:pt>
                <c:pt idx="6770">
                  <c:v>31.780325288736577</c:v>
                </c:pt>
                <c:pt idx="6771">
                  <c:v>46.126909827916613</c:v>
                </c:pt>
                <c:pt idx="6772">
                  <c:v>23.987009781563472</c:v>
                </c:pt>
                <c:pt idx="6773">
                  <c:v>23.691272625233012</c:v>
                </c:pt>
                <c:pt idx="6774">
                  <c:v>23.131574586283907</c:v>
                </c:pt>
                <c:pt idx="6775">
                  <c:v>38.072059162758741</c:v>
                </c:pt>
                <c:pt idx="6776">
                  <c:v>25.625903124957198</c:v>
                </c:pt>
                <c:pt idx="6777">
                  <c:v>42.357986347345147</c:v>
                </c:pt>
                <c:pt idx="6778">
                  <c:v>43.612722491188741</c:v>
                </c:pt>
                <c:pt idx="6779">
                  <c:v>43.680412064542708</c:v>
                </c:pt>
                <c:pt idx="6780">
                  <c:v>33.292002511368132</c:v>
                </c:pt>
                <c:pt idx="6781">
                  <c:v>26.942191051391216</c:v>
                </c:pt>
                <c:pt idx="6782">
                  <c:v>22.210252867961128</c:v>
                </c:pt>
                <c:pt idx="6783">
                  <c:v>23.832722684945807</c:v>
                </c:pt>
                <c:pt idx="6784">
                  <c:v>21.250891573990202</c:v>
                </c:pt>
                <c:pt idx="6785">
                  <c:v>26.702273671196959</c:v>
                </c:pt>
                <c:pt idx="6786">
                  <c:v>24.348018449972997</c:v>
                </c:pt>
                <c:pt idx="6787">
                  <c:v>21.036617305294481</c:v>
                </c:pt>
                <c:pt idx="6788">
                  <c:v>26.668762085243834</c:v>
                </c:pt>
                <c:pt idx="6789">
                  <c:v>49.550819530671596</c:v>
                </c:pt>
                <c:pt idx="6790">
                  <c:v>31.453835862884198</c:v>
                </c:pt>
                <c:pt idx="6791">
                  <c:v>33.254173119438214</c:v>
                </c:pt>
                <c:pt idx="6792">
                  <c:v>50.588832045779583</c:v>
                </c:pt>
                <c:pt idx="6793">
                  <c:v>46.668499333835129</c:v>
                </c:pt>
                <c:pt idx="6794">
                  <c:v>16.651372723144199</c:v>
                </c:pt>
                <c:pt idx="6795">
                  <c:v>25.641500108065479</c:v>
                </c:pt>
                <c:pt idx="6796">
                  <c:v>39.112299704137165</c:v>
                </c:pt>
                <c:pt idx="6797">
                  <c:v>28.071419902761466</c:v>
                </c:pt>
                <c:pt idx="6798">
                  <c:v>21.786710163806504</c:v>
                </c:pt>
                <c:pt idx="6799">
                  <c:v>26.446482036986694</c:v>
                </c:pt>
                <c:pt idx="6800">
                  <c:v>44.67650551896763</c:v>
                </c:pt>
                <c:pt idx="6801">
                  <c:v>27.666338047653166</c:v>
                </c:pt>
                <c:pt idx="6802">
                  <c:v>23.507183165418901</c:v>
                </c:pt>
                <c:pt idx="6803">
                  <c:v>20.11971508911251</c:v>
                </c:pt>
                <c:pt idx="6804">
                  <c:v>21.7121409073522</c:v>
                </c:pt>
                <c:pt idx="6805">
                  <c:v>44.027763957016489</c:v>
                </c:pt>
                <c:pt idx="6806">
                  <c:v>37.221300983665927</c:v>
                </c:pt>
                <c:pt idx="6807">
                  <c:v>22.499151549251557</c:v>
                </c:pt>
                <c:pt idx="6808">
                  <c:v>15.597933717755527</c:v>
                </c:pt>
                <c:pt idx="6809">
                  <c:v>33.767058077254489</c:v>
                </c:pt>
                <c:pt idx="6810">
                  <c:v>23.433330989664526</c:v>
                </c:pt>
                <c:pt idx="6811">
                  <c:v>28.337397616280185</c:v>
                </c:pt>
                <c:pt idx="6812">
                  <c:v>50.522195450860849</c:v>
                </c:pt>
                <c:pt idx="6813">
                  <c:v>22.260145483908818</c:v>
                </c:pt>
                <c:pt idx="6814">
                  <c:v>20.829894805476702</c:v>
                </c:pt>
                <c:pt idx="6815">
                  <c:v>29.973782677635256</c:v>
                </c:pt>
                <c:pt idx="6816">
                  <c:v>22.51882660017856</c:v>
                </c:pt>
                <c:pt idx="6817">
                  <c:v>31.107397495469357</c:v>
                </c:pt>
                <c:pt idx="6818">
                  <c:v>30.832294072382886</c:v>
                </c:pt>
                <c:pt idx="6819">
                  <c:v>22.987232328042428</c:v>
                </c:pt>
                <c:pt idx="6820">
                  <c:v>34.32102028661528</c:v>
                </c:pt>
                <c:pt idx="6821">
                  <c:v>25.295069925456637</c:v>
                </c:pt>
                <c:pt idx="6822">
                  <c:v>27.764618068313645</c:v>
                </c:pt>
                <c:pt idx="6823">
                  <c:v>24.727906239575955</c:v>
                </c:pt>
                <c:pt idx="6824">
                  <c:v>27.013714099212454</c:v>
                </c:pt>
                <c:pt idx="6825">
                  <c:v>37.285133442631441</c:v>
                </c:pt>
                <c:pt idx="6826">
                  <c:v>37.144842897519823</c:v>
                </c:pt>
                <c:pt idx="6827">
                  <c:v>40.923708253565309</c:v>
                </c:pt>
                <c:pt idx="6828">
                  <c:v>21.472711857007791</c:v>
                </c:pt>
                <c:pt idx="6829">
                  <c:v>22.717813706703037</c:v>
                </c:pt>
                <c:pt idx="6830">
                  <c:v>35.739573747610166</c:v>
                </c:pt>
                <c:pt idx="6831">
                  <c:v>27.343108838755022</c:v>
                </c:pt>
                <c:pt idx="6832">
                  <c:v>37.578289271897141</c:v>
                </c:pt>
                <c:pt idx="6833">
                  <c:v>40.875716184319629</c:v>
                </c:pt>
                <c:pt idx="6834">
                  <c:v>22.337623314194033</c:v>
                </c:pt>
                <c:pt idx="6835">
                  <c:v>26.358964658133143</c:v>
                </c:pt>
                <c:pt idx="6836">
                  <c:v>23.790324050354496</c:v>
                </c:pt>
                <c:pt idx="6837">
                  <c:v>25.278102221925735</c:v>
                </c:pt>
                <c:pt idx="6838">
                  <c:v>39.307113450057997</c:v>
                </c:pt>
                <c:pt idx="6839">
                  <c:v>33.127461140011008</c:v>
                </c:pt>
                <c:pt idx="6840">
                  <c:v>47.785356404547436</c:v>
                </c:pt>
                <c:pt idx="6841">
                  <c:v>23.787126841744097</c:v>
                </c:pt>
                <c:pt idx="6842">
                  <c:v>27.204008717020667</c:v>
                </c:pt>
                <c:pt idx="6843">
                  <c:v>54.629425168941751</c:v>
                </c:pt>
                <c:pt idx="6844">
                  <c:v>32.147652259568893</c:v>
                </c:pt>
                <c:pt idx="6845">
                  <c:v>45.739671770392277</c:v>
                </c:pt>
                <c:pt idx="6846">
                  <c:v>30.648098339347168</c:v>
                </c:pt>
                <c:pt idx="6847">
                  <c:v>54.289512688852291</c:v>
                </c:pt>
                <c:pt idx="6848">
                  <c:v>26.524927085028288</c:v>
                </c:pt>
                <c:pt idx="6849">
                  <c:v>53.497911362858602</c:v>
                </c:pt>
                <c:pt idx="6850">
                  <c:v>23.415781656519396</c:v>
                </c:pt>
                <c:pt idx="6851">
                  <c:v>30.998302210472513</c:v>
                </c:pt>
                <c:pt idx="6852">
                  <c:v>22.890278909538054</c:v>
                </c:pt>
                <c:pt idx="6853">
                  <c:v>23.591835660036306</c:v>
                </c:pt>
                <c:pt idx="6854">
                  <c:v>24.052907068109025</c:v>
                </c:pt>
                <c:pt idx="6855">
                  <c:v>32.081929827313189</c:v>
                </c:pt>
                <c:pt idx="6856">
                  <c:v>48.634383453638343</c:v>
                </c:pt>
                <c:pt idx="6857">
                  <c:v>18.643049643455189</c:v>
                </c:pt>
                <c:pt idx="6858">
                  <c:v>26.48666616013508</c:v>
                </c:pt>
                <c:pt idx="6859">
                  <c:v>32.784281899895753</c:v>
                </c:pt>
                <c:pt idx="6860">
                  <c:v>28.472291391434204</c:v>
                </c:pt>
                <c:pt idx="6861">
                  <c:v>28.305616841663156</c:v>
                </c:pt>
                <c:pt idx="6862">
                  <c:v>33.469147351538808</c:v>
                </c:pt>
                <c:pt idx="6863">
                  <c:v>34.940958862163811</c:v>
                </c:pt>
                <c:pt idx="6864">
                  <c:v>25.971575169984007</c:v>
                </c:pt>
                <c:pt idx="6865">
                  <c:v>21.779179726148833</c:v>
                </c:pt>
                <c:pt idx="6866">
                  <c:v>26.570211742890791</c:v>
                </c:pt>
                <c:pt idx="6867">
                  <c:v>25.512338528972208</c:v>
                </c:pt>
                <c:pt idx="6868">
                  <c:v>31.014733860669093</c:v>
                </c:pt>
                <c:pt idx="6869">
                  <c:v>40.765091434108811</c:v>
                </c:pt>
                <c:pt idx="6870">
                  <c:v>23.002105184653566</c:v>
                </c:pt>
                <c:pt idx="6871">
                  <c:v>26.121015279145482</c:v>
                </c:pt>
                <c:pt idx="6872">
                  <c:v>20.500339378237879</c:v>
                </c:pt>
                <c:pt idx="6873">
                  <c:v>30.021553861089711</c:v>
                </c:pt>
                <c:pt idx="6874">
                  <c:v>25.536511464962956</c:v>
                </c:pt>
                <c:pt idx="6875">
                  <c:v>28.302555346515469</c:v>
                </c:pt>
                <c:pt idx="6876">
                  <c:v>26.396764493471963</c:v>
                </c:pt>
                <c:pt idx="6877">
                  <c:v>23.153261521124421</c:v>
                </c:pt>
                <c:pt idx="6878">
                  <c:v>40.775160531912071</c:v>
                </c:pt>
                <c:pt idx="6879">
                  <c:v>27.898212757033221</c:v>
                </c:pt>
                <c:pt idx="6880">
                  <c:v>55.838276391212446</c:v>
                </c:pt>
                <c:pt idx="6881">
                  <c:v>27.586550672922407</c:v>
                </c:pt>
                <c:pt idx="6882">
                  <c:v>27.651640364813066</c:v>
                </c:pt>
                <c:pt idx="6883">
                  <c:v>32.98733054335117</c:v>
                </c:pt>
                <c:pt idx="6884">
                  <c:v>55.510421781937488</c:v>
                </c:pt>
                <c:pt idx="6885">
                  <c:v>34.377269535426343</c:v>
                </c:pt>
                <c:pt idx="6886">
                  <c:v>27.869857240716492</c:v>
                </c:pt>
                <c:pt idx="6887">
                  <c:v>27.098784155250918</c:v>
                </c:pt>
                <c:pt idx="6888">
                  <c:v>23.491352479052125</c:v>
                </c:pt>
                <c:pt idx="6889">
                  <c:v>23.522191161759249</c:v>
                </c:pt>
                <c:pt idx="6890">
                  <c:v>31.447730546126571</c:v>
                </c:pt>
                <c:pt idx="6891">
                  <c:v>42.412707861299801</c:v>
                </c:pt>
                <c:pt idx="6892">
                  <c:v>23.089085844514013</c:v>
                </c:pt>
                <c:pt idx="6893">
                  <c:v>23.546169341204447</c:v>
                </c:pt>
                <c:pt idx="6894">
                  <c:v>26.363357043563894</c:v>
                </c:pt>
                <c:pt idx="6895">
                  <c:v>55.127419045655543</c:v>
                </c:pt>
                <c:pt idx="6896">
                  <c:v>47.076281579373195</c:v>
                </c:pt>
                <c:pt idx="6897">
                  <c:v>26.0475355203675</c:v>
                </c:pt>
                <c:pt idx="6898">
                  <c:v>31.462993391581087</c:v>
                </c:pt>
                <c:pt idx="6899">
                  <c:v>62.372768881294277</c:v>
                </c:pt>
                <c:pt idx="6900">
                  <c:v>25.639642766825485</c:v>
                </c:pt>
                <c:pt idx="6901">
                  <c:v>28.610237520257431</c:v>
                </c:pt>
                <c:pt idx="6902">
                  <c:v>54.445734123625407</c:v>
                </c:pt>
                <c:pt idx="6903">
                  <c:v>29.951171214446518</c:v>
                </c:pt>
                <c:pt idx="6904">
                  <c:v>30.638470615892032</c:v>
                </c:pt>
                <c:pt idx="6905">
                  <c:v>23.482731684532389</c:v>
                </c:pt>
                <c:pt idx="6906">
                  <c:v>26.38849013897504</c:v>
                </c:pt>
                <c:pt idx="6907">
                  <c:v>23.754206264614908</c:v>
                </c:pt>
                <c:pt idx="6908">
                  <c:v>29.209750051901093</c:v>
                </c:pt>
                <c:pt idx="6909">
                  <c:v>31.332991311592146</c:v>
                </c:pt>
                <c:pt idx="6910">
                  <c:v>25.946142177685694</c:v>
                </c:pt>
                <c:pt idx="6911">
                  <c:v>29.422583661281109</c:v>
                </c:pt>
                <c:pt idx="6912">
                  <c:v>41.34030909671781</c:v>
                </c:pt>
                <c:pt idx="6913">
                  <c:v>26.846951742854884</c:v>
                </c:pt>
                <c:pt idx="6914">
                  <c:v>20.017814882959954</c:v>
                </c:pt>
                <c:pt idx="6915">
                  <c:v>26.102313830458574</c:v>
                </c:pt>
                <c:pt idx="6916">
                  <c:v>23.128995996624994</c:v>
                </c:pt>
                <c:pt idx="6917">
                  <c:v>24.576088375317312</c:v>
                </c:pt>
                <c:pt idx="6918">
                  <c:v>24.476544622087758</c:v>
                </c:pt>
                <c:pt idx="6919">
                  <c:v>24.783797394006189</c:v>
                </c:pt>
                <c:pt idx="6920">
                  <c:v>23.891621792607211</c:v>
                </c:pt>
                <c:pt idx="6921">
                  <c:v>34.577658027719025</c:v>
                </c:pt>
                <c:pt idx="6922">
                  <c:v>27.763187605982779</c:v>
                </c:pt>
                <c:pt idx="6923">
                  <c:v>29.338991826837798</c:v>
                </c:pt>
                <c:pt idx="6924">
                  <c:v>22.706825058084924</c:v>
                </c:pt>
                <c:pt idx="6925">
                  <c:v>26.403264742064103</c:v>
                </c:pt>
                <c:pt idx="6926">
                  <c:v>30.009972360993192</c:v>
                </c:pt>
                <c:pt idx="6927">
                  <c:v>29.759136141140718</c:v>
                </c:pt>
                <c:pt idx="6928">
                  <c:v>24.818477153447233</c:v>
                </c:pt>
                <c:pt idx="6929">
                  <c:v>36.821089150682319</c:v>
                </c:pt>
                <c:pt idx="6930">
                  <c:v>25.002562241208075</c:v>
                </c:pt>
                <c:pt idx="6931">
                  <c:v>37.095508139538367</c:v>
                </c:pt>
                <c:pt idx="6932">
                  <c:v>42.973821772277326</c:v>
                </c:pt>
                <c:pt idx="6933">
                  <c:v>23.990910159023699</c:v>
                </c:pt>
                <c:pt idx="6934">
                  <c:v>30.782414774512574</c:v>
                </c:pt>
                <c:pt idx="6935">
                  <c:v>29.606191588427578</c:v>
                </c:pt>
                <c:pt idx="6936">
                  <c:v>18.768353650718346</c:v>
                </c:pt>
                <c:pt idx="6937">
                  <c:v>23.837961353786486</c:v>
                </c:pt>
                <c:pt idx="6938">
                  <c:v>26.333249318454836</c:v>
                </c:pt>
                <c:pt idx="6939">
                  <c:v>36.450917501065788</c:v>
                </c:pt>
                <c:pt idx="6940">
                  <c:v>26.593469002817976</c:v>
                </c:pt>
                <c:pt idx="6941">
                  <c:v>43.136704581646946</c:v>
                </c:pt>
                <c:pt idx="6942">
                  <c:v>32.233136859485015</c:v>
                </c:pt>
                <c:pt idx="6943">
                  <c:v>26.638277069879415</c:v>
                </c:pt>
                <c:pt idx="6944">
                  <c:v>42.228728310018994</c:v>
                </c:pt>
                <c:pt idx="6945">
                  <c:v>51.92296478346789</c:v>
                </c:pt>
                <c:pt idx="6946">
                  <c:v>18.81695672300533</c:v>
                </c:pt>
                <c:pt idx="6947">
                  <c:v>53.648655208677638</c:v>
                </c:pt>
                <c:pt idx="6948">
                  <c:v>20.728671742623874</c:v>
                </c:pt>
                <c:pt idx="6949">
                  <c:v>30.049271604642609</c:v>
                </c:pt>
                <c:pt idx="6950">
                  <c:v>28.137263399117998</c:v>
                </c:pt>
                <c:pt idx="6951">
                  <c:v>36.959689604531924</c:v>
                </c:pt>
                <c:pt idx="6952">
                  <c:v>22.85911854188365</c:v>
                </c:pt>
                <c:pt idx="6953">
                  <c:v>25.351939867598578</c:v>
                </c:pt>
                <c:pt idx="6954">
                  <c:v>31.371728407449837</c:v>
                </c:pt>
                <c:pt idx="6955">
                  <c:v>60.665724090699499</c:v>
                </c:pt>
                <c:pt idx="6956">
                  <c:v>31.74123374977955</c:v>
                </c:pt>
                <c:pt idx="6957">
                  <c:v>23.379910397952596</c:v>
                </c:pt>
                <c:pt idx="6958">
                  <c:v>51.417795911826012</c:v>
                </c:pt>
                <c:pt idx="6959">
                  <c:v>56.812594184271205</c:v>
                </c:pt>
                <c:pt idx="6960">
                  <c:v>33.819432485877357</c:v>
                </c:pt>
                <c:pt idx="6961">
                  <c:v>29.49084428616376</c:v>
                </c:pt>
                <c:pt idx="6962">
                  <c:v>50.348502212775969</c:v>
                </c:pt>
                <c:pt idx="6963">
                  <c:v>43.054822341502401</c:v>
                </c:pt>
                <c:pt idx="6964">
                  <c:v>24.501007566321505</c:v>
                </c:pt>
                <c:pt idx="6965">
                  <c:v>20.38598302708596</c:v>
                </c:pt>
                <c:pt idx="6966">
                  <c:v>30.295291019132154</c:v>
                </c:pt>
                <c:pt idx="6967">
                  <c:v>25.544767233994847</c:v>
                </c:pt>
                <c:pt idx="6968">
                  <c:v>25.068638281468662</c:v>
                </c:pt>
                <c:pt idx="6969">
                  <c:v>43.54324740043252</c:v>
                </c:pt>
                <c:pt idx="6970">
                  <c:v>15.377888450036448</c:v>
                </c:pt>
                <c:pt idx="6971">
                  <c:v>24.364261780215575</c:v>
                </c:pt>
                <c:pt idx="6972">
                  <c:v>23.701391766038306</c:v>
                </c:pt>
                <c:pt idx="6973">
                  <c:v>46.647577064038401</c:v>
                </c:pt>
                <c:pt idx="6974">
                  <c:v>19.900704459682082</c:v>
                </c:pt>
                <c:pt idx="6975">
                  <c:v>28.334587611256524</c:v>
                </c:pt>
                <c:pt idx="6976">
                  <c:v>52.279027831987634</c:v>
                </c:pt>
                <c:pt idx="6977">
                  <c:v>41.429812724794218</c:v>
                </c:pt>
                <c:pt idx="6978">
                  <c:v>40.063600921660289</c:v>
                </c:pt>
                <c:pt idx="6979">
                  <c:v>19.687857598315667</c:v>
                </c:pt>
                <c:pt idx="6980">
                  <c:v>24.88709146860251</c:v>
                </c:pt>
                <c:pt idx="6981">
                  <c:v>30.328143393755933</c:v>
                </c:pt>
                <c:pt idx="6982">
                  <c:v>47.364389848709095</c:v>
                </c:pt>
                <c:pt idx="6983">
                  <c:v>30.418000897705245</c:v>
                </c:pt>
                <c:pt idx="6984">
                  <c:v>26.82567668013796</c:v>
                </c:pt>
                <c:pt idx="6985">
                  <c:v>25.679616538852997</c:v>
                </c:pt>
                <c:pt idx="6986">
                  <c:v>30.223736335152978</c:v>
                </c:pt>
                <c:pt idx="6987">
                  <c:v>34.418572814503683</c:v>
                </c:pt>
                <c:pt idx="6988">
                  <c:v>46.981460996541749</c:v>
                </c:pt>
                <c:pt idx="6989">
                  <c:v>29.102565389229319</c:v>
                </c:pt>
                <c:pt idx="6990">
                  <c:v>27.59977835270281</c:v>
                </c:pt>
                <c:pt idx="6991">
                  <c:v>27.592741542492554</c:v>
                </c:pt>
                <c:pt idx="6992">
                  <c:v>25.457228928321669</c:v>
                </c:pt>
                <c:pt idx="6993">
                  <c:v>42.53722876081531</c:v>
                </c:pt>
                <c:pt idx="6994">
                  <c:v>28.752701506942472</c:v>
                </c:pt>
                <c:pt idx="6995">
                  <c:v>44.079254482215489</c:v>
                </c:pt>
                <c:pt idx="6996">
                  <c:v>25.498124540360635</c:v>
                </c:pt>
                <c:pt idx="6997">
                  <c:v>31.019880410698505</c:v>
                </c:pt>
                <c:pt idx="6998">
                  <c:v>29.260036373882791</c:v>
                </c:pt>
                <c:pt idx="6999">
                  <c:v>42.053446690698706</c:v>
                </c:pt>
                <c:pt idx="7000">
                  <c:v>25.206134133309565</c:v>
                </c:pt>
                <c:pt idx="7001">
                  <c:v>35.216414643937171</c:v>
                </c:pt>
                <c:pt idx="7002">
                  <c:v>22.869704546514843</c:v>
                </c:pt>
                <c:pt idx="7003">
                  <c:v>37.037889022009871</c:v>
                </c:pt>
                <c:pt idx="7004">
                  <c:v>38.161490783153972</c:v>
                </c:pt>
                <c:pt idx="7005">
                  <c:v>22.724416032617029</c:v>
                </c:pt>
                <c:pt idx="7006">
                  <c:v>33.785146376156199</c:v>
                </c:pt>
                <c:pt idx="7007">
                  <c:v>28.567004853802537</c:v>
                </c:pt>
                <c:pt idx="7008">
                  <c:v>22.147803124229792</c:v>
                </c:pt>
                <c:pt idx="7009">
                  <c:v>22.173286139595692</c:v>
                </c:pt>
                <c:pt idx="7010">
                  <c:v>43.632688373053561</c:v>
                </c:pt>
                <c:pt idx="7011">
                  <c:v>22.581727845717623</c:v>
                </c:pt>
                <c:pt idx="7012">
                  <c:v>36.377015632281626</c:v>
                </c:pt>
                <c:pt idx="7013">
                  <c:v>20.725288873678622</c:v>
                </c:pt>
                <c:pt idx="7014">
                  <c:v>35.633352825242689</c:v>
                </c:pt>
                <c:pt idx="7015">
                  <c:v>24.105758698983038</c:v>
                </c:pt>
                <c:pt idx="7016">
                  <c:v>32.371999935462156</c:v>
                </c:pt>
                <c:pt idx="7017">
                  <c:v>18.217014791868593</c:v>
                </c:pt>
                <c:pt idx="7018">
                  <c:v>63.712217102669356</c:v>
                </c:pt>
                <c:pt idx="7019">
                  <c:v>28.987597268128884</c:v>
                </c:pt>
                <c:pt idx="7020">
                  <c:v>30.499285713594972</c:v>
                </c:pt>
                <c:pt idx="7021">
                  <c:v>22.988239765831956</c:v>
                </c:pt>
                <c:pt idx="7022">
                  <c:v>28.63768035013323</c:v>
                </c:pt>
                <c:pt idx="7023">
                  <c:v>34.301047434655352</c:v>
                </c:pt>
                <c:pt idx="7024">
                  <c:v>24.714908791398344</c:v>
                </c:pt>
                <c:pt idx="7025">
                  <c:v>28.471597344688263</c:v>
                </c:pt>
                <c:pt idx="7026">
                  <c:v>22.428942394501686</c:v>
                </c:pt>
                <c:pt idx="7027">
                  <c:v>45.952398724809882</c:v>
                </c:pt>
                <c:pt idx="7028">
                  <c:v>52.289686277215765</c:v>
                </c:pt>
                <c:pt idx="7029">
                  <c:v>41.379780709095357</c:v>
                </c:pt>
                <c:pt idx="7030">
                  <c:v>23.106328231586016</c:v>
                </c:pt>
                <c:pt idx="7031">
                  <c:v>39.300307008068344</c:v>
                </c:pt>
                <c:pt idx="7032">
                  <c:v>17.422123560183223</c:v>
                </c:pt>
                <c:pt idx="7033">
                  <c:v>43.689999218913215</c:v>
                </c:pt>
                <c:pt idx="7034">
                  <c:v>21.816653282198505</c:v>
                </c:pt>
                <c:pt idx="7035">
                  <c:v>39.782337856679483</c:v>
                </c:pt>
                <c:pt idx="7036">
                  <c:v>31.577562123688399</c:v>
                </c:pt>
                <c:pt idx="7037">
                  <c:v>24.960783334385525</c:v>
                </c:pt>
                <c:pt idx="7038">
                  <c:v>38.622774404148167</c:v>
                </c:pt>
                <c:pt idx="7039">
                  <c:v>40.989339417551676</c:v>
                </c:pt>
                <c:pt idx="7040">
                  <c:v>23.126387256215047</c:v>
                </c:pt>
                <c:pt idx="7041">
                  <c:v>32.77540637796065</c:v>
                </c:pt>
                <c:pt idx="7042">
                  <c:v>30.975939573248279</c:v>
                </c:pt>
                <c:pt idx="7043">
                  <c:v>23.951818302626329</c:v>
                </c:pt>
                <c:pt idx="7044">
                  <c:v>23.09461522420704</c:v>
                </c:pt>
                <c:pt idx="7045">
                  <c:v>40.252727208014392</c:v>
                </c:pt>
                <c:pt idx="7046">
                  <c:v>25.168991716151361</c:v>
                </c:pt>
                <c:pt idx="7047">
                  <c:v>28.634871383114849</c:v>
                </c:pt>
                <c:pt idx="7048">
                  <c:v>40.084202054747209</c:v>
                </c:pt>
                <c:pt idx="7049">
                  <c:v>29.015322139439046</c:v>
                </c:pt>
                <c:pt idx="7050">
                  <c:v>41.926509617858862</c:v>
                </c:pt>
                <c:pt idx="7051">
                  <c:v>48.014168150986734</c:v>
                </c:pt>
                <c:pt idx="7052">
                  <c:v>26.409388263368829</c:v>
                </c:pt>
                <c:pt idx="7053">
                  <c:v>33.031293805362331</c:v>
                </c:pt>
                <c:pt idx="7054">
                  <c:v>28.574053834661012</c:v>
                </c:pt>
                <c:pt idx="7055">
                  <c:v>23.768088298756801</c:v>
                </c:pt>
                <c:pt idx="7056">
                  <c:v>57.587919764761878</c:v>
                </c:pt>
                <c:pt idx="7057">
                  <c:v>31.207307647494503</c:v>
                </c:pt>
                <c:pt idx="7058">
                  <c:v>30.676430186597241</c:v>
                </c:pt>
                <c:pt idx="7059">
                  <c:v>38.954105723459605</c:v>
                </c:pt>
                <c:pt idx="7060">
                  <c:v>40.624145134161168</c:v>
                </c:pt>
                <c:pt idx="7061">
                  <c:v>35.35700370878574</c:v>
                </c:pt>
                <c:pt idx="7062">
                  <c:v>28.149245873895662</c:v>
                </c:pt>
                <c:pt idx="7063">
                  <c:v>31.963303339166533</c:v>
                </c:pt>
                <c:pt idx="7064">
                  <c:v>19.063117848922357</c:v>
                </c:pt>
                <c:pt idx="7065">
                  <c:v>35.607971260215706</c:v>
                </c:pt>
                <c:pt idx="7066">
                  <c:v>41.707273952288091</c:v>
                </c:pt>
                <c:pt idx="7067">
                  <c:v>41.586363459828192</c:v>
                </c:pt>
                <c:pt idx="7068">
                  <c:v>36.213623173299055</c:v>
                </c:pt>
                <c:pt idx="7069">
                  <c:v>28.913785055651623</c:v>
                </c:pt>
                <c:pt idx="7070">
                  <c:v>45.67369231400756</c:v>
                </c:pt>
                <c:pt idx="7071">
                  <c:v>30.327121334432213</c:v>
                </c:pt>
                <c:pt idx="7072">
                  <c:v>42.484140478947197</c:v>
                </c:pt>
                <c:pt idx="7073">
                  <c:v>24.917676487867034</c:v>
                </c:pt>
                <c:pt idx="7074">
                  <c:v>33.809612807726019</c:v>
                </c:pt>
                <c:pt idx="7075">
                  <c:v>39.408288310875953</c:v>
                </c:pt>
                <c:pt idx="7076">
                  <c:v>49.833803694868365</c:v>
                </c:pt>
                <c:pt idx="7077">
                  <c:v>46.882499156648237</c:v>
                </c:pt>
                <c:pt idx="7078">
                  <c:v>50.567579519458221</c:v>
                </c:pt>
                <c:pt idx="7079">
                  <c:v>35.355674731256144</c:v>
                </c:pt>
                <c:pt idx="7080">
                  <c:v>46.631331208687108</c:v>
                </c:pt>
                <c:pt idx="7081">
                  <c:v>22.815764667487041</c:v>
                </c:pt>
                <c:pt idx="7082">
                  <c:v>29.613019858143112</c:v>
                </c:pt>
                <c:pt idx="7083">
                  <c:v>22.866048212927161</c:v>
                </c:pt>
                <c:pt idx="7084">
                  <c:v>29.978261724959303</c:v>
                </c:pt>
                <c:pt idx="7085">
                  <c:v>25.638654604309025</c:v>
                </c:pt>
                <c:pt idx="7086">
                  <c:v>29.72814600209583</c:v>
                </c:pt>
                <c:pt idx="7087">
                  <c:v>29.534814177347815</c:v>
                </c:pt>
                <c:pt idx="7088">
                  <c:v>28.024828886733204</c:v>
                </c:pt>
                <c:pt idx="7089">
                  <c:v>18.040672421992909</c:v>
                </c:pt>
                <c:pt idx="7090">
                  <c:v>26.621195983874834</c:v>
                </c:pt>
                <c:pt idx="7091">
                  <c:v>30.934857936076227</c:v>
                </c:pt>
                <c:pt idx="7092">
                  <c:v>52.697612619755439</c:v>
                </c:pt>
                <c:pt idx="7093">
                  <c:v>30.713611048323855</c:v>
                </c:pt>
                <c:pt idx="7094">
                  <c:v>26.535889392642126</c:v>
                </c:pt>
                <c:pt idx="7095">
                  <c:v>20.884973945138952</c:v>
                </c:pt>
                <c:pt idx="7096">
                  <c:v>38.638790924405711</c:v>
                </c:pt>
                <c:pt idx="7097">
                  <c:v>16.570412584299543</c:v>
                </c:pt>
                <c:pt idx="7098">
                  <c:v>28.476140346599724</c:v>
                </c:pt>
                <c:pt idx="7099">
                  <c:v>48.439189843676289</c:v>
                </c:pt>
                <c:pt idx="7100">
                  <c:v>27.644146303280593</c:v>
                </c:pt>
                <c:pt idx="7101">
                  <c:v>32.544410488289238</c:v>
                </c:pt>
                <c:pt idx="7102">
                  <c:v>26.512707356273822</c:v>
                </c:pt>
                <c:pt idx="7103">
                  <c:v>29.795095715904218</c:v>
                </c:pt>
                <c:pt idx="7104">
                  <c:v>18.622156578830683</c:v>
                </c:pt>
                <c:pt idx="7105">
                  <c:v>55.457256252344131</c:v>
                </c:pt>
                <c:pt idx="7106">
                  <c:v>42.876375001206739</c:v>
                </c:pt>
                <c:pt idx="7107">
                  <c:v>23.955156477758543</c:v>
                </c:pt>
                <c:pt idx="7108">
                  <c:v>21.651968576666476</c:v>
                </c:pt>
                <c:pt idx="7109">
                  <c:v>22.905402196898763</c:v>
                </c:pt>
                <c:pt idx="7110">
                  <c:v>19.384185149551779</c:v>
                </c:pt>
                <c:pt idx="7111">
                  <c:v>28.568879917232085</c:v>
                </c:pt>
                <c:pt idx="7112">
                  <c:v>55.350843794143515</c:v>
                </c:pt>
                <c:pt idx="7113">
                  <c:v>17.446059000079622</c:v>
                </c:pt>
                <c:pt idx="7114">
                  <c:v>58.810907710975883</c:v>
                </c:pt>
                <c:pt idx="7115">
                  <c:v>23.445711789966321</c:v>
                </c:pt>
                <c:pt idx="7116">
                  <c:v>36.671666724526006</c:v>
                </c:pt>
                <c:pt idx="7117">
                  <c:v>29.994632308398767</c:v>
                </c:pt>
                <c:pt idx="7118">
                  <c:v>22.905253567020054</c:v>
                </c:pt>
                <c:pt idx="7119">
                  <c:v>26.786246972278285</c:v>
                </c:pt>
                <c:pt idx="7120">
                  <c:v>30.021235477815004</c:v>
                </c:pt>
                <c:pt idx="7121">
                  <c:v>47.160963381049761</c:v>
                </c:pt>
                <c:pt idx="7122">
                  <c:v>57.317952248490123</c:v>
                </c:pt>
                <c:pt idx="7123">
                  <c:v>39.700493075626042</c:v>
                </c:pt>
                <c:pt idx="7124">
                  <c:v>31.331638738913089</c:v>
                </c:pt>
                <c:pt idx="7125">
                  <c:v>31.399125568607076</c:v>
                </c:pt>
                <c:pt idx="7126">
                  <c:v>28.151267557164132</c:v>
                </c:pt>
                <c:pt idx="7127">
                  <c:v>23.90806979816497</c:v>
                </c:pt>
                <c:pt idx="7128">
                  <c:v>29.283231624489041</c:v>
                </c:pt>
                <c:pt idx="7129">
                  <c:v>52.378634595052738</c:v>
                </c:pt>
                <c:pt idx="7130">
                  <c:v>38.361305662885819</c:v>
                </c:pt>
                <c:pt idx="7131">
                  <c:v>31.919088905398596</c:v>
                </c:pt>
                <c:pt idx="7132">
                  <c:v>55.735772599127053</c:v>
                </c:pt>
                <c:pt idx="7133">
                  <c:v>28.998846795084269</c:v>
                </c:pt>
                <c:pt idx="7134">
                  <c:v>41.807182733710391</c:v>
                </c:pt>
                <c:pt idx="7135">
                  <c:v>21.999445092039561</c:v>
                </c:pt>
                <c:pt idx="7136">
                  <c:v>42.209739245597163</c:v>
                </c:pt>
                <c:pt idx="7137">
                  <c:v>35.557081577941439</c:v>
                </c:pt>
                <c:pt idx="7138">
                  <c:v>26.721543312648425</c:v>
                </c:pt>
                <c:pt idx="7139">
                  <c:v>25.064914168550388</c:v>
                </c:pt>
                <c:pt idx="7140">
                  <c:v>23.560436319726243</c:v>
                </c:pt>
                <c:pt idx="7141">
                  <c:v>27.11117505794283</c:v>
                </c:pt>
                <c:pt idx="7142">
                  <c:v>52.371621008546811</c:v>
                </c:pt>
                <c:pt idx="7143">
                  <c:v>27.917126705816948</c:v>
                </c:pt>
                <c:pt idx="7144">
                  <c:v>24.666167337686062</c:v>
                </c:pt>
                <c:pt idx="7145">
                  <c:v>27.766733060219011</c:v>
                </c:pt>
                <c:pt idx="7146">
                  <c:v>48.800211813242726</c:v>
                </c:pt>
                <c:pt idx="7147">
                  <c:v>34.948621855426872</c:v>
                </c:pt>
                <c:pt idx="7148">
                  <c:v>25.482474613558473</c:v>
                </c:pt>
                <c:pt idx="7149">
                  <c:v>33.437897018754093</c:v>
                </c:pt>
                <c:pt idx="7150">
                  <c:v>43.871523540727175</c:v>
                </c:pt>
                <c:pt idx="7151">
                  <c:v>29.703880395418444</c:v>
                </c:pt>
                <c:pt idx="7152">
                  <c:v>50.748850757046576</c:v>
                </c:pt>
                <c:pt idx="7153">
                  <c:v>42.968352975039814</c:v>
                </c:pt>
                <c:pt idx="7154">
                  <c:v>21.213660208078547</c:v>
                </c:pt>
                <c:pt idx="7155">
                  <c:v>30.464834257682917</c:v>
                </c:pt>
                <c:pt idx="7156">
                  <c:v>26.481073387002908</c:v>
                </c:pt>
                <c:pt idx="7157">
                  <c:v>22.035864052520225</c:v>
                </c:pt>
                <c:pt idx="7158">
                  <c:v>32.585807093615742</c:v>
                </c:pt>
                <c:pt idx="7159">
                  <c:v>20.048420629753799</c:v>
                </c:pt>
                <c:pt idx="7160">
                  <c:v>26.120134568198537</c:v>
                </c:pt>
                <c:pt idx="7161">
                  <c:v>28.603406623525881</c:v>
                </c:pt>
                <c:pt idx="7162">
                  <c:v>39.243109105970049</c:v>
                </c:pt>
                <c:pt idx="7163">
                  <c:v>33.300225405822239</c:v>
                </c:pt>
                <c:pt idx="7164">
                  <c:v>34.526674280881757</c:v>
                </c:pt>
                <c:pt idx="7165">
                  <c:v>34.444967472166525</c:v>
                </c:pt>
                <c:pt idx="7166">
                  <c:v>26.900382103315259</c:v>
                </c:pt>
                <c:pt idx="7167">
                  <c:v>32.335212463981854</c:v>
                </c:pt>
                <c:pt idx="7168">
                  <c:v>39.017558215338816</c:v>
                </c:pt>
                <c:pt idx="7169">
                  <c:v>28.651615726846604</c:v>
                </c:pt>
                <c:pt idx="7170">
                  <c:v>21.945540216900213</c:v>
                </c:pt>
                <c:pt idx="7171">
                  <c:v>34.996500449066325</c:v>
                </c:pt>
                <c:pt idx="7172">
                  <c:v>44.814847743339534</c:v>
                </c:pt>
                <c:pt idx="7173">
                  <c:v>29.696291968742127</c:v>
                </c:pt>
                <c:pt idx="7174">
                  <c:v>26.826941703931514</c:v>
                </c:pt>
                <c:pt idx="7175">
                  <c:v>23.639185586604164</c:v>
                </c:pt>
                <c:pt idx="7176">
                  <c:v>40.309451873579619</c:v>
                </c:pt>
                <c:pt idx="7177">
                  <c:v>47.95667658568248</c:v>
                </c:pt>
                <c:pt idx="7178">
                  <c:v>39.919870999979494</c:v>
                </c:pt>
                <c:pt idx="7179">
                  <c:v>18.15353501129627</c:v>
                </c:pt>
                <c:pt idx="7180">
                  <c:v>25.618146289804848</c:v>
                </c:pt>
                <c:pt idx="7181">
                  <c:v>32.056018628186195</c:v>
                </c:pt>
                <c:pt idx="7182">
                  <c:v>20.445370691350679</c:v>
                </c:pt>
                <c:pt idx="7183">
                  <c:v>31.467310181794197</c:v>
                </c:pt>
                <c:pt idx="7184">
                  <c:v>40.215547249943178</c:v>
                </c:pt>
                <c:pt idx="7185">
                  <c:v>21.57103621081529</c:v>
                </c:pt>
                <c:pt idx="7186">
                  <c:v>35.963174222436919</c:v>
                </c:pt>
                <c:pt idx="7187">
                  <c:v>31.889185271936228</c:v>
                </c:pt>
                <c:pt idx="7188">
                  <c:v>51.482287979156133</c:v>
                </c:pt>
                <c:pt idx="7189">
                  <c:v>23.757290419866209</c:v>
                </c:pt>
                <c:pt idx="7190">
                  <c:v>30.457495954167769</c:v>
                </c:pt>
                <c:pt idx="7191">
                  <c:v>41.477189169113394</c:v>
                </c:pt>
                <c:pt idx="7192">
                  <c:v>23.768075471168778</c:v>
                </c:pt>
                <c:pt idx="7193">
                  <c:v>25.858521171097003</c:v>
                </c:pt>
                <c:pt idx="7194">
                  <c:v>24.566028440494279</c:v>
                </c:pt>
                <c:pt idx="7195">
                  <c:v>18.414363116929092</c:v>
                </c:pt>
                <c:pt idx="7196">
                  <c:v>35.229581424750002</c:v>
                </c:pt>
                <c:pt idx="7197">
                  <c:v>33.997757047564981</c:v>
                </c:pt>
                <c:pt idx="7198">
                  <c:v>27.903915604917078</c:v>
                </c:pt>
                <c:pt idx="7199">
                  <c:v>50.726711642715443</c:v>
                </c:pt>
                <c:pt idx="7200">
                  <c:v>36.825988453202712</c:v>
                </c:pt>
                <c:pt idx="7201">
                  <c:v>26.475466328587352</c:v>
                </c:pt>
                <c:pt idx="7202">
                  <c:v>44.224131745863374</c:v>
                </c:pt>
                <c:pt idx="7203">
                  <c:v>24.984876694435279</c:v>
                </c:pt>
                <c:pt idx="7204">
                  <c:v>39.994850995319148</c:v>
                </c:pt>
                <c:pt idx="7205">
                  <c:v>21.694580882790607</c:v>
                </c:pt>
                <c:pt idx="7206">
                  <c:v>19.424931860601099</c:v>
                </c:pt>
                <c:pt idx="7207">
                  <c:v>42.78775482313155</c:v>
                </c:pt>
                <c:pt idx="7208">
                  <c:v>38.714220917881953</c:v>
                </c:pt>
                <c:pt idx="7209">
                  <c:v>20.142881813866335</c:v>
                </c:pt>
                <c:pt idx="7210">
                  <c:v>44.410464560095463</c:v>
                </c:pt>
                <c:pt idx="7211">
                  <c:v>44.758492812608559</c:v>
                </c:pt>
                <c:pt idx="7212">
                  <c:v>30.514447635611191</c:v>
                </c:pt>
                <c:pt idx="7213">
                  <c:v>47.745051812056445</c:v>
                </c:pt>
                <c:pt idx="7214">
                  <c:v>24.896144244907958</c:v>
                </c:pt>
                <c:pt idx="7215">
                  <c:v>52.586545389132752</c:v>
                </c:pt>
                <c:pt idx="7216">
                  <c:v>31.445001154558717</c:v>
                </c:pt>
                <c:pt idx="7217">
                  <c:v>48.158364989592343</c:v>
                </c:pt>
                <c:pt idx="7218">
                  <c:v>27.923504566885278</c:v>
                </c:pt>
                <c:pt idx="7219">
                  <c:v>34.371238663952454</c:v>
                </c:pt>
                <c:pt idx="7220">
                  <c:v>48.454322119633552</c:v>
                </c:pt>
                <c:pt idx="7221">
                  <c:v>19.725418744992314</c:v>
                </c:pt>
                <c:pt idx="7222">
                  <c:v>26.905249210314491</c:v>
                </c:pt>
                <c:pt idx="7223">
                  <c:v>37.925986908805584</c:v>
                </c:pt>
                <c:pt idx="7224">
                  <c:v>17.271196829054901</c:v>
                </c:pt>
                <c:pt idx="7225">
                  <c:v>19.024374529079815</c:v>
                </c:pt>
                <c:pt idx="7226">
                  <c:v>36.130251844646807</c:v>
                </c:pt>
                <c:pt idx="7227">
                  <c:v>28.43841239146591</c:v>
                </c:pt>
                <c:pt idx="7228">
                  <c:v>29.264919788311399</c:v>
                </c:pt>
                <c:pt idx="7229">
                  <c:v>58.510123041526313</c:v>
                </c:pt>
                <c:pt idx="7230">
                  <c:v>23.144887490109248</c:v>
                </c:pt>
                <c:pt idx="7231">
                  <c:v>39.32312834039864</c:v>
                </c:pt>
                <c:pt idx="7232">
                  <c:v>25.871151101069103</c:v>
                </c:pt>
                <c:pt idx="7233">
                  <c:v>30.732792878351628</c:v>
                </c:pt>
                <c:pt idx="7234">
                  <c:v>21.512971553996273</c:v>
                </c:pt>
                <c:pt idx="7235">
                  <c:v>29.167646357216398</c:v>
                </c:pt>
                <c:pt idx="7236">
                  <c:v>48.726008085822073</c:v>
                </c:pt>
                <c:pt idx="7237">
                  <c:v>27.31768227810295</c:v>
                </c:pt>
                <c:pt idx="7238">
                  <c:v>61.181425288504848</c:v>
                </c:pt>
                <c:pt idx="7239">
                  <c:v>30.106420882787617</c:v>
                </c:pt>
                <c:pt idx="7240">
                  <c:v>30.601166674159792</c:v>
                </c:pt>
                <c:pt idx="7241">
                  <c:v>25.295164831304028</c:v>
                </c:pt>
                <c:pt idx="7242">
                  <c:v>24.917991221537029</c:v>
                </c:pt>
                <c:pt idx="7243">
                  <c:v>63.449528085014556</c:v>
                </c:pt>
                <c:pt idx="7244">
                  <c:v>35.629345693467343</c:v>
                </c:pt>
                <c:pt idx="7245">
                  <c:v>28.214727579781464</c:v>
                </c:pt>
                <c:pt idx="7246">
                  <c:v>31.47519045037409</c:v>
                </c:pt>
                <c:pt idx="7247">
                  <c:v>18.464303471835017</c:v>
                </c:pt>
                <c:pt idx="7248">
                  <c:v>22.546993749621443</c:v>
                </c:pt>
                <c:pt idx="7249">
                  <c:v>49.683108076451468</c:v>
                </c:pt>
                <c:pt idx="7250">
                  <c:v>28.536055160061178</c:v>
                </c:pt>
                <c:pt idx="7251">
                  <c:v>25.38636323221202</c:v>
                </c:pt>
                <c:pt idx="7252">
                  <c:v>23.585648057495938</c:v>
                </c:pt>
                <c:pt idx="7253">
                  <c:v>51.283689826827782</c:v>
                </c:pt>
                <c:pt idx="7254">
                  <c:v>18.80501263370153</c:v>
                </c:pt>
                <c:pt idx="7255">
                  <c:v>24.723565523172052</c:v>
                </c:pt>
                <c:pt idx="7256">
                  <c:v>27.559272091286587</c:v>
                </c:pt>
                <c:pt idx="7257">
                  <c:v>39.432529460955273</c:v>
                </c:pt>
                <c:pt idx="7258">
                  <c:v>43.360907686966833</c:v>
                </c:pt>
                <c:pt idx="7259">
                  <c:v>26.350188035017489</c:v>
                </c:pt>
                <c:pt idx="7260">
                  <c:v>28.335353620217141</c:v>
                </c:pt>
                <c:pt idx="7261">
                  <c:v>43.077729405170423</c:v>
                </c:pt>
                <c:pt idx="7262">
                  <c:v>23.992636488417858</c:v>
                </c:pt>
                <c:pt idx="7263">
                  <c:v>21.589701151372978</c:v>
                </c:pt>
                <c:pt idx="7264">
                  <c:v>52.999116411422754</c:v>
                </c:pt>
                <c:pt idx="7265">
                  <c:v>27.584145128901699</c:v>
                </c:pt>
                <c:pt idx="7266">
                  <c:v>28.845792456292116</c:v>
                </c:pt>
                <c:pt idx="7267">
                  <c:v>34.331051071009178</c:v>
                </c:pt>
                <c:pt idx="7268">
                  <c:v>21.775776119983266</c:v>
                </c:pt>
                <c:pt idx="7269">
                  <c:v>32.103700047016368</c:v>
                </c:pt>
                <c:pt idx="7270">
                  <c:v>53.359920786388663</c:v>
                </c:pt>
                <c:pt idx="7271">
                  <c:v>34.033854822027891</c:v>
                </c:pt>
                <c:pt idx="7272">
                  <c:v>20.511168760754344</c:v>
                </c:pt>
                <c:pt idx="7273">
                  <c:v>27.975138790721687</c:v>
                </c:pt>
                <c:pt idx="7274">
                  <c:v>16.490019314102206</c:v>
                </c:pt>
                <c:pt idx="7275">
                  <c:v>54.068681989009221</c:v>
                </c:pt>
                <c:pt idx="7276">
                  <c:v>35.41214472568587</c:v>
                </c:pt>
                <c:pt idx="7277">
                  <c:v>31.518124339503604</c:v>
                </c:pt>
                <c:pt idx="7278">
                  <c:v>25.435384870082743</c:v>
                </c:pt>
                <c:pt idx="7279">
                  <c:v>29.772566871998539</c:v>
                </c:pt>
                <c:pt idx="7280">
                  <c:v>36.352948114460084</c:v>
                </c:pt>
                <c:pt idx="7281">
                  <c:v>27.608860345702219</c:v>
                </c:pt>
                <c:pt idx="7282">
                  <c:v>35.216783719362738</c:v>
                </c:pt>
                <c:pt idx="7283">
                  <c:v>23.454990144687073</c:v>
                </c:pt>
                <c:pt idx="7284">
                  <c:v>40.959150467810133</c:v>
                </c:pt>
                <c:pt idx="7285">
                  <c:v>31.181439948176791</c:v>
                </c:pt>
                <c:pt idx="7286">
                  <c:v>24.645737741788746</c:v>
                </c:pt>
                <c:pt idx="7287">
                  <c:v>31.087583407797055</c:v>
                </c:pt>
                <c:pt idx="7288">
                  <c:v>37.778232307747317</c:v>
                </c:pt>
                <c:pt idx="7289">
                  <c:v>50.350233252158318</c:v>
                </c:pt>
                <c:pt idx="7290">
                  <c:v>47.981487349181883</c:v>
                </c:pt>
                <c:pt idx="7291">
                  <c:v>30.597205052687286</c:v>
                </c:pt>
                <c:pt idx="7292">
                  <c:v>45.339372728802424</c:v>
                </c:pt>
                <c:pt idx="7293">
                  <c:v>25.943836191569883</c:v>
                </c:pt>
                <c:pt idx="7294">
                  <c:v>29.422804143008072</c:v>
                </c:pt>
                <c:pt idx="7295">
                  <c:v>42.850553068197854</c:v>
                </c:pt>
                <c:pt idx="7296">
                  <c:v>47.723852584596678</c:v>
                </c:pt>
                <c:pt idx="7297">
                  <c:v>27.347353834660684</c:v>
                </c:pt>
                <c:pt idx="7298">
                  <c:v>19.40177679714132</c:v>
                </c:pt>
                <c:pt idx="7299">
                  <c:v>40.15854354135115</c:v>
                </c:pt>
                <c:pt idx="7300">
                  <c:v>36.619131467491762</c:v>
                </c:pt>
                <c:pt idx="7301">
                  <c:v>24.369140234978708</c:v>
                </c:pt>
                <c:pt idx="7302">
                  <c:v>34.046479118269815</c:v>
                </c:pt>
                <c:pt idx="7303">
                  <c:v>42.843487171731255</c:v>
                </c:pt>
                <c:pt idx="7304">
                  <c:v>24.735448597375143</c:v>
                </c:pt>
                <c:pt idx="7305">
                  <c:v>26.846419371995893</c:v>
                </c:pt>
                <c:pt idx="7306">
                  <c:v>39.798800509773692</c:v>
                </c:pt>
                <c:pt idx="7307">
                  <c:v>23.439075706415132</c:v>
                </c:pt>
                <c:pt idx="7308">
                  <c:v>34.096212180390751</c:v>
                </c:pt>
                <c:pt idx="7309">
                  <c:v>46.257767527434808</c:v>
                </c:pt>
                <c:pt idx="7310">
                  <c:v>35.220683492413642</c:v>
                </c:pt>
                <c:pt idx="7311">
                  <c:v>24.373091542767135</c:v>
                </c:pt>
                <c:pt idx="7312">
                  <c:v>24.653735324607503</c:v>
                </c:pt>
                <c:pt idx="7313">
                  <c:v>48.338952553569072</c:v>
                </c:pt>
                <c:pt idx="7314">
                  <c:v>25.102648229791345</c:v>
                </c:pt>
                <c:pt idx="7315">
                  <c:v>24.345999791672671</c:v>
                </c:pt>
                <c:pt idx="7316">
                  <c:v>19.249914750576689</c:v>
                </c:pt>
                <c:pt idx="7317">
                  <c:v>47.737064256492111</c:v>
                </c:pt>
                <c:pt idx="7318">
                  <c:v>24.34205405744876</c:v>
                </c:pt>
                <c:pt idx="7319">
                  <c:v>33.492827069668721</c:v>
                </c:pt>
                <c:pt idx="7320">
                  <c:v>34.325830832004073</c:v>
                </c:pt>
                <c:pt idx="7321">
                  <c:v>53.141322039832879</c:v>
                </c:pt>
                <c:pt idx="7322">
                  <c:v>28.14104081625775</c:v>
                </c:pt>
                <c:pt idx="7323">
                  <c:v>32.675285471149792</c:v>
                </c:pt>
                <c:pt idx="7324">
                  <c:v>22.640442025383969</c:v>
                </c:pt>
                <c:pt idx="7325">
                  <c:v>21.751457151856997</c:v>
                </c:pt>
                <c:pt idx="7326">
                  <c:v>29.660267739567459</c:v>
                </c:pt>
                <c:pt idx="7327">
                  <c:v>25.239766785230842</c:v>
                </c:pt>
                <c:pt idx="7328">
                  <c:v>20.542217730821751</c:v>
                </c:pt>
                <c:pt idx="7329">
                  <c:v>24.251278954352777</c:v>
                </c:pt>
                <c:pt idx="7330">
                  <c:v>23.858382259953544</c:v>
                </c:pt>
                <c:pt idx="7331">
                  <c:v>25.933297307115865</c:v>
                </c:pt>
                <c:pt idx="7332">
                  <c:v>24.616058448284761</c:v>
                </c:pt>
                <c:pt idx="7333">
                  <c:v>26.534602778506823</c:v>
                </c:pt>
                <c:pt idx="7334">
                  <c:v>22.943361482137394</c:v>
                </c:pt>
                <c:pt idx="7335">
                  <c:v>18.271512504865001</c:v>
                </c:pt>
                <c:pt idx="7336">
                  <c:v>31.421879823302913</c:v>
                </c:pt>
                <c:pt idx="7337">
                  <c:v>27.909071345612425</c:v>
                </c:pt>
                <c:pt idx="7338">
                  <c:v>34.125059600647816</c:v>
                </c:pt>
                <c:pt idx="7339">
                  <c:v>24.669469866743505</c:v>
                </c:pt>
                <c:pt idx="7340">
                  <c:v>25.424871055838125</c:v>
                </c:pt>
                <c:pt idx="7341">
                  <c:v>26.1739038223158</c:v>
                </c:pt>
                <c:pt idx="7342">
                  <c:v>26.0137491204706</c:v>
                </c:pt>
                <c:pt idx="7343">
                  <c:v>27.895896454213542</c:v>
                </c:pt>
                <c:pt idx="7344">
                  <c:v>27.000047430490362</c:v>
                </c:pt>
                <c:pt idx="7345">
                  <c:v>24.300834995297972</c:v>
                </c:pt>
                <c:pt idx="7346">
                  <c:v>24.299391998400516</c:v>
                </c:pt>
                <c:pt idx="7347">
                  <c:v>20.573875877942683</c:v>
                </c:pt>
                <c:pt idx="7348">
                  <c:v>42.089058062222058</c:v>
                </c:pt>
                <c:pt idx="7349">
                  <c:v>22.304139254465326</c:v>
                </c:pt>
                <c:pt idx="7350">
                  <c:v>31.702284959158121</c:v>
                </c:pt>
                <c:pt idx="7351">
                  <c:v>42.977378683950178</c:v>
                </c:pt>
                <c:pt idx="7352">
                  <c:v>54.79371700042082</c:v>
                </c:pt>
                <c:pt idx="7353">
                  <c:v>21.994013243954413</c:v>
                </c:pt>
                <c:pt idx="7354">
                  <c:v>31.594538704713656</c:v>
                </c:pt>
                <c:pt idx="7355">
                  <c:v>34.055561772594544</c:v>
                </c:pt>
                <c:pt idx="7356">
                  <c:v>29.860379289603575</c:v>
                </c:pt>
                <c:pt idx="7357">
                  <c:v>19.046410323540876</c:v>
                </c:pt>
                <c:pt idx="7358">
                  <c:v>40.83638349473582</c:v>
                </c:pt>
                <c:pt idx="7359">
                  <c:v>49.135616032892749</c:v>
                </c:pt>
                <c:pt idx="7360">
                  <c:v>21.473272484575336</c:v>
                </c:pt>
                <c:pt idx="7361">
                  <c:v>33.072440183930794</c:v>
                </c:pt>
                <c:pt idx="7362">
                  <c:v>27.63203770877714</c:v>
                </c:pt>
                <c:pt idx="7363">
                  <c:v>42.546673380882687</c:v>
                </c:pt>
                <c:pt idx="7364">
                  <c:v>32.460258470121317</c:v>
                </c:pt>
                <c:pt idx="7365">
                  <c:v>29.69242749290234</c:v>
                </c:pt>
                <c:pt idx="7366">
                  <c:v>26.093854713091595</c:v>
                </c:pt>
                <c:pt idx="7367">
                  <c:v>32.064303481396621</c:v>
                </c:pt>
                <c:pt idx="7368">
                  <c:v>34.867941150630301</c:v>
                </c:pt>
                <c:pt idx="7369">
                  <c:v>26.650130981364303</c:v>
                </c:pt>
                <c:pt idx="7370">
                  <c:v>21.883109560938561</c:v>
                </c:pt>
                <c:pt idx="7371">
                  <c:v>33.023732916726438</c:v>
                </c:pt>
                <c:pt idx="7372">
                  <c:v>26.635899118525089</c:v>
                </c:pt>
                <c:pt idx="7373">
                  <c:v>27.488776090312872</c:v>
                </c:pt>
                <c:pt idx="7374">
                  <c:v>18.564902169832941</c:v>
                </c:pt>
                <c:pt idx="7375">
                  <c:v>23.662758470593531</c:v>
                </c:pt>
                <c:pt idx="7376">
                  <c:v>16.607078061941774</c:v>
                </c:pt>
                <c:pt idx="7377">
                  <c:v>44.38606203839975</c:v>
                </c:pt>
                <c:pt idx="7378">
                  <c:v>34.808555938169619</c:v>
                </c:pt>
                <c:pt idx="7379">
                  <c:v>30.682839926595292</c:v>
                </c:pt>
                <c:pt idx="7380">
                  <c:v>21.391657913491876</c:v>
                </c:pt>
                <c:pt idx="7381">
                  <c:v>47.817532348462649</c:v>
                </c:pt>
                <c:pt idx="7382">
                  <c:v>47.852321171306798</c:v>
                </c:pt>
                <c:pt idx="7383">
                  <c:v>27.20009793437189</c:v>
                </c:pt>
                <c:pt idx="7384">
                  <c:v>33.728559386654041</c:v>
                </c:pt>
                <c:pt idx="7385">
                  <c:v>30.848818606813815</c:v>
                </c:pt>
                <c:pt idx="7386">
                  <c:v>53.564848893023466</c:v>
                </c:pt>
                <c:pt idx="7387">
                  <c:v>19.882864343428274</c:v>
                </c:pt>
                <c:pt idx="7388">
                  <c:v>41.774604563779583</c:v>
                </c:pt>
                <c:pt idx="7389">
                  <c:v>20.434389312688062</c:v>
                </c:pt>
                <c:pt idx="7390">
                  <c:v>33.902621041284945</c:v>
                </c:pt>
                <c:pt idx="7391">
                  <c:v>38.596644229616381</c:v>
                </c:pt>
                <c:pt idx="7392">
                  <c:v>25.500837410447957</c:v>
                </c:pt>
                <c:pt idx="7393">
                  <c:v>49.553254854653623</c:v>
                </c:pt>
                <c:pt idx="7394">
                  <c:v>54.808077236261454</c:v>
                </c:pt>
                <c:pt idx="7395">
                  <c:v>47.010006754587437</c:v>
                </c:pt>
                <c:pt idx="7396">
                  <c:v>61.07865091102979</c:v>
                </c:pt>
                <c:pt idx="7397">
                  <c:v>45.877537873756026</c:v>
                </c:pt>
                <c:pt idx="7398">
                  <c:v>22.948875560292009</c:v>
                </c:pt>
                <c:pt idx="7399">
                  <c:v>26.182077169848487</c:v>
                </c:pt>
                <c:pt idx="7400">
                  <c:v>27.88237839630024</c:v>
                </c:pt>
                <c:pt idx="7401">
                  <c:v>29.79004604676966</c:v>
                </c:pt>
                <c:pt idx="7402">
                  <c:v>30.747696642362634</c:v>
                </c:pt>
                <c:pt idx="7403">
                  <c:v>22.328506173800811</c:v>
                </c:pt>
                <c:pt idx="7404">
                  <c:v>30.045103198657152</c:v>
                </c:pt>
                <c:pt idx="7405">
                  <c:v>24.601282870007452</c:v>
                </c:pt>
                <c:pt idx="7406">
                  <c:v>15.41509172018127</c:v>
                </c:pt>
                <c:pt idx="7407">
                  <c:v>27.894340392738094</c:v>
                </c:pt>
                <c:pt idx="7408">
                  <c:v>45.684692206700227</c:v>
                </c:pt>
                <c:pt idx="7409">
                  <c:v>23.590017132168086</c:v>
                </c:pt>
                <c:pt idx="7410">
                  <c:v>26.496028252146246</c:v>
                </c:pt>
                <c:pt idx="7411">
                  <c:v>27.142481144072725</c:v>
                </c:pt>
                <c:pt idx="7412">
                  <c:v>53.669478089378273</c:v>
                </c:pt>
                <c:pt idx="7413">
                  <c:v>39.276459008204455</c:v>
                </c:pt>
                <c:pt idx="7414">
                  <c:v>45.934477936826269</c:v>
                </c:pt>
                <c:pt idx="7415">
                  <c:v>18.141421712306109</c:v>
                </c:pt>
                <c:pt idx="7416">
                  <c:v>28.369584412483135</c:v>
                </c:pt>
                <c:pt idx="7417">
                  <c:v>45.6559606848394</c:v>
                </c:pt>
                <c:pt idx="7418">
                  <c:v>28.793283042519104</c:v>
                </c:pt>
                <c:pt idx="7419">
                  <c:v>46.583733034125366</c:v>
                </c:pt>
                <c:pt idx="7420">
                  <c:v>41.80703986834417</c:v>
                </c:pt>
                <c:pt idx="7421">
                  <c:v>23.572977860267727</c:v>
                </c:pt>
                <c:pt idx="7422">
                  <c:v>28.744241767744519</c:v>
                </c:pt>
                <c:pt idx="7423">
                  <c:v>20.42784554796723</c:v>
                </c:pt>
                <c:pt idx="7424">
                  <c:v>35.423637026598605</c:v>
                </c:pt>
                <c:pt idx="7425">
                  <c:v>24.51506435292487</c:v>
                </c:pt>
                <c:pt idx="7426">
                  <c:v>28.831171231448234</c:v>
                </c:pt>
                <c:pt idx="7427">
                  <c:v>36.200051886386063</c:v>
                </c:pt>
                <c:pt idx="7428">
                  <c:v>26.997157337600335</c:v>
                </c:pt>
                <c:pt idx="7429">
                  <c:v>26.276178734263034</c:v>
                </c:pt>
                <c:pt idx="7430">
                  <c:v>21.220734504507806</c:v>
                </c:pt>
                <c:pt idx="7431">
                  <c:v>46.974573473997125</c:v>
                </c:pt>
                <c:pt idx="7432">
                  <c:v>22.777531313218574</c:v>
                </c:pt>
                <c:pt idx="7433">
                  <c:v>21.847147907403254</c:v>
                </c:pt>
                <c:pt idx="7434">
                  <c:v>25.72946709513247</c:v>
                </c:pt>
                <c:pt idx="7435">
                  <c:v>28.17410515309264</c:v>
                </c:pt>
                <c:pt idx="7436">
                  <c:v>25.385926318492032</c:v>
                </c:pt>
                <c:pt idx="7437">
                  <c:v>21.626740122487483</c:v>
                </c:pt>
                <c:pt idx="7438">
                  <c:v>18.283631057869396</c:v>
                </c:pt>
                <c:pt idx="7439">
                  <c:v>31.411625490029977</c:v>
                </c:pt>
                <c:pt idx="7440">
                  <c:v>37.029960672682734</c:v>
                </c:pt>
                <c:pt idx="7441">
                  <c:v>41.454989069300666</c:v>
                </c:pt>
                <c:pt idx="7442">
                  <c:v>21.883688885000659</c:v>
                </c:pt>
                <c:pt idx="7443">
                  <c:v>44.859290234327098</c:v>
                </c:pt>
                <c:pt idx="7444">
                  <c:v>30.135529954876233</c:v>
                </c:pt>
                <c:pt idx="7445">
                  <c:v>25.516223831877927</c:v>
                </c:pt>
                <c:pt idx="7446">
                  <c:v>35.584271300217999</c:v>
                </c:pt>
                <c:pt idx="7447">
                  <c:v>35.652577716103835</c:v>
                </c:pt>
                <c:pt idx="7448">
                  <c:v>24.838481780351913</c:v>
                </c:pt>
                <c:pt idx="7449">
                  <c:v>27.661028093755426</c:v>
                </c:pt>
                <c:pt idx="7450">
                  <c:v>23.37182857437476</c:v>
                </c:pt>
                <c:pt idx="7451">
                  <c:v>37.337256923058064</c:v>
                </c:pt>
                <c:pt idx="7452">
                  <c:v>33.605324242418753</c:v>
                </c:pt>
                <c:pt idx="7453">
                  <c:v>24.997251097041278</c:v>
                </c:pt>
                <c:pt idx="7454">
                  <c:v>51.656486285369638</c:v>
                </c:pt>
                <c:pt idx="7455">
                  <c:v>50.087441929022042</c:v>
                </c:pt>
                <c:pt idx="7456">
                  <c:v>25.525466848869844</c:v>
                </c:pt>
                <c:pt idx="7457">
                  <c:v>26.299155389559342</c:v>
                </c:pt>
                <c:pt idx="7458">
                  <c:v>29.517183383536384</c:v>
                </c:pt>
                <c:pt idx="7459">
                  <c:v>50.276273615504842</c:v>
                </c:pt>
                <c:pt idx="7460">
                  <c:v>37.05560492198785</c:v>
                </c:pt>
                <c:pt idx="7461">
                  <c:v>25.781669163830159</c:v>
                </c:pt>
                <c:pt idx="7462">
                  <c:v>35.002324785764699</c:v>
                </c:pt>
                <c:pt idx="7463">
                  <c:v>39.685722440252356</c:v>
                </c:pt>
                <c:pt idx="7464">
                  <c:v>21.672163471680285</c:v>
                </c:pt>
                <c:pt idx="7465">
                  <c:v>27.076761793512482</c:v>
                </c:pt>
                <c:pt idx="7466">
                  <c:v>27.297700539175384</c:v>
                </c:pt>
                <c:pt idx="7467">
                  <c:v>59.689111671220324</c:v>
                </c:pt>
                <c:pt idx="7468">
                  <c:v>23.200747064745691</c:v>
                </c:pt>
                <c:pt idx="7469">
                  <c:v>18.317624912944023</c:v>
                </c:pt>
                <c:pt idx="7470">
                  <c:v>24.977608120972686</c:v>
                </c:pt>
                <c:pt idx="7471">
                  <c:v>35.661264645344502</c:v>
                </c:pt>
                <c:pt idx="7472">
                  <c:v>29.007102146904849</c:v>
                </c:pt>
                <c:pt idx="7473">
                  <c:v>29.944176314326629</c:v>
                </c:pt>
                <c:pt idx="7474">
                  <c:v>52.702458339976225</c:v>
                </c:pt>
                <c:pt idx="7475">
                  <c:v>28.687572740749097</c:v>
                </c:pt>
                <c:pt idx="7476">
                  <c:v>32.132178368401142</c:v>
                </c:pt>
                <c:pt idx="7477">
                  <c:v>36.020144076222032</c:v>
                </c:pt>
                <c:pt idx="7478">
                  <c:v>32.893499525598671</c:v>
                </c:pt>
                <c:pt idx="7479">
                  <c:v>29.653112596419948</c:v>
                </c:pt>
                <c:pt idx="7480">
                  <c:v>50.825980918149376</c:v>
                </c:pt>
                <c:pt idx="7481">
                  <c:v>25.573877137984095</c:v>
                </c:pt>
                <c:pt idx="7482">
                  <c:v>49.672802331805066</c:v>
                </c:pt>
                <c:pt idx="7483">
                  <c:v>28.678480869388409</c:v>
                </c:pt>
                <c:pt idx="7484">
                  <c:v>22.568960025344044</c:v>
                </c:pt>
                <c:pt idx="7485">
                  <c:v>28.706322756945319</c:v>
                </c:pt>
                <c:pt idx="7486">
                  <c:v>35.295757804314945</c:v>
                </c:pt>
                <c:pt idx="7487">
                  <c:v>19.449046808764017</c:v>
                </c:pt>
                <c:pt idx="7488">
                  <c:v>32.189741330133742</c:v>
                </c:pt>
                <c:pt idx="7489">
                  <c:v>40.197747195061865</c:v>
                </c:pt>
                <c:pt idx="7490">
                  <c:v>40.130283958154465</c:v>
                </c:pt>
                <c:pt idx="7491">
                  <c:v>26.956501428911547</c:v>
                </c:pt>
                <c:pt idx="7492">
                  <c:v>37.065917741107427</c:v>
                </c:pt>
                <c:pt idx="7493">
                  <c:v>30.779442280109063</c:v>
                </c:pt>
                <c:pt idx="7494">
                  <c:v>35.866865273995437</c:v>
                </c:pt>
                <c:pt idx="7495">
                  <c:v>47.819001119291904</c:v>
                </c:pt>
                <c:pt idx="7496">
                  <c:v>51.027400648987587</c:v>
                </c:pt>
                <c:pt idx="7497">
                  <c:v>22.570107225331206</c:v>
                </c:pt>
                <c:pt idx="7498">
                  <c:v>26.293002845207283</c:v>
                </c:pt>
                <c:pt idx="7499">
                  <c:v>36.865194517118269</c:v>
                </c:pt>
                <c:pt idx="7500">
                  <c:v>33.905003633687386</c:v>
                </c:pt>
                <c:pt idx="7501">
                  <c:v>42.255578860111186</c:v>
                </c:pt>
                <c:pt idx="7502">
                  <c:v>26.18871232936646</c:v>
                </c:pt>
                <c:pt idx="7503">
                  <c:v>31.357947554098772</c:v>
                </c:pt>
                <c:pt idx="7504">
                  <c:v>33.318720030941599</c:v>
                </c:pt>
                <c:pt idx="7505">
                  <c:v>33.274438174263835</c:v>
                </c:pt>
                <c:pt idx="7506">
                  <c:v>29.221664007303431</c:v>
                </c:pt>
                <c:pt idx="7507">
                  <c:v>35.006998534509648</c:v>
                </c:pt>
                <c:pt idx="7508">
                  <c:v>50.78774055870327</c:v>
                </c:pt>
                <c:pt idx="7509">
                  <c:v>24.793178175129054</c:v>
                </c:pt>
                <c:pt idx="7510">
                  <c:v>30.094551558118823</c:v>
                </c:pt>
                <c:pt idx="7511">
                  <c:v>48.333186815676754</c:v>
                </c:pt>
                <c:pt idx="7512">
                  <c:v>40.570359233792622</c:v>
                </c:pt>
                <c:pt idx="7513">
                  <c:v>30.525647439196227</c:v>
                </c:pt>
                <c:pt idx="7514">
                  <c:v>29.434837433898601</c:v>
                </c:pt>
                <c:pt idx="7515">
                  <c:v>28.413993785810085</c:v>
                </c:pt>
                <c:pt idx="7516">
                  <c:v>23.801833795210705</c:v>
                </c:pt>
                <c:pt idx="7517">
                  <c:v>18.990825160056474</c:v>
                </c:pt>
                <c:pt idx="7518">
                  <c:v>28.360631995257624</c:v>
                </c:pt>
                <c:pt idx="7519">
                  <c:v>51.786923939886606</c:v>
                </c:pt>
                <c:pt idx="7520">
                  <c:v>41.010986172547831</c:v>
                </c:pt>
                <c:pt idx="7521">
                  <c:v>27.84548687650657</c:v>
                </c:pt>
                <c:pt idx="7522">
                  <c:v>36.085778783454607</c:v>
                </c:pt>
                <c:pt idx="7523">
                  <c:v>51.71712292595987</c:v>
                </c:pt>
                <c:pt idx="7524">
                  <c:v>30.884055375984239</c:v>
                </c:pt>
                <c:pt idx="7525">
                  <c:v>36.378814090649456</c:v>
                </c:pt>
                <c:pt idx="7526">
                  <c:v>47.937370040491345</c:v>
                </c:pt>
                <c:pt idx="7527">
                  <c:v>26.49014578791191</c:v>
                </c:pt>
                <c:pt idx="7528">
                  <c:v>32.260088172641723</c:v>
                </c:pt>
                <c:pt idx="7529">
                  <c:v>56.499261150393224</c:v>
                </c:pt>
                <c:pt idx="7530">
                  <c:v>26.366652976498095</c:v>
                </c:pt>
                <c:pt idx="7531">
                  <c:v>41.21756438424871</c:v>
                </c:pt>
                <c:pt idx="7532">
                  <c:v>24.942691287857837</c:v>
                </c:pt>
                <c:pt idx="7533">
                  <c:v>19.265812376833953</c:v>
                </c:pt>
                <c:pt idx="7534">
                  <c:v>30.931175015433688</c:v>
                </c:pt>
                <c:pt idx="7535">
                  <c:v>19.21748299927901</c:v>
                </c:pt>
                <c:pt idx="7536">
                  <c:v>37.514303526638116</c:v>
                </c:pt>
                <c:pt idx="7537">
                  <c:v>26.228048605108604</c:v>
                </c:pt>
                <c:pt idx="7538">
                  <c:v>51.702515953669845</c:v>
                </c:pt>
                <c:pt idx="7539">
                  <c:v>30.986025346776465</c:v>
                </c:pt>
                <c:pt idx="7540">
                  <c:v>31.87268233864544</c:v>
                </c:pt>
                <c:pt idx="7541">
                  <c:v>48.011239581583197</c:v>
                </c:pt>
                <c:pt idx="7542">
                  <c:v>47.502488618934308</c:v>
                </c:pt>
                <c:pt idx="7543">
                  <c:v>28.47004232672548</c:v>
                </c:pt>
                <c:pt idx="7544">
                  <c:v>27.89959652468481</c:v>
                </c:pt>
                <c:pt idx="7545">
                  <c:v>18.084032704571019</c:v>
                </c:pt>
                <c:pt idx="7546">
                  <c:v>34.806818125226386</c:v>
                </c:pt>
                <c:pt idx="7547">
                  <c:v>25.430729849744669</c:v>
                </c:pt>
                <c:pt idx="7548">
                  <c:v>25.66154866853789</c:v>
                </c:pt>
                <c:pt idx="7549">
                  <c:v>26.867203505394805</c:v>
                </c:pt>
                <c:pt idx="7550">
                  <c:v>37.048307585145253</c:v>
                </c:pt>
                <c:pt idx="7551">
                  <c:v>43.956313619456424</c:v>
                </c:pt>
                <c:pt idx="7552">
                  <c:v>44.463865558369399</c:v>
                </c:pt>
                <c:pt idx="7553">
                  <c:v>31.699389417583888</c:v>
                </c:pt>
                <c:pt idx="7554">
                  <c:v>35.341180288375021</c:v>
                </c:pt>
                <c:pt idx="7555">
                  <c:v>52.881132881067117</c:v>
                </c:pt>
                <c:pt idx="7556">
                  <c:v>25.345844417839221</c:v>
                </c:pt>
                <c:pt idx="7557">
                  <c:v>29.161725638361716</c:v>
                </c:pt>
                <c:pt idx="7558">
                  <c:v>33.239782025020872</c:v>
                </c:pt>
                <c:pt idx="7559">
                  <c:v>23.299785640403485</c:v>
                </c:pt>
                <c:pt idx="7560">
                  <c:v>29.150488853132135</c:v>
                </c:pt>
                <c:pt idx="7561">
                  <c:v>29.50011977655879</c:v>
                </c:pt>
                <c:pt idx="7562">
                  <c:v>27.462085754412808</c:v>
                </c:pt>
                <c:pt idx="7563">
                  <c:v>48.243693581019507</c:v>
                </c:pt>
                <c:pt idx="7564">
                  <c:v>23.827682860926835</c:v>
                </c:pt>
                <c:pt idx="7565">
                  <c:v>31.414805026840348</c:v>
                </c:pt>
                <c:pt idx="7566">
                  <c:v>52.577327351743207</c:v>
                </c:pt>
                <c:pt idx="7567">
                  <c:v>21.324702457231957</c:v>
                </c:pt>
                <c:pt idx="7568">
                  <c:v>26.003381707183411</c:v>
                </c:pt>
                <c:pt idx="7569">
                  <c:v>34.245423683581343</c:v>
                </c:pt>
                <c:pt idx="7570">
                  <c:v>44.369836550054536</c:v>
                </c:pt>
                <c:pt idx="7571">
                  <c:v>39.510301033940969</c:v>
                </c:pt>
                <c:pt idx="7572">
                  <c:v>51.894826779394577</c:v>
                </c:pt>
                <c:pt idx="7573">
                  <c:v>30.374636287409182</c:v>
                </c:pt>
                <c:pt idx="7574">
                  <c:v>27.99344160316657</c:v>
                </c:pt>
                <c:pt idx="7575">
                  <c:v>32.648965696448116</c:v>
                </c:pt>
                <c:pt idx="7576">
                  <c:v>22.386200465412095</c:v>
                </c:pt>
                <c:pt idx="7577">
                  <c:v>45.314622185531348</c:v>
                </c:pt>
                <c:pt idx="7578">
                  <c:v>42.931146331567525</c:v>
                </c:pt>
                <c:pt idx="7579">
                  <c:v>50.059180670542673</c:v>
                </c:pt>
                <c:pt idx="7580">
                  <c:v>37.074834382525466</c:v>
                </c:pt>
                <c:pt idx="7581">
                  <c:v>36.162157446474396</c:v>
                </c:pt>
                <c:pt idx="7582">
                  <c:v>30.933534307424878</c:v>
                </c:pt>
                <c:pt idx="7583">
                  <c:v>22.38359304383787</c:v>
                </c:pt>
                <c:pt idx="7584">
                  <c:v>36.745217243158862</c:v>
                </c:pt>
                <c:pt idx="7585">
                  <c:v>54.430750633440084</c:v>
                </c:pt>
                <c:pt idx="7586">
                  <c:v>50.230375418100593</c:v>
                </c:pt>
                <c:pt idx="7587">
                  <c:v>29.068079916064047</c:v>
                </c:pt>
                <c:pt idx="7588">
                  <c:v>52.821707321146555</c:v>
                </c:pt>
                <c:pt idx="7589">
                  <c:v>15.490371121657335</c:v>
                </c:pt>
                <c:pt idx="7590">
                  <c:v>43.698498469959496</c:v>
                </c:pt>
                <c:pt idx="7591">
                  <c:v>39.588244700695391</c:v>
                </c:pt>
                <c:pt idx="7592">
                  <c:v>44.485226049977264</c:v>
                </c:pt>
                <c:pt idx="7593">
                  <c:v>27.612472109562113</c:v>
                </c:pt>
                <c:pt idx="7594">
                  <c:v>28.552514337982789</c:v>
                </c:pt>
                <c:pt idx="7595">
                  <c:v>23.927530059213403</c:v>
                </c:pt>
                <c:pt idx="7596">
                  <c:v>31.431896007775904</c:v>
                </c:pt>
                <c:pt idx="7597">
                  <c:v>31.10378594343652</c:v>
                </c:pt>
                <c:pt idx="7598">
                  <c:v>25.167551955736855</c:v>
                </c:pt>
                <c:pt idx="7599">
                  <c:v>21.03732479869231</c:v>
                </c:pt>
                <c:pt idx="7600">
                  <c:v>21.404915176675161</c:v>
                </c:pt>
                <c:pt idx="7601">
                  <c:v>28.438040596167799</c:v>
                </c:pt>
                <c:pt idx="7602">
                  <c:v>20.012152097906263</c:v>
                </c:pt>
                <c:pt idx="7603">
                  <c:v>54.484560925571671</c:v>
                </c:pt>
                <c:pt idx="7604">
                  <c:v>45.56738477200976</c:v>
                </c:pt>
                <c:pt idx="7605">
                  <c:v>44.068071037501618</c:v>
                </c:pt>
                <c:pt idx="7606">
                  <c:v>27.189622669947653</c:v>
                </c:pt>
                <c:pt idx="7607">
                  <c:v>25.642364900712032</c:v>
                </c:pt>
                <c:pt idx="7608">
                  <c:v>20.786488293876992</c:v>
                </c:pt>
                <c:pt idx="7609">
                  <c:v>33.258970676317155</c:v>
                </c:pt>
                <c:pt idx="7610">
                  <c:v>25.304949988090488</c:v>
                </c:pt>
                <c:pt idx="7611">
                  <c:v>36.444778873881262</c:v>
                </c:pt>
                <c:pt idx="7612">
                  <c:v>27.260760274262378</c:v>
                </c:pt>
                <c:pt idx="7613">
                  <c:v>30.918967130303439</c:v>
                </c:pt>
                <c:pt idx="7614">
                  <c:v>22.28321479209206</c:v>
                </c:pt>
                <c:pt idx="7615">
                  <c:v>26.674576261755462</c:v>
                </c:pt>
                <c:pt idx="7616">
                  <c:v>43.548876997959006</c:v>
                </c:pt>
                <c:pt idx="7617">
                  <c:v>25.32432017914892</c:v>
                </c:pt>
                <c:pt idx="7618">
                  <c:v>25.899876899958365</c:v>
                </c:pt>
                <c:pt idx="7619">
                  <c:v>21.316029470154188</c:v>
                </c:pt>
                <c:pt idx="7620">
                  <c:v>55.535430942150718</c:v>
                </c:pt>
                <c:pt idx="7621">
                  <c:v>32.190691008043061</c:v>
                </c:pt>
                <c:pt idx="7622">
                  <c:v>55.038871832117003</c:v>
                </c:pt>
                <c:pt idx="7623">
                  <c:v>25.851604305154694</c:v>
                </c:pt>
                <c:pt idx="7624">
                  <c:v>42.5855840555217</c:v>
                </c:pt>
                <c:pt idx="7625">
                  <c:v>20.377707907944984</c:v>
                </c:pt>
                <c:pt idx="7626">
                  <c:v>24.844109739066106</c:v>
                </c:pt>
                <c:pt idx="7627">
                  <c:v>27.721123486535515</c:v>
                </c:pt>
                <c:pt idx="7628">
                  <c:v>26.040444522466164</c:v>
                </c:pt>
                <c:pt idx="7629">
                  <c:v>28.280075886621326</c:v>
                </c:pt>
                <c:pt idx="7630">
                  <c:v>24.677748421915396</c:v>
                </c:pt>
                <c:pt idx="7631">
                  <c:v>31.633807752674105</c:v>
                </c:pt>
                <c:pt idx="7632">
                  <c:v>26.851929548299623</c:v>
                </c:pt>
                <c:pt idx="7633">
                  <c:v>37.821851605363619</c:v>
                </c:pt>
                <c:pt idx="7634">
                  <c:v>22.761123215538568</c:v>
                </c:pt>
                <c:pt idx="7635">
                  <c:v>56.414252445528788</c:v>
                </c:pt>
                <c:pt idx="7636">
                  <c:v>17.075658159280422</c:v>
                </c:pt>
                <c:pt idx="7637">
                  <c:v>16.336113840992709</c:v>
                </c:pt>
                <c:pt idx="7638">
                  <c:v>22.215145695538023</c:v>
                </c:pt>
                <c:pt idx="7639">
                  <c:v>26.588016287595813</c:v>
                </c:pt>
                <c:pt idx="7640">
                  <c:v>20.717987305124627</c:v>
                </c:pt>
                <c:pt idx="7641">
                  <c:v>22.848505520495692</c:v>
                </c:pt>
                <c:pt idx="7642">
                  <c:v>29.097949334351771</c:v>
                </c:pt>
                <c:pt idx="7643">
                  <c:v>37.988255394002735</c:v>
                </c:pt>
                <c:pt idx="7644">
                  <c:v>54.764467119316812</c:v>
                </c:pt>
                <c:pt idx="7645">
                  <c:v>31.97838925568707</c:v>
                </c:pt>
                <c:pt idx="7646">
                  <c:v>29.112426326493431</c:v>
                </c:pt>
                <c:pt idx="7647">
                  <c:v>52.335645464923012</c:v>
                </c:pt>
                <c:pt idx="7648">
                  <c:v>46.754417541293279</c:v>
                </c:pt>
                <c:pt idx="7649">
                  <c:v>25.890120804750385</c:v>
                </c:pt>
                <c:pt idx="7650">
                  <c:v>47.076052359594314</c:v>
                </c:pt>
                <c:pt idx="7651">
                  <c:v>46.653256361781786</c:v>
                </c:pt>
                <c:pt idx="7652">
                  <c:v>28.308990584933028</c:v>
                </c:pt>
                <c:pt idx="7653">
                  <c:v>18.864183736183016</c:v>
                </c:pt>
                <c:pt idx="7654">
                  <c:v>29.899834244476537</c:v>
                </c:pt>
                <c:pt idx="7655">
                  <c:v>20.360431095595551</c:v>
                </c:pt>
                <c:pt idx="7656">
                  <c:v>40.794830809639194</c:v>
                </c:pt>
                <c:pt idx="7657">
                  <c:v>35.13328449791193</c:v>
                </c:pt>
                <c:pt idx="7658">
                  <c:v>30.192942409381033</c:v>
                </c:pt>
                <c:pt idx="7659">
                  <c:v>23.57892706834356</c:v>
                </c:pt>
                <c:pt idx="7660">
                  <c:v>16.709302325660179</c:v>
                </c:pt>
                <c:pt idx="7661">
                  <c:v>35.567587223765472</c:v>
                </c:pt>
                <c:pt idx="7662">
                  <c:v>28.020616733054329</c:v>
                </c:pt>
                <c:pt idx="7663">
                  <c:v>23.531760950772025</c:v>
                </c:pt>
                <c:pt idx="7664">
                  <c:v>24.06274192678142</c:v>
                </c:pt>
                <c:pt idx="7665">
                  <c:v>49.385014422668362</c:v>
                </c:pt>
                <c:pt idx="7666">
                  <c:v>46.027408775448194</c:v>
                </c:pt>
                <c:pt idx="7667">
                  <c:v>22.622707546927622</c:v>
                </c:pt>
                <c:pt idx="7668">
                  <c:v>24.164947419560178</c:v>
                </c:pt>
                <c:pt idx="7669">
                  <c:v>24.183017338255084</c:v>
                </c:pt>
                <c:pt idx="7670">
                  <c:v>21.758880086254173</c:v>
                </c:pt>
                <c:pt idx="7671">
                  <c:v>18.739031028395381</c:v>
                </c:pt>
                <c:pt idx="7672">
                  <c:v>25.777167786180204</c:v>
                </c:pt>
                <c:pt idx="7673">
                  <c:v>35.585411934299721</c:v>
                </c:pt>
                <c:pt idx="7674">
                  <c:v>19.673129892877473</c:v>
                </c:pt>
                <c:pt idx="7675">
                  <c:v>44.469502481019113</c:v>
                </c:pt>
                <c:pt idx="7676">
                  <c:v>23.805774095392302</c:v>
                </c:pt>
                <c:pt idx="7677">
                  <c:v>45.467592939982524</c:v>
                </c:pt>
                <c:pt idx="7678">
                  <c:v>32.484676066893101</c:v>
                </c:pt>
                <c:pt idx="7679">
                  <c:v>29.305217126497826</c:v>
                </c:pt>
                <c:pt idx="7680">
                  <c:v>54.416690967560328</c:v>
                </c:pt>
                <c:pt idx="7681">
                  <c:v>26.184535157504669</c:v>
                </c:pt>
                <c:pt idx="7682">
                  <c:v>32.834982278997707</c:v>
                </c:pt>
                <c:pt idx="7683">
                  <c:v>17.707861073448061</c:v>
                </c:pt>
                <c:pt idx="7684">
                  <c:v>53.810958201933104</c:v>
                </c:pt>
                <c:pt idx="7685">
                  <c:v>47.4981647791817</c:v>
                </c:pt>
                <c:pt idx="7686">
                  <c:v>25.547800138929844</c:v>
                </c:pt>
                <c:pt idx="7687">
                  <c:v>33.116217620768211</c:v>
                </c:pt>
                <c:pt idx="7688">
                  <c:v>31.190911518597286</c:v>
                </c:pt>
                <c:pt idx="7689">
                  <c:v>27.28564554861342</c:v>
                </c:pt>
                <c:pt idx="7690">
                  <c:v>41.758902395167361</c:v>
                </c:pt>
                <c:pt idx="7691">
                  <c:v>30.455018021714931</c:v>
                </c:pt>
                <c:pt idx="7692">
                  <c:v>38.665395802775222</c:v>
                </c:pt>
                <c:pt idx="7693">
                  <c:v>28.952283133184469</c:v>
                </c:pt>
                <c:pt idx="7694">
                  <c:v>22.110933947807673</c:v>
                </c:pt>
                <c:pt idx="7695">
                  <c:v>39.309892704810835</c:v>
                </c:pt>
                <c:pt idx="7696">
                  <c:v>47.336153275963689</c:v>
                </c:pt>
                <c:pt idx="7697">
                  <c:v>42.30503863535268</c:v>
                </c:pt>
                <c:pt idx="7698">
                  <c:v>28.19624585800176</c:v>
                </c:pt>
                <c:pt idx="7699">
                  <c:v>42.224591710802997</c:v>
                </c:pt>
                <c:pt idx="7700">
                  <c:v>27.29822132708432</c:v>
                </c:pt>
                <c:pt idx="7701">
                  <c:v>22.726483807142479</c:v>
                </c:pt>
                <c:pt idx="7702">
                  <c:v>30.805377407416842</c:v>
                </c:pt>
                <c:pt idx="7703">
                  <c:v>33.115804223326393</c:v>
                </c:pt>
                <c:pt idx="7704">
                  <c:v>37.531987831497538</c:v>
                </c:pt>
                <c:pt idx="7705">
                  <c:v>45.812505455035499</c:v>
                </c:pt>
                <c:pt idx="7706">
                  <c:v>48.832254138300186</c:v>
                </c:pt>
                <c:pt idx="7707">
                  <c:v>34.117226402462954</c:v>
                </c:pt>
                <c:pt idx="7708">
                  <c:v>21.468651313687825</c:v>
                </c:pt>
                <c:pt idx="7709">
                  <c:v>26.509774784817399</c:v>
                </c:pt>
                <c:pt idx="7710">
                  <c:v>25.410892718432557</c:v>
                </c:pt>
                <c:pt idx="7711">
                  <c:v>51.235481644227136</c:v>
                </c:pt>
                <c:pt idx="7712">
                  <c:v>40.968300241036651</c:v>
                </c:pt>
                <c:pt idx="7713">
                  <c:v>52.183796318901351</c:v>
                </c:pt>
                <c:pt idx="7714">
                  <c:v>24.087491924925374</c:v>
                </c:pt>
                <c:pt idx="7715">
                  <c:v>28.887699262990775</c:v>
                </c:pt>
                <c:pt idx="7716">
                  <c:v>43.284336061887984</c:v>
                </c:pt>
                <c:pt idx="7717">
                  <c:v>25.505574447955361</c:v>
                </c:pt>
                <c:pt idx="7718">
                  <c:v>22.228185610775153</c:v>
                </c:pt>
                <c:pt idx="7719">
                  <c:v>24.024348543188943</c:v>
                </c:pt>
                <c:pt idx="7720">
                  <c:v>21.418950690149295</c:v>
                </c:pt>
                <c:pt idx="7721">
                  <c:v>33.195119243087049</c:v>
                </c:pt>
                <c:pt idx="7722">
                  <c:v>27.731290239548763</c:v>
                </c:pt>
                <c:pt idx="7723">
                  <c:v>33.006969079926286</c:v>
                </c:pt>
                <c:pt idx="7724">
                  <c:v>27.528308011397666</c:v>
                </c:pt>
                <c:pt idx="7725">
                  <c:v>26.380682604966104</c:v>
                </c:pt>
                <c:pt idx="7726">
                  <c:v>44.000420988810561</c:v>
                </c:pt>
                <c:pt idx="7727">
                  <c:v>21.082087095493574</c:v>
                </c:pt>
                <c:pt idx="7728">
                  <c:v>28.788340564658458</c:v>
                </c:pt>
                <c:pt idx="7729">
                  <c:v>24.901544319104431</c:v>
                </c:pt>
                <c:pt idx="7730">
                  <c:v>25.084875296798721</c:v>
                </c:pt>
                <c:pt idx="7731">
                  <c:v>33.045022723349952</c:v>
                </c:pt>
                <c:pt idx="7732">
                  <c:v>26.567641224239487</c:v>
                </c:pt>
                <c:pt idx="7733">
                  <c:v>55.354728975201105</c:v>
                </c:pt>
                <c:pt idx="7734">
                  <c:v>41.573026030946878</c:v>
                </c:pt>
                <c:pt idx="7735">
                  <c:v>34.763142862227454</c:v>
                </c:pt>
                <c:pt idx="7736">
                  <c:v>36.515655078692163</c:v>
                </c:pt>
                <c:pt idx="7737">
                  <c:v>25.136087951418776</c:v>
                </c:pt>
                <c:pt idx="7738">
                  <c:v>43.991469875566168</c:v>
                </c:pt>
                <c:pt idx="7739">
                  <c:v>37.637315307163071</c:v>
                </c:pt>
                <c:pt idx="7740">
                  <c:v>25.097153108705626</c:v>
                </c:pt>
                <c:pt idx="7741">
                  <c:v>22.83635765494191</c:v>
                </c:pt>
                <c:pt idx="7742">
                  <c:v>21.251738701127071</c:v>
                </c:pt>
                <c:pt idx="7743">
                  <c:v>23.355431397630852</c:v>
                </c:pt>
                <c:pt idx="7744">
                  <c:v>28.596116995409467</c:v>
                </c:pt>
                <c:pt idx="7745">
                  <c:v>15.844805714754269</c:v>
                </c:pt>
                <c:pt idx="7746">
                  <c:v>26.743229648625746</c:v>
                </c:pt>
                <c:pt idx="7747">
                  <c:v>25.734854425640854</c:v>
                </c:pt>
                <c:pt idx="7748">
                  <c:v>23.970253382649176</c:v>
                </c:pt>
                <c:pt idx="7749">
                  <c:v>46.974170297455814</c:v>
                </c:pt>
                <c:pt idx="7750">
                  <c:v>24.098970748641431</c:v>
                </c:pt>
                <c:pt idx="7751">
                  <c:v>26.561894331176873</c:v>
                </c:pt>
                <c:pt idx="7752">
                  <c:v>35.027800992792322</c:v>
                </c:pt>
                <c:pt idx="7753">
                  <c:v>50.549543508109771</c:v>
                </c:pt>
                <c:pt idx="7754">
                  <c:v>51.812715338828546</c:v>
                </c:pt>
                <c:pt idx="7755">
                  <c:v>12.365976254351175</c:v>
                </c:pt>
                <c:pt idx="7756">
                  <c:v>46.065237623221705</c:v>
                </c:pt>
                <c:pt idx="7757">
                  <c:v>31.64106278311402</c:v>
                </c:pt>
                <c:pt idx="7758">
                  <c:v>23.212023169474342</c:v>
                </c:pt>
                <c:pt idx="7759">
                  <c:v>56.101993525828306</c:v>
                </c:pt>
                <c:pt idx="7760">
                  <c:v>23.917667580485166</c:v>
                </c:pt>
                <c:pt idx="7761">
                  <c:v>53.175076832548847</c:v>
                </c:pt>
                <c:pt idx="7762">
                  <c:v>22.05780164585731</c:v>
                </c:pt>
                <c:pt idx="7763">
                  <c:v>35.870869652494854</c:v>
                </c:pt>
                <c:pt idx="7764">
                  <c:v>27.679654024969032</c:v>
                </c:pt>
                <c:pt idx="7765">
                  <c:v>25.680965912042794</c:v>
                </c:pt>
                <c:pt idx="7766">
                  <c:v>46.403161838596105</c:v>
                </c:pt>
                <c:pt idx="7767">
                  <c:v>43.08295998306793</c:v>
                </c:pt>
                <c:pt idx="7768">
                  <c:v>27.497322026589746</c:v>
                </c:pt>
                <c:pt idx="7769">
                  <c:v>21.08704445494093</c:v>
                </c:pt>
                <c:pt idx="7770">
                  <c:v>27.004367059285052</c:v>
                </c:pt>
                <c:pt idx="7771">
                  <c:v>39.86688149546741</c:v>
                </c:pt>
                <c:pt idx="7772">
                  <c:v>28.985777238141267</c:v>
                </c:pt>
                <c:pt idx="7773">
                  <c:v>21.93271127656601</c:v>
                </c:pt>
                <c:pt idx="7774">
                  <c:v>39.286887829688879</c:v>
                </c:pt>
                <c:pt idx="7775">
                  <c:v>56.32107734156363</c:v>
                </c:pt>
                <c:pt idx="7776">
                  <c:v>47.291701001538613</c:v>
                </c:pt>
                <c:pt idx="7777">
                  <c:v>20.424600323574779</c:v>
                </c:pt>
                <c:pt idx="7778">
                  <c:v>20.253279050771688</c:v>
                </c:pt>
                <c:pt idx="7779">
                  <c:v>28.32811722400853</c:v>
                </c:pt>
                <c:pt idx="7780">
                  <c:v>24.557584423525295</c:v>
                </c:pt>
                <c:pt idx="7781">
                  <c:v>34.134012444148823</c:v>
                </c:pt>
                <c:pt idx="7782">
                  <c:v>25.170825302970762</c:v>
                </c:pt>
                <c:pt idx="7783">
                  <c:v>23.012961792617649</c:v>
                </c:pt>
                <c:pt idx="7784">
                  <c:v>52.703090004410953</c:v>
                </c:pt>
                <c:pt idx="7785">
                  <c:v>22.001469065263549</c:v>
                </c:pt>
                <c:pt idx="7786">
                  <c:v>42.567097940070816</c:v>
                </c:pt>
                <c:pt idx="7787">
                  <c:v>51.613908400678682</c:v>
                </c:pt>
                <c:pt idx="7788">
                  <c:v>27.728566365414274</c:v>
                </c:pt>
                <c:pt idx="7789">
                  <c:v>22.381118003139136</c:v>
                </c:pt>
                <c:pt idx="7790">
                  <c:v>25.513238559140628</c:v>
                </c:pt>
                <c:pt idx="7791">
                  <c:v>34.298273378147044</c:v>
                </c:pt>
                <c:pt idx="7792">
                  <c:v>50.278771398335209</c:v>
                </c:pt>
                <c:pt idx="7793">
                  <c:v>30.755850851712847</c:v>
                </c:pt>
                <c:pt idx="7794">
                  <c:v>30.620412098577496</c:v>
                </c:pt>
                <c:pt idx="7795">
                  <c:v>41.494422991915449</c:v>
                </c:pt>
                <c:pt idx="7796">
                  <c:v>24.379779689612619</c:v>
                </c:pt>
                <c:pt idx="7797">
                  <c:v>25.999373204907275</c:v>
                </c:pt>
                <c:pt idx="7798">
                  <c:v>33.303610407108145</c:v>
                </c:pt>
                <c:pt idx="7799">
                  <c:v>26.443683803350758</c:v>
                </c:pt>
                <c:pt idx="7800">
                  <c:v>29.215162512658694</c:v>
                </c:pt>
                <c:pt idx="7801">
                  <c:v>43.601920928065383</c:v>
                </c:pt>
                <c:pt idx="7802">
                  <c:v>22.439076861452669</c:v>
                </c:pt>
                <c:pt idx="7803">
                  <c:v>49.751466669377983</c:v>
                </c:pt>
                <c:pt idx="7804">
                  <c:v>28.108868199742517</c:v>
                </c:pt>
                <c:pt idx="7805">
                  <c:v>30.506119347719601</c:v>
                </c:pt>
                <c:pt idx="7806">
                  <c:v>35.493369864240989</c:v>
                </c:pt>
                <c:pt idx="7807">
                  <c:v>30.181031226083551</c:v>
                </c:pt>
                <c:pt idx="7808">
                  <c:v>23.854152798717774</c:v>
                </c:pt>
                <c:pt idx="7809">
                  <c:v>53.62684196318564</c:v>
                </c:pt>
                <c:pt idx="7810">
                  <c:v>27.320243040417925</c:v>
                </c:pt>
                <c:pt idx="7811">
                  <c:v>30.024799131160382</c:v>
                </c:pt>
                <c:pt idx="7812">
                  <c:v>24.049478627669163</c:v>
                </c:pt>
                <c:pt idx="7813">
                  <c:v>26.886329570230799</c:v>
                </c:pt>
                <c:pt idx="7814">
                  <c:v>24.578056371099972</c:v>
                </c:pt>
                <c:pt idx="7815">
                  <c:v>43.396465837610066</c:v>
                </c:pt>
                <c:pt idx="7816">
                  <c:v>48.727349569016368</c:v>
                </c:pt>
                <c:pt idx="7817">
                  <c:v>47.309904443821949</c:v>
                </c:pt>
                <c:pt idx="7818">
                  <c:v>25.708316310717706</c:v>
                </c:pt>
                <c:pt idx="7819">
                  <c:v>23.221068672388775</c:v>
                </c:pt>
                <c:pt idx="7820">
                  <c:v>32.250682571775286</c:v>
                </c:pt>
                <c:pt idx="7821">
                  <c:v>23.695989780011011</c:v>
                </c:pt>
                <c:pt idx="7822">
                  <c:v>21.027716454804875</c:v>
                </c:pt>
                <c:pt idx="7823">
                  <c:v>29.916035002184508</c:v>
                </c:pt>
                <c:pt idx="7824">
                  <c:v>35.024869541596807</c:v>
                </c:pt>
                <c:pt idx="7825">
                  <c:v>24.707585666642494</c:v>
                </c:pt>
                <c:pt idx="7826">
                  <c:v>54.914999305485026</c:v>
                </c:pt>
                <c:pt idx="7827">
                  <c:v>20.725409454563348</c:v>
                </c:pt>
                <c:pt idx="7828">
                  <c:v>23.4114568275205</c:v>
                </c:pt>
                <c:pt idx="7829">
                  <c:v>26.126225657533027</c:v>
                </c:pt>
                <c:pt idx="7830">
                  <c:v>22.35031105637869</c:v>
                </c:pt>
                <c:pt idx="7831">
                  <c:v>25.418995811031618</c:v>
                </c:pt>
                <c:pt idx="7832">
                  <c:v>31.622058104421448</c:v>
                </c:pt>
                <c:pt idx="7833">
                  <c:v>30.308867733061007</c:v>
                </c:pt>
                <c:pt idx="7834">
                  <c:v>23.011363755414976</c:v>
                </c:pt>
                <c:pt idx="7835">
                  <c:v>50.509359135453238</c:v>
                </c:pt>
                <c:pt idx="7836">
                  <c:v>20.229599123966128</c:v>
                </c:pt>
                <c:pt idx="7837">
                  <c:v>52.189441819260658</c:v>
                </c:pt>
                <c:pt idx="7838">
                  <c:v>26.914071121909572</c:v>
                </c:pt>
                <c:pt idx="7839">
                  <c:v>19.666288945978099</c:v>
                </c:pt>
                <c:pt idx="7840">
                  <c:v>58.233965734941016</c:v>
                </c:pt>
                <c:pt idx="7841">
                  <c:v>38.797401666522582</c:v>
                </c:pt>
                <c:pt idx="7842">
                  <c:v>25.64612668760553</c:v>
                </c:pt>
                <c:pt idx="7843">
                  <c:v>16.800657347205963</c:v>
                </c:pt>
                <c:pt idx="7844">
                  <c:v>43.57855602582903</c:v>
                </c:pt>
                <c:pt idx="7845">
                  <c:v>32.798860182804091</c:v>
                </c:pt>
                <c:pt idx="7846">
                  <c:v>21.7130837012404</c:v>
                </c:pt>
                <c:pt idx="7847">
                  <c:v>47.608198144968277</c:v>
                </c:pt>
                <c:pt idx="7848">
                  <c:v>27.301991039173334</c:v>
                </c:pt>
                <c:pt idx="7849">
                  <c:v>25.931668471575819</c:v>
                </c:pt>
                <c:pt idx="7850">
                  <c:v>48.325580280780926</c:v>
                </c:pt>
                <c:pt idx="7851">
                  <c:v>17.60213483528122</c:v>
                </c:pt>
                <c:pt idx="7852">
                  <c:v>24.007474233146496</c:v>
                </c:pt>
                <c:pt idx="7853">
                  <c:v>31.172956078913913</c:v>
                </c:pt>
                <c:pt idx="7854">
                  <c:v>45.487885427561608</c:v>
                </c:pt>
                <c:pt idx="7855">
                  <c:v>33.54397470344577</c:v>
                </c:pt>
                <c:pt idx="7856">
                  <c:v>25.726159374664778</c:v>
                </c:pt>
                <c:pt idx="7857">
                  <c:v>22.887381471688805</c:v>
                </c:pt>
                <c:pt idx="7858">
                  <c:v>65.807193579378435</c:v>
                </c:pt>
                <c:pt idx="7859">
                  <c:v>26.646600148911084</c:v>
                </c:pt>
                <c:pt idx="7860">
                  <c:v>31.247448071228618</c:v>
                </c:pt>
                <c:pt idx="7861">
                  <c:v>29.62139674653649</c:v>
                </c:pt>
                <c:pt idx="7862">
                  <c:v>25.656391633678297</c:v>
                </c:pt>
                <c:pt idx="7863">
                  <c:v>30.581976464916789</c:v>
                </c:pt>
                <c:pt idx="7864">
                  <c:v>29.648977365842502</c:v>
                </c:pt>
                <c:pt idx="7865">
                  <c:v>27.352032538036347</c:v>
                </c:pt>
                <c:pt idx="7866">
                  <c:v>46.342324986618479</c:v>
                </c:pt>
                <c:pt idx="7867">
                  <c:v>29.766219696737586</c:v>
                </c:pt>
                <c:pt idx="7868">
                  <c:v>28.461579105065027</c:v>
                </c:pt>
                <c:pt idx="7869">
                  <c:v>23.574105139778322</c:v>
                </c:pt>
                <c:pt idx="7870">
                  <c:v>44.909473274704652</c:v>
                </c:pt>
                <c:pt idx="7871">
                  <c:v>21.446621779179484</c:v>
                </c:pt>
                <c:pt idx="7872">
                  <c:v>26.233357247494617</c:v>
                </c:pt>
                <c:pt idx="7873">
                  <c:v>26.5326607345269</c:v>
                </c:pt>
                <c:pt idx="7874">
                  <c:v>28.85918391582225</c:v>
                </c:pt>
                <c:pt idx="7875">
                  <c:v>50.078203756847458</c:v>
                </c:pt>
                <c:pt idx="7876">
                  <c:v>26.839944078044748</c:v>
                </c:pt>
                <c:pt idx="7877">
                  <c:v>35.33133223947268</c:v>
                </c:pt>
                <c:pt idx="7878">
                  <c:v>26.538840855074092</c:v>
                </c:pt>
                <c:pt idx="7879">
                  <c:v>30.877096660745224</c:v>
                </c:pt>
                <c:pt idx="7880">
                  <c:v>28.079301419196533</c:v>
                </c:pt>
                <c:pt idx="7881">
                  <c:v>41.013455563374649</c:v>
                </c:pt>
                <c:pt idx="7882">
                  <c:v>25.868649243322764</c:v>
                </c:pt>
                <c:pt idx="7883">
                  <c:v>32.683715206366593</c:v>
                </c:pt>
                <c:pt idx="7884">
                  <c:v>32.230960542287967</c:v>
                </c:pt>
                <c:pt idx="7885">
                  <c:v>22.097234185775331</c:v>
                </c:pt>
                <c:pt idx="7886">
                  <c:v>22.842692416888887</c:v>
                </c:pt>
                <c:pt idx="7887">
                  <c:v>28.445250205307399</c:v>
                </c:pt>
                <c:pt idx="7888">
                  <c:v>14.163015708708024</c:v>
                </c:pt>
                <c:pt idx="7889">
                  <c:v>45.862528128425822</c:v>
                </c:pt>
                <c:pt idx="7890">
                  <c:v>37.442130763444588</c:v>
                </c:pt>
                <c:pt idx="7891">
                  <c:v>21.681138739537584</c:v>
                </c:pt>
                <c:pt idx="7892">
                  <c:v>21.106616432355427</c:v>
                </c:pt>
                <c:pt idx="7893">
                  <c:v>53.798490095729036</c:v>
                </c:pt>
                <c:pt idx="7894">
                  <c:v>25.345850355524583</c:v>
                </c:pt>
                <c:pt idx="7895">
                  <c:v>23.855553731495881</c:v>
                </c:pt>
                <c:pt idx="7896">
                  <c:v>23.481559239144413</c:v>
                </c:pt>
                <c:pt idx="7897">
                  <c:v>31.503959274508631</c:v>
                </c:pt>
                <c:pt idx="7898">
                  <c:v>19.001885028988177</c:v>
                </c:pt>
                <c:pt idx="7899">
                  <c:v>23.127368039299636</c:v>
                </c:pt>
                <c:pt idx="7900">
                  <c:v>24.500696242645606</c:v>
                </c:pt>
                <c:pt idx="7901">
                  <c:v>26.932370059138592</c:v>
                </c:pt>
                <c:pt idx="7902">
                  <c:v>22.672602116299199</c:v>
                </c:pt>
                <c:pt idx="7903">
                  <c:v>23.05382446012274</c:v>
                </c:pt>
                <c:pt idx="7904">
                  <c:v>36.261181568938554</c:v>
                </c:pt>
                <c:pt idx="7905">
                  <c:v>24.054032176730633</c:v>
                </c:pt>
                <c:pt idx="7906">
                  <c:v>32.456153227272431</c:v>
                </c:pt>
                <c:pt idx="7907">
                  <c:v>21.818397964886355</c:v>
                </c:pt>
                <c:pt idx="7908">
                  <c:v>27.263306836893591</c:v>
                </c:pt>
                <c:pt idx="7909">
                  <c:v>26.895714827523811</c:v>
                </c:pt>
                <c:pt idx="7910">
                  <c:v>34.938825959908087</c:v>
                </c:pt>
                <c:pt idx="7911">
                  <c:v>28.194388424686579</c:v>
                </c:pt>
                <c:pt idx="7912">
                  <c:v>24.276019186652448</c:v>
                </c:pt>
                <c:pt idx="7913">
                  <c:v>26.054284177382037</c:v>
                </c:pt>
                <c:pt idx="7914">
                  <c:v>47.384467758184151</c:v>
                </c:pt>
                <c:pt idx="7915">
                  <c:v>39.896591907457207</c:v>
                </c:pt>
                <c:pt idx="7916">
                  <c:v>32.337789761791534</c:v>
                </c:pt>
                <c:pt idx="7917">
                  <c:v>40.030613066666831</c:v>
                </c:pt>
                <c:pt idx="7918">
                  <c:v>53.621672830877117</c:v>
                </c:pt>
                <c:pt idx="7919">
                  <c:v>39.353118742313733</c:v>
                </c:pt>
                <c:pt idx="7920">
                  <c:v>33.122706653273639</c:v>
                </c:pt>
                <c:pt idx="7921">
                  <c:v>26.353558885748143</c:v>
                </c:pt>
                <c:pt idx="7922">
                  <c:v>38.504286771819004</c:v>
                </c:pt>
                <c:pt idx="7923">
                  <c:v>47.51833469634262</c:v>
                </c:pt>
                <c:pt idx="7924">
                  <c:v>32.227856378471799</c:v>
                </c:pt>
                <c:pt idx="7925">
                  <c:v>29.095818452852342</c:v>
                </c:pt>
                <c:pt idx="7926">
                  <c:v>42.008045946286956</c:v>
                </c:pt>
                <c:pt idx="7927">
                  <c:v>51.971504418501567</c:v>
                </c:pt>
                <c:pt idx="7928">
                  <c:v>28.006038420997751</c:v>
                </c:pt>
                <c:pt idx="7929">
                  <c:v>28.376726227703269</c:v>
                </c:pt>
                <c:pt idx="7930">
                  <c:v>28.795800953071801</c:v>
                </c:pt>
                <c:pt idx="7931">
                  <c:v>28.187242519628132</c:v>
                </c:pt>
                <c:pt idx="7932">
                  <c:v>40.172827897594324</c:v>
                </c:pt>
                <c:pt idx="7933">
                  <c:v>21.674637495206898</c:v>
                </c:pt>
                <c:pt idx="7934">
                  <c:v>26.530595168572582</c:v>
                </c:pt>
                <c:pt idx="7935">
                  <c:v>49.795872694674273</c:v>
                </c:pt>
                <c:pt idx="7936">
                  <c:v>53.306669520465313</c:v>
                </c:pt>
                <c:pt idx="7937">
                  <c:v>56.738123135038279</c:v>
                </c:pt>
                <c:pt idx="7938">
                  <c:v>20.539779728820704</c:v>
                </c:pt>
                <c:pt idx="7939">
                  <c:v>23.799935301673745</c:v>
                </c:pt>
                <c:pt idx="7940">
                  <c:v>34.667061511727113</c:v>
                </c:pt>
                <c:pt idx="7941">
                  <c:v>35.58706948912414</c:v>
                </c:pt>
                <c:pt idx="7942">
                  <c:v>27.382902970393019</c:v>
                </c:pt>
                <c:pt idx="7943">
                  <c:v>24.163687978409378</c:v>
                </c:pt>
                <c:pt idx="7944">
                  <c:v>38.438695888919455</c:v>
                </c:pt>
                <c:pt idx="7945">
                  <c:v>42.889613286278497</c:v>
                </c:pt>
                <c:pt idx="7946">
                  <c:v>27.539237130542162</c:v>
                </c:pt>
                <c:pt idx="7947">
                  <c:v>29.345999346480394</c:v>
                </c:pt>
                <c:pt idx="7948">
                  <c:v>29.124317618915775</c:v>
                </c:pt>
                <c:pt idx="7949">
                  <c:v>22.854971882641916</c:v>
                </c:pt>
                <c:pt idx="7950">
                  <c:v>27.741028967542743</c:v>
                </c:pt>
                <c:pt idx="7951">
                  <c:v>28.305734309242471</c:v>
                </c:pt>
                <c:pt idx="7952">
                  <c:v>15.134428454764892</c:v>
                </c:pt>
                <c:pt idx="7953">
                  <c:v>22.878246358502743</c:v>
                </c:pt>
                <c:pt idx="7954">
                  <c:v>28.28102199902402</c:v>
                </c:pt>
                <c:pt idx="7955">
                  <c:v>21.968535597185991</c:v>
                </c:pt>
                <c:pt idx="7956">
                  <c:v>61.499743215100466</c:v>
                </c:pt>
                <c:pt idx="7957">
                  <c:v>40.356561327291217</c:v>
                </c:pt>
                <c:pt idx="7958">
                  <c:v>27.849069832914591</c:v>
                </c:pt>
                <c:pt idx="7959">
                  <c:v>28.118180700572751</c:v>
                </c:pt>
                <c:pt idx="7960">
                  <c:v>43.466466314735733</c:v>
                </c:pt>
                <c:pt idx="7961">
                  <c:v>50.011439793163802</c:v>
                </c:pt>
                <c:pt idx="7962">
                  <c:v>45.017369809355714</c:v>
                </c:pt>
                <c:pt idx="7963">
                  <c:v>23.118254435165117</c:v>
                </c:pt>
                <c:pt idx="7964">
                  <c:v>38.127382780105222</c:v>
                </c:pt>
                <c:pt idx="7965">
                  <c:v>32.243774878453635</c:v>
                </c:pt>
                <c:pt idx="7966">
                  <c:v>26.735429420577919</c:v>
                </c:pt>
                <c:pt idx="7967">
                  <c:v>16.730221500423799</c:v>
                </c:pt>
                <c:pt idx="7968">
                  <c:v>28.471497069056092</c:v>
                </c:pt>
                <c:pt idx="7969">
                  <c:v>59.184472411255399</c:v>
                </c:pt>
                <c:pt idx="7970">
                  <c:v>56.085104108884295</c:v>
                </c:pt>
                <c:pt idx="7971">
                  <c:v>26.261851516587765</c:v>
                </c:pt>
                <c:pt idx="7972">
                  <c:v>48.752883811107445</c:v>
                </c:pt>
                <c:pt idx="7973">
                  <c:v>28.922030398487358</c:v>
                </c:pt>
                <c:pt idx="7974">
                  <c:v>29.30947033560901</c:v>
                </c:pt>
                <c:pt idx="7975">
                  <c:v>22.90717549495103</c:v>
                </c:pt>
                <c:pt idx="7976">
                  <c:v>46.921588344785683</c:v>
                </c:pt>
                <c:pt idx="7977">
                  <c:v>23.75837281294497</c:v>
                </c:pt>
                <c:pt idx="7978">
                  <c:v>42.81273560970817</c:v>
                </c:pt>
                <c:pt idx="7979">
                  <c:v>29.671016150905306</c:v>
                </c:pt>
                <c:pt idx="7980">
                  <c:v>24.117384071050814</c:v>
                </c:pt>
                <c:pt idx="7981">
                  <c:v>31.692164433872261</c:v>
                </c:pt>
                <c:pt idx="7982">
                  <c:v>34.30524705555549</c:v>
                </c:pt>
                <c:pt idx="7983">
                  <c:v>31.506234286606514</c:v>
                </c:pt>
                <c:pt idx="7984">
                  <c:v>17.461644315932482</c:v>
                </c:pt>
                <c:pt idx="7985">
                  <c:v>44.318217349703346</c:v>
                </c:pt>
                <c:pt idx="7986">
                  <c:v>27.220904506821014</c:v>
                </c:pt>
                <c:pt idx="7987">
                  <c:v>46.098505393650711</c:v>
                </c:pt>
                <c:pt idx="7988">
                  <c:v>31.653673592972627</c:v>
                </c:pt>
                <c:pt idx="7989">
                  <c:v>30.374502497422924</c:v>
                </c:pt>
                <c:pt idx="7990">
                  <c:v>29.625279814558372</c:v>
                </c:pt>
                <c:pt idx="7991">
                  <c:v>28.312138626737628</c:v>
                </c:pt>
                <c:pt idx="7992">
                  <c:v>30.410729978332689</c:v>
                </c:pt>
                <c:pt idx="7993">
                  <c:v>44.902681883254402</c:v>
                </c:pt>
                <c:pt idx="7994">
                  <c:v>21.840392253165998</c:v>
                </c:pt>
                <c:pt idx="7995">
                  <c:v>34.532739308953047</c:v>
                </c:pt>
                <c:pt idx="7996">
                  <c:v>29.984880385943754</c:v>
                </c:pt>
                <c:pt idx="7997">
                  <c:v>50.619833566990621</c:v>
                </c:pt>
                <c:pt idx="7998">
                  <c:v>20.990721834971591</c:v>
                </c:pt>
                <c:pt idx="7999">
                  <c:v>32.493145954112435</c:v>
                </c:pt>
                <c:pt idx="8000">
                  <c:v>29.336041563589042</c:v>
                </c:pt>
                <c:pt idx="8001">
                  <c:v>35.561275253359028</c:v>
                </c:pt>
                <c:pt idx="8002">
                  <c:v>21.807395024776586</c:v>
                </c:pt>
                <c:pt idx="8003">
                  <c:v>26.324075901112337</c:v>
                </c:pt>
                <c:pt idx="8004">
                  <c:v>23.199896421970863</c:v>
                </c:pt>
                <c:pt idx="8005">
                  <c:v>47.362275529040552</c:v>
                </c:pt>
                <c:pt idx="8006">
                  <c:v>29.76407798729754</c:v>
                </c:pt>
                <c:pt idx="8007">
                  <c:v>48.587045155194907</c:v>
                </c:pt>
                <c:pt idx="8008">
                  <c:v>53.030136428543493</c:v>
                </c:pt>
                <c:pt idx="8009">
                  <c:v>45.59492453602725</c:v>
                </c:pt>
                <c:pt idx="8010">
                  <c:v>21.658598534989885</c:v>
                </c:pt>
                <c:pt idx="8011">
                  <c:v>20.161286834952161</c:v>
                </c:pt>
                <c:pt idx="8012">
                  <c:v>18.392165144606537</c:v>
                </c:pt>
                <c:pt idx="8013">
                  <c:v>26.846738198431837</c:v>
                </c:pt>
                <c:pt idx="8014">
                  <c:v>35.278244738847398</c:v>
                </c:pt>
                <c:pt idx="8015">
                  <c:v>46.558740322752485</c:v>
                </c:pt>
                <c:pt idx="8016">
                  <c:v>22.510370855070665</c:v>
                </c:pt>
                <c:pt idx="8017">
                  <c:v>26.758938131209106</c:v>
                </c:pt>
                <c:pt idx="8018">
                  <c:v>30.126925195982736</c:v>
                </c:pt>
                <c:pt idx="8019">
                  <c:v>28.840178301422299</c:v>
                </c:pt>
                <c:pt idx="8020">
                  <c:v>29.531224586146188</c:v>
                </c:pt>
                <c:pt idx="8021">
                  <c:v>52.026733500281068</c:v>
                </c:pt>
                <c:pt idx="8022">
                  <c:v>49.686387190704338</c:v>
                </c:pt>
                <c:pt idx="8023">
                  <c:v>30.282849042318503</c:v>
                </c:pt>
                <c:pt idx="8024">
                  <c:v>51.739540306212405</c:v>
                </c:pt>
                <c:pt idx="8025">
                  <c:v>26.44589045005641</c:v>
                </c:pt>
                <c:pt idx="8026">
                  <c:v>29.473738606787496</c:v>
                </c:pt>
                <c:pt idx="8027">
                  <c:v>29.958804325756166</c:v>
                </c:pt>
                <c:pt idx="8028">
                  <c:v>24.43212065272175</c:v>
                </c:pt>
                <c:pt idx="8029">
                  <c:v>22.942006460532355</c:v>
                </c:pt>
                <c:pt idx="8030">
                  <c:v>24.518640460831154</c:v>
                </c:pt>
                <c:pt idx="8031">
                  <c:v>23.041552987974413</c:v>
                </c:pt>
                <c:pt idx="8032">
                  <c:v>48.185086555781304</c:v>
                </c:pt>
                <c:pt idx="8033">
                  <c:v>40.116484455924301</c:v>
                </c:pt>
                <c:pt idx="8034">
                  <c:v>22.707430029764829</c:v>
                </c:pt>
                <c:pt idx="8035">
                  <c:v>34.405654371563976</c:v>
                </c:pt>
                <c:pt idx="8036">
                  <c:v>45.072950394527481</c:v>
                </c:pt>
                <c:pt idx="8037">
                  <c:v>23.520002724465229</c:v>
                </c:pt>
                <c:pt idx="8038">
                  <c:v>26.316052196013302</c:v>
                </c:pt>
                <c:pt idx="8039">
                  <c:v>43.28134132841469</c:v>
                </c:pt>
                <c:pt idx="8040">
                  <c:v>23.642120677171249</c:v>
                </c:pt>
                <c:pt idx="8041">
                  <c:v>39.16983507398345</c:v>
                </c:pt>
                <c:pt idx="8042">
                  <c:v>20.80096344786849</c:v>
                </c:pt>
                <c:pt idx="8043">
                  <c:v>31.107691098588372</c:v>
                </c:pt>
                <c:pt idx="8044">
                  <c:v>27.008828819845895</c:v>
                </c:pt>
                <c:pt idx="8045">
                  <c:v>34.628793966857081</c:v>
                </c:pt>
                <c:pt idx="8046">
                  <c:v>28.043645550240853</c:v>
                </c:pt>
                <c:pt idx="8047">
                  <c:v>20.542855883028221</c:v>
                </c:pt>
                <c:pt idx="8048">
                  <c:v>34.852563246327882</c:v>
                </c:pt>
                <c:pt idx="8049">
                  <c:v>46.66700029813061</c:v>
                </c:pt>
                <c:pt idx="8050">
                  <c:v>25.992857024925282</c:v>
                </c:pt>
                <c:pt idx="8051">
                  <c:v>55.566469593829858</c:v>
                </c:pt>
                <c:pt idx="8052">
                  <c:v>45.103598424603021</c:v>
                </c:pt>
                <c:pt idx="8053">
                  <c:v>29.736057484609823</c:v>
                </c:pt>
                <c:pt idx="8054">
                  <c:v>20.260314515559351</c:v>
                </c:pt>
                <c:pt idx="8055">
                  <c:v>54.984437387356074</c:v>
                </c:pt>
                <c:pt idx="8056">
                  <c:v>24.913186268367358</c:v>
                </c:pt>
                <c:pt idx="8057">
                  <c:v>29.276714975917557</c:v>
                </c:pt>
                <c:pt idx="8058">
                  <c:v>28.800942704618777</c:v>
                </c:pt>
                <c:pt idx="8059">
                  <c:v>25.582789470453076</c:v>
                </c:pt>
                <c:pt idx="8060">
                  <c:v>54.428735045408743</c:v>
                </c:pt>
                <c:pt idx="8061">
                  <c:v>25.536784577100956</c:v>
                </c:pt>
                <c:pt idx="8062">
                  <c:v>18.985608935466939</c:v>
                </c:pt>
                <c:pt idx="8063">
                  <c:v>19.639188738651857</c:v>
                </c:pt>
                <c:pt idx="8064">
                  <c:v>45.130539601985923</c:v>
                </c:pt>
                <c:pt idx="8065">
                  <c:v>18.040182210226376</c:v>
                </c:pt>
                <c:pt idx="8066">
                  <c:v>21.233114397175648</c:v>
                </c:pt>
                <c:pt idx="8067">
                  <c:v>22.720702490366552</c:v>
                </c:pt>
                <c:pt idx="8068">
                  <c:v>21.207100797972931</c:v>
                </c:pt>
                <c:pt idx="8069">
                  <c:v>38.365085994432782</c:v>
                </c:pt>
                <c:pt idx="8070">
                  <c:v>25.147292809392248</c:v>
                </c:pt>
                <c:pt idx="8071">
                  <c:v>27.789521857420112</c:v>
                </c:pt>
                <c:pt idx="8072">
                  <c:v>23.651037051737617</c:v>
                </c:pt>
                <c:pt idx="8073">
                  <c:v>49.969284982610226</c:v>
                </c:pt>
                <c:pt idx="8074">
                  <c:v>26.501857104618797</c:v>
                </c:pt>
                <c:pt idx="8075">
                  <c:v>25.385671571780176</c:v>
                </c:pt>
                <c:pt idx="8076">
                  <c:v>36.889083421790097</c:v>
                </c:pt>
                <c:pt idx="8077">
                  <c:v>23.295202775706507</c:v>
                </c:pt>
                <c:pt idx="8078">
                  <c:v>26.103774634950852</c:v>
                </c:pt>
                <c:pt idx="8079">
                  <c:v>24.485911649849804</c:v>
                </c:pt>
                <c:pt idx="8080">
                  <c:v>21.033809268901514</c:v>
                </c:pt>
                <c:pt idx="8081">
                  <c:v>36.833341385244587</c:v>
                </c:pt>
                <c:pt idx="8082">
                  <c:v>37.081991774511188</c:v>
                </c:pt>
                <c:pt idx="8083">
                  <c:v>53.987470210962584</c:v>
                </c:pt>
                <c:pt idx="8084">
                  <c:v>27.182004798778522</c:v>
                </c:pt>
                <c:pt idx="8085">
                  <c:v>25.507488662897632</c:v>
                </c:pt>
                <c:pt idx="8086">
                  <c:v>25.14957635486067</c:v>
                </c:pt>
                <c:pt idx="8087">
                  <c:v>34.86229929410829</c:v>
                </c:pt>
                <c:pt idx="8088">
                  <c:v>29.15911544918405</c:v>
                </c:pt>
                <c:pt idx="8089">
                  <c:v>22.678966519026655</c:v>
                </c:pt>
                <c:pt idx="8090">
                  <c:v>39.672095407883091</c:v>
                </c:pt>
                <c:pt idx="8091">
                  <c:v>26.88868964522262</c:v>
                </c:pt>
                <c:pt idx="8092">
                  <c:v>22.204106223136193</c:v>
                </c:pt>
                <c:pt idx="8093">
                  <c:v>44.440143814358059</c:v>
                </c:pt>
                <c:pt idx="8094">
                  <c:v>44.547640863493307</c:v>
                </c:pt>
                <c:pt idx="8095">
                  <c:v>58.250660400915308</c:v>
                </c:pt>
                <c:pt idx="8096">
                  <c:v>29.033653111941067</c:v>
                </c:pt>
                <c:pt idx="8097">
                  <c:v>25.2271274367952</c:v>
                </c:pt>
                <c:pt idx="8098">
                  <c:v>38.750761785948576</c:v>
                </c:pt>
                <c:pt idx="8099">
                  <c:v>35.128759149211803</c:v>
                </c:pt>
                <c:pt idx="8100">
                  <c:v>28.917553910767204</c:v>
                </c:pt>
                <c:pt idx="8101">
                  <c:v>27.634132804846978</c:v>
                </c:pt>
                <c:pt idx="8102">
                  <c:v>54.475748132440543</c:v>
                </c:pt>
                <c:pt idx="8103">
                  <c:v>21.899352245844714</c:v>
                </c:pt>
                <c:pt idx="8104">
                  <c:v>25.740524594158309</c:v>
                </c:pt>
                <c:pt idx="8105">
                  <c:v>28.663469149814926</c:v>
                </c:pt>
                <c:pt idx="8106">
                  <c:v>29.977156121389442</c:v>
                </c:pt>
                <c:pt idx="8107">
                  <c:v>29.612492776311736</c:v>
                </c:pt>
                <c:pt idx="8108">
                  <c:v>30.294463920396456</c:v>
                </c:pt>
                <c:pt idx="8109">
                  <c:v>25.93593379943119</c:v>
                </c:pt>
                <c:pt idx="8110">
                  <c:v>43.887100076078319</c:v>
                </c:pt>
                <c:pt idx="8111">
                  <c:v>27.951744443667828</c:v>
                </c:pt>
                <c:pt idx="8112">
                  <c:v>24.307867721082875</c:v>
                </c:pt>
                <c:pt idx="8113">
                  <c:v>29.138027992884822</c:v>
                </c:pt>
                <c:pt idx="8114">
                  <c:v>25.44211490788976</c:v>
                </c:pt>
                <c:pt idx="8115">
                  <c:v>42.830389685491902</c:v>
                </c:pt>
                <c:pt idx="8116">
                  <c:v>37.380513328911427</c:v>
                </c:pt>
                <c:pt idx="8117">
                  <c:v>35.601792067593209</c:v>
                </c:pt>
                <c:pt idx="8118">
                  <c:v>32.800067498567017</c:v>
                </c:pt>
                <c:pt idx="8119">
                  <c:v>29.063117219649921</c:v>
                </c:pt>
                <c:pt idx="8120">
                  <c:v>21.103220646728317</c:v>
                </c:pt>
                <c:pt idx="8121">
                  <c:v>24.120757284247347</c:v>
                </c:pt>
                <c:pt idx="8122">
                  <c:v>25.653196544751513</c:v>
                </c:pt>
                <c:pt idx="8123">
                  <c:v>28.686640791576512</c:v>
                </c:pt>
                <c:pt idx="8124">
                  <c:v>26.512190487891797</c:v>
                </c:pt>
                <c:pt idx="8125">
                  <c:v>32.727844823221083</c:v>
                </c:pt>
                <c:pt idx="8126">
                  <c:v>21.714712864966963</c:v>
                </c:pt>
                <c:pt idx="8127">
                  <c:v>35.715465851005838</c:v>
                </c:pt>
                <c:pt idx="8128">
                  <c:v>23.045209288323367</c:v>
                </c:pt>
                <c:pt idx="8129">
                  <c:v>27.840244803179679</c:v>
                </c:pt>
                <c:pt idx="8130">
                  <c:v>21.587271828616718</c:v>
                </c:pt>
                <c:pt idx="8131">
                  <c:v>22.753707109324633</c:v>
                </c:pt>
                <c:pt idx="8132">
                  <c:v>40.212750273747041</c:v>
                </c:pt>
                <c:pt idx="8133">
                  <c:v>33.439693387945418</c:v>
                </c:pt>
                <c:pt idx="8134">
                  <c:v>25.445030080430605</c:v>
                </c:pt>
                <c:pt idx="8135">
                  <c:v>39.940677652084247</c:v>
                </c:pt>
                <c:pt idx="8136">
                  <c:v>33.820207512733703</c:v>
                </c:pt>
                <c:pt idx="8137">
                  <c:v>21.935523026714112</c:v>
                </c:pt>
                <c:pt idx="8138">
                  <c:v>24.208197186474159</c:v>
                </c:pt>
                <c:pt idx="8139">
                  <c:v>21.366820340585171</c:v>
                </c:pt>
                <c:pt idx="8140">
                  <c:v>21.009379080110488</c:v>
                </c:pt>
                <c:pt idx="8141">
                  <c:v>23.942999137415939</c:v>
                </c:pt>
                <c:pt idx="8142">
                  <c:v>26.567661834498807</c:v>
                </c:pt>
                <c:pt idx="8143">
                  <c:v>23.770590416611277</c:v>
                </c:pt>
                <c:pt idx="8144">
                  <c:v>21.349688320309411</c:v>
                </c:pt>
                <c:pt idx="8145">
                  <c:v>28.380086056428595</c:v>
                </c:pt>
                <c:pt idx="8146">
                  <c:v>29.587475410633957</c:v>
                </c:pt>
                <c:pt idx="8147">
                  <c:v>23.459339388257682</c:v>
                </c:pt>
                <c:pt idx="8148">
                  <c:v>48.327776375048416</c:v>
                </c:pt>
                <c:pt idx="8149">
                  <c:v>22.811795420618637</c:v>
                </c:pt>
                <c:pt idx="8150">
                  <c:v>42.299422441444733</c:v>
                </c:pt>
                <c:pt idx="8151">
                  <c:v>23.476326968600969</c:v>
                </c:pt>
                <c:pt idx="8152">
                  <c:v>19.767357268957596</c:v>
                </c:pt>
                <c:pt idx="8153">
                  <c:v>41.5711077732687</c:v>
                </c:pt>
                <c:pt idx="8154">
                  <c:v>34.645373997866528</c:v>
                </c:pt>
                <c:pt idx="8155">
                  <c:v>33.311962833132647</c:v>
                </c:pt>
                <c:pt idx="8156">
                  <c:v>30.195355157682652</c:v>
                </c:pt>
                <c:pt idx="8157">
                  <c:v>23.050716365780922</c:v>
                </c:pt>
                <c:pt idx="8158">
                  <c:v>40.207547217186217</c:v>
                </c:pt>
                <c:pt idx="8159">
                  <c:v>47.058171446405538</c:v>
                </c:pt>
                <c:pt idx="8160">
                  <c:v>28.975681773221979</c:v>
                </c:pt>
                <c:pt idx="8161">
                  <c:v>20.980448103968264</c:v>
                </c:pt>
                <c:pt idx="8162">
                  <c:v>53.973115989339554</c:v>
                </c:pt>
                <c:pt idx="8163">
                  <c:v>45.593837017429067</c:v>
                </c:pt>
                <c:pt idx="8164">
                  <c:v>26.069507573370323</c:v>
                </c:pt>
                <c:pt idx="8165">
                  <c:v>40.444831073473267</c:v>
                </c:pt>
                <c:pt idx="8166">
                  <c:v>23.874202675858381</c:v>
                </c:pt>
                <c:pt idx="8167">
                  <c:v>24.654716486242599</c:v>
                </c:pt>
                <c:pt idx="8168">
                  <c:v>24.615358344067793</c:v>
                </c:pt>
                <c:pt idx="8169">
                  <c:v>20.304004252903084</c:v>
                </c:pt>
                <c:pt idx="8170">
                  <c:v>26.037230834309913</c:v>
                </c:pt>
                <c:pt idx="8171">
                  <c:v>18.638566307471883</c:v>
                </c:pt>
                <c:pt idx="8172">
                  <c:v>20.353610991379682</c:v>
                </c:pt>
                <c:pt idx="8173">
                  <c:v>27.26832918153222</c:v>
                </c:pt>
                <c:pt idx="8174">
                  <c:v>32.613424976293899</c:v>
                </c:pt>
                <c:pt idx="8175">
                  <c:v>29.527806514887907</c:v>
                </c:pt>
                <c:pt idx="8176">
                  <c:v>26.658203677000337</c:v>
                </c:pt>
                <c:pt idx="8177">
                  <c:v>52.241466119995309</c:v>
                </c:pt>
                <c:pt idx="8178">
                  <c:v>51.097239620858296</c:v>
                </c:pt>
                <c:pt idx="8179">
                  <c:v>25.297938097455869</c:v>
                </c:pt>
                <c:pt idx="8180">
                  <c:v>30.802743034251044</c:v>
                </c:pt>
                <c:pt idx="8181">
                  <c:v>49.079160809317386</c:v>
                </c:pt>
                <c:pt idx="8182">
                  <c:v>44.184981822319052</c:v>
                </c:pt>
                <c:pt idx="8183">
                  <c:v>31.99386852882342</c:v>
                </c:pt>
                <c:pt idx="8184">
                  <c:v>25.003849940126141</c:v>
                </c:pt>
                <c:pt idx="8185">
                  <c:v>29.223059148404776</c:v>
                </c:pt>
                <c:pt idx="8186">
                  <c:v>41.670151597823768</c:v>
                </c:pt>
                <c:pt idx="8187">
                  <c:v>37.842919043880286</c:v>
                </c:pt>
                <c:pt idx="8188">
                  <c:v>42.522225927769689</c:v>
                </c:pt>
                <c:pt idx="8189">
                  <c:v>31.266681494362732</c:v>
                </c:pt>
                <c:pt idx="8190">
                  <c:v>27.320182630892024</c:v>
                </c:pt>
                <c:pt idx="8191">
                  <c:v>36.108728124145145</c:v>
                </c:pt>
                <c:pt idx="8192">
                  <c:v>32.48125960366103</c:v>
                </c:pt>
                <c:pt idx="8193">
                  <c:v>27.951408892298879</c:v>
                </c:pt>
                <c:pt idx="8194">
                  <c:v>29.284593179968773</c:v>
                </c:pt>
                <c:pt idx="8195">
                  <c:v>29.721513480045232</c:v>
                </c:pt>
                <c:pt idx="8196">
                  <c:v>19.069732898142615</c:v>
                </c:pt>
                <c:pt idx="8197">
                  <c:v>20.472229352020783</c:v>
                </c:pt>
                <c:pt idx="8198">
                  <c:v>23.733304852289834</c:v>
                </c:pt>
                <c:pt idx="8199">
                  <c:v>21.748947746133823</c:v>
                </c:pt>
                <c:pt idx="8200">
                  <c:v>24.191167832733793</c:v>
                </c:pt>
                <c:pt idx="8201">
                  <c:v>29.687485397471548</c:v>
                </c:pt>
                <c:pt idx="8202">
                  <c:v>30.006281282986944</c:v>
                </c:pt>
                <c:pt idx="8203">
                  <c:v>25.662344403979802</c:v>
                </c:pt>
                <c:pt idx="8204">
                  <c:v>26.392419330216228</c:v>
                </c:pt>
                <c:pt idx="8205">
                  <c:v>33.299561446101777</c:v>
                </c:pt>
                <c:pt idx="8206">
                  <c:v>25.474145491870274</c:v>
                </c:pt>
                <c:pt idx="8207">
                  <c:v>23.756309189683662</c:v>
                </c:pt>
                <c:pt idx="8208">
                  <c:v>29.136090159683203</c:v>
                </c:pt>
                <c:pt idx="8209">
                  <c:v>53.777434142962257</c:v>
                </c:pt>
                <c:pt idx="8210">
                  <c:v>28.409552647127008</c:v>
                </c:pt>
                <c:pt idx="8211">
                  <c:v>28.746649728717898</c:v>
                </c:pt>
                <c:pt idx="8212">
                  <c:v>51.204491929274589</c:v>
                </c:pt>
                <c:pt idx="8213">
                  <c:v>28.25223640888386</c:v>
                </c:pt>
                <c:pt idx="8214">
                  <c:v>58.207270829909298</c:v>
                </c:pt>
                <c:pt idx="8215">
                  <c:v>36.487568131558675</c:v>
                </c:pt>
                <c:pt idx="8216">
                  <c:v>40.853669755767221</c:v>
                </c:pt>
                <c:pt idx="8217">
                  <c:v>26.063598693021916</c:v>
                </c:pt>
                <c:pt idx="8218">
                  <c:v>27.138637215701014</c:v>
                </c:pt>
                <c:pt idx="8219">
                  <c:v>44.981594561272928</c:v>
                </c:pt>
                <c:pt idx="8220">
                  <c:v>22.803081596086656</c:v>
                </c:pt>
                <c:pt idx="8221">
                  <c:v>37.214082117086157</c:v>
                </c:pt>
                <c:pt idx="8222">
                  <c:v>21.244665620453269</c:v>
                </c:pt>
                <c:pt idx="8223">
                  <c:v>27.808962075319133</c:v>
                </c:pt>
                <c:pt idx="8224">
                  <c:v>40.164336579756451</c:v>
                </c:pt>
                <c:pt idx="8225">
                  <c:v>39.389676749892615</c:v>
                </c:pt>
                <c:pt idx="8226">
                  <c:v>50.385887528536429</c:v>
                </c:pt>
                <c:pt idx="8227">
                  <c:v>24.818122297965768</c:v>
                </c:pt>
                <c:pt idx="8228">
                  <c:v>25.007146360380027</c:v>
                </c:pt>
                <c:pt idx="8229">
                  <c:v>33.924060288687201</c:v>
                </c:pt>
                <c:pt idx="8230">
                  <c:v>28.304896579576155</c:v>
                </c:pt>
                <c:pt idx="8231">
                  <c:v>45.638040428227484</c:v>
                </c:pt>
                <c:pt idx="8232">
                  <c:v>20.58474501162857</c:v>
                </c:pt>
                <c:pt idx="8233">
                  <c:v>25.929921112109096</c:v>
                </c:pt>
                <c:pt idx="8234">
                  <c:v>36.062918301054069</c:v>
                </c:pt>
                <c:pt idx="8235">
                  <c:v>29.704481903099087</c:v>
                </c:pt>
                <c:pt idx="8236">
                  <c:v>57.260689583460028</c:v>
                </c:pt>
                <c:pt idx="8237">
                  <c:v>30.504168654323138</c:v>
                </c:pt>
                <c:pt idx="8238">
                  <c:v>21.734540729534206</c:v>
                </c:pt>
                <c:pt idx="8239">
                  <c:v>26.251390841863934</c:v>
                </c:pt>
                <c:pt idx="8240">
                  <c:v>53.520156337975401</c:v>
                </c:pt>
                <c:pt idx="8241">
                  <c:v>41.392271896907779</c:v>
                </c:pt>
                <c:pt idx="8242">
                  <c:v>43.150526662967273</c:v>
                </c:pt>
                <c:pt idx="8243">
                  <c:v>25.776819811579582</c:v>
                </c:pt>
                <c:pt idx="8244">
                  <c:v>32.149676061825254</c:v>
                </c:pt>
                <c:pt idx="8245">
                  <c:v>25.747014323478794</c:v>
                </c:pt>
                <c:pt idx="8246">
                  <c:v>54.743057736906948</c:v>
                </c:pt>
                <c:pt idx="8247">
                  <c:v>47.29796023297763</c:v>
                </c:pt>
                <c:pt idx="8248">
                  <c:v>43.701351189954117</c:v>
                </c:pt>
                <c:pt idx="8249">
                  <c:v>54.787421875410772</c:v>
                </c:pt>
                <c:pt idx="8250">
                  <c:v>25.087799329461713</c:v>
                </c:pt>
                <c:pt idx="8251">
                  <c:v>52.424048165906974</c:v>
                </c:pt>
                <c:pt idx="8252">
                  <c:v>22.54966980685812</c:v>
                </c:pt>
                <c:pt idx="8253">
                  <c:v>36.094690278917</c:v>
                </c:pt>
                <c:pt idx="8254">
                  <c:v>60.417444749932272</c:v>
                </c:pt>
                <c:pt idx="8255">
                  <c:v>27.986724881038938</c:v>
                </c:pt>
                <c:pt idx="8256">
                  <c:v>30.743640876899221</c:v>
                </c:pt>
                <c:pt idx="8257">
                  <c:v>60.849234547950246</c:v>
                </c:pt>
                <c:pt idx="8258">
                  <c:v>20.405367805009465</c:v>
                </c:pt>
                <c:pt idx="8259">
                  <c:v>32.462096261131414</c:v>
                </c:pt>
                <c:pt idx="8260">
                  <c:v>33.481387368123357</c:v>
                </c:pt>
                <c:pt idx="8261">
                  <c:v>26.583067451051729</c:v>
                </c:pt>
                <c:pt idx="8262">
                  <c:v>24.58811762208801</c:v>
                </c:pt>
                <c:pt idx="8263">
                  <c:v>20.715633352012702</c:v>
                </c:pt>
                <c:pt idx="8264">
                  <c:v>48.796639488222361</c:v>
                </c:pt>
                <c:pt idx="8265">
                  <c:v>24.016308358499213</c:v>
                </c:pt>
                <c:pt idx="8266">
                  <c:v>36.227390228972141</c:v>
                </c:pt>
                <c:pt idx="8267">
                  <c:v>34.817487786665566</c:v>
                </c:pt>
                <c:pt idx="8268">
                  <c:v>50.802702018637611</c:v>
                </c:pt>
                <c:pt idx="8269">
                  <c:v>35.695479922713609</c:v>
                </c:pt>
                <c:pt idx="8270">
                  <c:v>31.686939830451941</c:v>
                </c:pt>
                <c:pt idx="8271">
                  <c:v>50.797532988304155</c:v>
                </c:pt>
                <c:pt idx="8272">
                  <c:v>57.350062581814761</c:v>
                </c:pt>
                <c:pt idx="8273">
                  <c:v>31.020269175736406</c:v>
                </c:pt>
                <c:pt idx="8274">
                  <c:v>27.069590353674549</c:v>
                </c:pt>
                <c:pt idx="8275">
                  <c:v>31.224549125411329</c:v>
                </c:pt>
                <c:pt idx="8276">
                  <c:v>34.141020746821326</c:v>
                </c:pt>
                <c:pt idx="8277">
                  <c:v>25.457899931293838</c:v>
                </c:pt>
                <c:pt idx="8278">
                  <c:v>25.122284965877604</c:v>
                </c:pt>
                <c:pt idx="8279">
                  <c:v>25.798160089933312</c:v>
                </c:pt>
                <c:pt idx="8280">
                  <c:v>25.119731830377066</c:v>
                </c:pt>
                <c:pt idx="8281">
                  <c:v>30.448747216601269</c:v>
                </c:pt>
                <c:pt idx="8282">
                  <c:v>29.969017804007638</c:v>
                </c:pt>
                <c:pt idx="8283">
                  <c:v>25.702824856109263</c:v>
                </c:pt>
                <c:pt idx="8284">
                  <c:v>43.663877703667687</c:v>
                </c:pt>
                <c:pt idx="8285">
                  <c:v>44.444446985665053</c:v>
                </c:pt>
                <c:pt idx="8286">
                  <c:v>25.461599276245309</c:v>
                </c:pt>
                <c:pt idx="8287">
                  <c:v>49.687047162648476</c:v>
                </c:pt>
                <c:pt idx="8288">
                  <c:v>32.96777219735651</c:v>
                </c:pt>
                <c:pt idx="8289">
                  <c:v>29.816430403130322</c:v>
                </c:pt>
                <c:pt idx="8290">
                  <c:v>26.273102858967015</c:v>
                </c:pt>
                <c:pt idx="8291">
                  <c:v>26.455540218578712</c:v>
                </c:pt>
                <c:pt idx="8292">
                  <c:v>23.681518258925717</c:v>
                </c:pt>
                <c:pt idx="8293">
                  <c:v>23.238711940074744</c:v>
                </c:pt>
                <c:pt idx="8294">
                  <c:v>51.359021675343257</c:v>
                </c:pt>
                <c:pt idx="8295">
                  <c:v>19.742951885301036</c:v>
                </c:pt>
                <c:pt idx="8296">
                  <c:v>25.473722580813298</c:v>
                </c:pt>
                <c:pt idx="8297">
                  <c:v>21.854297290416309</c:v>
                </c:pt>
                <c:pt idx="8298">
                  <c:v>43.041302722534382</c:v>
                </c:pt>
                <c:pt idx="8299">
                  <c:v>23.762524517221298</c:v>
                </c:pt>
                <c:pt idx="8300">
                  <c:v>24.030663461449031</c:v>
                </c:pt>
                <c:pt idx="8301">
                  <c:v>17.016285400339022</c:v>
                </c:pt>
                <c:pt idx="8302">
                  <c:v>23.860221205196275</c:v>
                </c:pt>
                <c:pt idx="8303">
                  <c:v>51.024423729308005</c:v>
                </c:pt>
                <c:pt idx="8304">
                  <c:v>28.772089356146338</c:v>
                </c:pt>
                <c:pt idx="8305">
                  <c:v>20.324553588399993</c:v>
                </c:pt>
                <c:pt idx="8306">
                  <c:v>27.711706436535124</c:v>
                </c:pt>
                <c:pt idx="8307">
                  <c:v>22.556160496076188</c:v>
                </c:pt>
                <c:pt idx="8308">
                  <c:v>24.303040955423231</c:v>
                </c:pt>
                <c:pt idx="8309">
                  <c:v>31.828857096699689</c:v>
                </c:pt>
                <c:pt idx="8310">
                  <c:v>25.062866226555876</c:v>
                </c:pt>
                <c:pt idx="8311">
                  <c:v>34.925733039734013</c:v>
                </c:pt>
                <c:pt idx="8312">
                  <c:v>22.013822064975358</c:v>
                </c:pt>
                <c:pt idx="8313">
                  <c:v>25.201903550156317</c:v>
                </c:pt>
                <c:pt idx="8314">
                  <c:v>54.806447535434643</c:v>
                </c:pt>
                <c:pt idx="8315">
                  <c:v>32.964200439182676</c:v>
                </c:pt>
                <c:pt idx="8316">
                  <c:v>28.542462717487311</c:v>
                </c:pt>
                <c:pt idx="8317">
                  <c:v>38.15493463523935</c:v>
                </c:pt>
                <c:pt idx="8318">
                  <c:v>22.118149694704332</c:v>
                </c:pt>
                <c:pt idx="8319">
                  <c:v>25.508100536663342</c:v>
                </c:pt>
                <c:pt idx="8320">
                  <c:v>49.912074651616685</c:v>
                </c:pt>
                <c:pt idx="8321">
                  <c:v>37.972550973301004</c:v>
                </c:pt>
                <c:pt idx="8322">
                  <c:v>35.517278165154934</c:v>
                </c:pt>
                <c:pt idx="8323">
                  <c:v>27.282933818220013</c:v>
                </c:pt>
                <c:pt idx="8324">
                  <c:v>41.294261794300638</c:v>
                </c:pt>
                <c:pt idx="8325">
                  <c:v>27.008968501872268</c:v>
                </c:pt>
                <c:pt idx="8326">
                  <c:v>22.751509876696588</c:v>
                </c:pt>
                <c:pt idx="8327">
                  <c:v>29.512146903659389</c:v>
                </c:pt>
                <c:pt idx="8328">
                  <c:v>30.50587096915558</c:v>
                </c:pt>
                <c:pt idx="8329">
                  <c:v>43.541554712829395</c:v>
                </c:pt>
                <c:pt idx="8330">
                  <c:v>28.945321759000201</c:v>
                </c:pt>
                <c:pt idx="8331">
                  <c:v>33.08337770084794</c:v>
                </c:pt>
                <c:pt idx="8332">
                  <c:v>27.280185848886333</c:v>
                </c:pt>
                <c:pt idx="8333">
                  <c:v>32.656523956733956</c:v>
                </c:pt>
                <c:pt idx="8334">
                  <c:v>32.852269822404317</c:v>
                </c:pt>
                <c:pt idx="8335">
                  <c:v>21.76249378600977</c:v>
                </c:pt>
                <c:pt idx="8336">
                  <c:v>28.708342805180983</c:v>
                </c:pt>
                <c:pt idx="8337">
                  <c:v>29.254773365499403</c:v>
                </c:pt>
                <c:pt idx="8338">
                  <c:v>40.982927337593331</c:v>
                </c:pt>
                <c:pt idx="8339">
                  <c:v>28.058034944837978</c:v>
                </c:pt>
                <c:pt idx="8340">
                  <c:v>28.115905521654938</c:v>
                </c:pt>
                <c:pt idx="8341">
                  <c:v>39.677625605642731</c:v>
                </c:pt>
                <c:pt idx="8342">
                  <c:v>30.663988451469969</c:v>
                </c:pt>
                <c:pt idx="8343">
                  <c:v>27.852316427001377</c:v>
                </c:pt>
                <c:pt idx="8344">
                  <c:v>21.408757501356774</c:v>
                </c:pt>
                <c:pt idx="8345">
                  <c:v>35.218213674953311</c:v>
                </c:pt>
                <c:pt idx="8346">
                  <c:v>36.193228179797458</c:v>
                </c:pt>
                <c:pt idx="8347">
                  <c:v>29.435297749425697</c:v>
                </c:pt>
                <c:pt idx="8348">
                  <c:v>24.284676614656661</c:v>
                </c:pt>
                <c:pt idx="8349">
                  <c:v>34.820728347715018</c:v>
                </c:pt>
                <c:pt idx="8350">
                  <c:v>24.167501050071785</c:v>
                </c:pt>
                <c:pt idx="8351">
                  <c:v>22.213902973073008</c:v>
                </c:pt>
                <c:pt idx="8352">
                  <c:v>45.031675452860476</c:v>
                </c:pt>
                <c:pt idx="8353">
                  <c:v>29.987187482601879</c:v>
                </c:pt>
                <c:pt idx="8354">
                  <c:v>28.528969420811158</c:v>
                </c:pt>
                <c:pt idx="8355">
                  <c:v>46.820598988293064</c:v>
                </c:pt>
                <c:pt idx="8356">
                  <c:v>48.833824567279876</c:v>
                </c:pt>
                <c:pt idx="8357">
                  <c:v>23.210511285440518</c:v>
                </c:pt>
                <c:pt idx="8358">
                  <c:v>24.249675234835166</c:v>
                </c:pt>
                <c:pt idx="8359">
                  <c:v>27.861092738996092</c:v>
                </c:pt>
                <c:pt idx="8360">
                  <c:v>25.94811549135769</c:v>
                </c:pt>
                <c:pt idx="8361">
                  <c:v>18.774500519094751</c:v>
                </c:pt>
                <c:pt idx="8362">
                  <c:v>38.349806467049355</c:v>
                </c:pt>
                <c:pt idx="8363">
                  <c:v>28.234917619311009</c:v>
                </c:pt>
                <c:pt idx="8364">
                  <c:v>28.557749893167717</c:v>
                </c:pt>
                <c:pt idx="8365">
                  <c:v>22.583536437985721</c:v>
                </c:pt>
                <c:pt idx="8366">
                  <c:v>26.687142238723062</c:v>
                </c:pt>
                <c:pt idx="8367">
                  <c:v>27.883953823328749</c:v>
                </c:pt>
                <c:pt idx="8368">
                  <c:v>23.920444600448402</c:v>
                </c:pt>
                <c:pt idx="8369">
                  <c:v>38.60273297178361</c:v>
                </c:pt>
                <c:pt idx="8370">
                  <c:v>63.623644657856751</c:v>
                </c:pt>
                <c:pt idx="8371">
                  <c:v>44.219399772805545</c:v>
                </c:pt>
                <c:pt idx="8372">
                  <c:v>33.324643204919127</c:v>
                </c:pt>
                <c:pt idx="8373">
                  <c:v>29.723322134825256</c:v>
                </c:pt>
                <c:pt idx="8374">
                  <c:v>26.058653253663909</c:v>
                </c:pt>
                <c:pt idx="8375">
                  <c:v>22.483537220852181</c:v>
                </c:pt>
                <c:pt idx="8376">
                  <c:v>17.907772098179834</c:v>
                </c:pt>
                <c:pt idx="8377">
                  <c:v>19.158286101493808</c:v>
                </c:pt>
                <c:pt idx="8378">
                  <c:v>24.103563694202187</c:v>
                </c:pt>
                <c:pt idx="8379">
                  <c:v>21.361836215183047</c:v>
                </c:pt>
                <c:pt idx="8380">
                  <c:v>21.651685311089118</c:v>
                </c:pt>
                <c:pt idx="8381">
                  <c:v>35.433247386809285</c:v>
                </c:pt>
                <c:pt idx="8382">
                  <c:v>23.239914786079922</c:v>
                </c:pt>
                <c:pt idx="8383">
                  <c:v>30.317791922538213</c:v>
                </c:pt>
                <c:pt idx="8384">
                  <c:v>25.895977692988023</c:v>
                </c:pt>
                <c:pt idx="8385">
                  <c:v>24.2638879792704</c:v>
                </c:pt>
                <c:pt idx="8386">
                  <c:v>25.724220311629978</c:v>
                </c:pt>
                <c:pt idx="8387">
                  <c:v>46.051730650309011</c:v>
                </c:pt>
                <c:pt idx="8388">
                  <c:v>28.565411200628468</c:v>
                </c:pt>
                <c:pt idx="8389">
                  <c:v>30.428422009237835</c:v>
                </c:pt>
                <c:pt idx="8390">
                  <c:v>38.721315968100626</c:v>
                </c:pt>
                <c:pt idx="8391">
                  <c:v>50.950271118175174</c:v>
                </c:pt>
                <c:pt idx="8392">
                  <c:v>40.547122336846648</c:v>
                </c:pt>
                <c:pt idx="8393">
                  <c:v>24.667660919465764</c:v>
                </c:pt>
                <c:pt idx="8394">
                  <c:v>25.339784054997473</c:v>
                </c:pt>
                <c:pt idx="8395">
                  <c:v>37.639788716475323</c:v>
                </c:pt>
                <c:pt idx="8396">
                  <c:v>24.557810663202154</c:v>
                </c:pt>
                <c:pt idx="8397">
                  <c:v>32.835607433096257</c:v>
                </c:pt>
                <c:pt idx="8398">
                  <c:v>36.831607292958296</c:v>
                </c:pt>
                <c:pt idx="8399">
                  <c:v>31.635396062730017</c:v>
                </c:pt>
                <c:pt idx="8400">
                  <c:v>31.068015845892994</c:v>
                </c:pt>
                <c:pt idx="8401">
                  <c:v>33.46177389727724</c:v>
                </c:pt>
                <c:pt idx="8402">
                  <c:v>28.961323417291513</c:v>
                </c:pt>
                <c:pt idx="8403">
                  <c:v>25.002926267411446</c:v>
                </c:pt>
                <c:pt idx="8404">
                  <c:v>30.054150604498581</c:v>
                </c:pt>
                <c:pt idx="8405">
                  <c:v>26.977249077907729</c:v>
                </c:pt>
                <c:pt idx="8406">
                  <c:v>27.508369797492641</c:v>
                </c:pt>
                <c:pt idx="8407">
                  <c:v>30.950147585429669</c:v>
                </c:pt>
                <c:pt idx="8408">
                  <c:v>25.837424031637582</c:v>
                </c:pt>
                <c:pt idx="8409">
                  <c:v>42.707428016246809</c:v>
                </c:pt>
                <c:pt idx="8410">
                  <c:v>27.734853842185871</c:v>
                </c:pt>
                <c:pt idx="8411">
                  <c:v>22.771587143470398</c:v>
                </c:pt>
                <c:pt idx="8412">
                  <c:v>24.807315719547702</c:v>
                </c:pt>
                <c:pt idx="8413">
                  <c:v>32.843179084365758</c:v>
                </c:pt>
                <c:pt idx="8414">
                  <c:v>29.735805921342525</c:v>
                </c:pt>
                <c:pt idx="8415">
                  <c:v>23.349658578057994</c:v>
                </c:pt>
                <c:pt idx="8416">
                  <c:v>29.198434587050713</c:v>
                </c:pt>
                <c:pt idx="8417">
                  <c:v>24.548965229698869</c:v>
                </c:pt>
                <c:pt idx="8418">
                  <c:v>56.930102088312154</c:v>
                </c:pt>
                <c:pt idx="8419">
                  <c:v>34.620892622922327</c:v>
                </c:pt>
                <c:pt idx="8420">
                  <c:v>27.524240357523155</c:v>
                </c:pt>
                <c:pt idx="8421">
                  <c:v>32.666656741022976</c:v>
                </c:pt>
                <c:pt idx="8422">
                  <c:v>22.718693355131212</c:v>
                </c:pt>
                <c:pt idx="8423">
                  <c:v>28.140089920667151</c:v>
                </c:pt>
                <c:pt idx="8424">
                  <c:v>26.196838539795507</c:v>
                </c:pt>
                <c:pt idx="8425">
                  <c:v>30.807721129106952</c:v>
                </c:pt>
                <c:pt idx="8426">
                  <c:v>30.496520880639025</c:v>
                </c:pt>
                <c:pt idx="8427">
                  <c:v>28.609294525173546</c:v>
                </c:pt>
                <c:pt idx="8428">
                  <c:v>58.079450350018242</c:v>
                </c:pt>
                <c:pt idx="8429">
                  <c:v>27.791594487329174</c:v>
                </c:pt>
                <c:pt idx="8430">
                  <c:v>22.143180432236147</c:v>
                </c:pt>
                <c:pt idx="8431">
                  <c:v>22.955480090247935</c:v>
                </c:pt>
                <c:pt idx="8432">
                  <c:v>28.081450388273868</c:v>
                </c:pt>
                <c:pt idx="8433">
                  <c:v>49.853239107299572</c:v>
                </c:pt>
                <c:pt idx="8434">
                  <c:v>26.783194886045273</c:v>
                </c:pt>
                <c:pt idx="8435">
                  <c:v>32.033857442429586</c:v>
                </c:pt>
                <c:pt idx="8436">
                  <c:v>31.712094072621031</c:v>
                </c:pt>
                <c:pt idx="8437">
                  <c:v>33.781936650289822</c:v>
                </c:pt>
                <c:pt idx="8438">
                  <c:v>32.403990201141617</c:v>
                </c:pt>
                <c:pt idx="8439">
                  <c:v>28.07737086882911</c:v>
                </c:pt>
                <c:pt idx="8440">
                  <c:v>61.260294189706478</c:v>
                </c:pt>
                <c:pt idx="8441">
                  <c:v>26.259835675633425</c:v>
                </c:pt>
                <c:pt idx="8442">
                  <c:v>51.445232966283761</c:v>
                </c:pt>
                <c:pt idx="8443">
                  <c:v>38.37541527919295</c:v>
                </c:pt>
                <c:pt idx="8444">
                  <c:v>27.288460677650974</c:v>
                </c:pt>
                <c:pt idx="8445">
                  <c:v>25.249316952396796</c:v>
                </c:pt>
                <c:pt idx="8446">
                  <c:v>20.979138278082097</c:v>
                </c:pt>
                <c:pt idx="8447">
                  <c:v>54.556256157005031</c:v>
                </c:pt>
                <c:pt idx="8448">
                  <c:v>21.667374730460033</c:v>
                </c:pt>
                <c:pt idx="8449">
                  <c:v>28.783721605507267</c:v>
                </c:pt>
                <c:pt idx="8450">
                  <c:v>27.832661823238166</c:v>
                </c:pt>
                <c:pt idx="8451">
                  <c:v>29.578909696011195</c:v>
                </c:pt>
                <c:pt idx="8452">
                  <c:v>18.570018768162445</c:v>
                </c:pt>
                <c:pt idx="8453">
                  <c:v>33.971160696324638</c:v>
                </c:pt>
                <c:pt idx="8454">
                  <c:v>48.285200951374442</c:v>
                </c:pt>
                <c:pt idx="8455">
                  <c:v>48.965040026818002</c:v>
                </c:pt>
                <c:pt idx="8456">
                  <c:v>29.953888325442456</c:v>
                </c:pt>
                <c:pt idx="8457">
                  <c:v>32.496091797730998</c:v>
                </c:pt>
                <c:pt idx="8458">
                  <c:v>28.660877595822072</c:v>
                </c:pt>
                <c:pt idx="8459">
                  <c:v>25.02775400580861</c:v>
                </c:pt>
                <c:pt idx="8460">
                  <c:v>28.105130929182671</c:v>
                </c:pt>
                <c:pt idx="8461">
                  <c:v>24.576411348917926</c:v>
                </c:pt>
                <c:pt idx="8462">
                  <c:v>28.359858313028482</c:v>
                </c:pt>
                <c:pt idx="8463">
                  <c:v>40.684793461748377</c:v>
                </c:pt>
                <c:pt idx="8464">
                  <c:v>26.639278196213102</c:v>
                </c:pt>
                <c:pt idx="8465">
                  <c:v>28.032718410959816</c:v>
                </c:pt>
                <c:pt idx="8466">
                  <c:v>27.163317283169413</c:v>
                </c:pt>
                <c:pt idx="8467">
                  <c:v>24.823605410838518</c:v>
                </c:pt>
                <c:pt idx="8468">
                  <c:v>27.301099386078207</c:v>
                </c:pt>
                <c:pt idx="8469">
                  <c:v>29.967994004078015</c:v>
                </c:pt>
                <c:pt idx="8470">
                  <c:v>23.129131760213724</c:v>
                </c:pt>
                <c:pt idx="8471">
                  <c:v>24.211594928928424</c:v>
                </c:pt>
                <c:pt idx="8472">
                  <c:v>25.936344276560419</c:v>
                </c:pt>
                <c:pt idx="8473">
                  <c:v>29.861975794949277</c:v>
                </c:pt>
                <c:pt idx="8474">
                  <c:v>19.994239135436061</c:v>
                </c:pt>
                <c:pt idx="8475">
                  <c:v>34.762185770087896</c:v>
                </c:pt>
                <c:pt idx="8476">
                  <c:v>50.679973377902115</c:v>
                </c:pt>
                <c:pt idx="8477">
                  <c:v>31.751370325157733</c:v>
                </c:pt>
                <c:pt idx="8478">
                  <c:v>34.102024254004235</c:v>
                </c:pt>
                <c:pt idx="8479">
                  <c:v>27.837081013607435</c:v>
                </c:pt>
                <c:pt idx="8480">
                  <c:v>27.350691088360875</c:v>
                </c:pt>
                <c:pt idx="8481">
                  <c:v>27.753595985691419</c:v>
                </c:pt>
                <c:pt idx="8482">
                  <c:v>53.506535900794034</c:v>
                </c:pt>
                <c:pt idx="8483">
                  <c:v>31.740656377279045</c:v>
                </c:pt>
                <c:pt idx="8484">
                  <c:v>22.485240838777234</c:v>
                </c:pt>
                <c:pt idx="8485">
                  <c:v>26.639251541707985</c:v>
                </c:pt>
                <c:pt idx="8486">
                  <c:v>35.359261327070179</c:v>
                </c:pt>
                <c:pt idx="8487">
                  <c:v>21.961330103377424</c:v>
                </c:pt>
                <c:pt idx="8488">
                  <c:v>42.723889892879143</c:v>
                </c:pt>
                <c:pt idx="8489">
                  <c:v>40.178573186818682</c:v>
                </c:pt>
                <c:pt idx="8490">
                  <c:v>25.180760884122975</c:v>
                </c:pt>
                <c:pt idx="8491">
                  <c:v>51.757789305718603</c:v>
                </c:pt>
                <c:pt idx="8492">
                  <c:v>44.608948064597399</c:v>
                </c:pt>
                <c:pt idx="8493">
                  <c:v>45.157399554723284</c:v>
                </c:pt>
                <c:pt idx="8494">
                  <c:v>27.035350577430322</c:v>
                </c:pt>
                <c:pt idx="8495">
                  <c:v>48.153324428481042</c:v>
                </c:pt>
                <c:pt idx="8496">
                  <c:v>45.093174189927481</c:v>
                </c:pt>
                <c:pt idx="8497">
                  <c:v>25.610494369389322</c:v>
                </c:pt>
                <c:pt idx="8498">
                  <c:v>29.758562317770377</c:v>
                </c:pt>
                <c:pt idx="8499">
                  <c:v>38.287037303841835</c:v>
                </c:pt>
                <c:pt idx="8500">
                  <c:v>28.939529381033218</c:v>
                </c:pt>
                <c:pt idx="8501">
                  <c:v>24.722729958531374</c:v>
                </c:pt>
                <c:pt idx="8502">
                  <c:v>39.178918923306227</c:v>
                </c:pt>
                <c:pt idx="8503">
                  <c:v>26.493407488204173</c:v>
                </c:pt>
                <c:pt idx="8504">
                  <c:v>34.709890248955389</c:v>
                </c:pt>
                <c:pt idx="8505">
                  <c:v>30.527797809399146</c:v>
                </c:pt>
                <c:pt idx="8506">
                  <c:v>24.787491236530769</c:v>
                </c:pt>
                <c:pt idx="8507">
                  <c:v>46.245609988549482</c:v>
                </c:pt>
                <c:pt idx="8508">
                  <c:v>29.116120532303139</c:v>
                </c:pt>
                <c:pt idx="8509">
                  <c:v>26.881816604188053</c:v>
                </c:pt>
                <c:pt idx="8510">
                  <c:v>32.68530412153136</c:v>
                </c:pt>
                <c:pt idx="8511">
                  <c:v>27.6212336299469</c:v>
                </c:pt>
                <c:pt idx="8512">
                  <c:v>40.909571911907413</c:v>
                </c:pt>
                <c:pt idx="8513">
                  <c:v>41.33107735995614</c:v>
                </c:pt>
                <c:pt idx="8514">
                  <c:v>17.638877698786825</c:v>
                </c:pt>
                <c:pt idx="8515">
                  <c:v>46.935259335896724</c:v>
                </c:pt>
                <c:pt idx="8516">
                  <c:v>30.98041546671595</c:v>
                </c:pt>
                <c:pt idx="8517">
                  <c:v>49.456760832644392</c:v>
                </c:pt>
                <c:pt idx="8518">
                  <c:v>56.569787202885855</c:v>
                </c:pt>
                <c:pt idx="8519">
                  <c:v>17.195403424636215</c:v>
                </c:pt>
                <c:pt idx="8520">
                  <c:v>44.582985539308588</c:v>
                </c:pt>
                <c:pt idx="8521">
                  <c:v>24.024473605701299</c:v>
                </c:pt>
                <c:pt idx="8522">
                  <c:v>47.606681992197366</c:v>
                </c:pt>
                <c:pt idx="8523">
                  <c:v>32.488353408441576</c:v>
                </c:pt>
                <c:pt idx="8524">
                  <c:v>24.220211631752239</c:v>
                </c:pt>
                <c:pt idx="8525">
                  <c:v>48.352064047237647</c:v>
                </c:pt>
                <c:pt idx="8526">
                  <c:v>24.312467687472381</c:v>
                </c:pt>
                <c:pt idx="8527">
                  <c:v>23.061582364666474</c:v>
                </c:pt>
                <c:pt idx="8528">
                  <c:v>25.574872211411101</c:v>
                </c:pt>
                <c:pt idx="8529">
                  <c:v>40.036804039160074</c:v>
                </c:pt>
                <c:pt idx="8530">
                  <c:v>30.264051615523314</c:v>
                </c:pt>
                <c:pt idx="8531">
                  <c:v>32.383277789488574</c:v>
                </c:pt>
                <c:pt idx="8532">
                  <c:v>21.569254627839555</c:v>
                </c:pt>
                <c:pt idx="8533">
                  <c:v>27.471745619156152</c:v>
                </c:pt>
                <c:pt idx="8534">
                  <c:v>25.746780971434298</c:v>
                </c:pt>
                <c:pt idx="8535">
                  <c:v>23.817696716491998</c:v>
                </c:pt>
                <c:pt idx="8536">
                  <c:v>29.248818191747457</c:v>
                </c:pt>
                <c:pt idx="8537">
                  <c:v>37.705135412187147</c:v>
                </c:pt>
                <c:pt idx="8538">
                  <c:v>54.214938400531437</c:v>
                </c:pt>
                <c:pt idx="8539">
                  <c:v>25.3822218492746</c:v>
                </c:pt>
                <c:pt idx="8540">
                  <c:v>21.214337595395548</c:v>
                </c:pt>
                <c:pt idx="8541">
                  <c:v>48.752373432432201</c:v>
                </c:pt>
                <c:pt idx="8542">
                  <c:v>30.378897934404751</c:v>
                </c:pt>
                <c:pt idx="8543">
                  <c:v>41.412343827282996</c:v>
                </c:pt>
                <c:pt idx="8544">
                  <c:v>32.629322168402176</c:v>
                </c:pt>
                <c:pt idx="8545">
                  <c:v>29.244444302958701</c:v>
                </c:pt>
                <c:pt idx="8546">
                  <c:v>20.600484801174243</c:v>
                </c:pt>
                <c:pt idx="8547">
                  <c:v>26.247576358238913</c:v>
                </c:pt>
                <c:pt idx="8548">
                  <c:v>24.063990118365357</c:v>
                </c:pt>
                <c:pt idx="8549">
                  <c:v>20.742237584294671</c:v>
                </c:pt>
                <c:pt idx="8550">
                  <c:v>44.70920855699206</c:v>
                </c:pt>
                <c:pt idx="8551">
                  <c:v>65.037216822387578</c:v>
                </c:pt>
                <c:pt idx="8552">
                  <c:v>46.58253418839476</c:v>
                </c:pt>
                <c:pt idx="8553">
                  <c:v>22.350491939163852</c:v>
                </c:pt>
                <c:pt idx="8554">
                  <c:v>46.959974814373133</c:v>
                </c:pt>
                <c:pt idx="8555">
                  <c:v>38.677042444385791</c:v>
                </c:pt>
                <c:pt idx="8556">
                  <c:v>44.114164202427858</c:v>
                </c:pt>
                <c:pt idx="8557">
                  <c:v>21.141100291194785</c:v>
                </c:pt>
                <c:pt idx="8558">
                  <c:v>28.102699088776244</c:v>
                </c:pt>
                <c:pt idx="8559">
                  <c:v>28.356720625645337</c:v>
                </c:pt>
                <c:pt idx="8560">
                  <c:v>24.827323606491085</c:v>
                </c:pt>
                <c:pt idx="8561">
                  <c:v>19.620338911883007</c:v>
                </c:pt>
                <c:pt idx="8562">
                  <c:v>26.472413545732593</c:v>
                </c:pt>
                <c:pt idx="8563">
                  <c:v>25.083389035191431</c:v>
                </c:pt>
                <c:pt idx="8564">
                  <c:v>23.94006166236905</c:v>
                </c:pt>
                <c:pt idx="8565">
                  <c:v>27.794456693249046</c:v>
                </c:pt>
                <c:pt idx="8566">
                  <c:v>43.046866867073341</c:v>
                </c:pt>
                <c:pt idx="8567">
                  <c:v>29.416215170366542</c:v>
                </c:pt>
                <c:pt idx="8568">
                  <c:v>20.811736029380327</c:v>
                </c:pt>
                <c:pt idx="8569">
                  <c:v>32.697816091349715</c:v>
                </c:pt>
                <c:pt idx="8570">
                  <c:v>33.985692624963391</c:v>
                </c:pt>
                <c:pt idx="8571">
                  <c:v>25.024452057522431</c:v>
                </c:pt>
                <c:pt idx="8572">
                  <c:v>26.641307668354532</c:v>
                </c:pt>
                <c:pt idx="8573">
                  <c:v>30.665254548339366</c:v>
                </c:pt>
                <c:pt idx="8574">
                  <c:v>43.768337808323189</c:v>
                </c:pt>
                <c:pt idx="8575">
                  <c:v>39.723410630897924</c:v>
                </c:pt>
                <c:pt idx="8576">
                  <c:v>26.813326931087605</c:v>
                </c:pt>
                <c:pt idx="8577">
                  <c:v>22.106588522716645</c:v>
                </c:pt>
                <c:pt idx="8578">
                  <c:v>29.141741589273728</c:v>
                </c:pt>
                <c:pt idx="8579">
                  <c:v>33.741329765504325</c:v>
                </c:pt>
                <c:pt idx="8580">
                  <c:v>30.261831289241925</c:v>
                </c:pt>
                <c:pt idx="8581">
                  <c:v>27.429120194832436</c:v>
                </c:pt>
                <c:pt idx="8582">
                  <c:v>23.287642369132548</c:v>
                </c:pt>
                <c:pt idx="8583">
                  <c:v>19.399397745667596</c:v>
                </c:pt>
                <c:pt idx="8584">
                  <c:v>22.425103327753547</c:v>
                </c:pt>
                <c:pt idx="8585">
                  <c:v>22.065461089721769</c:v>
                </c:pt>
                <c:pt idx="8586">
                  <c:v>25.347879785668319</c:v>
                </c:pt>
                <c:pt idx="8587">
                  <c:v>47.041657516964619</c:v>
                </c:pt>
                <c:pt idx="8588">
                  <c:v>32.171524657033075</c:v>
                </c:pt>
                <c:pt idx="8589">
                  <c:v>21.007284105664286</c:v>
                </c:pt>
                <c:pt idx="8590">
                  <c:v>28.003744960889833</c:v>
                </c:pt>
                <c:pt idx="8591">
                  <c:v>54.993704245143284</c:v>
                </c:pt>
                <c:pt idx="8592">
                  <c:v>51.618082821002353</c:v>
                </c:pt>
                <c:pt idx="8593">
                  <c:v>29.048947619549558</c:v>
                </c:pt>
                <c:pt idx="8594">
                  <c:v>28.58630971144613</c:v>
                </c:pt>
                <c:pt idx="8595">
                  <c:v>37.390914852222622</c:v>
                </c:pt>
                <c:pt idx="8596">
                  <c:v>37.18031179067718</c:v>
                </c:pt>
                <c:pt idx="8597">
                  <c:v>55.042824724344584</c:v>
                </c:pt>
                <c:pt idx="8598">
                  <c:v>23.460518357119156</c:v>
                </c:pt>
                <c:pt idx="8599">
                  <c:v>28.822332458597362</c:v>
                </c:pt>
                <c:pt idx="8600">
                  <c:v>43.69870327122257</c:v>
                </c:pt>
                <c:pt idx="8601">
                  <c:v>28.628572569881179</c:v>
                </c:pt>
                <c:pt idx="8602">
                  <c:v>19.372833289581713</c:v>
                </c:pt>
                <c:pt idx="8603">
                  <c:v>29.888041444330518</c:v>
                </c:pt>
                <c:pt idx="8604">
                  <c:v>22.388232683816053</c:v>
                </c:pt>
                <c:pt idx="8605">
                  <c:v>30.428894166716212</c:v>
                </c:pt>
                <c:pt idx="8606">
                  <c:v>27.226387963921642</c:v>
                </c:pt>
                <c:pt idx="8607">
                  <c:v>42.828166274267687</c:v>
                </c:pt>
                <c:pt idx="8608">
                  <c:v>34.996421508048002</c:v>
                </c:pt>
                <c:pt idx="8609">
                  <c:v>33.853243527318227</c:v>
                </c:pt>
                <c:pt idx="8610">
                  <c:v>46.056210179959606</c:v>
                </c:pt>
                <c:pt idx="8611">
                  <c:v>55.933722064930819</c:v>
                </c:pt>
                <c:pt idx="8612">
                  <c:v>34.418979575414816</c:v>
                </c:pt>
                <c:pt idx="8613">
                  <c:v>24.647170333631998</c:v>
                </c:pt>
                <c:pt idx="8614">
                  <c:v>23.573571545944155</c:v>
                </c:pt>
                <c:pt idx="8615">
                  <c:v>50.192414560297628</c:v>
                </c:pt>
                <c:pt idx="8616">
                  <c:v>25.26401483799679</c:v>
                </c:pt>
                <c:pt idx="8617">
                  <c:v>30.223790647837156</c:v>
                </c:pt>
                <c:pt idx="8618">
                  <c:v>24.781055227116958</c:v>
                </c:pt>
                <c:pt idx="8619">
                  <c:v>21.973910136670089</c:v>
                </c:pt>
                <c:pt idx="8620">
                  <c:v>26.716416027481213</c:v>
                </c:pt>
                <c:pt idx="8621">
                  <c:v>50.904621942832122</c:v>
                </c:pt>
                <c:pt idx="8622">
                  <c:v>22.773629404550718</c:v>
                </c:pt>
                <c:pt idx="8623">
                  <c:v>38.723223994964492</c:v>
                </c:pt>
                <c:pt idx="8624">
                  <c:v>27.561107894953295</c:v>
                </c:pt>
                <c:pt idx="8625">
                  <c:v>50.262886017834091</c:v>
                </c:pt>
                <c:pt idx="8626">
                  <c:v>16.394989635855747</c:v>
                </c:pt>
                <c:pt idx="8627">
                  <c:v>43.622390944113505</c:v>
                </c:pt>
                <c:pt idx="8628">
                  <c:v>44.011343519373213</c:v>
                </c:pt>
                <c:pt idx="8629">
                  <c:v>22.841795762219668</c:v>
                </c:pt>
                <c:pt idx="8630">
                  <c:v>28.771930993859026</c:v>
                </c:pt>
                <c:pt idx="8631">
                  <c:v>23.27886594290041</c:v>
                </c:pt>
                <c:pt idx="8632">
                  <c:v>24.609495387193761</c:v>
                </c:pt>
                <c:pt idx="8633">
                  <c:v>29.899651007814537</c:v>
                </c:pt>
                <c:pt idx="8634">
                  <c:v>36.183118427483763</c:v>
                </c:pt>
                <c:pt idx="8635">
                  <c:v>40.907594906973301</c:v>
                </c:pt>
                <c:pt idx="8636">
                  <c:v>25.154141717072431</c:v>
                </c:pt>
                <c:pt idx="8637">
                  <c:v>50.787473781651556</c:v>
                </c:pt>
                <c:pt idx="8638">
                  <c:v>28.583348357116371</c:v>
                </c:pt>
                <c:pt idx="8639">
                  <c:v>33.976472396870008</c:v>
                </c:pt>
                <c:pt idx="8640">
                  <c:v>44.449984806224776</c:v>
                </c:pt>
                <c:pt idx="8641">
                  <c:v>30.60688270052831</c:v>
                </c:pt>
                <c:pt idx="8642">
                  <c:v>25.525292755439587</c:v>
                </c:pt>
                <c:pt idx="8643">
                  <c:v>22.856494322587292</c:v>
                </c:pt>
                <c:pt idx="8644">
                  <c:v>24.074485469605097</c:v>
                </c:pt>
                <c:pt idx="8645">
                  <c:v>48.140485499339192</c:v>
                </c:pt>
                <c:pt idx="8646">
                  <c:v>29.285448871776119</c:v>
                </c:pt>
                <c:pt idx="8647">
                  <c:v>42.850587653437763</c:v>
                </c:pt>
                <c:pt idx="8648">
                  <c:v>23.164756485798904</c:v>
                </c:pt>
                <c:pt idx="8649">
                  <c:v>31.877888837412634</c:v>
                </c:pt>
                <c:pt idx="8650">
                  <c:v>51.571021581078035</c:v>
                </c:pt>
                <c:pt idx="8651">
                  <c:v>16.633380424615645</c:v>
                </c:pt>
                <c:pt idx="8652">
                  <c:v>57.523804861233415</c:v>
                </c:pt>
                <c:pt idx="8653">
                  <c:v>39.186565241664169</c:v>
                </c:pt>
                <c:pt idx="8654">
                  <c:v>38.18371384771951</c:v>
                </c:pt>
                <c:pt idx="8655">
                  <c:v>21.402278351385487</c:v>
                </c:pt>
                <c:pt idx="8656">
                  <c:v>31.703913172255277</c:v>
                </c:pt>
                <c:pt idx="8657">
                  <c:v>23.798946155572274</c:v>
                </c:pt>
                <c:pt idx="8658">
                  <c:v>25.13898492123235</c:v>
                </c:pt>
                <c:pt idx="8659">
                  <c:v>29.610605778257653</c:v>
                </c:pt>
                <c:pt idx="8660">
                  <c:v>29.556353751471391</c:v>
                </c:pt>
                <c:pt idx="8661">
                  <c:v>24.410760944241602</c:v>
                </c:pt>
                <c:pt idx="8662">
                  <c:v>31.305764182540884</c:v>
                </c:pt>
                <c:pt idx="8663">
                  <c:v>45.899568126199469</c:v>
                </c:pt>
                <c:pt idx="8664">
                  <c:v>26.947800591580894</c:v>
                </c:pt>
                <c:pt idx="8665">
                  <c:v>32.168023067258865</c:v>
                </c:pt>
                <c:pt idx="8666">
                  <c:v>26.800676031016664</c:v>
                </c:pt>
                <c:pt idx="8667">
                  <c:v>22.150826981659012</c:v>
                </c:pt>
                <c:pt idx="8668">
                  <c:v>20.181454394248782</c:v>
                </c:pt>
                <c:pt idx="8669">
                  <c:v>48.806208868158691</c:v>
                </c:pt>
                <c:pt idx="8670">
                  <c:v>35.630350747191351</c:v>
                </c:pt>
                <c:pt idx="8671">
                  <c:v>21.609145939057321</c:v>
                </c:pt>
                <c:pt idx="8672">
                  <c:v>52.43608149770688</c:v>
                </c:pt>
                <c:pt idx="8673">
                  <c:v>52.128000402672939</c:v>
                </c:pt>
                <c:pt idx="8674">
                  <c:v>41.866259156709084</c:v>
                </c:pt>
                <c:pt idx="8675">
                  <c:v>19.122053868404713</c:v>
                </c:pt>
                <c:pt idx="8676">
                  <c:v>28.903349097144797</c:v>
                </c:pt>
                <c:pt idx="8677">
                  <c:v>30.011865012397447</c:v>
                </c:pt>
                <c:pt idx="8678">
                  <c:v>27.045127725802597</c:v>
                </c:pt>
                <c:pt idx="8679">
                  <c:v>24.986545899525222</c:v>
                </c:pt>
                <c:pt idx="8680">
                  <c:v>47.097364805498465</c:v>
                </c:pt>
                <c:pt idx="8681">
                  <c:v>23.69681553690814</c:v>
                </c:pt>
                <c:pt idx="8682">
                  <c:v>55.414001250674097</c:v>
                </c:pt>
                <c:pt idx="8683">
                  <c:v>49.868552845964942</c:v>
                </c:pt>
                <c:pt idx="8684">
                  <c:v>22.596154761320278</c:v>
                </c:pt>
                <c:pt idx="8685">
                  <c:v>34.402840525170127</c:v>
                </c:pt>
                <c:pt idx="8686">
                  <c:v>24.670449287412549</c:v>
                </c:pt>
                <c:pt idx="8687">
                  <c:v>28.936773374992232</c:v>
                </c:pt>
                <c:pt idx="8688">
                  <c:v>43.369496543358025</c:v>
                </c:pt>
                <c:pt idx="8689">
                  <c:v>43.037215149860018</c:v>
                </c:pt>
                <c:pt idx="8690">
                  <c:v>19.023889673484099</c:v>
                </c:pt>
                <c:pt idx="8691">
                  <c:v>54.69269063785822</c:v>
                </c:pt>
                <c:pt idx="8692">
                  <c:v>62.370880793444279</c:v>
                </c:pt>
                <c:pt idx="8693">
                  <c:v>28.545296113363449</c:v>
                </c:pt>
                <c:pt idx="8694">
                  <c:v>45.197454221457654</c:v>
                </c:pt>
                <c:pt idx="8695">
                  <c:v>31.206748927650999</c:v>
                </c:pt>
                <c:pt idx="8696">
                  <c:v>22.699359623634443</c:v>
                </c:pt>
                <c:pt idx="8697">
                  <c:v>47.830725353128564</c:v>
                </c:pt>
                <c:pt idx="8698">
                  <c:v>37.886918939188647</c:v>
                </c:pt>
                <c:pt idx="8699">
                  <c:v>20.097028957568064</c:v>
                </c:pt>
                <c:pt idx="8700">
                  <c:v>33.286545915360229</c:v>
                </c:pt>
                <c:pt idx="8701">
                  <c:v>47.268886278932328</c:v>
                </c:pt>
                <c:pt idx="8702">
                  <c:v>42.325285428125476</c:v>
                </c:pt>
                <c:pt idx="8703">
                  <c:v>22.402401340246527</c:v>
                </c:pt>
                <c:pt idx="8704">
                  <c:v>33.956099061093191</c:v>
                </c:pt>
                <c:pt idx="8705">
                  <c:v>26.994000782712618</c:v>
                </c:pt>
                <c:pt idx="8706">
                  <c:v>36.528922072303224</c:v>
                </c:pt>
                <c:pt idx="8707">
                  <c:v>23.489691052977044</c:v>
                </c:pt>
                <c:pt idx="8708">
                  <c:v>39.329025110265071</c:v>
                </c:pt>
                <c:pt idx="8709">
                  <c:v>41.773381190966681</c:v>
                </c:pt>
                <c:pt idx="8710">
                  <c:v>47.483399109665903</c:v>
                </c:pt>
                <c:pt idx="8711">
                  <c:v>33.793211213199164</c:v>
                </c:pt>
                <c:pt idx="8712">
                  <c:v>36.110659837518703</c:v>
                </c:pt>
                <c:pt idx="8713">
                  <c:v>56.715363105898327</c:v>
                </c:pt>
                <c:pt idx="8714">
                  <c:v>28.832203728747089</c:v>
                </c:pt>
                <c:pt idx="8715">
                  <c:v>46.067766639471856</c:v>
                </c:pt>
                <c:pt idx="8716">
                  <c:v>27.81577889564284</c:v>
                </c:pt>
                <c:pt idx="8717">
                  <c:v>25.430730046970574</c:v>
                </c:pt>
                <c:pt idx="8718">
                  <c:v>26.774067839536393</c:v>
                </c:pt>
                <c:pt idx="8719">
                  <c:v>18.183039793518127</c:v>
                </c:pt>
                <c:pt idx="8720">
                  <c:v>30.734857008648362</c:v>
                </c:pt>
                <c:pt idx="8721">
                  <c:v>21.988580394487897</c:v>
                </c:pt>
                <c:pt idx="8722">
                  <c:v>28.10348812897826</c:v>
                </c:pt>
                <c:pt idx="8723">
                  <c:v>27.867982463508227</c:v>
                </c:pt>
                <c:pt idx="8724">
                  <c:v>26.176392996696524</c:v>
                </c:pt>
                <c:pt idx="8725">
                  <c:v>40.176386286388556</c:v>
                </c:pt>
                <c:pt idx="8726">
                  <c:v>28.88816807179877</c:v>
                </c:pt>
                <c:pt idx="8727">
                  <c:v>29.397016526703851</c:v>
                </c:pt>
                <c:pt idx="8728">
                  <c:v>25.602972761504169</c:v>
                </c:pt>
                <c:pt idx="8729">
                  <c:v>18.34948611294012</c:v>
                </c:pt>
                <c:pt idx="8730">
                  <c:v>27.344133436200078</c:v>
                </c:pt>
                <c:pt idx="8731">
                  <c:v>28.021069097263855</c:v>
                </c:pt>
                <c:pt idx="8732">
                  <c:v>23.195437696712382</c:v>
                </c:pt>
                <c:pt idx="8733">
                  <c:v>34.768608586517949</c:v>
                </c:pt>
                <c:pt idx="8734">
                  <c:v>28.14017059327541</c:v>
                </c:pt>
                <c:pt idx="8735">
                  <c:v>26.78158728610298</c:v>
                </c:pt>
                <c:pt idx="8736">
                  <c:v>23.630565650501357</c:v>
                </c:pt>
                <c:pt idx="8737">
                  <c:v>30.128443282937319</c:v>
                </c:pt>
                <c:pt idx="8738">
                  <c:v>24.898539019998545</c:v>
                </c:pt>
                <c:pt idx="8739">
                  <c:v>23.673731401831976</c:v>
                </c:pt>
                <c:pt idx="8740">
                  <c:v>25.674392185728607</c:v>
                </c:pt>
                <c:pt idx="8741">
                  <c:v>27.001638914659814</c:v>
                </c:pt>
                <c:pt idx="8742">
                  <c:v>17.106114086694248</c:v>
                </c:pt>
                <c:pt idx="8743">
                  <c:v>35.186452808616636</c:v>
                </c:pt>
                <c:pt idx="8744">
                  <c:v>42.8161361715079</c:v>
                </c:pt>
                <c:pt idx="8745">
                  <c:v>26.9952858550506</c:v>
                </c:pt>
                <c:pt idx="8746">
                  <c:v>26.975986912409574</c:v>
                </c:pt>
                <c:pt idx="8747">
                  <c:v>25.154789249048878</c:v>
                </c:pt>
                <c:pt idx="8748">
                  <c:v>28.728744321386866</c:v>
                </c:pt>
                <c:pt idx="8749">
                  <c:v>25.501216322324545</c:v>
                </c:pt>
                <c:pt idx="8750">
                  <c:v>21.015495650418632</c:v>
                </c:pt>
                <c:pt idx="8751">
                  <c:v>29.615375442959099</c:v>
                </c:pt>
                <c:pt idx="8752">
                  <c:v>25.360475364675885</c:v>
                </c:pt>
                <c:pt idx="8753">
                  <c:v>32.211946807992554</c:v>
                </c:pt>
                <c:pt idx="8754">
                  <c:v>49.803629876705848</c:v>
                </c:pt>
                <c:pt idx="8755">
                  <c:v>26.682287957077662</c:v>
                </c:pt>
                <c:pt idx="8756">
                  <c:v>32.650822014115533</c:v>
                </c:pt>
                <c:pt idx="8757">
                  <c:v>25.243807786111056</c:v>
                </c:pt>
                <c:pt idx="8758">
                  <c:v>28.116054801202701</c:v>
                </c:pt>
                <c:pt idx="8759">
                  <c:v>28.05116202710267</c:v>
                </c:pt>
                <c:pt idx="8760">
                  <c:v>48.318493896841979</c:v>
                </c:pt>
                <c:pt idx="8761">
                  <c:v>37.219661684778984</c:v>
                </c:pt>
                <c:pt idx="8762">
                  <c:v>42.551739138370365</c:v>
                </c:pt>
                <c:pt idx="8763">
                  <c:v>32.106834836283646</c:v>
                </c:pt>
                <c:pt idx="8764">
                  <c:v>39.866049612717205</c:v>
                </c:pt>
                <c:pt idx="8765">
                  <c:v>30.236011934408594</c:v>
                </c:pt>
                <c:pt idx="8766">
                  <c:v>42.91657752220619</c:v>
                </c:pt>
                <c:pt idx="8767">
                  <c:v>26.398044705595172</c:v>
                </c:pt>
                <c:pt idx="8768">
                  <c:v>41.499201102243759</c:v>
                </c:pt>
                <c:pt idx="8769">
                  <c:v>38.196777758026073</c:v>
                </c:pt>
                <c:pt idx="8770">
                  <c:v>37.779135354664007</c:v>
                </c:pt>
                <c:pt idx="8771">
                  <c:v>22.409869916368109</c:v>
                </c:pt>
                <c:pt idx="8772">
                  <c:v>22.477647941190575</c:v>
                </c:pt>
                <c:pt idx="8773">
                  <c:v>32.035405429595322</c:v>
                </c:pt>
                <c:pt idx="8774">
                  <c:v>22.754414529715195</c:v>
                </c:pt>
                <c:pt idx="8775">
                  <c:v>35.179139726597889</c:v>
                </c:pt>
                <c:pt idx="8776">
                  <c:v>63.105051076235853</c:v>
                </c:pt>
                <c:pt idx="8777">
                  <c:v>44.009595091025062</c:v>
                </c:pt>
                <c:pt idx="8778">
                  <c:v>24.945579087519494</c:v>
                </c:pt>
                <c:pt idx="8779">
                  <c:v>25.748156163501562</c:v>
                </c:pt>
                <c:pt idx="8780">
                  <c:v>28.216610046987547</c:v>
                </c:pt>
                <c:pt idx="8781">
                  <c:v>23.645416526345645</c:v>
                </c:pt>
                <c:pt idx="8782">
                  <c:v>36.851458932700972</c:v>
                </c:pt>
                <c:pt idx="8783">
                  <c:v>24.463282618797873</c:v>
                </c:pt>
                <c:pt idx="8784">
                  <c:v>30.529777414156015</c:v>
                </c:pt>
                <c:pt idx="8785">
                  <c:v>24.721474006035347</c:v>
                </c:pt>
                <c:pt idx="8786">
                  <c:v>16.310412962572865</c:v>
                </c:pt>
                <c:pt idx="8787">
                  <c:v>47.216253951044365</c:v>
                </c:pt>
                <c:pt idx="8788">
                  <c:v>37.897336318180841</c:v>
                </c:pt>
                <c:pt idx="8789">
                  <c:v>25.62438668340463</c:v>
                </c:pt>
                <c:pt idx="8790">
                  <c:v>26.696037835919117</c:v>
                </c:pt>
                <c:pt idx="8791">
                  <c:v>24.085511631835537</c:v>
                </c:pt>
                <c:pt idx="8792">
                  <c:v>23.706777848817261</c:v>
                </c:pt>
                <c:pt idx="8793">
                  <c:v>29.888872330237266</c:v>
                </c:pt>
                <c:pt idx="8794">
                  <c:v>28.222883018860216</c:v>
                </c:pt>
                <c:pt idx="8795">
                  <c:v>27.263134630808857</c:v>
                </c:pt>
                <c:pt idx="8796">
                  <c:v>33.578971045109647</c:v>
                </c:pt>
                <c:pt idx="8797">
                  <c:v>27.825048023581246</c:v>
                </c:pt>
                <c:pt idx="8798">
                  <c:v>28.116724406650782</c:v>
                </c:pt>
                <c:pt idx="8799">
                  <c:v>21.606329846637252</c:v>
                </c:pt>
                <c:pt idx="8800">
                  <c:v>22.077463381661275</c:v>
                </c:pt>
                <c:pt idx="8801">
                  <c:v>34.156662966898999</c:v>
                </c:pt>
                <c:pt idx="8802">
                  <c:v>28.212576970344298</c:v>
                </c:pt>
                <c:pt idx="8803">
                  <c:v>31.229355558531918</c:v>
                </c:pt>
                <c:pt idx="8804">
                  <c:v>23.749192823517575</c:v>
                </c:pt>
                <c:pt idx="8805">
                  <c:v>26.005761567325937</c:v>
                </c:pt>
                <c:pt idx="8806">
                  <c:v>47.704951185559672</c:v>
                </c:pt>
                <c:pt idx="8807">
                  <c:v>24.165102407481566</c:v>
                </c:pt>
                <c:pt idx="8808">
                  <c:v>45.856151046794764</c:v>
                </c:pt>
                <c:pt idx="8809">
                  <c:v>22.33928477422695</c:v>
                </c:pt>
                <c:pt idx="8810">
                  <c:v>50.375186202608759</c:v>
                </c:pt>
                <c:pt idx="8811">
                  <c:v>44.579531077374881</c:v>
                </c:pt>
                <c:pt idx="8812">
                  <c:v>18.244972785435952</c:v>
                </c:pt>
                <c:pt idx="8813">
                  <c:v>38.646553131048492</c:v>
                </c:pt>
                <c:pt idx="8814">
                  <c:v>29.6574532608469</c:v>
                </c:pt>
                <c:pt idx="8815">
                  <c:v>42.464743689685776</c:v>
                </c:pt>
                <c:pt idx="8816">
                  <c:v>29.438158702379205</c:v>
                </c:pt>
                <c:pt idx="8817">
                  <c:v>26.167433629335701</c:v>
                </c:pt>
                <c:pt idx="8818">
                  <c:v>26.208455863066085</c:v>
                </c:pt>
                <c:pt idx="8819">
                  <c:v>26.589663195925805</c:v>
                </c:pt>
                <c:pt idx="8820">
                  <c:v>42.575084321644681</c:v>
                </c:pt>
                <c:pt idx="8821">
                  <c:v>53.050730516722609</c:v>
                </c:pt>
                <c:pt idx="8822">
                  <c:v>25.012659458310974</c:v>
                </c:pt>
                <c:pt idx="8823">
                  <c:v>43.143636857010662</c:v>
                </c:pt>
                <c:pt idx="8824">
                  <c:v>59.747588931659003</c:v>
                </c:pt>
                <c:pt idx="8825">
                  <c:v>30.586529117007398</c:v>
                </c:pt>
                <c:pt idx="8826">
                  <c:v>35.483264380939438</c:v>
                </c:pt>
                <c:pt idx="8827">
                  <c:v>42.116959320508535</c:v>
                </c:pt>
                <c:pt idx="8828">
                  <c:v>17.431239478065606</c:v>
                </c:pt>
                <c:pt idx="8829">
                  <c:v>18.017770847737992</c:v>
                </c:pt>
                <c:pt idx="8830">
                  <c:v>22.921183852810053</c:v>
                </c:pt>
                <c:pt idx="8831">
                  <c:v>40.862602622632402</c:v>
                </c:pt>
                <c:pt idx="8832">
                  <c:v>49.129329966303679</c:v>
                </c:pt>
                <c:pt idx="8833">
                  <c:v>27.448989334917371</c:v>
                </c:pt>
                <c:pt idx="8834">
                  <c:v>18.830839350291978</c:v>
                </c:pt>
                <c:pt idx="8835">
                  <c:v>34.423878911253212</c:v>
                </c:pt>
                <c:pt idx="8836">
                  <c:v>22.943269901096293</c:v>
                </c:pt>
                <c:pt idx="8837">
                  <c:v>23.021955298230672</c:v>
                </c:pt>
                <c:pt idx="8838">
                  <c:v>20.841322760324342</c:v>
                </c:pt>
                <c:pt idx="8839">
                  <c:v>51.952986106545133</c:v>
                </c:pt>
                <c:pt idx="8840">
                  <c:v>28.416992350929789</c:v>
                </c:pt>
                <c:pt idx="8841">
                  <c:v>38.343290209642007</c:v>
                </c:pt>
                <c:pt idx="8842">
                  <c:v>23.281664295267294</c:v>
                </c:pt>
                <c:pt idx="8843">
                  <c:v>25.263205727800806</c:v>
                </c:pt>
                <c:pt idx="8844">
                  <c:v>34.231871109531241</c:v>
                </c:pt>
                <c:pt idx="8845">
                  <c:v>30.444935710265632</c:v>
                </c:pt>
                <c:pt idx="8846">
                  <c:v>23.099982802027885</c:v>
                </c:pt>
                <c:pt idx="8847">
                  <c:v>32.57782618452871</c:v>
                </c:pt>
                <c:pt idx="8848">
                  <c:v>35.9755059697966</c:v>
                </c:pt>
                <c:pt idx="8849">
                  <c:v>54.165424066038319</c:v>
                </c:pt>
                <c:pt idx="8850">
                  <c:v>30.271133681839309</c:v>
                </c:pt>
                <c:pt idx="8851">
                  <c:v>17.497460636700993</c:v>
                </c:pt>
                <c:pt idx="8852">
                  <c:v>31.39077675207837</c:v>
                </c:pt>
                <c:pt idx="8853">
                  <c:v>54.510141183760048</c:v>
                </c:pt>
                <c:pt idx="8854">
                  <c:v>39.172494034082149</c:v>
                </c:pt>
                <c:pt idx="8855">
                  <c:v>24.423309673981301</c:v>
                </c:pt>
                <c:pt idx="8856">
                  <c:v>21.909926480722788</c:v>
                </c:pt>
                <c:pt idx="8857">
                  <c:v>35.976347739057964</c:v>
                </c:pt>
                <c:pt idx="8858">
                  <c:v>22.232753747392096</c:v>
                </c:pt>
                <c:pt idx="8859">
                  <c:v>52.960143965628738</c:v>
                </c:pt>
                <c:pt idx="8860">
                  <c:v>25.699688142920149</c:v>
                </c:pt>
                <c:pt idx="8861">
                  <c:v>34.801635287130416</c:v>
                </c:pt>
                <c:pt idx="8862">
                  <c:v>23.165297067077809</c:v>
                </c:pt>
                <c:pt idx="8863">
                  <c:v>25.259913550959205</c:v>
                </c:pt>
                <c:pt idx="8864">
                  <c:v>28.693700556759509</c:v>
                </c:pt>
                <c:pt idx="8865">
                  <c:v>43.434002918066831</c:v>
                </c:pt>
                <c:pt idx="8866">
                  <c:v>33.698908326774983</c:v>
                </c:pt>
                <c:pt idx="8867">
                  <c:v>47.539319903764699</c:v>
                </c:pt>
                <c:pt idx="8868">
                  <c:v>26.809748957152301</c:v>
                </c:pt>
                <c:pt idx="8869">
                  <c:v>22.303050934045693</c:v>
                </c:pt>
                <c:pt idx="8870">
                  <c:v>33.577545279945085</c:v>
                </c:pt>
                <c:pt idx="8871">
                  <c:v>16.131430081697577</c:v>
                </c:pt>
                <c:pt idx="8872">
                  <c:v>31.203607574588844</c:v>
                </c:pt>
                <c:pt idx="8873">
                  <c:v>21.839510259816244</c:v>
                </c:pt>
                <c:pt idx="8874">
                  <c:v>48.385121169866849</c:v>
                </c:pt>
                <c:pt idx="8875">
                  <c:v>32.779326353679544</c:v>
                </c:pt>
                <c:pt idx="8876">
                  <c:v>34.629916290110984</c:v>
                </c:pt>
                <c:pt idx="8877">
                  <c:v>20.213442633308848</c:v>
                </c:pt>
                <c:pt idx="8878">
                  <c:v>29.701983770053687</c:v>
                </c:pt>
                <c:pt idx="8879">
                  <c:v>45.752696350883397</c:v>
                </c:pt>
                <c:pt idx="8880">
                  <c:v>24.91396974542095</c:v>
                </c:pt>
                <c:pt idx="8881">
                  <c:v>23.55796503278048</c:v>
                </c:pt>
                <c:pt idx="8882">
                  <c:v>34.078240079445195</c:v>
                </c:pt>
                <c:pt idx="8883">
                  <c:v>23.472406866864226</c:v>
                </c:pt>
                <c:pt idx="8884">
                  <c:v>23.611772230575657</c:v>
                </c:pt>
                <c:pt idx="8885">
                  <c:v>51.335247429026225</c:v>
                </c:pt>
                <c:pt idx="8886">
                  <c:v>28.940598830182264</c:v>
                </c:pt>
                <c:pt idx="8887">
                  <c:v>26.414195129337909</c:v>
                </c:pt>
                <c:pt idx="8888">
                  <c:v>47.386778869265079</c:v>
                </c:pt>
                <c:pt idx="8889">
                  <c:v>28.400510024181287</c:v>
                </c:pt>
                <c:pt idx="8890">
                  <c:v>28.168034812959462</c:v>
                </c:pt>
                <c:pt idx="8891">
                  <c:v>30.368061282130597</c:v>
                </c:pt>
                <c:pt idx="8892">
                  <c:v>24.499721320293713</c:v>
                </c:pt>
                <c:pt idx="8893">
                  <c:v>28.562591305287238</c:v>
                </c:pt>
                <c:pt idx="8894">
                  <c:v>23.273360861402921</c:v>
                </c:pt>
                <c:pt idx="8895">
                  <c:v>38.879704692330556</c:v>
                </c:pt>
                <c:pt idx="8896">
                  <c:v>43.186871234720769</c:v>
                </c:pt>
                <c:pt idx="8897">
                  <c:v>34.731159673428657</c:v>
                </c:pt>
                <c:pt idx="8898">
                  <c:v>36.183506255316445</c:v>
                </c:pt>
                <c:pt idx="8899">
                  <c:v>42.176232325866536</c:v>
                </c:pt>
                <c:pt idx="8900">
                  <c:v>31.074290909471269</c:v>
                </c:pt>
                <c:pt idx="8901">
                  <c:v>45.826709825268026</c:v>
                </c:pt>
                <c:pt idx="8902">
                  <c:v>28.812333724878972</c:v>
                </c:pt>
                <c:pt idx="8903">
                  <c:v>22.539706603987057</c:v>
                </c:pt>
                <c:pt idx="8904">
                  <c:v>43.697780971033637</c:v>
                </c:pt>
                <c:pt idx="8905">
                  <c:v>25.033655332537904</c:v>
                </c:pt>
                <c:pt idx="8906">
                  <c:v>54.008685097466227</c:v>
                </c:pt>
                <c:pt idx="8907">
                  <c:v>33.800553813250687</c:v>
                </c:pt>
                <c:pt idx="8908">
                  <c:v>26.011339805030225</c:v>
                </c:pt>
                <c:pt idx="8909">
                  <c:v>27.994702475636966</c:v>
                </c:pt>
                <c:pt idx="8910">
                  <c:v>34.879107595744067</c:v>
                </c:pt>
                <c:pt idx="8911">
                  <c:v>33.750108240095614</c:v>
                </c:pt>
                <c:pt idx="8912">
                  <c:v>37.119511756742881</c:v>
                </c:pt>
                <c:pt idx="8913">
                  <c:v>24.674350606175498</c:v>
                </c:pt>
                <c:pt idx="8914">
                  <c:v>40.777194903579904</c:v>
                </c:pt>
                <c:pt idx="8915">
                  <c:v>27.861056627835271</c:v>
                </c:pt>
                <c:pt idx="8916">
                  <c:v>22.688674218174359</c:v>
                </c:pt>
                <c:pt idx="8917">
                  <c:v>39.74119067571592</c:v>
                </c:pt>
                <c:pt idx="8918">
                  <c:v>22.461158693123167</c:v>
                </c:pt>
                <c:pt idx="8919">
                  <c:v>29.955864190959996</c:v>
                </c:pt>
                <c:pt idx="8920">
                  <c:v>28.673388850112424</c:v>
                </c:pt>
                <c:pt idx="8921">
                  <c:v>38.151194465156827</c:v>
                </c:pt>
                <c:pt idx="8922">
                  <c:v>28.67067954009822</c:v>
                </c:pt>
                <c:pt idx="8923">
                  <c:v>37.220195135254635</c:v>
                </c:pt>
                <c:pt idx="8924">
                  <c:v>26.433437600238783</c:v>
                </c:pt>
                <c:pt idx="8925">
                  <c:v>44.379962840282758</c:v>
                </c:pt>
                <c:pt idx="8926">
                  <c:v>32.853151494974952</c:v>
                </c:pt>
                <c:pt idx="8927">
                  <c:v>50.555128233869056</c:v>
                </c:pt>
                <c:pt idx="8928">
                  <c:v>23.625959558080424</c:v>
                </c:pt>
                <c:pt idx="8929">
                  <c:v>17.153673257703765</c:v>
                </c:pt>
                <c:pt idx="8930">
                  <c:v>29.218744127649643</c:v>
                </c:pt>
                <c:pt idx="8931">
                  <c:v>24.271602534064048</c:v>
                </c:pt>
                <c:pt idx="8932">
                  <c:v>30.608882539735959</c:v>
                </c:pt>
                <c:pt idx="8933">
                  <c:v>29.811469791320697</c:v>
                </c:pt>
                <c:pt idx="8934">
                  <c:v>34.376431202227856</c:v>
                </c:pt>
                <c:pt idx="8935">
                  <c:v>43.803031444612238</c:v>
                </c:pt>
                <c:pt idx="8936">
                  <c:v>20.466534375255037</c:v>
                </c:pt>
                <c:pt idx="8937">
                  <c:v>32.039646359726802</c:v>
                </c:pt>
                <c:pt idx="8938">
                  <c:v>33.381412523953344</c:v>
                </c:pt>
                <c:pt idx="8939">
                  <c:v>32.742505533293055</c:v>
                </c:pt>
                <c:pt idx="8940">
                  <c:v>31.988057823731165</c:v>
                </c:pt>
                <c:pt idx="8941">
                  <c:v>26.962209035538276</c:v>
                </c:pt>
                <c:pt idx="8942">
                  <c:v>21.43932311980171</c:v>
                </c:pt>
                <c:pt idx="8943">
                  <c:v>26.406228029205451</c:v>
                </c:pt>
                <c:pt idx="8944">
                  <c:v>26.421390072517934</c:v>
                </c:pt>
                <c:pt idx="8945">
                  <c:v>51.111347225013461</c:v>
                </c:pt>
                <c:pt idx="8946">
                  <c:v>43.761548614790378</c:v>
                </c:pt>
                <c:pt idx="8947">
                  <c:v>21.649945472247293</c:v>
                </c:pt>
                <c:pt idx="8948">
                  <c:v>32.923672277510533</c:v>
                </c:pt>
                <c:pt idx="8949">
                  <c:v>18.969314213944521</c:v>
                </c:pt>
                <c:pt idx="8950">
                  <c:v>22.732643900876454</c:v>
                </c:pt>
                <c:pt idx="8951">
                  <c:v>28.680834881455844</c:v>
                </c:pt>
                <c:pt idx="8952">
                  <c:v>26.021255170723002</c:v>
                </c:pt>
                <c:pt idx="8953">
                  <c:v>30.638095780566836</c:v>
                </c:pt>
                <c:pt idx="8954">
                  <c:v>25.035544203017562</c:v>
                </c:pt>
                <c:pt idx="8955">
                  <c:v>44.828904114542972</c:v>
                </c:pt>
                <c:pt idx="8956">
                  <c:v>27.628156690807376</c:v>
                </c:pt>
                <c:pt idx="8957">
                  <c:v>28.568550978543549</c:v>
                </c:pt>
                <c:pt idx="8958">
                  <c:v>50.503321580803856</c:v>
                </c:pt>
                <c:pt idx="8959">
                  <c:v>25.553030890789202</c:v>
                </c:pt>
                <c:pt idx="8960">
                  <c:v>40.757524260042466</c:v>
                </c:pt>
                <c:pt idx="8961">
                  <c:v>43.738092198415103</c:v>
                </c:pt>
                <c:pt idx="8962">
                  <c:v>55.501636764100184</c:v>
                </c:pt>
                <c:pt idx="8963">
                  <c:v>27.245149932683425</c:v>
                </c:pt>
                <c:pt idx="8964">
                  <c:v>38.303575794209365</c:v>
                </c:pt>
                <c:pt idx="8965">
                  <c:v>31.394164926443729</c:v>
                </c:pt>
                <c:pt idx="8966">
                  <c:v>28.371004583122268</c:v>
                </c:pt>
                <c:pt idx="8967">
                  <c:v>25.027577273156666</c:v>
                </c:pt>
                <c:pt idx="8968">
                  <c:v>55.670609953578101</c:v>
                </c:pt>
                <c:pt idx="8969">
                  <c:v>22.908137261006114</c:v>
                </c:pt>
                <c:pt idx="8970">
                  <c:v>54.743691831616637</c:v>
                </c:pt>
                <c:pt idx="8971">
                  <c:v>25.877751294063604</c:v>
                </c:pt>
                <c:pt idx="8972">
                  <c:v>31.875191411110062</c:v>
                </c:pt>
                <c:pt idx="8973">
                  <c:v>35.228943103789454</c:v>
                </c:pt>
                <c:pt idx="8974">
                  <c:v>24.157526483056422</c:v>
                </c:pt>
                <c:pt idx="8975">
                  <c:v>23.114685192004639</c:v>
                </c:pt>
                <c:pt idx="8976">
                  <c:v>44.247444995318574</c:v>
                </c:pt>
                <c:pt idx="8977">
                  <c:v>28.982496803843347</c:v>
                </c:pt>
                <c:pt idx="8978">
                  <c:v>46.981985099258132</c:v>
                </c:pt>
                <c:pt idx="8979">
                  <c:v>46.111374572022363</c:v>
                </c:pt>
                <c:pt idx="8980">
                  <c:v>22.98923535208694</c:v>
                </c:pt>
                <c:pt idx="8981">
                  <c:v>40.639895249433827</c:v>
                </c:pt>
                <c:pt idx="8982">
                  <c:v>26.846125068980594</c:v>
                </c:pt>
                <c:pt idx="8983">
                  <c:v>27.454329115490651</c:v>
                </c:pt>
                <c:pt idx="8984">
                  <c:v>19.113838335413178</c:v>
                </c:pt>
                <c:pt idx="8985">
                  <c:v>47.251415679513833</c:v>
                </c:pt>
                <c:pt idx="8986">
                  <c:v>21.606422769101833</c:v>
                </c:pt>
                <c:pt idx="8987">
                  <c:v>29.364648635052511</c:v>
                </c:pt>
                <c:pt idx="8988">
                  <c:v>51.007912709570398</c:v>
                </c:pt>
                <c:pt idx="8989">
                  <c:v>31.634193875326982</c:v>
                </c:pt>
                <c:pt idx="8990">
                  <c:v>24.396915275451125</c:v>
                </c:pt>
                <c:pt idx="8991">
                  <c:v>59.622783753550614</c:v>
                </c:pt>
                <c:pt idx="8992">
                  <c:v>48.928226955133368</c:v>
                </c:pt>
                <c:pt idx="8993">
                  <c:v>35.720984024338478</c:v>
                </c:pt>
                <c:pt idx="8994">
                  <c:v>29.057804046953816</c:v>
                </c:pt>
                <c:pt idx="8995">
                  <c:v>32.145131207296494</c:v>
                </c:pt>
                <c:pt idx="8996">
                  <c:v>24.925789070835044</c:v>
                </c:pt>
                <c:pt idx="8997">
                  <c:v>38.879785131567665</c:v>
                </c:pt>
                <c:pt idx="8998">
                  <c:v>18.98950967289521</c:v>
                </c:pt>
                <c:pt idx="8999">
                  <c:v>31.50679298883308</c:v>
                </c:pt>
                <c:pt idx="9000">
                  <c:v>22.2965461789301</c:v>
                </c:pt>
                <c:pt idx="9001">
                  <c:v>31.526542127158088</c:v>
                </c:pt>
                <c:pt idx="9002">
                  <c:v>61.445198409256854</c:v>
                </c:pt>
                <c:pt idx="9003">
                  <c:v>30.933377726348734</c:v>
                </c:pt>
                <c:pt idx="9004">
                  <c:v>55.605533060421713</c:v>
                </c:pt>
                <c:pt idx="9005">
                  <c:v>33.798030302879745</c:v>
                </c:pt>
                <c:pt idx="9006">
                  <c:v>33.38558851612251</c:v>
                </c:pt>
                <c:pt idx="9007">
                  <c:v>22.305197384776083</c:v>
                </c:pt>
                <c:pt idx="9008">
                  <c:v>22.592674975618362</c:v>
                </c:pt>
                <c:pt idx="9009">
                  <c:v>47.887880910953449</c:v>
                </c:pt>
                <c:pt idx="9010">
                  <c:v>29.738232425563965</c:v>
                </c:pt>
                <c:pt idx="9011">
                  <c:v>29.307830440383917</c:v>
                </c:pt>
                <c:pt idx="9012">
                  <c:v>27.420251710051435</c:v>
                </c:pt>
                <c:pt idx="9013">
                  <c:v>27.906701973491518</c:v>
                </c:pt>
                <c:pt idx="9014">
                  <c:v>24.264708468332621</c:v>
                </c:pt>
                <c:pt idx="9015">
                  <c:v>38.019354943261476</c:v>
                </c:pt>
                <c:pt idx="9016">
                  <c:v>34.001402020498332</c:v>
                </c:pt>
                <c:pt idx="9017">
                  <c:v>36.050113070784228</c:v>
                </c:pt>
                <c:pt idx="9018">
                  <c:v>50.222218696115846</c:v>
                </c:pt>
                <c:pt idx="9019">
                  <c:v>26.207410435304485</c:v>
                </c:pt>
                <c:pt idx="9020">
                  <c:v>22.45097569080292</c:v>
                </c:pt>
                <c:pt idx="9021">
                  <c:v>28.566518616766146</c:v>
                </c:pt>
                <c:pt idx="9022">
                  <c:v>19.741511379890973</c:v>
                </c:pt>
                <c:pt idx="9023">
                  <c:v>25.93056342767153</c:v>
                </c:pt>
                <c:pt idx="9024">
                  <c:v>22.822247098579382</c:v>
                </c:pt>
                <c:pt idx="9025">
                  <c:v>42.288264271889453</c:v>
                </c:pt>
                <c:pt idx="9026">
                  <c:v>27.166372444607415</c:v>
                </c:pt>
                <c:pt idx="9027">
                  <c:v>34.468764350039635</c:v>
                </c:pt>
                <c:pt idx="9028">
                  <c:v>54.030581363385181</c:v>
                </c:pt>
                <c:pt idx="9029">
                  <c:v>32.215434294622227</c:v>
                </c:pt>
                <c:pt idx="9030">
                  <c:v>35.91091319206064</c:v>
                </c:pt>
                <c:pt idx="9031">
                  <c:v>34.430039215546017</c:v>
                </c:pt>
                <c:pt idx="9032">
                  <c:v>19.364034118561669</c:v>
                </c:pt>
                <c:pt idx="9033">
                  <c:v>18.119312608372681</c:v>
                </c:pt>
                <c:pt idx="9034">
                  <c:v>28.190318477327448</c:v>
                </c:pt>
                <c:pt idx="9035">
                  <c:v>26.179494670854488</c:v>
                </c:pt>
                <c:pt idx="9036">
                  <c:v>21.665347078302435</c:v>
                </c:pt>
                <c:pt idx="9037">
                  <c:v>24.907400730884998</c:v>
                </c:pt>
                <c:pt idx="9038">
                  <c:v>35.377816087169805</c:v>
                </c:pt>
                <c:pt idx="9039">
                  <c:v>39.932634065789166</c:v>
                </c:pt>
                <c:pt idx="9040">
                  <c:v>25.591007035468152</c:v>
                </c:pt>
                <c:pt idx="9041">
                  <c:v>52.044284604364066</c:v>
                </c:pt>
                <c:pt idx="9042">
                  <c:v>30.603115148568627</c:v>
                </c:pt>
                <c:pt idx="9043">
                  <c:v>33.226134966421078</c:v>
                </c:pt>
                <c:pt idx="9044">
                  <c:v>23.701879433303283</c:v>
                </c:pt>
                <c:pt idx="9045">
                  <c:v>39.835438995312799</c:v>
                </c:pt>
                <c:pt idx="9046">
                  <c:v>30.577905499028333</c:v>
                </c:pt>
                <c:pt idx="9047">
                  <c:v>23.120999625014939</c:v>
                </c:pt>
                <c:pt idx="9048">
                  <c:v>29.932296983164477</c:v>
                </c:pt>
                <c:pt idx="9049">
                  <c:v>39.653742897449696</c:v>
                </c:pt>
                <c:pt idx="9050">
                  <c:v>33.107250761669036</c:v>
                </c:pt>
                <c:pt idx="9051">
                  <c:v>29.943190393799373</c:v>
                </c:pt>
                <c:pt idx="9052">
                  <c:v>29.054046423546204</c:v>
                </c:pt>
                <c:pt idx="9053">
                  <c:v>31.692091994323455</c:v>
                </c:pt>
                <c:pt idx="9054">
                  <c:v>19.665970439078723</c:v>
                </c:pt>
                <c:pt idx="9055">
                  <c:v>22.954473048594529</c:v>
                </c:pt>
                <c:pt idx="9056">
                  <c:v>52.535916666126603</c:v>
                </c:pt>
                <c:pt idx="9057">
                  <c:v>24.660347493353179</c:v>
                </c:pt>
                <c:pt idx="9058">
                  <c:v>22.094413997961325</c:v>
                </c:pt>
                <c:pt idx="9059">
                  <c:v>35.473251243666255</c:v>
                </c:pt>
                <c:pt idx="9060">
                  <c:v>35.65306729710889</c:v>
                </c:pt>
                <c:pt idx="9061">
                  <c:v>36.222004135426907</c:v>
                </c:pt>
                <c:pt idx="9062">
                  <c:v>53.822784362491959</c:v>
                </c:pt>
                <c:pt idx="9063">
                  <c:v>53.227894758357628</c:v>
                </c:pt>
                <c:pt idx="9064">
                  <c:v>36.587271134713852</c:v>
                </c:pt>
                <c:pt idx="9065">
                  <c:v>18.790676291940233</c:v>
                </c:pt>
                <c:pt idx="9066">
                  <c:v>54.545788980742259</c:v>
                </c:pt>
                <c:pt idx="9067">
                  <c:v>29.506294826445298</c:v>
                </c:pt>
                <c:pt idx="9068">
                  <c:v>30.009790621779786</c:v>
                </c:pt>
                <c:pt idx="9069">
                  <c:v>31.421520865977065</c:v>
                </c:pt>
                <c:pt idx="9070">
                  <c:v>43.447600357331439</c:v>
                </c:pt>
                <c:pt idx="9071">
                  <c:v>37.045529822273323</c:v>
                </c:pt>
                <c:pt idx="9072">
                  <c:v>26.155584570368266</c:v>
                </c:pt>
                <c:pt idx="9073">
                  <c:v>27.363613193124429</c:v>
                </c:pt>
                <c:pt idx="9074">
                  <c:v>29.164196722885475</c:v>
                </c:pt>
                <c:pt idx="9075">
                  <c:v>33.008001261106529</c:v>
                </c:pt>
                <c:pt idx="9076">
                  <c:v>20.023777416444251</c:v>
                </c:pt>
                <c:pt idx="9077">
                  <c:v>28.528439132906676</c:v>
                </c:pt>
                <c:pt idx="9078">
                  <c:v>44.789362454916301</c:v>
                </c:pt>
                <c:pt idx="9079">
                  <c:v>20.09403882413547</c:v>
                </c:pt>
                <c:pt idx="9080">
                  <c:v>38.271535785034182</c:v>
                </c:pt>
                <c:pt idx="9081">
                  <c:v>39.685312704673009</c:v>
                </c:pt>
                <c:pt idx="9082">
                  <c:v>29.335943594444505</c:v>
                </c:pt>
                <c:pt idx="9083">
                  <c:v>22.124410155547693</c:v>
                </c:pt>
                <c:pt idx="9084">
                  <c:v>30.169793536281148</c:v>
                </c:pt>
                <c:pt idx="9085">
                  <c:v>31.912728305160137</c:v>
                </c:pt>
                <c:pt idx="9086">
                  <c:v>29.977387495944622</c:v>
                </c:pt>
                <c:pt idx="9087">
                  <c:v>22.291926416058846</c:v>
                </c:pt>
                <c:pt idx="9088">
                  <c:v>26.120773673929978</c:v>
                </c:pt>
                <c:pt idx="9089">
                  <c:v>52.070025021233008</c:v>
                </c:pt>
                <c:pt idx="9090">
                  <c:v>32.405025439114347</c:v>
                </c:pt>
                <c:pt idx="9091">
                  <c:v>24.313297203681657</c:v>
                </c:pt>
                <c:pt idx="9092">
                  <c:v>41.520985940962291</c:v>
                </c:pt>
                <c:pt idx="9093">
                  <c:v>39.690192343528587</c:v>
                </c:pt>
                <c:pt idx="9094">
                  <c:v>26.101847673137925</c:v>
                </c:pt>
                <c:pt idx="9095">
                  <c:v>27.606743038088226</c:v>
                </c:pt>
                <c:pt idx="9096">
                  <c:v>27.22249771887277</c:v>
                </c:pt>
                <c:pt idx="9097">
                  <c:v>26.463529180579027</c:v>
                </c:pt>
                <c:pt idx="9098">
                  <c:v>54.622514453482317</c:v>
                </c:pt>
                <c:pt idx="9099">
                  <c:v>62.707268053084732</c:v>
                </c:pt>
                <c:pt idx="9100">
                  <c:v>52.578046308683952</c:v>
                </c:pt>
                <c:pt idx="9101">
                  <c:v>46.233376072922027</c:v>
                </c:pt>
                <c:pt idx="9102">
                  <c:v>30.823231131363592</c:v>
                </c:pt>
                <c:pt idx="9103">
                  <c:v>25.445928524337695</c:v>
                </c:pt>
                <c:pt idx="9104">
                  <c:v>26.168318017471449</c:v>
                </c:pt>
                <c:pt idx="9105">
                  <c:v>25.597739241064524</c:v>
                </c:pt>
                <c:pt idx="9106">
                  <c:v>25.974101293038331</c:v>
                </c:pt>
                <c:pt idx="9107">
                  <c:v>24.204234599443254</c:v>
                </c:pt>
                <c:pt idx="9108">
                  <c:v>31.053677551874706</c:v>
                </c:pt>
                <c:pt idx="9109">
                  <c:v>42.320195211322996</c:v>
                </c:pt>
                <c:pt idx="9110">
                  <c:v>43.535779140174</c:v>
                </c:pt>
                <c:pt idx="9111">
                  <c:v>60.274362826464014</c:v>
                </c:pt>
                <c:pt idx="9112">
                  <c:v>40.026578793520052</c:v>
                </c:pt>
                <c:pt idx="9113">
                  <c:v>17.465340640124804</c:v>
                </c:pt>
                <c:pt idx="9114">
                  <c:v>30.554433602272269</c:v>
                </c:pt>
                <c:pt idx="9115">
                  <c:v>38.876500358805337</c:v>
                </c:pt>
                <c:pt idx="9116">
                  <c:v>28.066553612960671</c:v>
                </c:pt>
                <c:pt idx="9117">
                  <c:v>42.174791826043993</c:v>
                </c:pt>
                <c:pt idx="9118">
                  <c:v>25.042117858607586</c:v>
                </c:pt>
                <c:pt idx="9119">
                  <c:v>52.795644907498428</c:v>
                </c:pt>
                <c:pt idx="9120">
                  <c:v>45.282730594915662</c:v>
                </c:pt>
                <c:pt idx="9121">
                  <c:v>29.560292316430832</c:v>
                </c:pt>
                <c:pt idx="9122">
                  <c:v>27.702307931152298</c:v>
                </c:pt>
                <c:pt idx="9123">
                  <c:v>46.96961430206234</c:v>
                </c:pt>
                <c:pt idx="9124">
                  <c:v>27.953831589410811</c:v>
                </c:pt>
                <c:pt idx="9125">
                  <c:v>23.321218551904256</c:v>
                </c:pt>
                <c:pt idx="9126">
                  <c:v>24.971956971171078</c:v>
                </c:pt>
                <c:pt idx="9127">
                  <c:v>33.211726995119328</c:v>
                </c:pt>
                <c:pt idx="9128">
                  <c:v>31.526130275429974</c:v>
                </c:pt>
                <c:pt idx="9129">
                  <c:v>30.103444313474476</c:v>
                </c:pt>
                <c:pt idx="9130">
                  <c:v>32.823180820248922</c:v>
                </c:pt>
                <c:pt idx="9131">
                  <c:v>30.597194267384509</c:v>
                </c:pt>
                <c:pt idx="9132">
                  <c:v>19.258973225940256</c:v>
                </c:pt>
                <c:pt idx="9133">
                  <c:v>32.501693737899195</c:v>
                </c:pt>
                <c:pt idx="9134">
                  <c:v>34.240904179489981</c:v>
                </c:pt>
                <c:pt idx="9135">
                  <c:v>22.2161316857492</c:v>
                </c:pt>
                <c:pt idx="9136">
                  <c:v>22.716084433838521</c:v>
                </c:pt>
                <c:pt idx="9137">
                  <c:v>24.330489765379717</c:v>
                </c:pt>
                <c:pt idx="9138">
                  <c:v>34.652119249058543</c:v>
                </c:pt>
                <c:pt idx="9139">
                  <c:v>26.796469665666883</c:v>
                </c:pt>
                <c:pt idx="9140">
                  <c:v>27.481831104419378</c:v>
                </c:pt>
                <c:pt idx="9141">
                  <c:v>62.880158180576615</c:v>
                </c:pt>
                <c:pt idx="9142">
                  <c:v>23.478542209051334</c:v>
                </c:pt>
                <c:pt idx="9143">
                  <c:v>25.537512679022122</c:v>
                </c:pt>
                <c:pt idx="9144">
                  <c:v>28.981620488927</c:v>
                </c:pt>
                <c:pt idx="9145">
                  <c:v>40.722363224873298</c:v>
                </c:pt>
                <c:pt idx="9146">
                  <c:v>34.689701053872469</c:v>
                </c:pt>
                <c:pt idx="9147">
                  <c:v>26.331957319125472</c:v>
                </c:pt>
                <c:pt idx="9148">
                  <c:v>28.560933790780282</c:v>
                </c:pt>
                <c:pt idx="9149">
                  <c:v>15.669227060371728</c:v>
                </c:pt>
                <c:pt idx="9150">
                  <c:v>23.25803743875872</c:v>
                </c:pt>
                <c:pt idx="9151">
                  <c:v>27.590940363395852</c:v>
                </c:pt>
                <c:pt idx="9152">
                  <c:v>27.665632124312481</c:v>
                </c:pt>
                <c:pt idx="9153">
                  <c:v>30.959881334669159</c:v>
                </c:pt>
                <c:pt idx="9154">
                  <c:v>56.314168328518598</c:v>
                </c:pt>
                <c:pt idx="9155">
                  <c:v>22.134150844820812</c:v>
                </c:pt>
                <c:pt idx="9156">
                  <c:v>27.888821788988334</c:v>
                </c:pt>
                <c:pt idx="9157">
                  <c:v>32.648806960558055</c:v>
                </c:pt>
                <c:pt idx="9158">
                  <c:v>29.947858255075694</c:v>
                </c:pt>
                <c:pt idx="9159">
                  <c:v>24.576236809480704</c:v>
                </c:pt>
                <c:pt idx="9160">
                  <c:v>30.633177918515123</c:v>
                </c:pt>
                <c:pt idx="9161">
                  <c:v>28.750968930649638</c:v>
                </c:pt>
                <c:pt idx="9162">
                  <c:v>19.922538180697369</c:v>
                </c:pt>
                <c:pt idx="9163">
                  <c:v>33.539504538238781</c:v>
                </c:pt>
                <c:pt idx="9164">
                  <c:v>24.859127362950403</c:v>
                </c:pt>
                <c:pt idx="9165">
                  <c:v>28.719053474150893</c:v>
                </c:pt>
                <c:pt idx="9166">
                  <c:v>30.015406860970316</c:v>
                </c:pt>
                <c:pt idx="9167">
                  <c:v>28.590335853660658</c:v>
                </c:pt>
                <c:pt idx="9168">
                  <c:v>31.078273047312887</c:v>
                </c:pt>
                <c:pt idx="9169">
                  <c:v>19.496929302169004</c:v>
                </c:pt>
                <c:pt idx="9170">
                  <c:v>35.242322028269463</c:v>
                </c:pt>
                <c:pt idx="9171">
                  <c:v>27.320794517098179</c:v>
                </c:pt>
                <c:pt idx="9172">
                  <c:v>47.070770188173462</c:v>
                </c:pt>
                <c:pt idx="9173">
                  <c:v>25.462297095954725</c:v>
                </c:pt>
                <c:pt idx="9174">
                  <c:v>31.055622754492006</c:v>
                </c:pt>
                <c:pt idx="9175">
                  <c:v>33.477256045612812</c:v>
                </c:pt>
                <c:pt idx="9176">
                  <c:v>19.161998812070042</c:v>
                </c:pt>
                <c:pt idx="9177">
                  <c:v>19.641556093794286</c:v>
                </c:pt>
                <c:pt idx="9178">
                  <c:v>38.752890969420079</c:v>
                </c:pt>
                <c:pt idx="9179">
                  <c:v>23.191688880294127</c:v>
                </c:pt>
                <c:pt idx="9180">
                  <c:v>21.795227157308439</c:v>
                </c:pt>
                <c:pt idx="9181">
                  <c:v>31.163839100711769</c:v>
                </c:pt>
                <c:pt idx="9182">
                  <c:v>29.251926053860473</c:v>
                </c:pt>
                <c:pt idx="9183">
                  <c:v>52.592808376348493</c:v>
                </c:pt>
                <c:pt idx="9184">
                  <c:v>36.2647924185612</c:v>
                </c:pt>
                <c:pt idx="9185">
                  <c:v>27.779660940700314</c:v>
                </c:pt>
                <c:pt idx="9186">
                  <c:v>22.271506774619731</c:v>
                </c:pt>
                <c:pt idx="9187">
                  <c:v>24.865905678565596</c:v>
                </c:pt>
                <c:pt idx="9188">
                  <c:v>15.659259504175569</c:v>
                </c:pt>
                <c:pt idx="9189">
                  <c:v>19.812836401392467</c:v>
                </c:pt>
                <c:pt idx="9190">
                  <c:v>36.401087287295724</c:v>
                </c:pt>
                <c:pt idx="9191">
                  <c:v>60.07264955409746</c:v>
                </c:pt>
                <c:pt idx="9192">
                  <c:v>25.506042708030765</c:v>
                </c:pt>
                <c:pt idx="9193">
                  <c:v>32.854808064446502</c:v>
                </c:pt>
                <c:pt idx="9194">
                  <c:v>50.823419015287918</c:v>
                </c:pt>
                <c:pt idx="9195">
                  <c:v>28.39364698314473</c:v>
                </c:pt>
                <c:pt idx="9196">
                  <c:v>21.381150189067974</c:v>
                </c:pt>
                <c:pt idx="9197">
                  <c:v>45.989925390766274</c:v>
                </c:pt>
                <c:pt idx="9198">
                  <c:v>14.665665549331941</c:v>
                </c:pt>
                <c:pt idx="9199">
                  <c:v>27.837297056603386</c:v>
                </c:pt>
                <c:pt idx="9200">
                  <c:v>28.962225197655176</c:v>
                </c:pt>
                <c:pt idx="9201">
                  <c:v>27.298044815146781</c:v>
                </c:pt>
                <c:pt idx="9202">
                  <c:v>34.699379123976868</c:v>
                </c:pt>
                <c:pt idx="9203">
                  <c:v>26.847863464922952</c:v>
                </c:pt>
                <c:pt idx="9204">
                  <c:v>20.741919691015742</c:v>
                </c:pt>
                <c:pt idx="9205">
                  <c:v>31.327322980806855</c:v>
                </c:pt>
                <c:pt idx="9206">
                  <c:v>48.930272902370405</c:v>
                </c:pt>
                <c:pt idx="9207">
                  <c:v>21.645868663832918</c:v>
                </c:pt>
                <c:pt idx="9208">
                  <c:v>37.118608485669263</c:v>
                </c:pt>
                <c:pt idx="9209">
                  <c:v>23.778640175627437</c:v>
                </c:pt>
                <c:pt idx="9210">
                  <c:v>33.691649265017411</c:v>
                </c:pt>
                <c:pt idx="9211">
                  <c:v>16.739603990988726</c:v>
                </c:pt>
                <c:pt idx="9212">
                  <c:v>31.823041971604994</c:v>
                </c:pt>
                <c:pt idx="9213">
                  <c:v>34.671311835055484</c:v>
                </c:pt>
                <c:pt idx="9214">
                  <c:v>42.008318008673356</c:v>
                </c:pt>
                <c:pt idx="9215">
                  <c:v>26.650039728512358</c:v>
                </c:pt>
                <c:pt idx="9216">
                  <c:v>34.374956018033188</c:v>
                </c:pt>
                <c:pt idx="9217">
                  <c:v>20.526277018822327</c:v>
                </c:pt>
                <c:pt idx="9218">
                  <c:v>23.78763866984113</c:v>
                </c:pt>
                <c:pt idx="9219">
                  <c:v>25.241696869781403</c:v>
                </c:pt>
                <c:pt idx="9220">
                  <c:v>22.040430338538755</c:v>
                </c:pt>
                <c:pt idx="9221">
                  <c:v>38.095104061205689</c:v>
                </c:pt>
                <c:pt idx="9222">
                  <c:v>25.680677443622482</c:v>
                </c:pt>
                <c:pt idx="9223">
                  <c:v>25.439624540608786</c:v>
                </c:pt>
                <c:pt idx="9224">
                  <c:v>25.450827823485294</c:v>
                </c:pt>
                <c:pt idx="9225">
                  <c:v>28.882833118533696</c:v>
                </c:pt>
                <c:pt idx="9226">
                  <c:v>30.857951288293442</c:v>
                </c:pt>
                <c:pt idx="9227">
                  <c:v>50.917989463283533</c:v>
                </c:pt>
                <c:pt idx="9228">
                  <c:v>26.500828404875914</c:v>
                </c:pt>
                <c:pt idx="9229">
                  <c:v>34.63312191989926</c:v>
                </c:pt>
                <c:pt idx="9230">
                  <c:v>45.418067283139983</c:v>
                </c:pt>
                <c:pt idx="9231">
                  <c:v>21.510707030090664</c:v>
                </c:pt>
                <c:pt idx="9232">
                  <c:v>50.622084282277243</c:v>
                </c:pt>
                <c:pt idx="9233">
                  <c:v>32.128025983820045</c:v>
                </c:pt>
                <c:pt idx="9234">
                  <c:v>42.040267297286135</c:v>
                </c:pt>
                <c:pt idx="9235">
                  <c:v>57.835919267848809</c:v>
                </c:pt>
                <c:pt idx="9236">
                  <c:v>24.004660498730964</c:v>
                </c:pt>
                <c:pt idx="9237">
                  <c:v>47.671692840757153</c:v>
                </c:pt>
                <c:pt idx="9238">
                  <c:v>25.672181477222743</c:v>
                </c:pt>
                <c:pt idx="9239">
                  <c:v>38.456858804787402</c:v>
                </c:pt>
                <c:pt idx="9240">
                  <c:v>34.956878919730947</c:v>
                </c:pt>
                <c:pt idx="9241">
                  <c:v>21.518615188717877</c:v>
                </c:pt>
                <c:pt idx="9242">
                  <c:v>28.032817222341507</c:v>
                </c:pt>
                <c:pt idx="9243">
                  <c:v>36.538614467861223</c:v>
                </c:pt>
                <c:pt idx="9244">
                  <c:v>30.989597485928655</c:v>
                </c:pt>
                <c:pt idx="9245">
                  <c:v>21.94272888407782</c:v>
                </c:pt>
                <c:pt idx="9246">
                  <c:v>30.82958082406563</c:v>
                </c:pt>
                <c:pt idx="9247">
                  <c:v>23.174468619624133</c:v>
                </c:pt>
                <c:pt idx="9248">
                  <c:v>51.556246779321029</c:v>
                </c:pt>
                <c:pt idx="9249">
                  <c:v>26.643402101251802</c:v>
                </c:pt>
                <c:pt idx="9250">
                  <c:v>57.233849437978648</c:v>
                </c:pt>
                <c:pt idx="9251">
                  <c:v>51.757659821025314</c:v>
                </c:pt>
                <c:pt idx="9252">
                  <c:v>29.038982798556084</c:v>
                </c:pt>
                <c:pt idx="9253">
                  <c:v>30.202558714534032</c:v>
                </c:pt>
                <c:pt idx="9254">
                  <c:v>32.635648379112546</c:v>
                </c:pt>
                <c:pt idx="9255">
                  <c:v>34.324591614004603</c:v>
                </c:pt>
                <c:pt idx="9256">
                  <c:v>34.928979544519116</c:v>
                </c:pt>
                <c:pt idx="9257">
                  <c:v>34.140470931100737</c:v>
                </c:pt>
                <c:pt idx="9258">
                  <c:v>47.307776332724579</c:v>
                </c:pt>
                <c:pt idx="9259">
                  <c:v>27.79608128070414</c:v>
                </c:pt>
                <c:pt idx="9260">
                  <c:v>49.678385576414854</c:v>
                </c:pt>
                <c:pt idx="9261">
                  <c:v>32.920961304482333</c:v>
                </c:pt>
                <c:pt idx="9262">
                  <c:v>49.500068770413854</c:v>
                </c:pt>
                <c:pt idx="9263">
                  <c:v>31.80443630368157</c:v>
                </c:pt>
                <c:pt idx="9264">
                  <c:v>53.849318510627683</c:v>
                </c:pt>
                <c:pt idx="9265">
                  <c:v>21.935062327977182</c:v>
                </c:pt>
                <c:pt idx="9266">
                  <c:v>23.77612206757442</c:v>
                </c:pt>
                <c:pt idx="9267">
                  <c:v>40.64678269909929</c:v>
                </c:pt>
                <c:pt idx="9268">
                  <c:v>26.838184095831128</c:v>
                </c:pt>
                <c:pt idx="9269">
                  <c:v>16.602181213088045</c:v>
                </c:pt>
                <c:pt idx="9270">
                  <c:v>50.408581739772117</c:v>
                </c:pt>
                <c:pt idx="9271">
                  <c:v>22.836029479432497</c:v>
                </c:pt>
                <c:pt idx="9272">
                  <c:v>23.293313220718893</c:v>
                </c:pt>
                <c:pt idx="9273">
                  <c:v>25.436920433881937</c:v>
                </c:pt>
                <c:pt idx="9274">
                  <c:v>23.028820440443191</c:v>
                </c:pt>
                <c:pt idx="9275">
                  <c:v>29.406522548834328</c:v>
                </c:pt>
                <c:pt idx="9276">
                  <c:v>50.389262940561885</c:v>
                </c:pt>
                <c:pt idx="9277">
                  <c:v>50.645089149716981</c:v>
                </c:pt>
                <c:pt idx="9278">
                  <c:v>20.424451438537179</c:v>
                </c:pt>
                <c:pt idx="9279">
                  <c:v>31.371533631411658</c:v>
                </c:pt>
                <c:pt idx="9280">
                  <c:v>28.373957119355051</c:v>
                </c:pt>
                <c:pt idx="9281">
                  <c:v>46.478298516201384</c:v>
                </c:pt>
                <c:pt idx="9282">
                  <c:v>28.448529996754687</c:v>
                </c:pt>
                <c:pt idx="9283">
                  <c:v>28.432158515789645</c:v>
                </c:pt>
                <c:pt idx="9284">
                  <c:v>24.330091138194028</c:v>
                </c:pt>
                <c:pt idx="9285">
                  <c:v>17.055141349703923</c:v>
                </c:pt>
                <c:pt idx="9286">
                  <c:v>25.181003819469343</c:v>
                </c:pt>
                <c:pt idx="9287">
                  <c:v>18.6481624089955</c:v>
                </c:pt>
                <c:pt idx="9288">
                  <c:v>47.905799608607452</c:v>
                </c:pt>
                <c:pt idx="9289">
                  <c:v>44.633488059979058</c:v>
                </c:pt>
                <c:pt idx="9290">
                  <c:v>33.661579854466787</c:v>
                </c:pt>
                <c:pt idx="9291">
                  <c:v>27.110819700979622</c:v>
                </c:pt>
                <c:pt idx="9292">
                  <c:v>23.862733718233567</c:v>
                </c:pt>
                <c:pt idx="9293">
                  <c:v>24.362866610871247</c:v>
                </c:pt>
                <c:pt idx="9294">
                  <c:v>28.100244297923528</c:v>
                </c:pt>
                <c:pt idx="9295">
                  <c:v>30.689259739243951</c:v>
                </c:pt>
                <c:pt idx="9296">
                  <c:v>38.160803582299906</c:v>
                </c:pt>
                <c:pt idx="9297">
                  <c:v>25.593761548068287</c:v>
                </c:pt>
                <c:pt idx="9298">
                  <c:v>30.085261025649444</c:v>
                </c:pt>
                <c:pt idx="9299">
                  <c:v>50.848670837335142</c:v>
                </c:pt>
                <c:pt idx="9300">
                  <c:v>25.656827877814571</c:v>
                </c:pt>
                <c:pt idx="9301">
                  <c:v>26.855150923651678</c:v>
                </c:pt>
                <c:pt idx="9302">
                  <c:v>30.41434814267533</c:v>
                </c:pt>
                <c:pt idx="9303">
                  <c:v>38.364845769841729</c:v>
                </c:pt>
                <c:pt idx="9304">
                  <c:v>28.389330124396775</c:v>
                </c:pt>
                <c:pt idx="9305">
                  <c:v>21.962343562503996</c:v>
                </c:pt>
                <c:pt idx="9306">
                  <c:v>48.804061610340526</c:v>
                </c:pt>
                <c:pt idx="9307">
                  <c:v>25.146057439769219</c:v>
                </c:pt>
                <c:pt idx="9308">
                  <c:v>34.265748803168613</c:v>
                </c:pt>
                <c:pt idx="9309">
                  <c:v>42.210204417279584</c:v>
                </c:pt>
                <c:pt idx="9310">
                  <c:v>26.060746871019475</c:v>
                </c:pt>
                <c:pt idx="9311">
                  <c:v>28.175049419897185</c:v>
                </c:pt>
                <c:pt idx="9312">
                  <c:v>24.688721573724081</c:v>
                </c:pt>
                <c:pt idx="9313">
                  <c:v>31.553946368650713</c:v>
                </c:pt>
                <c:pt idx="9314">
                  <c:v>25.963898501720568</c:v>
                </c:pt>
                <c:pt idx="9315">
                  <c:v>35.473377381941184</c:v>
                </c:pt>
                <c:pt idx="9316">
                  <c:v>32.018126350845556</c:v>
                </c:pt>
                <c:pt idx="9317">
                  <c:v>25.217425114745101</c:v>
                </c:pt>
                <c:pt idx="9318">
                  <c:v>25.192053999150922</c:v>
                </c:pt>
                <c:pt idx="9319">
                  <c:v>30.096642725504729</c:v>
                </c:pt>
                <c:pt idx="9320">
                  <c:v>19.929103411510159</c:v>
                </c:pt>
                <c:pt idx="9321">
                  <c:v>53.815569981372661</c:v>
                </c:pt>
                <c:pt idx="9322">
                  <c:v>28.398492267087509</c:v>
                </c:pt>
                <c:pt idx="9323">
                  <c:v>31.440982121721742</c:v>
                </c:pt>
                <c:pt idx="9324">
                  <c:v>27.91211451470312</c:v>
                </c:pt>
                <c:pt idx="9325">
                  <c:v>54.529173942964007</c:v>
                </c:pt>
                <c:pt idx="9326">
                  <c:v>28.09755884130065</c:v>
                </c:pt>
                <c:pt idx="9327">
                  <c:v>59.062538419536352</c:v>
                </c:pt>
                <c:pt idx="9328">
                  <c:v>44.728439751983053</c:v>
                </c:pt>
                <c:pt idx="9329">
                  <c:v>30.261257900100301</c:v>
                </c:pt>
                <c:pt idx="9330">
                  <c:v>23.54337734638921</c:v>
                </c:pt>
                <c:pt idx="9331">
                  <c:v>24.911315411493916</c:v>
                </c:pt>
                <c:pt idx="9332">
                  <c:v>20.773800339544405</c:v>
                </c:pt>
                <c:pt idx="9333">
                  <c:v>41.023902712602528</c:v>
                </c:pt>
                <c:pt idx="9334">
                  <c:v>25.974507249697293</c:v>
                </c:pt>
                <c:pt idx="9335">
                  <c:v>24.605296172944147</c:v>
                </c:pt>
                <c:pt idx="9336">
                  <c:v>33.626775760455992</c:v>
                </c:pt>
                <c:pt idx="9337">
                  <c:v>36.256332327239072</c:v>
                </c:pt>
                <c:pt idx="9338">
                  <c:v>18.352562039034339</c:v>
                </c:pt>
                <c:pt idx="9339">
                  <c:v>39.38455397552633</c:v>
                </c:pt>
                <c:pt idx="9340">
                  <c:v>33.1580682044806</c:v>
                </c:pt>
                <c:pt idx="9341">
                  <c:v>33.592191616207629</c:v>
                </c:pt>
                <c:pt idx="9342">
                  <c:v>29.194013280258442</c:v>
                </c:pt>
                <c:pt idx="9343">
                  <c:v>27.401502403267649</c:v>
                </c:pt>
                <c:pt idx="9344">
                  <c:v>31.142967974912505</c:v>
                </c:pt>
                <c:pt idx="9345">
                  <c:v>46.313941489263819</c:v>
                </c:pt>
                <c:pt idx="9346">
                  <c:v>34.932695509638137</c:v>
                </c:pt>
                <c:pt idx="9347">
                  <c:v>45.494208558750692</c:v>
                </c:pt>
                <c:pt idx="9348">
                  <c:v>23.665493513059985</c:v>
                </c:pt>
                <c:pt idx="9349">
                  <c:v>23.754324725580929</c:v>
                </c:pt>
                <c:pt idx="9350">
                  <c:v>21.602608704009967</c:v>
                </c:pt>
                <c:pt idx="9351">
                  <c:v>30.64318294027975</c:v>
                </c:pt>
                <c:pt idx="9352">
                  <c:v>29.745375354284207</c:v>
                </c:pt>
                <c:pt idx="9353">
                  <c:v>32.658155154699962</c:v>
                </c:pt>
                <c:pt idx="9354">
                  <c:v>16.445713734458604</c:v>
                </c:pt>
                <c:pt idx="9355">
                  <c:v>22.239205528936594</c:v>
                </c:pt>
                <c:pt idx="9356">
                  <c:v>22.2814920186152</c:v>
                </c:pt>
                <c:pt idx="9357">
                  <c:v>24.093927612304686</c:v>
                </c:pt>
                <c:pt idx="9358">
                  <c:v>29.222294966868859</c:v>
                </c:pt>
                <c:pt idx="9359">
                  <c:v>31.686613245599901</c:v>
                </c:pt>
                <c:pt idx="9360">
                  <c:v>44.855963108704842</c:v>
                </c:pt>
                <c:pt idx="9361">
                  <c:v>34.309445401949645</c:v>
                </c:pt>
                <c:pt idx="9362">
                  <c:v>18.602986356530778</c:v>
                </c:pt>
                <c:pt idx="9363">
                  <c:v>29.98252882852109</c:v>
                </c:pt>
                <c:pt idx="9364">
                  <c:v>27.212802144528744</c:v>
                </c:pt>
                <c:pt idx="9365">
                  <c:v>40.676798094056544</c:v>
                </c:pt>
                <c:pt idx="9366">
                  <c:v>22.447041893064252</c:v>
                </c:pt>
                <c:pt idx="9367">
                  <c:v>55.456486878985103</c:v>
                </c:pt>
                <c:pt idx="9368">
                  <c:v>30.681689955940836</c:v>
                </c:pt>
                <c:pt idx="9369">
                  <c:v>33.891351751136348</c:v>
                </c:pt>
                <c:pt idx="9370">
                  <c:v>36.480218909754484</c:v>
                </c:pt>
                <c:pt idx="9371">
                  <c:v>41.610053153921427</c:v>
                </c:pt>
                <c:pt idx="9372">
                  <c:v>30.131756864375799</c:v>
                </c:pt>
                <c:pt idx="9373">
                  <c:v>46.853823704582688</c:v>
                </c:pt>
                <c:pt idx="9374">
                  <c:v>42.703634792294807</c:v>
                </c:pt>
                <c:pt idx="9375">
                  <c:v>21.860556019937427</c:v>
                </c:pt>
                <c:pt idx="9376">
                  <c:v>22.876587787751241</c:v>
                </c:pt>
                <c:pt idx="9377">
                  <c:v>28.571632607854678</c:v>
                </c:pt>
                <c:pt idx="9378">
                  <c:v>30.002701134542839</c:v>
                </c:pt>
                <c:pt idx="9379">
                  <c:v>49.845553678200446</c:v>
                </c:pt>
                <c:pt idx="9380">
                  <c:v>32.89160620450383</c:v>
                </c:pt>
                <c:pt idx="9381">
                  <c:v>36.423766739683288</c:v>
                </c:pt>
                <c:pt idx="9382">
                  <c:v>31.834719558451702</c:v>
                </c:pt>
                <c:pt idx="9383">
                  <c:v>30.470512924710732</c:v>
                </c:pt>
                <c:pt idx="9384">
                  <c:v>36.289667610865628</c:v>
                </c:pt>
                <c:pt idx="9385">
                  <c:v>28.618228399375628</c:v>
                </c:pt>
                <c:pt idx="9386">
                  <c:v>28.787120040409924</c:v>
                </c:pt>
                <c:pt idx="9387">
                  <c:v>58.017773301924684</c:v>
                </c:pt>
                <c:pt idx="9388">
                  <c:v>23.485379162322655</c:v>
                </c:pt>
                <c:pt idx="9389">
                  <c:v>18.389428852188082</c:v>
                </c:pt>
                <c:pt idx="9390">
                  <c:v>26.655622255998765</c:v>
                </c:pt>
                <c:pt idx="9391">
                  <c:v>22.916015500214435</c:v>
                </c:pt>
                <c:pt idx="9392">
                  <c:v>32.323135681706667</c:v>
                </c:pt>
                <c:pt idx="9393">
                  <c:v>31.835004925721535</c:v>
                </c:pt>
                <c:pt idx="9394">
                  <c:v>29.061139630286061</c:v>
                </c:pt>
                <c:pt idx="9395">
                  <c:v>28.238115713816605</c:v>
                </c:pt>
                <c:pt idx="9396">
                  <c:v>45.186265449203013</c:v>
                </c:pt>
                <c:pt idx="9397">
                  <c:v>26.508042743634768</c:v>
                </c:pt>
                <c:pt idx="9398">
                  <c:v>19.770991160957323</c:v>
                </c:pt>
                <c:pt idx="9399">
                  <c:v>27.456001883972394</c:v>
                </c:pt>
                <c:pt idx="9400">
                  <c:v>25.267630759297209</c:v>
                </c:pt>
                <c:pt idx="9401">
                  <c:v>43.001280723654325</c:v>
                </c:pt>
                <c:pt idx="9402">
                  <c:v>25.42490153646629</c:v>
                </c:pt>
                <c:pt idx="9403">
                  <c:v>25.375599047873688</c:v>
                </c:pt>
                <c:pt idx="9404">
                  <c:v>25.307724716112151</c:v>
                </c:pt>
                <c:pt idx="9405">
                  <c:v>29.56282988181016</c:v>
                </c:pt>
                <c:pt idx="9406">
                  <c:v>26.631936893352474</c:v>
                </c:pt>
                <c:pt idx="9407">
                  <c:v>38.829866439233257</c:v>
                </c:pt>
                <c:pt idx="9408">
                  <c:v>24.394439023533323</c:v>
                </c:pt>
                <c:pt idx="9409">
                  <c:v>22.389361095821783</c:v>
                </c:pt>
                <c:pt idx="9410">
                  <c:v>28.609203841220296</c:v>
                </c:pt>
                <c:pt idx="9411">
                  <c:v>39.346537420554405</c:v>
                </c:pt>
                <c:pt idx="9412">
                  <c:v>27.04673455183335</c:v>
                </c:pt>
                <c:pt idx="9413">
                  <c:v>32.309276930189647</c:v>
                </c:pt>
                <c:pt idx="9414">
                  <c:v>48.428817993374061</c:v>
                </c:pt>
                <c:pt idx="9415">
                  <c:v>45.526800512425815</c:v>
                </c:pt>
                <c:pt idx="9416">
                  <c:v>31.61334683013779</c:v>
                </c:pt>
                <c:pt idx="9417">
                  <c:v>29.407054424770941</c:v>
                </c:pt>
                <c:pt idx="9418">
                  <c:v>49.43773331764649</c:v>
                </c:pt>
                <c:pt idx="9419">
                  <c:v>45.790365678693696</c:v>
                </c:pt>
                <c:pt idx="9420">
                  <c:v>38.750114309587246</c:v>
                </c:pt>
                <c:pt idx="9421">
                  <c:v>24.000810477614028</c:v>
                </c:pt>
                <c:pt idx="9422">
                  <c:v>47.057801346459144</c:v>
                </c:pt>
                <c:pt idx="9423">
                  <c:v>30.128698081226638</c:v>
                </c:pt>
                <c:pt idx="9424">
                  <c:v>26.207479868383906</c:v>
                </c:pt>
                <c:pt idx="9425">
                  <c:v>55.283089070399967</c:v>
                </c:pt>
                <c:pt idx="9426">
                  <c:v>32.787044318795168</c:v>
                </c:pt>
                <c:pt idx="9427">
                  <c:v>36.338103403551145</c:v>
                </c:pt>
                <c:pt idx="9428">
                  <c:v>34.610132910469943</c:v>
                </c:pt>
                <c:pt idx="9429">
                  <c:v>17.723411504220834</c:v>
                </c:pt>
                <c:pt idx="9430">
                  <c:v>51.400071365564457</c:v>
                </c:pt>
                <c:pt idx="9431">
                  <c:v>33.477623803793662</c:v>
                </c:pt>
                <c:pt idx="9432">
                  <c:v>43.493956935630628</c:v>
                </c:pt>
                <c:pt idx="9433">
                  <c:v>24.461214657902229</c:v>
                </c:pt>
                <c:pt idx="9434">
                  <c:v>28.513930023826614</c:v>
                </c:pt>
                <c:pt idx="9435">
                  <c:v>49.590229433938106</c:v>
                </c:pt>
                <c:pt idx="9436">
                  <c:v>36.573368592342909</c:v>
                </c:pt>
                <c:pt idx="9437">
                  <c:v>37.216713337148562</c:v>
                </c:pt>
                <c:pt idx="9438">
                  <c:v>38.137289513671227</c:v>
                </c:pt>
                <c:pt idx="9439">
                  <c:v>49.435049596382754</c:v>
                </c:pt>
                <c:pt idx="9440">
                  <c:v>29.881158788989151</c:v>
                </c:pt>
                <c:pt idx="9441">
                  <c:v>37.150578168143433</c:v>
                </c:pt>
                <c:pt idx="9442">
                  <c:v>24.944103239819064</c:v>
                </c:pt>
                <c:pt idx="9443">
                  <c:v>21.913074341111617</c:v>
                </c:pt>
                <c:pt idx="9444">
                  <c:v>25.100621914197955</c:v>
                </c:pt>
                <c:pt idx="9445">
                  <c:v>48.77255653376811</c:v>
                </c:pt>
                <c:pt idx="9446">
                  <c:v>22.011475183441771</c:v>
                </c:pt>
                <c:pt idx="9447">
                  <c:v>36.67204279089686</c:v>
                </c:pt>
                <c:pt idx="9448">
                  <c:v>53.459907083002449</c:v>
                </c:pt>
                <c:pt idx="9449">
                  <c:v>27.623077176725175</c:v>
                </c:pt>
                <c:pt idx="9450">
                  <c:v>28.257466578250437</c:v>
                </c:pt>
                <c:pt idx="9451">
                  <c:v>46.807037530094767</c:v>
                </c:pt>
                <c:pt idx="9452">
                  <c:v>22.736283420777184</c:v>
                </c:pt>
                <c:pt idx="9453">
                  <c:v>29.116851101882034</c:v>
                </c:pt>
                <c:pt idx="9454">
                  <c:v>39.276123846423125</c:v>
                </c:pt>
                <c:pt idx="9455">
                  <c:v>34.450340726411866</c:v>
                </c:pt>
                <c:pt idx="9456">
                  <c:v>31.408821647566558</c:v>
                </c:pt>
                <c:pt idx="9457">
                  <c:v>22.978881247883784</c:v>
                </c:pt>
                <c:pt idx="9458">
                  <c:v>20.162011908226425</c:v>
                </c:pt>
                <c:pt idx="9459">
                  <c:v>19.883292354220416</c:v>
                </c:pt>
                <c:pt idx="9460">
                  <c:v>27.082818199354165</c:v>
                </c:pt>
                <c:pt idx="9461">
                  <c:v>22.084777615868621</c:v>
                </c:pt>
                <c:pt idx="9462">
                  <c:v>46.486793110151332</c:v>
                </c:pt>
                <c:pt idx="9463">
                  <c:v>21.33907384231307</c:v>
                </c:pt>
                <c:pt idx="9464">
                  <c:v>24.690358337395203</c:v>
                </c:pt>
                <c:pt idx="9465">
                  <c:v>25.404982504633992</c:v>
                </c:pt>
                <c:pt idx="9466">
                  <c:v>22.248184594540124</c:v>
                </c:pt>
                <c:pt idx="9467">
                  <c:v>48.220860319814314</c:v>
                </c:pt>
                <c:pt idx="9468">
                  <c:v>29.49477664491593</c:v>
                </c:pt>
                <c:pt idx="9469">
                  <c:v>35.53897344189923</c:v>
                </c:pt>
                <c:pt idx="9470">
                  <c:v>26.728522379352288</c:v>
                </c:pt>
                <c:pt idx="9471">
                  <c:v>25.763982672198331</c:v>
                </c:pt>
                <c:pt idx="9472">
                  <c:v>25.091594895990774</c:v>
                </c:pt>
                <c:pt idx="9473">
                  <c:v>27.079677116346588</c:v>
                </c:pt>
                <c:pt idx="9474">
                  <c:v>45.130332599790826</c:v>
                </c:pt>
                <c:pt idx="9475">
                  <c:v>24.283696855194464</c:v>
                </c:pt>
                <c:pt idx="9476">
                  <c:v>37.250886046334159</c:v>
                </c:pt>
                <c:pt idx="9477">
                  <c:v>28.369613916886426</c:v>
                </c:pt>
                <c:pt idx="9478">
                  <c:v>20.866597390997644</c:v>
                </c:pt>
                <c:pt idx="9479">
                  <c:v>19.822600097503326</c:v>
                </c:pt>
                <c:pt idx="9480">
                  <c:v>21.714750768983034</c:v>
                </c:pt>
                <c:pt idx="9481">
                  <c:v>30.735653960870525</c:v>
                </c:pt>
                <c:pt idx="9482">
                  <c:v>54.232157579051105</c:v>
                </c:pt>
                <c:pt idx="9483">
                  <c:v>27.61477745036138</c:v>
                </c:pt>
                <c:pt idx="9484">
                  <c:v>20.498045826023102</c:v>
                </c:pt>
                <c:pt idx="9485">
                  <c:v>35.185487030577832</c:v>
                </c:pt>
                <c:pt idx="9486">
                  <c:v>36.73468482721767</c:v>
                </c:pt>
                <c:pt idx="9487">
                  <c:v>28.828693579387686</c:v>
                </c:pt>
                <c:pt idx="9488">
                  <c:v>27.951962623962025</c:v>
                </c:pt>
                <c:pt idx="9489">
                  <c:v>22.489101534015024</c:v>
                </c:pt>
                <c:pt idx="9490">
                  <c:v>25.824002778945054</c:v>
                </c:pt>
                <c:pt idx="9491">
                  <c:v>25.479261698583052</c:v>
                </c:pt>
                <c:pt idx="9492">
                  <c:v>24.564266509707593</c:v>
                </c:pt>
                <c:pt idx="9493">
                  <c:v>30.936042682483052</c:v>
                </c:pt>
                <c:pt idx="9494">
                  <c:v>55.254584714241204</c:v>
                </c:pt>
                <c:pt idx="9495">
                  <c:v>25.238950321396842</c:v>
                </c:pt>
                <c:pt idx="9496">
                  <c:v>49.076986800163297</c:v>
                </c:pt>
                <c:pt idx="9497">
                  <c:v>41.641132689580324</c:v>
                </c:pt>
                <c:pt idx="9498">
                  <c:v>58.226845321002543</c:v>
                </c:pt>
                <c:pt idx="9499">
                  <c:v>27.124303207349978</c:v>
                </c:pt>
                <c:pt idx="9500">
                  <c:v>19.273728461888325</c:v>
                </c:pt>
                <c:pt idx="9501">
                  <c:v>20.645161977172556</c:v>
                </c:pt>
                <c:pt idx="9502">
                  <c:v>15.905482343155974</c:v>
                </c:pt>
                <c:pt idx="9503">
                  <c:v>52.847427488325309</c:v>
                </c:pt>
                <c:pt idx="9504">
                  <c:v>36.505977757636323</c:v>
                </c:pt>
                <c:pt idx="9505">
                  <c:v>28.939339180724826</c:v>
                </c:pt>
                <c:pt idx="9506">
                  <c:v>20.79196588075277</c:v>
                </c:pt>
                <c:pt idx="9507">
                  <c:v>42.3347417613952</c:v>
                </c:pt>
                <c:pt idx="9508">
                  <c:v>19.8437127258223</c:v>
                </c:pt>
                <c:pt idx="9509">
                  <c:v>22.950355113716611</c:v>
                </c:pt>
                <c:pt idx="9510">
                  <c:v>23.64005425644395</c:v>
                </c:pt>
                <c:pt idx="9511">
                  <c:v>28.248077153266692</c:v>
                </c:pt>
                <c:pt idx="9512">
                  <c:v>52.150149073843927</c:v>
                </c:pt>
                <c:pt idx="9513">
                  <c:v>53.701434627097264</c:v>
                </c:pt>
                <c:pt idx="9514">
                  <c:v>44.985991443992866</c:v>
                </c:pt>
                <c:pt idx="9515">
                  <c:v>23.117213046482981</c:v>
                </c:pt>
                <c:pt idx="9516">
                  <c:v>29.091183968760731</c:v>
                </c:pt>
                <c:pt idx="9517">
                  <c:v>50.998522150176633</c:v>
                </c:pt>
                <c:pt idx="9518">
                  <c:v>44.203162823936786</c:v>
                </c:pt>
                <c:pt idx="9519">
                  <c:v>48.135119605024634</c:v>
                </c:pt>
                <c:pt idx="9520">
                  <c:v>29.543921295169582</c:v>
                </c:pt>
                <c:pt idx="9521">
                  <c:v>28.30441060985774</c:v>
                </c:pt>
                <c:pt idx="9522">
                  <c:v>25.44780609194294</c:v>
                </c:pt>
                <c:pt idx="9523">
                  <c:v>20.669871777114071</c:v>
                </c:pt>
                <c:pt idx="9524">
                  <c:v>47.861934362279435</c:v>
                </c:pt>
                <c:pt idx="9525">
                  <c:v>36.626171562157069</c:v>
                </c:pt>
                <c:pt idx="9526">
                  <c:v>36.35457602588852</c:v>
                </c:pt>
                <c:pt idx="9527">
                  <c:v>26.284119005600015</c:v>
                </c:pt>
                <c:pt idx="9528">
                  <c:v>41.588593041171357</c:v>
                </c:pt>
                <c:pt idx="9529">
                  <c:v>58.88244655653471</c:v>
                </c:pt>
                <c:pt idx="9530">
                  <c:v>22.324104055639495</c:v>
                </c:pt>
                <c:pt idx="9531">
                  <c:v>37.717396484000389</c:v>
                </c:pt>
                <c:pt idx="9532">
                  <c:v>30.413508081563364</c:v>
                </c:pt>
                <c:pt idx="9533">
                  <c:v>51.55039909266484</c:v>
                </c:pt>
                <c:pt idx="9534">
                  <c:v>51.075393447930878</c:v>
                </c:pt>
                <c:pt idx="9535">
                  <c:v>33.682175078360331</c:v>
                </c:pt>
                <c:pt idx="9536">
                  <c:v>26.986957543484806</c:v>
                </c:pt>
                <c:pt idx="9537">
                  <c:v>36.375570378102879</c:v>
                </c:pt>
                <c:pt idx="9538">
                  <c:v>21.874677779051101</c:v>
                </c:pt>
                <c:pt idx="9539">
                  <c:v>24.554107956645094</c:v>
                </c:pt>
                <c:pt idx="9540">
                  <c:v>16.814311974758624</c:v>
                </c:pt>
                <c:pt idx="9541">
                  <c:v>40.562604063510058</c:v>
                </c:pt>
                <c:pt idx="9542">
                  <c:v>29.699294189209215</c:v>
                </c:pt>
                <c:pt idx="9543">
                  <c:v>28.62039279730061</c:v>
                </c:pt>
                <c:pt idx="9544">
                  <c:v>22.903854154761063</c:v>
                </c:pt>
                <c:pt idx="9545">
                  <c:v>45.946351839150608</c:v>
                </c:pt>
                <c:pt idx="9546">
                  <c:v>33.95436153380291</c:v>
                </c:pt>
                <c:pt idx="9547">
                  <c:v>52.226989689013749</c:v>
                </c:pt>
                <c:pt idx="9548">
                  <c:v>47.800947991298969</c:v>
                </c:pt>
                <c:pt idx="9549">
                  <c:v>26.154794049052015</c:v>
                </c:pt>
                <c:pt idx="9550">
                  <c:v>32.874265305543737</c:v>
                </c:pt>
                <c:pt idx="9551">
                  <c:v>24.494665913986218</c:v>
                </c:pt>
                <c:pt idx="9552">
                  <c:v>21.050941940541421</c:v>
                </c:pt>
                <c:pt idx="9553">
                  <c:v>23.214975972617303</c:v>
                </c:pt>
                <c:pt idx="9554">
                  <c:v>30.822091578960396</c:v>
                </c:pt>
                <c:pt idx="9555">
                  <c:v>24.054617264903733</c:v>
                </c:pt>
                <c:pt idx="9556">
                  <c:v>21.906283812216657</c:v>
                </c:pt>
                <c:pt idx="9557">
                  <c:v>27.919550737756509</c:v>
                </c:pt>
                <c:pt idx="9558">
                  <c:v>32.449328515676129</c:v>
                </c:pt>
                <c:pt idx="9559">
                  <c:v>34.707343356081864</c:v>
                </c:pt>
                <c:pt idx="9560">
                  <c:v>24.657768317350552</c:v>
                </c:pt>
                <c:pt idx="9561">
                  <c:v>50.035957817089965</c:v>
                </c:pt>
                <c:pt idx="9562">
                  <c:v>24.860307764260448</c:v>
                </c:pt>
                <c:pt idx="9563">
                  <c:v>27.474947727624407</c:v>
                </c:pt>
                <c:pt idx="9564">
                  <c:v>22.945387953305573</c:v>
                </c:pt>
                <c:pt idx="9565">
                  <c:v>31.825738412218325</c:v>
                </c:pt>
                <c:pt idx="9566">
                  <c:v>25.345168016414029</c:v>
                </c:pt>
                <c:pt idx="9567">
                  <c:v>30.169549692036124</c:v>
                </c:pt>
                <c:pt idx="9568">
                  <c:v>26.443760168696294</c:v>
                </c:pt>
                <c:pt idx="9569">
                  <c:v>29.073044580049409</c:v>
                </c:pt>
                <c:pt idx="9570">
                  <c:v>57.868264950564132</c:v>
                </c:pt>
                <c:pt idx="9571">
                  <c:v>26.881665189389835</c:v>
                </c:pt>
                <c:pt idx="9572">
                  <c:v>18.314721134807545</c:v>
                </c:pt>
                <c:pt idx="9573">
                  <c:v>26.372877249305819</c:v>
                </c:pt>
                <c:pt idx="9574">
                  <c:v>44.292505774774838</c:v>
                </c:pt>
                <c:pt idx="9575">
                  <c:v>19.254069185340615</c:v>
                </c:pt>
                <c:pt idx="9576">
                  <c:v>30.134999111737393</c:v>
                </c:pt>
                <c:pt idx="9577">
                  <c:v>35.07760497630926</c:v>
                </c:pt>
                <c:pt idx="9578">
                  <c:v>23.501914396995186</c:v>
                </c:pt>
                <c:pt idx="9579">
                  <c:v>36.243283683065918</c:v>
                </c:pt>
                <c:pt idx="9580">
                  <c:v>31.665333396934379</c:v>
                </c:pt>
                <c:pt idx="9581">
                  <c:v>28.138529559298529</c:v>
                </c:pt>
                <c:pt idx="9582">
                  <c:v>49.107530095831294</c:v>
                </c:pt>
                <c:pt idx="9583">
                  <c:v>29.616931404544871</c:v>
                </c:pt>
                <c:pt idx="9584">
                  <c:v>31.326539160395651</c:v>
                </c:pt>
                <c:pt idx="9585">
                  <c:v>29.610663703080125</c:v>
                </c:pt>
                <c:pt idx="9586">
                  <c:v>33.466079735426675</c:v>
                </c:pt>
                <c:pt idx="9587">
                  <c:v>49.281946357292249</c:v>
                </c:pt>
                <c:pt idx="9588">
                  <c:v>51.700636619609483</c:v>
                </c:pt>
                <c:pt idx="9589">
                  <c:v>23.246920139733444</c:v>
                </c:pt>
                <c:pt idx="9590">
                  <c:v>22.07552420452943</c:v>
                </c:pt>
                <c:pt idx="9591">
                  <c:v>26.647987207955477</c:v>
                </c:pt>
                <c:pt idx="9592">
                  <c:v>29.323554064863316</c:v>
                </c:pt>
                <c:pt idx="9593">
                  <c:v>30.360913639339188</c:v>
                </c:pt>
                <c:pt idx="9594">
                  <c:v>24.343713893224734</c:v>
                </c:pt>
                <c:pt idx="9595">
                  <c:v>21.292870189844592</c:v>
                </c:pt>
                <c:pt idx="9596">
                  <c:v>28.645699343243095</c:v>
                </c:pt>
                <c:pt idx="9597">
                  <c:v>31.689138276857605</c:v>
                </c:pt>
                <c:pt idx="9598">
                  <c:v>28.124882922405774</c:v>
                </c:pt>
                <c:pt idx="9599">
                  <c:v>26.642251743613212</c:v>
                </c:pt>
                <c:pt idx="9600">
                  <c:v>42.115888953855375</c:v>
                </c:pt>
                <c:pt idx="9601">
                  <c:v>24.539451153434268</c:v>
                </c:pt>
                <c:pt idx="9602">
                  <c:v>39.694770852875003</c:v>
                </c:pt>
                <c:pt idx="9603">
                  <c:v>26.876940705309128</c:v>
                </c:pt>
                <c:pt idx="9604">
                  <c:v>22.652104321611631</c:v>
                </c:pt>
                <c:pt idx="9605">
                  <c:v>28.050354378519572</c:v>
                </c:pt>
                <c:pt idx="9606">
                  <c:v>26.516975570985267</c:v>
                </c:pt>
                <c:pt idx="9607">
                  <c:v>32.0853418872194</c:v>
                </c:pt>
                <c:pt idx="9608">
                  <c:v>24.008842719300688</c:v>
                </c:pt>
                <c:pt idx="9609">
                  <c:v>25.105819409972433</c:v>
                </c:pt>
                <c:pt idx="9610">
                  <c:v>24.887460282633853</c:v>
                </c:pt>
                <c:pt idx="9611">
                  <c:v>27.840235762893059</c:v>
                </c:pt>
                <c:pt idx="9612">
                  <c:v>27.819425800215036</c:v>
                </c:pt>
                <c:pt idx="9613">
                  <c:v>20.561205143238745</c:v>
                </c:pt>
                <c:pt idx="9614">
                  <c:v>43.229486223588374</c:v>
                </c:pt>
                <c:pt idx="9615">
                  <c:v>23.480952210685253</c:v>
                </c:pt>
                <c:pt idx="9616">
                  <c:v>30.567453991622628</c:v>
                </c:pt>
                <c:pt idx="9617">
                  <c:v>40.134038275529406</c:v>
                </c:pt>
                <c:pt idx="9618">
                  <c:v>21.297362549247953</c:v>
                </c:pt>
                <c:pt idx="9619">
                  <c:v>50.882377109520988</c:v>
                </c:pt>
                <c:pt idx="9620">
                  <c:v>24.590185473799838</c:v>
                </c:pt>
                <c:pt idx="9621">
                  <c:v>28.031440536276069</c:v>
                </c:pt>
                <c:pt idx="9622">
                  <c:v>33.876824127583127</c:v>
                </c:pt>
                <c:pt idx="9623">
                  <c:v>57.754054141517514</c:v>
                </c:pt>
                <c:pt idx="9624">
                  <c:v>24.967663830873878</c:v>
                </c:pt>
                <c:pt idx="9625">
                  <c:v>59.50535376046998</c:v>
                </c:pt>
                <c:pt idx="9626">
                  <c:v>24.610866748291258</c:v>
                </c:pt>
                <c:pt idx="9627">
                  <c:v>26.004565740068543</c:v>
                </c:pt>
                <c:pt idx="9628">
                  <c:v>28.979829681442226</c:v>
                </c:pt>
                <c:pt idx="9629">
                  <c:v>26.061086894541713</c:v>
                </c:pt>
                <c:pt idx="9630">
                  <c:v>47.302378192273153</c:v>
                </c:pt>
                <c:pt idx="9631">
                  <c:v>27.030033822305192</c:v>
                </c:pt>
                <c:pt idx="9632">
                  <c:v>26.998705408304158</c:v>
                </c:pt>
                <c:pt idx="9633">
                  <c:v>22.637864565114985</c:v>
                </c:pt>
                <c:pt idx="9634">
                  <c:v>30.307732718677943</c:v>
                </c:pt>
                <c:pt idx="9635">
                  <c:v>48.747505442216806</c:v>
                </c:pt>
                <c:pt idx="9636">
                  <c:v>25.234112117603971</c:v>
                </c:pt>
                <c:pt idx="9637">
                  <c:v>45.543881702489522</c:v>
                </c:pt>
                <c:pt idx="9638">
                  <c:v>36.21659170419791</c:v>
                </c:pt>
                <c:pt idx="9639">
                  <c:v>25.788161767581883</c:v>
                </c:pt>
                <c:pt idx="9640">
                  <c:v>23.447035699911417</c:v>
                </c:pt>
                <c:pt idx="9641">
                  <c:v>23.280233148864834</c:v>
                </c:pt>
                <c:pt idx="9642">
                  <c:v>25.530385444284192</c:v>
                </c:pt>
                <c:pt idx="9643">
                  <c:v>26.438842151785678</c:v>
                </c:pt>
                <c:pt idx="9644">
                  <c:v>54.245527759811445</c:v>
                </c:pt>
                <c:pt idx="9645">
                  <c:v>45.378097981092836</c:v>
                </c:pt>
                <c:pt idx="9646">
                  <c:v>27.931663487361071</c:v>
                </c:pt>
                <c:pt idx="9647">
                  <c:v>33.896368316952788</c:v>
                </c:pt>
                <c:pt idx="9648">
                  <c:v>30.047786364128889</c:v>
                </c:pt>
                <c:pt idx="9649">
                  <c:v>50.550280194282067</c:v>
                </c:pt>
                <c:pt idx="9650">
                  <c:v>31.184263219888201</c:v>
                </c:pt>
                <c:pt idx="9651">
                  <c:v>20.407687003763357</c:v>
                </c:pt>
                <c:pt idx="9652">
                  <c:v>28.415891620294794</c:v>
                </c:pt>
                <c:pt idx="9653">
                  <c:v>24.134111374720156</c:v>
                </c:pt>
                <c:pt idx="9654">
                  <c:v>23.914476107017993</c:v>
                </c:pt>
                <c:pt idx="9655">
                  <c:v>59.107295840772984</c:v>
                </c:pt>
                <c:pt idx="9656">
                  <c:v>38.499181083909207</c:v>
                </c:pt>
                <c:pt idx="9657">
                  <c:v>32.861481285336602</c:v>
                </c:pt>
                <c:pt idx="9658">
                  <c:v>37.837612969645669</c:v>
                </c:pt>
                <c:pt idx="9659">
                  <c:v>22.716423947548108</c:v>
                </c:pt>
                <c:pt idx="9660">
                  <c:v>25.009843647264091</c:v>
                </c:pt>
                <c:pt idx="9661">
                  <c:v>30.675390118804327</c:v>
                </c:pt>
                <c:pt idx="9662">
                  <c:v>17.177306172509436</c:v>
                </c:pt>
                <c:pt idx="9663">
                  <c:v>37.376726441136832</c:v>
                </c:pt>
                <c:pt idx="9664">
                  <c:v>23.884170758338456</c:v>
                </c:pt>
                <c:pt idx="9665">
                  <c:v>29.800966309000863</c:v>
                </c:pt>
                <c:pt idx="9666">
                  <c:v>34.460413800308785</c:v>
                </c:pt>
                <c:pt idx="9667">
                  <c:v>20.550679793118043</c:v>
                </c:pt>
                <c:pt idx="9668">
                  <c:v>25.933791285870484</c:v>
                </c:pt>
                <c:pt idx="9669">
                  <c:v>32.621155474996357</c:v>
                </c:pt>
                <c:pt idx="9670">
                  <c:v>29.037420173569569</c:v>
                </c:pt>
                <c:pt idx="9671">
                  <c:v>55.498269580058661</c:v>
                </c:pt>
                <c:pt idx="9672">
                  <c:v>37.775875034622167</c:v>
                </c:pt>
                <c:pt idx="9673">
                  <c:v>32.010137674815851</c:v>
                </c:pt>
                <c:pt idx="9674">
                  <c:v>34.400393883658452</c:v>
                </c:pt>
                <c:pt idx="9675">
                  <c:v>32.828877377306561</c:v>
                </c:pt>
                <c:pt idx="9676">
                  <c:v>50.624928357020849</c:v>
                </c:pt>
                <c:pt idx="9677">
                  <c:v>27.599879508082346</c:v>
                </c:pt>
                <c:pt idx="9678">
                  <c:v>26.758039474826518</c:v>
                </c:pt>
                <c:pt idx="9679">
                  <c:v>26.719691553688605</c:v>
                </c:pt>
                <c:pt idx="9680">
                  <c:v>18.484904921055044</c:v>
                </c:pt>
                <c:pt idx="9681">
                  <c:v>16.199703333301155</c:v>
                </c:pt>
                <c:pt idx="9682">
                  <c:v>24.480817307567431</c:v>
                </c:pt>
                <c:pt idx="9683">
                  <c:v>56.988114757742963</c:v>
                </c:pt>
                <c:pt idx="9684">
                  <c:v>30.583718138534877</c:v>
                </c:pt>
                <c:pt idx="9685">
                  <c:v>28.302155620965891</c:v>
                </c:pt>
                <c:pt idx="9686">
                  <c:v>19.625965847615692</c:v>
                </c:pt>
                <c:pt idx="9687">
                  <c:v>56.740224086590167</c:v>
                </c:pt>
                <c:pt idx="9688">
                  <c:v>28.910094290371408</c:v>
                </c:pt>
                <c:pt idx="9689">
                  <c:v>14.710150313316285</c:v>
                </c:pt>
                <c:pt idx="9690">
                  <c:v>39.00000812102649</c:v>
                </c:pt>
                <c:pt idx="9691">
                  <c:v>33.627978003595722</c:v>
                </c:pt>
                <c:pt idx="9692">
                  <c:v>25.88736870563989</c:v>
                </c:pt>
                <c:pt idx="9693">
                  <c:v>28.568218532055475</c:v>
                </c:pt>
                <c:pt idx="9694">
                  <c:v>31.126189538940142</c:v>
                </c:pt>
                <c:pt idx="9695">
                  <c:v>32.258516686517574</c:v>
                </c:pt>
                <c:pt idx="9696">
                  <c:v>26.943458986314734</c:v>
                </c:pt>
                <c:pt idx="9697">
                  <c:v>25.763434951157336</c:v>
                </c:pt>
                <c:pt idx="9698">
                  <c:v>25.519253807009218</c:v>
                </c:pt>
                <c:pt idx="9699">
                  <c:v>31.618327351415431</c:v>
                </c:pt>
                <c:pt idx="9700">
                  <c:v>27.245569824661512</c:v>
                </c:pt>
                <c:pt idx="9701">
                  <c:v>27.319644445966791</c:v>
                </c:pt>
                <c:pt idx="9702">
                  <c:v>50.839420728243745</c:v>
                </c:pt>
                <c:pt idx="9703">
                  <c:v>24.433367765430706</c:v>
                </c:pt>
                <c:pt idx="9704">
                  <c:v>45.55880110269316</c:v>
                </c:pt>
                <c:pt idx="9705">
                  <c:v>56.558468269376093</c:v>
                </c:pt>
                <c:pt idx="9706">
                  <c:v>26.66682767385262</c:v>
                </c:pt>
                <c:pt idx="9707">
                  <c:v>29.667870931613667</c:v>
                </c:pt>
                <c:pt idx="9708">
                  <c:v>22.294925585225002</c:v>
                </c:pt>
                <c:pt idx="9709">
                  <c:v>37.052989930391625</c:v>
                </c:pt>
                <c:pt idx="9710">
                  <c:v>20.265681980136026</c:v>
                </c:pt>
                <c:pt idx="9711">
                  <c:v>45.736316269653884</c:v>
                </c:pt>
                <c:pt idx="9712">
                  <c:v>25.184661402116401</c:v>
                </c:pt>
                <c:pt idx="9713">
                  <c:v>23.448059718062567</c:v>
                </c:pt>
                <c:pt idx="9714">
                  <c:v>32.856974515329085</c:v>
                </c:pt>
                <c:pt idx="9715">
                  <c:v>29.206575020766088</c:v>
                </c:pt>
                <c:pt idx="9716">
                  <c:v>24.379650981834473</c:v>
                </c:pt>
                <c:pt idx="9717">
                  <c:v>36.465506413745814</c:v>
                </c:pt>
                <c:pt idx="9718">
                  <c:v>32.404351539464088</c:v>
                </c:pt>
                <c:pt idx="9719">
                  <c:v>35.455505506115955</c:v>
                </c:pt>
                <c:pt idx="9720">
                  <c:v>60.045462117143003</c:v>
                </c:pt>
                <c:pt idx="9721">
                  <c:v>32.19923254283556</c:v>
                </c:pt>
                <c:pt idx="9722">
                  <c:v>31.23175235587356</c:v>
                </c:pt>
                <c:pt idx="9723">
                  <c:v>30.258813324052266</c:v>
                </c:pt>
                <c:pt idx="9724">
                  <c:v>30.34219057264086</c:v>
                </c:pt>
                <c:pt idx="9725">
                  <c:v>33.579718352019484</c:v>
                </c:pt>
                <c:pt idx="9726">
                  <c:v>19.211171481047856</c:v>
                </c:pt>
                <c:pt idx="9727">
                  <c:v>24.831533437848186</c:v>
                </c:pt>
                <c:pt idx="9728">
                  <c:v>24.125617123130557</c:v>
                </c:pt>
                <c:pt idx="9729">
                  <c:v>27.684746001592352</c:v>
                </c:pt>
                <c:pt idx="9730">
                  <c:v>48.160978119954365</c:v>
                </c:pt>
                <c:pt idx="9731">
                  <c:v>22.322659314165154</c:v>
                </c:pt>
                <c:pt idx="9732">
                  <c:v>20.29026999785841</c:v>
                </c:pt>
                <c:pt idx="9733">
                  <c:v>36.355027428498232</c:v>
                </c:pt>
                <c:pt idx="9734">
                  <c:v>25.633786858745211</c:v>
                </c:pt>
                <c:pt idx="9735">
                  <c:v>37.616930484126271</c:v>
                </c:pt>
                <c:pt idx="9736">
                  <c:v>30.006490293380484</c:v>
                </c:pt>
                <c:pt idx="9737">
                  <c:v>28.426076655012569</c:v>
                </c:pt>
                <c:pt idx="9738">
                  <c:v>33.946827188926491</c:v>
                </c:pt>
                <c:pt idx="9739">
                  <c:v>27.293430369599854</c:v>
                </c:pt>
                <c:pt idx="9740">
                  <c:v>27.192367094429297</c:v>
                </c:pt>
                <c:pt idx="9741">
                  <c:v>31.503470840512406</c:v>
                </c:pt>
                <c:pt idx="9742">
                  <c:v>35.536303913154022</c:v>
                </c:pt>
                <c:pt idx="9743">
                  <c:v>53.57226124955244</c:v>
                </c:pt>
                <c:pt idx="9744">
                  <c:v>24.699735444325288</c:v>
                </c:pt>
                <c:pt idx="9745">
                  <c:v>23.927779499030159</c:v>
                </c:pt>
                <c:pt idx="9746">
                  <c:v>37.786451060798726</c:v>
                </c:pt>
                <c:pt idx="9747">
                  <c:v>27.220917769679303</c:v>
                </c:pt>
                <c:pt idx="9748">
                  <c:v>31.890293666368951</c:v>
                </c:pt>
                <c:pt idx="9749">
                  <c:v>30.5196374191869</c:v>
                </c:pt>
                <c:pt idx="9750">
                  <c:v>35.401120845031045</c:v>
                </c:pt>
                <c:pt idx="9751">
                  <c:v>28.048878651315782</c:v>
                </c:pt>
                <c:pt idx="9752">
                  <c:v>32.280669665200378</c:v>
                </c:pt>
                <c:pt idx="9753">
                  <c:v>26.821199472382535</c:v>
                </c:pt>
                <c:pt idx="9754">
                  <c:v>30.346636393701974</c:v>
                </c:pt>
                <c:pt idx="9755">
                  <c:v>30.773809664578767</c:v>
                </c:pt>
                <c:pt idx="9756">
                  <c:v>23.270921605488915</c:v>
                </c:pt>
                <c:pt idx="9757">
                  <c:v>45.928537848853935</c:v>
                </c:pt>
                <c:pt idx="9758">
                  <c:v>25.770445143097206</c:v>
                </c:pt>
                <c:pt idx="9759">
                  <c:v>52.032870010830059</c:v>
                </c:pt>
                <c:pt idx="9760">
                  <c:v>38.420146761507951</c:v>
                </c:pt>
                <c:pt idx="9761">
                  <c:v>41.668214238944593</c:v>
                </c:pt>
                <c:pt idx="9762">
                  <c:v>49.157420372499942</c:v>
                </c:pt>
                <c:pt idx="9763">
                  <c:v>29.683626937672773</c:v>
                </c:pt>
                <c:pt idx="9764">
                  <c:v>22.206681163904143</c:v>
                </c:pt>
                <c:pt idx="9765">
                  <c:v>42.977409281201062</c:v>
                </c:pt>
                <c:pt idx="9766">
                  <c:v>38.724191074091344</c:v>
                </c:pt>
                <c:pt idx="9767">
                  <c:v>28.964250530866554</c:v>
                </c:pt>
                <c:pt idx="9768">
                  <c:v>31.342996531945595</c:v>
                </c:pt>
                <c:pt idx="9769">
                  <c:v>36.030892773752562</c:v>
                </c:pt>
                <c:pt idx="9770">
                  <c:v>42.62524350970812</c:v>
                </c:pt>
                <c:pt idx="9771">
                  <c:v>55.934766240104643</c:v>
                </c:pt>
                <c:pt idx="9772">
                  <c:v>48.081855159495923</c:v>
                </c:pt>
                <c:pt idx="9773">
                  <c:v>30.601588195094955</c:v>
                </c:pt>
                <c:pt idx="9774">
                  <c:v>23.359547484163297</c:v>
                </c:pt>
                <c:pt idx="9775">
                  <c:v>21.945325725033705</c:v>
                </c:pt>
                <c:pt idx="9776">
                  <c:v>25.403803286827756</c:v>
                </c:pt>
                <c:pt idx="9777">
                  <c:v>56.870524321665386</c:v>
                </c:pt>
                <c:pt idx="9778">
                  <c:v>51.331003136420108</c:v>
                </c:pt>
                <c:pt idx="9779">
                  <c:v>37.413767980862183</c:v>
                </c:pt>
                <c:pt idx="9780">
                  <c:v>44.331386151122743</c:v>
                </c:pt>
                <c:pt idx="9781">
                  <c:v>42.79799094543943</c:v>
                </c:pt>
                <c:pt idx="9782">
                  <c:v>29.708475549153725</c:v>
                </c:pt>
                <c:pt idx="9783">
                  <c:v>28.339019226371764</c:v>
                </c:pt>
                <c:pt idx="9784">
                  <c:v>30.854517548268692</c:v>
                </c:pt>
                <c:pt idx="9785">
                  <c:v>58.163696702424872</c:v>
                </c:pt>
                <c:pt idx="9786">
                  <c:v>22.686366438780372</c:v>
                </c:pt>
                <c:pt idx="9787">
                  <c:v>40.536054239267884</c:v>
                </c:pt>
                <c:pt idx="9788">
                  <c:v>27.327011219382573</c:v>
                </c:pt>
                <c:pt idx="9789">
                  <c:v>52.200680298713507</c:v>
                </c:pt>
                <c:pt idx="9790">
                  <c:v>40.558982375400475</c:v>
                </c:pt>
                <c:pt idx="9791">
                  <c:v>26.762501887961751</c:v>
                </c:pt>
                <c:pt idx="9792">
                  <c:v>18.10692872861506</c:v>
                </c:pt>
                <c:pt idx="9793">
                  <c:v>41.309530686621137</c:v>
                </c:pt>
                <c:pt idx="9794">
                  <c:v>38.783473876401445</c:v>
                </c:pt>
                <c:pt idx="9795">
                  <c:v>22.516239249904032</c:v>
                </c:pt>
                <c:pt idx="9796">
                  <c:v>35.928762662639436</c:v>
                </c:pt>
                <c:pt idx="9797">
                  <c:v>23.526230082505062</c:v>
                </c:pt>
                <c:pt idx="9798">
                  <c:v>29.307160094021594</c:v>
                </c:pt>
                <c:pt idx="9799">
                  <c:v>24.41890128031514</c:v>
                </c:pt>
                <c:pt idx="9800">
                  <c:v>33.523299637017494</c:v>
                </c:pt>
                <c:pt idx="9801">
                  <c:v>27.97225289856916</c:v>
                </c:pt>
                <c:pt idx="9802">
                  <c:v>23.01065954969345</c:v>
                </c:pt>
                <c:pt idx="9803">
                  <c:v>26.072380129632265</c:v>
                </c:pt>
                <c:pt idx="9804">
                  <c:v>51.18376152454568</c:v>
                </c:pt>
                <c:pt idx="9805">
                  <c:v>27.13406402772474</c:v>
                </c:pt>
                <c:pt idx="9806">
                  <c:v>45.445391539336015</c:v>
                </c:pt>
                <c:pt idx="9807">
                  <c:v>57.083705843227357</c:v>
                </c:pt>
                <c:pt idx="9808">
                  <c:v>28.720107336236474</c:v>
                </c:pt>
                <c:pt idx="9809">
                  <c:v>35.572408841519632</c:v>
                </c:pt>
                <c:pt idx="9810">
                  <c:v>23.627755081708088</c:v>
                </c:pt>
                <c:pt idx="9811">
                  <c:v>45.231251783097257</c:v>
                </c:pt>
                <c:pt idx="9812">
                  <c:v>37.863704078492951</c:v>
                </c:pt>
                <c:pt idx="9813">
                  <c:v>28.336399252226681</c:v>
                </c:pt>
                <c:pt idx="9814">
                  <c:v>20.158174031780391</c:v>
                </c:pt>
                <c:pt idx="9815">
                  <c:v>36.838007695259044</c:v>
                </c:pt>
                <c:pt idx="9816">
                  <c:v>29.86607805019559</c:v>
                </c:pt>
                <c:pt idx="9817">
                  <c:v>36.008536050932101</c:v>
                </c:pt>
                <c:pt idx="9818">
                  <c:v>24.843477253329702</c:v>
                </c:pt>
                <c:pt idx="9819">
                  <c:v>33.348016001671589</c:v>
                </c:pt>
                <c:pt idx="9820">
                  <c:v>20.026153969381216</c:v>
                </c:pt>
                <c:pt idx="9821">
                  <c:v>29.349976112704514</c:v>
                </c:pt>
                <c:pt idx="9822">
                  <c:v>23.025425184701817</c:v>
                </c:pt>
                <c:pt idx="9823">
                  <c:v>25.577457554554876</c:v>
                </c:pt>
                <c:pt idx="9824">
                  <c:v>24.045494072484754</c:v>
                </c:pt>
                <c:pt idx="9825">
                  <c:v>22.912442849321781</c:v>
                </c:pt>
                <c:pt idx="9826">
                  <c:v>32.65940057095743</c:v>
                </c:pt>
                <c:pt idx="9827">
                  <c:v>26.596669099369031</c:v>
                </c:pt>
                <c:pt idx="9828">
                  <c:v>36.307643972904373</c:v>
                </c:pt>
                <c:pt idx="9829">
                  <c:v>20.313222798734063</c:v>
                </c:pt>
                <c:pt idx="9830">
                  <c:v>27.857065590103872</c:v>
                </c:pt>
                <c:pt idx="9831">
                  <c:v>61.285664232229003</c:v>
                </c:pt>
                <c:pt idx="9832">
                  <c:v>53.162950149438842</c:v>
                </c:pt>
                <c:pt idx="9833">
                  <c:v>55.502737334782253</c:v>
                </c:pt>
                <c:pt idx="9834">
                  <c:v>24.89289981108012</c:v>
                </c:pt>
                <c:pt idx="9835">
                  <c:v>28.869456026328528</c:v>
                </c:pt>
                <c:pt idx="9836">
                  <c:v>24.670801357221045</c:v>
                </c:pt>
                <c:pt idx="9837">
                  <c:v>25.313563136393959</c:v>
                </c:pt>
                <c:pt idx="9838">
                  <c:v>36.414556981440718</c:v>
                </c:pt>
                <c:pt idx="9839">
                  <c:v>27.921878982216001</c:v>
                </c:pt>
                <c:pt idx="9840">
                  <c:v>28.154680767340622</c:v>
                </c:pt>
                <c:pt idx="9841">
                  <c:v>25.67884117159085</c:v>
                </c:pt>
                <c:pt idx="9842">
                  <c:v>46.413292687337382</c:v>
                </c:pt>
                <c:pt idx="9843">
                  <c:v>26.408964974142904</c:v>
                </c:pt>
                <c:pt idx="9844">
                  <c:v>26.080258644515197</c:v>
                </c:pt>
                <c:pt idx="9845">
                  <c:v>51.554963146735318</c:v>
                </c:pt>
                <c:pt idx="9846">
                  <c:v>18.167079472174748</c:v>
                </c:pt>
                <c:pt idx="9847">
                  <c:v>45.311875584504435</c:v>
                </c:pt>
                <c:pt idx="9848">
                  <c:v>26.430809226395667</c:v>
                </c:pt>
                <c:pt idx="9849">
                  <c:v>18.477048264732666</c:v>
                </c:pt>
                <c:pt idx="9850">
                  <c:v>45.120366470194391</c:v>
                </c:pt>
                <c:pt idx="9851">
                  <c:v>29.320582464779395</c:v>
                </c:pt>
                <c:pt idx="9852">
                  <c:v>19.767975208596599</c:v>
                </c:pt>
                <c:pt idx="9853">
                  <c:v>31.150647187417547</c:v>
                </c:pt>
                <c:pt idx="9854">
                  <c:v>61.076759126882664</c:v>
                </c:pt>
                <c:pt idx="9855">
                  <c:v>19.742558838732492</c:v>
                </c:pt>
                <c:pt idx="9856">
                  <c:v>19.411566507038792</c:v>
                </c:pt>
                <c:pt idx="9857">
                  <c:v>31.958726670582713</c:v>
                </c:pt>
                <c:pt idx="9858">
                  <c:v>31.533215227152084</c:v>
                </c:pt>
                <c:pt idx="9859">
                  <c:v>29.75368650092615</c:v>
                </c:pt>
                <c:pt idx="9860">
                  <c:v>27.356826366445748</c:v>
                </c:pt>
                <c:pt idx="9861">
                  <c:v>38.564983994537599</c:v>
                </c:pt>
                <c:pt idx="9862">
                  <c:v>28.739268227822414</c:v>
                </c:pt>
                <c:pt idx="9863">
                  <c:v>18.550871293296364</c:v>
                </c:pt>
                <c:pt idx="9864">
                  <c:v>25.286325495879815</c:v>
                </c:pt>
                <c:pt idx="9865">
                  <c:v>35.305966268137993</c:v>
                </c:pt>
                <c:pt idx="9866">
                  <c:v>27.863537580114336</c:v>
                </c:pt>
                <c:pt idx="9867">
                  <c:v>27.429152773982967</c:v>
                </c:pt>
                <c:pt idx="9868">
                  <c:v>29.619761472115133</c:v>
                </c:pt>
                <c:pt idx="9869">
                  <c:v>47.583156232709939</c:v>
                </c:pt>
                <c:pt idx="9870">
                  <c:v>27.312880402313759</c:v>
                </c:pt>
                <c:pt idx="9871">
                  <c:v>29.645173108881643</c:v>
                </c:pt>
                <c:pt idx="9872">
                  <c:v>38.103265856297377</c:v>
                </c:pt>
                <c:pt idx="9873">
                  <c:v>21.639188604793851</c:v>
                </c:pt>
                <c:pt idx="9874">
                  <c:v>40.760445199754464</c:v>
                </c:pt>
                <c:pt idx="9875">
                  <c:v>48.101457647403656</c:v>
                </c:pt>
                <c:pt idx="9876">
                  <c:v>34.078678503830702</c:v>
                </c:pt>
                <c:pt idx="9877">
                  <c:v>16.929229301097724</c:v>
                </c:pt>
                <c:pt idx="9878">
                  <c:v>49.69923088232774</c:v>
                </c:pt>
                <c:pt idx="9879">
                  <c:v>26.629197197083471</c:v>
                </c:pt>
                <c:pt idx="9880">
                  <c:v>50.76281396814305</c:v>
                </c:pt>
                <c:pt idx="9881">
                  <c:v>33.280463122133227</c:v>
                </c:pt>
                <c:pt idx="9882">
                  <c:v>25.137202510155511</c:v>
                </c:pt>
                <c:pt idx="9883">
                  <c:v>26.919063456015614</c:v>
                </c:pt>
                <c:pt idx="9884">
                  <c:v>44.422915937659631</c:v>
                </c:pt>
                <c:pt idx="9885">
                  <c:v>25.246846238930154</c:v>
                </c:pt>
                <c:pt idx="9886">
                  <c:v>31.68409888200852</c:v>
                </c:pt>
                <c:pt idx="9887">
                  <c:v>25.485605552000507</c:v>
                </c:pt>
                <c:pt idx="9888">
                  <c:v>42.022077137340872</c:v>
                </c:pt>
                <c:pt idx="9889">
                  <c:v>37.093427007754855</c:v>
                </c:pt>
                <c:pt idx="9890">
                  <c:v>22.146928742007084</c:v>
                </c:pt>
                <c:pt idx="9891">
                  <c:v>22.299011527242541</c:v>
                </c:pt>
                <c:pt idx="9892">
                  <c:v>28.820885846207545</c:v>
                </c:pt>
                <c:pt idx="9893">
                  <c:v>37.487762356251132</c:v>
                </c:pt>
                <c:pt idx="9894">
                  <c:v>30.831566711440587</c:v>
                </c:pt>
                <c:pt idx="9895">
                  <c:v>35.958059235246218</c:v>
                </c:pt>
                <c:pt idx="9896">
                  <c:v>29.047945989481807</c:v>
                </c:pt>
                <c:pt idx="9897">
                  <c:v>29.003980606167495</c:v>
                </c:pt>
                <c:pt idx="9898">
                  <c:v>25.065378194086293</c:v>
                </c:pt>
                <c:pt idx="9899">
                  <c:v>37.399245382615263</c:v>
                </c:pt>
                <c:pt idx="9900">
                  <c:v>28.393589509727747</c:v>
                </c:pt>
                <c:pt idx="9901">
                  <c:v>25.911155775889696</c:v>
                </c:pt>
                <c:pt idx="9902">
                  <c:v>28.027247586539765</c:v>
                </c:pt>
                <c:pt idx="9903">
                  <c:v>39.353772942751306</c:v>
                </c:pt>
                <c:pt idx="9904">
                  <c:v>31.69021148370183</c:v>
                </c:pt>
                <c:pt idx="9905">
                  <c:v>21.347552087133334</c:v>
                </c:pt>
                <c:pt idx="9906">
                  <c:v>41.583235627952945</c:v>
                </c:pt>
                <c:pt idx="9907">
                  <c:v>45.053412142165513</c:v>
                </c:pt>
                <c:pt idx="9908">
                  <c:v>23.12946304696861</c:v>
                </c:pt>
                <c:pt idx="9909">
                  <c:v>29.536075796134529</c:v>
                </c:pt>
                <c:pt idx="9910">
                  <c:v>30.676360712385151</c:v>
                </c:pt>
                <c:pt idx="9911">
                  <c:v>22.613026415633541</c:v>
                </c:pt>
                <c:pt idx="9912">
                  <c:v>28.662904483273316</c:v>
                </c:pt>
                <c:pt idx="9913">
                  <c:v>44.12257479141212</c:v>
                </c:pt>
                <c:pt idx="9914">
                  <c:v>22.931970079397246</c:v>
                </c:pt>
                <c:pt idx="9915">
                  <c:v>20.508414503703804</c:v>
                </c:pt>
                <c:pt idx="9916">
                  <c:v>24.838398511221317</c:v>
                </c:pt>
                <c:pt idx="9917">
                  <c:v>22.705242437169879</c:v>
                </c:pt>
                <c:pt idx="9918">
                  <c:v>24.261050889865697</c:v>
                </c:pt>
                <c:pt idx="9919">
                  <c:v>16.693383506715058</c:v>
                </c:pt>
                <c:pt idx="9920">
                  <c:v>28.170270620474646</c:v>
                </c:pt>
                <c:pt idx="9921">
                  <c:v>25.053899686862138</c:v>
                </c:pt>
                <c:pt idx="9922">
                  <c:v>27.038812575059744</c:v>
                </c:pt>
                <c:pt idx="9923">
                  <c:v>23.30413634349312</c:v>
                </c:pt>
                <c:pt idx="9924">
                  <c:v>27.234380931404541</c:v>
                </c:pt>
                <c:pt idx="9925">
                  <c:v>31.99546172336062</c:v>
                </c:pt>
                <c:pt idx="9926">
                  <c:v>24.713914864541042</c:v>
                </c:pt>
                <c:pt idx="9927">
                  <c:v>34.800688232200123</c:v>
                </c:pt>
                <c:pt idx="9928">
                  <c:v>47.01632908879904</c:v>
                </c:pt>
                <c:pt idx="9929">
                  <c:v>32.804096083247728</c:v>
                </c:pt>
                <c:pt idx="9930">
                  <c:v>26.654997085291487</c:v>
                </c:pt>
                <c:pt idx="9931">
                  <c:v>45.222503861991285</c:v>
                </c:pt>
                <c:pt idx="9932">
                  <c:v>33.898178237697934</c:v>
                </c:pt>
                <c:pt idx="9933">
                  <c:v>21.726916942642291</c:v>
                </c:pt>
                <c:pt idx="9934">
                  <c:v>39.562767010484642</c:v>
                </c:pt>
                <c:pt idx="9935">
                  <c:v>62.918356928670299</c:v>
                </c:pt>
                <c:pt idx="9936">
                  <c:v>42.410320314171109</c:v>
                </c:pt>
                <c:pt idx="9937">
                  <c:v>34.877407255270839</c:v>
                </c:pt>
                <c:pt idx="9938">
                  <c:v>26.17889186021057</c:v>
                </c:pt>
                <c:pt idx="9939">
                  <c:v>41.562726804968307</c:v>
                </c:pt>
                <c:pt idx="9940">
                  <c:v>25.890563889618548</c:v>
                </c:pt>
                <c:pt idx="9941">
                  <c:v>24.81751397579734</c:v>
                </c:pt>
                <c:pt idx="9942">
                  <c:v>38.102589835104688</c:v>
                </c:pt>
                <c:pt idx="9943">
                  <c:v>25.961178063536455</c:v>
                </c:pt>
                <c:pt idx="9944">
                  <c:v>30.085069778060948</c:v>
                </c:pt>
                <c:pt idx="9945">
                  <c:v>25.349223036320438</c:v>
                </c:pt>
                <c:pt idx="9946">
                  <c:v>34.691068336069577</c:v>
                </c:pt>
                <c:pt idx="9947">
                  <c:v>52.809341056928503</c:v>
                </c:pt>
                <c:pt idx="9948">
                  <c:v>24.108198664660094</c:v>
                </c:pt>
                <c:pt idx="9949">
                  <c:v>24.508781971340444</c:v>
                </c:pt>
                <c:pt idx="9950">
                  <c:v>37.315778104701863</c:v>
                </c:pt>
                <c:pt idx="9951">
                  <c:v>29.750746667663442</c:v>
                </c:pt>
                <c:pt idx="9952">
                  <c:v>30.984167122496885</c:v>
                </c:pt>
                <c:pt idx="9953">
                  <c:v>48.054287975410865</c:v>
                </c:pt>
                <c:pt idx="9954">
                  <c:v>28.083983689036234</c:v>
                </c:pt>
                <c:pt idx="9955">
                  <c:v>21.160890892466409</c:v>
                </c:pt>
                <c:pt idx="9956">
                  <c:v>22.632064725015205</c:v>
                </c:pt>
                <c:pt idx="9957">
                  <c:v>29.860897428875877</c:v>
                </c:pt>
                <c:pt idx="9958">
                  <c:v>36.555522410183428</c:v>
                </c:pt>
                <c:pt idx="9959">
                  <c:v>28.129199776767312</c:v>
                </c:pt>
                <c:pt idx="9960">
                  <c:v>24.21548790703967</c:v>
                </c:pt>
                <c:pt idx="9961">
                  <c:v>32.437645319966251</c:v>
                </c:pt>
                <c:pt idx="9962">
                  <c:v>27.26637973582341</c:v>
                </c:pt>
                <c:pt idx="9963">
                  <c:v>22.88769205344807</c:v>
                </c:pt>
                <c:pt idx="9964">
                  <c:v>33.629252550359467</c:v>
                </c:pt>
                <c:pt idx="9965">
                  <c:v>35.13292750516208</c:v>
                </c:pt>
                <c:pt idx="9966">
                  <c:v>51.834745442265501</c:v>
                </c:pt>
                <c:pt idx="9967">
                  <c:v>35.727042961481096</c:v>
                </c:pt>
                <c:pt idx="9968">
                  <c:v>24.965272930254777</c:v>
                </c:pt>
                <c:pt idx="9969">
                  <c:v>45.95533790223687</c:v>
                </c:pt>
                <c:pt idx="9970">
                  <c:v>41.915370915613202</c:v>
                </c:pt>
                <c:pt idx="9971">
                  <c:v>21.673025553948772</c:v>
                </c:pt>
                <c:pt idx="9972">
                  <c:v>44.893430431920251</c:v>
                </c:pt>
                <c:pt idx="9973">
                  <c:v>39.980650219138333</c:v>
                </c:pt>
                <c:pt idx="9974">
                  <c:v>23.748176089634388</c:v>
                </c:pt>
                <c:pt idx="9975">
                  <c:v>30.196502596773794</c:v>
                </c:pt>
                <c:pt idx="9976">
                  <c:v>36.601774135241953</c:v>
                </c:pt>
                <c:pt idx="9977">
                  <c:v>33.386363872581484</c:v>
                </c:pt>
                <c:pt idx="9978">
                  <c:v>27.911263462203216</c:v>
                </c:pt>
                <c:pt idx="9979">
                  <c:v>23.175844317849645</c:v>
                </c:pt>
                <c:pt idx="9980">
                  <c:v>52.296398652866216</c:v>
                </c:pt>
                <c:pt idx="9981">
                  <c:v>21.858123420273998</c:v>
                </c:pt>
                <c:pt idx="9982">
                  <c:v>30.880898106714636</c:v>
                </c:pt>
                <c:pt idx="9983">
                  <c:v>29.491750847855123</c:v>
                </c:pt>
                <c:pt idx="9984">
                  <c:v>25.558828866807136</c:v>
                </c:pt>
                <c:pt idx="9985">
                  <c:v>52.768806675748813</c:v>
                </c:pt>
                <c:pt idx="9986">
                  <c:v>27.451321098512004</c:v>
                </c:pt>
                <c:pt idx="9987">
                  <c:v>27.887592866123391</c:v>
                </c:pt>
                <c:pt idx="9988">
                  <c:v>18.797705379189097</c:v>
                </c:pt>
                <c:pt idx="9989">
                  <c:v>47.522133596308123</c:v>
                </c:pt>
                <c:pt idx="9990">
                  <c:v>20.890098608323225</c:v>
                </c:pt>
                <c:pt idx="9991">
                  <c:v>32.44288950908652</c:v>
                </c:pt>
                <c:pt idx="9992">
                  <c:v>32.155823874006856</c:v>
                </c:pt>
                <c:pt idx="9993">
                  <c:v>28.672852780471707</c:v>
                </c:pt>
                <c:pt idx="9994">
                  <c:v>52.553403998512962</c:v>
                </c:pt>
                <c:pt idx="9995">
                  <c:v>24.182502865316785</c:v>
                </c:pt>
                <c:pt idx="9996">
                  <c:v>22.455845088690975</c:v>
                </c:pt>
                <c:pt idx="9997">
                  <c:v>45.267997729959909</c:v>
                </c:pt>
                <c:pt idx="9998">
                  <c:v>53.806592677497505</c:v>
                </c:pt>
                <c:pt idx="9999">
                  <c:v>25.145884403958092</c:v>
                </c:pt>
                <c:pt idx="10000">
                  <c:v>19.419239020534039</c:v>
                </c:pt>
                <c:pt idx="10001">
                  <c:v>33.626415643532454</c:v>
                </c:pt>
                <c:pt idx="10002">
                  <c:v>29.839369963677328</c:v>
                </c:pt>
                <c:pt idx="10003">
                  <c:v>28.000209508043326</c:v>
                </c:pt>
                <c:pt idx="10004">
                  <c:v>22.264952104116006</c:v>
                </c:pt>
                <c:pt idx="10005">
                  <c:v>31.732371136033237</c:v>
                </c:pt>
                <c:pt idx="10006">
                  <c:v>35.556306921657892</c:v>
                </c:pt>
                <c:pt idx="10007">
                  <c:v>25.322883644090417</c:v>
                </c:pt>
                <c:pt idx="10008">
                  <c:v>54.464250670001967</c:v>
                </c:pt>
                <c:pt idx="10009">
                  <c:v>21.846718003730889</c:v>
                </c:pt>
                <c:pt idx="10010">
                  <c:v>24.070409124218486</c:v>
                </c:pt>
                <c:pt idx="10011">
                  <c:v>53.325771599843364</c:v>
                </c:pt>
                <c:pt idx="10012">
                  <c:v>44.377160866939199</c:v>
                </c:pt>
                <c:pt idx="10013">
                  <c:v>40.495260942953514</c:v>
                </c:pt>
                <c:pt idx="10014">
                  <c:v>28.764445749035467</c:v>
                </c:pt>
                <c:pt idx="10015">
                  <c:v>24.219951886650421</c:v>
                </c:pt>
                <c:pt idx="10016">
                  <c:v>24.05559408376822</c:v>
                </c:pt>
                <c:pt idx="10017">
                  <c:v>27.593372602313309</c:v>
                </c:pt>
                <c:pt idx="10018">
                  <c:v>25.832687860895753</c:v>
                </c:pt>
                <c:pt idx="10019">
                  <c:v>21.483678517937868</c:v>
                </c:pt>
                <c:pt idx="10020">
                  <c:v>26.310230746869209</c:v>
                </c:pt>
                <c:pt idx="10021">
                  <c:v>52.160415688537597</c:v>
                </c:pt>
                <c:pt idx="10022">
                  <c:v>28.646051455676197</c:v>
                </c:pt>
                <c:pt idx="10023">
                  <c:v>43.700456315421043</c:v>
                </c:pt>
                <c:pt idx="10024">
                  <c:v>26.312656624773339</c:v>
                </c:pt>
                <c:pt idx="10025">
                  <c:v>25.802219551626173</c:v>
                </c:pt>
                <c:pt idx="10026">
                  <c:v>34.416607818876095</c:v>
                </c:pt>
                <c:pt idx="10027">
                  <c:v>25.285398972203737</c:v>
                </c:pt>
                <c:pt idx="10028">
                  <c:v>29.560124548207327</c:v>
                </c:pt>
                <c:pt idx="10029">
                  <c:v>22.499963999350868</c:v>
                </c:pt>
                <c:pt idx="10030">
                  <c:v>18.437089914523359</c:v>
                </c:pt>
                <c:pt idx="10031">
                  <c:v>29.376693790352974</c:v>
                </c:pt>
                <c:pt idx="10032">
                  <c:v>32.037489919434236</c:v>
                </c:pt>
                <c:pt idx="10033">
                  <c:v>27.597550122766318</c:v>
                </c:pt>
                <c:pt idx="10034">
                  <c:v>40.685973792982878</c:v>
                </c:pt>
                <c:pt idx="10035">
                  <c:v>49.519329599458771</c:v>
                </c:pt>
                <c:pt idx="10036">
                  <c:v>25.834269849424903</c:v>
                </c:pt>
                <c:pt idx="10037">
                  <c:v>58.810303983897541</c:v>
                </c:pt>
                <c:pt idx="10038">
                  <c:v>32.340196025449771</c:v>
                </c:pt>
                <c:pt idx="10039">
                  <c:v>42.195171494571795</c:v>
                </c:pt>
                <c:pt idx="10040">
                  <c:v>24.2416791278402</c:v>
                </c:pt>
                <c:pt idx="10041">
                  <c:v>36.184387014336728</c:v>
                </c:pt>
                <c:pt idx="10042">
                  <c:v>20.805177501338324</c:v>
                </c:pt>
                <c:pt idx="10043">
                  <c:v>41.984610569127369</c:v>
                </c:pt>
                <c:pt idx="10044">
                  <c:v>28.753113293109489</c:v>
                </c:pt>
                <c:pt idx="10045">
                  <c:v>26.1353717201217</c:v>
                </c:pt>
                <c:pt idx="10046">
                  <c:v>22.034427690336273</c:v>
                </c:pt>
                <c:pt idx="10047">
                  <c:v>18.445780796336969</c:v>
                </c:pt>
                <c:pt idx="10048">
                  <c:v>45.05141573110955</c:v>
                </c:pt>
                <c:pt idx="10049">
                  <c:v>29.397567394141401</c:v>
                </c:pt>
                <c:pt idx="10050">
                  <c:v>31.485017994173997</c:v>
                </c:pt>
                <c:pt idx="10051">
                  <c:v>20.990947698860282</c:v>
                </c:pt>
                <c:pt idx="10052">
                  <c:v>48.777585303884621</c:v>
                </c:pt>
                <c:pt idx="10053">
                  <c:v>44.056826472190842</c:v>
                </c:pt>
                <c:pt idx="10054">
                  <c:v>35.575037704293976</c:v>
                </c:pt>
                <c:pt idx="10055">
                  <c:v>16.493557936726646</c:v>
                </c:pt>
                <c:pt idx="10056">
                  <c:v>30.639102701018221</c:v>
                </c:pt>
                <c:pt idx="10057">
                  <c:v>22.376129847442598</c:v>
                </c:pt>
                <c:pt idx="10058">
                  <c:v>25.465798616768595</c:v>
                </c:pt>
                <c:pt idx="10059">
                  <c:v>48.734338640202509</c:v>
                </c:pt>
                <c:pt idx="10060">
                  <c:v>25.566685028783585</c:v>
                </c:pt>
                <c:pt idx="10061">
                  <c:v>46.875325435023569</c:v>
                </c:pt>
                <c:pt idx="10062">
                  <c:v>37.877273740417976</c:v>
                </c:pt>
                <c:pt idx="10063">
                  <c:v>21.292520378644046</c:v>
                </c:pt>
                <c:pt idx="10064">
                  <c:v>37.075749029242829</c:v>
                </c:pt>
                <c:pt idx="10065">
                  <c:v>50.72467936708091</c:v>
                </c:pt>
                <c:pt idx="10066">
                  <c:v>56.44404920168477</c:v>
                </c:pt>
                <c:pt idx="10067">
                  <c:v>31.628797798257274</c:v>
                </c:pt>
                <c:pt idx="10068">
                  <c:v>56.915866303963938</c:v>
                </c:pt>
                <c:pt idx="10069">
                  <c:v>36.788122045338</c:v>
                </c:pt>
                <c:pt idx="10070">
                  <c:v>59.420009773547775</c:v>
                </c:pt>
                <c:pt idx="10071">
                  <c:v>35.76828367323796</c:v>
                </c:pt>
                <c:pt idx="10072">
                  <c:v>41.633171795818583</c:v>
                </c:pt>
                <c:pt idx="10073">
                  <c:v>34.03710135080658</c:v>
                </c:pt>
                <c:pt idx="10074">
                  <c:v>39.947160505375798</c:v>
                </c:pt>
                <c:pt idx="10075">
                  <c:v>21.488750820087439</c:v>
                </c:pt>
                <c:pt idx="10076">
                  <c:v>27.079451392184623</c:v>
                </c:pt>
                <c:pt idx="10077">
                  <c:v>27.854822676936415</c:v>
                </c:pt>
                <c:pt idx="10078">
                  <c:v>57.475436219049456</c:v>
                </c:pt>
                <c:pt idx="10079">
                  <c:v>58.252553785842856</c:v>
                </c:pt>
                <c:pt idx="10080">
                  <c:v>26.15529472331249</c:v>
                </c:pt>
                <c:pt idx="10081">
                  <c:v>58.141438122459093</c:v>
                </c:pt>
                <c:pt idx="10082">
                  <c:v>48.530681337329668</c:v>
                </c:pt>
                <c:pt idx="10083">
                  <c:v>35.608301386283259</c:v>
                </c:pt>
                <c:pt idx="10084">
                  <c:v>25.62147784415108</c:v>
                </c:pt>
                <c:pt idx="10085">
                  <c:v>22.139713890695749</c:v>
                </c:pt>
                <c:pt idx="10086">
                  <c:v>25.80484502126469</c:v>
                </c:pt>
                <c:pt idx="10087">
                  <c:v>19.187552644358771</c:v>
                </c:pt>
                <c:pt idx="10088">
                  <c:v>28.524785087163657</c:v>
                </c:pt>
                <c:pt idx="10089">
                  <c:v>25.046968555457003</c:v>
                </c:pt>
                <c:pt idx="10090">
                  <c:v>34.983676510502931</c:v>
                </c:pt>
                <c:pt idx="10091">
                  <c:v>34.73654297106809</c:v>
                </c:pt>
                <c:pt idx="10092">
                  <c:v>23.982615180546507</c:v>
                </c:pt>
                <c:pt idx="10093">
                  <c:v>25.507933869254479</c:v>
                </c:pt>
                <c:pt idx="10094">
                  <c:v>24.148626925192932</c:v>
                </c:pt>
                <c:pt idx="10095">
                  <c:v>28.990807194079359</c:v>
                </c:pt>
                <c:pt idx="10096">
                  <c:v>34.1015982639843</c:v>
                </c:pt>
                <c:pt idx="10097">
                  <c:v>26.188585167322273</c:v>
                </c:pt>
                <c:pt idx="10098">
                  <c:v>25.87074709808417</c:v>
                </c:pt>
                <c:pt idx="10099">
                  <c:v>28.821514016638062</c:v>
                </c:pt>
                <c:pt idx="10100">
                  <c:v>43.55673410372178</c:v>
                </c:pt>
                <c:pt idx="10101">
                  <c:v>42.330746782447179</c:v>
                </c:pt>
                <c:pt idx="10102">
                  <c:v>25.297762691579766</c:v>
                </c:pt>
                <c:pt idx="10103">
                  <c:v>31.513656880884398</c:v>
                </c:pt>
                <c:pt idx="10104">
                  <c:v>24.173475744206904</c:v>
                </c:pt>
                <c:pt idx="10105">
                  <c:v>27.658378712219545</c:v>
                </c:pt>
                <c:pt idx="10106">
                  <c:v>34.559270329665722</c:v>
                </c:pt>
                <c:pt idx="10107">
                  <c:v>40.84869218354828</c:v>
                </c:pt>
                <c:pt idx="10108">
                  <c:v>27.2241221250029</c:v>
                </c:pt>
                <c:pt idx="10109">
                  <c:v>22.918165459986437</c:v>
                </c:pt>
                <c:pt idx="10110">
                  <c:v>23.118998450611606</c:v>
                </c:pt>
                <c:pt idx="10111">
                  <c:v>31.791327544454507</c:v>
                </c:pt>
                <c:pt idx="10112">
                  <c:v>25.201600455328997</c:v>
                </c:pt>
                <c:pt idx="10113">
                  <c:v>33.516985806658965</c:v>
                </c:pt>
                <c:pt idx="10114">
                  <c:v>31.083739376409518</c:v>
                </c:pt>
                <c:pt idx="10115">
                  <c:v>25.322652326408765</c:v>
                </c:pt>
                <c:pt idx="10116">
                  <c:v>36.389720261889948</c:v>
                </c:pt>
                <c:pt idx="10117">
                  <c:v>22.506212969370871</c:v>
                </c:pt>
                <c:pt idx="10118">
                  <c:v>22.563743043479459</c:v>
                </c:pt>
                <c:pt idx="10119">
                  <c:v>20.815248655229919</c:v>
                </c:pt>
                <c:pt idx="10120">
                  <c:v>26.933124233914072</c:v>
                </c:pt>
                <c:pt idx="10121">
                  <c:v>59.006009474167016</c:v>
                </c:pt>
                <c:pt idx="10122">
                  <c:v>27.981386528978945</c:v>
                </c:pt>
                <c:pt idx="10123">
                  <c:v>29.525769964141652</c:v>
                </c:pt>
                <c:pt idx="10124">
                  <c:v>49.388651028566194</c:v>
                </c:pt>
                <c:pt idx="10125">
                  <c:v>34.887111374318494</c:v>
                </c:pt>
                <c:pt idx="10126">
                  <c:v>39.398388322540384</c:v>
                </c:pt>
                <c:pt idx="10127">
                  <c:v>32.779586739332707</c:v>
                </c:pt>
                <c:pt idx="10128">
                  <c:v>27.565218992772252</c:v>
                </c:pt>
                <c:pt idx="10129">
                  <c:v>35.55544382643307</c:v>
                </c:pt>
                <c:pt idx="10130">
                  <c:v>49.743207965766672</c:v>
                </c:pt>
                <c:pt idx="10131">
                  <c:v>27.151036037459928</c:v>
                </c:pt>
                <c:pt idx="10132">
                  <c:v>29.946253625203312</c:v>
                </c:pt>
                <c:pt idx="10133">
                  <c:v>27.855069664861979</c:v>
                </c:pt>
                <c:pt idx="10134">
                  <c:v>33.329420430480432</c:v>
                </c:pt>
                <c:pt idx="10135">
                  <c:v>20.661979395431441</c:v>
                </c:pt>
                <c:pt idx="10136">
                  <c:v>29.980587592177866</c:v>
                </c:pt>
                <c:pt idx="10137">
                  <c:v>24.427156801184193</c:v>
                </c:pt>
                <c:pt idx="10138">
                  <c:v>19.898579053978359</c:v>
                </c:pt>
                <c:pt idx="10139">
                  <c:v>53.943479970899396</c:v>
                </c:pt>
                <c:pt idx="10140">
                  <c:v>20.652967233440066</c:v>
                </c:pt>
                <c:pt idx="10141">
                  <c:v>30.01465099044237</c:v>
                </c:pt>
                <c:pt idx="10142">
                  <c:v>31.236703302385258</c:v>
                </c:pt>
                <c:pt idx="10143">
                  <c:v>27.187233499617783</c:v>
                </c:pt>
                <c:pt idx="10144">
                  <c:v>33.679398811211058</c:v>
                </c:pt>
                <c:pt idx="10145">
                  <c:v>29.806414282727754</c:v>
                </c:pt>
                <c:pt idx="10146">
                  <c:v>28.506348348293852</c:v>
                </c:pt>
                <c:pt idx="10147">
                  <c:v>57.126094959447158</c:v>
                </c:pt>
                <c:pt idx="10148">
                  <c:v>41.120868517080069</c:v>
                </c:pt>
                <c:pt idx="10149">
                  <c:v>32.181214359728827</c:v>
                </c:pt>
                <c:pt idx="10150">
                  <c:v>28.765717756229485</c:v>
                </c:pt>
                <c:pt idx="10151">
                  <c:v>49.678582873846032</c:v>
                </c:pt>
                <c:pt idx="10152">
                  <c:v>24.195415985163404</c:v>
                </c:pt>
                <c:pt idx="10153">
                  <c:v>26.356033925886344</c:v>
                </c:pt>
                <c:pt idx="10154">
                  <c:v>32.326253840549597</c:v>
                </c:pt>
                <c:pt idx="10155">
                  <c:v>30.744629260578602</c:v>
                </c:pt>
                <c:pt idx="10156">
                  <c:v>32.088236294446041</c:v>
                </c:pt>
                <c:pt idx="10157">
                  <c:v>47.401157943309691</c:v>
                </c:pt>
                <c:pt idx="10158">
                  <c:v>52.973413070286277</c:v>
                </c:pt>
                <c:pt idx="10159">
                  <c:v>23.947492835734913</c:v>
                </c:pt>
                <c:pt idx="10160">
                  <c:v>50.131204503247012</c:v>
                </c:pt>
                <c:pt idx="10161">
                  <c:v>19.999280340894348</c:v>
                </c:pt>
                <c:pt idx="10162">
                  <c:v>20.176886745050275</c:v>
                </c:pt>
                <c:pt idx="10163">
                  <c:v>38.458874355047726</c:v>
                </c:pt>
                <c:pt idx="10164">
                  <c:v>24.939949864527648</c:v>
                </c:pt>
                <c:pt idx="10165">
                  <c:v>25.624020686674815</c:v>
                </c:pt>
                <c:pt idx="10166">
                  <c:v>17.559715000618482</c:v>
                </c:pt>
                <c:pt idx="10167">
                  <c:v>27.215295713732559</c:v>
                </c:pt>
                <c:pt idx="10168">
                  <c:v>25.624561482591101</c:v>
                </c:pt>
                <c:pt idx="10169">
                  <c:v>26.832204778718044</c:v>
                </c:pt>
                <c:pt idx="10170">
                  <c:v>45.831177416879171</c:v>
                </c:pt>
                <c:pt idx="10171">
                  <c:v>58.503711947331077</c:v>
                </c:pt>
                <c:pt idx="10172">
                  <c:v>27.375298220704487</c:v>
                </c:pt>
                <c:pt idx="10173">
                  <c:v>27.316107620337078</c:v>
                </c:pt>
                <c:pt idx="10174">
                  <c:v>24.41434662088669</c:v>
                </c:pt>
                <c:pt idx="10175">
                  <c:v>27.221548621273833</c:v>
                </c:pt>
                <c:pt idx="10176">
                  <c:v>36.400384681530191</c:v>
                </c:pt>
                <c:pt idx="10177">
                  <c:v>50.869790649555178</c:v>
                </c:pt>
                <c:pt idx="10178">
                  <c:v>30.504615392335147</c:v>
                </c:pt>
                <c:pt idx="10179">
                  <c:v>23.785092485822734</c:v>
                </c:pt>
                <c:pt idx="10180">
                  <c:v>21.643509865469156</c:v>
                </c:pt>
                <c:pt idx="10181">
                  <c:v>30.363312238018004</c:v>
                </c:pt>
                <c:pt idx="10182">
                  <c:v>25.943821622100248</c:v>
                </c:pt>
                <c:pt idx="10183">
                  <c:v>28.897814077662233</c:v>
                </c:pt>
                <c:pt idx="10184">
                  <c:v>28.796897904871155</c:v>
                </c:pt>
                <c:pt idx="10185">
                  <c:v>35.099798050949161</c:v>
                </c:pt>
                <c:pt idx="10186">
                  <c:v>58.513828239106608</c:v>
                </c:pt>
                <c:pt idx="10187">
                  <c:v>19.452732375797893</c:v>
                </c:pt>
                <c:pt idx="10188">
                  <c:v>47.081523009380746</c:v>
                </c:pt>
                <c:pt idx="10189">
                  <c:v>54.074838783626873</c:v>
                </c:pt>
                <c:pt idx="10190">
                  <c:v>28.802004912247675</c:v>
                </c:pt>
                <c:pt idx="10191">
                  <c:v>50.647209913527554</c:v>
                </c:pt>
                <c:pt idx="10192">
                  <c:v>27.759272747309183</c:v>
                </c:pt>
                <c:pt idx="10193">
                  <c:v>43.749440560125578</c:v>
                </c:pt>
                <c:pt idx="10194">
                  <c:v>26.958539427166087</c:v>
                </c:pt>
                <c:pt idx="10195">
                  <c:v>28.724665471876929</c:v>
                </c:pt>
                <c:pt idx="10196">
                  <c:v>43.49905412606379</c:v>
                </c:pt>
                <c:pt idx="10197">
                  <c:v>58.58438915499282</c:v>
                </c:pt>
                <c:pt idx="10198">
                  <c:v>30.068619643090585</c:v>
                </c:pt>
                <c:pt idx="10199">
                  <c:v>29.598761761983958</c:v>
                </c:pt>
                <c:pt idx="10200">
                  <c:v>49.997830382611731</c:v>
                </c:pt>
                <c:pt idx="10201">
                  <c:v>22.344714401971732</c:v>
                </c:pt>
                <c:pt idx="10202">
                  <c:v>44.400290035787066</c:v>
                </c:pt>
                <c:pt idx="10203">
                  <c:v>28.138679420884763</c:v>
                </c:pt>
                <c:pt idx="10204">
                  <c:v>31.978223574167515</c:v>
                </c:pt>
                <c:pt idx="10205">
                  <c:v>31.147771740481723</c:v>
                </c:pt>
                <c:pt idx="10206">
                  <c:v>50.683957871702184</c:v>
                </c:pt>
                <c:pt idx="10207">
                  <c:v>56.961639521685605</c:v>
                </c:pt>
                <c:pt idx="10208">
                  <c:v>41.338006188067673</c:v>
                </c:pt>
                <c:pt idx="10209">
                  <c:v>44.860623429667619</c:v>
                </c:pt>
                <c:pt idx="10210">
                  <c:v>20.713952993384911</c:v>
                </c:pt>
                <c:pt idx="10211">
                  <c:v>19.310284859718962</c:v>
                </c:pt>
                <c:pt idx="10212">
                  <c:v>28.276015799932242</c:v>
                </c:pt>
                <c:pt idx="10213">
                  <c:v>29.832847123741232</c:v>
                </c:pt>
                <c:pt idx="10214">
                  <c:v>28.667685859798997</c:v>
                </c:pt>
                <c:pt idx="10215">
                  <c:v>19.147041552168979</c:v>
                </c:pt>
                <c:pt idx="10216">
                  <c:v>45.342325176411215</c:v>
                </c:pt>
                <c:pt idx="10217">
                  <c:v>28.614295909159743</c:v>
                </c:pt>
                <c:pt idx="10218">
                  <c:v>33.155008416276296</c:v>
                </c:pt>
                <c:pt idx="10219">
                  <c:v>20.6113130626585</c:v>
                </c:pt>
                <c:pt idx="10220">
                  <c:v>28.236827376323568</c:v>
                </c:pt>
                <c:pt idx="10221">
                  <c:v>23.7671663544862</c:v>
                </c:pt>
                <c:pt idx="10222">
                  <c:v>33.393015433148676</c:v>
                </c:pt>
                <c:pt idx="10223">
                  <c:v>27.329746315957738</c:v>
                </c:pt>
                <c:pt idx="10224">
                  <c:v>47.697448068284928</c:v>
                </c:pt>
                <c:pt idx="10225">
                  <c:v>25.808472636309656</c:v>
                </c:pt>
                <c:pt idx="10226">
                  <c:v>53.474493572757538</c:v>
                </c:pt>
                <c:pt idx="10227">
                  <c:v>21.703345662758075</c:v>
                </c:pt>
                <c:pt idx="10228">
                  <c:v>23.870931575505566</c:v>
                </c:pt>
                <c:pt idx="10229">
                  <c:v>24.764150538715988</c:v>
                </c:pt>
                <c:pt idx="10230">
                  <c:v>25.219800724456988</c:v>
                </c:pt>
                <c:pt idx="10231">
                  <c:v>24.464440186737299</c:v>
                </c:pt>
                <c:pt idx="10232">
                  <c:v>55.296449378898721</c:v>
                </c:pt>
                <c:pt idx="10233">
                  <c:v>45.778435560717597</c:v>
                </c:pt>
                <c:pt idx="10234">
                  <c:v>25.284348405398809</c:v>
                </c:pt>
                <c:pt idx="10235">
                  <c:v>26.13509158260317</c:v>
                </c:pt>
                <c:pt idx="10236">
                  <c:v>35.806231889961936</c:v>
                </c:pt>
                <c:pt idx="10237">
                  <c:v>19.313937377112396</c:v>
                </c:pt>
                <c:pt idx="10238">
                  <c:v>37.372975486060447</c:v>
                </c:pt>
                <c:pt idx="10239">
                  <c:v>25.90805201483899</c:v>
                </c:pt>
                <c:pt idx="10240">
                  <c:v>48.795778235846733</c:v>
                </c:pt>
                <c:pt idx="10241">
                  <c:v>40.861760032752471</c:v>
                </c:pt>
                <c:pt idx="10242">
                  <c:v>16.618088574731871</c:v>
                </c:pt>
                <c:pt idx="10243">
                  <c:v>28.237594592796516</c:v>
                </c:pt>
                <c:pt idx="10244">
                  <c:v>22.866433736279966</c:v>
                </c:pt>
                <c:pt idx="10245">
                  <c:v>33.133211037804841</c:v>
                </c:pt>
                <c:pt idx="10246">
                  <c:v>28.32026139373982</c:v>
                </c:pt>
                <c:pt idx="10247">
                  <c:v>43.49419815550452</c:v>
                </c:pt>
                <c:pt idx="10248">
                  <c:v>29.183606886637175</c:v>
                </c:pt>
                <c:pt idx="10249">
                  <c:v>26.549774812406319</c:v>
                </c:pt>
                <c:pt idx="10250">
                  <c:v>32.544327581443895</c:v>
                </c:pt>
                <c:pt idx="10251">
                  <c:v>37.374827081931798</c:v>
                </c:pt>
                <c:pt idx="10252">
                  <c:v>23.638790158900036</c:v>
                </c:pt>
                <c:pt idx="10253">
                  <c:v>59.237950963951164</c:v>
                </c:pt>
                <c:pt idx="10254">
                  <c:v>52.674864156150988</c:v>
                </c:pt>
                <c:pt idx="10255">
                  <c:v>27.865435251961522</c:v>
                </c:pt>
                <c:pt idx="10256">
                  <c:v>29.799198619346043</c:v>
                </c:pt>
                <c:pt idx="10257">
                  <c:v>25.934116287511436</c:v>
                </c:pt>
                <c:pt idx="10258">
                  <c:v>27.262410164573311</c:v>
                </c:pt>
                <c:pt idx="10259">
                  <c:v>36.441203207686549</c:v>
                </c:pt>
                <c:pt idx="10260">
                  <c:v>59.6052254537869</c:v>
                </c:pt>
                <c:pt idx="10261">
                  <c:v>35.035742894500395</c:v>
                </c:pt>
                <c:pt idx="10262">
                  <c:v>28.186567197437732</c:v>
                </c:pt>
                <c:pt idx="10263">
                  <c:v>30.491564089761482</c:v>
                </c:pt>
                <c:pt idx="10264">
                  <c:v>41.360594715789489</c:v>
                </c:pt>
                <c:pt idx="10265">
                  <c:v>36.102383427833573</c:v>
                </c:pt>
                <c:pt idx="10266">
                  <c:v>31.102740098003672</c:v>
                </c:pt>
                <c:pt idx="10267">
                  <c:v>25.399498691860892</c:v>
                </c:pt>
                <c:pt idx="10268">
                  <c:v>24.76010940516672</c:v>
                </c:pt>
                <c:pt idx="10269">
                  <c:v>26.256383103945215</c:v>
                </c:pt>
                <c:pt idx="10270">
                  <c:v>21.735120232390379</c:v>
                </c:pt>
                <c:pt idx="10271">
                  <c:v>33.850300779823755</c:v>
                </c:pt>
                <c:pt idx="10272">
                  <c:v>41.49690861146442</c:v>
                </c:pt>
                <c:pt idx="10273">
                  <c:v>35.190885008337233</c:v>
                </c:pt>
                <c:pt idx="10274">
                  <c:v>38.513018605955864</c:v>
                </c:pt>
                <c:pt idx="10275">
                  <c:v>15.796861325854923</c:v>
                </c:pt>
                <c:pt idx="10276">
                  <c:v>62.826957074918724</c:v>
                </c:pt>
                <c:pt idx="10277">
                  <c:v>22.717043445729161</c:v>
                </c:pt>
                <c:pt idx="10278">
                  <c:v>33.952929112255475</c:v>
                </c:pt>
                <c:pt idx="10279">
                  <c:v>23.591966225699615</c:v>
                </c:pt>
                <c:pt idx="10280">
                  <c:v>37.409102282755619</c:v>
                </c:pt>
                <c:pt idx="10281">
                  <c:v>25.264603479699872</c:v>
                </c:pt>
                <c:pt idx="10282">
                  <c:v>58.536809761035904</c:v>
                </c:pt>
                <c:pt idx="10283">
                  <c:v>25.795200812211313</c:v>
                </c:pt>
                <c:pt idx="10284">
                  <c:v>37.252390558451168</c:v>
                </c:pt>
                <c:pt idx="10285">
                  <c:v>21.596445645101717</c:v>
                </c:pt>
                <c:pt idx="10286">
                  <c:v>24.658252502165631</c:v>
                </c:pt>
                <c:pt idx="10287">
                  <c:v>34.326364103268993</c:v>
                </c:pt>
                <c:pt idx="10288">
                  <c:v>22.196269682493607</c:v>
                </c:pt>
                <c:pt idx="10289">
                  <c:v>35.235588070623194</c:v>
                </c:pt>
                <c:pt idx="10290">
                  <c:v>27.550282248058018</c:v>
                </c:pt>
                <c:pt idx="10291">
                  <c:v>32.767427123996924</c:v>
                </c:pt>
                <c:pt idx="10292">
                  <c:v>28.520018069505472</c:v>
                </c:pt>
                <c:pt idx="10293">
                  <c:v>25.934821432648025</c:v>
                </c:pt>
                <c:pt idx="10294">
                  <c:v>26.877388742339541</c:v>
                </c:pt>
                <c:pt idx="10295">
                  <c:v>27.718389722759984</c:v>
                </c:pt>
                <c:pt idx="10296">
                  <c:v>27.529537122618066</c:v>
                </c:pt>
                <c:pt idx="10297">
                  <c:v>23.848124522353789</c:v>
                </c:pt>
                <c:pt idx="10298">
                  <c:v>29.102439020008294</c:v>
                </c:pt>
                <c:pt idx="10299">
                  <c:v>24.176870997517721</c:v>
                </c:pt>
                <c:pt idx="10300">
                  <c:v>43.073981370247878</c:v>
                </c:pt>
                <c:pt idx="10301">
                  <c:v>23.486861846161204</c:v>
                </c:pt>
                <c:pt idx="10302">
                  <c:v>35.433422856285006</c:v>
                </c:pt>
                <c:pt idx="10303">
                  <c:v>34.218213531520867</c:v>
                </c:pt>
                <c:pt idx="10304">
                  <c:v>27.772899376185272</c:v>
                </c:pt>
                <c:pt idx="10305">
                  <c:v>27.38769345208328</c:v>
                </c:pt>
                <c:pt idx="10306">
                  <c:v>32.32369564015567</c:v>
                </c:pt>
                <c:pt idx="10307">
                  <c:v>21.97130184986549</c:v>
                </c:pt>
                <c:pt idx="10308">
                  <c:v>34.972224604486719</c:v>
                </c:pt>
                <c:pt idx="10309">
                  <c:v>24.797690704932993</c:v>
                </c:pt>
                <c:pt idx="10310">
                  <c:v>26.006525820196323</c:v>
                </c:pt>
                <c:pt idx="10311">
                  <c:v>26.304428354151632</c:v>
                </c:pt>
                <c:pt idx="10312">
                  <c:v>29.128021989955649</c:v>
                </c:pt>
                <c:pt idx="10313">
                  <c:v>31.713214089428917</c:v>
                </c:pt>
                <c:pt idx="10314">
                  <c:v>23.314888592726149</c:v>
                </c:pt>
                <c:pt idx="10315">
                  <c:v>30.175649541749877</c:v>
                </c:pt>
                <c:pt idx="10316">
                  <c:v>41.376694958210607</c:v>
                </c:pt>
                <c:pt idx="10317">
                  <c:v>24.315849803747437</c:v>
                </c:pt>
                <c:pt idx="10318">
                  <c:v>32.348958036918752</c:v>
                </c:pt>
                <c:pt idx="10319">
                  <c:v>21.970516614390782</c:v>
                </c:pt>
                <c:pt idx="10320">
                  <c:v>30.395772377955421</c:v>
                </c:pt>
                <c:pt idx="10321">
                  <c:v>25.283922240736594</c:v>
                </c:pt>
                <c:pt idx="10322">
                  <c:v>29.02293408529415</c:v>
                </c:pt>
                <c:pt idx="10323">
                  <c:v>47.164251991268337</c:v>
                </c:pt>
                <c:pt idx="10324">
                  <c:v>58.291242816394771</c:v>
                </c:pt>
                <c:pt idx="10325">
                  <c:v>32.366183867404693</c:v>
                </c:pt>
                <c:pt idx="10326">
                  <c:v>27.650345829273036</c:v>
                </c:pt>
                <c:pt idx="10327">
                  <c:v>44.290155086508605</c:v>
                </c:pt>
                <c:pt idx="10328">
                  <c:v>53.172494104832801</c:v>
                </c:pt>
                <c:pt idx="10329">
                  <c:v>23.092077813706858</c:v>
                </c:pt>
                <c:pt idx="10330">
                  <c:v>24.343073338794262</c:v>
                </c:pt>
                <c:pt idx="10331">
                  <c:v>26.396533692332977</c:v>
                </c:pt>
                <c:pt idx="10332">
                  <c:v>32.330478879813612</c:v>
                </c:pt>
                <c:pt idx="10333">
                  <c:v>30.716889070221786</c:v>
                </c:pt>
                <c:pt idx="10334">
                  <c:v>23.830611719178219</c:v>
                </c:pt>
                <c:pt idx="10335">
                  <c:v>26.647089232571915</c:v>
                </c:pt>
                <c:pt idx="10336">
                  <c:v>39.829888549233821</c:v>
                </c:pt>
                <c:pt idx="10337">
                  <c:v>48.170007064444725</c:v>
                </c:pt>
                <c:pt idx="10338">
                  <c:v>50.675425755034439</c:v>
                </c:pt>
                <c:pt idx="10339">
                  <c:v>29.343243417611781</c:v>
                </c:pt>
                <c:pt idx="10340">
                  <c:v>31.488075233761919</c:v>
                </c:pt>
                <c:pt idx="10341">
                  <c:v>29.689843959929973</c:v>
                </c:pt>
                <c:pt idx="10342">
                  <c:v>40.450174037271289</c:v>
                </c:pt>
                <c:pt idx="10343">
                  <c:v>23.00341135435675</c:v>
                </c:pt>
                <c:pt idx="10344">
                  <c:v>29.308481084468447</c:v>
                </c:pt>
                <c:pt idx="10345">
                  <c:v>28.68421739435971</c:v>
                </c:pt>
                <c:pt idx="10346">
                  <c:v>29.163682806854077</c:v>
                </c:pt>
                <c:pt idx="10347">
                  <c:v>46.996857252361231</c:v>
                </c:pt>
                <c:pt idx="10348">
                  <c:v>41.267914100294242</c:v>
                </c:pt>
                <c:pt idx="10349">
                  <c:v>28.797487989763706</c:v>
                </c:pt>
                <c:pt idx="10350">
                  <c:v>20.412325886464817</c:v>
                </c:pt>
                <c:pt idx="10351">
                  <c:v>31.982028709338081</c:v>
                </c:pt>
                <c:pt idx="10352">
                  <c:v>28.154510682253814</c:v>
                </c:pt>
                <c:pt idx="10353">
                  <c:v>50.072323077142173</c:v>
                </c:pt>
                <c:pt idx="10354">
                  <c:v>25.788746253926966</c:v>
                </c:pt>
                <c:pt idx="10355">
                  <c:v>27.042165956340206</c:v>
                </c:pt>
                <c:pt idx="10356">
                  <c:v>21.901714681465634</c:v>
                </c:pt>
                <c:pt idx="10357">
                  <c:v>43.776919823810559</c:v>
                </c:pt>
                <c:pt idx="10358">
                  <c:v>31.751604155676095</c:v>
                </c:pt>
                <c:pt idx="10359">
                  <c:v>25.905381011942357</c:v>
                </c:pt>
                <c:pt idx="10360">
                  <c:v>51.292678325502457</c:v>
                </c:pt>
                <c:pt idx="10361">
                  <c:v>57.983689343106022</c:v>
                </c:pt>
                <c:pt idx="10362">
                  <c:v>24.647924970348409</c:v>
                </c:pt>
                <c:pt idx="10363">
                  <c:v>45.173908422231165</c:v>
                </c:pt>
                <c:pt idx="10364">
                  <c:v>25.090352409500319</c:v>
                </c:pt>
                <c:pt idx="10365">
                  <c:v>23.622131217888754</c:v>
                </c:pt>
                <c:pt idx="10366">
                  <c:v>33.95170802695182</c:v>
                </c:pt>
                <c:pt idx="10367">
                  <c:v>26.850685700808459</c:v>
                </c:pt>
                <c:pt idx="10368">
                  <c:v>31.078610285918899</c:v>
                </c:pt>
                <c:pt idx="10369">
                  <c:v>21.233220283348697</c:v>
                </c:pt>
                <c:pt idx="10370">
                  <c:v>33.373999315398777</c:v>
                </c:pt>
                <c:pt idx="10371">
                  <c:v>27.881072347251632</c:v>
                </c:pt>
                <c:pt idx="10372">
                  <c:v>22.885131828197956</c:v>
                </c:pt>
                <c:pt idx="10373">
                  <c:v>31.033292207524187</c:v>
                </c:pt>
                <c:pt idx="10374">
                  <c:v>23.752623661596495</c:v>
                </c:pt>
                <c:pt idx="10375">
                  <c:v>37.442857987482363</c:v>
                </c:pt>
                <c:pt idx="10376">
                  <c:v>33.62353717941614</c:v>
                </c:pt>
                <c:pt idx="10377">
                  <c:v>24.513098561925581</c:v>
                </c:pt>
                <c:pt idx="10378">
                  <c:v>29.5595158448772</c:v>
                </c:pt>
                <c:pt idx="10379">
                  <c:v>37.418706285292558</c:v>
                </c:pt>
                <c:pt idx="10380">
                  <c:v>24.649311098053875</c:v>
                </c:pt>
                <c:pt idx="10381">
                  <c:v>24.322501465514694</c:v>
                </c:pt>
                <c:pt idx="10382">
                  <c:v>24.358363287008192</c:v>
                </c:pt>
                <c:pt idx="10383">
                  <c:v>32.338678065672426</c:v>
                </c:pt>
                <c:pt idx="10384">
                  <c:v>20.385148305293146</c:v>
                </c:pt>
                <c:pt idx="10385">
                  <c:v>26.445158298863802</c:v>
                </c:pt>
                <c:pt idx="10386">
                  <c:v>27.908093914654678</c:v>
                </c:pt>
                <c:pt idx="10387">
                  <c:v>38.957605372700726</c:v>
                </c:pt>
                <c:pt idx="10388">
                  <c:v>37.642358738660242</c:v>
                </c:pt>
                <c:pt idx="10389">
                  <c:v>32.994498333971791</c:v>
                </c:pt>
                <c:pt idx="10390">
                  <c:v>20.529136943690766</c:v>
                </c:pt>
                <c:pt idx="10391">
                  <c:v>33.109698855202261</c:v>
                </c:pt>
                <c:pt idx="10392">
                  <c:v>34.059928585602165</c:v>
                </c:pt>
                <c:pt idx="10393">
                  <c:v>18.380959774103246</c:v>
                </c:pt>
                <c:pt idx="10394">
                  <c:v>24.429896564224748</c:v>
                </c:pt>
                <c:pt idx="10395">
                  <c:v>30.592351424482125</c:v>
                </c:pt>
                <c:pt idx="10396">
                  <c:v>25.975634440981722</c:v>
                </c:pt>
                <c:pt idx="10397">
                  <c:v>41.975418363819884</c:v>
                </c:pt>
                <c:pt idx="10398">
                  <c:v>26.634510133366888</c:v>
                </c:pt>
                <c:pt idx="10399">
                  <c:v>40.135038064050285</c:v>
                </c:pt>
                <c:pt idx="10400">
                  <c:v>23.085315313514052</c:v>
                </c:pt>
                <c:pt idx="10401">
                  <c:v>34.728114362558401</c:v>
                </c:pt>
                <c:pt idx="10402">
                  <c:v>25.263494012067031</c:v>
                </c:pt>
                <c:pt idx="10403">
                  <c:v>48.301827882045593</c:v>
                </c:pt>
                <c:pt idx="10404">
                  <c:v>31.387749825810392</c:v>
                </c:pt>
                <c:pt idx="10405">
                  <c:v>50.068481839536702</c:v>
                </c:pt>
                <c:pt idx="10406">
                  <c:v>23.506054185489155</c:v>
                </c:pt>
                <c:pt idx="10407">
                  <c:v>32.848342687270218</c:v>
                </c:pt>
                <c:pt idx="10408">
                  <c:v>56.471684250161573</c:v>
                </c:pt>
                <c:pt idx="10409">
                  <c:v>24.231744009994074</c:v>
                </c:pt>
                <c:pt idx="10410">
                  <c:v>47.884488536972292</c:v>
                </c:pt>
                <c:pt idx="10411">
                  <c:v>30.216574932397876</c:v>
                </c:pt>
                <c:pt idx="10412">
                  <c:v>29.710999666052921</c:v>
                </c:pt>
                <c:pt idx="10413">
                  <c:v>22.060973678035861</c:v>
                </c:pt>
                <c:pt idx="10414">
                  <c:v>40.472268807561264</c:v>
                </c:pt>
                <c:pt idx="10415">
                  <c:v>32.648219362420399</c:v>
                </c:pt>
                <c:pt idx="10416">
                  <c:v>26.932272243183252</c:v>
                </c:pt>
                <c:pt idx="10417">
                  <c:v>32.510447474427117</c:v>
                </c:pt>
                <c:pt idx="10418">
                  <c:v>48.872907052027614</c:v>
                </c:pt>
                <c:pt idx="10419">
                  <c:v>29.141624195079391</c:v>
                </c:pt>
                <c:pt idx="10420">
                  <c:v>30.164273320327833</c:v>
                </c:pt>
                <c:pt idx="10421">
                  <c:v>24.631495546108187</c:v>
                </c:pt>
                <c:pt idx="10422">
                  <c:v>23.557163658452907</c:v>
                </c:pt>
                <c:pt idx="10423">
                  <c:v>25.180977994576871</c:v>
                </c:pt>
                <c:pt idx="10424">
                  <c:v>34.247623996483441</c:v>
                </c:pt>
                <c:pt idx="10425">
                  <c:v>26.278305676668143</c:v>
                </c:pt>
                <c:pt idx="10426">
                  <c:v>46.113065342731666</c:v>
                </c:pt>
                <c:pt idx="10427">
                  <c:v>31.347192589782139</c:v>
                </c:pt>
                <c:pt idx="10428">
                  <c:v>24.399862416013114</c:v>
                </c:pt>
                <c:pt idx="10429">
                  <c:v>27.320119361399435</c:v>
                </c:pt>
                <c:pt idx="10430">
                  <c:v>31.687321381147981</c:v>
                </c:pt>
                <c:pt idx="10431">
                  <c:v>30.866564788638584</c:v>
                </c:pt>
                <c:pt idx="10432">
                  <c:v>29.605206783605585</c:v>
                </c:pt>
                <c:pt idx="10433">
                  <c:v>42.691180633868129</c:v>
                </c:pt>
                <c:pt idx="10434">
                  <c:v>45.915027093951423</c:v>
                </c:pt>
                <c:pt idx="10435">
                  <c:v>21.745587068333371</c:v>
                </c:pt>
                <c:pt idx="10436">
                  <c:v>67.411707555608885</c:v>
                </c:pt>
                <c:pt idx="10437">
                  <c:v>49.936014278781307</c:v>
                </c:pt>
                <c:pt idx="10438">
                  <c:v>26.880023476847185</c:v>
                </c:pt>
                <c:pt idx="10439">
                  <c:v>33.30588362985673</c:v>
                </c:pt>
                <c:pt idx="10440">
                  <c:v>27.541347194410463</c:v>
                </c:pt>
                <c:pt idx="10441">
                  <c:v>28.154700122402499</c:v>
                </c:pt>
                <c:pt idx="10442">
                  <c:v>30.789116731079822</c:v>
                </c:pt>
                <c:pt idx="10443">
                  <c:v>27.263943161956121</c:v>
                </c:pt>
                <c:pt idx="10444">
                  <c:v>23.839733590488031</c:v>
                </c:pt>
                <c:pt idx="10445">
                  <c:v>43.620089783541935</c:v>
                </c:pt>
                <c:pt idx="10446">
                  <c:v>23.782330166514058</c:v>
                </c:pt>
                <c:pt idx="10447">
                  <c:v>26.263612853711322</c:v>
                </c:pt>
                <c:pt idx="10448">
                  <c:v>29.938419807418398</c:v>
                </c:pt>
                <c:pt idx="10449">
                  <c:v>28.839153314198857</c:v>
                </c:pt>
                <c:pt idx="10450">
                  <c:v>30.706284047625225</c:v>
                </c:pt>
                <c:pt idx="10451">
                  <c:v>19.330421937664582</c:v>
                </c:pt>
                <c:pt idx="10452">
                  <c:v>43.339569270702704</c:v>
                </c:pt>
                <c:pt idx="10453">
                  <c:v>29.202329256739475</c:v>
                </c:pt>
                <c:pt idx="10454">
                  <c:v>47.297684701614536</c:v>
                </c:pt>
                <c:pt idx="10455">
                  <c:v>37.257892498826379</c:v>
                </c:pt>
                <c:pt idx="10456">
                  <c:v>28.264202473264479</c:v>
                </c:pt>
                <c:pt idx="10457">
                  <c:v>23.35292709824316</c:v>
                </c:pt>
                <c:pt idx="10458">
                  <c:v>62.305386470114769</c:v>
                </c:pt>
                <c:pt idx="10459">
                  <c:v>18.636213922010775</c:v>
                </c:pt>
                <c:pt idx="10460">
                  <c:v>48.614138992916743</c:v>
                </c:pt>
                <c:pt idx="10461">
                  <c:v>26.994587734445879</c:v>
                </c:pt>
                <c:pt idx="10462">
                  <c:v>25.69924886967247</c:v>
                </c:pt>
                <c:pt idx="10463">
                  <c:v>24.564365169083384</c:v>
                </c:pt>
                <c:pt idx="10464">
                  <c:v>23.946493243174974</c:v>
                </c:pt>
                <c:pt idx="10465">
                  <c:v>23.620372130562934</c:v>
                </c:pt>
                <c:pt idx="10466">
                  <c:v>28.145394101669289</c:v>
                </c:pt>
                <c:pt idx="10467">
                  <c:v>35.261906605196181</c:v>
                </c:pt>
                <c:pt idx="10468">
                  <c:v>31.250163057705116</c:v>
                </c:pt>
                <c:pt idx="10469">
                  <c:v>33.644921814358334</c:v>
                </c:pt>
                <c:pt idx="10470">
                  <c:v>43.937339556517713</c:v>
                </c:pt>
                <c:pt idx="10471">
                  <c:v>44.796611739205403</c:v>
                </c:pt>
                <c:pt idx="10472">
                  <c:v>19.374909676529111</c:v>
                </c:pt>
                <c:pt idx="10473">
                  <c:v>45.702455157777827</c:v>
                </c:pt>
                <c:pt idx="10474">
                  <c:v>24.176657248615772</c:v>
                </c:pt>
                <c:pt idx="10475">
                  <c:v>26.809311480598236</c:v>
                </c:pt>
                <c:pt idx="10476">
                  <c:v>27.959213321458563</c:v>
                </c:pt>
                <c:pt idx="10477">
                  <c:v>24.306793886988874</c:v>
                </c:pt>
                <c:pt idx="10478">
                  <c:v>45.74433566987944</c:v>
                </c:pt>
                <c:pt idx="10479">
                  <c:v>25.61019852755679</c:v>
                </c:pt>
                <c:pt idx="10480">
                  <c:v>45.451263279170654</c:v>
                </c:pt>
                <c:pt idx="10481">
                  <c:v>46.954883090013539</c:v>
                </c:pt>
                <c:pt idx="10482">
                  <c:v>55.584347631180215</c:v>
                </c:pt>
                <c:pt idx="10483">
                  <c:v>37.065835938512713</c:v>
                </c:pt>
                <c:pt idx="10484">
                  <c:v>28.172692223875675</c:v>
                </c:pt>
                <c:pt idx="10485">
                  <c:v>27.694538549407014</c:v>
                </c:pt>
                <c:pt idx="10486">
                  <c:v>40.921861188249885</c:v>
                </c:pt>
                <c:pt idx="10487">
                  <c:v>26.456012594785228</c:v>
                </c:pt>
                <c:pt idx="10488">
                  <c:v>25.078183885504103</c:v>
                </c:pt>
                <c:pt idx="10489">
                  <c:v>24.096766257422921</c:v>
                </c:pt>
                <c:pt idx="10490">
                  <c:v>18.344950895409767</c:v>
                </c:pt>
                <c:pt idx="10491">
                  <c:v>47.362413814903491</c:v>
                </c:pt>
                <c:pt idx="10492">
                  <c:v>25.304277224420328</c:v>
                </c:pt>
                <c:pt idx="10493">
                  <c:v>37.498038966836809</c:v>
                </c:pt>
                <c:pt idx="10494">
                  <c:v>34.984825974671793</c:v>
                </c:pt>
                <c:pt idx="10495">
                  <c:v>22.281633402729316</c:v>
                </c:pt>
                <c:pt idx="10496">
                  <c:v>31.19464500788769</c:v>
                </c:pt>
                <c:pt idx="10497">
                  <c:v>49.943817237445742</c:v>
                </c:pt>
                <c:pt idx="10498">
                  <c:v>15.153719147741811</c:v>
                </c:pt>
                <c:pt idx="10499">
                  <c:v>30.960215514128649</c:v>
                </c:pt>
                <c:pt idx="10500">
                  <c:v>32.693401384003927</c:v>
                </c:pt>
                <c:pt idx="10501">
                  <c:v>49.46302072203865</c:v>
                </c:pt>
                <c:pt idx="10502">
                  <c:v>21.854623082213678</c:v>
                </c:pt>
                <c:pt idx="10503">
                  <c:v>32.921003633918602</c:v>
                </c:pt>
                <c:pt idx="10504">
                  <c:v>47.521094548528744</c:v>
                </c:pt>
                <c:pt idx="10505">
                  <c:v>21.408942310755904</c:v>
                </c:pt>
                <c:pt idx="10506">
                  <c:v>40.567812099147758</c:v>
                </c:pt>
                <c:pt idx="10507">
                  <c:v>18.947188389947414</c:v>
                </c:pt>
                <c:pt idx="10508">
                  <c:v>28.642257523653996</c:v>
                </c:pt>
                <c:pt idx="10509">
                  <c:v>24.133314965508443</c:v>
                </c:pt>
                <c:pt idx="10510">
                  <c:v>40.086310010367718</c:v>
                </c:pt>
                <c:pt idx="10511">
                  <c:v>31.283136810142931</c:v>
                </c:pt>
                <c:pt idx="10512">
                  <c:v>24.271415147739521</c:v>
                </c:pt>
                <c:pt idx="10513">
                  <c:v>25.864003049313254</c:v>
                </c:pt>
                <c:pt idx="10514">
                  <c:v>27.499329939244625</c:v>
                </c:pt>
                <c:pt idx="10515">
                  <c:v>22.288234846702895</c:v>
                </c:pt>
                <c:pt idx="10516">
                  <c:v>27.046063818610854</c:v>
                </c:pt>
                <c:pt idx="10517">
                  <c:v>24.296441343194481</c:v>
                </c:pt>
                <c:pt idx="10518">
                  <c:v>28.194193709185647</c:v>
                </c:pt>
                <c:pt idx="10519">
                  <c:v>32.95614324451865</c:v>
                </c:pt>
                <c:pt idx="10520">
                  <c:v>57.371240896202252</c:v>
                </c:pt>
                <c:pt idx="10521">
                  <c:v>29.874879275106139</c:v>
                </c:pt>
                <c:pt idx="10522">
                  <c:v>27.289201853028597</c:v>
                </c:pt>
                <c:pt idx="10523">
                  <c:v>40.76634777472168</c:v>
                </c:pt>
                <c:pt idx="10524">
                  <c:v>30.310879326203107</c:v>
                </c:pt>
                <c:pt idx="10525">
                  <c:v>26.416041221788081</c:v>
                </c:pt>
                <c:pt idx="10526">
                  <c:v>30.342308018412272</c:v>
                </c:pt>
                <c:pt idx="10527">
                  <c:v>37.629954492715996</c:v>
                </c:pt>
                <c:pt idx="10528">
                  <c:v>31.240258616884944</c:v>
                </c:pt>
                <c:pt idx="10529">
                  <c:v>28.863038984282234</c:v>
                </c:pt>
                <c:pt idx="10530">
                  <c:v>27.98526958913947</c:v>
                </c:pt>
                <c:pt idx="10531">
                  <c:v>29.350013719178172</c:v>
                </c:pt>
                <c:pt idx="10532">
                  <c:v>39.725073907437491</c:v>
                </c:pt>
                <c:pt idx="10533">
                  <c:v>45.976214231882174</c:v>
                </c:pt>
                <c:pt idx="10534">
                  <c:v>22.333193847498684</c:v>
                </c:pt>
                <c:pt idx="10535">
                  <c:v>56.498006999197429</c:v>
                </c:pt>
                <c:pt idx="10536">
                  <c:v>29.518210819628933</c:v>
                </c:pt>
                <c:pt idx="10537">
                  <c:v>24.548249561082592</c:v>
                </c:pt>
                <c:pt idx="10538">
                  <c:v>45.309179728836369</c:v>
                </c:pt>
                <c:pt idx="10539">
                  <c:v>32.851361651064941</c:v>
                </c:pt>
                <c:pt idx="10540">
                  <c:v>28.549625456662678</c:v>
                </c:pt>
                <c:pt idx="10541">
                  <c:v>33.534308242780625</c:v>
                </c:pt>
                <c:pt idx="10542">
                  <c:v>28.194775592293581</c:v>
                </c:pt>
                <c:pt idx="10543">
                  <c:v>47.358193175163656</c:v>
                </c:pt>
                <c:pt idx="10544">
                  <c:v>27.783422907597981</c:v>
                </c:pt>
                <c:pt idx="10545">
                  <c:v>24.522855400172133</c:v>
                </c:pt>
                <c:pt idx="10546">
                  <c:v>29.100413483581544</c:v>
                </c:pt>
                <c:pt idx="10547">
                  <c:v>37.691268875330131</c:v>
                </c:pt>
                <c:pt idx="10548">
                  <c:v>49.628961606350842</c:v>
                </c:pt>
                <c:pt idx="10549">
                  <c:v>27.894849522028302</c:v>
                </c:pt>
                <c:pt idx="10550">
                  <c:v>26.366752982637223</c:v>
                </c:pt>
                <c:pt idx="10551">
                  <c:v>28.801680929853344</c:v>
                </c:pt>
                <c:pt idx="10552">
                  <c:v>20.359195319871013</c:v>
                </c:pt>
                <c:pt idx="10553">
                  <c:v>29.181165127544475</c:v>
                </c:pt>
                <c:pt idx="10554">
                  <c:v>23.918063148622487</c:v>
                </c:pt>
                <c:pt idx="10555">
                  <c:v>39.156171150995192</c:v>
                </c:pt>
                <c:pt idx="10556">
                  <c:v>30.164198326729739</c:v>
                </c:pt>
                <c:pt idx="10557">
                  <c:v>24.380845007959998</c:v>
                </c:pt>
                <c:pt idx="10558">
                  <c:v>28.978579770116085</c:v>
                </c:pt>
                <c:pt idx="10559">
                  <c:v>47.815745695307754</c:v>
                </c:pt>
                <c:pt idx="10560">
                  <c:v>30.783966572981242</c:v>
                </c:pt>
                <c:pt idx="10561">
                  <c:v>23.492883390693486</c:v>
                </c:pt>
                <c:pt idx="10562">
                  <c:v>25.63376165885159</c:v>
                </c:pt>
                <c:pt idx="10563">
                  <c:v>27.432018829621931</c:v>
                </c:pt>
                <c:pt idx="10564">
                  <c:v>26.472589313845482</c:v>
                </c:pt>
                <c:pt idx="10565">
                  <c:v>27.346319523080162</c:v>
                </c:pt>
                <c:pt idx="10566">
                  <c:v>23.80670603774962</c:v>
                </c:pt>
                <c:pt idx="10567">
                  <c:v>25.441817681513967</c:v>
                </c:pt>
                <c:pt idx="10568">
                  <c:v>42.838385012414761</c:v>
                </c:pt>
                <c:pt idx="10569">
                  <c:v>25.587080681086071</c:v>
                </c:pt>
                <c:pt idx="10570">
                  <c:v>26.781605216545739</c:v>
                </c:pt>
                <c:pt idx="10571">
                  <c:v>37.278287002677473</c:v>
                </c:pt>
                <c:pt idx="10572">
                  <c:v>32.428756239778622</c:v>
                </c:pt>
                <c:pt idx="10573">
                  <c:v>21.641410427639848</c:v>
                </c:pt>
                <c:pt idx="10574">
                  <c:v>25.64649346279905</c:v>
                </c:pt>
                <c:pt idx="10575">
                  <c:v>21.570224119369932</c:v>
                </c:pt>
                <c:pt idx="10576">
                  <c:v>29.422575163017527</c:v>
                </c:pt>
                <c:pt idx="10577">
                  <c:v>20.794178222897493</c:v>
                </c:pt>
                <c:pt idx="10578">
                  <c:v>19.818759887166951</c:v>
                </c:pt>
                <c:pt idx="10579">
                  <c:v>25.68911814606507</c:v>
                </c:pt>
                <c:pt idx="10580">
                  <c:v>20.061642507968532</c:v>
                </c:pt>
                <c:pt idx="10581">
                  <c:v>39.049491138506909</c:v>
                </c:pt>
                <c:pt idx="10582">
                  <c:v>45.807315059243606</c:v>
                </c:pt>
                <c:pt idx="10583">
                  <c:v>27.542362952472043</c:v>
                </c:pt>
                <c:pt idx="10584">
                  <c:v>23.00986049745682</c:v>
                </c:pt>
                <c:pt idx="10585">
                  <c:v>41.100296984958511</c:v>
                </c:pt>
                <c:pt idx="10586">
                  <c:v>31.14423211938842</c:v>
                </c:pt>
                <c:pt idx="10587">
                  <c:v>31.129516133342321</c:v>
                </c:pt>
                <c:pt idx="10588">
                  <c:v>18.999037093748477</c:v>
                </c:pt>
                <c:pt idx="10589">
                  <c:v>23.389294757393465</c:v>
                </c:pt>
                <c:pt idx="10590">
                  <c:v>45.994338808626004</c:v>
                </c:pt>
                <c:pt idx="10591">
                  <c:v>46.200346736680324</c:v>
                </c:pt>
                <c:pt idx="10592">
                  <c:v>24.420495733213734</c:v>
                </c:pt>
                <c:pt idx="10593">
                  <c:v>24.709275353177429</c:v>
                </c:pt>
                <c:pt idx="10594">
                  <c:v>32.378172579260834</c:v>
                </c:pt>
                <c:pt idx="10595">
                  <c:v>34.821611560966829</c:v>
                </c:pt>
                <c:pt idx="10596">
                  <c:v>49.609501176593859</c:v>
                </c:pt>
                <c:pt idx="10597">
                  <c:v>23.883086060331312</c:v>
                </c:pt>
                <c:pt idx="10598">
                  <c:v>24.620427298403769</c:v>
                </c:pt>
                <c:pt idx="10599">
                  <c:v>31.060548570334308</c:v>
                </c:pt>
                <c:pt idx="10600">
                  <c:v>21.252467648712795</c:v>
                </c:pt>
                <c:pt idx="10601">
                  <c:v>29.519008291481189</c:v>
                </c:pt>
                <c:pt idx="10602">
                  <c:v>26.552957551397828</c:v>
                </c:pt>
                <c:pt idx="10603">
                  <c:v>27.843255061167916</c:v>
                </c:pt>
                <c:pt idx="10604">
                  <c:v>39.65962443605919</c:v>
                </c:pt>
                <c:pt idx="10605">
                  <c:v>47.500192606871764</c:v>
                </c:pt>
                <c:pt idx="10606">
                  <c:v>32.954372002029366</c:v>
                </c:pt>
                <c:pt idx="10607">
                  <c:v>48.405472687329393</c:v>
                </c:pt>
                <c:pt idx="10608">
                  <c:v>23.364624718418781</c:v>
                </c:pt>
                <c:pt idx="10609">
                  <c:v>39.873278857168671</c:v>
                </c:pt>
                <c:pt idx="10610">
                  <c:v>41.522321653879295</c:v>
                </c:pt>
                <c:pt idx="10611">
                  <c:v>65.761859453255695</c:v>
                </c:pt>
                <c:pt idx="10612">
                  <c:v>26.147988758491053</c:v>
                </c:pt>
                <c:pt idx="10613">
                  <c:v>25.545274935663262</c:v>
                </c:pt>
                <c:pt idx="10614">
                  <c:v>45.423780947087195</c:v>
                </c:pt>
                <c:pt idx="10615">
                  <c:v>27.54231248840647</c:v>
                </c:pt>
                <c:pt idx="10616">
                  <c:v>27.771108532902403</c:v>
                </c:pt>
                <c:pt idx="10617">
                  <c:v>29.146107832826203</c:v>
                </c:pt>
                <c:pt idx="10618">
                  <c:v>23.381707153201894</c:v>
                </c:pt>
                <c:pt idx="10619">
                  <c:v>23.030512198116348</c:v>
                </c:pt>
                <c:pt idx="10620">
                  <c:v>47.631265393089485</c:v>
                </c:pt>
                <c:pt idx="10621">
                  <c:v>23.679699992844078</c:v>
                </c:pt>
                <c:pt idx="10622">
                  <c:v>19.300187342837425</c:v>
                </c:pt>
                <c:pt idx="10623">
                  <c:v>25.108772075202314</c:v>
                </c:pt>
                <c:pt idx="10624">
                  <c:v>25.300903412098535</c:v>
                </c:pt>
                <c:pt idx="10625">
                  <c:v>24.260470239731497</c:v>
                </c:pt>
                <c:pt idx="10626">
                  <c:v>30.771740751650881</c:v>
                </c:pt>
                <c:pt idx="10627">
                  <c:v>41.007471514955633</c:v>
                </c:pt>
                <c:pt idx="10628">
                  <c:v>48.778551931368867</c:v>
                </c:pt>
                <c:pt idx="10629">
                  <c:v>21.245277264576011</c:v>
                </c:pt>
                <c:pt idx="10630">
                  <c:v>63.810528392903421</c:v>
                </c:pt>
                <c:pt idx="10631">
                  <c:v>45.666854054288827</c:v>
                </c:pt>
                <c:pt idx="10632">
                  <c:v>28.560921063571737</c:v>
                </c:pt>
                <c:pt idx="10633">
                  <c:v>19.58168594658434</c:v>
                </c:pt>
                <c:pt idx="10634">
                  <c:v>28.306345011101495</c:v>
                </c:pt>
                <c:pt idx="10635">
                  <c:v>44.536871693287168</c:v>
                </c:pt>
                <c:pt idx="10636">
                  <c:v>29.541018618721573</c:v>
                </c:pt>
                <c:pt idx="10637">
                  <c:v>16.036768705990404</c:v>
                </c:pt>
                <c:pt idx="10638">
                  <c:v>25.305708358224141</c:v>
                </c:pt>
                <c:pt idx="10639">
                  <c:v>28.488717086040882</c:v>
                </c:pt>
                <c:pt idx="10640">
                  <c:v>60.311117159996165</c:v>
                </c:pt>
                <c:pt idx="10641">
                  <c:v>48.940847197731905</c:v>
                </c:pt>
                <c:pt idx="10642">
                  <c:v>37.42371230478372</c:v>
                </c:pt>
                <c:pt idx="10643">
                  <c:v>56.250496963889134</c:v>
                </c:pt>
                <c:pt idx="10644">
                  <c:v>28.606662030895748</c:v>
                </c:pt>
                <c:pt idx="10645">
                  <c:v>25.915925474505084</c:v>
                </c:pt>
                <c:pt idx="10646">
                  <c:v>51.484033469888679</c:v>
                </c:pt>
                <c:pt idx="10647">
                  <c:v>27.102945121122524</c:v>
                </c:pt>
                <c:pt idx="10648">
                  <c:v>28.956117998352035</c:v>
                </c:pt>
                <c:pt idx="10649">
                  <c:v>19.912224618627132</c:v>
                </c:pt>
                <c:pt idx="10650">
                  <c:v>26.513292628067497</c:v>
                </c:pt>
                <c:pt idx="10651">
                  <c:v>53.365634141782017</c:v>
                </c:pt>
                <c:pt idx="10652">
                  <c:v>49.93988223537005</c:v>
                </c:pt>
                <c:pt idx="10653">
                  <c:v>36.336644526489145</c:v>
                </c:pt>
                <c:pt idx="10654">
                  <c:v>33.454350453052996</c:v>
                </c:pt>
                <c:pt idx="10655">
                  <c:v>27.981322045071444</c:v>
                </c:pt>
                <c:pt idx="10656">
                  <c:v>34.292700445660969</c:v>
                </c:pt>
                <c:pt idx="10657">
                  <c:v>23.975198347636088</c:v>
                </c:pt>
                <c:pt idx="10658">
                  <c:v>24.572753485396657</c:v>
                </c:pt>
                <c:pt idx="10659">
                  <c:v>26.129742448667493</c:v>
                </c:pt>
                <c:pt idx="10660">
                  <c:v>20.782447757841723</c:v>
                </c:pt>
                <c:pt idx="10661">
                  <c:v>28.610774627942053</c:v>
                </c:pt>
                <c:pt idx="10662">
                  <c:v>38.058105400185497</c:v>
                </c:pt>
                <c:pt idx="10663">
                  <c:v>31.597701318045218</c:v>
                </c:pt>
                <c:pt idx="10664">
                  <c:v>19.316441748647282</c:v>
                </c:pt>
                <c:pt idx="10665">
                  <c:v>33.322777572988144</c:v>
                </c:pt>
                <c:pt idx="10666">
                  <c:v>33.555223440610035</c:v>
                </c:pt>
                <c:pt idx="10667">
                  <c:v>53.497107704754619</c:v>
                </c:pt>
                <c:pt idx="10668">
                  <c:v>30.714770446392848</c:v>
                </c:pt>
                <c:pt idx="10669">
                  <c:v>35.858729082578229</c:v>
                </c:pt>
                <c:pt idx="10670">
                  <c:v>19.711973149418121</c:v>
                </c:pt>
                <c:pt idx="10671">
                  <c:v>22.492118266841675</c:v>
                </c:pt>
                <c:pt idx="10672">
                  <c:v>21.674002300707116</c:v>
                </c:pt>
                <c:pt idx="10673">
                  <c:v>30.009737712145441</c:v>
                </c:pt>
                <c:pt idx="10674">
                  <c:v>28.538403538017008</c:v>
                </c:pt>
                <c:pt idx="10675">
                  <c:v>27.288652248261407</c:v>
                </c:pt>
                <c:pt idx="10676">
                  <c:v>26.435745873412998</c:v>
                </c:pt>
                <c:pt idx="10677">
                  <c:v>26.57332792724555</c:v>
                </c:pt>
                <c:pt idx="10678">
                  <c:v>24.282317894301112</c:v>
                </c:pt>
                <c:pt idx="10679">
                  <c:v>36.183488707378672</c:v>
                </c:pt>
                <c:pt idx="10680">
                  <c:v>42.533273407603332</c:v>
                </c:pt>
                <c:pt idx="10681">
                  <c:v>29.532606805757464</c:v>
                </c:pt>
                <c:pt idx="10682">
                  <c:v>22.42640088199596</c:v>
                </c:pt>
                <c:pt idx="10683">
                  <c:v>26.770733638913612</c:v>
                </c:pt>
                <c:pt idx="10684">
                  <c:v>49.248194383187943</c:v>
                </c:pt>
                <c:pt idx="10685">
                  <c:v>25.937207780207178</c:v>
                </c:pt>
                <c:pt idx="10686">
                  <c:v>23.059326387851435</c:v>
                </c:pt>
                <c:pt idx="10687">
                  <c:v>29.530319222517008</c:v>
                </c:pt>
                <c:pt idx="10688">
                  <c:v>20.783934045649183</c:v>
                </c:pt>
                <c:pt idx="10689">
                  <c:v>23.147100951872083</c:v>
                </c:pt>
                <c:pt idx="10690">
                  <c:v>57.856161860941455</c:v>
                </c:pt>
                <c:pt idx="10691">
                  <c:v>17.726715413421914</c:v>
                </c:pt>
                <c:pt idx="10692">
                  <c:v>27.264442887050581</c:v>
                </c:pt>
                <c:pt idx="10693">
                  <c:v>27.276125924946221</c:v>
                </c:pt>
                <c:pt idx="10694">
                  <c:v>38.964561668948704</c:v>
                </c:pt>
                <c:pt idx="10695">
                  <c:v>23.469000982531732</c:v>
                </c:pt>
                <c:pt idx="10696">
                  <c:v>55.797451440625814</c:v>
                </c:pt>
                <c:pt idx="10697">
                  <c:v>23.883603518043888</c:v>
                </c:pt>
                <c:pt idx="10698">
                  <c:v>39.92184893075347</c:v>
                </c:pt>
                <c:pt idx="10699">
                  <c:v>38.465777509976341</c:v>
                </c:pt>
                <c:pt idx="10700">
                  <c:v>27.866882360224757</c:v>
                </c:pt>
                <c:pt idx="10701">
                  <c:v>37.3257779469402</c:v>
                </c:pt>
                <c:pt idx="10702">
                  <c:v>20.059193377215536</c:v>
                </c:pt>
                <c:pt idx="10703">
                  <c:v>55.161005716645661</c:v>
                </c:pt>
                <c:pt idx="10704">
                  <c:v>29.104689459385554</c:v>
                </c:pt>
                <c:pt idx="10705">
                  <c:v>18.751993031197475</c:v>
                </c:pt>
                <c:pt idx="10706">
                  <c:v>30.405714603385945</c:v>
                </c:pt>
                <c:pt idx="10707">
                  <c:v>42.515159396741453</c:v>
                </c:pt>
                <c:pt idx="10708">
                  <c:v>12.340529063401755</c:v>
                </c:pt>
                <c:pt idx="10709">
                  <c:v>30.344489578945982</c:v>
                </c:pt>
                <c:pt idx="10710">
                  <c:v>22.521336452772989</c:v>
                </c:pt>
                <c:pt idx="10711">
                  <c:v>25.573359806339674</c:v>
                </c:pt>
                <c:pt idx="10712">
                  <c:v>30.835757105424999</c:v>
                </c:pt>
                <c:pt idx="10713">
                  <c:v>40.414589137597083</c:v>
                </c:pt>
                <c:pt idx="10714">
                  <c:v>26.523674004268589</c:v>
                </c:pt>
                <c:pt idx="10715">
                  <c:v>27.158689937090109</c:v>
                </c:pt>
                <c:pt idx="10716">
                  <c:v>30.839258495830485</c:v>
                </c:pt>
                <c:pt idx="10717">
                  <c:v>26.327244333681904</c:v>
                </c:pt>
                <c:pt idx="10718">
                  <c:v>18.297824722313333</c:v>
                </c:pt>
                <c:pt idx="10719">
                  <c:v>24.967396419394639</c:v>
                </c:pt>
                <c:pt idx="10720">
                  <c:v>31.171314097758284</c:v>
                </c:pt>
                <c:pt idx="10721">
                  <c:v>40.089230294138751</c:v>
                </c:pt>
                <c:pt idx="10722">
                  <c:v>30.692528711911038</c:v>
                </c:pt>
                <c:pt idx="10723">
                  <c:v>32.966566246215855</c:v>
                </c:pt>
                <c:pt idx="10724">
                  <c:v>29.399293632582928</c:v>
                </c:pt>
                <c:pt idx="10725">
                  <c:v>37.129401322951345</c:v>
                </c:pt>
                <c:pt idx="10726">
                  <c:v>58.696945729280131</c:v>
                </c:pt>
                <c:pt idx="10727">
                  <c:v>47.690445866872068</c:v>
                </c:pt>
                <c:pt idx="10728">
                  <c:v>29.408092806541017</c:v>
                </c:pt>
                <c:pt idx="10729">
                  <c:v>25.814974988975315</c:v>
                </c:pt>
                <c:pt idx="10730">
                  <c:v>21.523416725745872</c:v>
                </c:pt>
                <c:pt idx="10731">
                  <c:v>24.968555785437005</c:v>
                </c:pt>
                <c:pt idx="10732">
                  <c:v>30.816677700972736</c:v>
                </c:pt>
                <c:pt idx="10733">
                  <c:v>31.317547698342096</c:v>
                </c:pt>
                <c:pt idx="10734">
                  <c:v>27.3436153486008</c:v>
                </c:pt>
                <c:pt idx="10735">
                  <c:v>34.757576798694259</c:v>
                </c:pt>
                <c:pt idx="10736">
                  <c:v>26.938931486217982</c:v>
                </c:pt>
                <c:pt idx="10737">
                  <c:v>23.330336153012315</c:v>
                </c:pt>
                <c:pt idx="10738">
                  <c:v>21.352743616907894</c:v>
                </c:pt>
                <c:pt idx="10739">
                  <c:v>26.9671353300464</c:v>
                </c:pt>
                <c:pt idx="10740">
                  <c:v>42.037349753268415</c:v>
                </c:pt>
                <c:pt idx="10741">
                  <c:v>56.577331979850413</c:v>
                </c:pt>
                <c:pt idx="10742">
                  <c:v>38.421312307956811</c:v>
                </c:pt>
                <c:pt idx="10743">
                  <c:v>55.821835887877725</c:v>
                </c:pt>
                <c:pt idx="10744">
                  <c:v>29.982820518035648</c:v>
                </c:pt>
                <c:pt idx="10745">
                  <c:v>27.949018921498759</c:v>
                </c:pt>
                <c:pt idx="10746">
                  <c:v>26.974990525352677</c:v>
                </c:pt>
                <c:pt idx="10747">
                  <c:v>53.247776715775267</c:v>
                </c:pt>
                <c:pt idx="10748">
                  <c:v>20.634381848561816</c:v>
                </c:pt>
                <c:pt idx="10749">
                  <c:v>21.729197300280727</c:v>
                </c:pt>
                <c:pt idx="10750">
                  <c:v>21.93735781386561</c:v>
                </c:pt>
                <c:pt idx="10751">
                  <c:v>31.111675574479751</c:v>
                </c:pt>
                <c:pt idx="10752">
                  <c:v>31.172062805868229</c:v>
                </c:pt>
                <c:pt idx="10753">
                  <c:v>29.479153253952067</c:v>
                </c:pt>
                <c:pt idx="10754">
                  <c:v>36.634636874998556</c:v>
                </c:pt>
                <c:pt idx="10755">
                  <c:v>31.168862653220827</c:v>
                </c:pt>
                <c:pt idx="10756">
                  <c:v>58.487767769775353</c:v>
                </c:pt>
                <c:pt idx="10757">
                  <c:v>59.286335988324105</c:v>
                </c:pt>
                <c:pt idx="10758">
                  <c:v>26.608661701069696</c:v>
                </c:pt>
                <c:pt idx="10759">
                  <c:v>30.317845514482112</c:v>
                </c:pt>
                <c:pt idx="10760">
                  <c:v>35.129806055928277</c:v>
                </c:pt>
                <c:pt idx="10761">
                  <c:v>31.113081052871358</c:v>
                </c:pt>
                <c:pt idx="10762">
                  <c:v>29.686808720440553</c:v>
                </c:pt>
                <c:pt idx="10763">
                  <c:v>23.314560146534365</c:v>
                </c:pt>
                <c:pt idx="10764">
                  <c:v>23.214195934333258</c:v>
                </c:pt>
                <c:pt idx="10765">
                  <c:v>36.037551094668586</c:v>
                </c:pt>
                <c:pt idx="10766">
                  <c:v>37.228770599050335</c:v>
                </c:pt>
                <c:pt idx="10767">
                  <c:v>44.939329532064271</c:v>
                </c:pt>
                <c:pt idx="10768">
                  <c:v>26.264829627752313</c:v>
                </c:pt>
                <c:pt idx="10769">
                  <c:v>21.672145392401315</c:v>
                </c:pt>
                <c:pt idx="10770">
                  <c:v>28.303263727115315</c:v>
                </c:pt>
                <c:pt idx="10771">
                  <c:v>47.606766386716913</c:v>
                </c:pt>
                <c:pt idx="10772">
                  <c:v>25.067283862260339</c:v>
                </c:pt>
                <c:pt idx="10773">
                  <c:v>32.56270680854778</c:v>
                </c:pt>
                <c:pt idx="10774">
                  <c:v>26.532560286082202</c:v>
                </c:pt>
                <c:pt idx="10775">
                  <c:v>39.564647691229467</c:v>
                </c:pt>
                <c:pt idx="10776">
                  <c:v>58.585847279077811</c:v>
                </c:pt>
                <c:pt idx="10777">
                  <c:v>28.417274656813589</c:v>
                </c:pt>
                <c:pt idx="10778">
                  <c:v>27.593012328708088</c:v>
                </c:pt>
                <c:pt idx="10779">
                  <c:v>23.05518940886126</c:v>
                </c:pt>
                <c:pt idx="10780">
                  <c:v>35.38157880845695</c:v>
                </c:pt>
                <c:pt idx="10781">
                  <c:v>43.244232938080621</c:v>
                </c:pt>
                <c:pt idx="10782">
                  <c:v>22.636769414525531</c:v>
                </c:pt>
                <c:pt idx="10783">
                  <c:v>27.694820067564702</c:v>
                </c:pt>
                <c:pt idx="10784">
                  <c:v>24.712957459810703</c:v>
                </c:pt>
                <c:pt idx="10785">
                  <c:v>20.457506777874691</c:v>
                </c:pt>
                <c:pt idx="10786">
                  <c:v>29.589469531106459</c:v>
                </c:pt>
                <c:pt idx="10787">
                  <c:v>41.388586733897469</c:v>
                </c:pt>
                <c:pt idx="10788">
                  <c:v>37.223926117024668</c:v>
                </c:pt>
                <c:pt idx="10789">
                  <c:v>34.292080976962175</c:v>
                </c:pt>
                <c:pt idx="10790">
                  <c:v>31.22797546329258</c:v>
                </c:pt>
                <c:pt idx="10791">
                  <c:v>25.693412979280588</c:v>
                </c:pt>
                <c:pt idx="10792">
                  <c:v>22.547786441435342</c:v>
                </c:pt>
                <c:pt idx="10793">
                  <c:v>25.516057522220667</c:v>
                </c:pt>
                <c:pt idx="10794">
                  <c:v>18.651182784358522</c:v>
                </c:pt>
                <c:pt idx="10795">
                  <c:v>35.121158426441042</c:v>
                </c:pt>
                <c:pt idx="10796">
                  <c:v>28.769410592259771</c:v>
                </c:pt>
                <c:pt idx="10797">
                  <c:v>38.974884252385849</c:v>
                </c:pt>
                <c:pt idx="10798">
                  <c:v>39.339782631320446</c:v>
                </c:pt>
                <c:pt idx="10799">
                  <c:v>41.048445824554669</c:v>
                </c:pt>
                <c:pt idx="10800">
                  <c:v>38.804157159601161</c:v>
                </c:pt>
                <c:pt idx="10801">
                  <c:v>23.635776986817948</c:v>
                </c:pt>
                <c:pt idx="10802">
                  <c:v>25.759984086930487</c:v>
                </c:pt>
                <c:pt idx="10803">
                  <c:v>24.20221012721867</c:v>
                </c:pt>
                <c:pt idx="10804">
                  <c:v>24.035010606690015</c:v>
                </c:pt>
                <c:pt idx="10805">
                  <c:v>39.461192923849303</c:v>
                </c:pt>
                <c:pt idx="10806">
                  <c:v>57.165172731810252</c:v>
                </c:pt>
                <c:pt idx="10807">
                  <c:v>36.502158190967734</c:v>
                </c:pt>
                <c:pt idx="10808">
                  <c:v>22.669521242327885</c:v>
                </c:pt>
                <c:pt idx="10809">
                  <c:v>29.252701996210625</c:v>
                </c:pt>
                <c:pt idx="10810">
                  <c:v>41.82480208618076</c:v>
                </c:pt>
                <c:pt idx="10811">
                  <c:v>32.622922138818303</c:v>
                </c:pt>
                <c:pt idx="10812">
                  <c:v>22.692773892281135</c:v>
                </c:pt>
                <c:pt idx="10813">
                  <c:v>23.615250888080734</c:v>
                </c:pt>
                <c:pt idx="10814">
                  <c:v>31.019124973639748</c:v>
                </c:pt>
                <c:pt idx="10815">
                  <c:v>25.503726028810583</c:v>
                </c:pt>
                <c:pt idx="10816">
                  <c:v>23.456533272157515</c:v>
                </c:pt>
                <c:pt idx="10817">
                  <c:v>26.021774295792067</c:v>
                </c:pt>
                <c:pt idx="10818">
                  <c:v>19.150761395852637</c:v>
                </c:pt>
                <c:pt idx="10819">
                  <c:v>41.822416448177805</c:v>
                </c:pt>
                <c:pt idx="10820">
                  <c:v>32.855100016703275</c:v>
                </c:pt>
                <c:pt idx="10821">
                  <c:v>21.041790315225882</c:v>
                </c:pt>
                <c:pt idx="10822">
                  <c:v>50.080966953281809</c:v>
                </c:pt>
                <c:pt idx="10823">
                  <c:v>25.732928539161609</c:v>
                </c:pt>
                <c:pt idx="10824">
                  <c:v>29.621311366055682</c:v>
                </c:pt>
                <c:pt idx="10825">
                  <c:v>24.593505930937319</c:v>
                </c:pt>
                <c:pt idx="10826">
                  <c:v>40.999582283998649</c:v>
                </c:pt>
                <c:pt idx="10827">
                  <c:v>23.432998067322288</c:v>
                </c:pt>
                <c:pt idx="10828">
                  <c:v>26.98506818537043</c:v>
                </c:pt>
                <c:pt idx="10829">
                  <c:v>30.459569641903229</c:v>
                </c:pt>
                <c:pt idx="10830">
                  <c:v>19.537250275826988</c:v>
                </c:pt>
                <c:pt idx="10831">
                  <c:v>26.363966931786077</c:v>
                </c:pt>
                <c:pt idx="10832">
                  <c:v>33.18420510334203</c:v>
                </c:pt>
                <c:pt idx="10833">
                  <c:v>25.186486696965616</c:v>
                </c:pt>
                <c:pt idx="10834">
                  <c:v>24.774896976318466</c:v>
                </c:pt>
                <c:pt idx="10835">
                  <c:v>33.157213650436333</c:v>
                </c:pt>
                <c:pt idx="10836">
                  <c:v>26.911189826597031</c:v>
                </c:pt>
                <c:pt idx="10837">
                  <c:v>31.880818195847553</c:v>
                </c:pt>
                <c:pt idx="10838">
                  <c:v>35.315774910759821</c:v>
                </c:pt>
                <c:pt idx="10839">
                  <c:v>23.745814689694697</c:v>
                </c:pt>
                <c:pt idx="10840">
                  <c:v>28.692943283074598</c:v>
                </c:pt>
                <c:pt idx="10841">
                  <c:v>21.036013793371239</c:v>
                </c:pt>
                <c:pt idx="10842">
                  <c:v>26.484658867490207</c:v>
                </c:pt>
                <c:pt idx="10843">
                  <c:v>55.582920499874092</c:v>
                </c:pt>
                <c:pt idx="10844">
                  <c:v>24.426670103535624</c:v>
                </c:pt>
                <c:pt idx="10845">
                  <c:v>51.995069032018051</c:v>
                </c:pt>
                <c:pt idx="10846">
                  <c:v>52.398936960407816</c:v>
                </c:pt>
                <c:pt idx="10847">
                  <c:v>24.655847630712607</c:v>
                </c:pt>
                <c:pt idx="10848">
                  <c:v>52.567135133401464</c:v>
                </c:pt>
                <c:pt idx="10849">
                  <c:v>25.203057165073023</c:v>
                </c:pt>
                <c:pt idx="10850">
                  <c:v>27.699327247843133</c:v>
                </c:pt>
                <c:pt idx="10851">
                  <c:v>22.529959850857789</c:v>
                </c:pt>
                <c:pt idx="10852">
                  <c:v>37.592453118533811</c:v>
                </c:pt>
                <c:pt idx="10853">
                  <c:v>19.559353598076097</c:v>
                </c:pt>
                <c:pt idx="10854">
                  <c:v>50.572076894561903</c:v>
                </c:pt>
                <c:pt idx="10855">
                  <c:v>32.367350784433768</c:v>
                </c:pt>
                <c:pt idx="10856">
                  <c:v>23.533385752995219</c:v>
                </c:pt>
                <c:pt idx="10857">
                  <c:v>39.063333010039429</c:v>
                </c:pt>
                <c:pt idx="10858">
                  <c:v>21.15156011466981</c:v>
                </c:pt>
                <c:pt idx="10859">
                  <c:v>54.101037052579244</c:v>
                </c:pt>
                <c:pt idx="10860">
                  <c:v>27.236252542622076</c:v>
                </c:pt>
                <c:pt idx="10861">
                  <c:v>33.971037361500876</c:v>
                </c:pt>
                <c:pt idx="10862">
                  <c:v>26.450715614269203</c:v>
                </c:pt>
                <c:pt idx="10863">
                  <c:v>24.295583141915614</c:v>
                </c:pt>
                <c:pt idx="10864">
                  <c:v>31.103348318981556</c:v>
                </c:pt>
                <c:pt idx="10865">
                  <c:v>26.807825593007859</c:v>
                </c:pt>
                <c:pt idx="10866">
                  <c:v>29.538876445878891</c:v>
                </c:pt>
                <c:pt idx="10867">
                  <c:v>22.915031671408997</c:v>
                </c:pt>
                <c:pt idx="10868">
                  <c:v>32.693288595706328</c:v>
                </c:pt>
                <c:pt idx="10869">
                  <c:v>32.912821961365786</c:v>
                </c:pt>
                <c:pt idx="10870">
                  <c:v>25.60783708386878</c:v>
                </c:pt>
                <c:pt idx="10871">
                  <c:v>38.268341064028917</c:v>
                </c:pt>
                <c:pt idx="10872">
                  <c:v>53.907056771509581</c:v>
                </c:pt>
                <c:pt idx="10873">
                  <c:v>43.374653666889884</c:v>
                </c:pt>
                <c:pt idx="10874">
                  <c:v>22.438929995316361</c:v>
                </c:pt>
                <c:pt idx="10875">
                  <c:v>56.650593150011943</c:v>
                </c:pt>
                <c:pt idx="10876">
                  <c:v>31.850449631722892</c:v>
                </c:pt>
                <c:pt idx="10877">
                  <c:v>27.430026457174591</c:v>
                </c:pt>
                <c:pt idx="10878">
                  <c:v>28.816580181515281</c:v>
                </c:pt>
                <c:pt idx="10879">
                  <c:v>24.975580438474005</c:v>
                </c:pt>
                <c:pt idx="10880">
                  <c:v>22.490871447822734</c:v>
                </c:pt>
                <c:pt idx="10881">
                  <c:v>19.391663875176739</c:v>
                </c:pt>
                <c:pt idx="10882">
                  <c:v>22.900067723627842</c:v>
                </c:pt>
                <c:pt idx="10883">
                  <c:v>32.166913580695052</c:v>
                </c:pt>
                <c:pt idx="10884">
                  <c:v>28.012259712585536</c:v>
                </c:pt>
                <c:pt idx="10885">
                  <c:v>25.112227132061626</c:v>
                </c:pt>
                <c:pt idx="10886">
                  <c:v>28.34313550000677</c:v>
                </c:pt>
                <c:pt idx="10887">
                  <c:v>48.805473893450689</c:v>
                </c:pt>
                <c:pt idx="10888">
                  <c:v>48.87968051904857</c:v>
                </c:pt>
                <c:pt idx="10889">
                  <c:v>27.941926131477707</c:v>
                </c:pt>
                <c:pt idx="10890">
                  <c:v>26.56695044671714</c:v>
                </c:pt>
                <c:pt idx="10891">
                  <c:v>28.874632066988056</c:v>
                </c:pt>
                <c:pt idx="10892">
                  <c:v>43.578732042071763</c:v>
                </c:pt>
                <c:pt idx="10893">
                  <c:v>28.576021548048935</c:v>
                </c:pt>
                <c:pt idx="10894">
                  <c:v>27.871514783748182</c:v>
                </c:pt>
                <c:pt idx="10895">
                  <c:v>28.717437288038745</c:v>
                </c:pt>
                <c:pt idx="10896">
                  <c:v>29.533567356687065</c:v>
                </c:pt>
                <c:pt idx="10897">
                  <c:v>26.61374706832326</c:v>
                </c:pt>
                <c:pt idx="10898">
                  <c:v>42.463271060934652</c:v>
                </c:pt>
                <c:pt idx="10899">
                  <c:v>39.667651050301416</c:v>
                </c:pt>
                <c:pt idx="10900">
                  <c:v>22.891950495308553</c:v>
                </c:pt>
                <c:pt idx="10901">
                  <c:v>30.36221555053493</c:v>
                </c:pt>
                <c:pt idx="10902">
                  <c:v>21.801701187777351</c:v>
                </c:pt>
                <c:pt idx="10903">
                  <c:v>23.287219238079071</c:v>
                </c:pt>
                <c:pt idx="10904">
                  <c:v>41.67768880947731</c:v>
                </c:pt>
                <c:pt idx="10905">
                  <c:v>31.999785914320363</c:v>
                </c:pt>
                <c:pt idx="10906">
                  <c:v>27.191752992843575</c:v>
                </c:pt>
                <c:pt idx="10907">
                  <c:v>48.55158710098101</c:v>
                </c:pt>
                <c:pt idx="10908">
                  <c:v>64.091782769647722</c:v>
                </c:pt>
                <c:pt idx="10909">
                  <c:v>23.173313969444308</c:v>
                </c:pt>
                <c:pt idx="10910">
                  <c:v>24.568716101528302</c:v>
                </c:pt>
                <c:pt idx="10911">
                  <c:v>21.787017258091005</c:v>
                </c:pt>
                <c:pt idx="10912">
                  <c:v>32.043321404179096</c:v>
                </c:pt>
                <c:pt idx="10913">
                  <c:v>24.283479656155048</c:v>
                </c:pt>
                <c:pt idx="10914">
                  <c:v>29.327544155054131</c:v>
                </c:pt>
                <c:pt idx="10915">
                  <c:v>22.460944493097536</c:v>
                </c:pt>
                <c:pt idx="10916">
                  <c:v>27.381265938474396</c:v>
                </c:pt>
                <c:pt idx="10917">
                  <c:v>49.718847989143121</c:v>
                </c:pt>
                <c:pt idx="10918">
                  <c:v>28.415680761427911</c:v>
                </c:pt>
                <c:pt idx="10919">
                  <c:v>19.570875335824027</c:v>
                </c:pt>
                <c:pt idx="10920">
                  <c:v>31.763759911969252</c:v>
                </c:pt>
                <c:pt idx="10921">
                  <c:v>21.377044817576444</c:v>
                </c:pt>
                <c:pt idx="10922">
                  <c:v>22.802796578208856</c:v>
                </c:pt>
                <c:pt idx="10923">
                  <c:v>50.313342024721727</c:v>
                </c:pt>
                <c:pt idx="10924">
                  <c:v>38.594627346765058</c:v>
                </c:pt>
                <c:pt idx="10925">
                  <c:v>47.428989453992166</c:v>
                </c:pt>
                <c:pt idx="10926">
                  <c:v>54.223618601315671</c:v>
                </c:pt>
                <c:pt idx="10927">
                  <c:v>23.679530154408081</c:v>
                </c:pt>
                <c:pt idx="10928">
                  <c:v>24.256415703870267</c:v>
                </c:pt>
                <c:pt idx="10929">
                  <c:v>28.249134915871345</c:v>
                </c:pt>
                <c:pt idx="10930">
                  <c:v>20.779683092741365</c:v>
                </c:pt>
                <c:pt idx="10931">
                  <c:v>28.21328175261899</c:v>
                </c:pt>
                <c:pt idx="10932">
                  <c:v>49.521655557689584</c:v>
                </c:pt>
                <c:pt idx="10933">
                  <c:v>37.270852203467932</c:v>
                </c:pt>
                <c:pt idx="10934">
                  <c:v>31.829994282835138</c:v>
                </c:pt>
                <c:pt idx="10935">
                  <c:v>30.611828829538354</c:v>
                </c:pt>
                <c:pt idx="10936">
                  <c:v>34.888812785771648</c:v>
                </c:pt>
                <c:pt idx="10937">
                  <c:v>46.914473296420226</c:v>
                </c:pt>
                <c:pt idx="10938">
                  <c:v>24.494488287263337</c:v>
                </c:pt>
                <c:pt idx="10939">
                  <c:v>40.124345442978623</c:v>
                </c:pt>
                <c:pt idx="10940">
                  <c:v>25.448875793116322</c:v>
                </c:pt>
                <c:pt idx="10941">
                  <c:v>25.473972601108557</c:v>
                </c:pt>
                <c:pt idx="10942">
                  <c:v>36.948757155214778</c:v>
                </c:pt>
                <c:pt idx="10943">
                  <c:v>26.988288062070058</c:v>
                </c:pt>
                <c:pt idx="10944">
                  <c:v>31.354785224498958</c:v>
                </c:pt>
                <c:pt idx="10945">
                  <c:v>31.23192688727114</c:v>
                </c:pt>
                <c:pt idx="10946">
                  <c:v>17.403461926211257</c:v>
                </c:pt>
                <c:pt idx="10947">
                  <c:v>28.418347811263089</c:v>
                </c:pt>
                <c:pt idx="10948">
                  <c:v>33.4951203786744</c:v>
                </c:pt>
                <c:pt idx="10949">
                  <c:v>25.937475732914194</c:v>
                </c:pt>
                <c:pt idx="10950">
                  <c:v>19.48812995071598</c:v>
                </c:pt>
                <c:pt idx="10951">
                  <c:v>48.093791256265533</c:v>
                </c:pt>
                <c:pt idx="10952">
                  <c:v>25.428794274023343</c:v>
                </c:pt>
                <c:pt idx="10953">
                  <c:v>32.566962215556963</c:v>
                </c:pt>
                <c:pt idx="10954">
                  <c:v>44.534668366931029</c:v>
                </c:pt>
                <c:pt idx="10955">
                  <c:v>24.480985598843695</c:v>
                </c:pt>
                <c:pt idx="10956">
                  <c:v>21.370853189594172</c:v>
                </c:pt>
                <c:pt idx="10957">
                  <c:v>48.675814081507404</c:v>
                </c:pt>
                <c:pt idx="10958">
                  <c:v>22.770835490313257</c:v>
                </c:pt>
                <c:pt idx="10959">
                  <c:v>29.64956273710564</c:v>
                </c:pt>
                <c:pt idx="10960">
                  <c:v>34.80415051839789</c:v>
                </c:pt>
                <c:pt idx="10961">
                  <c:v>29.703392624315597</c:v>
                </c:pt>
                <c:pt idx="10962">
                  <c:v>29.913278668484985</c:v>
                </c:pt>
                <c:pt idx="10963">
                  <c:v>22.054633727996887</c:v>
                </c:pt>
                <c:pt idx="10964">
                  <c:v>62.764137545159898</c:v>
                </c:pt>
                <c:pt idx="10965">
                  <c:v>25.036055536856324</c:v>
                </c:pt>
                <c:pt idx="10966">
                  <c:v>39.561484823770343</c:v>
                </c:pt>
                <c:pt idx="10967">
                  <c:v>24.21867773892475</c:v>
                </c:pt>
                <c:pt idx="10968">
                  <c:v>16.187712204186145</c:v>
                </c:pt>
                <c:pt idx="10969">
                  <c:v>52.124710000806928</c:v>
                </c:pt>
                <c:pt idx="10970">
                  <c:v>41.433726423366764</c:v>
                </c:pt>
                <c:pt idx="10971">
                  <c:v>35.01219588019439</c:v>
                </c:pt>
                <c:pt idx="10972">
                  <c:v>35.172465294747568</c:v>
                </c:pt>
                <c:pt idx="10973">
                  <c:v>28.109057150785475</c:v>
                </c:pt>
                <c:pt idx="10974">
                  <c:v>27.601773870744193</c:v>
                </c:pt>
                <c:pt idx="10975">
                  <c:v>51.360370207188879</c:v>
                </c:pt>
                <c:pt idx="10976">
                  <c:v>28.638854046125278</c:v>
                </c:pt>
                <c:pt idx="10977">
                  <c:v>25.778232831138876</c:v>
                </c:pt>
                <c:pt idx="10978">
                  <c:v>27.414429857844084</c:v>
                </c:pt>
                <c:pt idx="10979">
                  <c:v>25.411591938353503</c:v>
                </c:pt>
                <c:pt idx="10980">
                  <c:v>28.269594443796286</c:v>
                </c:pt>
                <c:pt idx="10981">
                  <c:v>39.213094036097296</c:v>
                </c:pt>
                <c:pt idx="10982">
                  <c:v>30.20541616695229</c:v>
                </c:pt>
                <c:pt idx="10983">
                  <c:v>33.285312486722717</c:v>
                </c:pt>
                <c:pt idx="10984">
                  <c:v>28.551153067295271</c:v>
                </c:pt>
                <c:pt idx="10985">
                  <c:v>27.490431452576683</c:v>
                </c:pt>
                <c:pt idx="10986">
                  <c:v>24.576186243162301</c:v>
                </c:pt>
                <c:pt idx="10987">
                  <c:v>31.015339778708057</c:v>
                </c:pt>
                <c:pt idx="10988">
                  <c:v>21.988034665294549</c:v>
                </c:pt>
                <c:pt idx="10989">
                  <c:v>25.681566497351376</c:v>
                </c:pt>
                <c:pt idx="10990">
                  <c:v>24.779939876124658</c:v>
                </c:pt>
                <c:pt idx="10991">
                  <c:v>36.080228663011582</c:v>
                </c:pt>
                <c:pt idx="10992">
                  <c:v>25.582607552118333</c:v>
                </c:pt>
                <c:pt idx="10993">
                  <c:v>25.837375069884949</c:v>
                </c:pt>
                <c:pt idx="10994">
                  <c:v>26.222971999519046</c:v>
                </c:pt>
                <c:pt idx="10995">
                  <c:v>16.644751218261142</c:v>
                </c:pt>
                <c:pt idx="10996">
                  <c:v>34.704978391879493</c:v>
                </c:pt>
                <c:pt idx="10997">
                  <c:v>32.419001842509779</c:v>
                </c:pt>
                <c:pt idx="10998">
                  <c:v>44.062492254066242</c:v>
                </c:pt>
                <c:pt idx="10999">
                  <c:v>45.559955490582752</c:v>
                </c:pt>
                <c:pt idx="11000">
                  <c:v>36.080804299832103</c:v>
                </c:pt>
                <c:pt idx="11001">
                  <c:v>26.021363889622258</c:v>
                </c:pt>
                <c:pt idx="11002">
                  <c:v>31.426772357274512</c:v>
                </c:pt>
                <c:pt idx="11003">
                  <c:v>40.356407319013002</c:v>
                </c:pt>
                <c:pt idx="11004">
                  <c:v>41.283717602535411</c:v>
                </c:pt>
                <c:pt idx="11005">
                  <c:v>22.894334348001582</c:v>
                </c:pt>
                <c:pt idx="11006">
                  <c:v>34.362924318565803</c:v>
                </c:pt>
                <c:pt idx="11007">
                  <c:v>25.732778092891799</c:v>
                </c:pt>
                <c:pt idx="11008">
                  <c:v>22.991066592109284</c:v>
                </c:pt>
                <c:pt idx="11009">
                  <c:v>20.136219002176475</c:v>
                </c:pt>
                <c:pt idx="11010">
                  <c:v>28.820702417354433</c:v>
                </c:pt>
                <c:pt idx="11011">
                  <c:v>23.767984086938593</c:v>
                </c:pt>
                <c:pt idx="11012">
                  <c:v>22.699280955120621</c:v>
                </c:pt>
                <c:pt idx="11013">
                  <c:v>36.010506013490726</c:v>
                </c:pt>
                <c:pt idx="11014">
                  <c:v>24.72140788479777</c:v>
                </c:pt>
                <c:pt idx="11015">
                  <c:v>24.337042539589341</c:v>
                </c:pt>
                <c:pt idx="11016">
                  <c:v>23.302186860482013</c:v>
                </c:pt>
                <c:pt idx="11017">
                  <c:v>22.920229118803341</c:v>
                </c:pt>
                <c:pt idx="11018">
                  <c:v>19.277059465860329</c:v>
                </c:pt>
                <c:pt idx="11019">
                  <c:v>32.831356225904017</c:v>
                </c:pt>
                <c:pt idx="11020">
                  <c:v>32.643266698777161</c:v>
                </c:pt>
                <c:pt idx="11021">
                  <c:v>27.200243597864155</c:v>
                </c:pt>
                <c:pt idx="11022">
                  <c:v>34.4512814289481</c:v>
                </c:pt>
                <c:pt idx="11023">
                  <c:v>37.379836086124165</c:v>
                </c:pt>
                <c:pt idx="11024">
                  <c:v>23.191381124460925</c:v>
                </c:pt>
                <c:pt idx="11025">
                  <c:v>22.402606952438582</c:v>
                </c:pt>
                <c:pt idx="11026">
                  <c:v>57.85257594579123</c:v>
                </c:pt>
                <c:pt idx="11027">
                  <c:v>43.71981178586136</c:v>
                </c:pt>
                <c:pt idx="11028">
                  <c:v>49.869882934427714</c:v>
                </c:pt>
                <c:pt idx="11029">
                  <c:v>40.195745777725357</c:v>
                </c:pt>
                <c:pt idx="11030">
                  <c:v>35.714180935906342</c:v>
                </c:pt>
                <c:pt idx="11031">
                  <c:v>26.022287284465602</c:v>
                </c:pt>
                <c:pt idx="11032">
                  <c:v>31.702317069078759</c:v>
                </c:pt>
                <c:pt idx="11033">
                  <c:v>39.548235701094114</c:v>
                </c:pt>
                <c:pt idx="11034">
                  <c:v>27.829186759025582</c:v>
                </c:pt>
                <c:pt idx="11035">
                  <c:v>24.838740719697249</c:v>
                </c:pt>
                <c:pt idx="11036">
                  <c:v>23.08909865893256</c:v>
                </c:pt>
                <c:pt idx="11037">
                  <c:v>21.865030723047834</c:v>
                </c:pt>
                <c:pt idx="11038">
                  <c:v>27.977519137602936</c:v>
                </c:pt>
                <c:pt idx="11039">
                  <c:v>19.508425458141918</c:v>
                </c:pt>
                <c:pt idx="11040">
                  <c:v>25.300697313797279</c:v>
                </c:pt>
                <c:pt idx="11041">
                  <c:v>34.565051723049699</c:v>
                </c:pt>
                <c:pt idx="11042">
                  <c:v>23.859114360779792</c:v>
                </c:pt>
                <c:pt idx="11043">
                  <c:v>30.416359729637556</c:v>
                </c:pt>
                <c:pt idx="11044">
                  <c:v>31.919422323850974</c:v>
                </c:pt>
                <c:pt idx="11045">
                  <c:v>40.324164387456257</c:v>
                </c:pt>
                <c:pt idx="11046">
                  <c:v>38.164100127317482</c:v>
                </c:pt>
                <c:pt idx="11047">
                  <c:v>46.835918356427413</c:v>
                </c:pt>
                <c:pt idx="11048">
                  <c:v>23.967239940620331</c:v>
                </c:pt>
                <c:pt idx="11049">
                  <c:v>22.806297976354976</c:v>
                </c:pt>
                <c:pt idx="11050">
                  <c:v>40.246438549071875</c:v>
                </c:pt>
                <c:pt idx="11051">
                  <c:v>31.419212950076009</c:v>
                </c:pt>
                <c:pt idx="11052">
                  <c:v>24.753045842025351</c:v>
                </c:pt>
                <c:pt idx="11053">
                  <c:v>28.245089713092774</c:v>
                </c:pt>
                <c:pt idx="11054">
                  <c:v>26.081282491797339</c:v>
                </c:pt>
                <c:pt idx="11055">
                  <c:v>27.96291105505642</c:v>
                </c:pt>
                <c:pt idx="11056">
                  <c:v>45.331812073954183</c:v>
                </c:pt>
                <c:pt idx="11057">
                  <c:v>32.698646031996901</c:v>
                </c:pt>
                <c:pt idx="11058">
                  <c:v>28.223285363479963</c:v>
                </c:pt>
                <c:pt idx="11059">
                  <c:v>36.256362078383482</c:v>
                </c:pt>
                <c:pt idx="11060">
                  <c:v>26.174253833090045</c:v>
                </c:pt>
                <c:pt idx="11061">
                  <c:v>28.505853700894026</c:v>
                </c:pt>
                <c:pt idx="11062">
                  <c:v>44.789074601636067</c:v>
                </c:pt>
                <c:pt idx="11063">
                  <c:v>47.318511415050864</c:v>
                </c:pt>
                <c:pt idx="11064">
                  <c:v>45.793698178100854</c:v>
                </c:pt>
                <c:pt idx="11065">
                  <c:v>52.492256971658712</c:v>
                </c:pt>
                <c:pt idx="11066">
                  <c:v>32.292588081225119</c:v>
                </c:pt>
                <c:pt idx="11067">
                  <c:v>22.935577143593491</c:v>
                </c:pt>
                <c:pt idx="11068">
                  <c:v>29.50427287259599</c:v>
                </c:pt>
                <c:pt idx="11069">
                  <c:v>23.842420418467679</c:v>
                </c:pt>
                <c:pt idx="11070">
                  <c:v>24.280304050377261</c:v>
                </c:pt>
                <c:pt idx="11071">
                  <c:v>37.823930003268885</c:v>
                </c:pt>
                <c:pt idx="11072">
                  <c:v>69.631055750566176</c:v>
                </c:pt>
                <c:pt idx="11073">
                  <c:v>27.281397657002291</c:v>
                </c:pt>
                <c:pt idx="11074">
                  <c:v>26.552890104274915</c:v>
                </c:pt>
                <c:pt idx="11075">
                  <c:v>23.475219039295002</c:v>
                </c:pt>
                <c:pt idx="11076">
                  <c:v>48.455490124663676</c:v>
                </c:pt>
                <c:pt idx="11077">
                  <c:v>23.241550068197608</c:v>
                </c:pt>
                <c:pt idx="11078">
                  <c:v>40.532352050143899</c:v>
                </c:pt>
                <c:pt idx="11079">
                  <c:v>20.408838511224886</c:v>
                </c:pt>
                <c:pt idx="11080">
                  <c:v>30.027315357119388</c:v>
                </c:pt>
                <c:pt idx="11081">
                  <c:v>38.791967778664713</c:v>
                </c:pt>
                <c:pt idx="11082">
                  <c:v>23.475074091644728</c:v>
                </c:pt>
                <c:pt idx="11083">
                  <c:v>41.782312503038561</c:v>
                </c:pt>
                <c:pt idx="11084">
                  <c:v>25.791105162328073</c:v>
                </c:pt>
                <c:pt idx="11085">
                  <c:v>24.579112945012923</c:v>
                </c:pt>
                <c:pt idx="11086">
                  <c:v>47.781871164069486</c:v>
                </c:pt>
                <c:pt idx="11087">
                  <c:v>34.508130445219621</c:v>
                </c:pt>
                <c:pt idx="11088">
                  <c:v>50.382919404366923</c:v>
                </c:pt>
                <c:pt idx="11089">
                  <c:v>30.672153012175826</c:v>
                </c:pt>
                <c:pt idx="11090">
                  <c:v>22.615077776744663</c:v>
                </c:pt>
                <c:pt idx="11091">
                  <c:v>67.889118990891902</c:v>
                </c:pt>
                <c:pt idx="11092">
                  <c:v>25.054517426564558</c:v>
                </c:pt>
                <c:pt idx="11093">
                  <c:v>48.413690093383664</c:v>
                </c:pt>
                <c:pt idx="11094">
                  <c:v>32.309998287536018</c:v>
                </c:pt>
                <c:pt idx="11095">
                  <c:v>23.91969153126313</c:v>
                </c:pt>
                <c:pt idx="11096">
                  <c:v>19.695419146322592</c:v>
                </c:pt>
                <c:pt idx="11097">
                  <c:v>24.70228678890258</c:v>
                </c:pt>
                <c:pt idx="11098">
                  <c:v>36.151986038075528</c:v>
                </c:pt>
                <c:pt idx="11099">
                  <c:v>41.967777027696783</c:v>
                </c:pt>
                <c:pt idx="11100">
                  <c:v>48.863815567188944</c:v>
                </c:pt>
                <c:pt idx="11101">
                  <c:v>28.836986607593403</c:v>
                </c:pt>
                <c:pt idx="11102">
                  <c:v>27.301138490632958</c:v>
                </c:pt>
                <c:pt idx="11103">
                  <c:v>30.896211463292467</c:v>
                </c:pt>
                <c:pt idx="11104">
                  <c:v>26.218490209737176</c:v>
                </c:pt>
                <c:pt idx="11105">
                  <c:v>26.15156455613354</c:v>
                </c:pt>
                <c:pt idx="11106">
                  <c:v>32.505611890914373</c:v>
                </c:pt>
                <c:pt idx="11107">
                  <c:v>27.085296441527976</c:v>
                </c:pt>
                <c:pt idx="11108">
                  <c:v>44.042132094892835</c:v>
                </c:pt>
                <c:pt idx="11109">
                  <c:v>24.350973613555073</c:v>
                </c:pt>
                <c:pt idx="11110">
                  <c:v>32.839180939008763</c:v>
                </c:pt>
                <c:pt idx="11111">
                  <c:v>25.66299857723271</c:v>
                </c:pt>
                <c:pt idx="11112">
                  <c:v>32.708625533318106</c:v>
                </c:pt>
                <c:pt idx="11113">
                  <c:v>29.128446736054634</c:v>
                </c:pt>
                <c:pt idx="11114">
                  <c:v>40.570958433274569</c:v>
                </c:pt>
                <c:pt idx="11115">
                  <c:v>26.065484778044489</c:v>
                </c:pt>
                <c:pt idx="11116">
                  <c:v>28.484981361896011</c:v>
                </c:pt>
                <c:pt idx="11117">
                  <c:v>54.629592837867925</c:v>
                </c:pt>
                <c:pt idx="11118">
                  <c:v>39.221430504399585</c:v>
                </c:pt>
                <c:pt idx="11119">
                  <c:v>28.860633557006427</c:v>
                </c:pt>
                <c:pt idx="11120">
                  <c:v>22.058466727657144</c:v>
                </c:pt>
                <c:pt idx="11121">
                  <c:v>28.903967554343147</c:v>
                </c:pt>
                <c:pt idx="11122">
                  <c:v>52.472862445825498</c:v>
                </c:pt>
                <c:pt idx="11123">
                  <c:v>24.728600847698445</c:v>
                </c:pt>
                <c:pt idx="11124">
                  <c:v>32.104220762403337</c:v>
                </c:pt>
                <c:pt idx="11125">
                  <c:v>41.789407845268045</c:v>
                </c:pt>
                <c:pt idx="11126">
                  <c:v>25.744831452557484</c:v>
                </c:pt>
                <c:pt idx="11127">
                  <c:v>43.849685755454615</c:v>
                </c:pt>
                <c:pt idx="11128">
                  <c:v>36.778009224123949</c:v>
                </c:pt>
                <c:pt idx="11129">
                  <c:v>51.009930832943432</c:v>
                </c:pt>
                <c:pt idx="11130">
                  <c:v>27.055672532649574</c:v>
                </c:pt>
                <c:pt idx="11131">
                  <c:v>20.530796327557375</c:v>
                </c:pt>
                <c:pt idx="11132">
                  <c:v>21.825886700172724</c:v>
                </c:pt>
                <c:pt idx="11133">
                  <c:v>21.78293902163767</c:v>
                </c:pt>
                <c:pt idx="11134">
                  <c:v>47.178620060122014</c:v>
                </c:pt>
                <c:pt idx="11135">
                  <c:v>45.544493269331099</c:v>
                </c:pt>
                <c:pt idx="11136">
                  <c:v>33.391613734436895</c:v>
                </c:pt>
                <c:pt idx="11137">
                  <c:v>32.415624280589398</c:v>
                </c:pt>
                <c:pt idx="11138">
                  <c:v>46.116173080629409</c:v>
                </c:pt>
                <c:pt idx="11139">
                  <c:v>51.008034287710956</c:v>
                </c:pt>
                <c:pt idx="11140">
                  <c:v>27.34094942341688</c:v>
                </c:pt>
                <c:pt idx="11141">
                  <c:v>64.768581375954227</c:v>
                </c:pt>
                <c:pt idx="11142">
                  <c:v>26.075786119979888</c:v>
                </c:pt>
                <c:pt idx="11143">
                  <c:v>47.553459732550905</c:v>
                </c:pt>
                <c:pt idx="11144">
                  <c:v>42.960291173151177</c:v>
                </c:pt>
                <c:pt idx="11145">
                  <c:v>31.459965311926261</c:v>
                </c:pt>
                <c:pt idx="11146">
                  <c:v>25.930342093651966</c:v>
                </c:pt>
                <c:pt idx="11147">
                  <c:v>28.254152559126041</c:v>
                </c:pt>
                <c:pt idx="11148">
                  <c:v>36.619636480521372</c:v>
                </c:pt>
                <c:pt idx="11149">
                  <c:v>23.856675062736503</c:v>
                </c:pt>
                <c:pt idx="11150">
                  <c:v>29.214799040103859</c:v>
                </c:pt>
                <c:pt idx="11151">
                  <c:v>29.345908520818039</c:v>
                </c:pt>
                <c:pt idx="11152">
                  <c:v>52.66701318688488</c:v>
                </c:pt>
                <c:pt idx="11153">
                  <c:v>38.218128945300734</c:v>
                </c:pt>
                <c:pt idx="11154">
                  <c:v>19.896883240059644</c:v>
                </c:pt>
                <c:pt idx="11155">
                  <c:v>19.22643695663858</c:v>
                </c:pt>
                <c:pt idx="11156">
                  <c:v>51.218898150111833</c:v>
                </c:pt>
                <c:pt idx="11157">
                  <c:v>29.470034536515399</c:v>
                </c:pt>
                <c:pt idx="11158">
                  <c:v>31.322532130662104</c:v>
                </c:pt>
                <c:pt idx="11159">
                  <c:v>42.151133859661876</c:v>
                </c:pt>
                <c:pt idx="11160">
                  <c:v>56.88531259605503</c:v>
                </c:pt>
                <c:pt idx="11161">
                  <c:v>49.533933216148313</c:v>
                </c:pt>
                <c:pt idx="11162">
                  <c:v>25.491866347609598</c:v>
                </c:pt>
                <c:pt idx="11163">
                  <c:v>35.995782415982077</c:v>
                </c:pt>
                <c:pt idx="11164">
                  <c:v>52.215823053224476</c:v>
                </c:pt>
                <c:pt idx="11165">
                  <c:v>32.207875807172947</c:v>
                </c:pt>
                <c:pt idx="11166">
                  <c:v>25.591216557399591</c:v>
                </c:pt>
                <c:pt idx="11167">
                  <c:v>37.368756980937931</c:v>
                </c:pt>
                <c:pt idx="11168">
                  <c:v>27.218584385629626</c:v>
                </c:pt>
                <c:pt idx="11169">
                  <c:v>24.347199858384236</c:v>
                </c:pt>
                <c:pt idx="11170">
                  <c:v>30.929425237685425</c:v>
                </c:pt>
                <c:pt idx="11171">
                  <c:v>24.238496659175173</c:v>
                </c:pt>
                <c:pt idx="11172">
                  <c:v>23.992854739348516</c:v>
                </c:pt>
                <c:pt idx="11173">
                  <c:v>20.700496246110873</c:v>
                </c:pt>
                <c:pt idx="11174">
                  <c:v>29.419027445428455</c:v>
                </c:pt>
                <c:pt idx="11175">
                  <c:v>48.619226080424106</c:v>
                </c:pt>
                <c:pt idx="11176">
                  <c:v>19.242610664167863</c:v>
                </c:pt>
                <c:pt idx="11177">
                  <c:v>47.489316255014515</c:v>
                </c:pt>
                <c:pt idx="11178">
                  <c:v>25.91526797572152</c:v>
                </c:pt>
                <c:pt idx="11179">
                  <c:v>35.508934322610486</c:v>
                </c:pt>
                <c:pt idx="11180">
                  <c:v>47.017552982786697</c:v>
                </c:pt>
                <c:pt idx="11181">
                  <c:v>23.718230677412983</c:v>
                </c:pt>
                <c:pt idx="11182">
                  <c:v>28.016544999013931</c:v>
                </c:pt>
                <c:pt idx="11183">
                  <c:v>22.38728911294448</c:v>
                </c:pt>
                <c:pt idx="11184">
                  <c:v>21.527002787694812</c:v>
                </c:pt>
                <c:pt idx="11185">
                  <c:v>17.019243965264991</c:v>
                </c:pt>
                <c:pt idx="11186">
                  <c:v>49.336458295123748</c:v>
                </c:pt>
                <c:pt idx="11187">
                  <c:v>37.174544210237755</c:v>
                </c:pt>
                <c:pt idx="11188">
                  <c:v>25.228582304316802</c:v>
                </c:pt>
                <c:pt idx="11189">
                  <c:v>43.057430457577027</c:v>
                </c:pt>
                <c:pt idx="11190">
                  <c:v>38.054060187745364</c:v>
                </c:pt>
                <c:pt idx="11191">
                  <c:v>23.392469219434261</c:v>
                </c:pt>
                <c:pt idx="11192">
                  <c:v>24.547997406995748</c:v>
                </c:pt>
                <c:pt idx="11193">
                  <c:v>33.68219362389307</c:v>
                </c:pt>
                <c:pt idx="11194">
                  <c:v>22.777145204322938</c:v>
                </c:pt>
                <c:pt idx="11195">
                  <c:v>20.984232047656192</c:v>
                </c:pt>
                <c:pt idx="11196">
                  <c:v>44.420796811810412</c:v>
                </c:pt>
                <c:pt idx="11197">
                  <c:v>30.446311840883613</c:v>
                </c:pt>
                <c:pt idx="11198">
                  <c:v>28.801451994007699</c:v>
                </c:pt>
                <c:pt idx="11199">
                  <c:v>28.432109947486563</c:v>
                </c:pt>
                <c:pt idx="11200">
                  <c:v>18.999533917336528</c:v>
                </c:pt>
                <c:pt idx="11201">
                  <c:v>32.027459173049415</c:v>
                </c:pt>
                <c:pt idx="11202">
                  <c:v>24.665677763748405</c:v>
                </c:pt>
                <c:pt idx="11203">
                  <c:v>28.169164015327688</c:v>
                </c:pt>
                <c:pt idx="11204">
                  <c:v>33.128517903747678</c:v>
                </c:pt>
                <c:pt idx="11205">
                  <c:v>32.891348223963782</c:v>
                </c:pt>
                <c:pt idx="11206">
                  <c:v>22.027083181820526</c:v>
                </c:pt>
                <c:pt idx="11207">
                  <c:v>21.372448300235508</c:v>
                </c:pt>
                <c:pt idx="11208">
                  <c:v>42.190845638411119</c:v>
                </c:pt>
                <c:pt idx="11209">
                  <c:v>25.685456284294787</c:v>
                </c:pt>
                <c:pt idx="11210">
                  <c:v>46.887438674100352</c:v>
                </c:pt>
                <c:pt idx="11211">
                  <c:v>29.494012999228495</c:v>
                </c:pt>
                <c:pt idx="11212">
                  <c:v>24.734301059616634</c:v>
                </c:pt>
                <c:pt idx="11213">
                  <c:v>26.101180842547798</c:v>
                </c:pt>
                <c:pt idx="11214">
                  <c:v>45.064415028673722</c:v>
                </c:pt>
                <c:pt idx="11215">
                  <c:v>43.657418523682338</c:v>
                </c:pt>
                <c:pt idx="11216">
                  <c:v>24.01836092773587</c:v>
                </c:pt>
                <c:pt idx="11217">
                  <c:v>27.560436877073847</c:v>
                </c:pt>
                <c:pt idx="11218">
                  <c:v>32.319709015028359</c:v>
                </c:pt>
                <c:pt idx="11219">
                  <c:v>24.456171687705829</c:v>
                </c:pt>
                <c:pt idx="11220">
                  <c:v>49.097293950408101</c:v>
                </c:pt>
                <c:pt idx="11221">
                  <c:v>36.155297447826946</c:v>
                </c:pt>
                <c:pt idx="11222">
                  <c:v>24.941773633512138</c:v>
                </c:pt>
                <c:pt idx="11223">
                  <c:v>39.861645152310587</c:v>
                </c:pt>
                <c:pt idx="11224">
                  <c:v>30.918474452709027</c:v>
                </c:pt>
                <c:pt idx="11225">
                  <c:v>50.607993276872214</c:v>
                </c:pt>
                <c:pt idx="11226">
                  <c:v>24.929319735802967</c:v>
                </c:pt>
                <c:pt idx="11227">
                  <c:v>45.389128510611776</c:v>
                </c:pt>
                <c:pt idx="11228">
                  <c:v>33.609700582813566</c:v>
                </c:pt>
                <c:pt idx="11229">
                  <c:v>51.247912031707997</c:v>
                </c:pt>
                <c:pt idx="11230">
                  <c:v>34.592226432601464</c:v>
                </c:pt>
                <c:pt idx="11231">
                  <c:v>29.685466679339555</c:v>
                </c:pt>
                <c:pt idx="11232">
                  <c:v>58.572627110739624</c:v>
                </c:pt>
                <c:pt idx="11233">
                  <c:v>52.975124495788279</c:v>
                </c:pt>
                <c:pt idx="11234">
                  <c:v>35.059159527100213</c:v>
                </c:pt>
                <c:pt idx="11235">
                  <c:v>24.602787743489984</c:v>
                </c:pt>
                <c:pt idx="11236">
                  <c:v>32.490939650934628</c:v>
                </c:pt>
                <c:pt idx="11237">
                  <c:v>56.756207672906392</c:v>
                </c:pt>
                <c:pt idx="11238">
                  <c:v>28.880911972838497</c:v>
                </c:pt>
                <c:pt idx="11239">
                  <c:v>47.452288191449966</c:v>
                </c:pt>
                <c:pt idx="11240">
                  <c:v>48.947142357700358</c:v>
                </c:pt>
                <c:pt idx="11241">
                  <c:v>25.956155846364325</c:v>
                </c:pt>
                <c:pt idx="11242">
                  <c:v>26.535407922784032</c:v>
                </c:pt>
                <c:pt idx="11243">
                  <c:v>24.531564964390686</c:v>
                </c:pt>
                <c:pt idx="11244">
                  <c:v>26.460550386012883</c:v>
                </c:pt>
                <c:pt idx="11245">
                  <c:v>52.029256060183897</c:v>
                </c:pt>
                <c:pt idx="11246">
                  <c:v>23.230566799301752</c:v>
                </c:pt>
                <c:pt idx="11247">
                  <c:v>34.07243822059327</c:v>
                </c:pt>
                <c:pt idx="11248">
                  <c:v>53.404910070930612</c:v>
                </c:pt>
                <c:pt idx="11249">
                  <c:v>28.866768055870363</c:v>
                </c:pt>
                <c:pt idx="11250">
                  <c:v>25.855995597733269</c:v>
                </c:pt>
                <c:pt idx="11251">
                  <c:v>48.737816964234021</c:v>
                </c:pt>
                <c:pt idx="11252">
                  <c:v>25.561620467178901</c:v>
                </c:pt>
                <c:pt idx="11253">
                  <c:v>28.362224872948378</c:v>
                </c:pt>
                <c:pt idx="11254">
                  <c:v>43.892168315256491</c:v>
                </c:pt>
                <c:pt idx="11255">
                  <c:v>48.785481611029049</c:v>
                </c:pt>
                <c:pt idx="11256">
                  <c:v>49.044988804932288</c:v>
                </c:pt>
                <c:pt idx="11257">
                  <c:v>20.293234764383829</c:v>
                </c:pt>
                <c:pt idx="11258">
                  <c:v>21.471997047580448</c:v>
                </c:pt>
                <c:pt idx="11259">
                  <c:v>27.579135810110436</c:v>
                </c:pt>
                <c:pt idx="11260">
                  <c:v>27.168208806184648</c:v>
                </c:pt>
                <c:pt idx="11261">
                  <c:v>56.424721716224909</c:v>
                </c:pt>
                <c:pt idx="11262">
                  <c:v>26.527389751693239</c:v>
                </c:pt>
                <c:pt idx="11263">
                  <c:v>36.036187153319517</c:v>
                </c:pt>
                <c:pt idx="11264">
                  <c:v>31.479343751771463</c:v>
                </c:pt>
                <c:pt idx="11265">
                  <c:v>30.938144841392134</c:v>
                </c:pt>
                <c:pt idx="11266">
                  <c:v>32.757001714148622</c:v>
                </c:pt>
                <c:pt idx="11267">
                  <c:v>23.231419505315909</c:v>
                </c:pt>
                <c:pt idx="11268">
                  <c:v>26.822314978627016</c:v>
                </c:pt>
                <c:pt idx="11269">
                  <c:v>23.160490522164984</c:v>
                </c:pt>
                <c:pt idx="11270">
                  <c:v>55.102389038526326</c:v>
                </c:pt>
                <c:pt idx="11271">
                  <c:v>48.162058556292493</c:v>
                </c:pt>
                <c:pt idx="11272">
                  <c:v>27.1335717241193</c:v>
                </c:pt>
                <c:pt idx="11273">
                  <c:v>28.735239363299918</c:v>
                </c:pt>
                <c:pt idx="11274">
                  <c:v>22.899229887240146</c:v>
                </c:pt>
                <c:pt idx="11275">
                  <c:v>24.132182123527265</c:v>
                </c:pt>
                <c:pt idx="11276">
                  <c:v>25.749946455451045</c:v>
                </c:pt>
                <c:pt idx="11277">
                  <c:v>33.654379115333093</c:v>
                </c:pt>
                <c:pt idx="11278">
                  <c:v>30.963388771666185</c:v>
                </c:pt>
                <c:pt idx="11279">
                  <c:v>24.087161034681657</c:v>
                </c:pt>
                <c:pt idx="11280">
                  <c:v>49.452704258383591</c:v>
                </c:pt>
                <c:pt idx="11281">
                  <c:v>27.235460212659099</c:v>
                </c:pt>
                <c:pt idx="11282">
                  <c:v>20.114325385076384</c:v>
                </c:pt>
                <c:pt idx="11283">
                  <c:v>24.470585374002077</c:v>
                </c:pt>
                <c:pt idx="11284">
                  <c:v>34.480373705884617</c:v>
                </c:pt>
                <c:pt idx="11285">
                  <c:v>31.249118528705424</c:v>
                </c:pt>
                <c:pt idx="11286">
                  <c:v>29.745473555133845</c:v>
                </c:pt>
                <c:pt idx="11287">
                  <c:v>34.975719314736708</c:v>
                </c:pt>
                <c:pt idx="11288">
                  <c:v>25.850107288050818</c:v>
                </c:pt>
                <c:pt idx="11289">
                  <c:v>24.93311397211242</c:v>
                </c:pt>
                <c:pt idx="11290">
                  <c:v>27.189442935417194</c:v>
                </c:pt>
                <c:pt idx="11291">
                  <c:v>19.122945608844972</c:v>
                </c:pt>
                <c:pt idx="11292">
                  <c:v>19.322419485098884</c:v>
                </c:pt>
                <c:pt idx="11293">
                  <c:v>27.09832017245213</c:v>
                </c:pt>
                <c:pt idx="11294">
                  <c:v>28.511756707197101</c:v>
                </c:pt>
                <c:pt idx="11295">
                  <c:v>20.412622051082163</c:v>
                </c:pt>
                <c:pt idx="11296">
                  <c:v>34.48516430084932</c:v>
                </c:pt>
                <c:pt idx="11297">
                  <c:v>36.639347970765172</c:v>
                </c:pt>
                <c:pt idx="11298">
                  <c:v>38.744574381046149</c:v>
                </c:pt>
                <c:pt idx="11299">
                  <c:v>37.83730919519639</c:v>
                </c:pt>
                <c:pt idx="11300">
                  <c:v>22.67305776765922</c:v>
                </c:pt>
                <c:pt idx="11301">
                  <c:v>20.694270742394995</c:v>
                </c:pt>
                <c:pt idx="11302">
                  <c:v>28.487818220640904</c:v>
                </c:pt>
                <c:pt idx="11303">
                  <c:v>23.46254883319056</c:v>
                </c:pt>
                <c:pt idx="11304">
                  <c:v>34.733888234282816</c:v>
                </c:pt>
                <c:pt idx="11305">
                  <c:v>22.710941195213152</c:v>
                </c:pt>
                <c:pt idx="11306">
                  <c:v>48.590366108618078</c:v>
                </c:pt>
                <c:pt idx="11307">
                  <c:v>31.085033632454149</c:v>
                </c:pt>
                <c:pt idx="11308">
                  <c:v>24.130312730252964</c:v>
                </c:pt>
                <c:pt idx="11309">
                  <c:v>22.704059042564364</c:v>
                </c:pt>
                <c:pt idx="11310">
                  <c:v>24.545081875490673</c:v>
                </c:pt>
                <c:pt idx="11311">
                  <c:v>30.702827224613166</c:v>
                </c:pt>
                <c:pt idx="11312">
                  <c:v>39.620636502860251</c:v>
                </c:pt>
                <c:pt idx="11313">
                  <c:v>40.853545507402181</c:v>
                </c:pt>
                <c:pt idx="11314">
                  <c:v>28.462114302866379</c:v>
                </c:pt>
                <c:pt idx="11315">
                  <c:v>23.148550944474248</c:v>
                </c:pt>
                <c:pt idx="11316">
                  <c:v>24.178829614750747</c:v>
                </c:pt>
                <c:pt idx="11317">
                  <c:v>29.147050278253062</c:v>
                </c:pt>
                <c:pt idx="11318">
                  <c:v>34.601413373907086</c:v>
                </c:pt>
                <c:pt idx="11319">
                  <c:v>21.90432327098852</c:v>
                </c:pt>
                <c:pt idx="11320">
                  <c:v>23.974608881623581</c:v>
                </c:pt>
                <c:pt idx="11321">
                  <c:v>34.280276166636497</c:v>
                </c:pt>
                <c:pt idx="11322">
                  <c:v>19.002740663965323</c:v>
                </c:pt>
                <c:pt idx="11323">
                  <c:v>46.431833063718251</c:v>
                </c:pt>
                <c:pt idx="11324">
                  <c:v>46.359240486974564</c:v>
                </c:pt>
                <c:pt idx="11325">
                  <c:v>39.368827006997023</c:v>
                </c:pt>
                <c:pt idx="11326">
                  <c:v>45.690424458867497</c:v>
                </c:pt>
                <c:pt idx="11327">
                  <c:v>20.514666211100835</c:v>
                </c:pt>
                <c:pt idx="11328">
                  <c:v>20.52255844735285</c:v>
                </c:pt>
                <c:pt idx="11329">
                  <c:v>19.728630093294306</c:v>
                </c:pt>
                <c:pt idx="11330">
                  <c:v>23.261723595601403</c:v>
                </c:pt>
                <c:pt idx="11331">
                  <c:v>31.157276502653467</c:v>
                </c:pt>
                <c:pt idx="11332">
                  <c:v>28.943385601281932</c:v>
                </c:pt>
                <c:pt idx="11333">
                  <c:v>42.514475873604752</c:v>
                </c:pt>
                <c:pt idx="11334">
                  <c:v>36.748709461332403</c:v>
                </c:pt>
                <c:pt idx="11335">
                  <c:v>39.986520536131167</c:v>
                </c:pt>
                <c:pt idx="11336">
                  <c:v>34.762524403208928</c:v>
                </c:pt>
                <c:pt idx="11337">
                  <c:v>26.148349113915231</c:v>
                </c:pt>
                <c:pt idx="11338">
                  <c:v>34.866076880581652</c:v>
                </c:pt>
                <c:pt idx="11339">
                  <c:v>41.13347703818512</c:v>
                </c:pt>
                <c:pt idx="11340">
                  <c:v>26.836969381735212</c:v>
                </c:pt>
                <c:pt idx="11341">
                  <c:v>33.214339676780668</c:v>
                </c:pt>
                <c:pt idx="11342">
                  <c:v>41.36465568501005</c:v>
                </c:pt>
                <c:pt idx="11343">
                  <c:v>23.989043926708383</c:v>
                </c:pt>
                <c:pt idx="11344">
                  <c:v>41.28999296367779</c:v>
                </c:pt>
                <c:pt idx="11345">
                  <c:v>33.945473391953001</c:v>
                </c:pt>
                <c:pt idx="11346">
                  <c:v>27.973121017165788</c:v>
                </c:pt>
                <c:pt idx="11347">
                  <c:v>48.383465382853366</c:v>
                </c:pt>
                <c:pt idx="11348">
                  <c:v>29.929288037936477</c:v>
                </c:pt>
                <c:pt idx="11349">
                  <c:v>26.013814289667895</c:v>
                </c:pt>
                <c:pt idx="11350">
                  <c:v>22.493318870754038</c:v>
                </c:pt>
                <c:pt idx="11351">
                  <c:v>32.066581037532167</c:v>
                </c:pt>
                <c:pt idx="11352">
                  <c:v>24.06675295720051</c:v>
                </c:pt>
                <c:pt idx="11353">
                  <c:v>15.252525294461975</c:v>
                </c:pt>
                <c:pt idx="11354">
                  <c:v>34.031553435597914</c:v>
                </c:pt>
                <c:pt idx="11355">
                  <c:v>38.527376655734848</c:v>
                </c:pt>
                <c:pt idx="11356">
                  <c:v>33.352642815018775</c:v>
                </c:pt>
                <c:pt idx="11357">
                  <c:v>35.663538473064179</c:v>
                </c:pt>
                <c:pt idx="11358">
                  <c:v>46.749810227012517</c:v>
                </c:pt>
                <c:pt idx="11359">
                  <c:v>29.420818711991409</c:v>
                </c:pt>
                <c:pt idx="11360">
                  <c:v>41.381423985911908</c:v>
                </c:pt>
                <c:pt idx="11361">
                  <c:v>23.373255503308798</c:v>
                </c:pt>
                <c:pt idx="11362">
                  <c:v>39.255582957202073</c:v>
                </c:pt>
                <c:pt idx="11363">
                  <c:v>40.679553997868226</c:v>
                </c:pt>
                <c:pt idx="11364">
                  <c:v>51.036020390753094</c:v>
                </c:pt>
                <c:pt idx="11365">
                  <c:v>29.356144679406583</c:v>
                </c:pt>
                <c:pt idx="11366">
                  <c:v>28.218589808608137</c:v>
                </c:pt>
                <c:pt idx="11367">
                  <c:v>30.447484363337253</c:v>
                </c:pt>
                <c:pt idx="11368">
                  <c:v>29.546050535557626</c:v>
                </c:pt>
                <c:pt idx="11369">
                  <c:v>31.446030070257269</c:v>
                </c:pt>
                <c:pt idx="11370">
                  <c:v>24.922278630686002</c:v>
                </c:pt>
                <c:pt idx="11371">
                  <c:v>52.648909545223916</c:v>
                </c:pt>
                <c:pt idx="11372">
                  <c:v>46.620808625668879</c:v>
                </c:pt>
                <c:pt idx="11373">
                  <c:v>39.377261858426536</c:v>
                </c:pt>
                <c:pt idx="11374">
                  <c:v>17.914930133174668</c:v>
                </c:pt>
                <c:pt idx="11375">
                  <c:v>36.066110571190706</c:v>
                </c:pt>
                <c:pt idx="11376">
                  <c:v>47.943317784812344</c:v>
                </c:pt>
                <c:pt idx="11377">
                  <c:v>32.290656365581803</c:v>
                </c:pt>
                <c:pt idx="11378">
                  <c:v>41.180568260457427</c:v>
                </c:pt>
                <c:pt idx="11379">
                  <c:v>46.260197412879471</c:v>
                </c:pt>
                <c:pt idx="11380">
                  <c:v>32.372505999483352</c:v>
                </c:pt>
                <c:pt idx="11381">
                  <c:v>24.746993862657654</c:v>
                </c:pt>
                <c:pt idx="11382">
                  <c:v>25.693959853044205</c:v>
                </c:pt>
                <c:pt idx="11383">
                  <c:v>26.066903749606297</c:v>
                </c:pt>
                <c:pt idx="11384">
                  <c:v>26.383122286746303</c:v>
                </c:pt>
                <c:pt idx="11385">
                  <c:v>29.775352387453232</c:v>
                </c:pt>
                <c:pt idx="11386">
                  <c:v>52.521838740702869</c:v>
                </c:pt>
                <c:pt idx="11387">
                  <c:v>53.213631988950894</c:v>
                </c:pt>
                <c:pt idx="11388">
                  <c:v>43.689102809962939</c:v>
                </c:pt>
                <c:pt idx="11389">
                  <c:v>30.480002956231576</c:v>
                </c:pt>
                <c:pt idx="11390">
                  <c:v>23.330294175214519</c:v>
                </c:pt>
                <c:pt idx="11391">
                  <c:v>60.671710489792275</c:v>
                </c:pt>
                <c:pt idx="11392">
                  <c:v>47.491141860161768</c:v>
                </c:pt>
                <c:pt idx="11393">
                  <c:v>42.59164808376444</c:v>
                </c:pt>
                <c:pt idx="11394">
                  <c:v>20.695265953899774</c:v>
                </c:pt>
                <c:pt idx="11395">
                  <c:v>25.604573175373758</c:v>
                </c:pt>
                <c:pt idx="11396">
                  <c:v>22.636392299364967</c:v>
                </c:pt>
                <c:pt idx="11397">
                  <c:v>26.030793806203086</c:v>
                </c:pt>
                <c:pt idx="11398">
                  <c:v>19.17877100809762</c:v>
                </c:pt>
                <c:pt idx="11399">
                  <c:v>21.526676547098987</c:v>
                </c:pt>
                <c:pt idx="11400">
                  <c:v>27.423930299816114</c:v>
                </c:pt>
                <c:pt idx="11401">
                  <c:v>26.047269047723468</c:v>
                </c:pt>
                <c:pt idx="11402">
                  <c:v>28.853110081376112</c:v>
                </c:pt>
                <c:pt idx="11403">
                  <c:v>24.851173043066307</c:v>
                </c:pt>
                <c:pt idx="11404">
                  <c:v>29.595260113523942</c:v>
                </c:pt>
                <c:pt idx="11405">
                  <c:v>34.633090343765453</c:v>
                </c:pt>
                <c:pt idx="11406">
                  <c:v>30.068152038486694</c:v>
                </c:pt>
                <c:pt idx="11407">
                  <c:v>26.221742063714753</c:v>
                </c:pt>
                <c:pt idx="11408">
                  <c:v>20.65464208713794</c:v>
                </c:pt>
                <c:pt idx="11409">
                  <c:v>43.251312207944856</c:v>
                </c:pt>
                <c:pt idx="11410">
                  <c:v>32.417641207159029</c:v>
                </c:pt>
                <c:pt idx="11411">
                  <c:v>17.099643824044762</c:v>
                </c:pt>
                <c:pt idx="11412">
                  <c:v>39.380608926359322</c:v>
                </c:pt>
                <c:pt idx="11413">
                  <c:v>26.21379344299757</c:v>
                </c:pt>
                <c:pt idx="11414">
                  <c:v>26.146053511135396</c:v>
                </c:pt>
                <c:pt idx="11415">
                  <c:v>26.715969463355723</c:v>
                </c:pt>
                <c:pt idx="11416">
                  <c:v>47.966954171556615</c:v>
                </c:pt>
                <c:pt idx="11417">
                  <c:v>28.339664635436332</c:v>
                </c:pt>
                <c:pt idx="11418">
                  <c:v>30.214177611988834</c:v>
                </c:pt>
                <c:pt idx="11419">
                  <c:v>22.273217493078029</c:v>
                </c:pt>
                <c:pt idx="11420">
                  <c:v>31.698677426475342</c:v>
                </c:pt>
                <c:pt idx="11421">
                  <c:v>29.583578456605078</c:v>
                </c:pt>
                <c:pt idx="11422">
                  <c:v>26.552700589738937</c:v>
                </c:pt>
                <c:pt idx="11423">
                  <c:v>33.290251220323924</c:v>
                </c:pt>
                <c:pt idx="11424">
                  <c:v>35.180401191014816</c:v>
                </c:pt>
                <c:pt idx="11425">
                  <c:v>45.705215943874904</c:v>
                </c:pt>
                <c:pt idx="11426">
                  <c:v>46.746455435625002</c:v>
                </c:pt>
                <c:pt idx="11427">
                  <c:v>16.241931477396044</c:v>
                </c:pt>
                <c:pt idx="11428">
                  <c:v>32.699109609544166</c:v>
                </c:pt>
                <c:pt idx="11429">
                  <c:v>56.842096678237148</c:v>
                </c:pt>
                <c:pt idx="11430">
                  <c:v>23.18312391459375</c:v>
                </c:pt>
                <c:pt idx="11431">
                  <c:v>21.834974545435276</c:v>
                </c:pt>
                <c:pt idx="11432">
                  <c:v>46.589806920669005</c:v>
                </c:pt>
                <c:pt idx="11433">
                  <c:v>50.394449725629208</c:v>
                </c:pt>
                <c:pt idx="11434">
                  <c:v>24.37323261774506</c:v>
                </c:pt>
                <c:pt idx="11435">
                  <c:v>40.390474375219291</c:v>
                </c:pt>
                <c:pt idx="11436">
                  <c:v>35.136000350128015</c:v>
                </c:pt>
                <c:pt idx="11437">
                  <c:v>19.513832076945366</c:v>
                </c:pt>
                <c:pt idx="11438">
                  <c:v>34.172282265742339</c:v>
                </c:pt>
                <c:pt idx="11439">
                  <c:v>30.478029408522648</c:v>
                </c:pt>
                <c:pt idx="11440">
                  <c:v>19.535518714750577</c:v>
                </c:pt>
                <c:pt idx="11441">
                  <c:v>31.829206732130856</c:v>
                </c:pt>
                <c:pt idx="11442">
                  <c:v>24.942535232684829</c:v>
                </c:pt>
                <c:pt idx="11443">
                  <c:v>26.504073597168755</c:v>
                </c:pt>
                <c:pt idx="11444">
                  <c:v>23.528596935823618</c:v>
                </c:pt>
                <c:pt idx="11445">
                  <c:v>34.398536649260045</c:v>
                </c:pt>
                <c:pt idx="11446">
                  <c:v>49.529127374640559</c:v>
                </c:pt>
                <c:pt idx="11447">
                  <c:v>29.626701229813627</c:v>
                </c:pt>
                <c:pt idx="11448">
                  <c:v>25.261746842248172</c:v>
                </c:pt>
                <c:pt idx="11449">
                  <c:v>18.340936490835855</c:v>
                </c:pt>
                <c:pt idx="11450">
                  <c:v>40.12450025552905</c:v>
                </c:pt>
                <c:pt idx="11451">
                  <c:v>44.579959284579843</c:v>
                </c:pt>
                <c:pt idx="11452">
                  <c:v>27.085194958895407</c:v>
                </c:pt>
                <c:pt idx="11453">
                  <c:v>23.030584272308197</c:v>
                </c:pt>
                <c:pt idx="11454">
                  <c:v>23.304085135113354</c:v>
                </c:pt>
                <c:pt idx="11455">
                  <c:v>57.429960099968532</c:v>
                </c:pt>
                <c:pt idx="11456">
                  <c:v>37.767123262879949</c:v>
                </c:pt>
                <c:pt idx="11457">
                  <c:v>20.919629381177742</c:v>
                </c:pt>
                <c:pt idx="11458">
                  <c:v>40.771685969644921</c:v>
                </c:pt>
                <c:pt idx="11459">
                  <c:v>25.227197355183709</c:v>
                </c:pt>
                <c:pt idx="11460">
                  <c:v>23.836209078337575</c:v>
                </c:pt>
                <c:pt idx="11461">
                  <c:v>41.20370363272599</c:v>
                </c:pt>
                <c:pt idx="11462">
                  <c:v>29.863915775736263</c:v>
                </c:pt>
                <c:pt idx="11463">
                  <c:v>50.482268694995774</c:v>
                </c:pt>
                <c:pt idx="11464">
                  <c:v>25.816138211460782</c:v>
                </c:pt>
                <c:pt idx="11465">
                  <c:v>36.270216374352074</c:v>
                </c:pt>
                <c:pt idx="11466">
                  <c:v>27.545699646049364</c:v>
                </c:pt>
                <c:pt idx="11467">
                  <c:v>20.982159422855609</c:v>
                </c:pt>
                <c:pt idx="11468">
                  <c:v>32.12773843937434</c:v>
                </c:pt>
                <c:pt idx="11469">
                  <c:v>48.052288736059495</c:v>
                </c:pt>
                <c:pt idx="11470">
                  <c:v>43.77563769778326</c:v>
                </c:pt>
                <c:pt idx="11471">
                  <c:v>25.463112711714462</c:v>
                </c:pt>
                <c:pt idx="11472">
                  <c:v>32.187303170332719</c:v>
                </c:pt>
                <c:pt idx="11473">
                  <c:v>27.826703588408897</c:v>
                </c:pt>
                <c:pt idx="11474">
                  <c:v>59.603641721489673</c:v>
                </c:pt>
                <c:pt idx="11475">
                  <c:v>31.280513223017856</c:v>
                </c:pt>
                <c:pt idx="11476">
                  <c:v>31.923918654194637</c:v>
                </c:pt>
                <c:pt idx="11477">
                  <c:v>44.0894748172052</c:v>
                </c:pt>
                <c:pt idx="11478">
                  <c:v>21.004718211602807</c:v>
                </c:pt>
                <c:pt idx="11479">
                  <c:v>35.458345797999961</c:v>
                </c:pt>
                <c:pt idx="11480">
                  <c:v>25.152156442100008</c:v>
                </c:pt>
                <c:pt idx="11481">
                  <c:v>27.961683483592473</c:v>
                </c:pt>
                <c:pt idx="11482">
                  <c:v>28.105942194736251</c:v>
                </c:pt>
                <c:pt idx="11483">
                  <c:v>36.184768440023859</c:v>
                </c:pt>
                <c:pt idx="11484">
                  <c:v>29.524292625469254</c:v>
                </c:pt>
                <c:pt idx="11485">
                  <c:v>29.709757766934615</c:v>
                </c:pt>
                <c:pt idx="11486">
                  <c:v>49.505737595680863</c:v>
                </c:pt>
                <c:pt idx="11487">
                  <c:v>43.781788480923716</c:v>
                </c:pt>
                <c:pt idx="11488">
                  <c:v>26.57887489243609</c:v>
                </c:pt>
                <c:pt idx="11489">
                  <c:v>22.551375000617696</c:v>
                </c:pt>
                <c:pt idx="11490">
                  <c:v>32.219974694223602</c:v>
                </c:pt>
                <c:pt idx="11491">
                  <c:v>32.643040650799435</c:v>
                </c:pt>
                <c:pt idx="11492">
                  <c:v>22.623047858294576</c:v>
                </c:pt>
                <c:pt idx="11493">
                  <c:v>26.755279196950742</c:v>
                </c:pt>
                <c:pt idx="11494">
                  <c:v>41.790715801778241</c:v>
                </c:pt>
                <c:pt idx="11495">
                  <c:v>47.251040613349502</c:v>
                </c:pt>
                <c:pt idx="11496">
                  <c:v>29.046304897077079</c:v>
                </c:pt>
                <c:pt idx="11497">
                  <c:v>41.475228872811648</c:v>
                </c:pt>
                <c:pt idx="11498">
                  <c:v>57.754415091840045</c:v>
                </c:pt>
                <c:pt idx="11499">
                  <c:v>42.182580579122465</c:v>
                </c:pt>
                <c:pt idx="11500">
                  <c:v>30.79833144967505</c:v>
                </c:pt>
                <c:pt idx="11501">
                  <c:v>26.016855820333081</c:v>
                </c:pt>
                <c:pt idx="11502">
                  <c:v>24.383195475695111</c:v>
                </c:pt>
                <c:pt idx="11503">
                  <c:v>22.434996620714323</c:v>
                </c:pt>
                <c:pt idx="11504">
                  <c:v>42.946637191841077</c:v>
                </c:pt>
                <c:pt idx="11505">
                  <c:v>33.639854313978468</c:v>
                </c:pt>
                <c:pt idx="11506">
                  <c:v>59.482529920424206</c:v>
                </c:pt>
                <c:pt idx="11507">
                  <c:v>49.872822165415506</c:v>
                </c:pt>
                <c:pt idx="11508">
                  <c:v>33.078613300164022</c:v>
                </c:pt>
                <c:pt idx="11509">
                  <c:v>29.551646589177423</c:v>
                </c:pt>
                <c:pt idx="11510">
                  <c:v>21.978315951126181</c:v>
                </c:pt>
                <c:pt idx="11511">
                  <c:v>20.016405663706816</c:v>
                </c:pt>
                <c:pt idx="11512">
                  <c:v>31.678366333849116</c:v>
                </c:pt>
                <c:pt idx="11513">
                  <c:v>26.736132354291843</c:v>
                </c:pt>
                <c:pt idx="11514">
                  <c:v>23.457911019811206</c:v>
                </c:pt>
                <c:pt idx="11515">
                  <c:v>23.727393667456916</c:v>
                </c:pt>
                <c:pt idx="11516">
                  <c:v>50.286824452512171</c:v>
                </c:pt>
                <c:pt idx="11517">
                  <c:v>49.525250066152893</c:v>
                </c:pt>
                <c:pt idx="11518">
                  <c:v>26.595218403422852</c:v>
                </c:pt>
                <c:pt idx="11519">
                  <c:v>26.458022895457603</c:v>
                </c:pt>
                <c:pt idx="11520">
                  <c:v>34.296183240189428</c:v>
                </c:pt>
                <c:pt idx="11521">
                  <c:v>22.531627036222606</c:v>
                </c:pt>
                <c:pt idx="11522">
                  <c:v>29.45356999821448</c:v>
                </c:pt>
                <c:pt idx="11523">
                  <c:v>23.960463232193881</c:v>
                </c:pt>
                <c:pt idx="11524">
                  <c:v>30.839650288960911</c:v>
                </c:pt>
                <c:pt idx="11525">
                  <c:v>28.206054688234982</c:v>
                </c:pt>
                <c:pt idx="11526">
                  <c:v>50.835963718156137</c:v>
                </c:pt>
                <c:pt idx="11527">
                  <c:v>25.348816831092954</c:v>
                </c:pt>
                <c:pt idx="11528">
                  <c:v>42.189901220448469</c:v>
                </c:pt>
                <c:pt idx="11529">
                  <c:v>25.258794117076928</c:v>
                </c:pt>
                <c:pt idx="11530">
                  <c:v>26.234498156009703</c:v>
                </c:pt>
                <c:pt idx="11531">
                  <c:v>29.473306564184622</c:v>
                </c:pt>
                <c:pt idx="11532">
                  <c:v>16.089588927802627</c:v>
                </c:pt>
                <c:pt idx="11533">
                  <c:v>22.023255753529305</c:v>
                </c:pt>
                <c:pt idx="11534">
                  <c:v>26.956594935406457</c:v>
                </c:pt>
                <c:pt idx="11535">
                  <c:v>47.905497037868884</c:v>
                </c:pt>
                <c:pt idx="11536">
                  <c:v>22.305621359522672</c:v>
                </c:pt>
                <c:pt idx="11537">
                  <c:v>44.006311660118342</c:v>
                </c:pt>
                <c:pt idx="11538">
                  <c:v>23.452973296003876</c:v>
                </c:pt>
                <c:pt idx="11539">
                  <c:v>46.347814495358435</c:v>
                </c:pt>
                <c:pt idx="11540">
                  <c:v>27.962515713749909</c:v>
                </c:pt>
                <c:pt idx="11541">
                  <c:v>34.179163856877508</c:v>
                </c:pt>
                <c:pt idx="11542">
                  <c:v>22.903082999415354</c:v>
                </c:pt>
                <c:pt idx="11543">
                  <c:v>60.331741559051039</c:v>
                </c:pt>
                <c:pt idx="11544">
                  <c:v>27.455773560257089</c:v>
                </c:pt>
                <c:pt idx="11545">
                  <c:v>37.03635660884752</c:v>
                </c:pt>
                <c:pt idx="11546">
                  <c:v>32.476456585487831</c:v>
                </c:pt>
                <c:pt idx="11547">
                  <c:v>22.859804779343389</c:v>
                </c:pt>
                <c:pt idx="11548">
                  <c:v>20.732197009460087</c:v>
                </c:pt>
                <c:pt idx="11549">
                  <c:v>52.46246410620369</c:v>
                </c:pt>
                <c:pt idx="11550">
                  <c:v>28.418740021217491</c:v>
                </c:pt>
                <c:pt idx="11551">
                  <c:v>27.242975989903492</c:v>
                </c:pt>
                <c:pt idx="11552">
                  <c:v>46.941934124272564</c:v>
                </c:pt>
                <c:pt idx="11553">
                  <c:v>26.319202619765711</c:v>
                </c:pt>
                <c:pt idx="11554">
                  <c:v>33.993298425466655</c:v>
                </c:pt>
                <c:pt idx="11555">
                  <c:v>40.856910819878188</c:v>
                </c:pt>
                <c:pt idx="11556">
                  <c:v>23.832106687023153</c:v>
                </c:pt>
                <c:pt idx="11557">
                  <c:v>47.21210132878867</c:v>
                </c:pt>
                <c:pt idx="11558">
                  <c:v>20.997617395511512</c:v>
                </c:pt>
                <c:pt idx="11559">
                  <c:v>31.273828144218101</c:v>
                </c:pt>
                <c:pt idx="11560">
                  <c:v>28.821788509514498</c:v>
                </c:pt>
                <c:pt idx="11561">
                  <c:v>24.438444020785372</c:v>
                </c:pt>
                <c:pt idx="11562">
                  <c:v>31.978169385292297</c:v>
                </c:pt>
                <c:pt idx="11563">
                  <c:v>28.107169438934125</c:v>
                </c:pt>
                <c:pt idx="11564">
                  <c:v>28.96530575265011</c:v>
                </c:pt>
                <c:pt idx="11565">
                  <c:v>23.947115215175515</c:v>
                </c:pt>
                <c:pt idx="11566">
                  <c:v>43.117255952874821</c:v>
                </c:pt>
                <c:pt idx="11567">
                  <c:v>24.041706183620978</c:v>
                </c:pt>
                <c:pt idx="11568">
                  <c:v>19.677052885725374</c:v>
                </c:pt>
                <c:pt idx="11569">
                  <c:v>26.345089057868574</c:v>
                </c:pt>
                <c:pt idx="11570">
                  <c:v>28.595473125835689</c:v>
                </c:pt>
                <c:pt idx="11571">
                  <c:v>22.707468100817565</c:v>
                </c:pt>
                <c:pt idx="11572">
                  <c:v>29.006599326992273</c:v>
                </c:pt>
                <c:pt idx="11573">
                  <c:v>25.384455627386053</c:v>
                </c:pt>
                <c:pt idx="11574">
                  <c:v>52.843868290059717</c:v>
                </c:pt>
                <c:pt idx="11575">
                  <c:v>26.133458674101462</c:v>
                </c:pt>
                <c:pt idx="11576">
                  <c:v>23.65129137457501</c:v>
                </c:pt>
                <c:pt idx="11577">
                  <c:v>30.556198051955693</c:v>
                </c:pt>
                <c:pt idx="11578">
                  <c:v>59.177557562527447</c:v>
                </c:pt>
                <c:pt idx="11579">
                  <c:v>33.355628827101086</c:v>
                </c:pt>
                <c:pt idx="11580">
                  <c:v>19.792649669361321</c:v>
                </c:pt>
                <c:pt idx="11581">
                  <c:v>34.615819830842952</c:v>
                </c:pt>
                <c:pt idx="11582">
                  <c:v>20.764893578661777</c:v>
                </c:pt>
                <c:pt idx="11583">
                  <c:v>51.482417242283191</c:v>
                </c:pt>
                <c:pt idx="11584">
                  <c:v>26.436714392461553</c:v>
                </c:pt>
                <c:pt idx="11585">
                  <c:v>56.370811078287176</c:v>
                </c:pt>
                <c:pt idx="11586">
                  <c:v>16.157291724353879</c:v>
                </c:pt>
                <c:pt idx="11587">
                  <c:v>28.742689590840119</c:v>
                </c:pt>
                <c:pt idx="11588">
                  <c:v>28.966454547415928</c:v>
                </c:pt>
                <c:pt idx="11589">
                  <c:v>25.080209352620479</c:v>
                </c:pt>
                <c:pt idx="11590">
                  <c:v>42.878158682361537</c:v>
                </c:pt>
                <c:pt idx="11591">
                  <c:v>40.750332172914007</c:v>
                </c:pt>
                <c:pt idx="11592">
                  <c:v>20.3950071155042</c:v>
                </c:pt>
                <c:pt idx="11593">
                  <c:v>28.754347671347439</c:v>
                </c:pt>
                <c:pt idx="11594">
                  <c:v>25.07605127393494</c:v>
                </c:pt>
                <c:pt idx="11595">
                  <c:v>57.394651824524701</c:v>
                </c:pt>
                <c:pt idx="11596">
                  <c:v>18.102040998075331</c:v>
                </c:pt>
                <c:pt idx="11597">
                  <c:v>30.933676800846087</c:v>
                </c:pt>
                <c:pt idx="11598">
                  <c:v>22.555515511455344</c:v>
                </c:pt>
                <c:pt idx="11599">
                  <c:v>45.243484693798536</c:v>
                </c:pt>
                <c:pt idx="11600">
                  <c:v>41.575685498996712</c:v>
                </c:pt>
                <c:pt idx="11601">
                  <c:v>21.187071409675184</c:v>
                </c:pt>
                <c:pt idx="11602">
                  <c:v>23.947296936964811</c:v>
                </c:pt>
                <c:pt idx="11603">
                  <c:v>26.161315215238751</c:v>
                </c:pt>
                <c:pt idx="11604">
                  <c:v>44.414574280559968</c:v>
                </c:pt>
                <c:pt idx="11605">
                  <c:v>31.469636779656856</c:v>
                </c:pt>
                <c:pt idx="11606">
                  <c:v>33.883618275712962</c:v>
                </c:pt>
                <c:pt idx="11607">
                  <c:v>24.424786079572556</c:v>
                </c:pt>
                <c:pt idx="11608">
                  <c:v>29.572226526843721</c:v>
                </c:pt>
                <c:pt idx="11609">
                  <c:v>27.486606029594867</c:v>
                </c:pt>
                <c:pt idx="11610">
                  <c:v>24.270526120979476</c:v>
                </c:pt>
                <c:pt idx="11611">
                  <c:v>24.656913844040677</c:v>
                </c:pt>
                <c:pt idx="11612">
                  <c:v>33.031941402043984</c:v>
                </c:pt>
                <c:pt idx="11613">
                  <c:v>24.701792043982127</c:v>
                </c:pt>
                <c:pt idx="11614">
                  <c:v>24.857724170966922</c:v>
                </c:pt>
                <c:pt idx="11615">
                  <c:v>34.327765242131989</c:v>
                </c:pt>
                <c:pt idx="11616">
                  <c:v>41.792088806766877</c:v>
                </c:pt>
                <c:pt idx="11617">
                  <c:v>32.0275071619822</c:v>
                </c:pt>
                <c:pt idx="11618">
                  <c:v>34.886749852597866</c:v>
                </c:pt>
                <c:pt idx="11619">
                  <c:v>27.203441676399997</c:v>
                </c:pt>
                <c:pt idx="11620">
                  <c:v>20.456898976840424</c:v>
                </c:pt>
                <c:pt idx="11621">
                  <c:v>36.026740685420322</c:v>
                </c:pt>
                <c:pt idx="11622">
                  <c:v>26.234332445177458</c:v>
                </c:pt>
                <c:pt idx="11623">
                  <c:v>28.512004751290903</c:v>
                </c:pt>
                <c:pt idx="11624">
                  <c:v>21.272818332882725</c:v>
                </c:pt>
                <c:pt idx="11625">
                  <c:v>23.05381266351781</c:v>
                </c:pt>
                <c:pt idx="11626">
                  <c:v>49.088026334871536</c:v>
                </c:pt>
                <c:pt idx="11627">
                  <c:v>27.20171398854022</c:v>
                </c:pt>
                <c:pt idx="11628">
                  <c:v>21.822426996563784</c:v>
                </c:pt>
                <c:pt idx="11629">
                  <c:v>56.290870031974364</c:v>
                </c:pt>
                <c:pt idx="11630">
                  <c:v>30.377048485331311</c:v>
                </c:pt>
                <c:pt idx="11631">
                  <c:v>21.428946373553565</c:v>
                </c:pt>
                <c:pt idx="11632">
                  <c:v>27.453948601840558</c:v>
                </c:pt>
                <c:pt idx="11633">
                  <c:v>37.239291722944138</c:v>
                </c:pt>
                <c:pt idx="11634">
                  <c:v>41.089377969250016</c:v>
                </c:pt>
                <c:pt idx="11635">
                  <c:v>34.115177789518341</c:v>
                </c:pt>
                <c:pt idx="11636">
                  <c:v>29.34199022449819</c:v>
                </c:pt>
                <c:pt idx="11637">
                  <c:v>27.634546743324908</c:v>
                </c:pt>
                <c:pt idx="11638">
                  <c:v>19.655208883084647</c:v>
                </c:pt>
                <c:pt idx="11639">
                  <c:v>22.142013861359359</c:v>
                </c:pt>
                <c:pt idx="11640">
                  <c:v>24.823728805998883</c:v>
                </c:pt>
                <c:pt idx="11641">
                  <c:v>49.009558196448474</c:v>
                </c:pt>
                <c:pt idx="11642">
                  <c:v>31.061773002744427</c:v>
                </c:pt>
                <c:pt idx="11643">
                  <c:v>50.448071350975439</c:v>
                </c:pt>
                <c:pt idx="11644">
                  <c:v>24.082578182846373</c:v>
                </c:pt>
                <c:pt idx="11645">
                  <c:v>21.924313533585675</c:v>
                </c:pt>
                <c:pt idx="11646">
                  <c:v>43.354667609687027</c:v>
                </c:pt>
                <c:pt idx="11647">
                  <c:v>38.141707999651402</c:v>
                </c:pt>
                <c:pt idx="11648">
                  <c:v>16.919997414844371</c:v>
                </c:pt>
                <c:pt idx="11649">
                  <c:v>31.57461952084974</c:v>
                </c:pt>
                <c:pt idx="11650">
                  <c:v>22.628067734907468</c:v>
                </c:pt>
                <c:pt idx="11651">
                  <c:v>23.952399838957025</c:v>
                </c:pt>
                <c:pt idx="11652">
                  <c:v>27.655421063698537</c:v>
                </c:pt>
                <c:pt idx="11653">
                  <c:v>23.728360920969614</c:v>
                </c:pt>
                <c:pt idx="11654">
                  <c:v>22.563669944277379</c:v>
                </c:pt>
                <c:pt idx="11655">
                  <c:v>29.265085609379348</c:v>
                </c:pt>
                <c:pt idx="11656">
                  <c:v>20.640697401454169</c:v>
                </c:pt>
                <c:pt idx="11657">
                  <c:v>21.880046009796271</c:v>
                </c:pt>
                <c:pt idx="11658">
                  <c:v>30.345072535690829</c:v>
                </c:pt>
                <c:pt idx="11659">
                  <c:v>52.302228467785582</c:v>
                </c:pt>
                <c:pt idx="11660">
                  <c:v>29.201775843941572</c:v>
                </c:pt>
                <c:pt idx="11661">
                  <c:v>29.121856180264011</c:v>
                </c:pt>
                <c:pt idx="11662">
                  <c:v>27.707308844072038</c:v>
                </c:pt>
                <c:pt idx="11663">
                  <c:v>29.810323571330262</c:v>
                </c:pt>
                <c:pt idx="11664">
                  <c:v>29.298750948428996</c:v>
                </c:pt>
                <c:pt idx="11665">
                  <c:v>45.179577017790237</c:v>
                </c:pt>
                <c:pt idx="11666">
                  <c:v>48.52865023143432</c:v>
                </c:pt>
                <c:pt idx="11667">
                  <c:v>27.57076010977374</c:v>
                </c:pt>
                <c:pt idx="11668">
                  <c:v>29.632747824456121</c:v>
                </c:pt>
                <c:pt idx="11669">
                  <c:v>46.146673716466452</c:v>
                </c:pt>
                <c:pt idx="11670">
                  <c:v>47.032270322821432</c:v>
                </c:pt>
                <c:pt idx="11671">
                  <c:v>24.448857641670841</c:v>
                </c:pt>
                <c:pt idx="11672">
                  <c:v>32.815860926601978</c:v>
                </c:pt>
                <c:pt idx="11673">
                  <c:v>23.796861260015859</c:v>
                </c:pt>
                <c:pt idx="11674">
                  <c:v>23.196414284269817</c:v>
                </c:pt>
                <c:pt idx="11675">
                  <c:v>17.033472859230958</c:v>
                </c:pt>
                <c:pt idx="11676">
                  <c:v>25.995574639251792</c:v>
                </c:pt>
                <c:pt idx="11677">
                  <c:v>32.110478674492043</c:v>
                </c:pt>
                <c:pt idx="11678">
                  <c:v>44.277593524924661</c:v>
                </c:pt>
                <c:pt idx="11679">
                  <c:v>23.250723464342769</c:v>
                </c:pt>
                <c:pt idx="11680">
                  <c:v>23.809894766068737</c:v>
                </c:pt>
                <c:pt idx="11681">
                  <c:v>27.776502575554144</c:v>
                </c:pt>
                <c:pt idx="11682">
                  <c:v>39.777370982943268</c:v>
                </c:pt>
                <c:pt idx="11683">
                  <c:v>40.196691059125918</c:v>
                </c:pt>
                <c:pt idx="11684">
                  <c:v>54.105067299672612</c:v>
                </c:pt>
                <c:pt idx="11685">
                  <c:v>27.0511684185592</c:v>
                </c:pt>
                <c:pt idx="11686">
                  <c:v>27.071218180208987</c:v>
                </c:pt>
                <c:pt idx="11687">
                  <c:v>27.123598313004887</c:v>
                </c:pt>
                <c:pt idx="11688">
                  <c:v>47.891939738769487</c:v>
                </c:pt>
                <c:pt idx="11689">
                  <c:v>54.853637956394302</c:v>
                </c:pt>
                <c:pt idx="11690">
                  <c:v>30.794916286023696</c:v>
                </c:pt>
                <c:pt idx="11691">
                  <c:v>37.353112295493226</c:v>
                </c:pt>
                <c:pt idx="11692">
                  <c:v>42.921600162589158</c:v>
                </c:pt>
                <c:pt idx="11693">
                  <c:v>47.09943804351029</c:v>
                </c:pt>
                <c:pt idx="11694">
                  <c:v>28.794456046924441</c:v>
                </c:pt>
                <c:pt idx="11695">
                  <c:v>49.877193277258108</c:v>
                </c:pt>
                <c:pt idx="11696">
                  <c:v>23.089114268047581</c:v>
                </c:pt>
                <c:pt idx="11697">
                  <c:v>26.731650210673571</c:v>
                </c:pt>
                <c:pt idx="11698">
                  <c:v>35.746867825423124</c:v>
                </c:pt>
                <c:pt idx="11699">
                  <c:v>23.646018903761078</c:v>
                </c:pt>
                <c:pt idx="11700">
                  <c:v>38.538702583884351</c:v>
                </c:pt>
                <c:pt idx="11701">
                  <c:v>27.553702686801323</c:v>
                </c:pt>
                <c:pt idx="11702">
                  <c:v>41.962369596260729</c:v>
                </c:pt>
                <c:pt idx="11703">
                  <c:v>27.362747587874665</c:v>
                </c:pt>
                <c:pt idx="11704">
                  <c:v>37.594040533373104</c:v>
                </c:pt>
                <c:pt idx="11705">
                  <c:v>26.713947877445129</c:v>
                </c:pt>
                <c:pt idx="11706">
                  <c:v>26.042335334822809</c:v>
                </c:pt>
                <c:pt idx="11707">
                  <c:v>43.638864276465952</c:v>
                </c:pt>
                <c:pt idx="11708">
                  <c:v>57.156131203198576</c:v>
                </c:pt>
                <c:pt idx="11709">
                  <c:v>50.362869493834935</c:v>
                </c:pt>
                <c:pt idx="11710">
                  <c:v>26.92381001752851</c:v>
                </c:pt>
                <c:pt idx="11711">
                  <c:v>30.466481736242997</c:v>
                </c:pt>
                <c:pt idx="11712">
                  <c:v>21.203836115889516</c:v>
                </c:pt>
                <c:pt idx="11713">
                  <c:v>28.270715744205063</c:v>
                </c:pt>
                <c:pt idx="11714">
                  <c:v>23.319511429782548</c:v>
                </c:pt>
                <c:pt idx="11715">
                  <c:v>22.237824227844872</c:v>
                </c:pt>
                <c:pt idx="11716">
                  <c:v>18.853927570643119</c:v>
                </c:pt>
                <c:pt idx="11717">
                  <c:v>46.723586135522197</c:v>
                </c:pt>
                <c:pt idx="11718">
                  <c:v>22.555763193987232</c:v>
                </c:pt>
                <c:pt idx="11719">
                  <c:v>26.388338540641975</c:v>
                </c:pt>
                <c:pt idx="11720">
                  <c:v>22.489512318122188</c:v>
                </c:pt>
                <c:pt idx="11721">
                  <c:v>26.99934697631711</c:v>
                </c:pt>
                <c:pt idx="11722">
                  <c:v>51.906815349503553</c:v>
                </c:pt>
                <c:pt idx="11723">
                  <c:v>24.412072528674997</c:v>
                </c:pt>
                <c:pt idx="11724">
                  <c:v>22.909115874483039</c:v>
                </c:pt>
                <c:pt idx="11725">
                  <c:v>34.326276597215355</c:v>
                </c:pt>
                <c:pt idx="11726">
                  <c:v>53.674744702400837</c:v>
                </c:pt>
                <c:pt idx="11727">
                  <c:v>34.272892747738453</c:v>
                </c:pt>
                <c:pt idx="11728">
                  <c:v>29.289478747319556</c:v>
                </c:pt>
                <c:pt idx="11729">
                  <c:v>25.736554293788146</c:v>
                </c:pt>
                <c:pt idx="11730">
                  <c:v>61.486816721320807</c:v>
                </c:pt>
                <c:pt idx="11731">
                  <c:v>54.846050693711021</c:v>
                </c:pt>
                <c:pt idx="11732">
                  <c:v>29.383095420048758</c:v>
                </c:pt>
                <c:pt idx="11733">
                  <c:v>26.203836802708921</c:v>
                </c:pt>
                <c:pt idx="11734">
                  <c:v>32.952517261428007</c:v>
                </c:pt>
                <c:pt idx="11735">
                  <c:v>27.674425244358112</c:v>
                </c:pt>
                <c:pt idx="11736">
                  <c:v>30.74813779410087</c:v>
                </c:pt>
                <c:pt idx="11737">
                  <c:v>37.718822089233882</c:v>
                </c:pt>
                <c:pt idx="11738">
                  <c:v>59.64876643752504</c:v>
                </c:pt>
                <c:pt idx="11739">
                  <c:v>39.720643192748888</c:v>
                </c:pt>
                <c:pt idx="11740">
                  <c:v>50.248105812447939</c:v>
                </c:pt>
                <c:pt idx="11741">
                  <c:v>27.648983968813937</c:v>
                </c:pt>
                <c:pt idx="11742">
                  <c:v>36.624643790999684</c:v>
                </c:pt>
                <c:pt idx="11743">
                  <c:v>35.209979816778798</c:v>
                </c:pt>
                <c:pt idx="11744">
                  <c:v>45.868154080257007</c:v>
                </c:pt>
                <c:pt idx="11745">
                  <c:v>46.267801194025054</c:v>
                </c:pt>
                <c:pt idx="11746">
                  <c:v>28.486015857302586</c:v>
                </c:pt>
                <c:pt idx="11747">
                  <c:v>17.2946319512739</c:v>
                </c:pt>
                <c:pt idx="11748">
                  <c:v>23.589189880448462</c:v>
                </c:pt>
                <c:pt idx="11749">
                  <c:v>40.254355161219237</c:v>
                </c:pt>
                <c:pt idx="11750">
                  <c:v>22.120200971227909</c:v>
                </c:pt>
                <c:pt idx="11751">
                  <c:v>31.550791445401849</c:v>
                </c:pt>
                <c:pt idx="11752">
                  <c:v>22.916902785374965</c:v>
                </c:pt>
                <c:pt idx="11753">
                  <c:v>24.422996713953189</c:v>
                </c:pt>
                <c:pt idx="11754">
                  <c:v>48.395736327310573</c:v>
                </c:pt>
                <c:pt idx="11755">
                  <c:v>28.666656836739627</c:v>
                </c:pt>
                <c:pt idx="11756">
                  <c:v>36.609708998962653</c:v>
                </c:pt>
                <c:pt idx="11757">
                  <c:v>44.807926474692664</c:v>
                </c:pt>
                <c:pt idx="11758">
                  <c:v>23.629779036800489</c:v>
                </c:pt>
                <c:pt idx="11759">
                  <c:v>19.506169188806634</c:v>
                </c:pt>
                <c:pt idx="11760">
                  <c:v>24.75714329239506</c:v>
                </c:pt>
                <c:pt idx="11761">
                  <c:v>35.676965406295601</c:v>
                </c:pt>
                <c:pt idx="11762">
                  <c:v>25.217375124768843</c:v>
                </c:pt>
                <c:pt idx="11763">
                  <c:v>28.287663389769214</c:v>
                </c:pt>
                <c:pt idx="11764">
                  <c:v>22.67129161469531</c:v>
                </c:pt>
                <c:pt idx="11765">
                  <c:v>39.508937821222361</c:v>
                </c:pt>
                <c:pt idx="11766">
                  <c:v>28.113955011094411</c:v>
                </c:pt>
                <c:pt idx="11767">
                  <c:v>25.080835657663496</c:v>
                </c:pt>
                <c:pt idx="11768">
                  <c:v>34.1061574947731</c:v>
                </c:pt>
                <c:pt idx="11769">
                  <c:v>33.482579750568625</c:v>
                </c:pt>
                <c:pt idx="11770">
                  <c:v>27.517224608054153</c:v>
                </c:pt>
                <c:pt idx="11771">
                  <c:v>29.363886736211903</c:v>
                </c:pt>
                <c:pt idx="11772">
                  <c:v>46.795469251659433</c:v>
                </c:pt>
                <c:pt idx="11773">
                  <c:v>22.987037144156908</c:v>
                </c:pt>
                <c:pt idx="11774">
                  <c:v>37.571453261292632</c:v>
                </c:pt>
                <c:pt idx="11775">
                  <c:v>27.676917807006106</c:v>
                </c:pt>
                <c:pt idx="11776">
                  <c:v>26.329690352067754</c:v>
                </c:pt>
                <c:pt idx="11777">
                  <c:v>53.174192475192612</c:v>
                </c:pt>
                <c:pt idx="11778">
                  <c:v>42.429205747763234</c:v>
                </c:pt>
                <c:pt idx="11779">
                  <c:v>31.124040227299531</c:v>
                </c:pt>
                <c:pt idx="11780">
                  <c:v>50.083842667792716</c:v>
                </c:pt>
                <c:pt idx="11781">
                  <c:v>25.466518406618267</c:v>
                </c:pt>
                <c:pt idx="11782">
                  <c:v>28.375741129932084</c:v>
                </c:pt>
                <c:pt idx="11783">
                  <c:v>28.284807321229039</c:v>
                </c:pt>
                <c:pt idx="11784">
                  <c:v>44.929888747512891</c:v>
                </c:pt>
                <c:pt idx="11785">
                  <c:v>26.658800440720285</c:v>
                </c:pt>
                <c:pt idx="11786">
                  <c:v>35.335787349395567</c:v>
                </c:pt>
                <c:pt idx="11787">
                  <c:v>21.92434167667912</c:v>
                </c:pt>
                <c:pt idx="11788">
                  <c:v>27.824428841013862</c:v>
                </c:pt>
                <c:pt idx="11789">
                  <c:v>24.542191471773243</c:v>
                </c:pt>
                <c:pt idx="11790">
                  <c:v>32.842645986253935</c:v>
                </c:pt>
                <c:pt idx="11791">
                  <c:v>28.251967237712829</c:v>
                </c:pt>
                <c:pt idx="11792">
                  <c:v>24.872045013892997</c:v>
                </c:pt>
                <c:pt idx="11793">
                  <c:v>30.144613002716284</c:v>
                </c:pt>
                <c:pt idx="11794">
                  <c:v>45.332645071631568</c:v>
                </c:pt>
                <c:pt idx="11795">
                  <c:v>32.894170298149923</c:v>
                </c:pt>
                <c:pt idx="11796">
                  <c:v>54.822698314768999</c:v>
                </c:pt>
                <c:pt idx="11797">
                  <c:v>49.351215280063677</c:v>
                </c:pt>
                <c:pt idx="11798">
                  <c:v>35.606725428219299</c:v>
                </c:pt>
                <c:pt idx="11799">
                  <c:v>27.884413095423099</c:v>
                </c:pt>
                <c:pt idx="11800">
                  <c:v>23.453270255489784</c:v>
                </c:pt>
                <c:pt idx="11801">
                  <c:v>46.960536742908431</c:v>
                </c:pt>
                <c:pt idx="11802">
                  <c:v>38.231281286178771</c:v>
                </c:pt>
                <c:pt idx="11803">
                  <c:v>27.796067504997819</c:v>
                </c:pt>
                <c:pt idx="11804">
                  <c:v>28.112114586741537</c:v>
                </c:pt>
                <c:pt idx="11805">
                  <c:v>26.11838616235466</c:v>
                </c:pt>
                <c:pt idx="11806">
                  <c:v>22.795549661670609</c:v>
                </c:pt>
                <c:pt idx="11807">
                  <c:v>30.283438577997462</c:v>
                </c:pt>
                <c:pt idx="11808">
                  <c:v>20.347680910752864</c:v>
                </c:pt>
                <c:pt idx="11809">
                  <c:v>30.364822005201322</c:v>
                </c:pt>
                <c:pt idx="11810">
                  <c:v>28.08476629527048</c:v>
                </c:pt>
                <c:pt idx="11811">
                  <c:v>35.03100141519235</c:v>
                </c:pt>
                <c:pt idx="11812">
                  <c:v>56.943669401662717</c:v>
                </c:pt>
                <c:pt idx="11813">
                  <c:v>25.430111076877392</c:v>
                </c:pt>
                <c:pt idx="11814">
                  <c:v>20.16766813389648</c:v>
                </c:pt>
                <c:pt idx="11815">
                  <c:v>30.031638989258738</c:v>
                </c:pt>
                <c:pt idx="11816">
                  <c:v>29.981679901565034</c:v>
                </c:pt>
                <c:pt idx="11817">
                  <c:v>15.764316083819525</c:v>
                </c:pt>
                <c:pt idx="11818">
                  <c:v>34.951701992521947</c:v>
                </c:pt>
                <c:pt idx="11819">
                  <c:v>41.471748879397097</c:v>
                </c:pt>
                <c:pt idx="11820">
                  <c:v>32.779621869065643</c:v>
                </c:pt>
                <c:pt idx="11821">
                  <c:v>34.748622637976716</c:v>
                </c:pt>
                <c:pt idx="11822">
                  <c:v>46.727877585662483</c:v>
                </c:pt>
                <c:pt idx="11823">
                  <c:v>22.005035378331172</c:v>
                </c:pt>
                <c:pt idx="11824">
                  <c:v>49.614297079006874</c:v>
                </c:pt>
                <c:pt idx="11825">
                  <c:v>31.545754555835202</c:v>
                </c:pt>
                <c:pt idx="11826">
                  <c:v>49.011317576920646</c:v>
                </c:pt>
                <c:pt idx="11827">
                  <c:v>34.469500582256188</c:v>
                </c:pt>
                <c:pt idx="11828">
                  <c:v>43.803417063281309</c:v>
                </c:pt>
                <c:pt idx="11829">
                  <c:v>23.101563555918482</c:v>
                </c:pt>
                <c:pt idx="11830">
                  <c:v>40.420616628761209</c:v>
                </c:pt>
                <c:pt idx="11831">
                  <c:v>26.968421371274935</c:v>
                </c:pt>
                <c:pt idx="11832">
                  <c:v>37.10160363316502</c:v>
                </c:pt>
                <c:pt idx="11833">
                  <c:v>30.264675763690427</c:v>
                </c:pt>
                <c:pt idx="11834">
                  <c:v>30.969386080861774</c:v>
                </c:pt>
                <c:pt idx="11835">
                  <c:v>26.459767635450181</c:v>
                </c:pt>
                <c:pt idx="11836">
                  <c:v>27.219154482737395</c:v>
                </c:pt>
                <c:pt idx="11837">
                  <c:v>26.784366809771125</c:v>
                </c:pt>
                <c:pt idx="11838">
                  <c:v>26.260808627749888</c:v>
                </c:pt>
                <c:pt idx="11839">
                  <c:v>22.108324786005486</c:v>
                </c:pt>
                <c:pt idx="11840">
                  <c:v>17.41646343750098</c:v>
                </c:pt>
                <c:pt idx="11841">
                  <c:v>24.903379285772143</c:v>
                </c:pt>
                <c:pt idx="11842">
                  <c:v>28.124178458460385</c:v>
                </c:pt>
                <c:pt idx="11843">
                  <c:v>41.821864270152993</c:v>
                </c:pt>
                <c:pt idx="11844">
                  <c:v>32.809714453306228</c:v>
                </c:pt>
                <c:pt idx="11845">
                  <c:v>24.02799190412096</c:v>
                </c:pt>
                <c:pt idx="11846">
                  <c:v>23.134904696264257</c:v>
                </c:pt>
                <c:pt idx="11847">
                  <c:v>31.135683948159262</c:v>
                </c:pt>
                <c:pt idx="11848">
                  <c:v>21.470019947985907</c:v>
                </c:pt>
                <c:pt idx="11849">
                  <c:v>22.677858297492673</c:v>
                </c:pt>
                <c:pt idx="11850">
                  <c:v>32.148587563177536</c:v>
                </c:pt>
                <c:pt idx="11851">
                  <c:v>27.708374385436695</c:v>
                </c:pt>
                <c:pt idx="11852">
                  <c:v>40.685597395425077</c:v>
                </c:pt>
                <c:pt idx="11853">
                  <c:v>33.123781212082008</c:v>
                </c:pt>
                <c:pt idx="11854">
                  <c:v>48.168088537703674</c:v>
                </c:pt>
                <c:pt idx="11855">
                  <c:v>49.4299894729618</c:v>
                </c:pt>
                <c:pt idx="11856">
                  <c:v>28.488216558810514</c:v>
                </c:pt>
                <c:pt idx="11857">
                  <c:v>20.329192888647917</c:v>
                </c:pt>
                <c:pt idx="11858">
                  <c:v>28.59256409714148</c:v>
                </c:pt>
                <c:pt idx="11859">
                  <c:v>50.818345286247059</c:v>
                </c:pt>
                <c:pt idx="11860">
                  <c:v>35.95508620012366</c:v>
                </c:pt>
                <c:pt idx="11861">
                  <c:v>29.46055032990931</c:v>
                </c:pt>
                <c:pt idx="11862">
                  <c:v>29.456636695989129</c:v>
                </c:pt>
                <c:pt idx="11863">
                  <c:v>22.214034527082205</c:v>
                </c:pt>
                <c:pt idx="11864">
                  <c:v>29.582338768520493</c:v>
                </c:pt>
                <c:pt idx="11865">
                  <c:v>30.53109692624529</c:v>
                </c:pt>
                <c:pt idx="11866">
                  <c:v>47.918775658979179</c:v>
                </c:pt>
                <c:pt idx="11867">
                  <c:v>28.573156712347558</c:v>
                </c:pt>
                <c:pt idx="11868">
                  <c:v>16.829742132408128</c:v>
                </c:pt>
                <c:pt idx="11869">
                  <c:v>33.338593030779805</c:v>
                </c:pt>
                <c:pt idx="11870">
                  <c:v>25.923194984388651</c:v>
                </c:pt>
                <c:pt idx="11871">
                  <c:v>26.454724466445061</c:v>
                </c:pt>
                <c:pt idx="11872">
                  <c:v>31.318629574254505</c:v>
                </c:pt>
                <c:pt idx="11873">
                  <c:v>43.224029378151684</c:v>
                </c:pt>
                <c:pt idx="11874">
                  <c:v>24.58073556372889</c:v>
                </c:pt>
                <c:pt idx="11875">
                  <c:v>20.034419182788721</c:v>
                </c:pt>
                <c:pt idx="11876">
                  <c:v>30.401076457885338</c:v>
                </c:pt>
                <c:pt idx="11877">
                  <c:v>25.373567617484738</c:v>
                </c:pt>
                <c:pt idx="11878">
                  <c:v>18.20281417251168</c:v>
                </c:pt>
                <c:pt idx="11879">
                  <c:v>43.717057962112008</c:v>
                </c:pt>
                <c:pt idx="11880">
                  <c:v>29.80203019840134</c:v>
                </c:pt>
                <c:pt idx="11881">
                  <c:v>32.76717250587437</c:v>
                </c:pt>
                <c:pt idx="11882">
                  <c:v>28.933057754208228</c:v>
                </c:pt>
                <c:pt idx="11883">
                  <c:v>23.963207507490477</c:v>
                </c:pt>
                <c:pt idx="11884">
                  <c:v>21.34626437421511</c:v>
                </c:pt>
                <c:pt idx="11885">
                  <c:v>34.296255633560136</c:v>
                </c:pt>
                <c:pt idx="11886">
                  <c:v>22.720124424783602</c:v>
                </c:pt>
                <c:pt idx="11887">
                  <c:v>30.210737388995742</c:v>
                </c:pt>
                <c:pt idx="11888">
                  <c:v>22.782140176715224</c:v>
                </c:pt>
                <c:pt idx="11889">
                  <c:v>23.115978752075439</c:v>
                </c:pt>
                <c:pt idx="11890">
                  <c:v>24.980138784796274</c:v>
                </c:pt>
                <c:pt idx="11891">
                  <c:v>25.605183311688116</c:v>
                </c:pt>
                <c:pt idx="11892">
                  <c:v>26.82626775341906</c:v>
                </c:pt>
                <c:pt idx="11893">
                  <c:v>36.069206106472677</c:v>
                </c:pt>
                <c:pt idx="11894">
                  <c:v>28.064736011719692</c:v>
                </c:pt>
                <c:pt idx="11895">
                  <c:v>29.940526472297048</c:v>
                </c:pt>
                <c:pt idx="11896">
                  <c:v>41.159650317266269</c:v>
                </c:pt>
                <c:pt idx="11897">
                  <c:v>25.992013742041049</c:v>
                </c:pt>
                <c:pt idx="11898">
                  <c:v>29.808963521509234</c:v>
                </c:pt>
                <c:pt idx="11899">
                  <c:v>35.018035971980225</c:v>
                </c:pt>
                <c:pt idx="11900">
                  <c:v>18.571795057946971</c:v>
                </c:pt>
                <c:pt idx="11901">
                  <c:v>64.507101627231165</c:v>
                </c:pt>
                <c:pt idx="11902">
                  <c:v>26.717353744753289</c:v>
                </c:pt>
                <c:pt idx="11903">
                  <c:v>54.742392507594559</c:v>
                </c:pt>
                <c:pt idx="11904">
                  <c:v>60.151599067926441</c:v>
                </c:pt>
                <c:pt idx="11905">
                  <c:v>42.760504522465794</c:v>
                </c:pt>
                <c:pt idx="11906">
                  <c:v>29.701612618450984</c:v>
                </c:pt>
                <c:pt idx="11907">
                  <c:v>29.000249549979532</c:v>
                </c:pt>
                <c:pt idx="11908">
                  <c:v>26.591081741388845</c:v>
                </c:pt>
                <c:pt idx="11909">
                  <c:v>39.840691063287174</c:v>
                </c:pt>
                <c:pt idx="11910">
                  <c:v>28.06902903927045</c:v>
                </c:pt>
                <c:pt idx="11911">
                  <c:v>23.210361853726294</c:v>
                </c:pt>
                <c:pt idx="11912">
                  <c:v>43.942525736972868</c:v>
                </c:pt>
                <c:pt idx="11913">
                  <c:v>23.010627069136738</c:v>
                </c:pt>
                <c:pt idx="11914">
                  <c:v>56.375227782166895</c:v>
                </c:pt>
                <c:pt idx="11915">
                  <c:v>53.47903423631751</c:v>
                </c:pt>
                <c:pt idx="11916">
                  <c:v>54.778463587552096</c:v>
                </c:pt>
                <c:pt idx="11917">
                  <c:v>55.386030906721388</c:v>
                </c:pt>
                <c:pt idx="11918">
                  <c:v>29.719343922719816</c:v>
                </c:pt>
                <c:pt idx="11919">
                  <c:v>28.350581982058259</c:v>
                </c:pt>
                <c:pt idx="11920">
                  <c:v>30.730576685824335</c:v>
                </c:pt>
                <c:pt idx="11921">
                  <c:v>26.41297818061021</c:v>
                </c:pt>
                <c:pt idx="11922">
                  <c:v>20.303086618105542</c:v>
                </c:pt>
                <c:pt idx="11923">
                  <c:v>19.133069966432885</c:v>
                </c:pt>
                <c:pt idx="11924">
                  <c:v>24.379976919777917</c:v>
                </c:pt>
                <c:pt idx="11925">
                  <c:v>26.869618693092544</c:v>
                </c:pt>
                <c:pt idx="11926">
                  <c:v>42.651645139222019</c:v>
                </c:pt>
                <c:pt idx="11927">
                  <c:v>18.284543546313461</c:v>
                </c:pt>
                <c:pt idx="11928">
                  <c:v>36.560051452347338</c:v>
                </c:pt>
                <c:pt idx="11929">
                  <c:v>28.63646247374033</c:v>
                </c:pt>
                <c:pt idx="11930">
                  <c:v>28.389889368045338</c:v>
                </c:pt>
                <c:pt idx="11931">
                  <c:v>29.324998690382191</c:v>
                </c:pt>
                <c:pt idx="11932">
                  <c:v>29.706438756151456</c:v>
                </c:pt>
                <c:pt idx="11933">
                  <c:v>29.157836140345967</c:v>
                </c:pt>
                <c:pt idx="11934">
                  <c:v>26.109666866753763</c:v>
                </c:pt>
                <c:pt idx="11935">
                  <c:v>27.61206283312271</c:v>
                </c:pt>
                <c:pt idx="11936">
                  <c:v>23.526347736059062</c:v>
                </c:pt>
                <c:pt idx="11937">
                  <c:v>36.20381430530103</c:v>
                </c:pt>
                <c:pt idx="11938">
                  <c:v>27.289171201961331</c:v>
                </c:pt>
                <c:pt idx="11939">
                  <c:v>40.623957244509569</c:v>
                </c:pt>
                <c:pt idx="11940">
                  <c:v>47.52685769876004</c:v>
                </c:pt>
                <c:pt idx="11941">
                  <c:v>34.785669941479085</c:v>
                </c:pt>
                <c:pt idx="11942">
                  <c:v>34.569322852146918</c:v>
                </c:pt>
                <c:pt idx="11943">
                  <c:v>32.974417569425157</c:v>
                </c:pt>
                <c:pt idx="11944">
                  <c:v>37.748881010292415</c:v>
                </c:pt>
                <c:pt idx="11945">
                  <c:v>26.607849846443006</c:v>
                </c:pt>
                <c:pt idx="11946">
                  <c:v>35.163095222317644</c:v>
                </c:pt>
                <c:pt idx="11947">
                  <c:v>29.808239968864477</c:v>
                </c:pt>
                <c:pt idx="11948">
                  <c:v>35.62891178469404</c:v>
                </c:pt>
                <c:pt idx="11949">
                  <c:v>34.480448204144771</c:v>
                </c:pt>
                <c:pt idx="11950">
                  <c:v>27.472956237049736</c:v>
                </c:pt>
                <c:pt idx="11951">
                  <c:v>29.705401330610162</c:v>
                </c:pt>
                <c:pt idx="11952">
                  <c:v>29.550561979588782</c:v>
                </c:pt>
                <c:pt idx="11953">
                  <c:v>43.920235550584614</c:v>
                </c:pt>
                <c:pt idx="11954">
                  <c:v>30.61125588058804</c:v>
                </c:pt>
                <c:pt idx="11955">
                  <c:v>56.302604650059834</c:v>
                </c:pt>
                <c:pt idx="11956">
                  <c:v>25.687011862620906</c:v>
                </c:pt>
                <c:pt idx="11957">
                  <c:v>23.431864707337688</c:v>
                </c:pt>
                <c:pt idx="11958">
                  <c:v>34.380298429315118</c:v>
                </c:pt>
                <c:pt idx="11959">
                  <c:v>30.007087611408636</c:v>
                </c:pt>
                <c:pt idx="11960">
                  <c:v>50.263328162358121</c:v>
                </c:pt>
                <c:pt idx="11961">
                  <c:v>41.943553823626232</c:v>
                </c:pt>
                <c:pt idx="11962">
                  <c:v>42.189636314989059</c:v>
                </c:pt>
                <c:pt idx="11963">
                  <c:v>34.276428768194471</c:v>
                </c:pt>
                <c:pt idx="11964">
                  <c:v>48.154995143218969</c:v>
                </c:pt>
                <c:pt idx="11965">
                  <c:v>25.246165449535788</c:v>
                </c:pt>
                <c:pt idx="11966">
                  <c:v>27.270466637394961</c:v>
                </c:pt>
                <c:pt idx="11967">
                  <c:v>25.20873418631524</c:v>
                </c:pt>
                <c:pt idx="11968">
                  <c:v>29.756899858882761</c:v>
                </c:pt>
                <c:pt idx="11969">
                  <c:v>62.247178763449142</c:v>
                </c:pt>
                <c:pt idx="11970">
                  <c:v>45.94491069738234</c:v>
                </c:pt>
                <c:pt idx="11971">
                  <c:v>27.951433307666942</c:v>
                </c:pt>
                <c:pt idx="11972">
                  <c:v>47.19903538056009</c:v>
                </c:pt>
                <c:pt idx="11973">
                  <c:v>47.783792210936532</c:v>
                </c:pt>
                <c:pt idx="11974">
                  <c:v>27.156681301123673</c:v>
                </c:pt>
                <c:pt idx="11975">
                  <c:v>22.442541493450619</c:v>
                </c:pt>
                <c:pt idx="11976">
                  <c:v>25.540236637511764</c:v>
                </c:pt>
                <c:pt idx="11977">
                  <c:v>15.361915036544822</c:v>
                </c:pt>
                <c:pt idx="11978">
                  <c:v>34.910642933018558</c:v>
                </c:pt>
                <c:pt idx="11979">
                  <c:v>34.312067586332965</c:v>
                </c:pt>
                <c:pt idx="11980">
                  <c:v>30.606397081045344</c:v>
                </c:pt>
                <c:pt idx="11981">
                  <c:v>29.399691690710267</c:v>
                </c:pt>
                <c:pt idx="11982">
                  <c:v>42.39973025343857</c:v>
                </c:pt>
                <c:pt idx="11983">
                  <c:v>31.599716613752825</c:v>
                </c:pt>
                <c:pt idx="11984">
                  <c:v>24.465336186861943</c:v>
                </c:pt>
                <c:pt idx="11985">
                  <c:v>26.067487500966905</c:v>
                </c:pt>
                <c:pt idx="11986">
                  <c:v>55.668022411660893</c:v>
                </c:pt>
                <c:pt idx="11987">
                  <c:v>24.028039917884165</c:v>
                </c:pt>
                <c:pt idx="11988">
                  <c:v>36.555380796050628</c:v>
                </c:pt>
                <c:pt idx="11989">
                  <c:v>35.879046957674475</c:v>
                </c:pt>
                <c:pt idx="11990">
                  <c:v>21.146135449089609</c:v>
                </c:pt>
                <c:pt idx="11991">
                  <c:v>41.439352011861615</c:v>
                </c:pt>
                <c:pt idx="11992">
                  <c:v>50.711325490733493</c:v>
                </c:pt>
                <c:pt idx="11993">
                  <c:v>45.378101088761511</c:v>
                </c:pt>
                <c:pt idx="11994">
                  <c:v>31.083319090130253</c:v>
                </c:pt>
                <c:pt idx="11995">
                  <c:v>48.576901019900603</c:v>
                </c:pt>
                <c:pt idx="11996">
                  <c:v>23.577316425982353</c:v>
                </c:pt>
                <c:pt idx="11997">
                  <c:v>23.161090417567799</c:v>
                </c:pt>
                <c:pt idx="11998">
                  <c:v>46.79611402629525</c:v>
                </c:pt>
                <c:pt idx="11999">
                  <c:v>25.422249223700756</c:v>
                </c:pt>
                <c:pt idx="12000">
                  <c:v>29.33452925347671</c:v>
                </c:pt>
                <c:pt idx="12001">
                  <c:v>39.933177208737796</c:v>
                </c:pt>
                <c:pt idx="12002">
                  <c:v>28.375811348872315</c:v>
                </c:pt>
                <c:pt idx="12003">
                  <c:v>25.600419164470875</c:v>
                </c:pt>
                <c:pt idx="12004">
                  <c:v>34.291169855647667</c:v>
                </c:pt>
                <c:pt idx="12005">
                  <c:v>23.066409215284985</c:v>
                </c:pt>
                <c:pt idx="12006">
                  <c:v>23.944429359382237</c:v>
                </c:pt>
                <c:pt idx="12007">
                  <c:v>23.681573574283341</c:v>
                </c:pt>
                <c:pt idx="12008">
                  <c:v>16.978952798217719</c:v>
                </c:pt>
                <c:pt idx="12009">
                  <c:v>24.537206681224131</c:v>
                </c:pt>
                <c:pt idx="12010">
                  <c:v>22.163369516058257</c:v>
                </c:pt>
                <c:pt idx="12011">
                  <c:v>22.76021773874529</c:v>
                </c:pt>
                <c:pt idx="12012">
                  <c:v>23.357442212685811</c:v>
                </c:pt>
                <c:pt idx="12013">
                  <c:v>30.421543426475413</c:v>
                </c:pt>
                <c:pt idx="12014">
                  <c:v>20.760994216544489</c:v>
                </c:pt>
                <c:pt idx="12015">
                  <c:v>25.655520719468111</c:v>
                </c:pt>
                <c:pt idx="12016">
                  <c:v>30.800870963845469</c:v>
                </c:pt>
                <c:pt idx="12017">
                  <c:v>34.397299284944495</c:v>
                </c:pt>
                <c:pt idx="12018">
                  <c:v>19.890989485140771</c:v>
                </c:pt>
                <c:pt idx="12019">
                  <c:v>28.315875411650094</c:v>
                </c:pt>
                <c:pt idx="12020">
                  <c:v>24.385077272007539</c:v>
                </c:pt>
                <c:pt idx="12021">
                  <c:v>53.941091994431815</c:v>
                </c:pt>
                <c:pt idx="12022">
                  <c:v>40.311270602986475</c:v>
                </c:pt>
                <c:pt idx="12023">
                  <c:v>40.706959271182605</c:v>
                </c:pt>
                <c:pt idx="12024">
                  <c:v>22.54919984213376</c:v>
                </c:pt>
                <c:pt idx="12025">
                  <c:v>49.726263518424268</c:v>
                </c:pt>
                <c:pt idx="12026">
                  <c:v>60.31980068566461</c:v>
                </c:pt>
                <c:pt idx="12027">
                  <c:v>26.745429662443204</c:v>
                </c:pt>
                <c:pt idx="12028">
                  <c:v>29.708896692090136</c:v>
                </c:pt>
                <c:pt idx="12029">
                  <c:v>24.112485129787466</c:v>
                </c:pt>
                <c:pt idx="12030">
                  <c:v>29.327839798229327</c:v>
                </c:pt>
                <c:pt idx="12031">
                  <c:v>45.176812463998672</c:v>
                </c:pt>
                <c:pt idx="12032">
                  <c:v>22.915329264048413</c:v>
                </c:pt>
                <c:pt idx="12033">
                  <c:v>24.589008979955253</c:v>
                </c:pt>
                <c:pt idx="12034">
                  <c:v>30.551147383655803</c:v>
                </c:pt>
                <c:pt idx="12035">
                  <c:v>25.700051252501261</c:v>
                </c:pt>
                <c:pt idx="12036">
                  <c:v>33.569863979887096</c:v>
                </c:pt>
                <c:pt idx="12037">
                  <c:v>28.477171583275169</c:v>
                </c:pt>
                <c:pt idx="12038">
                  <c:v>27.868910209953722</c:v>
                </c:pt>
                <c:pt idx="12039">
                  <c:v>51.223806355331682</c:v>
                </c:pt>
                <c:pt idx="12040">
                  <c:v>27.096675398678439</c:v>
                </c:pt>
                <c:pt idx="12041">
                  <c:v>36.00803804351338</c:v>
                </c:pt>
                <c:pt idx="12042">
                  <c:v>31.757051732937388</c:v>
                </c:pt>
                <c:pt idx="12043">
                  <c:v>19.168012811428529</c:v>
                </c:pt>
                <c:pt idx="12044">
                  <c:v>24.536063462702277</c:v>
                </c:pt>
                <c:pt idx="12045">
                  <c:v>28.280575351099547</c:v>
                </c:pt>
                <c:pt idx="12046">
                  <c:v>40.9247201261961</c:v>
                </c:pt>
                <c:pt idx="12047">
                  <c:v>24.199775307208423</c:v>
                </c:pt>
                <c:pt idx="12048">
                  <c:v>40.611680204920773</c:v>
                </c:pt>
                <c:pt idx="12049">
                  <c:v>51.37396028834695</c:v>
                </c:pt>
                <c:pt idx="12050">
                  <c:v>31.94296931956691</c:v>
                </c:pt>
                <c:pt idx="12051">
                  <c:v>26.991983265638339</c:v>
                </c:pt>
                <c:pt idx="12052">
                  <c:v>28.036064241056053</c:v>
                </c:pt>
                <c:pt idx="12053">
                  <c:v>30.597744116786732</c:v>
                </c:pt>
                <c:pt idx="12054">
                  <c:v>28.780326251254905</c:v>
                </c:pt>
                <c:pt idx="12055">
                  <c:v>35.442714666195421</c:v>
                </c:pt>
                <c:pt idx="12056">
                  <c:v>25.998234864972272</c:v>
                </c:pt>
                <c:pt idx="12057">
                  <c:v>29.359752978996784</c:v>
                </c:pt>
                <c:pt idx="12058">
                  <c:v>22.54522223820225</c:v>
                </c:pt>
                <c:pt idx="12059">
                  <c:v>24.594524732984219</c:v>
                </c:pt>
                <c:pt idx="12060">
                  <c:v>19.426728269933509</c:v>
                </c:pt>
                <c:pt idx="12061">
                  <c:v>39.896704602379096</c:v>
                </c:pt>
                <c:pt idx="12062">
                  <c:v>19.572166837370915</c:v>
                </c:pt>
                <c:pt idx="12063">
                  <c:v>42.158396450545489</c:v>
                </c:pt>
                <c:pt idx="12064">
                  <c:v>30.907860139998501</c:v>
                </c:pt>
                <c:pt idx="12065">
                  <c:v>31.525170749144518</c:v>
                </c:pt>
                <c:pt idx="12066">
                  <c:v>40.808029937002175</c:v>
                </c:pt>
                <c:pt idx="12067">
                  <c:v>26.466931357044302</c:v>
                </c:pt>
                <c:pt idx="12068">
                  <c:v>58.922951597717535</c:v>
                </c:pt>
                <c:pt idx="12069">
                  <c:v>35.213151903823487</c:v>
                </c:pt>
                <c:pt idx="12070">
                  <c:v>28.989582203668437</c:v>
                </c:pt>
                <c:pt idx="12071">
                  <c:v>19.765956331151482</c:v>
                </c:pt>
                <c:pt idx="12072">
                  <c:v>29.32810928005059</c:v>
                </c:pt>
                <c:pt idx="12073">
                  <c:v>26.85760918048323</c:v>
                </c:pt>
                <c:pt idx="12074">
                  <c:v>23.682452196660318</c:v>
                </c:pt>
                <c:pt idx="12075">
                  <c:v>27.048938116530206</c:v>
                </c:pt>
                <c:pt idx="12076">
                  <c:v>22.165075463645817</c:v>
                </c:pt>
                <c:pt idx="12077">
                  <c:v>29.477150978390295</c:v>
                </c:pt>
                <c:pt idx="12078">
                  <c:v>22.946541405129871</c:v>
                </c:pt>
                <c:pt idx="12079">
                  <c:v>21.900976438689103</c:v>
                </c:pt>
                <c:pt idx="12080">
                  <c:v>39.346767785915915</c:v>
                </c:pt>
                <c:pt idx="12081">
                  <c:v>45.375317558958564</c:v>
                </c:pt>
                <c:pt idx="12082">
                  <c:v>23.422954794823532</c:v>
                </c:pt>
                <c:pt idx="12083">
                  <c:v>43.296451843633385</c:v>
                </c:pt>
                <c:pt idx="12084">
                  <c:v>29.509089024944785</c:v>
                </c:pt>
                <c:pt idx="12085">
                  <c:v>25.701033235868007</c:v>
                </c:pt>
                <c:pt idx="12086">
                  <c:v>20.148160496247982</c:v>
                </c:pt>
                <c:pt idx="12087">
                  <c:v>28.805613769948287</c:v>
                </c:pt>
                <c:pt idx="12088">
                  <c:v>25.060426198677682</c:v>
                </c:pt>
                <c:pt idx="12089">
                  <c:v>25.097233275372002</c:v>
                </c:pt>
                <c:pt idx="12090">
                  <c:v>34.175974682535404</c:v>
                </c:pt>
                <c:pt idx="12091">
                  <c:v>29.035696844491973</c:v>
                </c:pt>
                <c:pt idx="12092">
                  <c:v>21.158257307229018</c:v>
                </c:pt>
                <c:pt idx="12093">
                  <c:v>37.37094194969913</c:v>
                </c:pt>
                <c:pt idx="12094">
                  <c:v>26.684442988791954</c:v>
                </c:pt>
                <c:pt idx="12095">
                  <c:v>24.520790755032802</c:v>
                </c:pt>
                <c:pt idx="12096">
                  <c:v>29.629354341507849</c:v>
                </c:pt>
                <c:pt idx="12097">
                  <c:v>41.189114164277257</c:v>
                </c:pt>
                <c:pt idx="12098">
                  <c:v>25.161283850085994</c:v>
                </c:pt>
                <c:pt idx="12099">
                  <c:v>42.095786803592169</c:v>
                </c:pt>
                <c:pt idx="12100">
                  <c:v>32.291852234078149</c:v>
                </c:pt>
                <c:pt idx="12101">
                  <c:v>28.094849265079656</c:v>
                </c:pt>
                <c:pt idx="12102">
                  <c:v>31.314449889034378</c:v>
                </c:pt>
                <c:pt idx="12103">
                  <c:v>41.178955971477393</c:v>
                </c:pt>
                <c:pt idx="12104">
                  <c:v>37.497635810697801</c:v>
                </c:pt>
                <c:pt idx="12105">
                  <c:v>26.259905469923456</c:v>
                </c:pt>
                <c:pt idx="12106">
                  <c:v>20.111899273805189</c:v>
                </c:pt>
                <c:pt idx="12107">
                  <c:v>26.194218259045758</c:v>
                </c:pt>
                <c:pt idx="12108">
                  <c:v>21.633470183915598</c:v>
                </c:pt>
                <c:pt idx="12109">
                  <c:v>40.667417074277793</c:v>
                </c:pt>
                <c:pt idx="12110">
                  <c:v>48.198736930846252</c:v>
                </c:pt>
                <c:pt idx="12111">
                  <c:v>48.804623128682394</c:v>
                </c:pt>
                <c:pt idx="12112">
                  <c:v>28.652196938557367</c:v>
                </c:pt>
                <c:pt idx="12113">
                  <c:v>43.24225580960632</c:v>
                </c:pt>
                <c:pt idx="12114">
                  <c:v>31.709806473288495</c:v>
                </c:pt>
                <c:pt idx="12115">
                  <c:v>36.00177592885963</c:v>
                </c:pt>
                <c:pt idx="12116">
                  <c:v>24.916144478899838</c:v>
                </c:pt>
                <c:pt idx="12117">
                  <c:v>23.104067093675472</c:v>
                </c:pt>
                <c:pt idx="12118">
                  <c:v>24.650735698236275</c:v>
                </c:pt>
                <c:pt idx="12119">
                  <c:v>32.101734829765924</c:v>
                </c:pt>
                <c:pt idx="12120">
                  <c:v>28.394332792774204</c:v>
                </c:pt>
                <c:pt idx="12121">
                  <c:v>48.948721536458457</c:v>
                </c:pt>
                <c:pt idx="12122">
                  <c:v>26.81471608086223</c:v>
                </c:pt>
                <c:pt idx="12123">
                  <c:v>35.632781769131569</c:v>
                </c:pt>
                <c:pt idx="12124">
                  <c:v>21.639133568747749</c:v>
                </c:pt>
                <c:pt idx="12125">
                  <c:v>27.313598989134963</c:v>
                </c:pt>
                <c:pt idx="12126">
                  <c:v>44.127660825999698</c:v>
                </c:pt>
                <c:pt idx="12127">
                  <c:v>27.918487645731936</c:v>
                </c:pt>
                <c:pt idx="12128">
                  <c:v>25.662197465172245</c:v>
                </c:pt>
                <c:pt idx="12129">
                  <c:v>29.274190440390029</c:v>
                </c:pt>
                <c:pt idx="12130">
                  <c:v>48.061210519827412</c:v>
                </c:pt>
                <c:pt idx="12131">
                  <c:v>32.276581570043142</c:v>
                </c:pt>
                <c:pt idx="12132">
                  <c:v>24.39465573253889</c:v>
                </c:pt>
                <c:pt idx="12133">
                  <c:v>57.647444400341598</c:v>
                </c:pt>
                <c:pt idx="12134">
                  <c:v>20.630181684523937</c:v>
                </c:pt>
                <c:pt idx="12135">
                  <c:v>30.539263519457769</c:v>
                </c:pt>
                <c:pt idx="12136">
                  <c:v>26.555942086519249</c:v>
                </c:pt>
                <c:pt idx="12137">
                  <c:v>54.564881356513006</c:v>
                </c:pt>
                <c:pt idx="12138">
                  <c:v>22.706532051015028</c:v>
                </c:pt>
                <c:pt idx="12139">
                  <c:v>24.738386822173862</c:v>
                </c:pt>
                <c:pt idx="12140">
                  <c:v>33.961893397892609</c:v>
                </c:pt>
                <c:pt idx="12141">
                  <c:v>48.576698128347637</c:v>
                </c:pt>
                <c:pt idx="12142">
                  <c:v>30.332457626879712</c:v>
                </c:pt>
                <c:pt idx="12143">
                  <c:v>42.910476388702364</c:v>
                </c:pt>
                <c:pt idx="12144">
                  <c:v>29.849948292285042</c:v>
                </c:pt>
                <c:pt idx="12145">
                  <c:v>26.671377879073347</c:v>
                </c:pt>
                <c:pt idx="12146">
                  <c:v>30.988951724954205</c:v>
                </c:pt>
                <c:pt idx="12147">
                  <c:v>27.097887288067135</c:v>
                </c:pt>
                <c:pt idx="12148">
                  <c:v>23.568357279519283</c:v>
                </c:pt>
                <c:pt idx="12149">
                  <c:v>28.858451255350563</c:v>
                </c:pt>
                <c:pt idx="12150">
                  <c:v>27.625903255906373</c:v>
                </c:pt>
                <c:pt idx="12151">
                  <c:v>21.177003277434046</c:v>
                </c:pt>
                <c:pt idx="12152">
                  <c:v>33.042562013433702</c:v>
                </c:pt>
                <c:pt idx="12153">
                  <c:v>24.512660053124822</c:v>
                </c:pt>
                <c:pt idx="12154">
                  <c:v>33.513429499286232</c:v>
                </c:pt>
                <c:pt idx="12155">
                  <c:v>25.844264235948046</c:v>
                </c:pt>
                <c:pt idx="12156">
                  <c:v>36.978907717402357</c:v>
                </c:pt>
                <c:pt idx="12157">
                  <c:v>51.408162631958035</c:v>
                </c:pt>
                <c:pt idx="12158">
                  <c:v>21.248564532763577</c:v>
                </c:pt>
                <c:pt idx="12159">
                  <c:v>19.713645419052529</c:v>
                </c:pt>
                <c:pt idx="12160">
                  <c:v>15.803490376900927</c:v>
                </c:pt>
                <c:pt idx="12161">
                  <c:v>26.249428637159344</c:v>
                </c:pt>
                <c:pt idx="12162">
                  <c:v>22.808685412527815</c:v>
                </c:pt>
                <c:pt idx="12163">
                  <c:v>36.356146466762198</c:v>
                </c:pt>
                <c:pt idx="12164">
                  <c:v>33.768605029298186</c:v>
                </c:pt>
                <c:pt idx="12165">
                  <c:v>30.74331223294411</c:v>
                </c:pt>
                <c:pt idx="12166">
                  <c:v>55.048926605006251</c:v>
                </c:pt>
                <c:pt idx="12167">
                  <c:v>27.874784840428635</c:v>
                </c:pt>
                <c:pt idx="12168">
                  <c:v>38.050075855508915</c:v>
                </c:pt>
                <c:pt idx="12169">
                  <c:v>27.276963751340933</c:v>
                </c:pt>
                <c:pt idx="12170">
                  <c:v>60.757624687492573</c:v>
                </c:pt>
                <c:pt idx="12171">
                  <c:v>23.351021744586141</c:v>
                </c:pt>
                <c:pt idx="12172">
                  <c:v>28.886202036575419</c:v>
                </c:pt>
                <c:pt idx="12173">
                  <c:v>38.256947546211329</c:v>
                </c:pt>
                <c:pt idx="12174">
                  <c:v>23.583426553516574</c:v>
                </c:pt>
                <c:pt idx="12175">
                  <c:v>42.882976438966338</c:v>
                </c:pt>
                <c:pt idx="12176">
                  <c:v>51.250639146548728</c:v>
                </c:pt>
                <c:pt idx="12177">
                  <c:v>22.475388502528361</c:v>
                </c:pt>
                <c:pt idx="12178">
                  <c:v>33.469380973237151</c:v>
                </c:pt>
                <c:pt idx="12179">
                  <c:v>22.761669644018333</c:v>
                </c:pt>
                <c:pt idx="12180">
                  <c:v>23.630252837790895</c:v>
                </c:pt>
                <c:pt idx="12181">
                  <c:v>29.489720028130222</c:v>
                </c:pt>
                <c:pt idx="12182">
                  <c:v>52.676542470665716</c:v>
                </c:pt>
                <c:pt idx="12183">
                  <c:v>28.611055499165623</c:v>
                </c:pt>
                <c:pt idx="12184">
                  <c:v>48.896590851515391</c:v>
                </c:pt>
                <c:pt idx="12185">
                  <c:v>30.029704201721511</c:v>
                </c:pt>
                <c:pt idx="12186">
                  <c:v>24.019190497331607</c:v>
                </c:pt>
                <c:pt idx="12187">
                  <c:v>42.369886621508023</c:v>
                </c:pt>
                <c:pt idx="12188">
                  <c:v>22.390690776339866</c:v>
                </c:pt>
                <c:pt idx="12189">
                  <c:v>40.367072756210625</c:v>
                </c:pt>
                <c:pt idx="12190">
                  <c:v>42.297861785930301</c:v>
                </c:pt>
                <c:pt idx="12191">
                  <c:v>30.403795018474444</c:v>
                </c:pt>
                <c:pt idx="12192">
                  <c:v>28.301974475201639</c:v>
                </c:pt>
                <c:pt idx="12193">
                  <c:v>26.537206216003764</c:v>
                </c:pt>
                <c:pt idx="12194">
                  <c:v>39.585705254123276</c:v>
                </c:pt>
                <c:pt idx="12195">
                  <c:v>28.549319044003234</c:v>
                </c:pt>
                <c:pt idx="12196">
                  <c:v>21.485572029922508</c:v>
                </c:pt>
                <c:pt idx="12197">
                  <c:v>22.393117277632115</c:v>
                </c:pt>
                <c:pt idx="12198">
                  <c:v>30.237706708849998</c:v>
                </c:pt>
                <c:pt idx="12199">
                  <c:v>26.672222585236632</c:v>
                </c:pt>
                <c:pt idx="12200">
                  <c:v>43.798294005390652</c:v>
                </c:pt>
                <c:pt idx="12201">
                  <c:v>19.140239122297032</c:v>
                </c:pt>
                <c:pt idx="12202">
                  <c:v>22.002148413479617</c:v>
                </c:pt>
                <c:pt idx="12203">
                  <c:v>37.252369009882919</c:v>
                </c:pt>
                <c:pt idx="12204">
                  <c:v>28.180731477393902</c:v>
                </c:pt>
                <c:pt idx="12205">
                  <c:v>31.72334588035622</c:v>
                </c:pt>
                <c:pt idx="12206">
                  <c:v>29.321142010041179</c:v>
                </c:pt>
                <c:pt idx="12207">
                  <c:v>24.87579277483572</c:v>
                </c:pt>
                <c:pt idx="12208">
                  <c:v>49.338325304436765</c:v>
                </c:pt>
                <c:pt idx="12209">
                  <c:v>21.957201272312584</c:v>
                </c:pt>
                <c:pt idx="12210">
                  <c:v>29.530402756610513</c:v>
                </c:pt>
                <c:pt idx="12211">
                  <c:v>56.219648430800767</c:v>
                </c:pt>
                <c:pt idx="12212">
                  <c:v>25.44405805533599</c:v>
                </c:pt>
                <c:pt idx="12213">
                  <c:v>22.680187962791752</c:v>
                </c:pt>
                <c:pt idx="12214">
                  <c:v>32.212173474196689</c:v>
                </c:pt>
                <c:pt idx="12215">
                  <c:v>29.122938246250577</c:v>
                </c:pt>
                <c:pt idx="12216">
                  <c:v>26.720027683184817</c:v>
                </c:pt>
                <c:pt idx="12217">
                  <c:v>20.240674166250635</c:v>
                </c:pt>
                <c:pt idx="12218">
                  <c:v>46.382987262793584</c:v>
                </c:pt>
                <c:pt idx="12219">
                  <c:v>56.555038351791396</c:v>
                </c:pt>
                <c:pt idx="12220">
                  <c:v>32.256598427058165</c:v>
                </c:pt>
                <c:pt idx="12221">
                  <c:v>27.709969860596527</c:v>
                </c:pt>
                <c:pt idx="12222">
                  <c:v>26.104532297747618</c:v>
                </c:pt>
                <c:pt idx="12223">
                  <c:v>34.688251369487602</c:v>
                </c:pt>
                <c:pt idx="12224">
                  <c:v>40.352859230313982</c:v>
                </c:pt>
                <c:pt idx="12225">
                  <c:v>32.848036881297567</c:v>
                </c:pt>
                <c:pt idx="12226">
                  <c:v>30.666671693842463</c:v>
                </c:pt>
                <c:pt idx="12227">
                  <c:v>40.881524863391043</c:v>
                </c:pt>
                <c:pt idx="12228">
                  <c:v>21.683835677914793</c:v>
                </c:pt>
                <c:pt idx="12229">
                  <c:v>20.405707139472373</c:v>
                </c:pt>
                <c:pt idx="12230">
                  <c:v>19.437764794234734</c:v>
                </c:pt>
                <c:pt idx="12231">
                  <c:v>24.307121089963175</c:v>
                </c:pt>
                <c:pt idx="12232">
                  <c:v>54.829570990321685</c:v>
                </c:pt>
                <c:pt idx="12233">
                  <c:v>22.340956158760264</c:v>
                </c:pt>
                <c:pt idx="12234">
                  <c:v>23.303310418565914</c:v>
                </c:pt>
                <c:pt idx="12235">
                  <c:v>33.992396414932138</c:v>
                </c:pt>
                <c:pt idx="12236">
                  <c:v>25.009517371681582</c:v>
                </c:pt>
                <c:pt idx="12237">
                  <c:v>30.638585544487022</c:v>
                </c:pt>
                <c:pt idx="12238">
                  <c:v>23.42245234257674</c:v>
                </c:pt>
                <c:pt idx="12239">
                  <c:v>50.239316886318058</c:v>
                </c:pt>
                <c:pt idx="12240">
                  <c:v>60.760896294153824</c:v>
                </c:pt>
                <c:pt idx="12241">
                  <c:v>28.71707839656068</c:v>
                </c:pt>
                <c:pt idx="12242">
                  <c:v>36.990559694056053</c:v>
                </c:pt>
                <c:pt idx="12243">
                  <c:v>54.712590515572863</c:v>
                </c:pt>
                <c:pt idx="12244">
                  <c:v>32.785066140852834</c:v>
                </c:pt>
                <c:pt idx="12245">
                  <c:v>46.191617753963698</c:v>
                </c:pt>
                <c:pt idx="12246">
                  <c:v>40.872205173357131</c:v>
                </c:pt>
                <c:pt idx="12247">
                  <c:v>27.636507181818388</c:v>
                </c:pt>
                <c:pt idx="12248">
                  <c:v>24.011412763658278</c:v>
                </c:pt>
                <c:pt idx="12249">
                  <c:v>31.132929801251283</c:v>
                </c:pt>
                <c:pt idx="12250">
                  <c:v>34.104598403666941</c:v>
                </c:pt>
                <c:pt idx="12251">
                  <c:v>19.920737712919809</c:v>
                </c:pt>
                <c:pt idx="12252">
                  <c:v>21.341413381920578</c:v>
                </c:pt>
                <c:pt idx="12253">
                  <c:v>23.585455453753404</c:v>
                </c:pt>
                <c:pt idx="12254">
                  <c:v>23.572586546385075</c:v>
                </c:pt>
                <c:pt idx="12255">
                  <c:v>31.533897790344774</c:v>
                </c:pt>
                <c:pt idx="12256">
                  <c:v>27.862347420141301</c:v>
                </c:pt>
                <c:pt idx="12257">
                  <c:v>23.680468099784537</c:v>
                </c:pt>
                <c:pt idx="12258">
                  <c:v>26.713871737219122</c:v>
                </c:pt>
                <c:pt idx="12259">
                  <c:v>39.597678046773638</c:v>
                </c:pt>
                <c:pt idx="12260">
                  <c:v>19.590518900268879</c:v>
                </c:pt>
                <c:pt idx="12261">
                  <c:v>30.422413249164812</c:v>
                </c:pt>
                <c:pt idx="12262">
                  <c:v>50.575437337241205</c:v>
                </c:pt>
                <c:pt idx="12263">
                  <c:v>14.907334959263217</c:v>
                </c:pt>
                <c:pt idx="12264">
                  <c:v>27.657904884606559</c:v>
                </c:pt>
                <c:pt idx="12265">
                  <c:v>31.290340281317732</c:v>
                </c:pt>
                <c:pt idx="12266">
                  <c:v>39.305793617400042</c:v>
                </c:pt>
                <c:pt idx="12267">
                  <c:v>34.762937669221749</c:v>
                </c:pt>
                <c:pt idx="12268">
                  <c:v>25.925744748763819</c:v>
                </c:pt>
                <c:pt idx="12269">
                  <c:v>42.323190959376426</c:v>
                </c:pt>
                <c:pt idx="12270">
                  <c:v>34.616222162074578</c:v>
                </c:pt>
                <c:pt idx="12271">
                  <c:v>24.692161378813353</c:v>
                </c:pt>
                <c:pt idx="12272">
                  <c:v>26.86724883746524</c:v>
                </c:pt>
                <c:pt idx="12273">
                  <c:v>19.648023993395583</c:v>
                </c:pt>
                <c:pt idx="12274">
                  <c:v>21.931883053053113</c:v>
                </c:pt>
                <c:pt idx="12275">
                  <c:v>29.760724820381711</c:v>
                </c:pt>
                <c:pt idx="12276">
                  <c:v>26.646089957056123</c:v>
                </c:pt>
                <c:pt idx="12277">
                  <c:v>24.028092743348115</c:v>
                </c:pt>
                <c:pt idx="12278">
                  <c:v>28.934463943384689</c:v>
                </c:pt>
                <c:pt idx="12279">
                  <c:v>28.217097466846198</c:v>
                </c:pt>
                <c:pt idx="12280">
                  <c:v>28.076408863224259</c:v>
                </c:pt>
                <c:pt idx="12281">
                  <c:v>35.125698608031684</c:v>
                </c:pt>
                <c:pt idx="12282">
                  <c:v>32.427000072211044</c:v>
                </c:pt>
                <c:pt idx="12283">
                  <c:v>34.770052471614079</c:v>
                </c:pt>
                <c:pt idx="12284">
                  <c:v>25.192462908093258</c:v>
                </c:pt>
                <c:pt idx="12285">
                  <c:v>54.434278717227933</c:v>
                </c:pt>
                <c:pt idx="12286">
                  <c:v>30.565004115699381</c:v>
                </c:pt>
                <c:pt idx="12287">
                  <c:v>26.281475170101448</c:v>
                </c:pt>
                <c:pt idx="12288">
                  <c:v>30.826524024169728</c:v>
                </c:pt>
                <c:pt idx="12289">
                  <c:v>59.968564880621074</c:v>
                </c:pt>
                <c:pt idx="12290">
                  <c:v>27.631793314223835</c:v>
                </c:pt>
                <c:pt idx="12291">
                  <c:v>27.117789877984549</c:v>
                </c:pt>
                <c:pt idx="12292">
                  <c:v>26.078282460191893</c:v>
                </c:pt>
                <c:pt idx="12293">
                  <c:v>30.822573644432257</c:v>
                </c:pt>
                <c:pt idx="12294">
                  <c:v>39.753608433986827</c:v>
                </c:pt>
                <c:pt idx="12295">
                  <c:v>27.540176205138433</c:v>
                </c:pt>
                <c:pt idx="12296">
                  <c:v>33.790552827871757</c:v>
                </c:pt>
                <c:pt idx="12297">
                  <c:v>32.179758368295879</c:v>
                </c:pt>
                <c:pt idx="12298">
                  <c:v>34.4984758088234</c:v>
                </c:pt>
                <c:pt idx="12299">
                  <c:v>45.506621824994589</c:v>
                </c:pt>
                <c:pt idx="12300">
                  <c:v>30.574492673669422</c:v>
                </c:pt>
                <c:pt idx="12301">
                  <c:v>23.434833436582057</c:v>
                </c:pt>
                <c:pt idx="12302">
                  <c:v>23.637791415824644</c:v>
                </c:pt>
                <c:pt idx="12303">
                  <c:v>50.210340575364491</c:v>
                </c:pt>
                <c:pt idx="12304">
                  <c:v>29.346268276214705</c:v>
                </c:pt>
                <c:pt idx="12305">
                  <c:v>29.017506772164857</c:v>
                </c:pt>
                <c:pt idx="12306">
                  <c:v>45.392126933891127</c:v>
                </c:pt>
                <c:pt idx="12307">
                  <c:v>24.088465406237113</c:v>
                </c:pt>
                <c:pt idx="12308">
                  <c:v>45.658726326897956</c:v>
                </c:pt>
                <c:pt idx="12309">
                  <c:v>42.327013460691148</c:v>
                </c:pt>
                <c:pt idx="12310">
                  <c:v>28.921733819528566</c:v>
                </c:pt>
                <c:pt idx="12311">
                  <c:v>24.68529115399344</c:v>
                </c:pt>
                <c:pt idx="12312">
                  <c:v>39.287098483357916</c:v>
                </c:pt>
                <c:pt idx="12313">
                  <c:v>42.83410250607519</c:v>
                </c:pt>
                <c:pt idx="12314">
                  <c:v>24.343440732409587</c:v>
                </c:pt>
                <c:pt idx="12315">
                  <c:v>29.662290900768497</c:v>
                </c:pt>
                <c:pt idx="12316">
                  <c:v>27.334659415353546</c:v>
                </c:pt>
                <c:pt idx="12317">
                  <c:v>22.372071694879313</c:v>
                </c:pt>
                <c:pt idx="12318">
                  <c:v>23.773541480547713</c:v>
                </c:pt>
                <c:pt idx="12319">
                  <c:v>44.868387342376643</c:v>
                </c:pt>
                <c:pt idx="12320">
                  <c:v>48.626852731285155</c:v>
                </c:pt>
                <c:pt idx="12321">
                  <c:v>22.655128550166882</c:v>
                </c:pt>
                <c:pt idx="12322">
                  <c:v>25.300236220922926</c:v>
                </c:pt>
                <c:pt idx="12323">
                  <c:v>34.874855401936983</c:v>
                </c:pt>
                <c:pt idx="12324">
                  <c:v>34.410080844512997</c:v>
                </c:pt>
                <c:pt idx="12325">
                  <c:v>27.316945653274097</c:v>
                </c:pt>
                <c:pt idx="12326">
                  <c:v>37.903859272870029</c:v>
                </c:pt>
                <c:pt idx="12327">
                  <c:v>30.705011278979292</c:v>
                </c:pt>
                <c:pt idx="12328">
                  <c:v>25.476011594799981</c:v>
                </c:pt>
                <c:pt idx="12329">
                  <c:v>49.77211421415781</c:v>
                </c:pt>
                <c:pt idx="12330">
                  <c:v>24.638572830618603</c:v>
                </c:pt>
                <c:pt idx="12331">
                  <c:v>22.645025072625131</c:v>
                </c:pt>
                <c:pt idx="12332">
                  <c:v>49.352314342727723</c:v>
                </c:pt>
                <c:pt idx="12333">
                  <c:v>50.252169182924064</c:v>
                </c:pt>
                <c:pt idx="12334">
                  <c:v>22.417226015183108</c:v>
                </c:pt>
                <c:pt idx="12335">
                  <c:v>53.599214503051741</c:v>
                </c:pt>
                <c:pt idx="12336">
                  <c:v>23.797007789614703</c:v>
                </c:pt>
                <c:pt idx="12337">
                  <c:v>22.704132340627648</c:v>
                </c:pt>
                <c:pt idx="12338">
                  <c:v>20.527892131853811</c:v>
                </c:pt>
                <c:pt idx="12339">
                  <c:v>26.248546173106362</c:v>
                </c:pt>
                <c:pt idx="12340">
                  <c:v>23.172637137694515</c:v>
                </c:pt>
                <c:pt idx="12341">
                  <c:v>19.698755949764433</c:v>
                </c:pt>
                <c:pt idx="12342">
                  <c:v>22.72890085182874</c:v>
                </c:pt>
                <c:pt idx="12343">
                  <c:v>25.313220643825915</c:v>
                </c:pt>
                <c:pt idx="12344">
                  <c:v>55.731713975566535</c:v>
                </c:pt>
                <c:pt idx="12345">
                  <c:v>29.55243995250191</c:v>
                </c:pt>
                <c:pt idx="12346">
                  <c:v>22.402722934516834</c:v>
                </c:pt>
                <c:pt idx="12347">
                  <c:v>19.748578070897615</c:v>
                </c:pt>
                <c:pt idx="12348">
                  <c:v>26.842553699446007</c:v>
                </c:pt>
                <c:pt idx="12349">
                  <c:v>37.890609866649235</c:v>
                </c:pt>
                <c:pt idx="12350">
                  <c:v>31.709493055379589</c:v>
                </c:pt>
                <c:pt idx="12351">
                  <c:v>19.304579761153896</c:v>
                </c:pt>
                <c:pt idx="12352">
                  <c:v>25.722608901762335</c:v>
                </c:pt>
                <c:pt idx="12353">
                  <c:v>17.450406476650027</c:v>
                </c:pt>
                <c:pt idx="12354">
                  <c:v>48.728194565336928</c:v>
                </c:pt>
                <c:pt idx="12355">
                  <c:v>29.78838723987268</c:v>
                </c:pt>
                <c:pt idx="12356">
                  <c:v>28.774434889405704</c:v>
                </c:pt>
                <c:pt idx="12357">
                  <c:v>33.355743998294955</c:v>
                </c:pt>
                <c:pt idx="12358">
                  <c:v>29.221109083376355</c:v>
                </c:pt>
                <c:pt idx="12359">
                  <c:v>24.927068400690047</c:v>
                </c:pt>
                <c:pt idx="12360">
                  <c:v>44.7412375661753</c:v>
                </c:pt>
                <c:pt idx="12361">
                  <c:v>23.043044805808385</c:v>
                </c:pt>
                <c:pt idx="12362">
                  <c:v>24.442994931506057</c:v>
                </c:pt>
                <c:pt idx="12363">
                  <c:v>29.425287325802731</c:v>
                </c:pt>
                <c:pt idx="12364">
                  <c:v>47.685482539241832</c:v>
                </c:pt>
                <c:pt idx="12365">
                  <c:v>51.409689443878754</c:v>
                </c:pt>
                <c:pt idx="12366">
                  <c:v>48.701126013920764</c:v>
                </c:pt>
                <c:pt idx="12367">
                  <c:v>55.38046283419186</c:v>
                </c:pt>
                <c:pt idx="12368">
                  <c:v>22.335584934520362</c:v>
                </c:pt>
                <c:pt idx="12369">
                  <c:v>25.191793629327748</c:v>
                </c:pt>
                <c:pt idx="12370">
                  <c:v>26.590391226929299</c:v>
                </c:pt>
                <c:pt idx="12371">
                  <c:v>30.035851922123662</c:v>
                </c:pt>
                <c:pt idx="12372">
                  <c:v>25.190084172714982</c:v>
                </c:pt>
                <c:pt idx="12373">
                  <c:v>54.410455940721661</c:v>
                </c:pt>
                <c:pt idx="12374">
                  <c:v>19.141093902138298</c:v>
                </c:pt>
                <c:pt idx="12375">
                  <c:v>27.008124897585187</c:v>
                </c:pt>
                <c:pt idx="12376">
                  <c:v>25.604217466970269</c:v>
                </c:pt>
                <c:pt idx="12377">
                  <c:v>28.607264940012705</c:v>
                </c:pt>
                <c:pt idx="12378">
                  <c:v>18.232339167872819</c:v>
                </c:pt>
                <c:pt idx="12379">
                  <c:v>49.218745536407894</c:v>
                </c:pt>
                <c:pt idx="12380">
                  <c:v>28.120451475189238</c:v>
                </c:pt>
                <c:pt idx="12381">
                  <c:v>46.835204973865345</c:v>
                </c:pt>
                <c:pt idx="12382">
                  <c:v>22.301918643437936</c:v>
                </c:pt>
                <c:pt idx="12383">
                  <c:v>38.87778758405581</c:v>
                </c:pt>
                <c:pt idx="12384">
                  <c:v>21.062762107253469</c:v>
                </c:pt>
                <c:pt idx="12385">
                  <c:v>37.044393000601673</c:v>
                </c:pt>
                <c:pt idx="12386">
                  <c:v>19.816406654959064</c:v>
                </c:pt>
                <c:pt idx="12387">
                  <c:v>36.787789821818087</c:v>
                </c:pt>
                <c:pt idx="12388">
                  <c:v>29.460864210212655</c:v>
                </c:pt>
                <c:pt idx="12389">
                  <c:v>24.867234006100261</c:v>
                </c:pt>
                <c:pt idx="12390">
                  <c:v>47.852091045698401</c:v>
                </c:pt>
                <c:pt idx="12391">
                  <c:v>34.399338640140371</c:v>
                </c:pt>
                <c:pt idx="12392">
                  <c:v>24.383893684279286</c:v>
                </c:pt>
                <c:pt idx="12393">
                  <c:v>52.061956674666099</c:v>
                </c:pt>
                <c:pt idx="12394">
                  <c:v>23.685404424423083</c:v>
                </c:pt>
                <c:pt idx="12395">
                  <c:v>26.71757445969148</c:v>
                </c:pt>
                <c:pt idx="12396">
                  <c:v>22.629365505908485</c:v>
                </c:pt>
                <c:pt idx="12397">
                  <c:v>24.148883472904132</c:v>
                </c:pt>
                <c:pt idx="12398">
                  <c:v>25.510053130497798</c:v>
                </c:pt>
                <c:pt idx="12399">
                  <c:v>23.794946161873341</c:v>
                </c:pt>
                <c:pt idx="12400">
                  <c:v>29.59445617354147</c:v>
                </c:pt>
                <c:pt idx="12401">
                  <c:v>26.567911625399724</c:v>
                </c:pt>
                <c:pt idx="12402">
                  <c:v>28.87588418828614</c:v>
                </c:pt>
                <c:pt idx="12403">
                  <c:v>29.493358715510144</c:v>
                </c:pt>
                <c:pt idx="12404">
                  <c:v>25.676935618659236</c:v>
                </c:pt>
                <c:pt idx="12405">
                  <c:v>32.561918977014038</c:v>
                </c:pt>
                <c:pt idx="12406">
                  <c:v>26.578423571701677</c:v>
                </c:pt>
                <c:pt idx="12407">
                  <c:v>25.291772632323006</c:v>
                </c:pt>
                <c:pt idx="12408">
                  <c:v>35.828316470873951</c:v>
                </c:pt>
                <c:pt idx="12409">
                  <c:v>37.799220171821638</c:v>
                </c:pt>
                <c:pt idx="12410">
                  <c:v>34.957597835486148</c:v>
                </c:pt>
                <c:pt idx="12411">
                  <c:v>26.45412512899459</c:v>
                </c:pt>
                <c:pt idx="12412">
                  <c:v>38.130510647178667</c:v>
                </c:pt>
                <c:pt idx="12413">
                  <c:v>49.754787747450756</c:v>
                </c:pt>
                <c:pt idx="12414">
                  <c:v>27.901271936188241</c:v>
                </c:pt>
                <c:pt idx="12415">
                  <c:v>18.728630050286938</c:v>
                </c:pt>
                <c:pt idx="12416">
                  <c:v>28.051434356123615</c:v>
                </c:pt>
                <c:pt idx="12417">
                  <c:v>30.109495895538952</c:v>
                </c:pt>
                <c:pt idx="12418">
                  <c:v>28.246100234015046</c:v>
                </c:pt>
                <c:pt idx="12419">
                  <c:v>23.847637744735472</c:v>
                </c:pt>
                <c:pt idx="12420">
                  <c:v>25.3547241899326</c:v>
                </c:pt>
                <c:pt idx="12421">
                  <c:v>42.624544077903643</c:v>
                </c:pt>
                <c:pt idx="12422">
                  <c:v>26.074195302967013</c:v>
                </c:pt>
                <c:pt idx="12423">
                  <c:v>27.982903301544948</c:v>
                </c:pt>
                <c:pt idx="12424">
                  <c:v>42.976011659885437</c:v>
                </c:pt>
                <c:pt idx="12425">
                  <c:v>35.163436741027965</c:v>
                </c:pt>
                <c:pt idx="12426">
                  <c:v>39.187756142141424</c:v>
                </c:pt>
                <c:pt idx="12427">
                  <c:v>29.890138522381292</c:v>
                </c:pt>
                <c:pt idx="12428">
                  <c:v>43.21213516935503</c:v>
                </c:pt>
                <c:pt idx="12429">
                  <c:v>25.046524490639367</c:v>
                </c:pt>
                <c:pt idx="12430">
                  <c:v>30.758350609126694</c:v>
                </c:pt>
                <c:pt idx="12431">
                  <c:v>25.20299269244132</c:v>
                </c:pt>
                <c:pt idx="12432">
                  <c:v>21.219525263586835</c:v>
                </c:pt>
                <c:pt idx="12433">
                  <c:v>38.764322454225557</c:v>
                </c:pt>
                <c:pt idx="12434">
                  <c:v>30.948993849085468</c:v>
                </c:pt>
                <c:pt idx="12435">
                  <c:v>30.391579278000854</c:v>
                </c:pt>
                <c:pt idx="12436">
                  <c:v>28.665882688207546</c:v>
                </c:pt>
                <c:pt idx="12437">
                  <c:v>29.525105758887747</c:v>
                </c:pt>
                <c:pt idx="12438">
                  <c:v>32.006343122961987</c:v>
                </c:pt>
                <c:pt idx="12439">
                  <c:v>37.426995341719035</c:v>
                </c:pt>
                <c:pt idx="12440">
                  <c:v>25.707499210539893</c:v>
                </c:pt>
                <c:pt idx="12441">
                  <c:v>19.371273954944055</c:v>
                </c:pt>
                <c:pt idx="12442">
                  <c:v>44.9921477200864</c:v>
                </c:pt>
                <c:pt idx="12443">
                  <c:v>29.0020310288559</c:v>
                </c:pt>
                <c:pt idx="12444">
                  <c:v>25.22510570104658</c:v>
                </c:pt>
                <c:pt idx="12445">
                  <c:v>23.005747217103035</c:v>
                </c:pt>
                <c:pt idx="12446">
                  <c:v>25.306568589684254</c:v>
                </c:pt>
                <c:pt idx="12447">
                  <c:v>27.47983544915359</c:v>
                </c:pt>
                <c:pt idx="12448">
                  <c:v>46.734430145653832</c:v>
                </c:pt>
                <c:pt idx="12449">
                  <c:v>38.848743011180908</c:v>
                </c:pt>
                <c:pt idx="12450">
                  <c:v>25.360494858558596</c:v>
                </c:pt>
                <c:pt idx="12451">
                  <c:v>48.278026156564593</c:v>
                </c:pt>
                <c:pt idx="12452">
                  <c:v>26.860978825852317</c:v>
                </c:pt>
                <c:pt idx="12453">
                  <c:v>43.911503824611756</c:v>
                </c:pt>
                <c:pt idx="12454">
                  <c:v>26.625882333002622</c:v>
                </c:pt>
                <c:pt idx="12455">
                  <c:v>23.434542639748592</c:v>
                </c:pt>
                <c:pt idx="12456">
                  <c:v>37.256475924052957</c:v>
                </c:pt>
                <c:pt idx="12457">
                  <c:v>47.366611936975616</c:v>
                </c:pt>
                <c:pt idx="12458">
                  <c:v>30.743163155680051</c:v>
                </c:pt>
                <c:pt idx="12459">
                  <c:v>37.413054016532712</c:v>
                </c:pt>
                <c:pt idx="12460">
                  <c:v>39.015128963940739</c:v>
                </c:pt>
                <c:pt idx="12461">
                  <c:v>54.20005602557314</c:v>
                </c:pt>
                <c:pt idx="12462">
                  <c:v>18.389863764918559</c:v>
                </c:pt>
                <c:pt idx="12463">
                  <c:v>24.736316225935383</c:v>
                </c:pt>
                <c:pt idx="12464">
                  <c:v>45.840587699351616</c:v>
                </c:pt>
                <c:pt idx="12465">
                  <c:v>44.238002940519927</c:v>
                </c:pt>
                <c:pt idx="12466">
                  <c:v>51.109079451852658</c:v>
                </c:pt>
                <c:pt idx="12467">
                  <c:v>36.263959266814602</c:v>
                </c:pt>
                <c:pt idx="12468">
                  <c:v>46.446186966839001</c:v>
                </c:pt>
                <c:pt idx="12469">
                  <c:v>29.260110577405108</c:v>
                </c:pt>
                <c:pt idx="12470">
                  <c:v>30.272789882228651</c:v>
                </c:pt>
                <c:pt idx="12471">
                  <c:v>30.621470810109702</c:v>
                </c:pt>
                <c:pt idx="12472">
                  <c:v>26.470291650063324</c:v>
                </c:pt>
                <c:pt idx="12473">
                  <c:v>24.21697623050218</c:v>
                </c:pt>
                <c:pt idx="12474">
                  <c:v>24.238600743726813</c:v>
                </c:pt>
                <c:pt idx="12475">
                  <c:v>41.31116037859514</c:v>
                </c:pt>
                <c:pt idx="12476">
                  <c:v>27.182546232348777</c:v>
                </c:pt>
                <c:pt idx="12477">
                  <c:v>30.258968569479688</c:v>
                </c:pt>
                <c:pt idx="12478">
                  <c:v>37.461087097810669</c:v>
                </c:pt>
                <c:pt idx="12479">
                  <c:v>38.129813025169305</c:v>
                </c:pt>
                <c:pt idx="12480">
                  <c:v>51.542049792657721</c:v>
                </c:pt>
                <c:pt idx="12481">
                  <c:v>26.459450607152746</c:v>
                </c:pt>
                <c:pt idx="12482">
                  <c:v>27.11285804232589</c:v>
                </c:pt>
                <c:pt idx="12483">
                  <c:v>23.81925114921674</c:v>
                </c:pt>
                <c:pt idx="12484">
                  <c:v>21.707381113536549</c:v>
                </c:pt>
                <c:pt idx="12485">
                  <c:v>23.711332038940721</c:v>
                </c:pt>
                <c:pt idx="12486">
                  <c:v>26.604023792632795</c:v>
                </c:pt>
                <c:pt idx="12487">
                  <c:v>45.33717040854954</c:v>
                </c:pt>
                <c:pt idx="12488">
                  <c:v>28.718477664707741</c:v>
                </c:pt>
                <c:pt idx="12489">
                  <c:v>32.449317058148246</c:v>
                </c:pt>
                <c:pt idx="12490">
                  <c:v>36.841797881307357</c:v>
                </c:pt>
                <c:pt idx="12491">
                  <c:v>53.807706060465854</c:v>
                </c:pt>
                <c:pt idx="12492">
                  <c:v>21.457351700372019</c:v>
                </c:pt>
                <c:pt idx="12493">
                  <c:v>24.118590915618551</c:v>
                </c:pt>
                <c:pt idx="12494">
                  <c:v>23.329355657488286</c:v>
                </c:pt>
                <c:pt idx="12495">
                  <c:v>25.671979123992827</c:v>
                </c:pt>
                <c:pt idx="12496">
                  <c:v>23.62551161165047</c:v>
                </c:pt>
                <c:pt idx="12497">
                  <c:v>50.622996940075716</c:v>
                </c:pt>
                <c:pt idx="12498">
                  <c:v>37.991497377369782</c:v>
                </c:pt>
                <c:pt idx="12499">
                  <c:v>44.046577217546186</c:v>
                </c:pt>
                <c:pt idx="12500">
                  <c:v>29.560494410603354</c:v>
                </c:pt>
                <c:pt idx="12501">
                  <c:v>18.736122766695658</c:v>
                </c:pt>
                <c:pt idx="12502">
                  <c:v>26.033153469947642</c:v>
                </c:pt>
                <c:pt idx="12503">
                  <c:v>23.099238231850848</c:v>
                </c:pt>
                <c:pt idx="12504">
                  <c:v>35.2444264841468</c:v>
                </c:pt>
                <c:pt idx="12505">
                  <c:v>28.25773177683056</c:v>
                </c:pt>
                <c:pt idx="12506">
                  <c:v>49.450020624524313</c:v>
                </c:pt>
                <c:pt idx="12507">
                  <c:v>27.116398834998552</c:v>
                </c:pt>
                <c:pt idx="12508">
                  <c:v>26.40966074540535</c:v>
                </c:pt>
                <c:pt idx="12509">
                  <c:v>30.385651232556391</c:v>
                </c:pt>
                <c:pt idx="12510">
                  <c:v>21.765182200614881</c:v>
                </c:pt>
                <c:pt idx="12511">
                  <c:v>19.1210641644765</c:v>
                </c:pt>
                <c:pt idx="12512">
                  <c:v>16.676067066423688</c:v>
                </c:pt>
                <c:pt idx="12513">
                  <c:v>18.681167827898967</c:v>
                </c:pt>
                <c:pt idx="12514">
                  <c:v>24.169185908806814</c:v>
                </c:pt>
                <c:pt idx="12515">
                  <c:v>21.155213511545998</c:v>
                </c:pt>
                <c:pt idx="12516">
                  <c:v>48.701909865492972</c:v>
                </c:pt>
                <c:pt idx="12517">
                  <c:v>50.111880959106159</c:v>
                </c:pt>
                <c:pt idx="12518">
                  <c:v>34.708628958513721</c:v>
                </c:pt>
                <c:pt idx="12519">
                  <c:v>26.061334246269372</c:v>
                </c:pt>
                <c:pt idx="12520">
                  <c:v>26.920786501540803</c:v>
                </c:pt>
                <c:pt idx="12521">
                  <c:v>35.361096906430525</c:v>
                </c:pt>
                <c:pt idx="12522">
                  <c:v>30.375960779265448</c:v>
                </c:pt>
                <c:pt idx="12523">
                  <c:v>30.493212422206589</c:v>
                </c:pt>
                <c:pt idx="12524">
                  <c:v>19.547629928876074</c:v>
                </c:pt>
                <c:pt idx="12525">
                  <c:v>34.135188259274734</c:v>
                </c:pt>
                <c:pt idx="12526">
                  <c:v>16.492458949556589</c:v>
                </c:pt>
                <c:pt idx="12527">
                  <c:v>27.981691553413174</c:v>
                </c:pt>
                <c:pt idx="12528">
                  <c:v>20.975020226512534</c:v>
                </c:pt>
                <c:pt idx="12529">
                  <c:v>30.866585835101212</c:v>
                </c:pt>
                <c:pt idx="12530">
                  <c:v>26.321855718495776</c:v>
                </c:pt>
                <c:pt idx="12531">
                  <c:v>48.602299116830892</c:v>
                </c:pt>
                <c:pt idx="12532">
                  <c:v>34.756666737307008</c:v>
                </c:pt>
                <c:pt idx="12533">
                  <c:v>25.382115079611328</c:v>
                </c:pt>
                <c:pt idx="12534">
                  <c:v>25.384735947039964</c:v>
                </c:pt>
                <c:pt idx="12535">
                  <c:v>28.022897965384658</c:v>
                </c:pt>
                <c:pt idx="12536">
                  <c:v>24.616341666250054</c:v>
                </c:pt>
                <c:pt idx="12537">
                  <c:v>22.735869365973976</c:v>
                </c:pt>
                <c:pt idx="12538">
                  <c:v>36.477334662665029</c:v>
                </c:pt>
                <c:pt idx="12539">
                  <c:v>27.867749584911522</c:v>
                </c:pt>
                <c:pt idx="12540">
                  <c:v>43.921760765118826</c:v>
                </c:pt>
                <c:pt idx="12541">
                  <c:v>47.211945619027595</c:v>
                </c:pt>
                <c:pt idx="12542">
                  <c:v>28.455153508676425</c:v>
                </c:pt>
                <c:pt idx="12543">
                  <c:v>32.836157842786832</c:v>
                </c:pt>
                <c:pt idx="12544">
                  <c:v>31.842851544987067</c:v>
                </c:pt>
                <c:pt idx="12545">
                  <c:v>38.793674142573025</c:v>
                </c:pt>
                <c:pt idx="12546">
                  <c:v>37.167315845303378</c:v>
                </c:pt>
                <c:pt idx="12547">
                  <c:v>48.496179841873328</c:v>
                </c:pt>
                <c:pt idx="12548">
                  <c:v>18.584839847148082</c:v>
                </c:pt>
                <c:pt idx="12549">
                  <c:v>35.775742136452287</c:v>
                </c:pt>
                <c:pt idx="12550">
                  <c:v>29.282219957743962</c:v>
                </c:pt>
                <c:pt idx="12551">
                  <c:v>27.774123900221632</c:v>
                </c:pt>
                <c:pt idx="12552">
                  <c:v>26.30820054342605</c:v>
                </c:pt>
                <c:pt idx="12553">
                  <c:v>33.327816573636113</c:v>
                </c:pt>
                <c:pt idx="12554">
                  <c:v>21.767387042910133</c:v>
                </c:pt>
                <c:pt idx="12555">
                  <c:v>32.591720684462892</c:v>
                </c:pt>
                <c:pt idx="12556">
                  <c:v>45.498616370155325</c:v>
                </c:pt>
                <c:pt idx="12557">
                  <c:v>38.357479163439947</c:v>
                </c:pt>
                <c:pt idx="12558">
                  <c:v>36.141861523564735</c:v>
                </c:pt>
                <c:pt idx="12559">
                  <c:v>31.375580264544787</c:v>
                </c:pt>
                <c:pt idx="12560">
                  <c:v>33.687006653215057</c:v>
                </c:pt>
                <c:pt idx="12561">
                  <c:v>28.226231695431828</c:v>
                </c:pt>
                <c:pt idx="12562">
                  <c:v>27.340662869319882</c:v>
                </c:pt>
                <c:pt idx="12563">
                  <c:v>46.884992578388498</c:v>
                </c:pt>
                <c:pt idx="12564">
                  <c:v>23.235126349519842</c:v>
                </c:pt>
                <c:pt idx="12565">
                  <c:v>25.348436337082944</c:v>
                </c:pt>
                <c:pt idx="12566">
                  <c:v>44.137789755238089</c:v>
                </c:pt>
                <c:pt idx="12567">
                  <c:v>42.808759223615525</c:v>
                </c:pt>
                <c:pt idx="12568">
                  <c:v>29.250141685411258</c:v>
                </c:pt>
                <c:pt idx="12569">
                  <c:v>25.33382345776846</c:v>
                </c:pt>
                <c:pt idx="12570">
                  <c:v>38.583149396633495</c:v>
                </c:pt>
                <c:pt idx="12571">
                  <c:v>27.050889680990991</c:v>
                </c:pt>
                <c:pt idx="12572">
                  <c:v>23.292233064655559</c:v>
                </c:pt>
                <c:pt idx="12573">
                  <c:v>25.615960653657218</c:v>
                </c:pt>
                <c:pt idx="12574">
                  <c:v>53.484297920880294</c:v>
                </c:pt>
                <c:pt idx="12575">
                  <c:v>31.276130553868356</c:v>
                </c:pt>
                <c:pt idx="12576">
                  <c:v>42.703433169123045</c:v>
                </c:pt>
                <c:pt idx="12577">
                  <c:v>50.245515123454737</c:v>
                </c:pt>
                <c:pt idx="12578">
                  <c:v>28.969348931862747</c:v>
                </c:pt>
                <c:pt idx="12579">
                  <c:v>18.012416810103399</c:v>
                </c:pt>
                <c:pt idx="12580">
                  <c:v>28.524978865954449</c:v>
                </c:pt>
                <c:pt idx="12581">
                  <c:v>27.444989434774538</c:v>
                </c:pt>
                <c:pt idx="12582">
                  <c:v>18.31638713459196</c:v>
                </c:pt>
                <c:pt idx="12583">
                  <c:v>36.436089720810088</c:v>
                </c:pt>
                <c:pt idx="12584">
                  <c:v>25.226548540342904</c:v>
                </c:pt>
                <c:pt idx="12585">
                  <c:v>23.23604062798065</c:v>
                </c:pt>
                <c:pt idx="12586">
                  <c:v>30.166864224266277</c:v>
                </c:pt>
                <c:pt idx="12587">
                  <c:v>37.189076044878512</c:v>
                </c:pt>
                <c:pt idx="12588">
                  <c:v>28.73282181400921</c:v>
                </c:pt>
                <c:pt idx="12589">
                  <c:v>30.656699014714409</c:v>
                </c:pt>
                <c:pt idx="12590">
                  <c:v>54.489123135022631</c:v>
                </c:pt>
                <c:pt idx="12591">
                  <c:v>44.168855856185722</c:v>
                </c:pt>
                <c:pt idx="12592">
                  <c:v>24.488048151167767</c:v>
                </c:pt>
                <c:pt idx="12593">
                  <c:v>30.378726530855531</c:v>
                </c:pt>
                <c:pt idx="12594">
                  <c:v>29.226599510740655</c:v>
                </c:pt>
                <c:pt idx="12595">
                  <c:v>26.22502751080151</c:v>
                </c:pt>
                <c:pt idx="12596">
                  <c:v>23.518307555893323</c:v>
                </c:pt>
                <c:pt idx="12597">
                  <c:v>27.264285524960016</c:v>
                </c:pt>
                <c:pt idx="12598">
                  <c:v>21.823255940431348</c:v>
                </c:pt>
                <c:pt idx="12599">
                  <c:v>19.415731938936702</c:v>
                </c:pt>
                <c:pt idx="12600">
                  <c:v>35.663806157868997</c:v>
                </c:pt>
                <c:pt idx="12601">
                  <c:v>62.700489513984238</c:v>
                </c:pt>
                <c:pt idx="12602">
                  <c:v>48.697588898190055</c:v>
                </c:pt>
                <c:pt idx="12603">
                  <c:v>53.645634400099652</c:v>
                </c:pt>
                <c:pt idx="12604">
                  <c:v>56.325339226957922</c:v>
                </c:pt>
                <c:pt idx="12605">
                  <c:v>48.290256239859161</c:v>
                </c:pt>
                <c:pt idx="12606">
                  <c:v>24.734587457753598</c:v>
                </c:pt>
                <c:pt idx="12607">
                  <c:v>24.034539036817904</c:v>
                </c:pt>
                <c:pt idx="12608">
                  <c:v>31.758060602244928</c:v>
                </c:pt>
                <c:pt idx="12609">
                  <c:v>29.793899693652161</c:v>
                </c:pt>
                <c:pt idx="12610">
                  <c:v>28.50140612463268</c:v>
                </c:pt>
                <c:pt idx="12611">
                  <c:v>30.909244046848855</c:v>
                </c:pt>
                <c:pt idx="12612">
                  <c:v>29.312154468853805</c:v>
                </c:pt>
                <c:pt idx="12613">
                  <c:v>26.3492336632041</c:v>
                </c:pt>
                <c:pt idx="12614">
                  <c:v>25.39513668447352</c:v>
                </c:pt>
                <c:pt idx="12615">
                  <c:v>29.38501860957286</c:v>
                </c:pt>
                <c:pt idx="12616">
                  <c:v>41.699568056794561</c:v>
                </c:pt>
                <c:pt idx="12617">
                  <c:v>32.75741947879451</c:v>
                </c:pt>
                <c:pt idx="12618">
                  <c:v>24.167103813361305</c:v>
                </c:pt>
                <c:pt idx="12619">
                  <c:v>23.349832231978276</c:v>
                </c:pt>
                <c:pt idx="12620">
                  <c:v>30.674900455564639</c:v>
                </c:pt>
                <c:pt idx="12621">
                  <c:v>28.964565426213653</c:v>
                </c:pt>
                <c:pt idx="12622">
                  <c:v>32.177324572305984</c:v>
                </c:pt>
                <c:pt idx="12623">
                  <c:v>48.581732826899326</c:v>
                </c:pt>
                <c:pt idx="12624">
                  <c:v>42.033560201543622</c:v>
                </c:pt>
                <c:pt idx="12625">
                  <c:v>24.734521631618762</c:v>
                </c:pt>
                <c:pt idx="12626">
                  <c:v>33.596531836790717</c:v>
                </c:pt>
                <c:pt idx="12627">
                  <c:v>20.887793759227229</c:v>
                </c:pt>
                <c:pt idx="12628">
                  <c:v>32.121941976673867</c:v>
                </c:pt>
                <c:pt idx="12629">
                  <c:v>30.054270118976564</c:v>
                </c:pt>
                <c:pt idx="12630">
                  <c:v>18.16183049715379</c:v>
                </c:pt>
                <c:pt idx="12631">
                  <c:v>48.14679278417006</c:v>
                </c:pt>
                <c:pt idx="12632">
                  <c:v>39.220288224351599</c:v>
                </c:pt>
                <c:pt idx="12633">
                  <c:v>23.0286444032612</c:v>
                </c:pt>
                <c:pt idx="12634">
                  <c:v>37.311815638757309</c:v>
                </c:pt>
                <c:pt idx="12635">
                  <c:v>32.967547832715489</c:v>
                </c:pt>
                <c:pt idx="12636">
                  <c:v>46.806014712063288</c:v>
                </c:pt>
                <c:pt idx="12637">
                  <c:v>25.669732711079057</c:v>
                </c:pt>
                <c:pt idx="12638">
                  <c:v>47.886445924703807</c:v>
                </c:pt>
                <c:pt idx="12639">
                  <c:v>32.613071092834659</c:v>
                </c:pt>
                <c:pt idx="12640">
                  <c:v>23.559554894343059</c:v>
                </c:pt>
                <c:pt idx="12641">
                  <c:v>27.99534267102073</c:v>
                </c:pt>
                <c:pt idx="12642">
                  <c:v>33.119539183505779</c:v>
                </c:pt>
                <c:pt idx="12643">
                  <c:v>21.858436074591729</c:v>
                </c:pt>
                <c:pt idx="12644">
                  <c:v>60.014381295242686</c:v>
                </c:pt>
                <c:pt idx="12645">
                  <c:v>27.150650083131403</c:v>
                </c:pt>
                <c:pt idx="12646">
                  <c:v>16.205286942368858</c:v>
                </c:pt>
                <c:pt idx="12647">
                  <c:v>34.257591649539719</c:v>
                </c:pt>
                <c:pt idx="12648">
                  <c:v>35.470981299620966</c:v>
                </c:pt>
                <c:pt idx="12649">
                  <c:v>36.402043396477822</c:v>
                </c:pt>
                <c:pt idx="12650">
                  <c:v>19.172110412402205</c:v>
                </c:pt>
                <c:pt idx="12651">
                  <c:v>25.930088930458126</c:v>
                </c:pt>
                <c:pt idx="12652">
                  <c:v>32.016380862263475</c:v>
                </c:pt>
                <c:pt idx="12653">
                  <c:v>25.397430921377666</c:v>
                </c:pt>
                <c:pt idx="12654">
                  <c:v>32.939069097918285</c:v>
                </c:pt>
                <c:pt idx="12655">
                  <c:v>25.426418152727347</c:v>
                </c:pt>
                <c:pt idx="12656">
                  <c:v>19.597197704756177</c:v>
                </c:pt>
                <c:pt idx="12657">
                  <c:v>22.776533408643065</c:v>
                </c:pt>
                <c:pt idx="12658">
                  <c:v>61.409602731723979</c:v>
                </c:pt>
                <c:pt idx="12659">
                  <c:v>40.800954870765068</c:v>
                </c:pt>
                <c:pt idx="12660">
                  <c:v>28.166148041778037</c:v>
                </c:pt>
                <c:pt idx="12661">
                  <c:v>37.975187447567997</c:v>
                </c:pt>
                <c:pt idx="12662">
                  <c:v>29.688474735249237</c:v>
                </c:pt>
                <c:pt idx="12663">
                  <c:v>33.930855386052031</c:v>
                </c:pt>
                <c:pt idx="12664">
                  <c:v>23.233586960897945</c:v>
                </c:pt>
                <c:pt idx="12665">
                  <c:v>37.854561409277068</c:v>
                </c:pt>
                <c:pt idx="12666">
                  <c:v>47.13814711106771</c:v>
                </c:pt>
                <c:pt idx="12667">
                  <c:v>32.838970815887066</c:v>
                </c:pt>
                <c:pt idx="12668">
                  <c:v>34.475035313382563</c:v>
                </c:pt>
                <c:pt idx="12669">
                  <c:v>37.694177588362606</c:v>
                </c:pt>
                <c:pt idx="12670">
                  <c:v>26.116536414493108</c:v>
                </c:pt>
                <c:pt idx="12671">
                  <c:v>38.048791169841223</c:v>
                </c:pt>
                <c:pt idx="12672">
                  <c:v>27.086197051708318</c:v>
                </c:pt>
                <c:pt idx="12673">
                  <c:v>26.141451612426778</c:v>
                </c:pt>
                <c:pt idx="12674">
                  <c:v>51.947434035669239</c:v>
                </c:pt>
                <c:pt idx="12675">
                  <c:v>30.160201120794781</c:v>
                </c:pt>
                <c:pt idx="12676">
                  <c:v>25.653065230189267</c:v>
                </c:pt>
                <c:pt idx="12677">
                  <c:v>45.671769007728642</c:v>
                </c:pt>
                <c:pt idx="12678">
                  <c:v>42.760512458756807</c:v>
                </c:pt>
                <c:pt idx="12679">
                  <c:v>27.876796273379821</c:v>
                </c:pt>
                <c:pt idx="12680">
                  <c:v>27.562589230088005</c:v>
                </c:pt>
                <c:pt idx="12681">
                  <c:v>26.531952855386315</c:v>
                </c:pt>
                <c:pt idx="12682">
                  <c:v>24.543934891751448</c:v>
                </c:pt>
                <c:pt idx="12683">
                  <c:v>43.265179030750595</c:v>
                </c:pt>
                <c:pt idx="12684">
                  <c:v>19.143332568022259</c:v>
                </c:pt>
                <c:pt idx="12685">
                  <c:v>28.083779776910294</c:v>
                </c:pt>
                <c:pt idx="12686">
                  <c:v>16.53182618050862</c:v>
                </c:pt>
                <c:pt idx="12687">
                  <c:v>47.303461942964276</c:v>
                </c:pt>
                <c:pt idx="12688">
                  <c:v>50.677662596640559</c:v>
                </c:pt>
                <c:pt idx="12689">
                  <c:v>31.835108104137682</c:v>
                </c:pt>
                <c:pt idx="12690">
                  <c:v>37.831341210944821</c:v>
                </c:pt>
                <c:pt idx="12691">
                  <c:v>26.866698923422195</c:v>
                </c:pt>
                <c:pt idx="12692">
                  <c:v>52.309646972602806</c:v>
                </c:pt>
                <c:pt idx="12693">
                  <c:v>30.475422922154973</c:v>
                </c:pt>
                <c:pt idx="12694">
                  <c:v>42.327613492706575</c:v>
                </c:pt>
                <c:pt idx="12695">
                  <c:v>43.996667036187496</c:v>
                </c:pt>
                <c:pt idx="12696">
                  <c:v>42.193898181599863</c:v>
                </c:pt>
                <c:pt idx="12697">
                  <c:v>22.737314011664807</c:v>
                </c:pt>
                <c:pt idx="12698">
                  <c:v>31.499347110486884</c:v>
                </c:pt>
                <c:pt idx="12699">
                  <c:v>42.89923117806692</c:v>
                </c:pt>
                <c:pt idx="12700">
                  <c:v>24.908226131537553</c:v>
                </c:pt>
                <c:pt idx="12701">
                  <c:v>28.571071017706053</c:v>
                </c:pt>
                <c:pt idx="12702">
                  <c:v>33.791440280966114</c:v>
                </c:pt>
                <c:pt idx="12703">
                  <c:v>21.593042301081866</c:v>
                </c:pt>
                <c:pt idx="12704">
                  <c:v>52.827604946144049</c:v>
                </c:pt>
                <c:pt idx="12705">
                  <c:v>26.426965834216414</c:v>
                </c:pt>
                <c:pt idx="12706">
                  <c:v>26.646436122404332</c:v>
                </c:pt>
                <c:pt idx="12707">
                  <c:v>30.847481131984328</c:v>
                </c:pt>
                <c:pt idx="12708">
                  <c:v>24.952622496791669</c:v>
                </c:pt>
                <c:pt idx="12709">
                  <c:v>37.192564139623443</c:v>
                </c:pt>
                <c:pt idx="12710">
                  <c:v>29.236235252617007</c:v>
                </c:pt>
                <c:pt idx="12711">
                  <c:v>28.385618253916562</c:v>
                </c:pt>
                <c:pt idx="12712">
                  <c:v>24.676481630334219</c:v>
                </c:pt>
                <c:pt idx="12713">
                  <c:v>35.530550964582588</c:v>
                </c:pt>
                <c:pt idx="12714">
                  <c:v>20.330372497315985</c:v>
                </c:pt>
                <c:pt idx="12715">
                  <c:v>23.768949026253459</c:v>
                </c:pt>
                <c:pt idx="12716">
                  <c:v>23.483854414543714</c:v>
                </c:pt>
                <c:pt idx="12717">
                  <c:v>31.148572949577549</c:v>
                </c:pt>
                <c:pt idx="12718">
                  <c:v>22.416791901925755</c:v>
                </c:pt>
                <c:pt idx="12719">
                  <c:v>40.497555785820367</c:v>
                </c:pt>
                <c:pt idx="12720">
                  <c:v>40.441185297706291</c:v>
                </c:pt>
                <c:pt idx="12721">
                  <c:v>32.43532354356455</c:v>
                </c:pt>
                <c:pt idx="12722">
                  <c:v>27.658625773147765</c:v>
                </c:pt>
                <c:pt idx="12723">
                  <c:v>42.285924732812809</c:v>
                </c:pt>
                <c:pt idx="12724">
                  <c:v>50.074297361933958</c:v>
                </c:pt>
                <c:pt idx="12725">
                  <c:v>32.333750028091501</c:v>
                </c:pt>
                <c:pt idx="12726">
                  <c:v>26.311181713777813</c:v>
                </c:pt>
                <c:pt idx="12727">
                  <c:v>50.535242347327184</c:v>
                </c:pt>
                <c:pt idx="12728">
                  <c:v>20.707115616638518</c:v>
                </c:pt>
                <c:pt idx="12729">
                  <c:v>25.557703805540637</c:v>
                </c:pt>
                <c:pt idx="12730">
                  <c:v>30.076091549398601</c:v>
                </c:pt>
                <c:pt idx="12731">
                  <c:v>30.74765472222758</c:v>
                </c:pt>
                <c:pt idx="12732">
                  <c:v>17.981003417121261</c:v>
                </c:pt>
                <c:pt idx="12733">
                  <c:v>50.941296477332692</c:v>
                </c:pt>
                <c:pt idx="12734">
                  <c:v>27.143448390450107</c:v>
                </c:pt>
                <c:pt idx="12735">
                  <c:v>25.723697231859862</c:v>
                </c:pt>
                <c:pt idx="12736">
                  <c:v>26.152297140594289</c:v>
                </c:pt>
                <c:pt idx="12737">
                  <c:v>27.070775339248083</c:v>
                </c:pt>
                <c:pt idx="12738">
                  <c:v>26.844540651529229</c:v>
                </c:pt>
                <c:pt idx="12739">
                  <c:v>31.494497602484543</c:v>
                </c:pt>
                <c:pt idx="12740">
                  <c:v>22.80335608956042</c:v>
                </c:pt>
                <c:pt idx="12741">
                  <c:v>27.901231732843065</c:v>
                </c:pt>
                <c:pt idx="12742">
                  <c:v>21.041073081030017</c:v>
                </c:pt>
                <c:pt idx="12743">
                  <c:v>34.989849983418459</c:v>
                </c:pt>
                <c:pt idx="12744">
                  <c:v>30.664570683937576</c:v>
                </c:pt>
                <c:pt idx="12745">
                  <c:v>36.57309190280818</c:v>
                </c:pt>
                <c:pt idx="12746">
                  <c:v>27.270669865733922</c:v>
                </c:pt>
                <c:pt idx="12747">
                  <c:v>22.840872903488499</c:v>
                </c:pt>
                <c:pt idx="12748">
                  <c:v>37.501124578002347</c:v>
                </c:pt>
                <c:pt idx="12749">
                  <c:v>33.219705438941901</c:v>
                </c:pt>
                <c:pt idx="12750">
                  <c:v>23.46460267894517</c:v>
                </c:pt>
                <c:pt idx="12751">
                  <c:v>21.166042633791143</c:v>
                </c:pt>
                <c:pt idx="12752">
                  <c:v>26.501811414252511</c:v>
                </c:pt>
                <c:pt idx="12753">
                  <c:v>26.327982640121647</c:v>
                </c:pt>
                <c:pt idx="12754">
                  <c:v>61.511171666665639</c:v>
                </c:pt>
                <c:pt idx="12755">
                  <c:v>30.621125912458908</c:v>
                </c:pt>
                <c:pt idx="12756">
                  <c:v>33.388493561831943</c:v>
                </c:pt>
                <c:pt idx="12757">
                  <c:v>26.607802959051426</c:v>
                </c:pt>
                <c:pt idx="12758">
                  <c:v>26.989879678760538</c:v>
                </c:pt>
                <c:pt idx="12759">
                  <c:v>54.230841482065252</c:v>
                </c:pt>
                <c:pt idx="12760">
                  <c:v>30.479519759869916</c:v>
                </c:pt>
                <c:pt idx="12761">
                  <c:v>39.119315776384219</c:v>
                </c:pt>
                <c:pt idx="12762">
                  <c:v>25.254380149970775</c:v>
                </c:pt>
                <c:pt idx="12763">
                  <c:v>18.277843226243892</c:v>
                </c:pt>
                <c:pt idx="12764">
                  <c:v>35.465987251792832</c:v>
                </c:pt>
                <c:pt idx="12765">
                  <c:v>49.803827069363351</c:v>
                </c:pt>
                <c:pt idx="12766">
                  <c:v>25.773211219338862</c:v>
                </c:pt>
                <c:pt idx="12767">
                  <c:v>23.523433789563629</c:v>
                </c:pt>
                <c:pt idx="12768">
                  <c:v>24.835548938600091</c:v>
                </c:pt>
                <c:pt idx="12769">
                  <c:v>26.044277328002302</c:v>
                </c:pt>
                <c:pt idx="12770">
                  <c:v>17.397938930272378</c:v>
                </c:pt>
                <c:pt idx="12771">
                  <c:v>38.819673499928271</c:v>
                </c:pt>
                <c:pt idx="12772">
                  <c:v>23.455113160998494</c:v>
                </c:pt>
                <c:pt idx="12773">
                  <c:v>47.433597427881772</c:v>
                </c:pt>
                <c:pt idx="12774">
                  <c:v>15.515832766808813</c:v>
                </c:pt>
                <c:pt idx="12775">
                  <c:v>26.428335653787304</c:v>
                </c:pt>
                <c:pt idx="12776">
                  <c:v>18.589896377721374</c:v>
                </c:pt>
                <c:pt idx="12777">
                  <c:v>16.485351644391216</c:v>
                </c:pt>
                <c:pt idx="12778">
                  <c:v>27.767702105205291</c:v>
                </c:pt>
                <c:pt idx="12779">
                  <c:v>50.003093282878346</c:v>
                </c:pt>
                <c:pt idx="12780">
                  <c:v>53.256457608159657</c:v>
                </c:pt>
                <c:pt idx="12781">
                  <c:v>27.130029376911125</c:v>
                </c:pt>
                <c:pt idx="12782">
                  <c:v>27.475609476570774</c:v>
                </c:pt>
                <c:pt idx="12783">
                  <c:v>34.242108407163947</c:v>
                </c:pt>
                <c:pt idx="12784">
                  <c:v>21.960664816653836</c:v>
                </c:pt>
                <c:pt idx="12785">
                  <c:v>24.582565803946391</c:v>
                </c:pt>
                <c:pt idx="12786">
                  <c:v>47.531729543712892</c:v>
                </c:pt>
                <c:pt idx="12787">
                  <c:v>31.208966911208925</c:v>
                </c:pt>
                <c:pt idx="12788">
                  <c:v>29.972251601287581</c:v>
                </c:pt>
                <c:pt idx="12789">
                  <c:v>22.927373967580451</c:v>
                </c:pt>
                <c:pt idx="12790">
                  <c:v>34.127763089174032</c:v>
                </c:pt>
                <c:pt idx="12791">
                  <c:v>55.783274959757925</c:v>
                </c:pt>
                <c:pt idx="12792">
                  <c:v>28.030704431018982</c:v>
                </c:pt>
                <c:pt idx="12793">
                  <c:v>21.647911294207848</c:v>
                </c:pt>
                <c:pt idx="12794">
                  <c:v>28.389449274022539</c:v>
                </c:pt>
                <c:pt idx="12795">
                  <c:v>36.640636301297647</c:v>
                </c:pt>
                <c:pt idx="12796">
                  <c:v>42.691412912319329</c:v>
                </c:pt>
                <c:pt idx="12797">
                  <c:v>28.943807965090418</c:v>
                </c:pt>
                <c:pt idx="12798">
                  <c:v>25.147050996885291</c:v>
                </c:pt>
                <c:pt idx="12799">
                  <c:v>33.207433526268936</c:v>
                </c:pt>
                <c:pt idx="12800">
                  <c:v>50.120362251484813</c:v>
                </c:pt>
                <c:pt idx="12801">
                  <c:v>33.141245576168259</c:v>
                </c:pt>
                <c:pt idx="12802">
                  <c:v>31.90565333572701</c:v>
                </c:pt>
                <c:pt idx="12803">
                  <c:v>21.556900499460092</c:v>
                </c:pt>
                <c:pt idx="12804">
                  <c:v>34.722993181483389</c:v>
                </c:pt>
                <c:pt idx="12805">
                  <c:v>17.427871398566623</c:v>
                </c:pt>
                <c:pt idx="12806">
                  <c:v>22.651477816792582</c:v>
                </c:pt>
                <c:pt idx="12807">
                  <c:v>27.343877093315562</c:v>
                </c:pt>
                <c:pt idx="12808">
                  <c:v>26.126935945205062</c:v>
                </c:pt>
                <c:pt idx="12809">
                  <c:v>30.464851276692471</c:v>
                </c:pt>
                <c:pt idx="12810">
                  <c:v>27.505131872666077</c:v>
                </c:pt>
                <c:pt idx="12811">
                  <c:v>26.718273598659181</c:v>
                </c:pt>
                <c:pt idx="12812">
                  <c:v>24.83173728215602</c:v>
                </c:pt>
                <c:pt idx="12813">
                  <c:v>33.808215409153647</c:v>
                </c:pt>
                <c:pt idx="12814">
                  <c:v>21.763004161064742</c:v>
                </c:pt>
                <c:pt idx="12815">
                  <c:v>18.905097687743464</c:v>
                </c:pt>
                <c:pt idx="12816">
                  <c:v>28.51697589507193</c:v>
                </c:pt>
                <c:pt idx="12817">
                  <c:v>25.76758409311622</c:v>
                </c:pt>
                <c:pt idx="12818">
                  <c:v>50.619593853920506</c:v>
                </c:pt>
                <c:pt idx="12819">
                  <c:v>22.105446491678563</c:v>
                </c:pt>
                <c:pt idx="12820">
                  <c:v>53.762832218549185</c:v>
                </c:pt>
                <c:pt idx="12821">
                  <c:v>25.518232568119398</c:v>
                </c:pt>
                <c:pt idx="12822">
                  <c:v>29.731673934065558</c:v>
                </c:pt>
                <c:pt idx="12823">
                  <c:v>28.744760393482139</c:v>
                </c:pt>
                <c:pt idx="12824">
                  <c:v>25.529321948609301</c:v>
                </c:pt>
                <c:pt idx="12825">
                  <c:v>25.485882960561423</c:v>
                </c:pt>
                <c:pt idx="12826">
                  <c:v>43.739276496954062</c:v>
                </c:pt>
                <c:pt idx="12827">
                  <c:v>23.483722796868587</c:v>
                </c:pt>
                <c:pt idx="12828">
                  <c:v>27.6769414657273</c:v>
                </c:pt>
                <c:pt idx="12829">
                  <c:v>21.610930204319704</c:v>
                </c:pt>
                <c:pt idx="12830">
                  <c:v>49.451175386150517</c:v>
                </c:pt>
                <c:pt idx="12831">
                  <c:v>30.480878262742735</c:v>
                </c:pt>
                <c:pt idx="12832">
                  <c:v>25.960713606552531</c:v>
                </c:pt>
                <c:pt idx="12833">
                  <c:v>29.200520928536932</c:v>
                </c:pt>
                <c:pt idx="12834">
                  <c:v>23.551089262981293</c:v>
                </c:pt>
                <c:pt idx="12835">
                  <c:v>32.430724476031571</c:v>
                </c:pt>
                <c:pt idx="12836">
                  <c:v>39.623764812151592</c:v>
                </c:pt>
                <c:pt idx="12837">
                  <c:v>26.55712322090471</c:v>
                </c:pt>
                <c:pt idx="12838">
                  <c:v>29.634651041592917</c:v>
                </c:pt>
                <c:pt idx="12839">
                  <c:v>29.917153790025637</c:v>
                </c:pt>
                <c:pt idx="12840">
                  <c:v>40.084623917247036</c:v>
                </c:pt>
                <c:pt idx="12841">
                  <c:v>19.894836602173825</c:v>
                </c:pt>
                <c:pt idx="12842">
                  <c:v>30.788911741667373</c:v>
                </c:pt>
                <c:pt idx="12843">
                  <c:v>32.353609172137212</c:v>
                </c:pt>
                <c:pt idx="12844">
                  <c:v>42.692705386182709</c:v>
                </c:pt>
                <c:pt idx="12845">
                  <c:v>61.271584571282432</c:v>
                </c:pt>
                <c:pt idx="12846">
                  <c:v>22.94188746997925</c:v>
                </c:pt>
                <c:pt idx="12847">
                  <c:v>32.689875523925345</c:v>
                </c:pt>
                <c:pt idx="12848">
                  <c:v>27.437105020964381</c:v>
                </c:pt>
                <c:pt idx="12849">
                  <c:v>28.345569606081501</c:v>
                </c:pt>
                <c:pt idx="12850">
                  <c:v>29.259509156720807</c:v>
                </c:pt>
                <c:pt idx="12851">
                  <c:v>29.59293330887655</c:v>
                </c:pt>
                <c:pt idx="12852">
                  <c:v>45.144225309992031</c:v>
                </c:pt>
                <c:pt idx="12853">
                  <c:v>26.553739751916734</c:v>
                </c:pt>
                <c:pt idx="12854">
                  <c:v>20.027086885922554</c:v>
                </c:pt>
                <c:pt idx="12855">
                  <c:v>58.170619644345621</c:v>
                </c:pt>
                <c:pt idx="12856">
                  <c:v>23.200042038631587</c:v>
                </c:pt>
                <c:pt idx="12857">
                  <c:v>39.060164207048132</c:v>
                </c:pt>
                <c:pt idx="12858">
                  <c:v>45.019591308057812</c:v>
                </c:pt>
                <c:pt idx="12859">
                  <c:v>21.524054237096134</c:v>
                </c:pt>
                <c:pt idx="12860">
                  <c:v>39.569475874883437</c:v>
                </c:pt>
                <c:pt idx="12861">
                  <c:v>24.328841200336075</c:v>
                </c:pt>
                <c:pt idx="12862">
                  <c:v>25.347413949218449</c:v>
                </c:pt>
                <c:pt idx="12863">
                  <c:v>29.143182871045873</c:v>
                </c:pt>
                <c:pt idx="12864">
                  <c:v>16.945545258200596</c:v>
                </c:pt>
                <c:pt idx="12865">
                  <c:v>25.883814839650068</c:v>
                </c:pt>
                <c:pt idx="12866">
                  <c:v>24.491581869457153</c:v>
                </c:pt>
                <c:pt idx="12867">
                  <c:v>42.768522668718504</c:v>
                </c:pt>
                <c:pt idx="12868">
                  <c:v>22.063530428187129</c:v>
                </c:pt>
                <c:pt idx="12869">
                  <c:v>22.694712576793943</c:v>
                </c:pt>
                <c:pt idx="12870">
                  <c:v>26.656611490281378</c:v>
                </c:pt>
                <c:pt idx="12871">
                  <c:v>27.106259985260991</c:v>
                </c:pt>
                <c:pt idx="12872">
                  <c:v>32.581903276098231</c:v>
                </c:pt>
                <c:pt idx="12873">
                  <c:v>29.174852312084763</c:v>
                </c:pt>
                <c:pt idx="12874">
                  <c:v>29.864234674742626</c:v>
                </c:pt>
                <c:pt idx="12875">
                  <c:v>26.958246076387777</c:v>
                </c:pt>
                <c:pt idx="12876">
                  <c:v>22.243288482446314</c:v>
                </c:pt>
                <c:pt idx="12877">
                  <c:v>26.186936878289099</c:v>
                </c:pt>
                <c:pt idx="12878">
                  <c:v>26.935624069918731</c:v>
                </c:pt>
                <c:pt idx="12879">
                  <c:v>27.212010561713022</c:v>
                </c:pt>
                <c:pt idx="12880">
                  <c:v>30.743102860751851</c:v>
                </c:pt>
                <c:pt idx="12881">
                  <c:v>30.376710684368113</c:v>
                </c:pt>
                <c:pt idx="12882">
                  <c:v>39.915632890581428</c:v>
                </c:pt>
                <c:pt idx="12883">
                  <c:v>25.497332713388648</c:v>
                </c:pt>
                <c:pt idx="12884">
                  <c:v>21.625962362703113</c:v>
                </c:pt>
                <c:pt idx="12885">
                  <c:v>43.308162642719054</c:v>
                </c:pt>
                <c:pt idx="12886">
                  <c:v>35.372930442004325</c:v>
                </c:pt>
                <c:pt idx="12887">
                  <c:v>43.602873859643168</c:v>
                </c:pt>
                <c:pt idx="12888">
                  <c:v>28.127989352109008</c:v>
                </c:pt>
                <c:pt idx="12889">
                  <c:v>27.916064931511428</c:v>
                </c:pt>
                <c:pt idx="12890">
                  <c:v>27.754653923345792</c:v>
                </c:pt>
                <c:pt idx="12891">
                  <c:v>41.215582221151614</c:v>
                </c:pt>
                <c:pt idx="12892">
                  <c:v>26.282978825581544</c:v>
                </c:pt>
                <c:pt idx="12893">
                  <c:v>27.87791842571621</c:v>
                </c:pt>
                <c:pt idx="12894">
                  <c:v>25.857011198161047</c:v>
                </c:pt>
                <c:pt idx="12895">
                  <c:v>20.272077794093523</c:v>
                </c:pt>
                <c:pt idx="12896">
                  <c:v>25.710951250868984</c:v>
                </c:pt>
                <c:pt idx="12897">
                  <c:v>40.732526758334821</c:v>
                </c:pt>
                <c:pt idx="12898">
                  <c:v>46.289528124919826</c:v>
                </c:pt>
                <c:pt idx="12899">
                  <c:v>28.406307295920577</c:v>
                </c:pt>
                <c:pt idx="12900">
                  <c:v>33.253744651841068</c:v>
                </c:pt>
                <c:pt idx="12901">
                  <c:v>33.462256901041648</c:v>
                </c:pt>
                <c:pt idx="12902">
                  <c:v>27.341397097204574</c:v>
                </c:pt>
                <c:pt idx="12903">
                  <c:v>24.399698008853942</c:v>
                </c:pt>
                <c:pt idx="12904">
                  <c:v>55.642072515077913</c:v>
                </c:pt>
                <c:pt idx="12905">
                  <c:v>28.293565149916564</c:v>
                </c:pt>
                <c:pt idx="12906">
                  <c:v>26.174484767845136</c:v>
                </c:pt>
                <c:pt idx="12907">
                  <c:v>29.811337758387651</c:v>
                </c:pt>
                <c:pt idx="12908">
                  <c:v>26.302663174604902</c:v>
                </c:pt>
                <c:pt idx="12909">
                  <c:v>37.834437535094082</c:v>
                </c:pt>
                <c:pt idx="12910">
                  <c:v>54.189435103062316</c:v>
                </c:pt>
                <c:pt idx="12911">
                  <c:v>23.884391426042697</c:v>
                </c:pt>
                <c:pt idx="12912">
                  <c:v>23.465287285523278</c:v>
                </c:pt>
                <c:pt idx="12913">
                  <c:v>23.627661051844282</c:v>
                </c:pt>
                <c:pt idx="12914">
                  <c:v>27.26564494689017</c:v>
                </c:pt>
                <c:pt idx="12915">
                  <c:v>50.339723947013667</c:v>
                </c:pt>
                <c:pt idx="12916">
                  <c:v>28.753584693258347</c:v>
                </c:pt>
                <c:pt idx="12917">
                  <c:v>28.320746278867652</c:v>
                </c:pt>
                <c:pt idx="12918">
                  <c:v>25.551555707428125</c:v>
                </c:pt>
                <c:pt idx="12919">
                  <c:v>27.603747746010541</c:v>
                </c:pt>
                <c:pt idx="12920">
                  <c:v>21.24792884345846</c:v>
                </c:pt>
                <c:pt idx="12921">
                  <c:v>24.153225094523492</c:v>
                </c:pt>
                <c:pt idx="12922">
                  <c:v>22.045701610392854</c:v>
                </c:pt>
                <c:pt idx="12923">
                  <c:v>43.976492644962647</c:v>
                </c:pt>
                <c:pt idx="12924">
                  <c:v>28.564561699309671</c:v>
                </c:pt>
                <c:pt idx="12925">
                  <c:v>18.736302290181744</c:v>
                </c:pt>
                <c:pt idx="12926">
                  <c:v>27.777251278275607</c:v>
                </c:pt>
                <c:pt idx="12927">
                  <c:v>37.492990341375361</c:v>
                </c:pt>
                <c:pt idx="12928">
                  <c:v>24.660542643570963</c:v>
                </c:pt>
                <c:pt idx="12929">
                  <c:v>19.349356462383877</c:v>
                </c:pt>
                <c:pt idx="12930">
                  <c:v>19.215474131369003</c:v>
                </c:pt>
                <c:pt idx="12931">
                  <c:v>26.217447699413611</c:v>
                </c:pt>
                <c:pt idx="12932">
                  <c:v>52.277216083709078</c:v>
                </c:pt>
                <c:pt idx="12933">
                  <c:v>24.346455524634649</c:v>
                </c:pt>
                <c:pt idx="12934">
                  <c:v>31.106252424317614</c:v>
                </c:pt>
                <c:pt idx="12935">
                  <c:v>25.187492770813666</c:v>
                </c:pt>
                <c:pt idx="12936">
                  <c:v>27.874087800704835</c:v>
                </c:pt>
                <c:pt idx="12937">
                  <c:v>22.053956838069652</c:v>
                </c:pt>
                <c:pt idx="12938">
                  <c:v>37.43860378646967</c:v>
                </c:pt>
                <c:pt idx="12939">
                  <c:v>28.545276475648123</c:v>
                </c:pt>
                <c:pt idx="12940">
                  <c:v>48.981763782978241</c:v>
                </c:pt>
                <c:pt idx="12941">
                  <c:v>27.211185403577311</c:v>
                </c:pt>
                <c:pt idx="12942">
                  <c:v>37.665811076297103</c:v>
                </c:pt>
                <c:pt idx="12943">
                  <c:v>56.108765873296605</c:v>
                </c:pt>
                <c:pt idx="12944">
                  <c:v>28.010121644913415</c:v>
                </c:pt>
                <c:pt idx="12945">
                  <c:v>23.54309381004099</c:v>
                </c:pt>
                <c:pt idx="12946">
                  <c:v>29.807015237896355</c:v>
                </c:pt>
                <c:pt idx="12947">
                  <c:v>40.76909560071676</c:v>
                </c:pt>
                <c:pt idx="12948">
                  <c:v>28.534378045682399</c:v>
                </c:pt>
                <c:pt idx="12949">
                  <c:v>26.289249537675058</c:v>
                </c:pt>
                <c:pt idx="12950">
                  <c:v>27.863731950779727</c:v>
                </c:pt>
                <c:pt idx="12951">
                  <c:v>26.337567818241386</c:v>
                </c:pt>
                <c:pt idx="12952">
                  <c:v>27.762766265437236</c:v>
                </c:pt>
                <c:pt idx="12953">
                  <c:v>27.830722714137679</c:v>
                </c:pt>
                <c:pt idx="12954">
                  <c:v>31.763701482881199</c:v>
                </c:pt>
                <c:pt idx="12955">
                  <c:v>51.940020206283997</c:v>
                </c:pt>
                <c:pt idx="12956">
                  <c:v>50.639273740326871</c:v>
                </c:pt>
                <c:pt idx="12957">
                  <c:v>53.087353093933494</c:v>
                </c:pt>
                <c:pt idx="12958">
                  <c:v>62.777667613115284</c:v>
                </c:pt>
                <c:pt idx="12959">
                  <c:v>28.254337026089075</c:v>
                </c:pt>
                <c:pt idx="12960">
                  <c:v>29.019216971892128</c:v>
                </c:pt>
                <c:pt idx="12961">
                  <c:v>32.817703168310913</c:v>
                </c:pt>
                <c:pt idx="12962">
                  <c:v>37.085909371894481</c:v>
                </c:pt>
                <c:pt idx="12963">
                  <c:v>72.860376717087803</c:v>
                </c:pt>
                <c:pt idx="12964">
                  <c:v>59.802843049611013</c:v>
                </c:pt>
                <c:pt idx="12965">
                  <c:v>21.415904232212235</c:v>
                </c:pt>
                <c:pt idx="12966">
                  <c:v>30.121240175314835</c:v>
                </c:pt>
                <c:pt idx="12967">
                  <c:v>25.934582783266737</c:v>
                </c:pt>
                <c:pt idx="12968">
                  <c:v>26.009620486492032</c:v>
                </c:pt>
                <c:pt idx="12969">
                  <c:v>23.351881179367517</c:v>
                </c:pt>
                <c:pt idx="12970">
                  <c:v>29.784983658474754</c:v>
                </c:pt>
                <c:pt idx="12971">
                  <c:v>43.627613881741908</c:v>
                </c:pt>
                <c:pt idx="12972">
                  <c:v>45.662805252376977</c:v>
                </c:pt>
                <c:pt idx="12973">
                  <c:v>36.5920644578459</c:v>
                </c:pt>
                <c:pt idx="12974">
                  <c:v>34.28532045706406</c:v>
                </c:pt>
                <c:pt idx="12975">
                  <c:v>39.31098822330582</c:v>
                </c:pt>
                <c:pt idx="12976">
                  <c:v>28.854212434625531</c:v>
                </c:pt>
                <c:pt idx="12977">
                  <c:v>28.433563958186131</c:v>
                </c:pt>
                <c:pt idx="12978">
                  <c:v>27.8535133890596</c:v>
                </c:pt>
                <c:pt idx="12979">
                  <c:v>21.450233266825286</c:v>
                </c:pt>
                <c:pt idx="12980">
                  <c:v>26.26126841649922</c:v>
                </c:pt>
                <c:pt idx="12981">
                  <c:v>24.550026308759733</c:v>
                </c:pt>
                <c:pt idx="12982">
                  <c:v>28.861537362807155</c:v>
                </c:pt>
                <c:pt idx="12983">
                  <c:v>45.391415477172494</c:v>
                </c:pt>
                <c:pt idx="12984">
                  <c:v>19.533495170707699</c:v>
                </c:pt>
                <c:pt idx="12985">
                  <c:v>20.452102572886254</c:v>
                </c:pt>
                <c:pt idx="12986">
                  <c:v>21.747465551483401</c:v>
                </c:pt>
                <c:pt idx="12987">
                  <c:v>41.358706572357647</c:v>
                </c:pt>
                <c:pt idx="12988">
                  <c:v>27.473417875889826</c:v>
                </c:pt>
                <c:pt idx="12989">
                  <c:v>43.948250694019734</c:v>
                </c:pt>
                <c:pt idx="12990">
                  <c:v>43.304181726612597</c:v>
                </c:pt>
                <c:pt idx="12991">
                  <c:v>24.793865699995134</c:v>
                </c:pt>
                <c:pt idx="12992">
                  <c:v>22.594906546277926</c:v>
                </c:pt>
                <c:pt idx="12993">
                  <c:v>33.847003026747814</c:v>
                </c:pt>
                <c:pt idx="12994">
                  <c:v>45.289178146961056</c:v>
                </c:pt>
                <c:pt idx="12995">
                  <c:v>38.012650575214153</c:v>
                </c:pt>
                <c:pt idx="12996">
                  <c:v>29.942824450623174</c:v>
                </c:pt>
                <c:pt idx="12997">
                  <c:v>29.20964285495198</c:v>
                </c:pt>
                <c:pt idx="12998">
                  <c:v>30.002064523696156</c:v>
                </c:pt>
                <c:pt idx="12999">
                  <c:v>22.442996961942157</c:v>
                </c:pt>
                <c:pt idx="13000">
                  <c:v>29.65069409086902</c:v>
                </c:pt>
                <c:pt idx="13001">
                  <c:v>22.864871857909701</c:v>
                </c:pt>
                <c:pt idx="13002">
                  <c:v>24.371735744938533</c:v>
                </c:pt>
                <c:pt idx="13003">
                  <c:v>42.412396148052636</c:v>
                </c:pt>
                <c:pt idx="13004">
                  <c:v>27.84522465096067</c:v>
                </c:pt>
                <c:pt idx="13005">
                  <c:v>27.838515139085427</c:v>
                </c:pt>
                <c:pt idx="13006">
                  <c:v>23.667541479787047</c:v>
                </c:pt>
                <c:pt idx="13007">
                  <c:v>30.89350141561356</c:v>
                </c:pt>
                <c:pt idx="13008">
                  <c:v>22.083111816966838</c:v>
                </c:pt>
                <c:pt idx="13009">
                  <c:v>28.414718900808829</c:v>
                </c:pt>
                <c:pt idx="13010">
                  <c:v>40.227477722802149</c:v>
                </c:pt>
                <c:pt idx="13011">
                  <c:v>16.514778561018417</c:v>
                </c:pt>
                <c:pt idx="13012">
                  <c:v>26.961514701169527</c:v>
                </c:pt>
                <c:pt idx="13013">
                  <c:v>42.629044335443339</c:v>
                </c:pt>
                <c:pt idx="13014">
                  <c:v>26.264943429356997</c:v>
                </c:pt>
                <c:pt idx="13015">
                  <c:v>23.509326272910712</c:v>
                </c:pt>
                <c:pt idx="13016">
                  <c:v>48.080224649851992</c:v>
                </c:pt>
                <c:pt idx="13017">
                  <c:v>23.654842478996361</c:v>
                </c:pt>
                <c:pt idx="13018">
                  <c:v>31.974172267185104</c:v>
                </c:pt>
                <c:pt idx="13019">
                  <c:v>31.450837852632045</c:v>
                </c:pt>
                <c:pt idx="13020">
                  <c:v>22.585932793664611</c:v>
                </c:pt>
                <c:pt idx="13021">
                  <c:v>32.516669521369622</c:v>
                </c:pt>
                <c:pt idx="13022">
                  <c:v>30.852501769018339</c:v>
                </c:pt>
                <c:pt idx="13023">
                  <c:v>24.343472565455322</c:v>
                </c:pt>
                <c:pt idx="13024">
                  <c:v>17.508493234378463</c:v>
                </c:pt>
                <c:pt idx="13025">
                  <c:v>29.966501917536785</c:v>
                </c:pt>
                <c:pt idx="13026">
                  <c:v>43.182224817494081</c:v>
                </c:pt>
                <c:pt idx="13027">
                  <c:v>29.354073036203218</c:v>
                </c:pt>
                <c:pt idx="13028">
                  <c:v>23.06921102228857</c:v>
                </c:pt>
                <c:pt idx="13029">
                  <c:v>34.059536059966383</c:v>
                </c:pt>
                <c:pt idx="13030">
                  <c:v>30.675506117085668</c:v>
                </c:pt>
                <c:pt idx="13031">
                  <c:v>38.573653998835418</c:v>
                </c:pt>
                <c:pt idx="13032">
                  <c:v>26.523097120914077</c:v>
                </c:pt>
                <c:pt idx="13033">
                  <c:v>24.217306211443329</c:v>
                </c:pt>
                <c:pt idx="13034">
                  <c:v>26.668102635882768</c:v>
                </c:pt>
                <c:pt idx="13035">
                  <c:v>49.276003509786207</c:v>
                </c:pt>
                <c:pt idx="13036">
                  <c:v>25.854612765846504</c:v>
                </c:pt>
                <c:pt idx="13037">
                  <c:v>46.167050640435967</c:v>
                </c:pt>
                <c:pt idx="13038">
                  <c:v>46.859269429406368</c:v>
                </c:pt>
                <c:pt idx="13039">
                  <c:v>36.84304122055633</c:v>
                </c:pt>
                <c:pt idx="13040">
                  <c:v>17.995966521151036</c:v>
                </c:pt>
                <c:pt idx="13041">
                  <c:v>45.005891090001292</c:v>
                </c:pt>
                <c:pt idx="13042">
                  <c:v>19.325328203501766</c:v>
                </c:pt>
                <c:pt idx="13043">
                  <c:v>28.64896211859357</c:v>
                </c:pt>
                <c:pt idx="13044">
                  <c:v>28.711001078010646</c:v>
                </c:pt>
                <c:pt idx="13045">
                  <c:v>31.431510877597347</c:v>
                </c:pt>
                <c:pt idx="13046">
                  <c:v>23.857366464154342</c:v>
                </c:pt>
                <c:pt idx="13047">
                  <c:v>21.801720378534895</c:v>
                </c:pt>
                <c:pt idx="13048">
                  <c:v>26.842723960888542</c:v>
                </c:pt>
                <c:pt idx="13049">
                  <c:v>54.754255299333693</c:v>
                </c:pt>
                <c:pt idx="13050">
                  <c:v>24.050225828896409</c:v>
                </c:pt>
                <c:pt idx="13051">
                  <c:v>20.04678034585503</c:v>
                </c:pt>
                <c:pt idx="13052">
                  <c:v>49.14183114599637</c:v>
                </c:pt>
                <c:pt idx="13053">
                  <c:v>30.619696199028624</c:v>
                </c:pt>
                <c:pt idx="13054">
                  <c:v>27.26015137077928</c:v>
                </c:pt>
                <c:pt idx="13055">
                  <c:v>31.870519154859963</c:v>
                </c:pt>
                <c:pt idx="13056">
                  <c:v>30.630046221538045</c:v>
                </c:pt>
                <c:pt idx="13057">
                  <c:v>44.044669777770352</c:v>
                </c:pt>
                <c:pt idx="13058">
                  <c:v>42.975129994710073</c:v>
                </c:pt>
                <c:pt idx="13059">
                  <c:v>28.760169936818727</c:v>
                </c:pt>
                <c:pt idx="13060">
                  <c:v>21.18884590547864</c:v>
                </c:pt>
                <c:pt idx="13061">
                  <c:v>27.344463722331259</c:v>
                </c:pt>
                <c:pt idx="13062">
                  <c:v>32.670401517179407</c:v>
                </c:pt>
                <c:pt idx="13063">
                  <c:v>20.168588554023529</c:v>
                </c:pt>
                <c:pt idx="13064">
                  <c:v>25.319559714003013</c:v>
                </c:pt>
                <c:pt idx="13065">
                  <c:v>28.290464950575899</c:v>
                </c:pt>
                <c:pt idx="13066">
                  <c:v>57.756429585915185</c:v>
                </c:pt>
                <c:pt idx="13067">
                  <c:v>21.938384622687138</c:v>
                </c:pt>
                <c:pt idx="13068">
                  <c:v>23.911130348727099</c:v>
                </c:pt>
                <c:pt idx="13069">
                  <c:v>35.289613834607778</c:v>
                </c:pt>
                <c:pt idx="13070">
                  <c:v>28.634033306175446</c:v>
                </c:pt>
                <c:pt idx="13071">
                  <c:v>31.936554718364352</c:v>
                </c:pt>
                <c:pt idx="13072">
                  <c:v>39.405416769904974</c:v>
                </c:pt>
                <c:pt idx="13073">
                  <c:v>27.59341007345585</c:v>
                </c:pt>
                <c:pt idx="13074">
                  <c:v>27.978585172123278</c:v>
                </c:pt>
                <c:pt idx="13075">
                  <c:v>53.590948962767598</c:v>
                </c:pt>
                <c:pt idx="13076">
                  <c:v>28.860285654164144</c:v>
                </c:pt>
                <c:pt idx="13077">
                  <c:v>26.885872706747318</c:v>
                </c:pt>
                <c:pt idx="13078">
                  <c:v>46.716302743702542</c:v>
                </c:pt>
                <c:pt idx="13079">
                  <c:v>23.870379375747472</c:v>
                </c:pt>
                <c:pt idx="13080">
                  <c:v>34.147155253255704</c:v>
                </c:pt>
                <c:pt idx="13081">
                  <c:v>28.817508137454386</c:v>
                </c:pt>
                <c:pt idx="13082">
                  <c:v>31.332196255334967</c:v>
                </c:pt>
                <c:pt idx="13083">
                  <c:v>36.149951799906283</c:v>
                </c:pt>
                <c:pt idx="13084">
                  <c:v>29.801085319937247</c:v>
                </c:pt>
                <c:pt idx="13085">
                  <c:v>40.559024148313519</c:v>
                </c:pt>
                <c:pt idx="13086">
                  <c:v>24.390896882557854</c:v>
                </c:pt>
                <c:pt idx="13087">
                  <c:v>31.25758088748989</c:v>
                </c:pt>
                <c:pt idx="13088">
                  <c:v>24.989751728062593</c:v>
                </c:pt>
                <c:pt idx="13089">
                  <c:v>17.249140733481862</c:v>
                </c:pt>
                <c:pt idx="13090">
                  <c:v>36.395591127572843</c:v>
                </c:pt>
                <c:pt idx="13091">
                  <c:v>42.633165889052151</c:v>
                </c:pt>
                <c:pt idx="13092">
                  <c:v>57.289662204903323</c:v>
                </c:pt>
                <c:pt idx="13093">
                  <c:v>26.116793677872888</c:v>
                </c:pt>
                <c:pt idx="13094">
                  <c:v>32.839670977537104</c:v>
                </c:pt>
                <c:pt idx="13095">
                  <c:v>30.323989752370057</c:v>
                </c:pt>
                <c:pt idx="13096">
                  <c:v>26.953859848193137</c:v>
                </c:pt>
                <c:pt idx="13097">
                  <c:v>55.647489369384466</c:v>
                </c:pt>
                <c:pt idx="13098">
                  <c:v>32.904980544788771</c:v>
                </c:pt>
                <c:pt idx="13099">
                  <c:v>33.702351482475208</c:v>
                </c:pt>
                <c:pt idx="13100">
                  <c:v>64.669144903175066</c:v>
                </c:pt>
                <c:pt idx="13101">
                  <c:v>29.930213189449951</c:v>
                </c:pt>
                <c:pt idx="13102">
                  <c:v>29.422768708163787</c:v>
                </c:pt>
                <c:pt idx="13103">
                  <c:v>29.311370162935525</c:v>
                </c:pt>
                <c:pt idx="13104">
                  <c:v>51.661767777401607</c:v>
                </c:pt>
                <c:pt idx="13105">
                  <c:v>35.63640204946504</c:v>
                </c:pt>
                <c:pt idx="13106">
                  <c:v>47.546523980200988</c:v>
                </c:pt>
                <c:pt idx="13107">
                  <c:v>26.2149213115473</c:v>
                </c:pt>
                <c:pt idx="13108">
                  <c:v>22.835284625550166</c:v>
                </c:pt>
                <c:pt idx="13109">
                  <c:v>20.808445936369612</c:v>
                </c:pt>
                <c:pt idx="13110">
                  <c:v>30.377674610007666</c:v>
                </c:pt>
                <c:pt idx="13111">
                  <c:v>24.005575737716864</c:v>
                </c:pt>
                <c:pt idx="13112">
                  <c:v>31.699904458900132</c:v>
                </c:pt>
                <c:pt idx="13113">
                  <c:v>25.81796510502928</c:v>
                </c:pt>
                <c:pt idx="13114">
                  <c:v>15.452444697789687</c:v>
                </c:pt>
                <c:pt idx="13115">
                  <c:v>31.373049414772051</c:v>
                </c:pt>
                <c:pt idx="13116">
                  <c:v>47.873701192116897</c:v>
                </c:pt>
                <c:pt idx="13117">
                  <c:v>26.605617178161697</c:v>
                </c:pt>
                <c:pt idx="13118">
                  <c:v>54.315912619168536</c:v>
                </c:pt>
                <c:pt idx="13119">
                  <c:v>29.737942884307699</c:v>
                </c:pt>
                <c:pt idx="13120">
                  <c:v>21.530809336732954</c:v>
                </c:pt>
                <c:pt idx="13121">
                  <c:v>27.207535514532829</c:v>
                </c:pt>
                <c:pt idx="13122">
                  <c:v>40.78291576193881</c:v>
                </c:pt>
                <c:pt idx="13123">
                  <c:v>29.61712980925185</c:v>
                </c:pt>
                <c:pt idx="13124">
                  <c:v>37.050029722693033</c:v>
                </c:pt>
                <c:pt idx="13125">
                  <c:v>22.976156575468874</c:v>
                </c:pt>
                <c:pt idx="13126">
                  <c:v>47.585644296689821</c:v>
                </c:pt>
                <c:pt idx="13127">
                  <c:v>26.114621388808054</c:v>
                </c:pt>
                <c:pt idx="13128">
                  <c:v>22.319299697772333</c:v>
                </c:pt>
                <c:pt idx="13129">
                  <c:v>32.497546805738104</c:v>
                </c:pt>
                <c:pt idx="13130">
                  <c:v>34.711973472599318</c:v>
                </c:pt>
                <c:pt idx="13131">
                  <c:v>25.721561768003529</c:v>
                </c:pt>
                <c:pt idx="13132">
                  <c:v>21.580839743539553</c:v>
                </c:pt>
                <c:pt idx="13133">
                  <c:v>26.853701508047639</c:v>
                </c:pt>
                <c:pt idx="13134">
                  <c:v>33.243325150014769</c:v>
                </c:pt>
                <c:pt idx="13135">
                  <c:v>28.999666487186946</c:v>
                </c:pt>
                <c:pt idx="13136">
                  <c:v>25.374790370411464</c:v>
                </c:pt>
                <c:pt idx="13137">
                  <c:v>48.469976687834645</c:v>
                </c:pt>
                <c:pt idx="13138">
                  <c:v>57.417495646155061</c:v>
                </c:pt>
                <c:pt idx="13139">
                  <c:v>19.255624010194637</c:v>
                </c:pt>
                <c:pt idx="13140">
                  <c:v>30.821519928179978</c:v>
                </c:pt>
                <c:pt idx="13141">
                  <c:v>24.451919973781575</c:v>
                </c:pt>
                <c:pt idx="13142">
                  <c:v>21.596870412647853</c:v>
                </c:pt>
                <c:pt idx="13143">
                  <c:v>34.650034308473337</c:v>
                </c:pt>
                <c:pt idx="13144">
                  <c:v>35.915350211853799</c:v>
                </c:pt>
                <c:pt idx="13145">
                  <c:v>27.143645377764201</c:v>
                </c:pt>
                <c:pt idx="13146">
                  <c:v>27.554068885288793</c:v>
                </c:pt>
                <c:pt idx="13147">
                  <c:v>46.723637959871184</c:v>
                </c:pt>
                <c:pt idx="13148">
                  <c:v>50.978407736629123</c:v>
                </c:pt>
                <c:pt idx="13149">
                  <c:v>23.722858188001613</c:v>
                </c:pt>
                <c:pt idx="13150">
                  <c:v>34.953019021244749</c:v>
                </c:pt>
                <c:pt idx="13151">
                  <c:v>32.898136602362165</c:v>
                </c:pt>
                <c:pt idx="13152">
                  <c:v>26.793690642960346</c:v>
                </c:pt>
                <c:pt idx="13153">
                  <c:v>19.958618863028043</c:v>
                </c:pt>
                <c:pt idx="13154">
                  <c:v>41.287807705413073</c:v>
                </c:pt>
                <c:pt idx="13155">
                  <c:v>37.691073713100465</c:v>
                </c:pt>
                <c:pt idx="13156">
                  <c:v>22.423447926446986</c:v>
                </c:pt>
                <c:pt idx="13157">
                  <c:v>30.728627613834472</c:v>
                </c:pt>
                <c:pt idx="13158">
                  <c:v>43.725543136026914</c:v>
                </c:pt>
                <c:pt idx="13159">
                  <c:v>44.465671610311368</c:v>
                </c:pt>
                <c:pt idx="13160">
                  <c:v>32.230828052620261</c:v>
                </c:pt>
                <c:pt idx="13161">
                  <c:v>28.009564409929069</c:v>
                </c:pt>
                <c:pt idx="13162">
                  <c:v>26.689408313467787</c:v>
                </c:pt>
                <c:pt idx="13163">
                  <c:v>56.286193353499044</c:v>
                </c:pt>
                <c:pt idx="13164">
                  <c:v>27.281296365484561</c:v>
                </c:pt>
                <c:pt idx="13165">
                  <c:v>38.343929583017669</c:v>
                </c:pt>
                <c:pt idx="13166">
                  <c:v>22.718989337297661</c:v>
                </c:pt>
                <c:pt idx="13167">
                  <c:v>31.458302702465616</c:v>
                </c:pt>
                <c:pt idx="13168">
                  <c:v>22.070332390301456</c:v>
                </c:pt>
                <c:pt idx="13169">
                  <c:v>24.554886161789739</c:v>
                </c:pt>
                <c:pt idx="13170">
                  <c:v>32.977561525049197</c:v>
                </c:pt>
                <c:pt idx="13171">
                  <c:v>23.653029984638323</c:v>
                </c:pt>
                <c:pt idx="13172">
                  <c:v>22.459595652690187</c:v>
                </c:pt>
                <c:pt idx="13173">
                  <c:v>56.762882009495691</c:v>
                </c:pt>
                <c:pt idx="13174">
                  <c:v>26.426617319818554</c:v>
                </c:pt>
                <c:pt idx="13175">
                  <c:v>40.016230003625907</c:v>
                </c:pt>
                <c:pt idx="13176">
                  <c:v>23.381306505631706</c:v>
                </c:pt>
                <c:pt idx="13177">
                  <c:v>50.612002281342498</c:v>
                </c:pt>
                <c:pt idx="13178">
                  <c:v>18.266721748594566</c:v>
                </c:pt>
                <c:pt idx="13179">
                  <c:v>25.708251405430406</c:v>
                </c:pt>
                <c:pt idx="13180">
                  <c:v>23.363521357802046</c:v>
                </c:pt>
                <c:pt idx="13181">
                  <c:v>27.297104117170619</c:v>
                </c:pt>
                <c:pt idx="13182">
                  <c:v>16.287769207359727</c:v>
                </c:pt>
                <c:pt idx="13183">
                  <c:v>22.007435275796226</c:v>
                </c:pt>
                <c:pt idx="13184">
                  <c:v>50.492929087149264</c:v>
                </c:pt>
                <c:pt idx="13185">
                  <c:v>48.566285544626169</c:v>
                </c:pt>
                <c:pt idx="13186">
                  <c:v>27.587505671780999</c:v>
                </c:pt>
                <c:pt idx="13187">
                  <c:v>33.065880390834778</c:v>
                </c:pt>
                <c:pt idx="13188">
                  <c:v>32.649415651258195</c:v>
                </c:pt>
                <c:pt idx="13189">
                  <c:v>39.874986794084165</c:v>
                </c:pt>
                <c:pt idx="13190">
                  <c:v>49.968654133151702</c:v>
                </c:pt>
                <c:pt idx="13191">
                  <c:v>35.340073012261172</c:v>
                </c:pt>
                <c:pt idx="13192">
                  <c:v>23.901967873367106</c:v>
                </c:pt>
                <c:pt idx="13193">
                  <c:v>39.843238383425231</c:v>
                </c:pt>
                <c:pt idx="13194">
                  <c:v>29.59814096362124</c:v>
                </c:pt>
                <c:pt idx="13195">
                  <c:v>29.939732559406252</c:v>
                </c:pt>
                <c:pt idx="13196">
                  <c:v>24.334696370171343</c:v>
                </c:pt>
                <c:pt idx="13197">
                  <c:v>30.484881398387614</c:v>
                </c:pt>
                <c:pt idx="13198">
                  <c:v>33.421177432348784</c:v>
                </c:pt>
                <c:pt idx="13199">
                  <c:v>21.466715887454193</c:v>
                </c:pt>
                <c:pt idx="13200">
                  <c:v>49.863394156884993</c:v>
                </c:pt>
                <c:pt idx="13201">
                  <c:v>28.810573782469874</c:v>
                </c:pt>
                <c:pt idx="13202">
                  <c:v>39.746647995782155</c:v>
                </c:pt>
                <c:pt idx="13203">
                  <c:v>45.951458996362028</c:v>
                </c:pt>
                <c:pt idx="13204">
                  <c:v>26.840432751915266</c:v>
                </c:pt>
                <c:pt idx="13205">
                  <c:v>32.447946117293299</c:v>
                </c:pt>
                <c:pt idx="13206">
                  <c:v>24.738088425327387</c:v>
                </c:pt>
                <c:pt idx="13207">
                  <c:v>54.797782942554186</c:v>
                </c:pt>
                <c:pt idx="13208">
                  <c:v>26.057408649592897</c:v>
                </c:pt>
                <c:pt idx="13209">
                  <c:v>27.686948556375462</c:v>
                </c:pt>
                <c:pt idx="13210">
                  <c:v>38.387633877946087</c:v>
                </c:pt>
                <c:pt idx="13211">
                  <c:v>27.979296310857983</c:v>
                </c:pt>
                <c:pt idx="13212">
                  <c:v>32.21413808106179</c:v>
                </c:pt>
                <c:pt idx="13213">
                  <c:v>26.155481212816134</c:v>
                </c:pt>
                <c:pt idx="13214">
                  <c:v>48.354374522811604</c:v>
                </c:pt>
                <c:pt idx="13215">
                  <c:v>23.647659598599777</c:v>
                </c:pt>
                <c:pt idx="13216">
                  <c:v>27.292344499659567</c:v>
                </c:pt>
                <c:pt idx="13217">
                  <c:v>30.50357019951533</c:v>
                </c:pt>
                <c:pt idx="13218">
                  <c:v>30.57891490821024</c:v>
                </c:pt>
                <c:pt idx="13219">
                  <c:v>44.326082330209296</c:v>
                </c:pt>
                <c:pt idx="13220">
                  <c:v>38.075986314577229</c:v>
                </c:pt>
                <c:pt idx="13221">
                  <c:v>21.633069141730779</c:v>
                </c:pt>
                <c:pt idx="13222">
                  <c:v>30.264987649202524</c:v>
                </c:pt>
                <c:pt idx="13223">
                  <c:v>17.088329730374525</c:v>
                </c:pt>
                <c:pt idx="13224">
                  <c:v>39.387023293967275</c:v>
                </c:pt>
                <c:pt idx="13225">
                  <c:v>27.817517604906396</c:v>
                </c:pt>
                <c:pt idx="13226">
                  <c:v>22.927033309171801</c:v>
                </c:pt>
                <c:pt idx="13227">
                  <c:v>23.484246480591093</c:v>
                </c:pt>
                <c:pt idx="13228">
                  <c:v>27.577165877752911</c:v>
                </c:pt>
                <c:pt idx="13229">
                  <c:v>30.755262349974181</c:v>
                </c:pt>
                <c:pt idx="13230">
                  <c:v>29.015870469796678</c:v>
                </c:pt>
                <c:pt idx="13231">
                  <c:v>36.92874198933081</c:v>
                </c:pt>
                <c:pt idx="13232">
                  <c:v>38.20682911709909</c:v>
                </c:pt>
                <c:pt idx="13233">
                  <c:v>22.79633057698554</c:v>
                </c:pt>
                <c:pt idx="13234">
                  <c:v>24.667893033042599</c:v>
                </c:pt>
                <c:pt idx="13235">
                  <c:v>49.766919136665507</c:v>
                </c:pt>
                <c:pt idx="13236">
                  <c:v>27.706281589970402</c:v>
                </c:pt>
                <c:pt idx="13237">
                  <c:v>23.57721978414256</c:v>
                </c:pt>
                <c:pt idx="13238">
                  <c:v>45.618544812697792</c:v>
                </c:pt>
                <c:pt idx="13239">
                  <c:v>30.311832336908505</c:v>
                </c:pt>
                <c:pt idx="13240">
                  <c:v>53.271716887989278</c:v>
                </c:pt>
                <c:pt idx="13241">
                  <c:v>48.773869501395311</c:v>
                </c:pt>
                <c:pt idx="13242">
                  <c:v>30.1298730557879</c:v>
                </c:pt>
                <c:pt idx="13243">
                  <c:v>26.511160554784933</c:v>
                </c:pt>
                <c:pt idx="13244">
                  <c:v>30.057781983042133</c:v>
                </c:pt>
                <c:pt idx="13245">
                  <c:v>31.509491908249103</c:v>
                </c:pt>
                <c:pt idx="13246">
                  <c:v>27.32509126394941</c:v>
                </c:pt>
                <c:pt idx="13247">
                  <c:v>20.440909322457763</c:v>
                </c:pt>
                <c:pt idx="13248">
                  <c:v>22.682886054864497</c:v>
                </c:pt>
                <c:pt idx="13249">
                  <c:v>24.598169780796916</c:v>
                </c:pt>
                <c:pt idx="13250">
                  <c:v>24.349276293940306</c:v>
                </c:pt>
                <c:pt idx="13251">
                  <c:v>25.999301901350861</c:v>
                </c:pt>
                <c:pt idx="13252">
                  <c:v>37.248559803425607</c:v>
                </c:pt>
                <c:pt idx="13253">
                  <c:v>26.003846268395968</c:v>
                </c:pt>
                <c:pt idx="13254">
                  <c:v>19.049472665950951</c:v>
                </c:pt>
                <c:pt idx="13255">
                  <c:v>30.694962673535716</c:v>
                </c:pt>
                <c:pt idx="13256">
                  <c:v>40.45244392635329</c:v>
                </c:pt>
                <c:pt idx="13257">
                  <c:v>23.852500931512239</c:v>
                </c:pt>
                <c:pt idx="13258">
                  <c:v>26.451167492511154</c:v>
                </c:pt>
                <c:pt idx="13259">
                  <c:v>27.583514140197959</c:v>
                </c:pt>
                <c:pt idx="13260">
                  <c:v>25.56442556919346</c:v>
                </c:pt>
                <c:pt idx="13261">
                  <c:v>24.538572702200987</c:v>
                </c:pt>
                <c:pt idx="13262">
                  <c:v>26.431057519202646</c:v>
                </c:pt>
                <c:pt idx="13263">
                  <c:v>34.370257514532284</c:v>
                </c:pt>
                <c:pt idx="13264">
                  <c:v>25.479151243236032</c:v>
                </c:pt>
                <c:pt idx="13265">
                  <c:v>24.005561717066659</c:v>
                </c:pt>
                <c:pt idx="13266">
                  <c:v>24.629596403162903</c:v>
                </c:pt>
                <c:pt idx="13267">
                  <c:v>21.977188262937474</c:v>
                </c:pt>
                <c:pt idx="13268">
                  <c:v>21.533463568430701</c:v>
                </c:pt>
                <c:pt idx="13269">
                  <c:v>47.911248944100677</c:v>
                </c:pt>
                <c:pt idx="13270">
                  <c:v>37.711689967104505</c:v>
                </c:pt>
                <c:pt idx="13271">
                  <c:v>24.471318204257013</c:v>
                </c:pt>
                <c:pt idx="13272">
                  <c:v>54.157853068111081</c:v>
                </c:pt>
                <c:pt idx="13273">
                  <c:v>30.249191298464254</c:v>
                </c:pt>
                <c:pt idx="13274">
                  <c:v>25.939730451082504</c:v>
                </c:pt>
                <c:pt idx="13275">
                  <c:v>30.10789079945496</c:v>
                </c:pt>
                <c:pt idx="13276">
                  <c:v>43.387544417099932</c:v>
                </c:pt>
                <c:pt idx="13277">
                  <c:v>39.411694910171427</c:v>
                </c:pt>
                <c:pt idx="13278">
                  <c:v>25.98241098660403</c:v>
                </c:pt>
                <c:pt idx="13279">
                  <c:v>27.357533392546536</c:v>
                </c:pt>
                <c:pt idx="13280">
                  <c:v>21.340534352619613</c:v>
                </c:pt>
                <c:pt idx="13281">
                  <c:v>26.928151623336717</c:v>
                </c:pt>
                <c:pt idx="13282">
                  <c:v>27.94688810740066</c:v>
                </c:pt>
                <c:pt idx="13283">
                  <c:v>22.435886960477863</c:v>
                </c:pt>
                <c:pt idx="13284">
                  <c:v>52.162401323521287</c:v>
                </c:pt>
                <c:pt idx="13285">
                  <c:v>29.617051389258116</c:v>
                </c:pt>
                <c:pt idx="13286">
                  <c:v>27.020889152914169</c:v>
                </c:pt>
                <c:pt idx="13287">
                  <c:v>29.838972240955009</c:v>
                </c:pt>
                <c:pt idx="13288">
                  <c:v>22.13193496520713</c:v>
                </c:pt>
                <c:pt idx="13289">
                  <c:v>25.057512990309867</c:v>
                </c:pt>
                <c:pt idx="13290">
                  <c:v>51.534131716039788</c:v>
                </c:pt>
                <c:pt idx="13291">
                  <c:v>48.492390520740379</c:v>
                </c:pt>
                <c:pt idx="13292">
                  <c:v>28.066739313548901</c:v>
                </c:pt>
                <c:pt idx="13293">
                  <c:v>22.765375034875561</c:v>
                </c:pt>
                <c:pt idx="13294">
                  <c:v>50.251330234134244</c:v>
                </c:pt>
                <c:pt idx="13295">
                  <c:v>29.178590772927194</c:v>
                </c:pt>
                <c:pt idx="13296">
                  <c:v>25.013695893104039</c:v>
                </c:pt>
                <c:pt idx="13297">
                  <c:v>46.582075544300046</c:v>
                </c:pt>
                <c:pt idx="13298">
                  <c:v>35.230582574595935</c:v>
                </c:pt>
                <c:pt idx="13299">
                  <c:v>28.527237347796746</c:v>
                </c:pt>
                <c:pt idx="13300">
                  <c:v>57.901366664446208</c:v>
                </c:pt>
                <c:pt idx="13301">
                  <c:v>24.545047685277289</c:v>
                </c:pt>
                <c:pt idx="13302">
                  <c:v>24.292144795156538</c:v>
                </c:pt>
                <c:pt idx="13303">
                  <c:v>33.956729842488159</c:v>
                </c:pt>
                <c:pt idx="13304">
                  <c:v>28.657974638783767</c:v>
                </c:pt>
                <c:pt idx="13305">
                  <c:v>34.390767355778536</c:v>
                </c:pt>
                <c:pt idx="13306">
                  <c:v>20.303244062941644</c:v>
                </c:pt>
                <c:pt idx="13307">
                  <c:v>30.23798181071821</c:v>
                </c:pt>
                <c:pt idx="13308">
                  <c:v>24.497804886409639</c:v>
                </c:pt>
                <c:pt idx="13309">
                  <c:v>24.386587009689038</c:v>
                </c:pt>
                <c:pt idx="13310">
                  <c:v>27.369458092310371</c:v>
                </c:pt>
                <c:pt idx="13311">
                  <c:v>45.866074722367692</c:v>
                </c:pt>
                <c:pt idx="13312">
                  <c:v>52.627268065478646</c:v>
                </c:pt>
                <c:pt idx="13313">
                  <c:v>29.609795074018489</c:v>
                </c:pt>
                <c:pt idx="13314">
                  <c:v>27.708521180014252</c:v>
                </c:pt>
                <c:pt idx="13315">
                  <c:v>21.599983673638349</c:v>
                </c:pt>
                <c:pt idx="13316">
                  <c:v>26.163771745631291</c:v>
                </c:pt>
                <c:pt idx="13317">
                  <c:v>44.377536804059758</c:v>
                </c:pt>
                <c:pt idx="13318">
                  <c:v>28.381257466987186</c:v>
                </c:pt>
                <c:pt idx="13319">
                  <c:v>23.107914878798038</c:v>
                </c:pt>
                <c:pt idx="13320">
                  <c:v>32.757028420638619</c:v>
                </c:pt>
                <c:pt idx="13321">
                  <c:v>24.589403999101037</c:v>
                </c:pt>
                <c:pt idx="13322">
                  <c:v>40.91441033829161</c:v>
                </c:pt>
                <c:pt idx="13323">
                  <c:v>29.296167017945187</c:v>
                </c:pt>
                <c:pt idx="13324">
                  <c:v>28.842599275457175</c:v>
                </c:pt>
                <c:pt idx="13325">
                  <c:v>19.50205680470193</c:v>
                </c:pt>
                <c:pt idx="13326">
                  <c:v>34.377949507121308</c:v>
                </c:pt>
                <c:pt idx="13327">
                  <c:v>55.601397212358719</c:v>
                </c:pt>
                <c:pt idx="13328">
                  <c:v>36.334063106303176</c:v>
                </c:pt>
                <c:pt idx="13329">
                  <c:v>58.776585579416604</c:v>
                </c:pt>
                <c:pt idx="13330">
                  <c:v>25.682040881414697</c:v>
                </c:pt>
                <c:pt idx="13331">
                  <c:v>22.764435850767899</c:v>
                </c:pt>
                <c:pt idx="13332">
                  <c:v>59.978278510149735</c:v>
                </c:pt>
                <c:pt idx="13333">
                  <c:v>23.497931437599664</c:v>
                </c:pt>
                <c:pt idx="13334">
                  <c:v>25.303848151511431</c:v>
                </c:pt>
                <c:pt idx="13335">
                  <c:v>29.585083817466241</c:v>
                </c:pt>
                <c:pt idx="13336">
                  <c:v>23.153873031048121</c:v>
                </c:pt>
                <c:pt idx="13337">
                  <c:v>26.303612372089319</c:v>
                </c:pt>
                <c:pt idx="13338">
                  <c:v>24.053887847401654</c:v>
                </c:pt>
                <c:pt idx="13339">
                  <c:v>26.030917698028468</c:v>
                </c:pt>
                <c:pt idx="13340">
                  <c:v>23.26676752415511</c:v>
                </c:pt>
                <c:pt idx="13341">
                  <c:v>25.245333959222563</c:v>
                </c:pt>
                <c:pt idx="13342">
                  <c:v>33.651990332615881</c:v>
                </c:pt>
                <c:pt idx="13343">
                  <c:v>52.492794840598755</c:v>
                </c:pt>
                <c:pt idx="13344">
                  <c:v>21.577480845749822</c:v>
                </c:pt>
                <c:pt idx="13345">
                  <c:v>31.184601496309824</c:v>
                </c:pt>
                <c:pt idx="13346">
                  <c:v>33.468123574231285</c:v>
                </c:pt>
                <c:pt idx="13347">
                  <c:v>31.205947202635404</c:v>
                </c:pt>
                <c:pt idx="13348">
                  <c:v>49.731365053244964</c:v>
                </c:pt>
                <c:pt idx="13349">
                  <c:v>28.269761787361325</c:v>
                </c:pt>
                <c:pt idx="13350">
                  <c:v>22.518750818624206</c:v>
                </c:pt>
                <c:pt idx="13351">
                  <c:v>25.402505448887013</c:v>
                </c:pt>
                <c:pt idx="13352">
                  <c:v>26.190181356328154</c:v>
                </c:pt>
                <c:pt idx="13353">
                  <c:v>37.548024720782948</c:v>
                </c:pt>
                <c:pt idx="13354">
                  <c:v>29.328913097167728</c:v>
                </c:pt>
                <c:pt idx="13355">
                  <c:v>26.249756899312224</c:v>
                </c:pt>
                <c:pt idx="13356">
                  <c:v>24.949060925118896</c:v>
                </c:pt>
                <c:pt idx="13357">
                  <c:v>23.919125277958077</c:v>
                </c:pt>
                <c:pt idx="13358">
                  <c:v>44.478340138050214</c:v>
                </c:pt>
                <c:pt idx="13359">
                  <c:v>29.863193799871759</c:v>
                </c:pt>
                <c:pt idx="13360">
                  <c:v>18.781868768231508</c:v>
                </c:pt>
                <c:pt idx="13361">
                  <c:v>53.571926839605879</c:v>
                </c:pt>
                <c:pt idx="13362">
                  <c:v>27.255191922539098</c:v>
                </c:pt>
                <c:pt idx="13363">
                  <c:v>29.294870876857168</c:v>
                </c:pt>
                <c:pt idx="13364">
                  <c:v>25.602184224643004</c:v>
                </c:pt>
                <c:pt idx="13365">
                  <c:v>29.376693869862297</c:v>
                </c:pt>
                <c:pt idx="13366">
                  <c:v>47.074405021722711</c:v>
                </c:pt>
                <c:pt idx="13367">
                  <c:v>22.638686239056138</c:v>
                </c:pt>
                <c:pt idx="13368">
                  <c:v>39.483450387762943</c:v>
                </c:pt>
                <c:pt idx="13369">
                  <c:v>21.694573340270356</c:v>
                </c:pt>
                <c:pt idx="13370">
                  <c:v>29.508124795898325</c:v>
                </c:pt>
                <c:pt idx="13371">
                  <c:v>26.620018013626169</c:v>
                </c:pt>
                <c:pt idx="13372">
                  <c:v>25.212085181459681</c:v>
                </c:pt>
                <c:pt idx="13373">
                  <c:v>27.786198881969135</c:v>
                </c:pt>
                <c:pt idx="13374">
                  <c:v>68.689835400241378</c:v>
                </c:pt>
                <c:pt idx="13375">
                  <c:v>20.738559457171871</c:v>
                </c:pt>
                <c:pt idx="13376">
                  <c:v>30.181459592717612</c:v>
                </c:pt>
                <c:pt idx="13377">
                  <c:v>47.860594120375758</c:v>
                </c:pt>
                <c:pt idx="13378">
                  <c:v>26.14185097477834</c:v>
                </c:pt>
                <c:pt idx="13379">
                  <c:v>29.968847023851474</c:v>
                </c:pt>
                <c:pt idx="13380">
                  <c:v>51.659332101152458</c:v>
                </c:pt>
                <c:pt idx="13381">
                  <c:v>32.885120787689111</c:v>
                </c:pt>
                <c:pt idx="13382">
                  <c:v>35.437174827310947</c:v>
                </c:pt>
                <c:pt idx="13383">
                  <c:v>22.304265947912604</c:v>
                </c:pt>
                <c:pt idx="13384">
                  <c:v>31.189807590570727</c:v>
                </c:pt>
                <c:pt idx="13385">
                  <c:v>53.487278612000438</c:v>
                </c:pt>
                <c:pt idx="13386">
                  <c:v>48.741668321114219</c:v>
                </c:pt>
                <c:pt idx="13387">
                  <c:v>47.250885748886709</c:v>
                </c:pt>
                <c:pt idx="13388">
                  <c:v>22.839368761980843</c:v>
                </c:pt>
                <c:pt idx="13389">
                  <c:v>19.692141875406776</c:v>
                </c:pt>
                <c:pt idx="13390">
                  <c:v>41.425147878214474</c:v>
                </c:pt>
                <c:pt idx="13391">
                  <c:v>21.022881575761499</c:v>
                </c:pt>
                <c:pt idx="13392">
                  <c:v>28.103473830521441</c:v>
                </c:pt>
                <c:pt idx="13393">
                  <c:v>43.841853267543001</c:v>
                </c:pt>
                <c:pt idx="13394">
                  <c:v>34.156600998333836</c:v>
                </c:pt>
                <c:pt idx="13395">
                  <c:v>59.782881575170407</c:v>
                </c:pt>
                <c:pt idx="13396">
                  <c:v>21.184262447369775</c:v>
                </c:pt>
                <c:pt idx="13397">
                  <c:v>28.49592870846347</c:v>
                </c:pt>
                <c:pt idx="13398">
                  <c:v>22.860131339845971</c:v>
                </c:pt>
                <c:pt idx="13399">
                  <c:v>26.786559141691896</c:v>
                </c:pt>
                <c:pt idx="13400">
                  <c:v>46.412998914015802</c:v>
                </c:pt>
                <c:pt idx="13401">
                  <c:v>25.872881303834781</c:v>
                </c:pt>
                <c:pt idx="13402">
                  <c:v>49.399310383755719</c:v>
                </c:pt>
                <c:pt idx="13403">
                  <c:v>41.904615647798678</c:v>
                </c:pt>
                <c:pt idx="13404">
                  <c:v>29.370131889111139</c:v>
                </c:pt>
                <c:pt idx="13405">
                  <c:v>32.957158454047004</c:v>
                </c:pt>
                <c:pt idx="13406">
                  <c:v>23.684573854134616</c:v>
                </c:pt>
                <c:pt idx="13407">
                  <c:v>32.976097768416878</c:v>
                </c:pt>
                <c:pt idx="13408">
                  <c:v>25.753207619928475</c:v>
                </c:pt>
                <c:pt idx="13409">
                  <c:v>43.02745409599784</c:v>
                </c:pt>
                <c:pt idx="13410">
                  <c:v>24.075904886836462</c:v>
                </c:pt>
                <c:pt idx="13411">
                  <c:v>31.673119204369755</c:v>
                </c:pt>
                <c:pt idx="13412">
                  <c:v>45.691662904343161</c:v>
                </c:pt>
                <c:pt idx="13413">
                  <c:v>44.60719634750302</c:v>
                </c:pt>
                <c:pt idx="13414">
                  <c:v>34.04812527786347</c:v>
                </c:pt>
                <c:pt idx="13415">
                  <c:v>24.862674531833221</c:v>
                </c:pt>
                <c:pt idx="13416">
                  <c:v>36.381439573618167</c:v>
                </c:pt>
                <c:pt idx="13417">
                  <c:v>28.40712097736202</c:v>
                </c:pt>
                <c:pt idx="13418">
                  <c:v>39.497364663725804</c:v>
                </c:pt>
                <c:pt idx="13419">
                  <c:v>29.336736781489044</c:v>
                </c:pt>
                <c:pt idx="13420">
                  <c:v>28.637734802858631</c:v>
                </c:pt>
                <c:pt idx="13421">
                  <c:v>23.628136132477465</c:v>
                </c:pt>
                <c:pt idx="13422">
                  <c:v>30.694775287480326</c:v>
                </c:pt>
                <c:pt idx="13423">
                  <c:v>53.994172038529577</c:v>
                </c:pt>
                <c:pt idx="13424">
                  <c:v>28.551111919033598</c:v>
                </c:pt>
                <c:pt idx="13425">
                  <c:v>39.384288910054948</c:v>
                </c:pt>
                <c:pt idx="13426">
                  <c:v>16.865192897079282</c:v>
                </c:pt>
                <c:pt idx="13427">
                  <c:v>21.039294789873878</c:v>
                </c:pt>
                <c:pt idx="13428">
                  <c:v>29.544046391422302</c:v>
                </c:pt>
                <c:pt idx="13429">
                  <c:v>27.066084471096936</c:v>
                </c:pt>
                <c:pt idx="13430">
                  <c:v>45.439475164601795</c:v>
                </c:pt>
                <c:pt idx="13431">
                  <c:v>31.364146608920727</c:v>
                </c:pt>
                <c:pt idx="13432">
                  <c:v>23.552080616053885</c:v>
                </c:pt>
                <c:pt idx="13433">
                  <c:v>31.126035947279139</c:v>
                </c:pt>
                <c:pt idx="13434">
                  <c:v>26.219593694335533</c:v>
                </c:pt>
                <c:pt idx="13435">
                  <c:v>27.186762609693162</c:v>
                </c:pt>
                <c:pt idx="13436">
                  <c:v>25.600421199551764</c:v>
                </c:pt>
                <c:pt idx="13437">
                  <c:v>32.088679248972873</c:v>
                </c:pt>
                <c:pt idx="13438">
                  <c:v>26.2525476783984</c:v>
                </c:pt>
                <c:pt idx="13439">
                  <c:v>26.919694527894229</c:v>
                </c:pt>
                <c:pt idx="13440">
                  <c:v>47.699156023033275</c:v>
                </c:pt>
                <c:pt idx="13441">
                  <c:v>24.224782007570404</c:v>
                </c:pt>
                <c:pt idx="13442">
                  <c:v>25.34073479372325</c:v>
                </c:pt>
                <c:pt idx="13443">
                  <c:v>47.94842959833047</c:v>
                </c:pt>
                <c:pt idx="13444">
                  <c:v>46.838958768194892</c:v>
                </c:pt>
                <c:pt idx="13445">
                  <c:v>47.168122888651581</c:v>
                </c:pt>
                <c:pt idx="13446">
                  <c:v>29.65548860010923</c:v>
                </c:pt>
                <c:pt idx="13447">
                  <c:v>39.709870532120462</c:v>
                </c:pt>
                <c:pt idx="13448">
                  <c:v>45.942899364610973</c:v>
                </c:pt>
                <c:pt idx="13449">
                  <c:v>53.570660408533499</c:v>
                </c:pt>
                <c:pt idx="13450">
                  <c:v>38.615601465878008</c:v>
                </c:pt>
                <c:pt idx="13451">
                  <c:v>37.98073332864503</c:v>
                </c:pt>
                <c:pt idx="13452">
                  <c:v>26.141461994593456</c:v>
                </c:pt>
                <c:pt idx="13453">
                  <c:v>30.330247319495641</c:v>
                </c:pt>
                <c:pt idx="13454">
                  <c:v>23.859258090283049</c:v>
                </c:pt>
                <c:pt idx="13455">
                  <c:v>27.824118372147737</c:v>
                </c:pt>
                <c:pt idx="13456">
                  <c:v>21.140327027953802</c:v>
                </c:pt>
                <c:pt idx="13457">
                  <c:v>36.711796057356665</c:v>
                </c:pt>
                <c:pt idx="13458">
                  <c:v>50.780423667929483</c:v>
                </c:pt>
                <c:pt idx="13459">
                  <c:v>28.350556138245558</c:v>
                </c:pt>
                <c:pt idx="13460">
                  <c:v>30.407294787245974</c:v>
                </c:pt>
                <c:pt idx="13461">
                  <c:v>32.599808305231974</c:v>
                </c:pt>
                <c:pt idx="13462">
                  <c:v>41.102807575785292</c:v>
                </c:pt>
                <c:pt idx="13463">
                  <c:v>17.635292873359049</c:v>
                </c:pt>
                <c:pt idx="13464">
                  <c:v>24.788684192382576</c:v>
                </c:pt>
                <c:pt idx="13465">
                  <c:v>30.651215173589954</c:v>
                </c:pt>
                <c:pt idx="13466">
                  <c:v>41.797323234495479</c:v>
                </c:pt>
                <c:pt idx="13467">
                  <c:v>52.746350334154897</c:v>
                </c:pt>
                <c:pt idx="13468">
                  <c:v>45.405243599146999</c:v>
                </c:pt>
                <c:pt idx="13469">
                  <c:v>26.520833931063045</c:v>
                </c:pt>
                <c:pt idx="13470">
                  <c:v>34.79158285101321</c:v>
                </c:pt>
                <c:pt idx="13471">
                  <c:v>23.250900218664832</c:v>
                </c:pt>
                <c:pt idx="13472">
                  <c:v>23.692740681817305</c:v>
                </c:pt>
                <c:pt idx="13473">
                  <c:v>21.213086258957532</c:v>
                </c:pt>
                <c:pt idx="13474">
                  <c:v>26.265041088116064</c:v>
                </c:pt>
                <c:pt idx="13475">
                  <c:v>49.875112565590733</c:v>
                </c:pt>
                <c:pt idx="13476">
                  <c:v>25.192082010292744</c:v>
                </c:pt>
                <c:pt idx="13477">
                  <c:v>49.960315250317649</c:v>
                </c:pt>
                <c:pt idx="13478">
                  <c:v>30.113914804478881</c:v>
                </c:pt>
                <c:pt idx="13479">
                  <c:v>23.665487321845347</c:v>
                </c:pt>
                <c:pt idx="13480">
                  <c:v>25.053878757797573</c:v>
                </c:pt>
                <c:pt idx="13481">
                  <c:v>36.089961826128068</c:v>
                </c:pt>
                <c:pt idx="13482">
                  <c:v>29.099905273524683</c:v>
                </c:pt>
                <c:pt idx="13483">
                  <c:v>39.917731571102536</c:v>
                </c:pt>
                <c:pt idx="13484">
                  <c:v>20.408593939624666</c:v>
                </c:pt>
                <c:pt idx="13485">
                  <c:v>36.615918033936879</c:v>
                </c:pt>
                <c:pt idx="13486">
                  <c:v>30.620635077246554</c:v>
                </c:pt>
                <c:pt idx="13487">
                  <c:v>26.374599769863153</c:v>
                </c:pt>
                <c:pt idx="13488">
                  <c:v>19.900876971741482</c:v>
                </c:pt>
                <c:pt idx="13489">
                  <c:v>46.494996977122433</c:v>
                </c:pt>
                <c:pt idx="13490">
                  <c:v>44.363473419558538</c:v>
                </c:pt>
                <c:pt idx="13491">
                  <c:v>25.254364445812861</c:v>
                </c:pt>
                <c:pt idx="13492">
                  <c:v>26.120667847332161</c:v>
                </c:pt>
                <c:pt idx="13493">
                  <c:v>30.969939010449963</c:v>
                </c:pt>
                <c:pt idx="13494">
                  <c:v>27.674935741307173</c:v>
                </c:pt>
                <c:pt idx="13495">
                  <c:v>17.269219228416247</c:v>
                </c:pt>
                <c:pt idx="13496">
                  <c:v>25.24999039618767</c:v>
                </c:pt>
                <c:pt idx="13497">
                  <c:v>30.899276105942661</c:v>
                </c:pt>
                <c:pt idx="13498">
                  <c:v>53.103437174081968</c:v>
                </c:pt>
                <c:pt idx="13499">
                  <c:v>55.712420575869359</c:v>
                </c:pt>
                <c:pt idx="13500">
                  <c:v>25.729651464050576</c:v>
                </c:pt>
                <c:pt idx="13501">
                  <c:v>28.011936991300082</c:v>
                </c:pt>
                <c:pt idx="13502">
                  <c:v>41.661173673968058</c:v>
                </c:pt>
                <c:pt idx="13503">
                  <c:v>28.074049314767493</c:v>
                </c:pt>
                <c:pt idx="13504">
                  <c:v>27.691444165858755</c:v>
                </c:pt>
                <c:pt idx="13505">
                  <c:v>23.290488437960143</c:v>
                </c:pt>
                <c:pt idx="13506">
                  <c:v>34.091922385511687</c:v>
                </c:pt>
                <c:pt idx="13507">
                  <c:v>44.237944136707718</c:v>
                </c:pt>
                <c:pt idx="13508">
                  <c:v>15.666752016536948</c:v>
                </c:pt>
                <c:pt idx="13509">
                  <c:v>56.330727875344301</c:v>
                </c:pt>
                <c:pt idx="13510">
                  <c:v>19.174366986581472</c:v>
                </c:pt>
                <c:pt idx="13511">
                  <c:v>28.636045187990426</c:v>
                </c:pt>
                <c:pt idx="13512">
                  <c:v>32.803197488109539</c:v>
                </c:pt>
                <c:pt idx="13513">
                  <c:v>32.620012749347993</c:v>
                </c:pt>
                <c:pt idx="13514">
                  <c:v>32.633122285566849</c:v>
                </c:pt>
                <c:pt idx="13515">
                  <c:v>30.205353220869007</c:v>
                </c:pt>
                <c:pt idx="13516">
                  <c:v>28.181160242245394</c:v>
                </c:pt>
                <c:pt idx="13517">
                  <c:v>50.535476857303969</c:v>
                </c:pt>
                <c:pt idx="13518">
                  <c:v>41.674352668708892</c:v>
                </c:pt>
                <c:pt idx="13519">
                  <c:v>22.997550130977601</c:v>
                </c:pt>
                <c:pt idx="13520">
                  <c:v>35.698448647789149</c:v>
                </c:pt>
                <c:pt idx="13521">
                  <c:v>31.433477856350866</c:v>
                </c:pt>
                <c:pt idx="13522">
                  <c:v>46.37623815444686</c:v>
                </c:pt>
                <c:pt idx="13523">
                  <c:v>42.101459197742805</c:v>
                </c:pt>
                <c:pt idx="13524">
                  <c:v>40.884396078860995</c:v>
                </c:pt>
                <c:pt idx="13525">
                  <c:v>47.742018804414585</c:v>
                </c:pt>
                <c:pt idx="13526">
                  <c:v>58.929889761928635</c:v>
                </c:pt>
                <c:pt idx="13527">
                  <c:v>22.967408702517819</c:v>
                </c:pt>
                <c:pt idx="13528">
                  <c:v>19.399771285465413</c:v>
                </c:pt>
                <c:pt idx="13529">
                  <c:v>39.530912149909959</c:v>
                </c:pt>
                <c:pt idx="13530">
                  <c:v>19.53296915997473</c:v>
                </c:pt>
                <c:pt idx="13531">
                  <c:v>48.273263158216409</c:v>
                </c:pt>
                <c:pt idx="13532">
                  <c:v>30.589463115951684</c:v>
                </c:pt>
                <c:pt idx="13533">
                  <c:v>26.569663549511898</c:v>
                </c:pt>
                <c:pt idx="13534">
                  <c:v>23.590327094462484</c:v>
                </c:pt>
                <c:pt idx="13535">
                  <c:v>27.658049305367857</c:v>
                </c:pt>
                <c:pt idx="13536">
                  <c:v>46.362509307564927</c:v>
                </c:pt>
                <c:pt idx="13537">
                  <c:v>45.680681830284946</c:v>
                </c:pt>
                <c:pt idx="13538">
                  <c:v>17.964764861677871</c:v>
                </c:pt>
                <c:pt idx="13539">
                  <c:v>22.248114004440566</c:v>
                </c:pt>
                <c:pt idx="13540">
                  <c:v>29.726535839945182</c:v>
                </c:pt>
                <c:pt idx="13541">
                  <c:v>30.221109354095031</c:v>
                </c:pt>
                <c:pt idx="13542">
                  <c:v>38.654186851148665</c:v>
                </c:pt>
                <c:pt idx="13543">
                  <c:v>47.341393893792734</c:v>
                </c:pt>
                <c:pt idx="13544">
                  <c:v>53.585495303466594</c:v>
                </c:pt>
                <c:pt idx="13545">
                  <c:v>62.011047204000654</c:v>
                </c:pt>
                <c:pt idx="13546">
                  <c:v>44.189110409774486</c:v>
                </c:pt>
                <c:pt idx="13547">
                  <c:v>37.350135139130828</c:v>
                </c:pt>
                <c:pt idx="13548">
                  <c:v>24.803172543436549</c:v>
                </c:pt>
                <c:pt idx="13549">
                  <c:v>28.676867132458973</c:v>
                </c:pt>
                <c:pt idx="13550">
                  <c:v>26.520565827023219</c:v>
                </c:pt>
                <c:pt idx="13551">
                  <c:v>46.21316425690064</c:v>
                </c:pt>
                <c:pt idx="13552">
                  <c:v>24.042159240206288</c:v>
                </c:pt>
                <c:pt idx="13553">
                  <c:v>31.680998522162689</c:v>
                </c:pt>
                <c:pt idx="13554">
                  <c:v>31.653517193956127</c:v>
                </c:pt>
                <c:pt idx="13555">
                  <c:v>30.168762578378399</c:v>
                </c:pt>
                <c:pt idx="13556">
                  <c:v>50.575236201687297</c:v>
                </c:pt>
                <c:pt idx="13557">
                  <c:v>43.953149891475235</c:v>
                </c:pt>
                <c:pt idx="13558">
                  <c:v>33.325236398374741</c:v>
                </c:pt>
                <c:pt idx="13559">
                  <c:v>28.796177416361857</c:v>
                </c:pt>
                <c:pt idx="13560">
                  <c:v>26.887644065502592</c:v>
                </c:pt>
                <c:pt idx="13561">
                  <c:v>28.444692707995859</c:v>
                </c:pt>
                <c:pt idx="13562">
                  <c:v>48.304958453359532</c:v>
                </c:pt>
                <c:pt idx="13563">
                  <c:v>27.392764709860341</c:v>
                </c:pt>
                <c:pt idx="13564">
                  <c:v>24.390401732753546</c:v>
                </c:pt>
                <c:pt idx="13565">
                  <c:v>33.089657823550553</c:v>
                </c:pt>
                <c:pt idx="13566">
                  <c:v>32.739757438737271</c:v>
                </c:pt>
                <c:pt idx="13567">
                  <c:v>23.234215172563722</c:v>
                </c:pt>
                <c:pt idx="13568">
                  <c:v>26.20402254469052</c:v>
                </c:pt>
                <c:pt idx="13569">
                  <c:v>24.180894749269342</c:v>
                </c:pt>
                <c:pt idx="13570">
                  <c:v>30.568553481934124</c:v>
                </c:pt>
                <c:pt idx="13571">
                  <c:v>26.999205110076637</c:v>
                </c:pt>
                <c:pt idx="13572">
                  <c:v>20.453992249504029</c:v>
                </c:pt>
                <c:pt idx="13573">
                  <c:v>24.558706667265895</c:v>
                </c:pt>
                <c:pt idx="13574">
                  <c:v>57.159991998085403</c:v>
                </c:pt>
                <c:pt idx="13575">
                  <c:v>26.092864309041552</c:v>
                </c:pt>
                <c:pt idx="13576">
                  <c:v>28.296326356482652</c:v>
                </c:pt>
                <c:pt idx="13577">
                  <c:v>33.052396900317753</c:v>
                </c:pt>
                <c:pt idx="13578">
                  <c:v>20.372017015404307</c:v>
                </c:pt>
                <c:pt idx="13579">
                  <c:v>23.713953899554731</c:v>
                </c:pt>
                <c:pt idx="13580">
                  <c:v>26.642744894900517</c:v>
                </c:pt>
                <c:pt idx="13581">
                  <c:v>33.177175227141333</c:v>
                </c:pt>
                <c:pt idx="13582">
                  <c:v>31.001843683721169</c:v>
                </c:pt>
                <c:pt idx="13583">
                  <c:v>26.396625243263301</c:v>
                </c:pt>
                <c:pt idx="13584">
                  <c:v>31.470030669861607</c:v>
                </c:pt>
                <c:pt idx="13585">
                  <c:v>24.810279140399139</c:v>
                </c:pt>
                <c:pt idx="13586">
                  <c:v>24.628481510240505</c:v>
                </c:pt>
                <c:pt idx="13587">
                  <c:v>57.153308544307308</c:v>
                </c:pt>
                <c:pt idx="13588">
                  <c:v>34.762174108808331</c:v>
                </c:pt>
                <c:pt idx="13589">
                  <c:v>27.085949630472832</c:v>
                </c:pt>
                <c:pt idx="13590">
                  <c:v>22.630698868868567</c:v>
                </c:pt>
                <c:pt idx="13591">
                  <c:v>41.890469475369798</c:v>
                </c:pt>
                <c:pt idx="13592">
                  <c:v>20.700589201103366</c:v>
                </c:pt>
                <c:pt idx="13593">
                  <c:v>26.864504644515002</c:v>
                </c:pt>
                <c:pt idx="13594">
                  <c:v>39.930615603986716</c:v>
                </c:pt>
                <c:pt idx="13595">
                  <c:v>37.667297916580111</c:v>
                </c:pt>
                <c:pt idx="13596">
                  <c:v>45.059543313654082</c:v>
                </c:pt>
                <c:pt idx="13597">
                  <c:v>32.883321520477445</c:v>
                </c:pt>
                <c:pt idx="13598">
                  <c:v>27.417186365783511</c:v>
                </c:pt>
                <c:pt idx="13599">
                  <c:v>25.998467676101917</c:v>
                </c:pt>
                <c:pt idx="13600">
                  <c:v>20.149012854531247</c:v>
                </c:pt>
                <c:pt idx="13601">
                  <c:v>31.4081785848952</c:v>
                </c:pt>
                <c:pt idx="13602">
                  <c:v>28.734274128917718</c:v>
                </c:pt>
                <c:pt idx="13603">
                  <c:v>32.631403699519772</c:v>
                </c:pt>
                <c:pt idx="13604">
                  <c:v>23.529649484729134</c:v>
                </c:pt>
                <c:pt idx="13605">
                  <c:v>27.632610091050587</c:v>
                </c:pt>
                <c:pt idx="13606">
                  <c:v>17.801774331854816</c:v>
                </c:pt>
                <c:pt idx="13607">
                  <c:v>49.001444454053519</c:v>
                </c:pt>
                <c:pt idx="13608">
                  <c:v>25.73106414314157</c:v>
                </c:pt>
                <c:pt idx="13609">
                  <c:v>24.946574999354787</c:v>
                </c:pt>
                <c:pt idx="13610">
                  <c:v>46.592546246460039</c:v>
                </c:pt>
                <c:pt idx="13611">
                  <c:v>22.963594691029655</c:v>
                </c:pt>
                <c:pt idx="13612">
                  <c:v>25.546866810052677</c:v>
                </c:pt>
                <c:pt idx="13613">
                  <c:v>35.055705651203368</c:v>
                </c:pt>
                <c:pt idx="13614">
                  <c:v>23.818820288461964</c:v>
                </c:pt>
                <c:pt idx="13615">
                  <c:v>31.590558253908622</c:v>
                </c:pt>
                <c:pt idx="13616">
                  <c:v>44.015256882569453</c:v>
                </c:pt>
                <c:pt idx="13617">
                  <c:v>29.412634742833003</c:v>
                </c:pt>
                <c:pt idx="13618">
                  <c:v>32.060907753516915</c:v>
                </c:pt>
                <c:pt idx="13619">
                  <c:v>22.669175033922777</c:v>
                </c:pt>
                <c:pt idx="13620">
                  <c:v>24.574763621578033</c:v>
                </c:pt>
                <c:pt idx="13621">
                  <c:v>28.215613679948103</c:v>
                </c:pt>
                <c:pt idx="13622">
                  <c:v>37.644357012637826</c:v>
                </c:pt>
                <c:pt idx="13623">
                  <c:v>42.33027219619688</c:v>
                </c:pt>
                <c:pt idx="13624">
                  <c:v>49.309593047057966</c:v>
                </c:pt>
                <c:pt idx="13625">
                  <c:v>56.812192459375176</c:v>
                </c:pt>
                <c:pt idx="13626">
                  <c:v>42.187339376255188</c:v>
                </c:pt>
                <c:pt idx="13627">
                  <c:v>28.383328959095429</c:v>
                </c:pt>
                <c:pt idx="13628">
                  <c:v>22.838676863898971</c:v>
                </c:pt>
                <c:pt idx="13629">
                  <c:v>27.21395867338374</c:v>
                </c:pt>
                <c:pt idx="13630">
                  <c:v>22.211003861940402</c:v>
                </c:pt>
                <c:pt idx="13631">
                  <c:v>29.88216220144125</c:v>
                </c:pt>
                <c:pt idx="13632">
                  <c:v>46.05720516410252</c:v>
                </c:pt>
                <c:pt idx="13633">
                  <c:v>27.114332147413734</c:v>
                </c:pt>
                <c:pt idx="13634">
                  <c:v>34.652331962447548</c:v>
                </c:pt>
                <c:pt idx="13635">
                  <c:v>24.189634454715353</c:v>
                </c:pt>
                <c:pt idx="13636">
                  <c:v>24.688207224722696</c:v>
                </c:pt>
                <c:pt idx="13637">
                  <c:v>23.827542825225251</c:v>
                </c:pt>
                <c:pt idx="13638">
                  <c:v>21.83579567688426</c:v>
                </c:pt>
                <c:pt idx="13639">
                  <c:v>24.084790423864398</c:v>
                </c:pt>
                <c:pt idx="13640">
                  <c:v>38.623666184224597</c:v>
                </c:pt>
                <c:pt idx="13641">
                  <c:v>26.082471018310095</c:v>
                </c:pt>
                <c:pt idx="13642">
                  <c:v>17.362056288026487</c:v>
                </c:pt>
                <c:pt idx="13643">
                  <c:v>33.594077783560294</c:v>
                </c:pt>
                <c:pt idx="13644">
                  <c:v>25.198195678446417</c:v>
                </c:pt>
                <c:pt idx="13645">
                  <c:v>38.94424632385838</c:v>
                </c:pt>
                <c:pt idx="13646">
                  <c:v>23.593486367581288</c:v>
                </c:pt>
                <c:pt idx="13647">
                  <c:v>28.812782048869785</c:v>
                </c:pt>
                <c:pt idx="13648">
                  <c:v>35.988822092965094</c:v>
                </c:pt>
                <c:pt idx="13649">
                  <c:v>51.787650842380657</c:v>
                </c:pt>
                <c:pt idx="13650">
                  <c:v>45.202135901967331</c:v>
                </c:pt>
                <c:pt idx="13651">
                  <c:v>24.596621853797867</c:v>
                </c:pt>
                <c:pt idx="13652">
                  <c:v>24.729360713463127</c:v>
                </c:pt>
                <c:pt idx="13653">
                  <c:v>19.316794738847555</c:v>
                </c:pt>
                <c:pt idx="13654">
                  <c:v>23.120859502215367</c:v>
                </c:pt>
                <c:pt idx="13655">
                  <c:v>29.436804435857354</c:v>
                </c:pt>
                <c:pt idx="13656">
                  <c:v>28.598295337081566</c:v>
                </c:pt>
                <c:pt idx="13657">
                  <c:v>25.728635071473924</c:v>
                </c:pt>
                <c:pt idx="13658">
                  <c:v>22.12362992978619</c:v>
                </c:pt>
                <c:pt idx="13659">
                  <c:v>23.043503332050005</c:v>
                </c:pt>
                <c:pt idx="13660">
                  <c:v>24.177938443296249</c:v>
                </c:pt>
                <c:pt idx="13661">
                  <c:v>25.13630364069947</c:v>
                </c:pt>
                <c:pt idx="13662">
                  <c:v>22.720828213813398</c:v>
                </c:pt>
                <c:pt idx="13663">
                  <c:v>25.679019975569268</c:v>
                </c:pt>
                <c:pt idx="13664">
                  <c:v>27.25306519210347</c:v>
                </c:pt>
                <c:pt idx="13665">
                  <c:v>36.664023880929719</c:v>
                </c:pt>
                <c:pt idx="13666">
                  <c:v>46.119566921986333</c:v>
                </c:pt>
                <c:pt idx="13667">
                  <c:v>52.718711005494349</c:v>
                </c:pt>
                <c:pt idx="13668">
                  <c:v>30.026610500244843</c:v>
                </c:pt>
                <c:pt idx="13669">
                  <c:v>26.630051617100698</c:v>
                </c:pt>
                <c:pt idx="13670">
                  <c:v>32.453974707431051</c:v>
                </c:pt>
                <c:pt idx="13671">
                  <c:v>28.032475463227446</c:v>
                </c:pt>
                <c:pt idx="13672">
                  <c:v>21.149251633437384</c:v>
                </c:pt>
                <c:pt idx="13673">
                  <c:v>45.634346738511027</c:v>
                </c:pt>
                <c:pt idx="13674">
                  <c:v>22.269360266332466</c:v>
                </c:pt>
                <c:pt idx="13675">
                  <c:v>21.821888226052913</c:v>
                </c:pt>
                <c:pt idx="13676">
                  <c:v>43.344314113576402</c:v>
                </c:pt>
                <c:pt idx="13677">
                  <c:v>38.48718009125286</c:v>
                </c:pt>
                <c:pt idx="13678">
                  <c:v>41.819902320339168</c:v>
                </c:pt>
                <c:pt idx="13679">
                  <c:v>26.822207873534502</c:v>
                </c:pt>
                <c:pt idx="13680">
                  <c:v>31.650887245458346</c:v>
                </c:pt>
                <c:pt idx="13681">
                  <c:v>43.239638260394109</c:v>
                </c:pt>
                <c:pt idx="13682">
                  <c:v>28.457872629920228</c:v>
                </c:pt>
                <c:pt idx="13683">
                  <c:v>24.72927431622275</c:v>
                </c:pt>
                <c:pt idx="13684">
                  <c:v>23.135232601338345</c:v>
                </c:pt>
                <c:pt idx="13685">
                  <c:v>41.296875644123446</c:v>
                </c:pt>
                <c:pt idx="13686">
                  <c:v>37.298531876408049</c:v>
                </c:pt>
                <c:pt idx="13687">
                  <c:v>27.982684101541704</c:v>
                </c:pt>
                <c:pt idx="13688">
                  <c:v>25.477730122438935</c:v>
                </c:pt>
                <c:pt idx="13689">
                  <c:v>27.165716181884381</c:v>
                </c:pt>
                <c:pt idx="13690">
                  <c:v>28.170527807089936</c:v>
                </c:pt>
                <c:pt idx="13691">
                  <c:v>41.055667514524998</c:v>
                </c:pt>
                <c:pt idx="13692">
                  <c:v>18.849795158515263</c:v>
                </c:pt>
                <c:pt idx="13693">
                  <c:v>21.252679361233664</c:v>
                </c:pt>
                <c:pt idx="13694">
                  <c:v>20.386789557389196</c:v>
                </c:pt>
                <c:pt idx="13695">
                  <c:v>25.735194644518707</c:v>
                </c:pt>
                <c:pt idx="13696">
                  <c:v>42.773356599236664</c:v>
                </c:pt>
                <c:pt idx="13697">
                  <c:v>22.485603566183002</c:v>
                </c:pt>
                <c:pt idx="13698">
                  <c:v>32.155233390114589</c:v>
                </c:pt>
                <c:pt idx="13699">
                  <c:v>26.665808032541062</c:v>
                </c:pt>
                <c:pt idx="13700">
                  <c:v>22.986994019836231</c:v>
                </c:pt>
                <c:pt idx="13701">
                  <c:v>34.227552690168942</c:v>
                </c:pt>
                <c:pt idx="13702">
                  <c:v>23.334380771562707</c:v>
                </c:pt>
                <c:pt idx="13703">
                  <c:v>43.756612477939058</c:v>
                </c:pt>
                <c:pt idx="13704">
                  <c:v>33.671940529880985</c:v>
                </c:pt>
                <c:pt idx="13705">
                  <c:v>21.344131693079309</c:v>
                </c:pt>
                <c:pt idx="13706">
                  <c:v>26.655539644020585</c:v>
                </c:pt>
                <c:pt idx="13707">
                  <c:v>30.855117109327395</c:v>
                </c:pt>
                <c:pt idx="13708">
                  <c:v>23.168131901337677</c:v>
                </c:pt>
                <c:pt idx="13709">
                  <c:v>30.765456185973804</c:v>
                </c:pt>
                <c:pt idx="13710">
                  <c:v>55.47072146518078</c:v>
                </c:pt>
                <c:pt idx="13711">
                  <c:v>26.527402109194526</c:v>
                </c:pt>
                <c:pt idx="13712">
                  <c:v>29.277336246613135</c:v>
                </c:pt>
                <c:pt idx="13713">
                  <c:v>20.807593033102382</c:v>
                </c:pt>
                <c:pt idx="13714">
                  <c:v>34.185676146272641</c:v>
                </c:pt>
                <c:pt idx="13715">
                  <c:v>25.902761800679354</c:v>
                </c:pt>
                <c:pt idx="13716">
                  <c:v>25.750305377777487</c:v>
                </c:pt>
                <c:pt idx="13717">
                  <c:v>29.094838688216729</c:v>
                </c:pt>
                <c:pt idx="13718">
                  <c:v>17.998892548662997</c:v>
                </c:pt>
                <c:pt idx="13719">
                  <c:v>24.547245622923608</c:v>
                </c:pt>
                <c:pt idx="13720">
                  <c:v>29.686665437064644</c:v>
                </c:pt>
                <c:pt idx="13721">
                  <c:v>44.761704027169898</c:v>
                </c:pt>
                <c:pt idx="13722">
                  <c:v>28.440122756209348</c:v>
                </c:pt>
                <c:pt idx="13723">
                  <c:v>27.754574956048206</c:v>
                </c:pt>
                <c:pt idx="13724">
                  <c:v>22.869431616103792</c:v>
                </c:pt>
                <c:pt idx="13725">
                  <c:v>42.534948965639906</c:v>
                </c:pt>
                <c:pt idx="13726">
                  <c:v>44.321866053593126</c:v>
                </c:pt>
                <c:pt idx="13727">
                  <c:v>18.559703527475627</c:v>
                </c:pt>
                <c:pt idx="13728">
                  <c:v>25.370346610837597</c:v>
                </c:pt>
                <c:pt idx="13729">
                  <c:v>27.703364013914758</c:v>
                </c:pt>
                <c:pt idx="13730">
                  <c:v>29.585525314790495</c:v>
                </c:pt>
                <c:pt idx="13731">
                  <c:v>29.919002427614792</c:v>
                </c:pt>
                <c:pt idx="13732">
                  <c:v>21.064210517198269</c:v>
                </c:pt>
                <c:pt idx="13733">
                  <c:v>31.341556270283583</c:v>
                </c:pt>
                <c:pt idx="13734">
                  <c:v>33.381326616630069</c:v>
                </c:pt>
                <c:pt idx="13735">
                  <c:v>26.113372144328647</c:v>
                </c:pt>
                <c:pt idx="13736">
                  <c:v>52.87229139190201</c:v>
                </c:pt>
                <c:pt idx="13737">
                  <c:v>24.082441099977832</c:v>
                </c:pt>
                <c:pt idx="13738">
                  <c:v>22.003173945277901</c:v>
                </c:pt>
                <c:pt idx="13739">
                  <c:v>26.091672210461571</c:v>
                </c:pt>
                <c:pt idx="13740">
                  <c:v>44.172810167693932</c:v>
                </c:pt>
                <c:pt idx="13741">
                  <c:v>25.122173058432008</c:v>
                </c:pt>
                <c:pt idx="13742">
                  <c:v>27.513284370870398</c:v>
                </c:pt>
                <c:pt idx="13743">
                  <c:v>18.273544241618644</c:v>
                </c:pt>
                <c:pt idx="13744">
                  <c:v>51.455092557200224</c:v>
                </c:pt>
                <c:pt idx="13745">
                  <c:v>26.62523347506739</c:v>
                </c:pt>
                <c:pt idx="13746">
                  <c:v>29.659408280331853</c:v>
                </c:pt>
                <c:pt idx="13747">
                  <c:v>32.003181972541924</c:v>
                </c:pt>
                <c:pt idx="13748">
                  <c:v>19.820629518105349</c:v>
                </c:pt>
                <c:pt idx="13749">
                  <c:v>51.693762517012019</c:v>
                </c:pt>
                <c:pt idx="13750">
                  <c:v>27.558634658713149</c:v>
                </c:pt>
                <c:pt idx="13751">
                  <c:v>46.847377503822926</c:v>
                </c:pt>
                <c:pt idx="13752">
                  <c:v>26.160109806356267</c:v>
                </c:pt>
                <c:pt idx="13753">
                  <c:v>42.920586318927981</c:v>
                </c:pt>
                <c:pt idx="13754">
                  <c:v>20.145510666713545</c:v>
                </c:pt>
                <c:pt idx="13755">
                  <c:v>22.380517330935124</c:v>
                </c:pt>
                <c:pt idx="13756">
                  <c:v>32.891457372143577</c:v>
                </c:pt>
                <c:pt idx="13757">
                  <c:v>31.136437478297054</c:v>
                </c:pt>
                <c:pt idx="13758">
                  <c:v>29.302462694296864</c:v>
                </c:pt>
                <c:pt idx="13759">
                  <c:v>19.583919740944701</c:v>
                </c:pt>
                <c:pt idx="13760">
                  <c:v>29.103651973499751</c:v>
                </c:pt>
                <c:pt idx="13761">
                  <c:v>38.356130157317139</c:v>
                </c:pt>
                <c:pt idx="13762">
                  <c:v>30.057784212304036</c:v>
                </c:pt>
                <c:pt idx="13763">
                  <c:v>28.228944698015738</c:v>
                </c:pt>
                <c:pt idx="13764">
                  <c:v>28.525475524361379</c:v>
                </c:pt>
                <c:pt idx="13765">
                  <c:v>28.164524443727235</c:v>
                </c:pt>
                <c:pt idx="13766">
                  <c:v>23.775584674743364</c:v>
                </c:pt>
                <c:pt idx="13767">
                  <c:v>24.287801299093772</c:v>
                </c:pt>
                <c:pt idx="13768">
                  <c:v>28.627330827019311</c:v>
                </c:pt>
                <c:pt idx="13769">
                  <c:v>29.350862331694834</c:v>
                </c:pt>
                <c:pt idx="13770">
                  <c:v>32.337920931476766</c:v>
                </c:pt>
                <c:pt idx="13771">
                  <c:v>31.885731753092383</c:v>
                </c:pt>
                <c:pt idx="13772">
                  <c:v>20.375332544662399</c:v>
                </c:pt>
                <c:pt idx="13773">
                  <c:v>48.932490524702096</c:v>
                </c:pt>
                <c:pt idx="13774">
                  <c:v>53.092506163633338</c:v>
                </c:pt>
                <c:pt idx="13775">
                  <c:v>28.040484926736504</c:v>
                </c:pt>
                <c:pt idx="13776">
                  <c:v>24.533579442427158</c:v>
                </c:pt>
                <c:pt idx="13777">
                  <c:v>29.629865022317361</c:v>
                </c:pt>
                <c:pt idx="13778">
                  <c:v>33.742881748097155</c:v>
                </c:pt>
                <c:pt idx="13779">
                  <c:v>29.114141739492595</c:v>
                </c:pt>
                <c:pt idx="13780">
                  <c:v>28.208443207392715</c:v>
                </c:pt>
                <c:pt idx="13781">
                  <c:v>29.61179029726372</c:v>
                </c:pt>
                <c:pt idx="13782">
                  <c:v>29.059552512792514</c:v>
                </c:pt>
                <c:pt idx="13783">
                  <c:v>38.812900458027599</c:v>
                </c:pt>
                <c:pt idx="13784">
                  <c:v>21.764709607054492</c:v>
                </c:pt>
                <c:pt idx="13785">
                  <c:v>26.448384155305533</c:v>
                </c:pt>
                <c:pt idx="13786">
                  <c:v>24.287484753472743</c:v>
                </c:pt>
                <c:pt idx="13787">
                  <c:v>35.490427307498393</c:v>
                </c:pt>
                <c:pt idx="13788">
                  <c:v>25.634607974137474</c:v>
                </c:pt>
                <c:pt idx="13789">
                  <c:v>25.258936045568767</c:v>
                </c:pt>
                <c:pt idx="13790">
                  <c:v>48.612259130290404</c:v>
                </c:pt>
                <c:pt idx="13791">
                  <c:v>33.621172251611874</c:v>
                </c:pt>
                <c:pt idx="13792">
                  <c:v>45.149673239935069</c:v>
                </c:pt>
                <c:pt idx="13793">
                  <c:v>40.749625587380905</c:v>
                </c:pt>
                <c:pt idx="13794">
                  <c:v>26.344844320429367</c:v>
                </c:pt>
                <c:pt idx="13795">
                  <c:v>26.43858961813141</c:v>
                </c:pt>
                <c:pt idx="13796">
                  <c:v>22.426029087958756</c:v>
                </c:pt>
                <c:pt idx="13797">
                  <c:v>22.703011701919937</c:v>
                </c:pt>
                <c:pt idx="13798">
                  <c:v>26.93000243309384</c:v>
                </c:pt>
                <c:pt idx="13799">
                  <c:v>38.607337448059639</c:v>
                </c:pt>
                <c:pt idx="13800">
                  <c:v>33.392712409047768</c:v>
                </c:pt>
                <c:pt idx="13801">
                  <c:v>21.788398443112825</c:v>
                </c:pt>
                <c:pt idx="13802">
                  <c:v>27.536357059475858</c:v>
                </c:pt>
                <c:pt idx="13803">
                  <c:v>29.79424637268982</c:v>
                </c:pt>
                <c:pt idx="13804">
                  <c:v>45.873351831396874</c:v>
                </c:pt>
                <c:pt idx="13805">
                  <c:v>33.535491124908553</c:v>
                </c:pt>
                <c:pt idx="13806">
                  <c:v>34.847814435911317</c:v>
                </c:pt>
                <c:pt idx="13807">
                  <c:v>36.71566902812647</c:v>
                </c:pt>
                <c:pt idx="13808">
                  <c:v>43.867193807190048</c:v>
                </c:pt>
                <c:pt idx="13809">
                  <c:v>39.847531486195543</c:v>
                </c:pt>
                <c:pt idx="13810">
                  <c:v>27.93338056635784</c:v>
                </c:pt>
                <c:pt idx="13811">
                  <c:v>18.716894861163308</c:v>
                </c:pt>
                <c:pt idx="13812">
                  <c:v>38.843453890222662</c:v>
                </c:pt>
                <c:pt idx="13813">
                  <c:v>42.227296464269607</c:v>
                </c:pt>
                <c:pt idx="13814">
                  <c:v>27.66124199266071</c:v>
                </c:pt>
                <c:pt idx="13815">
                  <c:v>30.454388954386292</c:v>
                </c:pt>
                <c:pt idx="13816">
                  <c:v>28.9307532599823</c:v>
                </c:pt>
                <c:pt idx="13817">
                  <c:v>36.703336081838991</c:v>
                </c:pt>
                <c:pt idx="13818">
                  <c:v>30.52893224619848</c:v>
                </c:pt>
                <c:pt idx="13819">
                  <c:v>20.686405749208326</c:v>
                </c:pt>
                <c:pt idx="13820">
                  <c:v>21.107599512336279</c:v>
                </c:pt>
                <c:pt idx="13821">
                  <c:v>42.793171051458295</c:v>
                </c:pt>
                <c:pt idx="13822">
                  <c:v>24.274355037578694</c:v>
                </c:pt>
                <c:pt idx="13823">
                  <c:v>41.557990841293972</c:v>
                </c:pt>
                <c:pt idx="13824">
                  <c:v>21.975900073298991</c:v>
                </c:pt>
                <c:pt idx="13825">
                  <c:v>29.790393056762543</c:v>
                </c:pt>
                <c:pt idx="13826">
                  <c:v>46.116430569836709</c:v>
                </c:pt>
                <c:pt idx="13827">
                  <c:v>47.624128934486812</c:v>
                </c:pt>
                <c:pt idx="13828">
                  <c:v>26.782868329559747</c:v>
                </c:pt>
                <c:pt idx="13829">
                  <c:v>28.874870384474537</c:v>
                </c:pt>
                <c:pt idx="13830">
                  <c:v>26.521394681080412</c:v>
                </c:pt>
                <c:pt idx="13831">
                  <c:v>30.6580850169467</c:v>
                </c:pt>
                <c:pt idx="13832">
                  <c:v>27.595887559136383</c:v>
                </c:pt>
                <c:pt idx="13833">
                  <c:v>26.137494078216196</c:v>
                </c:pt>
                <c:pt idx="13834">
                  <c:v>28.858746143152917</c:v>
                </c:pt>
                <c:pt idx="13835">
                  <c:v>36.137270052226626</c:v>
                </c:pt>
                <c:pt idx="13836">
                  <c:v>39.529603427216109</c:v>
                </c:pt>
                <c:pt idx="13837">
                  <c:v>25.425229516936213</c:v>
                </c:pt>
                <c:pt idx="13838">
                  <c:v>25.779001528929253</c:v>
                </c:pt>
                <c:pt idx="13839">
                  <c:v>25.185967892347932</c:v>
                </c:pt>
                <c:pt idx="13840">
                  <c:v>18.899346480030225</c:v>
                </c:pt>
                <c:pt idx="13841">
                  <c:v>31.686500871791655</c:v>
                </c:pt>
                <c:pt idx="13842">
                  <c:v>23.844186606717578</c:v>
                </c:pt>
                <c:pt idx="13843">
                  <c:v>24.716656619038801</c:v>
                </c:pt>
                <c:pt idx="13844">
                  <c:v>27.154815569254769</c:v>
                </c:pt>
                <c:pt idx="13845">
                  <c:v>16.958811061941617</c:v>
                </c:pt>
                <c:pt idx="13846">
                  <c:v>29.321297262556975</c:v>
                </c:pt>
                <c:pt idx="13847">
                  <c:v>32.296662144632776</c:v>
                </c:pt>
                <c:pt idx="13848">
                  <c:v>31.663553069448337</c:v>
                </c:pt>
                <c:pt idx="13849">
                  <c:v>23.609164395312636</c:v>
                </c:pt>
                <c:pt idx="13850">
                  <c:v>50.84943583190541</c:v>
                </c:pt>
                <c:pt idx="13851">
                  <c:v>34.78584665850763</c:v>
                </c:pt>
                <c:pt idx="13852">
                  <c:v>26.611735131234891</c:v>
                </c:pt>
                <c:pt idx="13853">
                  <c:v>30.754997084965105</c:v>
                </c:pt>
                <c:pt idx="13854">
                  <c:v>56.408150371224927</c:v>
                </c:pt>
                <c:pt idx="13855">
                  <c:v>36.1713403291104</c:v>
                </c:pt>
                <c:pt idx="13856">
                  <c:v>30.690283047880552</c:v>
                </c:pt>
                <c:pt idx="13857">
                  <c:v>23.462639862152745</c:v>
                </c:pt>
                <c:pt idx="13858">
                  <c:v>48.134952265049449</c:v>
                </c:pt>
                <c:pt idx="13859">
                  <c:v>37.298059814016753</c:v>
                </c:pt>
                <c:pt idx="13860">
                  <c:v>28.752162154158903</c:v>
                </c:pt>
                <c:pt idx="13861">
                  <c:v>36.530232682167821</c:v>
                </c:pt>
                <c:pt idx="13862">
                  <c:v>48.518877423598056</c:v>
                </c:pt>
                <c:pt idx="13863">
                  <c:v>49.956193690641307</c:v>
                </c:pt>
                <c:pt idx="13864">
                  <c:v>26.097905108267764</c:v>
                </c:pt>
                <c:pt idx="13865">
                  <c:v>27.879206102321408</c:v>
                </c:pt>
                <c:pt idx="13866">
                  <c:v>28.795420388429989</c:v>
                </c:pt>
                <c:pt idx="13867">
                  <c:v>18.029584003511019</c:v>
                </c:pt>
                <c:pt idx="13868">
                  <c:v>30.225984172991598</c:v>
                </c:pt>
                <c:pt idx="13869">
                  <c:v>43.309091909739394</c:v>
                </c:pt>
                <c:pt idx="13870">
                  <c:v>39.715856573081417</c:v>
                </c:pt>
                <c:pt idx="13871">
                  <c:v>45.71481592191725</c:v>
                </c:pt>
                <c:pt idx="13872">
                  <c:v>25.274393977493673</c:v>
                </c:pt>
                <c:pt idx="13873">
                  <c:v>28.739834491661149</c:v>
                </c:pt>
                <c:pt idx="13874">
                  <c:v>33.929231784304363</c:v>
                </c:pt>
                <c:pt idx="13875">
                  <c:v>24.741946352328029</c:v>
                </c:pt>
                <c:pt idx="13876">
                  <c:v>25.615489252406469</c:v>
                </c:pt>
                <c:pt idx="13877">
                  <c:v>59.129662251971105</c:v>
                </c:pt>
                <c:pt idx="13878">
                  <c:v>18.361900576817046</c:v>
                </c:pt>
                <c:pt idx="13879">
                  <c:v>21.936360175937104</c:v>
                </c:pt>
                <c:pt idx="13880">
                  <c:v>35.243867935303307</c:v>
                </c:pt>
                <c:pt idx="13881">
                  <c:v>27.438356162619083</c:v>
                </c:pt>
                <c:pt idx="13882">
                  <c:v>33.038237725716591</c:v>
                </c:pt>
                <c:pt idx="13883">
                  <c:v>24.501054854767137</c:v>
                </c:pt>
                <c:pt idx="13884">
                  <c:v>44.694204785980865</c:v>
                </c:pt>
                <c:pt idx="13885">
                  <c:v>22.590667800808493</c:v>
                </c:pt>
                <c:pt idx="13886">
                  <c:v>41.725290534025575</c:v>
                </c:pt>
                <c:pt idx="13887">
                  <c:v>22.534751521250517</c:v>
                </c:pt>
                <c:pt idx="13888">
                  <c:v>59.763134905720506</c:v>
                </c:pt>
                <c:pt idx="13889">
                  <c:v>35.159066734204323</c:v>
                </c:pt>
                <c:pt idx="13890">
                  <c:v>27.298897008147449</c:v>
                </c:pt>
                <c:pt idx="13891">
                  <c:v>21.439103813982385</c:v>
                </c:pt>
                <c:pt idx="13892">
                  <c:v>20.649733784350737</c:v>
                </c:pt>
                <c:pt idx="13893">
                  <c:v>23.163045745248048</c:v>
                </c:pt>
                <c:pt idx="13894">
                  <c:v>39.088469644048331</c:v>
                </c:pt>
                <c:pt idx="13895">
                  <c:v>21.74067373661671</c:v>
                </c:pt>
                <c:pt idx="13896">
                  <c:v>46.125604720744235</c:v>
                </c:pt>
                <c:pt idx="13897">
                  <c:v>38.25293470544662</c:v>
                </c:pt>
                <c:pt idx="13898">
                  <c:v>40.527041836564457</c:v>
                </c:pt>
                <c:pt idx="13899">
                  <c:v>26.298085231459666</c:v>
                </c:pt>
                <c:pt idx="13900">
                  <c:v>22.947418576797777</c:v>
                </c:pt>
                <c:pt idx="13901">
                  <c:v>30.018536627136051</c:v>
                </c:pt>
                <c:pt idx="13902">
                  <c:v>24.393846530737122</c:v>
                </c:pt>
                <c:pt idx="13903">
                  <c:v>30.233549914905304</c:v>
                </c:pt>
                <c:pt idx="13904">
                  <c:v>30.574342336662514</c:v>
                </c:pt>
                <c:pt idx="13905">
                  <c:v>31.596251706016567</c:v>
                </c:pt>
                <c:pt idx="13906">
                  <c:v>26.995076349251775</c:v>
                </c:pt>
                <c:pt idx="13907">
                  <c:v>32.040774581746319</c:v>
                </c:pt>
                <c:pt idx="13908">
                  <c:v>30.429608205517759</c:v>
                </c:pt>
                <c:pt idx="13909">
                  <c:v>45.569220119157492</c:v>
                </c:pt>
                <c:pt idx="13910">
                  <c:v>22.726658363109692</c:v>
                </c:pt>
                <c:pt idx="13911">
                  <c:v>27.85615805338092</c:v>
                </c:pt>
                <c:pt idx="13912">
                  <c:v>32.910286236623797</c:v>
                </c:pt>
                <c:pt idx="13913">
                  <c:v>30.041567964682578</c:v>
                </c:pt>
                <c:pt idx="13914">
                  <c:v>27.011828583004913</c:v>
                </c:pt>
                <c:pt idx="13915">
                  <c:v>45.736530502934031</c:v>
                </c:pt>
                <c:pt idx="13916">
                  <c:v>43.176678068632739</c:v>
                </c:pt>
                <c:pt idx="13917">
                  <c:v>31.452240699189787</c:v>
                </c:pt>
                <c:pt idx="13918">
                  <c:v>31.230112028109069</c:v>
                </c:pt>
                <c:pt idx="13919">
                  <c:v>41.968032865371704</c:v>
                </c:pt>
                <c:pt idx="13920">
                  <c:v>26.850182852143863</c:v>
                </c:pt>
                <c:pt idx="13921">
                  <c:v>21.718749186189619</c:v>
                </c:pt>
                <c:pt idx="13922">
                  <c:v>32.037343950910078</c:v>
                </c:pt>
                <c:pt idx="13923">
                  <c:v>54.264830010115659</c:v>
                </c:pt>
                <c:pt idx="13924">
                  <c:v>53.370015951560696</c:v>
                </c:pt>
                <c:pt idx="13925">
                  <c:v>31.122723910133868</c:v>
                </c:pt>
                <c:pt idx="13926">
                  <c:v>34.476050065219908</c:v>
                </c:pt>
                <c:pt idx="13927">
                  <c:v>27.324831481849365</c:v>
                </c:pt>
                <c:pt idx="13928">
                  <c:v>23.505654613515148</c:v>
                </c:pt>
                <c:pt idx="13929">
                  <c:v>23.752954712169711</c:v>
                </c:pt>
                <c:pt idx="13930">
                  <c:v>26.397063385696192</c:v>
                </c:pt>
                <c:pt idx="13931">
                  <c:v>26.997565736258373</c:v>
                </c:pt>
                <c:pt idx="13932">
                  <c:v>57.014020063666607</c:v>
                </c:pt>
                <c:pt idx="13933">
                  <c:v>29.532521801803497</c:v>
                </c:pt>
                <c:pt idx="13934">
                  <c:v>22.542799729737752</c:v>
                </c:pt>
                <c:pt idx="13935">
                  <c:v>27.439791526815263</c:v>
                </c:pt>
                <c:pt idx="13936">
                  <c:v>43.125262154337221</c:v>
                </c:pt>
                <c:pt idx="13937">
                  <c:v>21.830787843476536</c:v>
                </c:pt>
                <c:pt idx="13938">
                  <c:v>26.857250835888923</c:v>
                </c:pt>
                <c:pt idx="13939">
                  <c:v>30.791431478167791</c:v>
                </c:pt>
                <c:pt idx="13940">
                  <c:v>28.617690700109293</c:v>
                </c:pt>
                <c:pt idx="13941">
                  <c:v>39.875547260097534</c:v>
                </c:pt>
                <c:pt idx="13942">
                  <c:v>42.315668224501955</c:v>
                </c:pt>
                <c:pt idx="13943">
                  <c:v>27.871548942114604</c:v>
                </c:pt>
                <c:pt idx="13944">
                  <c:v>31.025475248923161</c:v>
                </c:pt>
                <c:pt idx="13945">
                  <c:v>48.26961895512499</c:v>
                </c:pt>
                <c:pt idx="13946">
                  <c:v>28.610793957443661</c:v>
                </c:pt>
                <c:pt idx="13947">
                  <c:v>48.93210487287147</c:v>
                </c:pt>
                <c:pt idx="13948">
                  <c:v>27.547399866026744</c:v>
                </c:pt>
                <c:pt idx="13949">
                  <c:v>24.033067964778823</c:v>
                </c:pt>
                <c:pt idx="13950">
                  <c:v>27.114036899065994</c:v>
                </c:pt>
                <c:pt idx="13951">
                  <c:v>39.085347463933047</c:v>
                </c:pt>
                <c:pt idx="13952">
                  <c:v>44.91684731646464</c:v>
                </c:pt>
                <c:pt idx="13953">
                  <c:v>29.782310050833672</c:v>
                </c:pt>
                <c:pt idx="13954">
                  <c:v>37.266986439633413</c:v>
                </c:pt>
                <c:pt idx="13955">
                  <c:v>47.728922964025841</c:v>
                </c:pt>
                <c:pt idx="13956">
                  <c:v>28.323695097517621</c:v>
                </c:pt>
                <c:pt idx="13957">
                  <c:v>50.335548034633327</c:v>
                </c:pt>
                <c:pt idx="13958">
                  <c:v>24.398237824205072</c:v>
                </c:pt>
                <c:pt idx="13959">
                  <c:v>26.464190067849451</c:v>
                </c:pt>
                <c:pt idx="13960">
                  <c:v>37.245829651204239</c:v>
                </c:pt>
                <c:pt idx="13961">
                  <c:v>32.15528026686691</c:v>
                </c:pt>
                <c:pt idx="13962">
                  <c:v>29.437333416567924</c:v>
                </c:pt>
                <c:pt idx="13963">
                  <c:v>28.367598798352837</c:v>
                </c:pt>
                <c:pt idx="13964">
                  <c:v>28.136072546089995</c:v>
                </c:pt>
                <c:pt idx="13965">
                  <c:v>26.869084650298554</c:v>
                </c:pt>
                <c:pt idx="13966">
                  <c:v>23.516310666590929</c:v>
                </c:pt>
                <c:pt idx="13967">
                  <c:v>27.34955815981716</c:v>
                </c:pt>
                <c:pt idx="13968">
                  <c:v>26.926869154321466</c:v>
                </c:pt>
                <c:pt idx="13969">
                  <c:v>43.012497328925285</c:v>
                </c:pt>
                <c:pt idx="13970">
                  <c:v>23.756913159217586</c:v>
                </c:pt>
                <c:pt idx="13971">
                  <c:v>21.641612361127201</c:v>
                </c:pt>
                <c:pt idx="13972">
                  <c:v>29.183203224885879</c:v>
                </c:pt>
                <c:pt idx="13973">
                  <c:v>51.667030329161115</c:v>
                </c:pt>
                <c:pt idx="13974">
                  <c:v>62.933666690772142</c:v>
                </c:pt>
                <c:pt idx="13975">
                  <c:v>51.100491411429054</c:v>
                </c:pt>
                <c:pt idx="13976">
                  <c:v>45.592083471446692</c:v>
                </c:pt>
                <c:pt idx="13977">
                  <c:v>32.431255269622156</c:v>
                </c:pt>
                <c:pt idx="13978">
                  <c:v>22.194028562072486</c:v>
                </c:pt>
                <c:pt idx="13979">
                  <c:v>20.178002049000565</c:v>
                </c:pt>
                <c:pt idx="13980">
                  <c:v>31.372912290250838</c:v>
                </c:pt>
                <c:pt idx="13981">
                  <c:v>45.380410023587977</c:v>
                </c:pt>
                <c:pt idx="13982">
                  <c:v>23.417640655837211</c:v>
                </c:pt>
                <c:pt idx="13983">
                  <c:v>18.406810823379725</c:v>
                </c:pt>
                <c:pt idx="13984">
                  <c:v>25.11580788147516</c:v>
                </c:pt>
                <c:pt idx="13985">
                  <c:v>56.35037692833621</c:v>
                </c:pt>
                <c:pt idx="13986">
                  <c:v>24.595780684852233</c:v>
                </c:pt>
                <c:pt idx="13987">
                  <c:v>27.275192688651742</c:v>
                </c:pt>
                <c:pt idx="13988">
                  <c:v>34.091843156793878</c:v>
                </c:pt>
                <c:pt idx="13989">
                  <c:v>33.564533461119886</c:v>
                </c:pt>
                <c:pt idx="13990">
                  <c:v>30.604623031327421</c:v>
                </c:pt>
                <c:pt idx="13991">
                  <c:v>30.587292366084412</c:v>
                </c:pt>
                <c:pt idx="13992">
                  <c:v>31.657600332274704</c:v>
                </c:pt>
                <c:pt idx="13993">
                  <c:v>29.685333066104366</c:v>
                </c:pt>
                <c:pt idx="13994">
                  <c:v>25.62266484957755</c:v>
                </c:pt>
                <c:pt idx="13995">
                  <c:v>33.993629113857878</c:v>
                </c:pt>
                <c:pt idx="13996">
                  <c:v>27.449242142619944</c:v>
                </c:pt>
                <c:pt idx="13997">
                  <c:v>28.839516918694677</c:v>
                </c:pt>
                <c:pt idx="13998">
                  <c:v>33.241351611783323</c:v>
                </c:pt>
                <c:pt idx="13999">
                  <c:v>33.75002416850181</c:v>
                </c:pt>
                <c:pt idx="14000">
                  <c:v>25.421529473731141</c:v>
                </c:pt>
                <c:pt idx="14001">
                  <c:v>27.468346409457851</c:v>
                </c:pt>
                <c:pt idx="14002">
                  <c:v>40.091159325002266</c:v>
                </c:pt>
                <c:pt idx="14003">
                  <c:v>53.124139530610023</c:v>
                </c:pt>
                <c:pt idx="14004">
                  <c:v>58.62464134981137</c:v>
                </c:pt>
                <c:pt idx="14005">
                  <c:v>15.995774167521965</c:v>
                </c:pt>
                <c:pt idx="14006">
                  <c:v>28.292587829072527</c:v>
                </c:pt>
                <c:pt idx="14007">
                  <c:v>28.275556354454956</c:v>
                </c:pt>
                <c:pt idx="14008">
                  <c:v>29.308012008017226</c:v>
                </c:pt>
                <c:pt idx="14009">
                  <c:v>23.240466659072531</c:v>
                </c:pt>
                <c:pt idx="14010">
                  <c:v>29.791257278566885</c:v>
                </c:pt>
                <c:pt idx="14011">
                  <c:v>24.516405266238646</c:v>
                </c:pt>
                <c:pt idx="14012">
                  <c:v>24.399766570891149</c:v>
                </c:pt>
                <c:pt idx="14013">
                  <c:v>19.806926471014599</c:v>
                </c:pt>
                <c:pt idx="14014">
                  <c:v>22.937544680470555</c:v>
                </c:pt>
                <c:pt idx="14015">
                  <c:v>50.083794495121992</c:v>
                </c:pt>
                <c:pt idx="14016">
                  <c:v>22.97701937437234</c:v>
                </c:pt>
                <c:pt idx="14017">
                  <c:v>53.367009532180219</c:v>
                </c:pt>
                <c:pt idx="14018">
                  <c:v>24.188901287745676</c:v>
                </c:pt>
                <c:pt idx="14019">
                  <c:v>45.420771502401045</c:v>
                </c:pt>
                <c:pt idx="14020">
                  <c:v>27.493699488841706</c:v>
                </c:pt>
                <c:pt idx="14021">
                  <c:v>63.507639521953791</c:v>
                </c:pt>
                <c:pt idx="14022">
                  <c:v>30.024997477236631</c:v>
                </c:pt>
                <c:pt idx="14023">
                  <c:v>51.5663376442009</c:v>
                </c:pt>
                <c:pt idx="14024">
                  <c:v>24.288448711392583</c:v>
                </c:pt>
                <c:pt idx="14025">
                  <c:v>21.495966124451439</c:v>
                </c:pt>
                <c:pt idx="14026">
                  <c:v>25.54987343557017</c:v>
                </c:pt>
                <c:pt idx="14027">
                  <c:v>48.728993080802546</c:v>
                </c:pt>
                <c:pt idx="14028">
                  <c:v>27.69167297923109</c:v>
                </c:pt>
                <c:pt idx="14029">
                  <c:v>26.332188255587795</c:v>
                </c:pt>
                <c:pt idx="14030">
                  <c:v>34.003797810882737</c:v>
                </c:pt>
                <c:pt idx="14031">
                  <c:v>37.580830697633473</c:v>
                </c:pt>
                <c:pt idx="14032">
                  <c:v>27.875388655428232</c:v>
                </c:pt>
                <c:pt idx="14033">
                  <c:v>53.176991976734939</c:v>
                </c:pt>
                <c:pt idx="14034">
                  <c:v>29.031070716222871</c:v>
                </c:pt>
                <c:pt idx="14035">
                  <c:v>32.780351348100396</c:v>
                </c:pt>
                <c:pt idx="14036">
                  <c:v>21.346593604445019</c:v>
                </c:pt>
                <c:pt idx="14037">
                  <c:v>35.011253249938278</c:v>
                </c:pt>
                <c:pt idx="14038">
                  <c:v>31.813652292476355</c:v>
                </c:pt>
                <c:pt idx="14039">
                  <c:v>28.398602882352328</c:v>
                </c:pt>
                <c:pt idx="14040">
                  <c:v>19.654560812935834</c:v>
                </c:pt>
                <c:pt idx="14041">
                  <c:v>29.849907024186663</c:v>
                </c:pt>
                <c:pt idx="14042">
                  <c:v>36.594972538795801</c:v>
                </c:pt>
                <c:pt idx="14043">
                  <c:v>36.638058242528658</c:v>
                </c:pt>
                <c:pt idx="14044">
                  <c:v>31.822241572482199</c:v>
                </c:pt>
                <c:pt idx="14045">
                  <c:v>24.132843241727041</c:v>
                </c:pt>
                <c:pt idx="14046">
                  <c:v>24.74765061023502</c:v>
                </c:pt>
                <c:pt idx="14047">
                  <c:v>47.326995486797195</c:v>
                </c:pt>
                <c:pt idx="14048">
                  <c:v>37.391943216327263</c:v>
                </c:pt>
                <c:pt idx="14049">
                  <c:v>20.952560777478862</c:v>
                </c:pt>
                <c:pt idx="14050">
                  <c:v>29.228537738522288</c:v>
                </c:pt>
                <c:pt idx="14051">
                  <c:v>36.331923137689138</c:v>
                </c:pt>
                <c:pt idx="14052">
                  <c:v>27.431173746434698</c:v>
                </c:pt>
                <c:pt idx="14053">
                  <c:v>44.277277947313628</c:v>
                </c:pt>
                <c:pt idx="14054">
                  <c:v>35.594606552935197</c:v>
                </c:pt>
                <c:pt idx="14055">
                  <c:v>31.432571567888161</c:v>
                </c:pt>
                <c:pt idx="14056">
                  <c:v>28.028039074560137</c:v>
                </c:pt>
                <c:pt idx="14057">
                  <c:v>24.988134049984062</c:v>
                </c:pt>
                <c:pt idx="14058">
                  <c:v>42.075306202192735</c:v>
                </c:pt>
                <c:pt idx="14059">
                  <c:v>19.778390936541893</c:v>
                </c:pt>
                <c:pt idx="14060">
                  <c:v>34.529066416594496</c:v>
                </c:pt>
                <c:pt idx="14061">
                  <c:v>24.299083925856717</c:v>
                </c:pt>
                <c:pt idx="14062">
                  <c:v>21.494796211625349</c:v>
                </c:pt>
                <c:pt idx="14063">
                  <c:v>31.969970235504782</c:v>
                </c:pt>
                <c:pt idx="14064">
                  <c:v>46.426891483698427</c:v>
                </c:pt>
                <c:pt idx="14065">
                  <c:v>47.520524800815387</c:v>
                </c:pt>
                <c:pt idx="14066">
                  <c:v>27.399239628984056</c:v>
                </c:pt>
                <c:pt idx="14067">
                  <c:v>26.948328755303741</c:v>
                </c:pt>
                <c:pt idx="14068">
                  <c:v>25.87671282637649</c:v>
                </c:pt>
                <c:pt idx="14069">
                  <c:v>27.482009983873109</c:v>
                </c:pt>
                <c:pt idx="14070">
                  <c:v>34.245086023167559</c:v>
                </c:pt>
                <c:pt idx="14071">
                  <c:v>29.252502798158819</c:v>
                </c:pt>
                <c:pt idx="14072">
                  <c:v>38.178712941668735</c:v>
                </c:pt>
                <c:pt idx="14073">
                  <c:v>55.117144405071862</c:v>
                </c:pt>
                <c:pt idx="14074">
                  <c:v>40.208945847188069</c:v>
                </c:pt>
                <c:pt idx="14075">
                  <c:v>34.071466947355461</c:v>
                </c:pt>
                <c:pt idx="14076">
                  <c:v>49.837603300334571</c:v>
                </c:pt>
                <c:pt idx="14077">
                  <c:v>19.859608483997285</c:v>
                </c:pt>
                <c:pt idx="14078">
                  <c:v>27.443220634317065</c:v>
                </c:pt>
                <c:pt idx="14079">
                  <c:v>33.307279026328246</c:v>
                </c:pt>
                <c:pt idx="14080">
                  <c:v>36.177930938906563</c:v>
                </c:pt>
                <c:pt idx="14081">
                  <c:v>23.813959888436273</c:v>
                </c:pt>
                <c:pt idx="14082">
                  <c:v>38.619417437850394</c:v>
                </c:pt>
                <c:pt idx="14083">
                  <c:v>30.206875153426552</c:v>
                </c:pt>
                <c:pt idx="14084">
                  <c:v>38.3079020560142</c:v>
                </c:pt>
                <c:pt idx="14085">
                  <c:v>48.627761397415874</c:v>
                </c:pt>
                <c:pt idx="14086">
                  <c:v>31.267259863325059</c:v>
                </c:pt>
                <c:pt idx="14087">
                  <c:v>48.449541628487225</c:v>
                </c:pt>
                <c:pt idx="14088">
                  <c:v>25.125978988763038</c:v>
                </c:pt>
                <c:pt idx="14089">
                  <c:v>50.229179775638542</c:v>
                </c:pt>
                <c:pt idx="14090">
                  <c:v>44.040528949304672</c:v>
                </c:pt>
                <c:pt idx="14091">
                  <c:v>48.139894096955381</c:v>
                </c:pt>
                <c:pt idx="14092">
                  <c:v>36.746412747202363</c:v>
                </c:pt>
                <c:pt idx="14093">
                  <c:v>25.319337638686168</c:v>
                </c:pt>
                <c:pt idx="14094">
                  <c:v>42.908739773046683</c:v>
                </c:pt>
                <c:pt idx="14095">
                  <c:v>27.87020411248432</c:v>
                </c:pt>
                <c:pt idx="14096">
                  <c:v>50.644646954677633</c:v>
                </c:pt>
                <c:pt idx="14097">
                  <c:v>29.507028395329698</c:v>
                </c:pt>
                <c:pt idx="14098">
                  <c:v>29.578448696065713</c:v>
                </c:pt>
                <c:pt idx="14099">
                  <c:v>30.603323529076121</c:v>
                </c:pt>
                <c:pt idx="14100">
                  <c:v>34.661638513718621</c:v>
                </c:pt>
                <c:pt idx="14101">
                  <c:v>27.397392560597353</c:v>
                </c:pt>
                <c:pt idx="14102">
                  <c:v>43.563613066990541</c:v>
                </c:pt>
                <c:pt idx="14103">
                  <c:v>19.310786485608805</c:v>
                </c:pt>
                <c:pt idx="14104">
                  <c:v>34.824165963739858</c:v>
                </c:pt>
                <c:pt idx="14105">
                  <c:v>32.2657128883924</c:v>
                </c:pt>
                <c:pt idx="14106">
                  <c:v>23.565704814705533</c:v>
                </c:pt>
                <c:pt idx="14107">
                  <c:v>30.113174797259504</c:v>
                </c:pt>
                <c:pt idx="14108">
                  <c:v>46.73236060961365</c:v>
                </c:pt>
                <c:pt idx="14109">
                  <c:v>25.691946520748175</c:v>
                </c:pt>
                <c:pt idx="14110">
                  <c:v>28.976699464138225</c:v>
                </c:pt>
                <c:pt idx="14111">
                  <c:v>28.091361714309315</c:v>
                </c:pt>
                <c:pt idx="14112">
                  <c:v>31.140992710551071</c:v>
                </c:pt>
                <c:pt idx="14113">
                  <c:v>34.151490413059882</c:v>
                </c:pt>
                <c:pt idx="14114">
                  <c:v>25.520289785372434</c:v>
                </c:pt>
                <c:pt idx="14115">
                  <c:v>45.980806591392792</c:v>
                </c:pt>
                <c:pt idx="14116">
                  <c:v>25.879047708322336</c:v>
                </c:pt>
                <c:pt idx="14117">
                  <c:v>25.142271229089722</c:v>
                </c:pt>
                <c:pt idx="14118">
                  <c:v>42.419127127241239</c:v>
                </c:pt>
                <c:pt idx="14119">
                  <c:v>28.63429365485381</c:v>
                </c:pt>
                <c:pt idx="14120">
                  <c:v>28.495739548188062</c:v>
                </c:pt>
                <c:pt idx="14121">
                  <c:v>30.794758238668141</c:v>
                </c:pt>
                <c:pt idx="14122">
                  <c:v>25.555945840197133</c:v>
                </c:pt>
                <c:pt idx="14123">
                  <c:v>47.12753195979986</c:v>
                </c:pt>
                <c:pt idx="14124">
                  <c:v>30.275114750278341</c:v>
                </c:pt>
                <c:pt idx="14125">
                  <c:v>23.517794909883296</c:v>
                </c:pt>
                <c:pt idx="14126">
                  <c:v>32.577765655348408</c:v>
                </c:pt>
                <c:pt idx="14127">
                  <c:v>22.976710725631893</c:v>
                </c:pt>
                <c:pt idx="14128">
                  <c:v>34.201714945443896</c:v>
                </c:pt>
                <c:pt idx="14129">
                  <c:v>20.538006384455652</c:v>
                </c:pt>
                <c:pt idx="14130">
                  <c:v>26.738901813550182</c:v>
                </c:pt>
                <c:pt idx="14131">
                  <c:v>34.618118271580492</c:v>
                </c:pt>
                <c:pt idx="14132">
                  <c:v>28.128881831401849</c:v>
                </c:pt>
                <c:pt idx="14133">
                  <c:v>47.156530978956944</c:v>
                </c:pt>
                <c:pt idx="14134">
                  <c:v>19.611511489426125</c:v>
                </c:pt>
                <c:pt idx="14135">
                  <c:v>28.23495529279456</c:v>
                </c:pt>
                <c:pt idx="14136">
                  <c:v>53.778229174986059</c:v>
                </c:pt>
                <c:pt idx="14137">
                  <c:v>19.796398774384322</c:v>
                </c:pt>
                <c:pt idx="14138">
                  <c:v>22.242420167674467</c:v>
                </c:pt>
                <c:pt idx="14139">
                  <c:v>27.20767848181417</c:v>
                </c:pt>
                <c:pt idx="14140">
                  <c:v>43.703625901585383</c:v>
                </c:pt>
                <c:pt idx="14141">
                  <c:v>27.623271727121253</c:v>
                </c:pt>
                <c:pt idx="14142">
                  <c:v>26.447961853491698</c:v>
                </c:pt>
                <c:pt idx="14143">
                  <c:v>25.132646407626552</c:v>
                </c:pt>
                <c:pt idx="14144">
                  <c:v>45.044701174556231</c:v>
                </c:pt>
                <c:pt idx="14145">
                  <c:v>24.745599867886057</c:v>
                </c:pt>
                <c:pt idx="14146">
                  <c:v>28.847908980801556</c:v>
                </c:pt>
                <c:pt idx="14147">
                  <c:v>24.525928559194337</c:v>
                </c:pt>
                <c:pt idx="14148">
                  <c:v>30.193393370694402</c:v>
                </c:pt>
                <c:pt idx="14149">
                  <c:v>31.172751494252434</c:v>
                </c:pt>
                <c:pt idx="14150">
                  <c:v>28.112378920867105</c:v>
                </c:pt>
                <c:pt idx="14151">
                  <c:v>60.204548232000846</c:v>
                </c:pt>
                <c:pt idx="14152">
                  <c:v>27.043629492586465</c:v>
                </c:pt>
                <c:pt idx="14153">
                  <c:v>24.095032279890969</c:v>
                </c:pt>
                <c:pt idx="14154">
                  <c:v>41.620310921745549</c:v>
                </c:pt>
                <c:pt idx="14155">
                  <c:v>54.959618088563957</c:v>
                </c:pt>
                <c:pt idx="14156">
                  <c:v>37.931638137400576</c:v>
                </c:pt>
                <c:pt idx="14157">
                  <c:v>22.096609531754119</c:v>
                </c:pt>
                <c:pt idx="14158">
                  <c:v>24.402212737017344</c:v>
                </c:pt>
                <c:pt idx="14159">
                  <c:v>25.618991263039291</c:v>
                </c:pt>
                <c:pt idx="14160">
                  <c:v>60.565879078460178</c:v>
                </c:pt>
                <c:pt idx="14161">
                  <c:v>29.188141087116129</c:v>
                </c:pt>
                <c:pt idx="14162">
                  <c:v>19.901139854955034</c:v>
                </c:pt>
                <c:pt idx="14163">
                  <c:v>31.911350351608817</c:v>
                </c:pt>
                <c:pt idx="14164">
                  <c:v>33.508346725708599</c:v>
                </c:pt>
                <c:pt idx="14165">
                  <c:v>26.643186600368878</c:v>
                </c:pt>
                <c:pt idx="14166">
                  <c:v>46.745552367169303</c:v>
                </c:pt>
                <c:pt idx="14167">
                  <c:v>26.649436173053402</c:v>
                </c:pt>
                <c:pt idx="14168">
                  <c:v>32.383437538199175</c:v>
                </c:pt>
                <c:pt idx="14169">
                  <c:v>57.56425065543565</c:v>
                </c:pt>
                <c:pt idx="14170">
                  <c:v>29.208874776415318</c:v>
                </c:pt>
                <c:pt idx="14171">
                  <c:v>29.739255652693714</c:v>
                </c:pt>
                <c:pt idx="14172">
                  <c:v>48.666464508620635</c:v>
                </c:pt>
                <c:pt idx="14173">
                  <c:v>29.77658487520965</c:v>
                </c:pt>
                <c:pt idx="14174">
                  <c:v>29.7580455630556</c:v>
                </c:pt>
                <c:pt idx="14175">
                  <c:v>27.424166811082106</c:v>
                </c:pt>
                <c:pt idx="14176">
                  <c:v>33.437674868937535</c:v>
                </c:pt>
                <c:pt idx="14177">
                  <c:v>28.219106572464472</c:v>
                </c:pt>
                <c:pt idx="14178">
                  <c:v>25.184553206059988</c:v>
                </c:pt>
                <c:pt idx="14179">
                  <c:v>34.025586577289069</c:v>
                </c:pt>
                <c:pt idx="14180">
                  <c:v>28.090982374598418</c:v>
                </c:pt>
                <c:pt idx="14181">
                  <c:v>28.040172601297972</c:v>
                </c:pt>
                <c:pt idx="14182">
                  <c:v>25.778214078167</c:v>
                </c:pt>
                <c:pt idx="14183">
                  <c:v>20.813579849467622</c:v>
                </c:pt>
                <c:pt idx="14184">
                  <c:v>28.042583753526252</c:v>
                </c:pt>
                <c:pt idx="14185">
                  <c:v>23.71639130054092</c:v>
                </c:pt>
                <c:pt idx="14186">
                  <c:v>31.526698335746733</c:v>
                </c:pt>
                <c:pt idx="14187">
                  <c:v>16.894593629954354</c:v>
                </c:pt>
                <c:pt idx="14188">
                  <c:v>44.076925648258339</c:v>
                </c:pt>
                <c:pt idx="14189">
                  <c:v>35.120139916748556</c:v>
                </c:pt>
                <c:pt idx="14190">
                  <c:v>39.479089062598149</c:v>
                </c:pt>
                <c:pt idx="14191">
                  <c:v>21.029453275280634</c:v>
                </c:pt>
                <c:pt idx="14192">
                  <c:v>29.127220422596817</c:v>
                </c:pt>
                <c:pt idx="14193">
                  <c:v>35.24198243816322</c:v>
                </c:pt>
                <c:pt idx="14194">
                  <c:v>43.649906554857751</c:v>
                </c:pt>
                <c:pt idx="14195">
                  <c:v>46.350570026933347</c:v>
                </c:pt>
                <c:pt idx="14196">
                  <c:v>28.031368337474433</c:v>
                </c:pt>
                <c:pt idx="14197">
                  <c:v>32.269322766984537</c:v>
                </c:pt>
                <c:pt idx="14198">
                  <c:v>46.02993426381672</c:v>
                </c:pt>
                <c:pt idx="14199">
                  <c:v>27.685837597266477</c:v>
                </c:pt>
                <c:pt idx="14200">
                  <c:v>39.476310281664368</c:v>
                </c:pt>
                <c:pt idx="14201">
                  <c:v>50.464344395923725</c:v>
                </c:pt>
                <c:pt idx="14202">
                  <c:v>33.679701649211204</c:v>
                </c:pt>
                <c:pt idx="14203">
                  <c:v>17.865198667218117</c:v>
                </c:pt>
                <c:pt idx="14204">
                  <c:v>25.311071029891384</c:v>
                </c:pt>
                <c:pt idx="14205">
                  <c:v>30.960942493942913</c:v>
                </c:pt>
                <c:pt idx="14206">
                  <c:v>26.889702631855066</c:v>
                </c:pt>
                <c:pt idx="14207">
                  <c:v>28.497220049694956</c:v>
                </c:pt>
                <c:pt idx="14208">
                  <c:v>27.987749431015576</c:v>
                </c:pt>
                <c:pt idx="14209">
                  <c:v>53.68844729804816</c:v>
                </c:pt>
                <c:pt idx="14210">
                  <c:v>27.028653922089621</c:v>
                </c:pt>
                <c:pt idx="14211">
                  <c:v>19.748844175428967</c:v>
                </c:pt>
                <c:pt idx="14212">
                  <c:v>29.994842187610459</c:v>
                </c:pt>
                <c:pt idx="14213">
                  <c:v>31.822015130678061</c:v>
                </c:pt>
                <c:pt idx="14214">
                  <c:v>44.992444845677149</c:v>
                </c:pt>
                <c:pt idx="14215">
                  <c:v>30.788619940614957</c:v>
                </c:pt>
                <c:pt idx="14216">
                  <c:v>51.679223954786494</c:v>
                </c:pt>
                <c:pt idx="14217">
                  <c:v>24.953218602383444</c:v>
                </c:pt>
                <c:pt idx="14218">
                  <c:v>26.932920624904877</c:v>
                </c:pt>
                <c:pt idx="14219">
                  <c:v>34.153197634915614</c:v>
                </c:pt>
                <c:pt idx="14220">
                  <c:v>31.006559643829899</c:v>
                </c:pt>
                <c:pt idx="14221">
                  <c:v>62.524150688689772</c:v>
                </c:pt>
                <c:pt idx="14222">
                  <c:v>26.580364651944588</c:v>
                </c:pt>
                <c:pt idx="14223">
                  <c:v>24.589428577228333</c:v>
                </c:pt>
                <c:pt idx="14224">
                  <c:v>49.412679468118306</c:v>
                </c:pt>
                <c:pt idx="14225">
                  <c:v>20.497790095513551</c:v>
                </c:pt>
                <c:pt idx="14226">
                  <c:v>33.648546499156936</c:v>
                </c:pt>
                <c:pt idx="14227">
                  <c:v>51.592099186427042</c:v>
                </c:pt>
                <c:pt idx="14228">
                  <c:v>21.126351843964922</c:v>
                </c:pt>
                <c:pt idx="14229">
                  <c:v>28.438611690065947</c:v>
                </c:pt>
                <c:pt idx="14230">
                  <c:v>20.842817904300631</c:v>
                </c:pt>
                <c:pt idx="14231">
                  <c:v>23.540062167159384</c:v>
                </c:pt>
                <c:pt idx="14232">
                  <c:v>44.510540416236992</c:v>
                </c:pt>
                <c:pt idx="14233">
                  <c:v>49.715146830159618</c:v>
                </c:pt>
                <c:pt idx="14234">
                  <c:v>46.291179883972397</c:v>
                </c:pt>
                <c:pt idx="14235">
                  <c:v>26.628853250169723</c:v>
                </c:pt>
                <c:pt idx="14236">
                  <c:v>27.348174880309273</c:v>
                </c:pt>
                <c:pt idx="14237">
                  <c:v>29.120644559538846</c:v>
                </c:pt>
                <c:pt idx="14238">
                  <c:v>34.881297770013674</c:v>
                </c:pt>
                <c:pt idx="14239">
                  <c:v>33.423542645609054</c:v>
                </c:pt>
                <c:pt idx="14240">
                  <c:v>21.796027474433771</c:v>
                </c:pt>
                <c:pt idx="14241">
                  <c:v>46.509644628314945</c:v>
                </c:pt>
                <c:pt idx="14242">
                  <c:v>21.085645589708541</c:v>
                </c:pt>
                <c:pt idx="14243">
                  <c:v>29.200418310375682</c:v>
                </c:pt>
                <c:pt idx="14244">
                  <c:v>54.498944073059</c:v>
                </c:pt>
                <c:pt idx="14245">
                  <c:v>50.115252383032221</c:v>
                </c:pt>
                <c:pt idx="14246">
                  <c:v>29.078576163779982</c:v>
                </c:pt>
                <c:pt idx="14247">
                  <c:v>30.338424239630154</c:v>
                </c:pt>
                <c:pt idx="14248">
                  <c:v>30.742025545238914</c:v>
                </c:pt>
                <c:pt idx="14249">
                  <c:v>30.162448163514277</c:v>
                </c:pt>
                <c:pt idx="14250">
                  <c:v>36.751703998715911</c:v>
                </c:pt>
                <c:pt idx="14251">
                  <c:v>64.981675114965995</c:v>
                </c:pt>
                <c:pt idx="14252">
                  <c:v>19.10878972812014</c:v>
                </c:pt>
                <c:pt idx="14253">
                  <c:v>47.071066709955232</c:v>
                </c:pt>
                <c:pt idx="14254">
                  <c:v>46.172933634357911</c:v>
                </c:pt>
                <c:pt idx="14255">
                  <c:v>26.761937642510766</c:v>
                </c:pt>
                <c:pt idx="14256">
                  <c:v>58.202235483605719</c:v>
                </c:pt>
                <c:pt idx="14257">
                  <c:v>25.050678137235323</c:v>
                </c:pt>
                <c:pt idx="14258">
                  <c:v>44.978723024181093</c:v>
                </c:pt>
                <c:pt idx="14259">
                  <c:v>36.549090633837338</c:v>
                </c:pt>
                <c:pt idx="14260">
                  <c:v>28.432105187711528</c:v>
                </c:pt>
                <c:pt idx="14261">
                  <c:v>35.482006918259387</c:v>
                </c:pt>
                <c:pt idx="14262">
                  <c:v>21.527295904211186</c:v>
                </c:pt>
                <c:pt idx="14263">
                  <c:v>24.790628482540939</c:v>
                </c:pt>
                <c:pt idx="14264">
                  <c:v>31.238717589981139</c:v>
                </c:pt>
                <c:pt idx="14265">
                  <c:v>41.518182848028147</c:v>
                </c:pt>
                <c:pt idx="14266">
                  <c:v>23.460831668479283</c:v>
                </c:pt>
                <c:pt idx="14267">
                  <c:v>31.426783800515842</c:v>
                </c:pt>
                <c:pt idx="14268">
                  <c:v>46.976588295314997</c:v>
                </c:pt>
                <c:pt idx="14269">
                  <c:v>37.662952765905096</c:v>
                </c:pt>
                <c:pt idx="14270">
                  <c:v>27.592674322798437</c:v>
                </c:pt>
                <c:pt idx="14271">
                  <c:v>24.827316376634052</c:v>
                </c:pt>
                <c:pt idx="14272">
                  <c:v>30.630382847789004</c:v>
                </c:pt>
                <c:pt idx="14273">
                  <c:v>47.282210951581575</c:v>
                </c:pt>
                <c:pt idx="14274">
                  <c:v>24.333318825172622</c:v>
                </c:pt>
                <c:pt idx="14275">
                  <c:v>25.935251734391134</c:v>
                </c:pt>
                <c:pt idx="14276">
                  <c:v>24.302337626698382</c:v>
                </c:pt>
                <c:pt idx="14277">
                  <c:v>43.510140792599302</c:v>
                </c:pt>
                <c:pt idx="14278">
                  <c:v>24.258073678312648</c:v>
                </c:pt>
                <c:pt idx="14279">
                  <c:v>41.693201635456418</c:v>
                </c:pt>
                <c:pt idx="14280">
                  <c:v>31.056365936847463</c:v>
                </c:pt>
                <c:pt idx="14281">
                  <c:v>25.949627516266144</c:v>
                </c:pt>
                <c:pt idx="14282">
                  <c:v>30.347484479959199</c:v>
                </c:pt>
                <c:pt idx="14283">
                  <c:v>24.140848546219235</c:v>
                </c:pt>
                <c:pt idx="14284">
                  <c:v>37.680520950946054</c:v>
                </c:pt>
                <c:pt idx="14285">
                  <c:v>28.630061231424534</c:v>
                </c:pt>
                <c:pt idx="14286">
                  <c:v>48.55744192663127</c:v>
                </c:pt>
                <c:pt idx="14287">
                  <c:v>21.835236945652248</c:v>
                </c:pt>
                <c:pt idx="14288">
                  <c:v>41.148576565928565</c:v>
                </c:pt>
                <c:pt idx="14289">
                  <c:v>45.675829792149592</c:v>
                </c:pt>
                <c:pt idx="14290">
                  <c:v>35.376553161044427</c:v>
                </c:pt>
                <c:pt idx="14291">
                  <c:v>32.066011686779895</c:v>
                </c:pt>
                <c:pt idx="14292">
                  <c:v>35.605694318977804</c:v>
                </c:pt>
                <c:pt idx="14293">
                  <c:v>24.858583813078695</c:v>
                </c:pt>
                <c:pt idx="14294">
                  <c:v>44.129686165694586</c:v>
                </c:pt>
                <c:pt idx="14295">
                  <c:v>38.955206388039947</c:v>
                </c:pt>
                <c:pt idx="14296">
                  <c:v>30.360675369983831</c:v>
                </c:pt>
                <c:pt idx="14297">
                  <c:v>25.134921358350155</c:v>
                </c:pt>
                <c:pt idx="14298">
                  <c:v>33.93913544631647</c:v>
                </c:pt>
                <c:pt idx="14299">
                  <c:v>36.033416649811834</c:v>
                </c:pt>
                <c:pt idx="14300">
                  <c:v>32.392007811936509</c:v>
                </c:pt>
                <c:pt idx="14301">
                  <c:v>50.160597332026633</c:v>
                </c:pt>
                <c:pt idx="14302">
                  <c:v>26.483580747562414</c:v>
                </c:pt>
                <c:pt idx="14303">
                  <c:v>23.111812531986338</c:v>
                </c:pt>
                <c:pt idx="14304">
                  <c:v>27.439285442134114</c:v>
                </c:pt>
                <c:pt idx="14305">
                  <c:v>29.98510435867167</c:v>
                </c:pt>
                <c:pt idx="14306">
                  <c:v>30.860568897756359</c:v>
                </c:pt>
                <c:pt idx="14307">
                  <c:v>20.102058211830265</c:v>
                </c:pt>
                <c:pt idx="14308">
                  <c:v>54.717673861204467</c:v>
                </c:pt>
                <c:pt idx="14309">
                  <c:v>21.099034479834213</c:v>
                </c:pt>
                <c:pt idx="14310">
                  <c:v>31.812341773923773</c:v>
                </c:pt>
                <c:pt idx="14311">
                  <c:v>58.121379981906038</c:v>
                </c:pt>
                <c:pt idx="14312">
                  <c:v>26.262440377073514</c:v>
                </c:pt>
                <c:pt idx="14313">
                  <c:v>22.060691730815805</c:v>
                </c:pt>
                <c:pt idx="14314">
                  <c:v>31.830418469602151</c:v>
                </c:pt>
                <c:pt idx="14315">
                  <c:v>30.793047499775902</c:v>
                </c:pt>
                <c:pt idx="14316">
                  <c:v>50.052438792238192</c:v>
                </c:pt>
                <c:pt idx="14317">
                  <c:v>49.090649289009647</c:v>
                </c:pt>
                <c:pt idx="14318">
                  <c:v>26.060403678248449</c:v>
                </c:pt>
                <c:pt idx="14319">
                  <c:v>23.835348640769833</c:v>
                </c:pt>
                <c:pt idx="14320">
                  <c:v>25.137340756150408</c:v>
                </c:pt>
                <c:pt idx="14321">
                  <c:v>29.888995387148181</c:v>
                </c:pt>
                <c:pt idx="14322">
                  <c:v>21.9533845917326</c:v>
                </c:pt>
                <c:pt idx="14323">
                  <c:v>28.167478247757117</c:v>
                </c:pt>
                <c:pt idx="14324">
                  <c:v>19.828589325283623</c:v>
                </c:pt>
                <c:pt idx="14325">
                  <c:v>21.346623540144087</c:v>
                </c:pt>
                <c:pt idx="14326">
                  <c:v>24.034038438519005</c:v>
                </c:pt>
                <c:pt idx="14327">
                  <c:v>26.473826023356526</c:v>
                </c:pt>
                <c:pt idx="14328">
                  <c:v>27.190808810981991</c:v>
                </c:pt>
                <c:pt idx="14329">
                  <c:v>23.660820479917781</c:v>
                </c:pt>
                <c:pt idx="14330">
                  <c:v>26.82515214913105</c:v>
                </c:pt>
                <c:pt idx="14331">
                  <c:v>19.210337755898411</c:v>
                </c:pt>
                <c:pt idx="14332">
                  <c:v>47.932102957922751</c:v>
                </c:pt>
                <c:pt idx="14333">
                  <c:v>47.064985096529789</c:v>
                </c:pt>
                <c:pt idx="14334">
                  <c:v>40.66125579101395</c:v>
                </c:pt>
                <c:pt idx="14335">
                  <c:v>25.851345815529829</c:v>
                </c:pt>
                <c:pt idx="14336">
                  <c:v>30.151187674590503</c:v>
                </c:pt>
                <c:pt idx="14337">
                  <c:v>28.792196639467306</c:v>
                </c:pt>
                <c:pt idx="14338">
                  <c:v>32.125885815634199</c:v>
                </c:pt>
                <c:pt idx="14339">
                  <c:v>27.03786718469712</c:v>
                </c:pt>
                <c:pt idx="14340">
                  <c:v>33.331639124252163</c:v>
                </c:pt>
                <c:pt idx="14341">
                  <c:v>24.872483059674735</c:v>
                </c:pt>
                <c:pt idx="14342">
                  <c:v>57.857311967167178</c:v>
                </c:pt>
                <c:pt idx="14343">
                  <c:v>27.310257000105494</c:v>
                </c:pt>
                <c:pt idx="14344">
                  <c:v>49.882526657858875</c:v>
                </c:pt>
                <c:pt idx="14345">
                  <c:v>30.488259684706161</c:v>
                </c:pt>
                <c:pt idx="14346">
                  <c:v>23.624008019590633</c:v>
                </c:pt>
                <c:pt idx="14347">
                  <c:v>24.990144433355677</c:v>
                </c:pt>
                <c:pt idx="14348">
                  <c:v>34.633937537120801</c:v>
                </c:pt>
                <c:pt idx="14349">
                  <c:v>32.135221725396008</c:v>
                </c:pt>
                <c:pt idx="14350">
                  <c:v>24.939348477972345</c:v>
                </c:pt>
                <c:pt idx="14351">
                  <c:v>22.905981692115322</c:v>
                </c:pt>
                <c:pt idx="14352">
                  <c:v>29.139533260090616</c:v>
                </c:pt>
                <c:pt idx="14353">
                  <c:v>24.629557938623876</c:v>
                </c:pt>
                <c:pt idx="14354">
                  <c:v>39.701518108521128</c:v>
                </c:pt>
                <c:pt idx="14355">
                  <c:v>27.594267724479174</c:v>
                </c:pt>
                <c:pt idx="14356">
                  <c:v>32.804832741295392</c:v>
                </c:pt>
                <c:pt idx="14357">
                  <c:v>60.250638407722242</c:v>
                </c:pt>
                <c:pt idx="14358">
                  <c:v>57.168432163763804</c:v>
                </c:pt>
                <c:pt idx="14359">
                  <c:v>24.165091088258169</c:v>
                </c:pt>
                <c:pt idx="14360">
                  <c:v>31.864512956372323</c:v>
                </c:pt>
                <c:pt idx="14361">
                  <c:v>22.318585624410339</c:v>
                </c:pt>
                <c:pt idx="14362">
                  <c:v>24.86810852149333</c:v>
                </c:pt>
                <c:pt idx="14363">
                  <c:v>24.419231169864098</c:v>
                </c:pt>
                <c:pt idx="14364">
                  <c:v>28.061503747887119</c:v>
                </c:pt>
                <c:pt idx="14365">
                  <c:v>18.898415447270757</c:v>
                </c:pt>
                <c:pt idx="14366">
                  <c:v>28.107059910838366</c:v>
                </c:pt>
                <c:pt idx="14367">
                  <c:v>55.003579185758852</c:v>
                </c:pt>
                <c:pt idx="14368">
                  <c:v>23.37086799168884</c:v>
                </c:pt>
                <c:pt idx="14369">
                  <c:v>37.998243369864404</c:v>
                </c:pt>
                <c:pt idx="14370">
                  <c:v>42.181148350490233</c:v>
                </c:pt>
                <c:pt idx="14371">
                  <c:v>27.805805313181306</c:v>
                </c:pt>
                <c:pt idx="14372">
                  <c:v>30.146792090333491</c:v>
                </c:pt>
                <c:pt idx="14373">
                  <c:v>27.749740004814072</c:v>
                </c:pt>
                <c:pt idx="14374">
                  <c:v>40.671784146666745</c:v>
                </c:pt>
                <c:pt idx="14375">
                  <c:v>27.556129418675354</c:v>
                </c:pt>
                <c:pt idx="14376">
                  <c:v>33.375137457603955</c:v>
                </c:pt>
                <c:pt idx="14377">
                  <c:v>40.232155034719668</c:v>
                </c:pt>
                <c:pt idx="14378">
                  <c:v>25.550181975777921</c:v>
                </c:pt>
                <c:pt idx="14379">
                  <c:v>39.536253862396826</c:v>
                </c:pt>
                <c:pt idx="14380">
                  <c:v>32.515818305616257</c:v>
                </c:pt>
                <c:pt idx="14381">
                  <c:v>30.349213666797695</c:v>
                </c:pt>
                <c:pt idx="14382">
                  <c:v>34.673799037034939</c:v>
                </c:pt>
                <c:pt idx="14383">
                  <c:v>22.859899514269763</c:v>
                </c:pt>
                <c:pt idx="14384">
                  <c:v>34.98662855648837</c:v>
                </c:pt>
                <c:pt idx="14385">
                  <c:v>56.619595743618049</c:v>
                </c:pt>
                <c:pt idx="14386">
                  <c:v>48.772972641603339</c:v>
                </c:pt>
                <c:pt idx="14387">
                  <c:v>37.075892694223434</c:v>
                </c:pt>
                <c:pt idx="14388">
                  <c:v>28.601403590167969</c:v>
                </c:pt>
                <c:pt idx="14389">
                  <c:v>31.825668607998313</c:v>
                </c:pt>
                <c:pt idx="14390">
                  <c:v>20.54529501268404</c:v>
                </c:pt>
                <c:pt idx="14391">
                  <c:v>25.507815701816668</c:v>
                </c:pt>
                <c:pt idx="14392">
                  <c:v>23.439161944189845</c:v>
                </c:pt>
                <c:pt idx="14393">
                  <c:v>28.890710311628553</c:v>
                </c:pt>
                <c:pt idx="14394">
                  <c:v>18.391458434033595</c:v>
                </c:pt>
                <c:pt idx="14395">
                  <c:v>47.691970651251197</c:v>
                </c:pt>
                <c:pt idx="14396">
                  <c:v>39.216177514978838</c:v>
                </c:pt>
                <c:pt idx="14397">
                  <c:v>47.487633340260658</c:v>
                </c:pt>
                <c:pt idx="14398">
                  <c:v>26.163531040266832</c:v>
                </c:pt>
                <c:pt idx="14399">
                  <c:v>30.742155384769198</c:v>
                </c:pt>
                <c:pt idx="14400">
                  <c:v>50.452067318760648</c:v>
                </c:pt>
                <c:pt idx="14401">
                  <c:v>47.316863419051195</c:v>
                </c:pt>
                <c:pt idx="14402">
                  <c:v>53.058094964969982</c:v>
                </c:pt>
                <c:pt idx="14403">
                  <c:v>22.404922197673272</c:v>
                </c:pt>
                <c:pt idx="14404">
                  <c:v>40.600963504162081</c:v>
                </c:pt>
                <c:pt idx="14405">
                  <c:v>33.661386399414113</c:v>
                </c:pt>
                <c:pt idx="14406">
                  <c:v>26.720613449955938</c:v>
                </c:pt>
                <c:pt idx="14407">
                  <c:v>32.907654958448354</c:v>
                </c:pt>
                <c:pt idx="14408">
                  <c:v>38.871980323765619</c:v>
                </c:pt>
                <c:pt idx="14409">
                  <c:v>25.545977466166882</c:v>
                </c:pt>
                <c:pt idx="14410">
                  <c:v>57.769166384654397</c:v>
                </c:pt>
                <c:pt idx="14411">
                  <c:v>34.940578410242651</c:v>
                </c:pt>
                <c:pt idx="14412">
                  <c:v>32.488558857239966</c:v>
                </c:pt>
                <c:pt idx="14413">
                  <c:v>22.853969624167554</c:v>
                </c:pt>
                <c:pt idx="14414">
                  <c:v>27.343289709713407</c:v>
                </c:pt>
                <c:pt idx="14415">
                  <c:v>58.57613083645299</c:v>
                </c:pt>
                <c:pt idx="14416">
                  <c:v>30.886475868332894</c:v>
                </c:pt>
                <c:pt idx="14417">
                  <c:v>39.94103414355078</c:v>
                </c:pt>
                <c:pt idx="14418">
                  <c:v>42.560598184204636</c:v>
                </c:pt>
                <c:pt idx="14419">
                  <c:v>50.400685092607269</c:v>
                </c:pt>
                <c:pt idx="14420">
                  <c:v>29.892046498632624</c:v>
                </c:pt>
                <c:pt idx="14421">
                  <c:v>24.950414145071363</c:v>
                </c:pt>
                <c:pt idx="14422">
                  <c:v>34.621361595380883</c:v>
                </c:pt>
                <c:pt idx="14423">
                  <c:v>22.739326127506441</c:v>
                </c:pt>
                <c:pt idx="14424">
                  <c:v>26.429812587621779</c:v>
                </c:pt>
                <c:pt idx="14425">
                  <c:v>21.901347601834182</c:v>
                </c:pt>
                <c:pt idx="14426">
                  <c:v>35.143793396377369</c:v>
                </c:pt>
                <c:pt idx="14427">
                  <c:v>29.500628458321415</c:v>
                </c:pt>
                <c:pt idx="14428">
                  <c:v>42.858533955610646</c:v>
                </c:pt>
                <c:pt idx="14429">
                  <c:v>27.199761045089527</c:v>
                </c:pt>
                <c:pt idx="14430">
                  <c:v>28.185017977045767</c:v>
                </c:pt>
                <c:pt idx="14431">
                  <c:v>26.682854431647595</c:v>
                </c:pt>
                <c:pt idx="14432">
                  <c:v>24.24861511925484</c:v>
                </c:pt>
                <c:pt idx="14433">
                  <c:v>33.739151468600248</c:v>
                </c:pt>
                <c:pt idx="14434">
                  <c:v>23.468221670816195</c:v>
                </c:pt>
                <c:pt idx="14435">
                  <c:v>24.536700501453474</c:v>
                </c:pt>
                <c:pt idx="14436">
                  <c:v>18.219490779504383</c:v>
                </c:pt>
                <c:pt idx="14437">
                  <c:v>43.976191057796015</c:v>
                </c:pt>
                <c:pt idx="14438">
                  <c:v>31.228445662701972</c:v>
                </c:pt>
                <c:pt idx="14439">
                  <c:v>29.072191119616399</c:v>
                </c:pt>
                <c:pt idx="14440">
                  <c:v>27.006540110459238</c:v>
                </c:pt>
                <c:pt idx="14441">
                  <c:v>29.950468118635719</c:v>
                </c:pt>
                <c:pt idx="14442">
                  <c:v>37.654464300576613</c:v>
                </c:pt>
                <c:pt idx="14443">
                  <c:v>23.421897952441242</c:v>
                </c:pt>
                <c:pt idx="14444">
                  <c:v>44.213273372917776</c:v>
                </c:pt>
                <c:pt idx="14445">
                  <c:v>54.19646881746209</c:v>
                </c:pt>
                <c:pt idx="14446">
                  <c:v>39.522544081461852</c:v>
                </c:pt>
                <c:pt idx="14447">
                  <c:v>37.327824762036101</c:v>
                </c:pt>
                <c:pt idx="14448">
                  <c:v>33.259831759653977</c:v>
                </c:pt>
                <c:pt idx="14449">
                  <c:v>28.307859443612628</c:v>
                </c:pt>
                <c:pt idx="14450">
                  <c:v>43.656921770467115</c:v>
                </c:pt>
                <c:pt idx="14451">
                  <c:v>33.925044082869213</c:v>
                </c:pt>
                <c:pt idx="14452">
                  <c:v>37.532329234564585</c:v>
                </c:pt>
                <c:pt idx="14453">
                  <c:v>24.161347996203215</c:v>
                </c:pt>
                <c:pt idx="14454">
                  <c:v>19.038057605847019</c:v>
                </c:pt>
                <c:pt idx="14455">
                  <c:v>13.332970688902485</c:v>
                </c:pt>
                <c:pt idx="14456">
                  <c:v>34.594959214949803</c:v>
                </c:pt>
                <c:pt idx="14457">
                  <c:v>20.359512135061454</c:v>
                </c:pt>
                <c:pt idx="14458">
                  <c:v>20.416983038999586</c:v>
                </c:pt>
                <c:pt idx="14459">
                  <c:v>18.119985010693295</c:v>
                </c:pt>
                <c:pt idx="14460">
                  <c:v>55.035786827193839</c:v>
                </c:pt>
                <c:pt idx="14461">
                  <c:v>25.525763480769868</c:v>
                </c:pt>
                <c:pt idx="14462">
                  <c:v>46.52754701035488</c:v>
                </c:pt>
                <c:pt idx="14463">
                  <c:v>52.511577573752646</c:v>
                </c:pt>
                <c:pt idx="14464">
                  <c:v>51.861366138689178</c:v>
                </c:pt>
                <c:pt idx="14465">
                  <c:v>23.255220540076145</c:v>
                </c:pt>
                <c:pt idx="14466">
                  <c:v>60.638828946836028</c:v>
                </c:pt>
                <c:pt idx="14467">
                  <c:v>42.79390398668022</c:v>
                </c:pt>
                <c:pt idx="14468">
                  <c:v>44.028755070843658</c:v>
                </c:pt>
                <c:pt idx="14469">
                  <c:v>28.054437116297368</c:v>
                </c:pt>
                <c:pt idx="14470">
                  <c:v>29.330094949507505</c:v>
                </c:pt>
                <c:pt idx="14471">
                  <c:v>42.254769012040597</c:v>
                </c:pt>
                <c:pt idx="14472">
                  <c:v>46.651255002671348</c:v>
                </c:pt>
                <c:pt idx="14473">
                  <c:v>49.755605394071964</c:v>
                </c:pt>
                <c:pt idx="14474">
                  <c:v>30.960825746680015</c:v>
                </c:pt>
                <c:pt idx="14475">
                  <c:v>27.405163253495729</c:v>
                </c:pt>
                <c:pt idx="14476">
                  <c:v>19.947007477043289</c:v>
                </c:pt>
                <c:pt idx="14477">
                  <c:v>32.582770017802538</c:v>
                </c:pt>
                <c:pt idx="14478">
                  <c:v>21.512078710192892</c:v>
                </c:pt>
                <c:pt idx="14479">
                  <c:v>26.423953044080054</c:v>
                </c:pt>
                <c:pt idx="14480">
                  <c:v>59.724475943221222</c:v>
                </c:pt>
                <c:pt idx="14481">
                  <c:v>27.440249651678077</c:v>
                </c:pt>
                <c:pt idx="14482">
                  <c:v>30.885979410553748</c:v>
                </c:pt>
                <c:pt idx="14483">
                  <c:v>43.355436484241686</c:v>
                </c:pt>
                <c:pt idx="14484">
                  <c:v>27.197795404505296</c:v>
                </c:pt>
                <c:pt idx="14485">
                  <c:v>25.032347516131431</c:v>
                </c:pt>
                <c:pt idx="14486">
                  <c:v>37.114463892669797</c:v>
                </c:pt>
                <c:pt idx="14487">
                  <c:v>28.190995848569649</c:v>
                </c:pt>
                <c:pt idx="14488">
                  <c:v>28.9018302208449</c:v>
                </c:pt>
                <c:pt idx="14489">
                  <c:v>35.957976174084422</c:v>
                </c:pt>
                <c:pt idx="14490">
                  <c:v>43.107296761775537</c:v>
                </c:pt>
                <c:pt idx="14491">
                  <c:v>23.193830685950026</c:v>
                </c:pt>
                <c:pt idx="14492">
                  <c:v>22.047314455881349</c:v>
                </c:pt>
                <c:pt idx="14493">
                  <c:v>24.559145260209299</c:v>
                </c:pt>
                <c:pt idx="14494">
                  <c:v>33.145095373121165</c:v>
                </c:pt>
                <c:pt idx="14495">
                  <c:v>49.338969136657738</c:v>
                </c:pt>
                <c:pt idx="14496">
                  <c:v>39.304566053947511</c:v>
                </c:pt>
                <c:pt idx="14497">
                  <c:v>27.061093563921645</c:v>
                </c:pt>
                <c:pt idx="14498">
                  <c:v>30.900534404131818</c:v>
                </c:pt>
                <c:pt idx="14499">
                  <c:v>51.810280195572666</c:v>
                </c:pt>
                <c:pt idx="14500">
                  <c:v>29.863330880730331</c:v>
                </c:pt>
                <c:pt idx="14501">
                  <c:v>23.057309700027069</c:v>
                </c:pt>
                <c:pt idx="14502">
                  <c:v>33.85708541359616</c:v>
                </c:pt>
                <c:pt idx="14503">
                  <c:v>34.005105083716472</c:v>
                </c:pt>
                <c:pt idx="14504">
                  <c:v>28.468557422256005</c:v>
                </c:pt>
                <c:pt idx="14505">
                  <c:v>21.638063126712069</c:v>
                </c:pt>
                <c:pt idx="14506">
                  <c:v>31.549683098286181</c:v>
                </c:pt>
                <c:pt idx="14507">
                  <c:v>26.440188329644272</c:v>
                </c:pt>
                <c:pt idx="14508">
                  <c:v>27.979802188026529</c:v>
                </c:pt>
                <c:pt idx="14509">
                  <c:v>33.437915743658493</c:v>
                </c:pt>
                <c:pt idx="14510">
                  <c:v>23.950014871793634</c:v>
                </c:pt>
                <c:pt idx="14511">
                  <c:v>53.954105147112401</c:v>
                </c:pt>
                <c:pt idx="14512">
                  <c:v>29.48795628239936</c:v>
                </c:pt>
                <c:pt idx="14513">
                  <c:v>32.198651509503989</c:v>
                </c:pt>
                <c:pt idx="14514">
                  <c:v>26.014959090773672</c:v>
                </c:pt>
                <c:pt idx="14515">
                  <c:v>32.493181535112072</c:v>
                </c:pt>
                <c:pt idx="14516">
                  <c:v>23.342729217251268</c:v>
                </c:pt>
                <c:pt idx="14517">
                  <c:v>23.041724369168364</c:v>
                </c:pt>
                <c:pt idx="14518">
                  <c:v>31.368272397687026</c:v>
                </c:pt>
                <c:pt idx="14519">
                  <c:v>29.950990789047271</c:v>
                </c:pt>
                <c:pt idx="14520">
                  <c:v>45.983605066220065</c:v>
                </c:pt>
                <c:pt idx="14521">
                  <c:v>24.124174256487088</c:v>
                </c:pt>
                <c:pt idx="14522">
                  <c:v>30.436570771863455</c:v>
                </c:pt>
                <c:pt idx="14523">
                  <c:v>47.972369806211063</c:v>
                </c:pt>
                <c:pt idx="14524">
                  <c:v>25.666714967243777</c:v>
                </c:pt>
                <c:pt idx="14525">
                  <c:v>30.44237586862014</c:v>
                </c:pt>
                <c:pt idx="14526">
                  <c:v>34.875838555713557</c:v>
                </c:pt>
                <c:pt idx="14527">
                  <c:v>19.347684131938298</c:v>
                </c:pt>
                <c:pt idx="14528">
                  <c:v>18.081918680580205</c:v>
                </c:pt>
                <c:pt idx="14529">
                  <c:v>34.227968302804953</c:v>
                </c:pt>
                <c:pt idx="14530">
                  <c:v>44.690260772988594</c:v>
                </c:pt>
                <c:pt idx="14531">
                  <c:v>45.762395527568493</c:v>
                </c:pt>
                <c:pt idx="14532">
                  <c:v>41.910519328814864</c:v>
                </c:pt>
                <c:pt idx="14533">
                  <c:v>36.649756717072229</c:v>
                </c:pt>
                <c:pt idx="14534">
                  <c:v>44.297472874641024</c:v>
                </c:pt>
                <c:pt idx="14535">
                  <c:v>26.20411134574136</c:v>
                </c:pt>
                <c:pt idx="14536">
                  <c:v>39.56105652844785</c:v>
                </c:pt>
                <c:pt idx="14537">
                  <c:v>35.156010471875028</c:v>
                </c:pt>
                <c:pt idx="14538">
                  <c:v>24.458584090447879</c:v>
                </c:pt>
                <c:pt idx="14539">
                  <c:v>32.24523365203224</c:v>
                </c:pt>
                <c:pt idx="14540">
                  <c:v>35.366560021040833</c:v>
                </c:pt>
                <c:pt idx="14541">
                  <c:v>58.762491856928357</c:v>
                </c:pt>
                <c:pt idx="14542">
                  <c:v>23.315561958600313</c:v>
                </c:pt>
                <c:pt idx="14543">
                  <c:v>26.930651863822121</c:v>
                </c:pt>
                <c:pt idx="14544">
                  <c:v>35.052656491541462</c:v>
                </c:pt>
                <c:pt idx="14545">
                  <c:v>48.186190425836003</c:v>
                </c:pt>
                <c:pt idx="14546">
                  <c:v>23.690679999274373</c:v>
                </c:pt>
                <c:pt idx="14547">
                  <c:v>33.095575823474313</c:v>
                </c:pt>
                <c:pt idx="14548">
                  <c:v>32.534271241167687</c:v>
                </c:pt>
                <c:pt idx="14549">
                  <c:v>33.437236563970345</c:v>
                </c:pt>
                <c:pt idx="14550">
                  <c:v>22.06127141455012</c:v>
                </c:pt>
                <c:pt idx="14551">
                  <c:v>22.906306470915737</c:v>
                </c:pt>
                <c:pt idx="14552">
                  <c:v>28.575436131801542</c:v>
                </c:pt>
                <c:pt idx="14553">
                  <c:v>26.572059368510281</c:v>
                </c:pt>
                <c:pt idx="14554">
                  <c:v>26.29985839353381</c:v>
                </c:pt>
                <c:pt idx="14555">
                  <c:v>26.215814932959923</c:v>
                </c:pt>
                <c:pt idx="14556">
                  <c:v>27.848911760116287</c:v>
                </c:pt>
                <c:pt idx="14557">
                  <c:v>21.159372660466786</c:v>
                </c:pt>
                <c:pt idx="14558">
                  <c:v>21.5313826563475</c:v>
                </c:pt>
                <c:pt idx="14559">
                  <c:v>37.247112548346607</c:v>
                </c:pt>
                <c:pt idx="14560">
                  <c:v>23.002124741217607</c:v>
                </c:pt>
                <c:pt idx="14561">
                  <c:v>30.685895070623442</c:v>
                </c:pt>
                <c:pt idx="14562">
                  <c:v>46.747972571590935</c:v>
                </c:pt>
                <c:pt idx="14563">
                  <c:v>22.692879494211557</c:v>
                </c:pt>
                <c:pt idx="14564">
                  <c:v>20.63324117897983</c:v>
                </c:pt>
                <c:pt idx="14565">
                  <c:v>27.292307169224642</c:v>
                </c:pt>
                <c:pt idx="14566">
                  <c:v>24.137094583990358</c:v>
                </c:pt>
                <c:pt idx="14567">
                  <c:v>57.229780539721254</c:v>
                </c:pt>
                <c:pt idx="14568">
                  <c:v>32.875722310512771</c:v>
                </c:pt>
                <c:pt idx="14569">
                  <c:v>27.591673699515361</c:v>
                </c:pt>
                <c:pt idx="14570">
                  <c:v>28.448035018221933</c:v>
                </c:pt>
                <c:pt idx="14571">
                  <c:v>24.599171457310565</c:v>
                </c:pt>
                <c:pt idx="14572">
                  <c:v>40.467687953545919</c:v>
                </c:pt>
                <c:pt idx="14573">
                  <c:v>25.326320130816502</c:v>
                </c:pt>
                <c:pt idx="14574">
                  <c:v>27.26839613055655</c:v>
                </c:pt>
                <c:pt idx="14575">
                  <c:v>32.614623613218612</c:v>
                </c:pt>
                <c:pt idx="14576">
                  <c:v>25.966064732589519</c:v>
                </c:pt>
                <c:pt idx="14577">
                  <c:v>16.438471831378624</c:v>
                </c:pt>
                <c:pt idx="14578">
                  <c:v>20.829238407714765</c:v>
                </c:pt>
                <c:pt idx="14579">
                  <c:v>46.334044949122898</c:v>
                </c:pt>
                <c:pt idx="14580">
                  <c:v>28.119349778300418</c:v>
                </c:pt>
                <c:pt idx="14581">
                  <c:v>27.322134667500677</c:v>
                </c:pt>
                <c:pt idx="14582">
                  <c:v>40.666681421977941</c:v>
                </c:pt>
                <c:pt idx="14583">
                  <c:v>48.764053599341167</c:v>
                </c:pt>
                <c:pt idx="14584">
                  <c:v>26.073179808084337</c:v>
                </c:pt>
                <c:pt idx="14585">
                  <c:v>29.357401063159884</c:v>
                </c:pt>
                <c:pt idx="14586">
                  <c:v>35.383007457657634</c:v>
                </c:pt>
                <c:pt idx="14587">
                  <c:v>60.462153543349672</c:v>
                </c:pt>
                <c:pt idx="14588">
                  <c:v>28.514533815123368</c:v>
                </c:pt>
                <c:pt idx="14589">
                  <c:v>35.029142301904294</c:v>
                </c:pt>
                <c:pt idx="14590">
                  <c:v>18.423736569563847</c:v>
                </c:pt>
                <c:pt idx="14591">
                  <c:v>16.530831510022505</c:v>
                </c:pt>
                <c:pt idx="14592">
                  <c:v>18.716688494219945</c:v>
                </c:pt>
                <c:pt idx="14593">
                  <c:v>28.287022978008636</c:v>
                </c:pt>
                <c:pt idx="14594">
                  <c:v>23.260919147341014</c:v>
                </c:pt>
                <c:pt idx="14595">
                  <c:v>27.750530504430163</c:v>
                </c:pt>
                <c:pt idx="14596">
                  <c:v>32.154067395498473</c:v>
                </c:pt>
                <c:pt idx="14597">
                  <c:v>32.61786635492723</c:v>
                </c:pt>
                <c:pt idx="14598">
                  <c:v>23.626901453411062</c:v>
                </c:pt>
                <c:pt idx="14599">
                  <c:v>43.030777295610591</c:v>
                </c:pt>
                <c:pt idx="14600">
                  <c:v>24.389662866899055</c:v>
                </c:pt>
                <c:pt idx="14601">
                  <c:v>25.478473554233872</c:v>
                </c:pt>
                <c:pt idx="14602">
                  <c:v>31.115038127074648</c:v>
                </c:pt>
                <c:pt idx="14603">
                  <c:v>28.088860730937874</c:v>
                </c:pt>
                <c:pt idx="14604">
                  <c:v>28.626925920888716</c:v>
                </c:pt>
                <c:pt idx="14605">
                  <c:v>42.857976415117115</c:v>
                </c:pt>
                <c:pt idx="14606">
                  <c:v>33.11541986687795</c:v>
                </c:pt>
                <c:pt idx="14607">
                  <c:v>26.0281205091018</c:v>
                </c:pt>
                <c:pt idx="14608">
                  <c:v>44.462310502686016</c:v>
                </c:pt>
                <c:pt idx="14609">
                  <c:v>24.427218534019971</c:v>
                </c:pt>
                <c:pt idx="14610">
                  <c:v>36.841504177910423</c:v>
                </c:pt>
                <c:pt idx="14611">
                  <c:v>24.218889584287975</c:v>
                </c:pt>
                <c:pt idx="14612">
                  <c:v>28.801566321240781</c:v>
                </c:pt>
                <c:pt idx="14613">
                  <c:v>49.928354538116778</c:v>
                </c:pt>
                <c:pt idx="14614">
                  <c:v>34.31795432423371</c:v>
                </c:pt>
                <c:pt idx="14615">
                  <c:v>41.50003060704644</c:v>
                </c:pt>
                <c:pt idx="14616">
                  <c:v>29.197310816358687</c:v>
                </c:pt>
                <c:pt idx="14617">
                  <c:v>28.375154156954878</c:v>
                </c:pt>
                <c:pt idx="14618">
                  <c:v>31.524132091666647</c:v>
                </c:pt>
                <c:pt idx="14619">
                  <c:v>31.068866822622482</c:v>
                </c:pt>
                <c:pt idx="14620">
                  <c:v>46.296839171761178</c:v>
                </c:pt>
                <c:pt idx="14621">
                  <c:v>17.910540302940156</c:v>
                </c:pt>
                <c:pt idx="14622">
                  <c:v>26.255457386175525</c:v>
                </c:pt>
                <c:pt idx="14623">
                  <c:v>40.033921966855893</c:v>
                </c:pt>
                <c:pt idx="14624">
                  <c:v>31.638202726876294</c:v>
                </c:pt>
                <c:pt idx="14625">
                  <c:v>23.693263881695099</c:v>
                </c:pt>
                <c:pt idx="14626">
                  <c:v>25.474592826258451</c:v>
                </c:pt>
                <c:pt idx="14627">
                  <c:v>26.27573671184118</c:v>
                </c:pt>
                <c:pt idx="14628">
                  <c:v>32.898483713960161</c:v>
                </c:pt>
                <c:pt idx="14629">
                  <c:v>59.332511853394998</c:v>
                </c:pt>
                <c:pt idx="14630">
                  <c:v>21.717180963425136</c:v>
                </c:pt>
                <c:pt idx="14631">
                  <c:v>26.367834390363264</c:v>
                </c:pt>
                <c:pt idx="14632">
                  <c:v>29.330980120332676</c:v>
                </c:pt>
                <c:pt idx="14633">
                  <c:v>36.914969485552</c:v>
                </c:pt>
                <c:pt idx="14634">
                  <c:v>33.21954244564656</c:v>
                </c:pt>
                <c:pt idx="14635">
                  <c:v>25.39365008166973</c:v>
                </c:pt>
                <c:pt idx="14636">
                  <c:v>24.155030213339113</c:v>
                </c:pt>
                <c:pt idx="14637">
                  <c:v>35.976348359782378</c:v>
                </c:pt>
                <c:pt idx="14638">
                  <c:v>29.287713768860314</c:v>
                </c:pt>
                <c:pt idx="14639">
                  <c:v>28.452118959979465</c:v>
                </c:pt>
                <c:pt idx="14640">
                  <c:v>29.425499789421476</c:v>
                </c:pt>
                <c:pt idx="14641">
                  <c:v>24.305097192052791</c:v>
                </c:pt>
                <c:pt idx="14642">
                  <c:v>21.739429057052678</c:v>
                </c:pt>
                <c:pt idx="14643">
                  <c:v>39.442755142298815</c:v>
                </c:pt>
                <c:pt idx="14644">
                  <c:v>27.793386307650572</c:v>
                </c:pt>
                <c:pt idx="14645">
                  <c:v>45.649533061066144</c:v>
                </c:pt>
                <c:pt idx="14646">
                  <c:v>32.492203285968039</c:v>
                </c:pt>
                <c:pt idx="14647">
                  <c:v>31.501213839349209</c:v>
                </c:pt>
                <c:pt idx="14648">
                  <c:v>41.106355013253882</c:v>
                </c:pt>
                <c:pt idx="14649">
                  <c:v>24.298722542133699</c:v>
                </c:pt>
                <c:pt idx="14650">
                  <c:v>38.379331411522038</c:v>
                </c:pt>
                <c:pt idx="14651">
                  <c:v>31.091830086897275</c:v>
                </c:pt>
                <c:pt idx="14652">
                  <c:v>25.821618186746583</c:v>
                </c:pt>
                <c:pt idx="14653">
                  <c:v>21.376061868964726</c:v>
                </c:pt>
                <c:pt idx="14654">
                  <c:v>22.833317603135633</c:v>
                </c:pt>
                <c:pt idx="14655">
                  <c:v>26.877226457793679</c:v>
                </c:pt>
                <c:pt idx="14656">
                  <c:v>20.302622518919559</c:v>
                </c:pt>
                <c:pt idx="14657">
                  <c:v>27.584652201748824</c:v>
                </c:pt>
                <c:pt idx="14658">
                  <c:v>19.888235596341818</c:v>
                </c:pt>
                <c:pt idx="14659">
                  <c:v>24.571255753258392</c:v>
                </c:pt>
                <c:pt idx="14660">
                  <c:v>22.026952340758783</c:v>
                </c:pt>
                <c:pt idx="14661">
                  <c:v>24.634145768128505</c:v>
                </c:pt>
                <c:pt idx="14662">
                  <c:v>23.667866301175344</c:v>
                </c:pt>
                <c:pt idx="14663">
                  <c:v>37.971016799628643</c:v>
                </c:pt>
                <c:pt idx="14664">
                  <c:v>46.257035932947971</c:v>
                </c:pt>
                <c:pt idx="14665">
                  <c:v>49.368451312351681</c:v>
                </c:pt>
                <c:pt idx="14666">
                  <c:v>38.484531426431019</c:v>
                </c:pt>
                <c:pt idx="14667">
                  <c:v>22.979630169618147</c:v>
                </c:pt>
                <c:pt idx="14668">
                  <c:v>41.782117176425118</c:v>
                </c:pt>
                <c:pt idx="14669">
                  <c:v>57.898509883220129</c:v>
                </c:pt>
                <c:pt idx="14670">
                  <c:v>32.788808151584895</c:v>
                </c:pt>
                <c:pt idx="14671">
                  <c:v>52.509497518473324</c:v>
                </c:pt>
                <c:pt idx="14672">
                  <c:v>31.621479688138884</c:v>
                </c:pt>
                <c:pt idx="14673">
                  <c:v>45.468529058621748</c:v>
                </c:pt>
                <c:pt idx="14674">
                  <c:v>26.047879028176794</c:v>
                </c:pt>
                <c:pt idx="14675">
                  <c:v>24.934597416892515</c:v>
                </c:pt>
                <c:pt idx="14676">
                  <c:v>49.194446915735611</c:v>
                </c:pt>
                <c:pt idx="14677">
                  <c:v>28.405588791004661</c:v>
                </c:pt>
                <c:pt idx="14678">
                  <c:v>28.104674833095725</c:v>
                </c:pt>
                <c:pt idx="14679">
                  <c:v>41.505965328576991</c:v>
                </c:pt>
                <c:pt idx="14680">
                  <c:v>27.074338192811492</c:v>
                </c:pt>
                <c:pt idx="14681">
                  <c:v>25.652430904010835</c:v>
                </c:pt>
                <c:pt idx="14682">
                  <c:v>24.934774439131626</c:v>
                </c:pt>
                <c:pt idx="14683">
                  <c:v>44.850797948747314</c:v>
                </c:pt>
                <c:pt idx="14684">
                  <c:v>20.003355978208987</c:v>
                </c:pt>
                <c:pt idx="14685">
                  <c:v>34.430317198712267</c:v>
                </c:pt>
                <c:pt idx="14686">
                  <c:v>25.745846061025908</c:v>
                </c:pt>
                <c:pt idx="14687">
                  <c:v>21.431939239485484</c:v>
                </c:pt>
                <c:pt idx="14688">
                  <c:v>25.036049715112824</c:v>
                </c:pt>
                <c:pt idx="14689">
                  <c:v>22.188980109409137</c:v>
                </c:pt>
                <c:pt idx="14690">
                  <c:v>52.395547518097381</c:v>
                </c:pt>
                <c:pt idx="14691">
                  <c:v>28.215396098121374</c:v>
                </c:pt>
                <c:pt idx="14692">
                  <c:v>30.831709606082381</c:v>
                </c:pt>
                <c:pt idx="14693">
                  <c:v>30.008240062217297</c:v>
                </c:pt>
                <c:pt idx="14694">
                  <c:v>21.507039462780227</c:v>
                </c:pt>
                <c:pt idx="14695">
                  <c:v>25.267777920952057</c:v>
                </c:pt>
                <c:pt idx="14696">
                  <c:v>43.340038451822622</c:v>
                </c:pt>
                <c:pt idx="14697">
                  <c:v>25.552611749605283</c:v>
                </c:pt>
                <c:pt idx="14698">
                  <c:v>29.090398751656988</c:v>
                </c:pt>
                <c:pt idx="14699">
                  <c:v>30.799508571474018</c:v>
                </c:pt>
                <c:pt idx="14700">
                  <c:v>21.074582897417045</c:v>
                </c:pt>
                <c:pt idx="14701">
                  <c:v>46.7970756236505</c:v>
                </c:pt>
                <c:pt idx="14702">
                  <c:v>25.146393159706822</c:v>
                </c:pt>
                <c:pt idx="14703">
                  <c:v>22.962478341124509</c:v>
                </c:pt>
                <c:pt idx="14704">
                  <c:v>29.592364937228211</c:v>
                </c:pt>
                <c:pt idx="14705">
                  <c:v>30.001535331589576</c:v>
                </c:pt>
                <c:pt idx="14706">
                  <c:v>41.097969674278794</c:v>
                </c:pt>
                <c:pt idx="14707">
                  <c:v>53.067856310016879</c:v>
                </c:pt>
                <c:pt idx="14708">
                  <c:v>24.604337819912882</c:v>
                </c:pt>
                <c:pt idx="14709">
                  <c:v>25.695169328414071</c:v>
                </c:pt>
                <c:pt idx="14710">
                  <c:v>26.34598622743416</c:v>
                </c:pt>
                <c:pt idx="14711">
                  <c:v>17.203959282045659</c:v>
                </c:pt>
                <c:pt idx="14712">
                  <c:v>37.441620689163642</c:v>
                </c:pt>
                <c:pt idx="14713">
                  <c:v>55.158126886771555</c:v>
                </c:pt>
                <c:pt idx="14714">
                  <c:v>29.215519117926437</c:v>
                </c:pt>
                <c:pt idx="14715">
                  <c:v>36.412081741240407</c:v>
                </c:pt>
                <c:pt idx="14716">
                  <c:v>46.291665618855646</c:v>
                </c:pt>
                <c:pt idx="14717">
                  <c:v>26.67597447800906</c:v>
                </c:pt>
                <c:pt idx="14718">
                  <c:v>59.687536844707431</c:v>
                </c:pt>
                <c:pt idx="14719">
                  <c:v>28.590162879250244</c:v>
                </c:pt>
                <c:pt idx="14720">
                  <c:v>55.312499240238253</c:v>
                </c:pt>
                <c:pt idx="14721">
                  <c:v>20.125676127252799</c:v>
                </c:pt>
                <c:pt idx="14722">
                  <c:v>38.143040348100286</c:v>
                </c:pt>
                <c:pt idx="14723">
                  <c:v>28.604366625522871</c:v>
                </c:pt>
                <c:pt idx="14724">
                  <c:v>32.630859911303119</c:v>
                </c:pt>
                <c:pt idx="14725">
                  <c:v>24.648192236526079</c:v>
                </c:pt>
                <c:pt idx="14726">
                  <c:v>51.520508020602065</c:v>
                </c:pt>
                <c:pt idx="14727">
                  <c:v>36.32611851368307</c:v>
                </c:pt>
                <c:pt idx="14728">
                  <c:v>27.140794067632264</c:v>
                </c:pt>
                <c:pt idx="14729">
                  <c:v>35.819079181279726</c:v>
                </c:pt>
                <c:pt idx="14730">
                  <c:v>29.695523577662843</c:v>
                </c:pt>
                <c:pt idx="14731">
                  <c:v>26.668337589849493</c:v>
                </c:pt>
                <c:pt idx="14732">
                  <c:v>17.047617300501518</c:v>
                </c:pt>
                <c:pt idx="14733">
                  <c:v>30.126772418297566</c:v>
                </c:pt>
                <c:pt idx="14734">
                  <c:v>24.571259725092013</c:v>
                </c:pt>
                <c:pt idx="14735">
                  <c:v>46.53585605062041</c:v>
                </c:pt>
                <c:pt idx="14736">
                  <c:v>23.347130023073309</c:v>
                </c:pt>
                <c:pt idx="14737">
                  <c:v>35.745238203926647</c:v>
                </c:pt>
                <c:pt idx="14738">
                  <c:v>53.964857315106102</c:v>
                </c:pt>
                <c:pt idx="14739">
                  <c:v>62.699728765507643</c:v>
                </c:pt>
                <c:pt idx="14740">
                  <c:v>29.229897537291283</c:v>
                </c:pt>
                <c:pt idx="14741">
                  <c:v>29.259093499422349</c:v>
                </c:pt>
                <c:pt idx="14742">
                  <c:v>22.218086876379253</c:v>
                </c:pt>
                <c:pt idx="14743">
                  <c:v>17.677934799079321</c:v>
                </c:pt>
                <c:pt idx="14744">
                  <c:v>24.0102623174607</c:v>
                </c:pt>
                <c:pt idx="14745">
                  <c:v>47.976867080245839</c:v>
                </c:pt>
                <c:pt idx="14746">
                  <c:v>28.693812769435748</c:v>
                </c:pt>
                <c:pt idx="14747">
                  <c:v>33.728540808065638</c:v>
                </c:pt>
                <c:pt idx="14748">
                  <c:v>31.060933006447293</c:v>
                </c:pt>
                <c:pt idx="14749">
                  <c:v>32.510080756358519</c:v>
                </c:pt>
                <c:pt idx="14750">
                  <c:v>47.001220789608467</c:v>
                </c:pt>
                <c:pt idx="14751">
                  <c:v>22.08251517659702</c:v>
                </c:pt>
                <c:pt idx="14752">
                  <c:v>45.039088639165833</c:v>
                </c:pt>
                <c:pt idx="14753">
                  <c:v>27.193513246775005</c:v>
                </c:pt>
                <c:pt idx="14754">
                  <c:v>38.293366179683062</c:v>
                </c:pt>
                <c:pt idx="14755">
                  <c:v>55.865026107885612</c:v>
                </c:pt>
                <c:pt idx="14756">
                  <c:v>35.34658490748587</c:v>
                </c:pt>
                <c:pt idx="14757">
                  <c:v>46.21362401200102</c:v>
                </c:pt>
                <c:pt idx="14758">
                  <c:v>24.744964775401353</c:v>
                </c:pt>
                <c:pt idx="14759">
                  <c:v>23.867910948306253</c:v>
                </c:pt>
                <c:pt idx="14760">
                  <c:v>24.29708342161976</c:v>
                </c:pt>
                <c:pt idx="14761">
                  <c:v>40.410623988465929</c:v>
                </c:pt>
                <c:pt idx="14762">
                  <c:v>20.605916437964822</c:v>
                </c:pt>
                <c:pt idx="14763">
                  <c:v>30.401764561009397</c:v>
                </c:pt>
                <c:pt idx="14764">
                  <c:v>32.71465925186223</c:v>
                </c:pt>
                <c:pt idx="14765">
                  <c:v>29.66858118736236</c:v>
                </c:pt>
                <c:pt idx="14766">
                  <c:v>38.326992744163562</c:v>
                </c:pt>
                <c:pt idx="14767">
                  <c:v>19.481963562735494</c:v>
                </c:pt>
                <c:pt idx="14768">
                  <c:v>48.572174439417473</c:v>
                </c:pt>
                <c:pt idx="14769">
                  <c:v>32.283519407889329</c:v>
                </c:pt>
                <c:pt idx="14770">
                  <c:v>34.967887017410185</c:v>
                </c:pt>
                <c:pt idx="14771">
                  <c:v>25.196085332575418</c:v>
                </c:pt>
                <c:pt idx="14772">
                  <c:v>31.030677006709048</c:v>
                </c:pt>
                <c:pt idx="14773">
                  <c:v>44.067197745764673</c:v>
                </c:pt>
                <c:pt idx="14774">
                  <c:v>24.475315889939786</c:v>
                </c:pt>
                <c:pt idx="14775">
                  <c:v>54.557433164628705</c:v>
                </c:pt>
                <c:pt idx="14776">
                  <c:v>47.13503767891784</c:v>
                </c:pt>
                <c:pt idx="14777">
                  <c:v>47.839522437834994</c:v>
                </c:pt>
                <c:pt idx="14778">
                  <c:v>22.602319602235639</c:v>
                </c:pt>
                <c:pt idx="14779">
                  <c:v>55.804581605657589</c:v>
                </c:pt>
                <c:pt idx="14780">
                  <c:v>31.28813172419391</c:v>
                </c:pt>
                <c:pt idx="14781">
                  <c:v>42.798390924969709</c:v>
                </c:pt>
                <c:pt idx="14782">
                  <c:v>38.578468970398987</c:v>
                </c:pt>
                <c:pt idx="14783">
                  <c:v>26.780923071391001</c:v>
                </c:pt>
                <c:pt idx="14784">
                  <c:v>50.141869693826415</c:v>
                </c:pt>
                <c:pt idx="14785">
                  <c:v>53.744354957758958</c:v>
                </c:pt>
                <c:pt idx="14786">
                  <c:v>20.857835005011747</c:v>
                </c:pt>
                <c:pt idx="14787">
                  <c:v>25.940489867372847</c:v>
                </c:pt>
                <c:pt idx="14788">
                  <c:v>26.633725011225412</c:v>
                </c:pt>
                <c:pt idx="14789">
                  <c:v>54.075614490353935</c:v>
                </c:pt>
                <c:pt idx="14790">
                  <c:v>34.961855130175522</c:v>
                </c:pt>
                <c:pt idx="14791">
                  <c:v>34.588630374444449</c:v>
                </c:pt>
                <c:pt idx="14792">
                  <c:v>53.509093865511694</c:v>
                </c:pt>
                <c:pt idx="14793">
                  <c:v>39.602854651929917</c:v>
                </c:pt>
                <c:pt idx="14794">
                  <c:v>23.78701986270482</c:v>
                </c:pt>
                <c:pt idx="14795">
                  <c:v>22.945425432085248</c:v>
                </c:pt>
                <c:pt idx="14796">
                  <c:v>42.382673594753406</c:v>
                </c:pt>
                <c:pt idx="14797">
                  <c:v>22.617533779014266</c:v>
                </c:pt>
                <c:pt idx="14798">
                  <c:v>28.496462142795359</c:v>
                </c:pt>
                <c:pt idx="14799">
                  <c:v>30.446369645021377</c:v>
                </c:pt>
                <c:pt idx="14800">
                  <c:v>52.970073584047199</c:v>
                </c:pt>
                <c:pt idx="14801">
                  <c:v>24.423849385482811</c:v>
                </c:pt>
                <c:pt idx="14802">
                  <c:v>46.796214249989916</c:v>
                </c:pt>
                <c:pt idx="14803">
                  <c:v>62.167110901850343</c:v>
                </c:pt>
                <c:pt idx="14804">
                  <c:v>24.891355120325652</c:v>
                </c:pt>
                <c:pt idx="14805">
                  <c:v>55.161675050288963</c:v>
                </c:pt>
                <c:pt idx="14806">
                  <c:v>22.479036780534642</c:v>
                </c:pt>
                <c:pt idx="14807">
                  <c:v>22.933215215124818</c:v>
                </c:pt>
                <c:pt idx="14808">
                  <c:v>43.362922834358329</c:v>
                </c:pt>
                <c:pt idx="14809">
                  <c:v>24.273328976687171</c:v>
                </c:pt>
                <c:pt idx="14810">
                  <c:v>40.708995519064885</c:v>
                </c:pt>
                <c:pt idx="14811">
                  <c:v>35.084570484553076</c:v>
                </c:pt>
                <c:pt idx="14812">
                  <c:v>50.802351213459289</c:v>
                </c:pt>
                <c:pt idx="14813">
                  <c:v>16.229911039050833</c:v>
                </c:pt>
                <c:pt idx="14814">
                  <c:v>43.239645789857853</c:v>
                </c:pt>
                <c:pt idx="14815">
                  <c:v>26.688839101884433</c:v>
                </c:pt>
                <c:pt idx="14816">
                  <c:v>25.84542523690871</c:v>
                </c:pt>
                <c:pt idx="14817">
                  <c:v>53.11526530673131</c:v>
                </c:pt>
                <c:pt idx="14818">
                  <c:v>22.271378549944</c:v>
                </c:pt>
                <c:pt idx="14819">
                  <c:v>31.093523983624355</c:v>
                </c:pt>
                <c:pt idx="14820">
                  <c:v>34.67660825035982</c:v>
                </c:pt>
                <c:pt idx="14821">
                  <c:v>16.562735087289841</c:v>
                </c:pt>
                <c:pt idx="14822">
                  <c:v>26.450476504238871</c:v>
                </c:pt>
                <c:pt idx="14823">
                  <c:v>26.450034518410469</c:v>
                </c:pt>
                <c:pt idx="14824">
                  <c:v>33.201818678995181</c:v>
                </c:pt>
                <c:pt idx="14825">
                  <c:v>18.298136320072494</c:v>
                </c:pt>
                <c:pt idx="14826">
                  <c:v>27.115984540644355</c:v>
                </c:pt>
                <c:pt idx="14827">
                  <c:v>27.590591487958292</c:v>
                </c:pt>
                <c:pt idx="14828">
                  <c:v>40.457976687084368</c:v>
                </c:pt>
                <c:pt idx="14829">
                  <c:v>41.080874249513528</c:v>
                </c:pt>
                <c:pt idx="14830">
                  <c:v>42.745008584712096</c:v>
                </c:pt>
                <c:pt idx="14831">
                  <c:v>38.910442618062895</c:v>
                </c:pt>
                <c:pt idx="14832">
                  <c:v>24.521546089047259</c:v>
                </c:pt>
                <c:pt idx="14833">
                  <c:v>41.63842855152398</c:v>
                </c:pt>
                <c:pt idx="14834">
                  <c:v>45.491088838471043</c:v>
                </c:pt>
                <c:pt idx="14835">
                  <c:v>23.73360124808633</c:v>
                </c:pt>
                <c:pt idx="14836">
                  <c:v>25.299675301688175</c:v>
                </c:pt>
                <c:pt idx="14837">
                  <c:v>39.069260121714002</c:v>
                </c:pt>
                <c:pt idx="14838">
                  <c:v>23.238294783054357</c:v>
                </c:pt>
                <c:pt idx="14839">
                  <c:v>25.39958971974346</c:v>
                </c:pt>
                <c:pt idx="14840">
                  <c:v>24.357123102982747</c:v>
                </c:pt>
                <c:pt idx="14841">
                  <c:v>25.66023300332904</c:v>
                </c:pt>
                <c:pt idx="14842">
                  <c:v>31.037554446178266</c:v>
                </c:pt>
                <c:pt idx="14843">
                  <c:v>30.476911027402029</c:v>
                </c:pt>
                <c:pt idx="14844">
                  <c:v>50.045571742895483</c:v>
                </c:pt>
                <c:pt idx="14845">
                  <c:v>21.2922483667516</c:v>
                </c:pt>
                <c:pt idx="14846">
                  <c:v>22.281626841699563</c:v>
                </c:pt>
                <c:pt idx="14847">
                  <c:v>24.51174981893131</c:v>
                </c:pt>
                <c:pt idx="14848">
                  <c:v>21.932962529951425</c:v>
                </c:pt>
                <c:pt idx="14849">
                  <c:v>29.360107170508236</c:v>
                </c:pt>
                <c:pt idx="14850">
                  <c:v>55.344505394414291</c:v>
                </c:pt>
                <c:pt idx="14851">
                  <c:v>28.486860385088963</c:v>
                </c:pt>
                <c:pt idx="14852">
                  <c:v>52.57883337402513</c:v>
                </c:pt>
                <c:pt idx="14853">
                  <c:v>25.566754745550369</c:v>
                </c:pt>
                <c:pt idx="14854">
                  <c:v>22.615803383577653</c:v>
                </c:pt>
                <c:pt idx="14855">
                  <c:v>32.660693597993884</c:v>
                </c:pt>
                <c:pt idx="14856">
                  <c:v>50.815049566509167</c:v>
                </c:pt>
                <c:pt idx="14857">
                  <c:v>22.722895234110588</c:v>
                </c:pt>
                <c:pt idx="14858">
                  <c:v>47.152159360962131</c:v>
                </c:pt>
                <c:pt idx="14859">
                  <c:v>40.147205270848296</c:v>
                </c:pt>
                <c:pt idx="14860">
                  <c:v>26.654924304800538</c:v>
                </c:pt>
                <c:pt idx="14861">
                  <c:v>20.468066704338149</c:v>
                </c:pt>
                <c:pt idx="14862">
                  <c:v>48.743820624716179</c:v>
                </c:pt>
                <c:pt idx="14863">
                  <c:v>28.630318929964901</c:v>
                </c:pt>
                <c:pt idx="14864">
                  <c:v>27.313090609881939</c:v>
                </c:pt>
                <c:pt idx="14865">
                  <c:v>36.472373537370146</c:v>
                </c:pt>
                <c:pt idx="14866">
                  <c:v>24.932360152789212</c:v>
                </c:pt>
                <c:pt idx="14867">
                  <c:v>23.138078559385988</c:v>
                </c:pt>
                <c:pt idx="14868">
                  <c:v>29.893306768532405</c:v>
                </c:pt>
                <c:pt idx="14869">
                  <c:v>27.3434950800435</c:v>
                </c:pt>
                <c:pt idx="14870">
                  <c:v>27.837508139938009</c:v>
                </c:pt>
                <c:pt idx="14871">
                  <c:v>50.385077084827095</c:v>
                </c:pt>
                <c:pt idx="14872">
                  <c:v>30.58798360477369</c:v>
                </c:pt>
                <c:pt idx="14873">
                  <c:v>28.822646041286411</c:v>
                </c:pt>
                <c:pt idx="14874">
                  <c:v>23.808124054079453</c:v>
                </c:pt>
                <c:pt idx="14875">
                  <c:v>32.870977674601008</c:v>
                </c:pt>
                <c:pt idx="14876">
                  <c:v>26.021918481182151</c:v>
                </c:pt>
                <c:pt idx="14877">
                  <c:v>25.625877015207436</c:v>
                </c:pt>
                <c:pt idx="14878">
                  <c:v>22.862113202151825</c:v>
                </c:pt>
                <c:pt idx="14879">
                  <c:v>20.744029155906734</c:v>
                </c:pt>
                <c:pt idx="14880">
                  <c:v>20.973083014949012</c:v>
                </c:pt>
                <c:pt idx="14881">
                  <c:v>49.794415595194302</c:v>
                </c:pt>
                <c:pt idx="14882">
                  <c:v>28.199419885608094</c:v>
                </c:pt>
                <c:pt idx="14883">
                  <c:v>34.688728369435381</c:v>
                </c:pt>
                <c:pt idx="14884">
                  <c:v>25.828654879250355</c:v>
                </c:pt>
                <c:pt idx="14885">
                  <c:v>20.963592336881746</c:v>
                </c:pt>
                <c:pt idx="14886">
                  <c:v>56.703211888383535</c:v>
                </c:pt>
                <c:pt idx="14887">
                  <c:v>34.447962600823018</c:v>
                </c:pt>
                <c:pt idx="14888">
                  <c:v>29.970498839847423</c:v>
                </c:pt>
                <c:pt idx="14889">
                  <c:v>25.435788659289013</c:v>
                </c:pt>
                <c:pt idx="14890">
                  <c:v>34.131291506565894</c:v>
                </c:pt>
                <c:pt idx="14891">
                  <c:v>52.848248949907408</c:v>
                </c:pt>
                <c:pt idx="14892">
                  <c:v>34.84583522353752</c:v>
                </c:pt>
                <c:pt idx="14893">
                  <c:v>40.400151859973832</c:v>
                </c:pt>
                <c:pt idx="14894">
                  <c:v>27.783011317608768</c:v>
                </c:pt>
                <c:pt idx="14895">
                  <c:v>36.428236963282508</c:v>
                </c:pt>
                <c:pt idx="14896">
                  <c:v>42.466303834612191</c:v>
                </c:pt>
                <c:pt idx="14897">
                  <c:v>28.707855600749664</c:v>
                </c:pt>
                <c:pt idx="14898">
                  <c:v>54.524326354155669</c:v>
                </c:pt>
                <c:pt idx="14899">
                  <c:v>29.023698861899557</c:v>
                </c:pt>
                <c:pt idx="14900">
                  <c:v>28.254541222536265</c:v>
                </c:pt>
                <c:pt idx="14901">
                  <c:v>23.361781090738106</c:v>
                </c:pt>
                <c:pt idx="14902">
                  <c:v>27.47021853687615</c:v>
                </c:pt>
                <c:pt idx="14903">
                  <c:v>49.583353100741455</c:v>
                </c:pt>
                <c:pt idx="14904">
                  <c:v>24.961630571483305</c:v>
                </c:pt>
                <c:pt idx="14905">
                  <c:v>26.675721829534137</c:v>
                </c:pt>
                <c:pt idx="14906">
                  <c:v>38.491182675935825</c:v>
                </c:pt>
                <c:pt idx="14907">
                  <c:v>52.889414313815131</c:v>
                </c:pt>
                <c:pt idx="14908">
                  <c:v>26.744547727320075</c:v>
                </c:pt>
                <c:pt idx="14909">
                  <c:v>26.586797298300358</c:v>
                </c:pt>
                <c:pt idx="14910">
                  <c:v>36.402378823535784</c:v>
                </c:pt>
                <c:pt idx="14911">
                  <c:v>36.082109236804072</c:v>
                </c:pt>
                <c:pt idx="14912">
                  <c:v>52.801984663168355</c:v>
                </c:pt>
                <c:pt idx="14913">
                  <c:v>32.503186646448562</c:v>
                </c:pt>
                <c:pt idx="14914">
                  <c:v>41.878412194082799</c:v>
                </c:pt>
                <c:pt idx="14915">
                  <c:v>38.285753347639243</c:v>
                </c:pt>
                <c:pt idx="14916">
                  <c:v>31.829404694044399</c:v>
                </c:pt>
                <c:pt idx="14917">
                  <c:v>26.711543443316479</c:v>
                </c:pt>
                <c:pt idx="14918">
                  <c:v>38.607613534058288</c:v>
                </c:pt>
                <c:pt idx="14919">
                  <c:v>23.340983350231156</c:v>
                </c:pt>
                <c:pt idx="14920">
                  <c:v>48.399401025070034</c:v>
                </c:pt>
                <c:pt idx="14921">
                  <c:v>29.168956881185164</c:v>
                </c:pt>
                <c:pt idx="14922">
                  <c:v>19.274204480137026</c:v>
                </c:pt>
                <c:pt idx="14923">
                  <c:v>45.351138447225082</c:v>
                </c:pt>
                <c:pt idx="14924">
                  <c:v>26.623645510549409</c:v>
                </c:pt>
                <c:pt idx="14925">
                  <c:v>23.503367104134263</c:v>
                </c:pt>
                <c:pt idx="14926">
                  <c:v>29.880968527708287</c:v>
                </c:pt>
                <c:pt idx="14927">
                  <c:v>25.792794161490132</c:v>
                </c:pt>
                <c:pt idx="14928">
                  <c:v>55.283206364169523</c:v>
                </c:pt>
                <c:pt idx="14929">
                  <c:v>30.797008063938421</c:v>
                </c:pt>
                <c:pt idx="14930">
                  <c:v>20.285307355498926</c:v>
                </c:pt>
                <c:pt idx="14931">
                  <c:v>52.20135281631164</c:v>
                </c:pt>
                <c:pt idx="14932">
                  <c:v>34.649817677508935</c:v>
                </c:pt>
                <c:pt idx="14933">
                  <c:v>53.789805972698474</c:v>
                </c:pt>
                <c:pt idx="14934">
                  <c:v>34.925388095158837</c:v>
                </c:pt>
                <c:pt idx="14935">
                  <c:v>21.291855137179716</c:v>
                </c:pt>
                <c:pt idx="14936">
                  <c:v>29.490692083928625</c:v>
                </c:pt>
                <c:pt idx="14937">
                  <c:v>25.141147525036772</c:v>
                </c:pt>
                <c:pt idx="14938">
                  <c:v>46.079956793792078</c:v>
                </c:pt>
                <c:pt idx="14939">
                  <c:v>21.761338239501505</c:v>
                </c:pt>
                <c:pt idx="14940">
                  <c:v>46.5632399097125</c:v>
                </c:pt>
                <c:pt idx="14941">
                  <c:v>34.30761324831893</c:v>
                </c:pt>
                <c:pt idx="14942">
                  <c:v>42.632475716766848</c:v>
                </c:pt>
                <c:pt idx="14943">
                  <c:v>38.93399420036134</c:v>
                </c:pt>
                <c:pt idx="14944">
                  <c:v>32.760893706840079</c:v>
                </c:pt>
                <c:pt idx="14945">
                  <c:v>26.942517134673409</c:v>
                </c:pt>
                <c:pt idx="14946">
                  <c:v>53.643655631073152</c:v>
                </c:pt>
                <c:pt idx="14947">
                  <c:v>56.439229075660272</c:v>
                </c:pt>
                <c:pt idx="14948">
                  <c:v>27.015589482715374</c:v>
                </c:pt>
                <c:pt idx="14949">
                  <c:v>35.076176406609591</c:v>
                </c:pt>
                <c:pt idx="14950">
                  <c:v>23.613219643055842</c:v>
                </c:pt>
                <c:pt idx="14951">
                  <c:v>27.363158869861198</c:v>
                </c:pt>
                <c:pt idx="14952">
                  <c:v>43.959320462112245</c:v>
                </c:pt>
                <c:pt idx="14953">
                  <c:v>27.183519666456991</c:v>
                </c:pt>
                <c:pt idx="14954">
                  <c:v>27.486425766655415</c:v>
                </c:pt>
                <c:pt idx="14955">
                  <c:v>26.771653868865783</c:v>
                </c:pt>
                <c:pt idx="14956">
                  <c:v>37.677349509713316</c:v>
                </c:pt>
                <c:pt idx="14957">
                  <c:v>27.101577095737724</c:v>
                </c:pt>
                <c:pt idx="14958">
                  <c:v>28.284779850400746</c:v>
                </c:pt>
                <c:pt idx="14959">
                  <c:v>53.773223683216067</c:v>
                </c:pt>
                <c:pt idx="14960">
                  <c:v>28.122220071887689</c:v>
                </c:pt>
                <c:pt idx="14961">
                  <c:v>23.255880743637743</c:v>
                </c:pt>
                <c:pt idx="14962">
                  <c:v>47.138541603690847</c:v>
                </c:pt>
                <c:pt idx="14963">
                  <c:v>39.039365699404051</c:v>
                </c:pt>
                <c:pt idx="14964">
                  <c:v>30.512918993013702</c:v>
                </c:pt>
                <c:pt idx="14965">
                  <c:v>48.588500524254556</c:v>
                </c:pt>
                <c:pt idx="14966">
                  <c:v>13.599413634730876</c:v>
                </c:pt>
                <c:pt idx="14967">
                  <c:v>27.778625622631072</c:v>
                </c:pt>
                <c:pt idx="14968">
                  <c:v>42.38053978530111</c:v>
                </c:pt>
                <c:pt idx="14969">
                  <c:v>26.265507408126886</c:v>
                </c:pt>
                <c:pt idx="14970">
                  <c:v>25.012318447022899</c:v>
                </c:pt>
                <c:pt idx="14971">
                  <c:v>33.105613959879179</c:v>
                </c:pt>
                <c:pt idx="14972">
                  <c:v>29.071556305733512</c:v>
                </c:pt>
                <c:pt idx="14973">
                  <c:v>28.996202411778548</c:v>
                </c:pt>
                <c:pt idx="14974">
                  <c:v>26.808525425306549</c:v>
                </c:pt>
                <c:pt idx="14975">
                  <c:v>26.160181536644018</c:v>
                </c:pt>
                <c:pt idx="14976">
                  <c:v>36.386326957223261</c:v>
                </c:pt>
                <c:pt idx="14977">
                  <c:v>21.001214119527766</c:v>
                </c:pt>
                <c:pt idx="14978">
                  <c:v>29.71528808041537</c:v>
                </c:pt>
                <c:pt idx="14979">
                  <c:v>42.707522949169395</c:v>
                </c:pt>
                <c:pt idx="14980">
                  <c:v>46.350101454480793</c:v>
                </c:pt>
                <c:pt idx="14981">
                  <c:v>20.951415679686889</c:v>
                </c:pt>
                <c:pt idx="14982">
                  <c:v>28.314796946472061</c:v>
                </c:pt>
                <c:pt idx="14983">
                  <c:v>22.566728693958428</c:v>
                </c:pt>
                <c:pt idx="14984">
                  <c:v>31.771459730680956</c:v>
                </c:pt>
                <c:pt idx="14985">
                  <c:v>38.578895759078861</c:v>
                </c:pt>
                <c:pt idx="14986">
                  <c:v>25.652004537215472</c:v>
                </c:pt>
                <c:pt idx="14987">
                  <c:v>53.632044435883984</c:v>
                </c:pt>
                <c:pt idx="14988">
                  <c:v>39.941856620306673</c:v>
                </c:pt>
                <c:pt idx="14989">
                  <c:v>25.151002126047153</c:v>
                </c:pt>
                <c:pt idx="14990">
                  <c:v>24.776975914653399</c:v>
                </c:pt>
                <c:pt idx="14991">
                  <c:v>21.474538759390736</c:v>
                </c:pt>
                <c:pt idx="14992">
                  <c:v>20.69630501044502</c:v>
                </c:pt>
                <c:pt idx="14993">
                  <c:v>32.259415186046411</c:v>
                </c:pt>
                <c:pt idx="14994">
                  <c:v>37.05277711277968</c:v>
                </c:pt>
                <c:pt idx="14995">
                  <c:v>30.21013709004075</c:v>
                </c:pt>
                <c:pt idx="14996">
                  <c:v>49.284907002261164</c:v>
                </c:pt>
                <c:pt idx="14997">
                  <c:v>23.558385655838272</c:v>
                </c:pt>
                <c:pt idx="14998">
                  <c:v>48.868395824475307</c:v>
                </c:pt>
                <c:pt idx="14999">
                  <c:v>25.229845151441239</c:v>
                </c:pt>
                <c:pt idx="15000">
                  <c:v>19.055874535390505</c:v>
                </c:pt>
                <c:pt idx="15001">
                  <c:v>37.355620305444738</c:v>
                </c:pt>
                <c:pt idx="15002">
                  <c:v>19.09533020249205</c:v>
                </c:pt>
                <c:pt idx="15003">
                  <c:v>20.370997114331978</c:v>
                </c:pt>
                <c:pt idx="15004">
                  <c:v>22.853079065674521</c:v>
                </c:pt>
                <c:pt idx="15005">
                  <c:v>59.77614694642066</c:v>
                </c:pt>
                <c:pt idx="15006">
                  <c:v>20.697485548397314</c:v>
                </c:pt>
                <c:pt idx="15007">
                  <c:v>47.200671926432079</c:v>
                </c:pt>
                <c:pt idx="15008">
                  <c:v>22.134489505227087</c:v>
                </c:pt>
                <c:pt idx="15009">
                  <c:v>48.01381363305741</c:v>
                </c:pt>
                <c:pt idx="15010">
                  <c:v>20.176199471046239</c:v>
                </c:pt>
                <c:pt idx="15011">
                  <c:v>49.983636259067865</c:v>
                </c:pt>
                <c:pt idx="15012">
                  <c:v>28.390225545421387</c:v>
                </c:pt>
                <c:pt idx="15013">
                  <c:v>34.667067228031584</c:v>
                </c:pt>
                <c:pt idx="15014">
                  <c:v>49.936524335711816</c:v>
                </c:pt>
                <c:pt idx="15015">
                  <c:v>23.641148813598548</c:v>
                </c:pt>
                <c:pt idx="15016">
                  <c:v>28.122944283431892</c:v>
                </c:pt>
                <c:pt idx="15017">
                  <c:v>30.14190722465041</c:v>
                </c:pt>
                <c:pt idx="15018">
                  <c:v>26.269500588502275</c:v>
                </c:pt>
                <c:pt idx="15019">
                  <c:v>21.53287479354222</c:v>
                </c:pt>
                <c:pt idx="15020">
                  <c:v>23.523397530538936</c:v>
                </c:pt>
                <c:pt idx="15021">
                  <c:v>22.189918089873249</c:v>
                </c:pt>
                <c:pt idx="15022">
                  <c:v>27.705949051943616</c:v>
                </c:pt>
                <c:pt idx="15023">
                  <c:v>17.583140945176172</c:v>
                </c:pt>
                <c:pt idx="15024">
                  <c:v>25.929562234153124</c:v>
                </c:pt>
                <c:pt idx="15025">
                  <c:v>47.62931802774628</c:v>
                </c:pt>
                <c:pt idx="15026">
                  <c:v>38.086884674977952</c:v>
                </c:pt>
                <c:pt idx="15027">
                  <c:v>23.219694678760803</c:v>
                </c:pt>
                <c:pt idx="15028">
                  <c:v>26.054840832760362</c:v>
                </c:pt>
                <c:pt idx="15029">
                  <c:v>39.562129299760464</c:v>
                </c:pt>
                <c:pt idx="15030">
                  <c:v>26.274045829730799</c:v>
                </c:pt>
                <c:pt idx="15031">
                  <c:v>46.688215598372651</c:v>
                </c:pt>
                <c:pt idx="15032">
                  <c:v>44.153850817399842</c:v>
                </c:pt>
                <c:pt idx="15033">
                  <c:v>30.859023803704243</c:v>
                </c:pt>
                <c:pt idx="15034">
                  <c:v>21.728028141688895</c:v>
                </c:pt>
                <c:pt idx="15035">
                  <c:v>25.821326233047596</c:v>
                </c:pt>
                <c:pt idx="15036">
                  <c:v>46.760023163549704</c:v>
                </c:pt>
                <c:pt idx="15037">
                  <c:v>29.408183442711273</c:v>
                </c:pt>
                <c:pt idx="15038">
                  <c:v>31.45452745224841</c:v>
                </c:pt>
                <c:pt idx="15039">
                  <c:v>27.828824087394274</c:v>
                </c:pt>
                <c:pt idx="15040">
                  <c:v>28.316948270618003</c:v>
                </c:pt>
                <c:pt idx="15041">
                  <c:v>33.159327618640908</c:v>
                </c:pt>
                <c:pt idx="15042">
                  <c:v>45.399640242689379</c:v>
                </c:pt>
                <c:pt idx="15043">
                  <c:v>35.377243068877377</c:v>
                </c:pt>
                <c:pt idx="15044">
                  <c:v>21.260688541900052</c:v>
                </c:pt>
                <c:pt idx="15045">
                  <c:v>46.217576750628645</c:v>
                </c:pt>
                <c:pt idx="15046">
                  <c:v>23.86230945691397</c:v>
                </c:pt>
                <c:pt idx="15047">
                  <c:v>32.013238346611004</c:v>
                </c:pt>
                <c:pt idx="15048">
                  <c:v>30.633838306587482</c:v>
                </c:pt>
                <c:pt idx="15049">
                  <c:v>38.188668955242164</c:v>
                </c:pt>
                <c:pt idx="15050">
                  <c:v>35.500673429598194</c:v>
                </c:pt>
                <c:pt idx="15051">
                  <c:v>19.619383064215313</c:v>
                </c:pt>
                <c:pt idx="15052">
                  <c:v>25.587825098710606</c:v>
                </c:pt>
                <c:pt idx="15053">
                  <c:v>25.521980286637394</c:v>
                </c:pt>
                <c:pt idx="15054">
                  <c:v>21.375793956969066</c:v>
                </c:pt>
                <c:pt idx="15055">
                  <c:v>48.415839824851574</c:v>
                </c:pt>
                <c:pt idx="15056">
                  <c:v>21.915203005858121</c:v>
                </c:pt>
                <c:pt idx="15057">
                  <c:v>29.17806205055145</c:v>
                </c:pt>
                <c:pt idx="15058">
                  <c:v>31.496660262218928</c:v>
                </c:pt>
                <c:pt idx="15059">
                  <c:v>35.171713235719473</c:v>
                </c:pt>
                <c:pt idx="15060">
                  <c:v>40.887385723855083</c:v>
                </c:pt>
                <c:pt idx="15061">
                  <c:v>42.985256090884519</c:v>
                </c:pt>
                <c:pt idx="15062">
                  <c:v>38.37767476229233</c:v>
                </c:pt>
                <c:pt idx="15063">
                  <c:v>29.268453789601754</c:v>
                </c:pt>
                <c:pt idx="15064">
                  <c:v>30.230114468724821</c:v>
                </c:pt>
                <c:pt idx="15065">
                  <c:v>29.102858930067658</c:v>
                </c:pt>
                <c:pt idx="15066">
                  <c:v>32.077065619562049</c:v>
                </c:pt>
                <c:pt idx="15067">
                  <c:v>26.396922488013008</c:v>
                </c:pt>
                <c:pt idx="15068">
                  <c:v>47.580956618025262</c:v>
                </c:pt>
                <c:pt idx="15069">
                  <c:v>25.136492209701359</c:v>
                </c:pt>
                <c:pt idx="15070">
                  <c:v>23.918395877803054</c:v>
                </c:pt>
                <c:pt idx="15071">
                  <c:v>22.546472169593144</c:v>
                </c:pt>
                <c:pt idx="15072">
                  <c:v>44.433924884226165</c:v>
                </c:pt>
                <c:pt idx="15073">
                  <c:v>40.722451766128692</c:v>
                </c:pt>
                <c:pt idx="15074">
                  <c:v>48.194141717262184</c:v>
                </c:pt>
                <c:pt idx="15075">
                  <c:v>49.042198800357312</c:v>
                </c:pt>
                <c:pt idx="15076">
                  <c:v>24.786026873980319</c:v>
                </c:pt>
                <c:pt idx="15077">
                  <c:v>41.445362425181926</c:v>
                </c:pt>
                <c:pt idx="15078">
                  <c:v>46.901900489937034</c:v>
                </c:pt>
                <c:pt idx="15079">
                  <c:v>39.354950131092764</c:v>
                </c:pt>
                <c:pt idx="15080">
                  <c:v>40.18541308631157</c:v>
                </c:pt>
                <c:pt idx="15081">
                  <c:v>29.943245629556198</c:v>
                </c:pt>
                <c:pt idx="15082">
                  <c:v>29.864582919836739</c:v>
                </c:pt>
                <c:pt idx="15083">
                  <c:v>25.80702339668499</c:v>
                </c:pt>
                <c:pt idx="15084">
                  <c:v>31.593256508399154</c:v>
                </c:pt>
                <c:pt idx="15085">
                  <c:v>27.033173182492067</c:v>
                </c:pt>
                <c:pt idx="15086">
                  <c:v>51.144593633260527</c:v>
                </c:pt>
                <c:pt idx="15087">
                  <c:v>55.554326940307497</c:v>
                </c:pt>
                <c:pt idx="15088">
                  <c:v>32.831788485107211</c:v>
                </c:pt>
                <c:pt idx="15089">
                  <c:v>24.827106507649933</c:v>
                </c:pt>
                <c:pt idx="15090">
                  <c:v>45.925971442834218</c:v>
                </c:pt>
                <c:pt idx="15091">
                  <c:v>24.080472868060415</c:v>
                </c:pt>
                <c:pt idx="15092">
                  <c:v>19.048005900807901</c:v>
                </c:pt>
                <c:pt idx="15093">
                  <c:v>26.955455027910382</c:v>
                </c:pt>
                <c:pt idx="15094">
                  <c:v>34.41543910417623</c:v>
                </c:pt>
                <c:pt idx="15095">
                  <c:v>34.584319695419119</c:v>
                </c:pt>
                <c:pt idx="15096">
                  <c:v>32.129788163329252</c:v>
                </c:pt>
                <c:pt idx="15097">
                  <c:v>35.988911639912551</c:v>
                </c:pt>
                <c:pt idx="15098">
                  <c:v>22.28851181573522</c:v>
                </c:pt>
                <c:pt idx="15099">
                  <c:v>28.974108788673213</c:v>
                </c:pt>
                <c:pt idx="15100">
                  <c:v>47.927805549280599</c:v>
                </c:pt>
                <c:pt idx="15101">
                  <c:v>28.873988091781602</c:v>
                </c:pt>
                <c:pt idx="15102">
                  <c:v>43.947864109103229</c:v>
                </c:pt>
                <c:pt idx="15103">
                  <c:v>31.375537194585135</c:v>
                </c:pt>
                <c:pt idx="15104">
                  <c:v>50.099732886529544</c:v>
                </c:pt>
                <c:pt idx="15105">
                  <c:v>21.459652640571939</c:v>
                </c:pt>
                <c:pt idx="15106">
                  <c:v>24.500063953793621</c:v>
                </c:pt>
                <c:pt idx="15107">
                  <c:v>26.177440754567982</c:v>
                </c:pt>
                <c:pt idx="15108">
                  <c:v>49.358994448683106</c:v>
                </c:pt>
                <c:pt idx="15109">
                  <c:v>25.93650295944375</c:v>
                </c:pt>
                <c:pt idx="15110">
                  <c:v>22.433669187175564</c:v>
                </c:pt>
                <c:pt idx="15111">
                  <c:v>26.444573970458531</c:v>
                </c:pt>
                <c:pt idx="15112">
                  <c:v>24.168942939813459</c:v>
                </c:pt>
                <c:pt idx="15113">
                  <c:v>30.262037266242611</c:v>
                </c:pt>
                <c:pt idx="15114">
                  <c:v>43.083646053572878</c:v>
                </c:pt>
                <c:pt idx="15115">
                  <c:v>22.258874531893046</c:v>
                </c:pt>
                <c:pt idx="15116">
                  <c:v>24.404370339243641</c:v>
                </c:pt>
                <c:pt idx="15117">
                  <c:v>40.26797909385202</c:v>
                </c:pt>
                <c:pt idx="15118">
                  <c:v>19.301267520614584</c:v>
                </c:pt>
                <c:pt idx="15119">
                  <c:v>23.126154246995231</c:v>
                </c:pt>
                <c:pt idx="15120">
                  <c:v>23.584692708172234</c:v>
                </c:pt>
                <c:pt idx="15121">
                  <c:v>29.801705114950384</c:v>
                </c:pt>
                <c:pt idx="15122">
                  <c:v>30.625497970111912</c:v>
                </c:pt>
                <c:pt idx="15123">
                  <c:v>30.537970323188482</c:v>
                </c:pt>
                <c:pt idx="15124">
                  <c:v>30.459208597463391</c:v>
                </c:pt>
                <c:pt idx="15125">
                  <c:v>25.99246768278865</c:v>
                </c:pt>
                <c:pt idx="15126">
                  <c:v>48.511430630545227</c:v>
                </c:pt>
                <c:pt idx="15127">
                  <c:v>34.996342244320644</c:v>
                </c:pt>
                <c:pt idx="15128">
                  <c:v>33.618868820145416</c:v>
                </c:pt>
                <c:pt idx="15129">
                  <c:v>21.554286428787933</c:v>
                </c:pt>
                <c:pt idx="15130">
                  <c:v>31.247273327803178</c:v>
                </c:pt>
                <c:pt idx="15131">
                  <c:v>28.385385587361853</c:v>
                </c:pt>
                <c:pt idx="15132">
                  <c:v>24.223215678005971</c:v>
                </c:pt>
                <c:pt idx="15133">
                  <c:v>34.53602805472417</c:v>
                </c:pt>
                <c:pt idx="15134">
                  <c:v>25.345026613352861</c:v>
                </c:pt>
                <c:pt idx="15135">
                  <c:v>20.365985428973431</c:v>
                </c:pt>
                <c:pt idx="15136">
                  <c:v>46.728959322020437</c:v>
                </c:pt>
                <c:pt idx="15137">
                  <c:v>28.905312051522419</c:v>
                </c:pt>
                <c:pt idx="15138">
                  <c:v>35.920173552706515</c:v>
                </c:pt>
                <c:pt idx="15139">
                  <c:v>31.66353713994932</c:v>
                </c:pt>
                <c:pt idx="15140">
                  <c:v>36.332699294829439</c:v>
                </c:pt>
                <c:pt idx="15141">
                  <c:v>28.877033539914404</c:v>
                </c:pt>
                <c:pt idx="15142">
                  <c:v>41.73669897623266</c:v>
                </c:pt>
                <c:pt idx="15143">
                  <c:v>25.194934573880285</c:v>
                </c:pt>
                <c:pt idx="15144">
                  <c:v>17.906206801867874</c:v>
                </c:pt>
                <c:pt idx="15145">
                  <c:v>22.79429428444908</c:v>
                </c:pt>
                <c:pt idx="15146">
                  <c:v>22.155260477570945</c:v>
                </c:pt>
                <c:pt idx="15147">
                  <c:v>43.239239432778227</c:v>
                </c:pt>
                <c:pt idx="15148">
                  <c:v>51.036437914888729</c:v>
                </c:pt>
                <c:pt idx="15149">
                  <c:v>21.263753675653515</c:v>
                </c:pt>
                <c:pt idx="15150">
                  <c:v>41.139023007268179</c:v>
                </c:pt>
                <c:pt idx="15151">
                  <c:v>17.12905254746525</c:v>
                </c:pt>
                <c:pt idx="15152">
                  <c:v>35.911253682479952</c:v>
                </c:pt>
                <c:pt idx="15153">
                  <c:v>27.294740214646666</c:v>
                </c:pt>
                <c:pt idx="15154">
                  <c:v>22.075153381730093</c:v>
                </c:pt>
                <c:pt idx="15155">
                  <c:v>22.290361498770203</c:v>
                </c:pt>
                <c:pt idx="15156">
                  <c:v>44.883731919796546</c:v>
                </c:pt>
                <c:pt idx="15157">
                  <c:v>25.747727901872654</c:v>
                </c:pt>
                <c:pt idx="15158">
                  <c:v>27.958730129683676</c:v>
                </c:pt>
                <c:pt idx="15159">
                  <c:v>32.046872229410113</c:v>
                </c:pt>
                <c:pt idx="15160">
                  <c:v>34.357107894917156</c:v>
                </c:pt>
                <c:pt idx="15161">
                  <c:v>48.348422589772959</c:v>
                </c:pt>
                <c:pt idx="15162">
                  <c:v>58.938966469317705</c:v>
                </c:pt>
                <c:pt idx="15163">
                  <c:v>46.743718174985304</c:v>
                </c:pt>
                <c:pt idx="15164">
                  <c:v>26.973340218910437</c:v>
                </c:pt>
                <c:pt idx="15165">
                  <c:v>47.353911689237258</c:v>
                </c:pt>
                <c:pt idx="15166">
                  <c:v>42.322599515257323</c:v>
                </c:pt>
                <c:pt idx="15167">
                  <c:v>17.678629123990774</c:v>
                </c:pt>
                <c:pt idx="15168">
                  <c:v>33.643582000578576</c:v>
                </c:pt>
                <c:pt idx="15169">
                  <c:v>25.156446888161678</c:v>
                </c:pt>
                <c:pt idx="15170">
                  <c:v>27.994584419604038</c:v>
                </c:pt>
                <c:pt idx="15171">
                  <c:v>30.783618647127067</c:v>
                </c:pt>
                <c:pt idx="15172">
                  <c:v>26.612642004204073</c:v>
                </c:pt>
                <c:pt idx="15173">
                  <c:v>41.425483955048719</c:v>
                </c:pt>
                <c:pt idx="15174">
                  <c:v>20.35690262640437</c:v>
                </c:pt>
                <c:pt idx="15175">
                  <c:v>26.696852489359486</c:v>
                </c:pt>
                <c:pt idx="15176">
                  <c:v>43.420848687816274</c:v>
                </c:pt>
                <c:pt idx="15177">
                  <c:v>29.049937800017542</c:v>
                </c:pt>
                <c:pt idx="15178">
                  <c:v>47.004181650009812</c:v>
                </c:pt>
                <c:pt idx="15179">
                  <c:v>49.602423095865888</c:v>
                </c:pt>
                <c:pt idx="15180">
                  <c:v>21.175009520788159</c:v>
                </c:pt>
                <c:pt idx="15181">
                  <c:v>29.386034170523189</c:v>
                </c:pt>
                <c:pt idx="15182">
                  <c:v>31.804451439872878</c:v>
                </c:pt>
                <c:pt idx="15183">
                  <c:v>20.276260273185954</c:v>
                </c:pt>
                <c:pt idx="15184">
                  <c:v>24.058583847533704</c:v>
                </c:pt>
                <c:pt idx="15185">
                  <c:v>30.160285020895763</c:v>
                </c:pt>
                <c:pt idx="15186">
                  <c:v>28.761608229985058</c:v>
                </c:pt>
                <c:pt idx="15187">
                  <c:v>34.064681229544519</c:v>
                </c:pt>
                <c:pt idx="15188">
                  <c:v>33.421366807332397</c:v>
                </c:pt>
                <c:pt idx="15189">
                  <c:v>48.805075889284517</c:v>
                </c:pt>
                <c:pt idx="15190">
                  <c:v>27.008808160568854</c:v>
                </c:pt>
                <c:pt idx="15191">
                  <c:v>23.544320946978708</c:v>
                </c:pt>
                <c:pt idx="15192">
                  <c:v>25.774029748991396</c:v>
                </c:pt>
                <c:pt idx="15193">
                  <c:v>35.970042061723277</c:v>
                </c:pt>
                <c:pt idx="15194">
                  <c:v>25.464770467430775</c:v>
                </c:pt>
                <c:pt idx="15195">
                  <c:v>21.001864046805988</c:v>
                </c:pt>
                <c:pt idx="15196">
                  <c:v>19.944003210180593</c:v>
                </c:pt>
                <c:pt idx="15197">
                  <c:v>43.836116630281239</c:v>
                </c:pt>
                <c:pt idx="15198">
                  <c:v>19.716137449272154</c:v>
                </c:pt>
                <c:pt idx="15199">
                  <c:v>45.483764029962543</c:v>
                </c:pt>
                <c:pt idx="15200">
                  <c:v>50.056146954906559</c:v>
                </c:pt>
                <c:pt idx="15201">
                  <c:v>28.670112265855746</c:v>
                </c:pt>
                <c:pt idx="15202">
                  <c:v>25.447240449726792</c:v>
                </c:pt>
                <c:pt idx="15203">
                  <c:v>23.142027405230273</c:v>
                </c:pt>
                <c:pt idx="15204">
                  <c:v>25.746255408801296</c:v>
                </c:pt>
                <c:pt idx="15205">
                  <c:v>45.276520212676758</c:v>
                </c:pt>
                <c:pt idx="15206">
                  <c:v>19.587643521513073</c:v>
                </c:pt>
                <c:pt idx="15207">
                  <c:v>22.796241856681114</c:v>
                </c:pt>
                <c:pt idx="15208">
                  <c:v>51.393678302671034</c:v>
                </c:pt>
                <c:pt idx="15209">
                  <c:v>30.254013136799795</c:v>
                </c:pt>
                <c:pt idx="15210">
                  <c:v>28.447295340757858</c:v>
                </c:pt>
                <c:pt idx="15211">
                  <c:v>30.683727791785579</c:v>
                </c:pt>
                <c:pt idx="15212">
                  <c:v>21.11593501143291</c:v>
                </c:pt>
                <c:pt idx="15213">
                  <c:v>25.397793009158878</c:v>
                </c:pt>
                <c:pt idx="15214">
                  <c:v>32.802959547034298</c:v>
                </c:pt>
                <c:pt idx="15215">
                  <c:v>24.644504211658642</c:v>
                </c:pt>
                <c:pt idx="15216">
                  <c:v>30.244734438233177</c:v>
                </c:pt>
                <c:pt idx="15217">
                  <c:v>32.556218588366654</c:v>
                </c:pt>
                <c:pt idx="15218">
                  <c:v>26.293804869059805</c:v>
                </c:pt>
                <c:pt idx="15219">
                  <c:v>27.392136381603358</c:v>
                </c:pt>
                <c:pt idx="15220">
                  <c:v>29.705353426769339</c:v>
                </c:pt>
                <c:pt idx="15221">
                  <c:v>52.548981493429828</c:v>
                </c:pt>
                <c:pt idx="15222">
                  <c:v>22.632328661657752</c:v>
                </c:pt>
                <c:pt idx="15223">
                  <c:v>38.930131284283469</c:v>
                </c:pt>
                <c:pt idx="15224">
                  <c:v>52.682731260852464</c:v>
                </c:pt>
                <c:pt idx="15225">
                  <c:v>50.507778970263438</c:v>
                </c:pt>
                <c:pt idx="15226">
                  <c:v>31.499478229680683</c:v>
                </c:pt>
                <c:pt idx="15227">
                  <c:v>52.120238025565406</c:v>
                </c:pt>
                <c:pt idx="15228">
                  <c:v>29.146050140012328</c:v>
                </c:pt>
                <c:pt idx="15229">
                  <c:v>50.49310855447424</c:v>
                </c:pt>
                <c:pt idx="15230">
                  <c:v>35.217511992033373</c:v>
                </c:pt>
                <c:pt idx="15231">
                  <c:v>28.662142300730537</c:v>
                </c:pt>
                <c:pt idx="15232">
                  <c:v>44.641059926272121</c:v>
                </c:pt>
                <c:pt idx="15233">
                  <c:v>29.947239139354998</c:v>
                </c:pt>
                <c:pt idx="15234">
                  <c:v>34.957551903629287</c:v>
                </c:pt>
                <c:pt idx="15235">
                  <c:v>31.528803521532971</c:v>
                </c:pt>
                <c:pt idx="15236">
                  <c:v>24.418732045521331</c:v>
                </c:pt>
                <c:pt idx="15237">
                  <c:v>32.29054916148722</c:v>
                </c:pt>
                <c:pt idx="15238">
                  <c:v>33.47889090499946</c:v>
                </c:pt>
                <c:pt idx="15239">
                  <c:v>39.115426792263364</c:v>
                </c:pt>
                <c:pt idx="15240">
                  <c:v>32.758791297164656</c:v>
                </c:pt>
                <c:pt idx="15241">
                  <c:v>32.199839297871272</c:v>
                </c:pt>
                <c:pt idx="15242">
                  <c:v>26.849551411614691</c:v>
                </c:pt>
                <c:pt idx="15243">
                  <c:v>45.551368618528393</c:v>
                </c:pt>
                <c:pt idx="15244">
                  <c:v>45.870106011599837</c:v>
                </c:pt>
                <c:pt idx="15245">
                  <c:v>27.176693769298758</c:v>
                </c:pt>
                <c:pt idx="15246">
                  <c:v>38.753647696190129</c:v>
                </c:pt>
                <c:pt idx="15247">
                  <c:v>28.096939278529643</c:v>
                </c:pt>
                <c:pt idx="15248">
                  <c:v>46.520481755451577</c:v>
                </c:pt>
                <c:pt idx="15249">
                  <c:v>33.974828341853268</c:v>
                </c:pt>
                <c:pt idx="15250">
                  <c:v>27.156039967543158</c:v>
                </c:pt>
                <c:pt idx="15251">
                  <c:v>24.551575020169203</c:v>
                </c:pt>
                <c:pt idx="15252">
                  <c:v>20.645825375545201</c:v>
                </c:pt>
                <c:pt idx="15253">
                  <c:v>33.80554053835754</c:v>
                </c:pt>
                <c:pt idx="15254">
                  <c:v>28.187677036272898</c:v>
                </c:pt>
                <c:pt idx="15255">
                  <c:v>28.095545772095754</c:v>
                </c:pt>
                <c:pt idx="15256">
                  <c:v>27.729670373732496</c:v>
                </c:pt>
                <c:pt idx="15257">
                  <c:v>30.733002833122782</c:v>
                </c:pt>
                <c:pt idx="15258">
                  <c:v>27.234815319155228</c:v>
                </c:pt>
                <c:pt idx="15259">
                  <c:v>20.123994593075263</c:v>
                </c:pt>
                <c:pt idx="15260">
                  <c:v>25.192660850942978</c:v>
                </c:pt>
                <c:pt idx="15261">
                  <c:v>54.405784541639996</c:v>
                </c:pt>
                <c:pt idx="15262">
                  <c:v>32.394794296089586</c:v>
                </c:pt>
                <c:pt idx="15263">
                  <c:v>25.115583386081209</c:v>
                </c:pt>
                <c:pt idx="15264">
                  <c:v>23.60872769018345</c:v>
                </c:pt>
                <c:pt idx="15265">
                  <c:v>59.341708959932809</c:v>
                </c:pt>
                <c:pt idx="15266">
                  <c:v>36.462877073177594</c:v>
                </c:pt>
                <c:pt idx="15267">
                  <c:v>28.538155432832227</c:v>
                </c:pt>
                <c:pt idx="15268">
                  <c:v>21.709003206872055</c:v>
                </c:pt>
                <c:pt idx="15269">
                  <c:v>24.345301461712587</c:v>
                </c:pt>
                <c:pt idx="15270">
                  <c:v>24.7180086742542</c:v>
                </c:pt>
                <c:pt idx="15271">
                  <c:v>35.670380721907804</c:v>
                </c:pt>
                <c:pt idx="15272">
                  <c:v>26.626683409841863</c:v>
                </c:pt>
                <c:pt idx="15273">
                  <c:v>33.86732349133559</c:v>
                </c:pt>
                <c:pt idx="15274">
                  <c:v>29.365193582499018</c:v>
                </c:pt>
                <c:pt idx="15275">
                  <c:v>32.856987504232571</c:v>
                </c:pt>
                <c:pt idx="15276">
                  <c:v>22.856609372979015</c:v>
                </c:pt>
                <c:pt idx="15277">
                  <c:v>26.795528701978299</c:v>
                </c:pt>
                <c:pt idx="15278">
                  <c:v>29.00692130432251</c:v>
                </c:pt>
                <c:pt idx="15279">
                  <c:v>27.658320857534775</c:v>
                </c:pt>
                <c:pt idx="15280">
                  <c:v>25.266833629694538</c:v>
                </c:pt>
                <c:pt idx="15281">
                  <c:v>39.064025387280111</c:v>
                </c:pt>
                <c:pt idx="15282">
                  <c:v>26.500591629320269</c:v>
                </c:pt>
                <c:pt idx="15283">
                  <c:v>24.612920612180467</c:v>
                </c:pt>
                <c:pt idx="15284">
                  <c:v>30.403330582076723</c:v>
                </c:pt>
                <c:pt idx="15285">
                  <c:v>37.022996668756662</c:v>
                </c:pt>
                <c:pt idx="15286">
                  <c:v>54.663502474900127</c:v>
                </c:pt>
                <c:pt idx="15287">
                  <c:v>36.788275002610447</c:v>
                </c:pt>
                <c:pt idx="15288">
                  <c:v>28.87490922001815</c:v>
                </c:pt>
                <c:pt idx="15289">
                  <c:v>47.164333790457967</c:v>
                </c:pt>
                <c:pt idx="15290">
                  <c:v>47.331646603057628</c:v>
                </c:pt>
                <c:pt idx="15291">
                  <c:v>36.09885352303337</c:v>
                </c:pt>
                <c:pt idx="15292">
                  <c:v>20.269262632827811</c:v>
                </c:pt>
                <c:pt idx="15293">
                  <c:v>41.653745455326842</c:v>
                </c:pt>
                <c:pt idx="15294">
                  <c:v>29.167345092590121</c:v>
                </c:pt>
                <c:pt idx="15295">
                  <c:v>25.492319231359193</c:v>
                </c:pt>
                <c:pt idx="15296">
                  <c:v>24.908670725485869</c:v>
                </c:pt>
                <c:pt idx="15297">
                  <c:v>43.589233654238932</c:v>
                </c:pt>
                <c:pt idx="15298">
                  <c:v>21.689837165221714</c:v>
                </c:pt>
                <c:pt idx="15299">
                  <c:v>43.729624711648569</c:v>
                </c:pt>
                <c:pt idx="15300">
                  <c:v>24.157011026704183</c:v>
                </c:pt>
                <c:pt idx="15301">
                  <c:v>36.136824762735145</c:v>
                </c:pt>
                <c:pt idx="15302">
                  <c:v>27.397910825118828</c:v>
                </c:pt>
                <c:pt idx="15303">
                  <c:v>23.469465216068045</c:v>
                </c:pt>
                <c:pt idx="15304">
                  <c:v>54.815271620025428</c:v>
                </c:pt>
                <c:pt idx="15305">
                  <c:v>17.305064679463147</c:v>
                </c:pt>
                <c:pt idx="15306">
                  <c:v>32.617061479211017</c:v>
                </c:pt>
                <c:pt idx="15307">
                  <c:v>26.318620741167269</c:v>
                </c:pt>
                <c:pt idx="15308">
                  <c:v>32.709104302994859</c:v>
                </c:pt>
                <c:pt idx="15309">
                  <c:v>22.622893498293109</c:v>
                </c:pt>
                <c:pt idx="15310">
                  <c:v>24.163241650050956</c:v>
                </c:pt>
                <c:pt idx="15311">
                  <c:v>24.723026237024094</c:v>
                </c:pt>
                <c:pt idx="15312">
                  <c:v>29.939891774480405</c:v>
                </c:pt>
                <c:pt idx="15313">
                  <c:v>36.467496892828031</c:v>
                </c:pt>
                <c:pt idx="15314">
                  <c:v>43.257852295026559</c:v>
                </c:pt>
                <c:pt idx="15315">
                  <c:v>30.361998170328452</c:v>
                </c:pt>
                <c:pt idx="15316">
                  <c:v>34.102852484400167</c:v>
                </c:pt>
                <c:pt idx="15317">
                  <c:v>24.543588148964162</c:v>
                </c:pt>
                <c:pt idx="15318">
                  <c:v>25.877378436468334</c:v>
                </c:pt>
                <c:pt idx="15319">
                  <c:v>23.748115266345884</c:v>
                </c:pt>
                <c:pt idx="15320">
                  <c:v>25.989299530733785</c:v>
                </c:pt>
                <c:pt idx="15321">
                  <c:v>25.31491497170185</c:v>
                </c:pt>
                <c:pt idx="15322">
                  <c:v>33.480649823438206</c:v>
                </c:pt>
                <c:pt idx="15323">
                  <c:v>24.999426930982597</c:v>
                </c:pt>
                <c:pt idx="15324">
                  <c:v>25.341680287257194</c:v>
                </c:pt>
                <c:pt idx="15325">
                  <c:v>46.988006853613577</c:v>
                </c:pt>
                <c:pt idx="15326">
                  <c:v>24.291436874795384</c:v>
                </c:pt>
                <c:pt idx="15327">
                  <c:v>20.316197997663693</c:v>
                </c:pt>
                <c:pt idx="15328">
                  <c:v>28.87720844963102</c:v>
                </c:pt>
                <c:pt idx="15329">
                  <c:v>22.091769160187862</c:v>
                </c:pt>
                <c:pt idx="15330">
                  <c:v>29.864202344129193</c:v>
                </c:pt>
                <c:pt idx="15331">
                  <c:v>34.451684867524989</c:v>
                </c:pt>
                <c:pt idx="15332">
                  <c:v>34.503011652465091</c:v>
                </c:pt>
                <c:pt idx="15333">
                  <c:v>48.802552258357011</c:v>
                </c:pt>
                <c:pt idx="15334">
                  <c:v>52.516733196810655</c:v>
                </c:pt>
                <c:pt idx="15335">
                  <c:v>22.053284739088031</c:v>
                </c:pt>
                <c:pt idx="15336">
                  <c:v>40.243054153828012</c:v>
                </c:pt>
                <c:pt idx="15337">
                  <c:v>21.41059429773642</c:v>
                </c:pt>
                <c:pt idx="15338">
                  <c:v>18.008556002100413</c:v>
                </c:pt>
                <c:pt idx="15339">
                  <c:v>33.326767089026106</c:v>
                </c:pt>
                <c:pt idx="15340">
                  <c:v>27.483398909755728</c:v>
                </c:pt>
                <c:pt idx="15341">
                  <c:v>27.544066030795769</c:v>
                </c:pt>
                <c:pt idx="15342">
                  <c:v>29.714326437189452</c:v>
                </c:pt>
                <c:pt idx="15343">
                  <c:v>36.119989868576646</c:v>
                </c:pt>
                <c:pt idx="15344">
                  <c:v>42.851736113564485</c:v>
                </c:pt>
                <c:pt idx="15345">
                  <c:v>34.904591135990849</c:v>
                </c:pt>
                <c:pt idx="15346">
                  <c:v>24.538904156669435</c:v>
                </c:pt>
                <c:pt idx="15347">
                  <c:v>52.278870665427398</c:v>
                </c:pt>
                <c:pt idx="15348">
                  <c:v>20.674162764496756</c:v>
                </c:pt>
                <c:pt idx="15349">
                  <c:v>23.591439380208715</c:v>
                </c:pt>
                <c:pt idx="15350">
                  <c:v>24.60308368735409</c:v>
                </c:pt>
                <c:pt idx="15351">
                  <c:v>42.997065740485688</c:v>
                </c:pt>
                <c:pt idx="15352">
                  <c:v>24.377130311558709</c:v>
                </c:pt>
                <c:pt idx="15353">
                  <c:v>24.392319352439358</c:v>
                </c:pt>
                <c:pt idx="15354">
                  <c:v>44.295431759530679</c:v>
                </c:pt>
                <c:pt idx="15355">
                  <c:v>59.676924648166676</c:v>
                </c:pt>
                <c:pt idx="15356">
                  <c:v>23.291611789093835</c:v>
                </c:pt>
                <c:pt idx="15357">
                  <c:v>22.145110327122556</c:v>
                </c:pt>
                <c:pt idx="15358">
                  <c:v>35.283214629223366</c:v>
                </c:pt>
                <c:pt idx="15359">
                  <c:v>27.135865396094761</c:v>
                </c:pt>
                <c:pt idx="15360">
                  <c:v>23.281546022832444</c:v>
                </c:pt>
                <c:pt idx="15361">
                  <c:v>28.056128814802364</c:v>
                </c:pt>
                <c:pt idx="15362">
                  <c:v>27.693473026238166</c:v>
                </c:pt>
                <c:pt idx="15363">
                  <c:v>53.782406136165683</c:v>
                </c:pt>
                <c:pt idx="15364">
                  <c:v>28.475895542426017</c:v>
                </c:pt>
                <c:pt idx="15365">
                  <c:v>42.657756238632011</c:v>
                </c:pt>
                <c:pt idx="15366">
                  <c:v>49.517593122735057</c:v>
                </c:pt>
                <c:pt idx="15367">
                  <c:v>25.259784559915012</c:v>
                </c:pt>
                <c:pt idx="15368">
                  <c:v>25.950495899713005</c:v>
                </c:pt>
                <c:pt idx="15369">
                  <c:v>21.82956044893481</c:v>
                </c:pt>
                <c:pt idx="15370">
                  <c:v>28.153504951569698</c:v>
                </c:pt>
                <c:pt idx="15371">
                  <c:v>24.977838552143897</c:v>
                </c:pt>
                <c:pt idx="15372">
                  <c:v>26.92850195286595</c:v>
                </c:pt>
                <c:pt idx="15373">
                  <c:v>50.82376730280194</c:v>
                </c:pt>
                <c:pt idx="15374">
                  <c:v>30.82220204577041</c:v>
                </c:pt>
                <c:pt idx="15375">
                  <c:v>27.197217534272543</c:v>
                </c:pt>
                <c:pt idx="15376">
                  <c:v>39.999886004468571</c:v>
                </c:pt>
                <c:pt idx="15377">
                  <c:v>25.760580559621346</c:v>
                </c:pt>
                <c:pt idx="15378">
                  <c:v>33.665363251359103</c:v>
                </c:pt>
                <c:pt idx="15379">
                  <c:v>25.980474545486391</c:v>
                </c:pt>
                <c:pt idx="15380">
                  <c:v>29.085987225187612</c:v>
                </c:pt>
                <c:pt idx="15381">
                  <c:v>35.466554369881948</c:v>
                </c:pt>
                <c:pt idx="15382">
                  <c:v>26.298877964224541</c:v>
                </c:pt>
                <c:pt idx="15383">
                  <c:v>29.295531120594923</c:v>
                </c:pt>
                <c:pt idx="15384">
                  <c:v>30.448390052962164</c:v>
                </c:pt>
                <c:pt idx="15385">
                  <c:v>51.713271071907172</c:v>
                </c:pt>
                <c:pt idx="15386">
                  <c:v>11.329419556868977</c:v>
                </c:pt>
                <c:pt idx="15387">
                  <c:v>26.569205445727558</c:v>
                </c:pt>
                <c:pt idx="15388">
                  <c:v>26.552608418738053</c:v>
                </c:pt>
                <c:pt idx="15389">
                  <c:v>47.477487757858796</c:v>
                </c:pt>
                <c:pt idx="15390">
                  <c:v>23.323225607479102</c:v>
                </c:pt>
                <c:pt idx="15391">
                  <c:v>24.856274168879281</c:v>
                </c:pt>
                <c:pt idx="15392">
                  <c:v>27.437012724322958</c:v>
                </c:pt>
                <c:pt idx="15393">
                  <c:v>22.766266151896133</c:v>
                </c:pt>
                <c:pt idx="15394">
                  <c:v>30.706150904506195</c:v>
                </c:pt>
                <c:pt idx="15395">
                  <c:v>24.365801054530618</c:v>
                </c:pt>
                <c:pt idx="15396">
                  <c:v>30.421201748333466</c:v>
                </c:pt>
                <c:pt idx="15397">
                  <c:v>36.520890932741068</c:v>
                </c:pt>
                <c:pt idx="15398">
                  <c:v>23.699921042642266</c:v>
                </c:pt>
                <c:pt idx="15399">
                  <c:v>25.845681729837569</c:v>
                </c:pt>
                <c:pt idx="15400">
                  <c:v>34.237052012312347</c:v>
                </c:pt>
                <c:pt idx="15401">
                  <c:v>42.274437132069913</c:v>
                </c:pt>
                <c:pt idx="15402">
                  <c:v>53.195732732013283</c:v>
                </c:pt>
                <c:pt idx="15403">
                  <c:v>21.669004761527805</c:v>
                </c:pt>
                <c:pt idx="15404">
                  <c:v>36.485266007205652</c:v>
                </c:pt>
                <c:pt idx="15405">
                  <c:v>30.308714753762946</c:v>
                </c:pt>
                <c:pt idx="15406">
                  <c:v>42.857852419201365</c:v>
                </c:pt>
                <c:pt idx="15407">
                  <c:v>30.030336175891254</c:v>
                </c:pt>
                <c:pt idx="15408">
                  <c:v>32.3614360111035</c:v>
                </c:pt>
                <c:pt idx="15409">
                  <c:v>31.798560308462736</c:v>
                </c:pt>
                <c:pt idx="15410">
                  <c:v>26.567674974420946</c:v>
                </c:pt>
                <c:pt idx="15411">
                  <c:v>50.936333177338803</c:v>
                </c:pt>
                <c:pt idx="15412">
                  <c:v>26.285025824322929</c:v>
                </c:pt>
                <c:pt idx="15413">
                  <c:v>27.706676059162238</c:v>
                </c:pt>
                <c:pt idx="15414">
                  <c:v>43.239238676218768</c:v>
                </c:pt>
                <c:pt idx="15415">
                  <c:v>29.34501110491825</c:v>
                </c:pt>
                <c:pt idx="15416">
                  <c:v>45.108345467794933</c:v>
                </c:pt>
                <c:pt idx="15417">
                  <c:v>24.193755347231946</c:v>
                </c:pt>
                <c:pt idx="15418">
                  <c:v>22.993480513922886</c:v>
                </c:pt>
                <c:pt idx="15419">
                  <c:v>32.852679977532965</c:v>
                </c:pt>
                <c:pt idx="15420">
                  <c:v>39.782613452505522</c:v>
                </c:pt>
                <c:pt idx="15421">
                  <c:v>25.014076839424316</c:v>
                </c:pt>
                <c:pt idx="15422">
                  <c:v>40.599333007217595</c:v>
                </c:pt>
                <c:pt idx="15423">
                  <c:v>28.420217250769369</c:v>
                </c:pt>
                <c:pt idx="15424">
                  <c:v>26.087908508597664</c:v>
                </c:pt>
                <c:pt idx="15425">
                  <c:v>40.033258256871228</c:v>
                </c:pt>
                <c:pt idx="15426">
                  <c:v>26.197056795520815</c:v>
                </c:pt>
                <c:pt idx="15427">
                  <c:v>40.029057666258382</c:v>
                </c:pt>
                <c:pt idx="15428">
                  <c:v>24.670462386493956</c:v>
                </c:pt>
                <c:pt idx="15429">
                  <c:v>32.051102064338899</c:v>
                </c:pt>
                <c:pt idx="15430">
                  <c:v>28.649381610609748</c:v>
                </c:pt>
                <c:pt idx="15431">
                  <c:v>27.992158952102663</c:v>
                </c:pt>
                <c:pt idx="15432">
                  <c:v>21.721873415902579</c:v>
                </c:pt>
                <c:pt idx="15433">
                  <c:v>28.804400092544043</c:v>
                </c:pt>
                <c:pt idx="15434">
                  <c:v>30.855594523862816</c:v>
                </c:pt>
                <c:pt idx="15435">
                  <c:v>26.585017987575853</c:v>
                </c:pt>
                <c:pt idx="15436">
                  <c:v>25.656786716850554</c:v>
                </c:pt>
                <c:pt idx="15437">
                  <c:v>38.91789644701359</c:v>
                </c:pt>
                <c:pt idx="15438">
                  <c:v>30.118784285677819</c:v>
                </c:pt>
                <c:pt idx="15439">
                  <c:v>24.09816652029798</c:v>
                </c:pt>
                <c:pt idx="15440">
                  <c:v>32.461574560820729</c:v>
                </c:pt>
                <c:pt idx="15441">
                  <c:v>24.495618833259577</c:v>
                </c:pt>
                <c:pt idx="15442">
                  <c:v>20.977704608422357</c:v>
                </c:pt>
                <c:pt idx="15443">
                  <c:v>27.548723487035648</c:v>
                </c:pt>
                <c:pt idx="15444">
                  <c:v>25.184940313028985</c:v>
                </c:pt>
                <c:pt idx="15445">
                  <c:v>23.098767808098941</c:v>
                </c:pt>
                <c:pt idx="15446">
                  <c:v>22.536722431003323</c:v>
                </c:pt>
                <c:pt idx="15447">
                  <c:v>53.045357550372294</c:v>
                </c:pt>
                <c:pt idx="15448">
                  <c:v>40.808572738554851</c:v>
                </c:pt>
                <c:pt idx="15449">
                  <c:v>27.501993159473351</c:v>
                </c:pt>
                <c:pt idx="15450">
                  <c:v>21.788100974281885</c:v>
                </c:pt>
                <c:pt idx="15451">
                  <c:v>22.055468549890023</c:v>
                </c:pt>
                <c:pt idx="15452">
                  <c:v>25.758768396243333</c:v>
                </c:pt>
                <c:pt idx="15453">
                  <c:v>51.204105858137602</c:v>
                </c:pt>
                <c:pt idx="15454">
                  <c:v>52.5909967761852</c:v>
                </c:pt>
                <c:pt idx="15455">
                  <c:v>30.132522535626109</c:v>
                </c:pt>
                <c:pt idx="15456">
                  <c:v>19.047889668657525</c:v>
                </c:pt>
                <c:pt idx="15457">
                  <c:v>29.189046932192035</c:v>
                </c:pt>
                <c:pt idx="15458">
                  <c:v>53.638520363888475</c:v>
                </c:pt>
                <c:pt idx="15459">
                  <c:v>34.7755632577664</c:v>
                </c:pt>
                <c:pt idx="15460">
                  <c:v>36.86080104261071</c:v>
                </c:pt>
                <c:pt idx="15461">
                  <c:v>30.704101925342833</c:v>
                </c:pt>
                <c:pt idx="15462">
                  <c:v>21.769954271906585</c:v>
                </c:pt>
                <c:pt idx="15463">
                  <c:v>30.284261319245498</c:v>
                </c:pt>
                <c:pt idx="15464">
                  <c:v>32.709338319404765</c:v>
                </c:pt>
                <c:pt idx="15465">
                  <c:v>21.824949965283455</c:v>
                </c:pt>
                <c:pt idx="15466">
                  <c:v>38.817004172940933</c:v>
                </c:pt>
                <c:pt idx="15467">
                  <c:v>26.73550174655103</c:v>
                </c:pt>
                <c:pt idx="15468">
                  <c:v>31.622164589578624</c:v>
                </c:pt>
                <c:pt idx="15469">
                  <c:v>45.964151828261244</c:v>
                </c:pt>
                <c:pt idx="15470">
                  <c:v>34.414815450023987</c:v>
                </c:pt>
                <c:pt idx="15471">
                  <c:v>25.084507627440793</c:v>
                </c:pt>
                <c:pt idx="15472">
                  <c:v>40.98150059317981</c:v>
                </c:pt>
                <c:pt idx="15473">
                  <c:v>29.392308958943062</c:v>
                </c:pt>
                <c:pt idx="15474">
                  <c:v>26.100501317319612</c:v>
                </c:pt>
                <c:pt idx="15475">
                  <c:v>19.148457081068837</c:v>
                </c:pt>
                <c:pt idx="15476">
                  <c:v>20.145586671742223</c:v>
                </c:pt>
                <c:pt idx="15477">
                  <c:v>28.275997852651209</c:v>
                </c:pt>
                <c:pt idx="15478">
                  <c:v>24.346271222851211</c:v>
                </c:pt>
                <c:pt idx="15479">
                  <c:v>52.875662523805609</c:v>
                </c:pt>
                <c:pt idx="15480">
                  <c:v>29.019770473464717</c:v>
                </c:pt>
                <c:pt idx="15481">
                  <c:v>28.409098938387999</c:v>
                </c:pt>
                <c:pt idx="15482">
                  <c:v>32.720257841015588</c:v>
                </c:pt>
                <c:pt idx="15483">
                  <c:v>44.451323540334883</c:v>
                </c:pt>
                <c:pt idx="15484">
                  <c:v>31.459063519220894</c:v>
                </c:pt>
                <c:pt idx="15485">
                  <c:v>26.031352755914789</c:v>
                </c:pt>
                <c:pt idx="15486">
                  <c:v>24.12011726716883</c:v>
                </c:pt>
                <c:pt idx="15487">
                  <c:v>34.839331777089633</c:v>
                </c:pt>
                <c:pt idx="15488">
                  <c:v>26.347440710462855</c:v>
                </c:pt>
                <c:pt idx="15489">
                  <c:v>33.434697965539137</c:v>
                </c:pt>
                <c:pt idx="15490">
                  <c:v>19.669271221596382</c:v>
                </c:pt>
                <c:pt idx="15491">
                  <c:v>41.559107824826242</c:v>
                </c:pt>
                <c:pt idx="15492">
                  <c:v>54.363302737899026</c:v>
                </c:pt>
                <c:pt idx="15493">
                  <c:v>25.270862517071524</c:v>
                </c:pt>
                <c:pt idx="15494">
                  <c:v>27.783454595787475</c:v>
                </c:pt>
                <c:pt idx="15495">
                  <c:v>26.123823893501921</c:v>
                </c:pt>
                <c:pt idx="15496">
                  <c:v>31.773993307083558</c:v>
                </c:pt>
                <c:pt idx="15497">
                  <c:v>38.786605563613712</c:v>
                </c:pt>
                <c:pt idx="15498">
                  <c:v>46.777587180119987</c:v>
                </c:pt>
                <c:pt idx="15499">
                  <c:v>31.35659740060056</c:v>
                </c:pt>
                <c:pt idx="15500">
                  <c:v>29.657940543285129</c:v>
                </c:pt>
                <c:pt idx="15501">
                  <c:v>31.217312701574777</c:v>
                </c:pt>
                <c:pt idx="15502">
                  <c:v>24.161879171719889</c:v>
                </c:pt>
                <c:pt idx="15503">
                  <c:v>33.297345161035466</c:v>
                </c:pt>
                <c:pt idx="15504">
                  <c:v>28.56433832976716</c:v>
                </c:pt>
                <c:pt idx="15505">
                  <c:v>21.040331763477738</c:v>
                </c:pt>
                <c:pt idx="15506">
                  <c:v>28.02227432887824</c:v>
                </c:pt>
                <c:pt idx="15507">
                  <c:v>21.078959879504769</c:v>
                </c:pt>
                <c:pt idx="15508">
                  <c:v>27.045249034614436</c:v>
                </c:pt>
                <c:pt idx="15509">
                  <c:v>26.410798565980759</c:v>
                </c:pt>
                <c:pt idx="15510">
                  <c:v>29.738156077761609</c:v>
                </c:pt>
                <c:pt idx="15511">
                  <c:v>26.228985894601045</c:v>
                </c:pt>
                <c:pt idx="15512">
                  <c:v>19.991326752558578</c:v>
                </c:pt>
                <c:pt idx="15513">
                  <c:v>32.0192976983721</c:v>
                </c:pt>
                <c:pt idx="15514">
                  <c:v>46.629744943899546</c:v>
                </c:pt>
                <c:pt idx="15515">
                  <c:v>23.683220521154464</c:v>
                </c:pt>
                <c:pt idx="15516">
                  <c:v>27.503226382459449</c:v>
                </c:pt>
                <c:pt idx="15517">
                  <c:v>28.512829459808216</c:v>
                </c:pt>
                <c:pt idx="15518">
                  <c:v>21.359579618497314</c:v>
                </c:pt>
                <c:pt idx="15519">
                  <c:v>47.295228410424244</c:v>
                </c:pt>
                <c:pt idx="15520">
                  <c:v>27.010051080491515</c:v>
                </c:pt>
                <c:pt idx="15521">
                  <c:v>31.857818482570039</c:v>
                </c:pt>
                <c:pt idx="15522">
                  <c:v>27.969521307397184</c:v>
                </c:pt>
                <c:pt idx="15523">
                  <c:v>41.035859980451171</c:v>
                </c:pt>
                <c:pt idx="15524">
                  <c:v>52.520128410414266</c:v>
                </c:pt>
                <c:pt idx="15525">
                  <c:v>24.073556761243655</c:v>
                </c:pt>
                <c:pt idx="15526">
                  <c:v>21.697678493588509</c:v>
                </c:pt>
                <c:pt idx="15527">
                  <c:v>40.407584919454187</c:v>
                </c:pt>
                <c:pt idx="15528">
                  <c:v>47.131182911762686</c:v>
                </c:pt>
                <c:pt idx="15529">
                  <c:v>41.000884815637562</c:v>
                </c:pt>
                <c:pt idx="15530">
                  <c:v>28.841652077249972</c:v>
                </c:pt>
                <c:pt idx="15531">
                  <c:v>47.185563213376504</c:v>
                </c:pt>
                <c:pt idx="15532">
                  <c:v>45.731385407785581</c:v>
                </c:pt>
                <c:pt idx="15533">
                  <c:v>29.648372335981527</c:v>
                </c:pt>
                <c:pt idx="15534">
                  <c:v>33.421824824732077</c:v>
                </c:pt>
                <c:pt idx="15535">
                  <c:v>24.205387763688705</c:v>
                </c:pt>
                <c:pt idx="15536">
                  <c:v>26.323901635934298</c:v>
                </c:pt>
                <c:pt idx="15537">
                  <c:v>39.634116054080948</c:v>
                </c:pt>
                <c:pt idx="15538">
                  <c:v>34.481115059493291</c:v>
                </c:pt>
                <c:pt idx="15539">
                  <c:v>36.840850368209324</c:v>
                </c:pt>
                <c:pt idx="15540">
                  <c:v>33.681207299512529</c:v>
                </c:pt>
                <c:pt idx="15541">
                  <c:v>21.177818015814321</c:v>
                </c:pt>
                <c:pt idx="15542">
                  <c:v>36.001040918700866</c:v>
                </c:pt>
                <c:pt idx="15543">
                  <c:v>26.454036836766626</c:v>
                </c:pt>
                <c:pt idx="15544">
                  <c:v>25.211129313421022</c:v>
                </c:pt>
                <c:pt idx="15545">
                  <c:v>27.537570318955563</c:v>
                </c:pt>
                <c:pt idx="15546">
                  <c:v>39.633906476246082</c:v>
                </c:pt>
                <c:pt idx="15547">
                  <c:v>41.646161843922471</c:v>
                </c:pt>
                <c:pt idx="15548">
                  <c:v>30.024328902565369</c:v>
                </c:pt>
                <c:pt idx="15549">
                  <c:v>18.713024991303314</c:v>
                </c:pt>
                <c:pt idx="15550">
                  <c:v>30.032245618164925</c:v>
                </c:pt>
                <c:pt idx="15551">
                  <c:v>45.869710907568766</c:v>
                </c:pt>
                <c:pt idx="15552">
                  <c:v>40.682188470663611</c:v>
                </c:pt>
                <c:pt idx="15553">
                  <c:v>39.59584999010643</c:v>
                </c:pt>
                <c:pt idx="15554">
                  <c:v>27.819187773322913</c:v>
                </c:pt>
                <c:pt idx="15555">
                  <c:v>28.066335400245624</c:v>
                </c:pt>
                <c:pt idx="15556">
                  <c:v>32.390624807872058</c:v>
                </c:pt>
                <c:pt idx="15557">
                  <c:v>30.546017629769537</c:v>
                </c:pt>
                <c:pt idx="15558">
                  <c:v>25.340139784227798</c:v>
                </c:pt>
                <c:pt idx="15559">
                  <c:v>28.595436667071077</c:v>
                </c:pt>
                <c:pt idx="15560">
                  <c:v>21.375249839685399</c:v>
                </c:pt>
                <c:pt idx="15561">
                  <c:v>26.895970402754099</c:v>
                </c:pt>
                <c:pt idx="15562">
                  <c:v>27.519566976526605</c:v>
                </c:pt>
                <c:pt idx="15563">
                  <c:v>28.306463651726233</c:v>
                </c:pt>
                <c:pt idx="15564">
                  <c:v>21.438775957403017</c:v>
                </c:pt>
                <c:pt idx="15565">
                  <c:v>19.924734761851749</c:v>
                </c:pt>
                <c:pt idx="15566">
                  <c:v>45.555730633423643</c:v>
                </c:pt>
                <c:pt idx="15567">
                  <c:v>28.672083875506754</c:v>
                </c:pt>
                <c:pt idx="15568">
                  <c:v>18.934977607738173</c:v>
                </c:pt>
                <c:pt idx="15569">
                  <c:v>48.578218188684502</c:v>
                </c:pt>
                <c:pt idx="15570">
                  <c:v>28.295380286936226</c:v>
                </c:pt>
                <c:pt idx="15571">
                  <c:v>26.738202980898247</c:v>
                </c:pt>
                <c:pt idx="15572">
                  <c:v>53.487376670025981</c:v>
                </c:pt>
                <c:pt idx="15573">
                  <c:v>60.032001050995419</c:v>
                </c:pt>
                <c:pt idx="15574">
                  <c:v>32.108016863693344</c:v>
                </c:pt>
                <c:pt idx="15575">
                  <c:v>31.034804155991132</c:v>
                </c:pt>
                <c:pt idx="15576">
                  <c:v>24.363547611993486</c:v>
                </c:pt>
                <c:pt idx="15577">
                  <c:v>50.170249262891637</c:v>
                </c:pt>
                <c:pt idx="15578">
                  <c:v>26.238513691036125</c:v>
                </c:pt>
                <c:pt idx="15579">
                  <c:v>25.817190496729005</c:v>
                </c:pt>
                <c:pt idx="15580">
                  <c:v>49.414117724398871</c:v>
                </c:pt>
                <c:pt idx="15581">
                  <c:v>38.213430895574668</c:v>
                </c:pt>
                <c:pt idx="15582">
                  <c:v>28.746944019253323</c:v>
                </c:pt>
                <c:pt idx="15583">
                  <c:v>37.702144012877007</c:v>
                </c:pt>
                <c:pt idx="15584">
                  <c:v>32.326644988863187</c:v>
                </c:pt>
                <c:pt idx="15585">
                  <c:v>22.821079683132073</c:v>
                </c:pt>
                <c:pt idx="15586">
                  <c:v>21.60186019250698</c:v>
                </c:pt>
                <c:pt idx="15587">
                  <c:v>26.27573912566762</c:v>
                </c:pt>
                <c:pt idx="15588">
                  <c:v>26.755354971522362</c:v>
                </c:pt>
                <c:pt idx="15589">
                  <c:v>50.058596039905872</c:v>
                </c:pt>
                <c:pt idx="15590">
                  <c:v>27.429993252758326</c:v>
                </c:pt>
                <c:pt idx="15591">
                  <c:v>22.336587954903216</c:v>
                </c:pt>
                <c:pt idx="15592">
                  <c:v>27.279761641570214</c:v>
                </c:pt>
                <c:pt idx="15593">
                  <c:v>34.98879672093782</c:v>
                </c:pt>
                <c:pt idx="15594">
                  <c:v>28.911137156622921</c:v>
                </c:pt>
                <c:pt idx="15595">
                  <c:v>25.913138344971635</c:v>
                </c:pt>
                <c:pt idx="15596">
                  <c:v>25.761327054955867</c:v>
                </c:pt>
                <c:pt idx="15597">
                  <c:v>28.157744334427548</c:v>
                </c:pt>
                <c:pt idx="15598">
                  <c:v>17.657772411427437</c:v>
                </c:pt>
                <c:pt idx="15599">
                  <c:v>25.910314999634522</c:v>
                </c:pt>
                <c:pt idx="15600">
                  <c:v>42.677988835351208</c:v>
                </c:pt>
                <c:pt idx="15601">
                  <c:v>22.627835940488353</c:v>
                </c:pt>
                <c:pt idx="15602">
                  <c:v>22.250981810842259</c:v>
                </c:pt>
                <c:pt idx="15603">
                  <c:v>26.590066414087936</c:v>
                </c:pt>
                <c:pt idx="15604">
                  <c:v>25.531113091474012</c:v>
                </c:pt>
                <c:pt idx="15605">
                  <c:v>19.642627349656685</c:v>
                </c:pt>
                <c:pt idx="15606">
                  <c:v>34.464859797657198</c:v>
                </c:pt>
                <c:pt idx="15607">
                  <c:v>25.357632584852329</c:v>
                </c:pt>
                <c:pt idx="15608">
                  <c:v>25.66185504670279</c:v>
                </c:pt>
                <c:pt idx="15609">
                  <c:v>28.714090327882342</c:v>
                </c:pt>
                <c:pt idx="15610">
                  <c:v>32.077192738303111</c:v>
                </c:pt>
                <c:pt idx="15611">
                  <c:v>31.652163478284617</c:v>
                </c:pt>
                <c:pt idx="15612">
                  <c:v>17.967967521345216</c:v>
                </c:pt>
                <c:pt idx="15613">
                  <c:v>42.998206500782743</c:v>
                </c:pt>
                <c:pt idx="15614">
                  <c:v>29.115796967022867</c:v>
                </c:pt>
                <c:pt idx="15615">
                  <c:v>40.625714816551138</c:v>
                </c:pt>
                <c:pt idx="15616">
                  <c:v>19.759014526440456</c:v>
                </c:pt>
                <c:pt idx="15617">
                  <c:v>39.570824498320405</c:v>
                </c:pt>
                <c:pt idx="15618">
                  <c:v>27.913132575981262</c:v>
                </c:pt>
                <c:pt idx="15619">
                  <c:v>24.156366394068961</c:v>
                </c:pt>
                <c:pt idx="15620">
                  <c:v>38.696526266532153</c:v>
                </c:pt>
                <c:pt idx="15621">
                  <c:v>29.43756472767949</c:v>
                </c:pt>
                <c:pt idx="15622">
                  <c:v>22.127974897733921</c:v>
                </c:pt>
                <c:pt idx="15623">
                  <c:v>36.206137228129826</c:v>
                </c:pt>
                <c:pt idx="15624">
                  <c:v>20.366589084902618</c:v>
                </c:pt>
                <c:pt idx="15625">
                  <c:v>49.311992077357559</c:v>
                </c:pt>
                <c:pt idx="15626">
                  <c:v>54.179833886416333</c:v>
                </c:pt>
                <c:pt idx="15627">
                  <c:v>29.669381915069589</c:v>
                </c:pt>
                <c:pt idx="15628">
                  <c:v>42.654369522902122</c:v>
                </c:pt>
                <c:pt idx="15629">
                  <c:v>32.872737965562983</c:v>
                </c:pt>
                <c:pt idx="15630">
                  <c:v>28.255385835476748</c:v>
                </c:pt>
                <c:pt idx="15631">
                  <c:v>48.66238581298461</c:v>
                </c:pt>
                <c:pt idx="15632">
                  <c:v>31.61838503753259</c:v>
                </c:pt>
                <c:pt idx="15633">
                  <c:v>23.483809129554718</c:v>
                </c:pt>
                <c:pt idx="15634">
                  <c:v>32.632617178428241</c:v>
                </c:pt>
                <c:pt idx="15635">
                  <c:v>20.577020058007442</c:v>
                </c:pt>
                <c:pt idx="15636">
                  <c:v>49.001429467454983</c:v>
                </c:pt>
                <c:pt idx="15637">
                  <c:v>26.638066659504187</c:v>
                </c:pt>
                <c:pt idx="15638">
                  <c:v>20.966170220109824</c:v>
                </c:pt>
                <c:pt idx="15639">
                  <c:v>29.720416679476067</c:v>
                </c:pt>
                <c:pt idx="15640">
                  <c:v>22.578096740250952</c:v>
                </c:pt>
                <c:pt idx="15641">
                  <c:v>32.674142698275531</c:v>
                </c:pt>
                <c:pt idx="15642">
                  <c:v>21.174813908480544</c:v>
                </c:pt>
                <c:pt idx="15643">
                  <c:v>30.346309167824316</c:v>
                </c:pt>
                <c:pt idx="15644">
                  <c:v>38.849663510984151</c:v>
                </c:pt>
                <c:pt idx="15645">
                  <c:v>42.632162670346098</c:v>
                </c:pt>
                <c:pt idx="15646">
                  <c:v>22.107034856087346</c:v>
                </c:pt>
                <c:pt idx="15647">
                  <c:v>28.990694299533519</c:v>
                </c:pt>
                <c:pt idx="15648">
                  <c:v>29.555554383358576</c:v>
                </c:pt>
                <c:pt idx="15649">
                  <c:v>25.682698931533949</c:v>
                </c:pt>
                <c:pt idx="15650">
                  <c:v>20.774378000055322</c:v>
                </c:pt>
                <c:pt idx="15651">
                  <c:v>41.890165556808491</c:v>
                </c:pt>
                <c:pt idx="15652">
                  <c:v>27.748027466556721</c:v>
                </c:pt>
                <c:pt idx="15653">
                  <c:v>37.347155744995895</c:v>
                </c:pt>
                <c:pt idx="15654">
                  <c:v>28.890718372659279</c:v>
                </c:pt>
                <c:pt idx="15655">
                  <c:v>24.984999726290141</c:v>
                </c:pt>
                <c:pt idx="15656">
                  <c:v>31.463983744807141</c:v>
                </c:pt>
                <c:pt idx="15657">
                  <c:v>37.408139102561307</c:v>
                </c:pt>
                <c:pt idx="15658">
                  <c:v>26.664094863539717</c:v>
                </c:pt>
                <c:pt idx="15659">
                  <c:v>32.839020773450905</c:v>
                </c:pt>
                <c:pt idx="15660">
                  <c:v>27.53815738498497</c:v>
                </c:pt>
                <c:pt idx="15661">
                  <c:v>26.687715089832402</c:v>
                </c:pt>
                <c:pt idx="15662">
                  <c:v>29.414081964823552</c:v>
                </c:pt>
                <c:pt idx="15663">
                  <c:v>31.194628054161569</c:v>
                </c:pt>
                <c:pt idx="15664">
                  <c:v>41.597432056742527</c:v>
                </c:pt>
                <c:pt idx="15665">
                  <c:v>45.893846617173971</c:v>
                </c:pt>
                <c:pt idx="15666">
                  <c:v>31.819052094803531</c:v>
                </c:pt>
                <c:pt idx="15667">
                  <c:v>27.591769526640405</c:v>
                </c:pt>
                <c:pt idx="15668">
                  <c:v>22.749318299491218</c:v>
                </c:pt>
                <c:pt idx="15669">
                  <c:v>27.17458846101335</c:v>
                </c:pt>
                <c:pt idx="15670">
                  <c:v>37.549767719133158</c:v>
                </c:pt>
                <c:pt idx="15671">
                  <c:v>39.117497521826564</c:v>
                </c:pt>
                <c:pt idx="15672">
                  <c:v>27.386772207274774</c:v>
                </c:pt>
                <c:pt idx="15673">
                  <c:v>51.454777882598215</c:v>
                </c:pt>
                <c:pt idx="15674">
                  <c:v>25.228093582167709</c:v>
                </c:pt>
                <c:pt idx="15675">
                  <c:v>33.190370578373759</c:v>
                </c:pt>
                <c:pt idx="15676">
                  <c:v>28.730419497826045</c:v>
                </c:pt>
                <c:pt idx="15677">
                  <c:v>31.676506590684816</c:v>
                </c:pt>
                <c:pt idx="15678">
                  <c:v>42.264674622315418</c:v>
                </c:pt>
                <c:pt idx="15679">
                  <c:v>25.627185898089866</c:v>
                </c:pt>
                <c:pt idx="15680">
                  <c:v>59.865098449368311</c:v>
                </c:pt>
                <c:pt idx="15681">
                  <c:v>51.224467960654714</c:v>
                </c:pt>
                <c:pt idx="15682">
                  <c:v>22.256142889667363</c:v>
                </c:pt>
                <c:pt idx="15683">
                  <c:v>39.852774824813658</c:v>
                </c:pt>
                <c:pt idx="15684">
                  <c:v>26.890330603584008</c:v>
                </c:pt>
                <c:pt idx="15685">
                  <c:v>46.630751133993243</c:v>
                </c:pt>
                <c:pt idx="15686">
                  <c:v>35.207775214216447</c:v>
                </c:pt>
                <c:pt idx="15687">
                  <c:v>19.03327844614136</c:v>
                </c:pt>
                <c:pt idx="15688">
                  <c:v>28.809524003537966</c:v>
                </c:pt>
                <c:pt idx="15689">
                  <c:v>25.168629629297932</c:v>
                </c:pt>
                <c:pt idx="15690">
                  <c:v>44.543179652342943</c:v>
                </c:pt>
                <c:pt idx="15691">
                  <c:v>31.978608034463793</c:v>
                </c:pt>
                <c:pt idx="15692">
                  <c:v>34.082533359321971</c:v>
                </c:pt>
                <c:pt idx="15693">
                  <c:v>37.932435805936649</c:v>
                </c:pt>
                <c:pt idx="15694">
                  <c:v>28.862424946093942</c:v>
                </c:pt>
                <c:pt idx="15695">
                  <c:v>37.651960651247805</c:v>
                </c:pt>
                <c:pt idx="15696">
                  <c:v>27.020574534327721</c:v>
                </c:pt>
                <c:pt idx="15697">
                  <c:v>45.114383779900976</c:v>
                </c:pt>
                <c:pt idx="15698">
                  <c:v>34.250779433654913</c:v>
                </c:pt>
                <c:pt idx="15699">
                  <c:v>23.824144622879583</c:v>
                </c:pt>
                <c:pt idx="15700">
                  <c:v>27.079891693367472</c:v>
                </c:pt>
                <c:pt idx="15701">
                  <c:v>20.241693671409926</c:v>
                </c:pt>
                <c:pt idx="15702">
                  <c:v>49.921587672855566</c:v>
                </c:pt>
                <c:pt idx="15703">
                  <c:v>53.149127894945309</c:v>
                </c:pt>
                <c:pt idx="15704">
                  <c:v>27.637880995200003</c:v>
                </c:pt>
                <c:pt idx="15705">
                  <c:v>23.227017402503581</c:v>
                </c:pt>
                <c:pt idx="15706">
                  <c:v>24.928176927443261</c:v>
                </c:pt>
                <c:pt idx="15707">
                  <c:v>24.424573720165078</c:v>
                </c:pt>
                <c:pt idx="15708">
                  <c:v>38.235671798799501</c:v>
                </c:pt>
                <c:pt idx="15709">
                  <c:v>23.520460792804162</c:v>
                </c:pt>
                <c:pt idx="15710">
                  <c:v>26.441481921209274</c:v>
                </c:pt>
                <c:pt idx="15711">
                  <c:v>18.869594811100285</c:v>
                </c:pt>
                <c:pt idx="15712">
                  <c:v>32.492389649988951</c:v>
                </c:pt>
                <c:pt idx="15713">
                  <c:v>20.792239106809667</c:v>
                </c:pt>
                <c:pt idx="15714">
                  <c:v>28.317843489566041</c:v>
                </c:pt>
                <c:pt idx="15715">
                  <c:v>29.013359612492199</c:v>
                </c:pt>
                <c:pt idx="15716">
                  <c:v>28.406486647754313</c:v>
                </c:pt>
                <c:pt idx="15717">
                  <c:v>53.737665184911208</c:v>
                </c:pt>
                <c:pt idx="15718">
                  <c:v>22.137068205339027</c:v>
                </c:pt>
                <c:pt idx="15719">
                  <c:v>47.104762506315311</c:v>
                </c:pt>
                <c:pt idx="15720">
                  <c:v>45.431565627727259</c:v>
                </c:pt>
                <c:pt idx="15721">
                  <c:v>31.700800633467296</c:v>
                </c:pt>
                <c:pt idx="15722">
                  <c:v>16.519891396148452</c:v>
                </c:pt>
                <c:pt idx="15723">
                  <c:v>27.130418238901257</c:v>
                </c:pt>
                <c:pt idx="15724">
                  <c:v>20.569232551857894</c:v>
                </c:pt>
                <c:pt idx="15725">
                  <c:v>28.349576003585376</c:v>
                </c:pt>
                <c:pt idx="15726">
                  <c:v>35.306786157541573</c:v>
                </c:pt>
                <c:pt idx="15727">
                  <c:v>27.545412603504158</c:v>
                </c:pt>
                <c:pt idx="15728">
                  <c:v>36.346441589067204</c:v>
                </c:pt>
                <c:pt idx="15729">
                  <c:v>32.400135880804463</c:v>
                </c:pt>
                <c:pt idx="15730">
                  <c:v>34.555513849596188</c:v>
                </c:pt>
                <c:pt idx="15731">
                  <c:v>27.331842397331229</c:v>
                </c:pt>
                <c:pt idx="15732">
                  <c:v>24.179672643380545</c:v>
                </c:pt>
                <c:pt idx="15733">
                  <c:v>44.848608205147471</c:v>
                </c:pt>
                <c:pt idx="15734">
                  <c:v>26.144116207497248</c:v>
                </c:pt>
                <c:pt idx="15735">
                  <c:v>24.675865369961496</c:v>
                </c:pt>
                <c:pt idx="15736">
                  <c:v>27.349544720206449</c:v>
                </c:pt>
                <c:pt idx="15737">
                  <c:v>43.789012092177408</c:v>
                </c:pt>
                <c:pt idx="15738">
                  <c:v>24.090104262326406</c:v>
                </c:pt>
                <c:pt idx="15739">
                  <c:v>30.476332956726154</c:v>
                </c:pt>
                <c:pt idx="15740">
                  <c:v>20.074620099675442</c:v>
                </c:pt>
                <c:pt idx="15741">
                  <c:v>45.764680614792994</c:v>
                </c:pt>
                <c:pt idx="15742">
                  <c:v>21.197058688620203</c:v>
                </c:pt>
                <c:pt idx="15743">
                  <c:v>24.069040132034942</c:v>
                </c:pt>
                <c:pt idx="15744">
                  <c:v>20.115454908878899</c:v>
                </c:pt>
                <c:pt idx="15745">
                  <c:v>34.406571509701926</c:v>
                </c:pt>
                <c:pt idx="15746">
                  <c:v>34.366481863342237</c:v>
                </c:pt>
                <c:pt idx="15747">
                  <c:v>44.969664675196078</c:v>
                </c:pt>
                <c:pt idx="15748">
                  <c:v>39.674039229063894</c:v>
                </c:pt>
                <c:pt idx="15749">
                  <c:v>25.602553398634115</c:v>
                </c:pt>
                <c:pt idx="15750">
                  <c:v>29.669221045699089</c:v>
                </c:pt>
                <c:pt idx="15751">
                  <c:v>23.001101762398456</c:v>
                </c:pt>
                <c:pt idx="15752">
                  <c:v>27.812003701032875</c:v>
                </c:pt>
                <c:pt idx="15753">
                  <c:v>35.387539730504969</c:v>
                </c:pt>
                <c:pt idx="15754">
                  <c:v>24.062308839755637</c:v>
                </c:pt>
                <c:pt idx="15755">
                  <c:v>44.715834221003909</c:v>
                </c:pt>
                <c:pt idx="15756">
                  <c:v>31.287091643738087</c:v>
                </c:pt>
                <c:pt idx="15757">
                  <c:v>30.088506126379674</c:v>
                </c:pt>
                <c:pt idx="15758">
                  <c:v>49.126421346162154</c:v>
                </c:pt>
                <c:pt idx="15759">
                  <c:v>33.994652093530391</c:v>
                </c:pt>
                <c:pt idx="15760">
                  <c:v>32.743579815677244</c:v>
                </c:pt>
                <c:pt idx="15761">
                  <c:v>49.547853346643429</c:v>
                </c:pt>
                <c:pt idx="15762">
                  <c:v>52.126163597426824</c:v>
                </c:pt>
                <c:pt idx="15763">
                  <c:v>27.440295466778991</c:v>
                </c:pt>
                <c:pt idx="15764">
                  <c:v>22.587260060744004</c:v>
                </c:pt>
                <c:pt idx="15765">
                  <c:v>25.008849957918397</c:v>
                </c:pt>
                <c:pt idx="15766">
                  <c:v>33.273513481909063</c:v>
                </c:pt>
                <c:pt idx="15767">
                  <c:v>29.857151604299432</c:v>
                </c:pt>
                <c:pt idx="15768">
                  <c:v>33.371603379398252</c:v>
                </c:pt>
                <c:pt idx="15769">
                  <c:v>21.546684360615615</c:v>
                </c:pt>
                <c:pt idx="15770">
                  <c:v>42.229854701014119</c:v>
                </c:pt>
                <c:pt idx="15771">
                  <c:v>27.92028449001905</c:v>
                </c:pt>
                <c:pt idx="15772">
                  <c:v>33.715843666670644</c:v>
                </c:pt>
                <c:pt idx="15773">
                  <c:v>20.866201842951774</c:v>
                </c:pt>
                <c:pt idx="15774">
                  <c:v>49.305358472701862</c:v>
                </c:pt>
                <c:pt idx="15775">
                  <c:v>43.315223086694083</c:v>
                </c:pt>
                <c:pt idx="15776">
                  <c:v>17.978258815796355</c:v>
                </c:pt>
                <c:pt idx="15777">
                  <c:v>55.055199927001262</c:v>
                </c:pt>
                <c:pt idx="15778">
                  <c:v>30.293902548706509</c:v>
                </c:pt>
                <c:pt idx="15779">
                  <c:v>24.620001359421664</c:v>
                </c:pt>
                <c:pt idx="15780">
                  <c:v>23.221322879908957</c:v>
                </c:pt>
                <c:pt idx="15781">
                  <c:v>27.388444033582818</c:v>
                </c:pt>
                <c:pt idx="15782">
                  <c:v>43.963036586496131</c:v>
                </c:pt>
                <c:pt idx="15783">
                  <c:v>26.620029181143948</c:v>
                </c:pt>
                <c:pt idx="15784">
                  <c:v>20.070678858996622</c:v>
                </c:pt>
                <c:pt idx="15785">
                  <c:v>22.260935810011581</c:v>
                </c:pt>
                <c:pt idx="15786">
                  <c:v>23.496295931297457</c:v>
                </c:pt>
                <c:pt idx="15787">
                  <c:v>24.637884975779645</c:v>
                </c:pt>
                <c:pt idx="15788">
                  <c:v>26.158064630575083</c:v>
                </c:pt>
                <c:pt idx="15789">
                  <c:v>46.872305963908786</c:v>
                </c:pt>
                <c:pt idx="15790">
                  <c:v>27.422131465991193</c:v>
                </c:pt>
                <c:pt idx="15791">
                  <c:v>31.05974647267611</c:v>
                </c:pt>
                <c:pt idx="15792">
                  <c:v>24.132496550539649</c:v>
                </c:pt>
                <c:pt idx="15793">
                  <c:v>58.115738686421203</c:v>
                </c:pt>
                <c:pt idx="15794">
                  <c:v>21.25747467420652</c:v>
                </c:pt>
                <c:pt idx="15795">
                  <c:v>30.445266808310798</c:v>
                </c:pt>
                <c:pt idx="15796">
                  <c:v>32.568464231953207</c:v>
                </c:pt>
                <c:pt idx="15797">
                  <c:v>27.545513356875812</c:v>
                </c:pt>
                <c:pt idx="15798">
                  <c:v>23.049018186942696</c:v>
                </c:pt>
                <c:pt idx="15799">
                  <c:v>29.34624087213767</c:v>
                </c:pt>
                <c:pt idx="15800">
                  <c:v>22.448232948141698</c:v>
                </c:pt>
                <c:pt idx="15801">
                  <c:v>21.361492334561042</c:v>
                </c:pt>
                <c:pt idx="15802">
                  <c:v>18.43905771989192</c:v>
                </c:pt>
                <c:pt idx="15803">
                  <c:v>31.803834786540559</c:v>
                </c:pt>
                <c:pt idx="15804">
                  <c:v>43.459816807443765</c:v>
                </c:pt>
                <c:pt idx="15805">
                  <c:v>18.803243809924997</c:v>
                </c:pt>
                <c:pt idx="15806">
                  <c:v>20.780088007528047</c:v>
                </c:pt>
                <c:pt idx="15807">
                  <c:v>34.085223870014019</c:v>
                </c:pt>
                <c:pt idx="15808">
                  <c:v>27.955765105087092</c:v>
                </c:pt>
                <c:pt idx="15809">
                  <c:v>21.96883837787724</c:v>
                </c:pt>
                <c:pt idx="15810">
                  <c:v>26.405372150427901</c:v>
                </c:pt>
                <c:pt idx="15811">
                  <c:v>31.103131176362282</c:v>
                </c:pt>
                <c:pt idx="15812">
                  <c:v>25.719208067361151</c:v>
                </c:pt>
                <c:pt idx="15813">
                  <c:v>29.817333032216837</c:v>
                </c:pt>
                <c:pt idx="15814">
                  <c:v>25.732404721468367</c:v>
                </c:pt>
                <c:pt idx="15815">
                  <c:v>49.719224785978106</c:v>
                </c:pt>
                <c:pt idx="15816">
                  <c:v>29.720880736207729</c:v>
                </c:pt>
                <c:pt idx="15817">
                  <c:v>31.260305815370614</c:v>
                </c:pt>
                <c:pt idx="15818">
                  <c:v>23.24010412211296</c:v>
                </c:pt>
                <c:pt idx="15819">
                  <c:v>35.233933916095779</c:v>
                </c:pt>
                <c:pt idx="15820">
                  <c:v>23.249783551648676</c:v>
                </c:pt>
                <c:pt idx="15821">
                  <c:v>29.381803470894219</c:v>
                </c:pt>
                <c:pt idx="15822">
                  <c:v>30.220085707263955</c:v>
                </c:pt>
                <c:pt idx="15823">
                  <c:v>32.356163962301252</c:v>
                </c:pt>
                <c:pt idx="15824">
                  <c:v>25.306494363014856</c:v>
                </c:pt>
                <c:pt idx="15825">
                  <c:v>28.234063768342821</c:v>
                </c:pt>
                <c:pt idx="15826">
                  <c:v>27.547710742424783</c:v>
                </c:pt>
                <c:pt idx="15827">
                  <c:v>41.654200217681641</c:v>
                </c:pt>
                <c:pt idx="15828">
                  <c:v>29.493977545222702</c:v>
                </c:pt>
                <c:pt idx="15829">
                  <c:v>20.310643497986803</c:v>
                </c:pt>
                <c:pt idx="15830">
                  <c:v>26.405639223338508</c:v>
                </c:pt>
                <c:pt idx="15831">
                  <c:v>25.224858470191609</c:v>
                </c:pt>
                <c:pt idx="15832">
                  <c:v>54.859757243846396</c:v>
                </c:pt>
                <c:pt idx="15833">
                  <c:v>25.426235675301175</c:v>
                </c:pt>
                <c:pt idx="15834">
                  <c:v>24.083120208474803</c:v>
                </c:pt>
                <c:pt idx="15835">
                  <c:v>47.768629082982706</c:v>
                </c:pt>
                <c:pt idx="15836">
                  <c:v>31.212513849798597</c:v>
                </c:pt>
                <c:pt idx="15837">
                  <c:v>23.158675364647273</c:v>
                </c:pt>
                <c:pt idx="15838">
                  <c:v>31.225611928731464</c:v>
                </c:pt>
                <c:pt idx="15839">
                  <c:v>37.384799095410294</c:v>
                </c:pt>
                <c:pt idx="15840">
                  <c:v>25.952182631770384</c:v>
                </c:pt>
                <c:pt idx="15841">
                  <c:v>27.325661562338254</c:v>
                </c:pt>
                <c:pt idx="15842">
                  <c:v>49.524349003941666</c:v>
                </c:pt>
                <c:pt idx="15843">
                  <c:v>39.111856328258995</c:v>
                </c:pt>
                <c:pt idx="15844">
                  <c:v>46.129289348598562</c:v>
                </c:pt>
                <c:pt idx="15845">
                  <c:v>32.779704657243329</c:v>
                </c:pt>
                <c:pt idx="15846">
                  <c:v>32.197399709433235</c:v>
                </c:pt>
                <c:pt idx="15847">
                  <c:v>24.731677046117159</c:v>
                </c:pt>
                <c:pt idx="15848">
                  <c:v>25.312074444254687</c:v>
                </c:pt>
                <c:pt idx="15849">
                  <c:v>27.322963503617018</c:v>
                </c:pt>
                <c:pt idx="15850">
                  <c:v>26.276032202195051</c:v>
                </c:pt>
                <c:pt idx="15851">
                  <c:v>26.930008343506163</c:v>
                </c:pt>
                <c:pt idx="15852">
                  <c:v>16.176952111023688</c:v>
                </c:pt>
                <c:pt idx="15853">
                  <c:v>46.993808670189061</c:v>
                </c:pt>
                <c:pt idx="15854">
                  <c:v>35.663711384490433</c:v>
                </c:pt>
                <c:pt idx="15855">
                  <c:v>27.580890699096031</c:v>
                </c:pt>
                <c:pt idx="15856">
                  <c:v>36.042840900759096</c:v>
                </c:pt>
                <c:pt idx="15857">
                  <c:v>51.516660122789013</c:v>
                </c:pt>
                <c:pt idx="15858">
                  <c:v>40.111552711514136</c:v>
                </c:pt>
                <c:pt idx="15859">
                  <c:v>28.885339606893751</c:v>
                </c:pt>
                <c:pt idx="15860">
                  <c:v>24.60225522553278</c:v>
                </c:pt>
                <c:pt idx="15861">
                  <c:v>36.096542576668917</c:v>
                </c:pt>
                <c:pt idx="15862">
                  <c:v>23.685499961282517</c:v>
                </c:pt>
                <c:pt idx="15863">
                  <c:v>17.595468279465109</c:v>
                </c:pt>
                <c:pt idx="15864">
                  <c:v>29.453572214398175</c:v>
                </c:pt>
                <c:pt idx="15865">
                  <c:v>24.490938911864138</c:v>
                </c:pt>
                <c:pt idx="15866">
                  <c:v>28.771439293963432</c:v>
                </c:pt>
                <c:pt idx="15867">
                  <c:v>21.348446482992529</c:v>
                </c:pt>
                <c:pt idx="15868">
                  <c:v>29.907256824729053</c:v>
                </c:pt>
                <c:pt idx="15869">
                  <c:v>19.255435087390477</c:v>
                </c:pt>
                <c:pt idx="15870">
                  <c:v>50.668437680031396</c:v>
                </c:pt>
                <c:pt idx="15871">
                  <c:v>26.753514071968741</c:v>
                </c:pt>
                <c:pt idx="15872">
                  <c:v>24.135299918031762</c:v>
                </c:pt>
                <c:pt idx="15873">
                  <c:v>36.10940631919015</c:v>
                </c:pt>
                <c:pt idx="15874">
                  <c:v>29.554332457488503</c:v>
                </c:pt>
                <c:pt idx="15875">
                  <c:v>49.292031886784656</c:v>
                </c:pt>
                <c:pt idx="15876">
                  <c:v>20.458994390932524</c:v>
                </c:pt>
                <c:pt idx="15877">
                  <c:v>29.535520813438737</c:v>
                </c:pt>
                <c:pt idx="15878">
                  <c:v>31.438927290560663</c:v>
                </c:pt>
                <c:pt idx="15879">
                  <c:v>33.804762170689962</c:v>
                </c:pt>
                <c:pt idx="15880">
                  <c:v>56.748511886765066</c:v>
                </c:pt>
                <c:pt idx="15881">
                  <c:v>18.371191747354914</c:v>
                </c:pt>
                <c:pt idx="15882">
                  <c:v>26.67150661448656</c:v>
                </c:pt>
                <c:pt idx="15883">
                  <c:v>24.447515576817452</c:v>
                </c:pt>
                <c:pt idx="15884">
                  <c:v>26.137730611469095</c:v>
                </c:pt>
                <c:pt idx="15885">
                  <c:v>49.57397464603892</c:v>
                </c:pt>
                <c:pt idx="15886">
                  <c:v>41.879107794408263</c:v>
                </c:pt>
                <c:pt idx="15887">
                  <c:v>30.890692456026308</c:v>
                </c:pt>
                <c:pt idx="15888">
                  <c:v>23.581611898247576</c:v>
                </c:pt>
                <c:pt idx="15889">
                  <c:v>27.436076204881889</c:v>
                </c:pt>
                <c:pt idx="15890">
                  <c:v>53.809922199849922</c:v>
                </c:pt>
                <c:pt idx="15891">
                  <c:v>31.370871165940322</c:v>
                </c:pt>
                <c:pt idx="15892">
                  <c:v>54.983153482434176</c:v>
                </c:pt>
                <c:pt idx="15893">
                  <c:v>21.931469553941344</c:v>
                </c:pt>
                <c:pt idx="15894">
                  <c:v>32.416507660454641</c:v>
                </c:pt>
                <c:pt idx="15895">
                  <c:v>26.267807967629309</c:v>
                </c:pt>
                <c:pt idx="15896">
                  <c:v>38.299398819029783</c:v>
                </c:pt>
                <c:pt idx="15897">
                  <c:v>48.348377299733151</c:v>
                </c:pt>
                <c:pt idx="15898">
                  <c:v>33.434205633570784</c:v>
                </c:pt>
                <c:pt idx="15899">
                  <c:v>58.338281932649167</c:v>
                </c:pt>
                <c:pt idx="15900">
                  <c:v>24.889155921935743</c:v>
                </c:pt>
                <c:pt idx="15901">
                  <c:v>27.194808845367145</c:v>
                </c:pt>
                <c:pt idx="15902">
                  <c:v>50.573612397045103</c:v>
                </c:pt>
                <c:pt idx="15903">
                  <c:v>23.790079247396864</c:v>
                </c:pt>
                <c:pt idx="15904">
                  <c:v>23.174386176155458</c:v>
                </c:pt>
                <c:pt idx="15905">
                  <c:v>50.528428465306092</c:v>
                </c:pt>
                <c:pt idx="15906">
                  <c:v>22.373919136360666</c:v>
                </c:pt>
                <c:pt idx="15907">
                  <c:v>50.956139474327841</c:v>
                </c:pt>
                <c:pt idx="15908">
                  <c:v>36.190904348462496</c:v>
                </c:pt>
                <c:pt idx="15909">
                  <c:v>41.395400598813509</c:v>
                </c:pt>
                <c:pt idx="15910">
                  <c:v>38.453704564620502</c:v>
                </c:pt>
                <c:pt idx="15911">
                  <c:v>22.59542833236619</c:v>
                </c:pt>
                <c:pt idx="15912">
                  <c:v>49.285488157076927</c:v>
                </c:pt>
                <c:pt idx="15913">
                  <c:v>31.253647559086723</c:v>
                </c:pt>
                <c:pt idx="15914">
                  <c:v>25.949215818771556</c:v>
                </c:pt>
                <c:pt idx="15915">
                  <c:v>28.185050361259492</c:v>
                </c:pt>
                <c:pt idx="15916">
                  <c:v>26.273486727431496</c:v>
                </c:pt>
                <c:pt idx="15917">
                  <c:v>26.066565026853301</c:v>
                </c:pt>
                <c:pt idx="15918">
                  <c:v>35.114749201081132</c:v>
                </c:pt>
                <c:pt idx="15919">
                  <c:v>45.390208386418763</c:v>
                </c:pt>
                <c:pt idx="15920">
                  <c:v>25.448778687946014</c:v>
                </c:pt>
                <c:pt idx="15921">
                  <c:v>35.019168330292331</c:v>
                </c:pt>
                <c:pt idx="15922">
                  <c:v>24.198715643308692</c:v>
                </c:pt>
                <c:pt idx="15923">
                  <c:v>28.62694600687588</c:v>
                </c:pt>
                <c:pt idx="15924">
                  <c:v>26.114558779069984</c:v>
                </c:pt>
                <c:pt idx="15925">
                  <c:v>20.979277128275232</c:v>
                </c:pt>
                <c:pt idx="15926">
                  <c:v>46.706188302713002</c:v>
                </c:pt>
                <c:pt idx="15927">
                  <c:v>26.390848184443026</c:v>
                </c:pt>
                <c:pt idx="15928">
                  <c:v>26.095292148001093</c:v>
                </c:pt>
                <c:pt idx="15929">
                  <c:v>43.500003221491262</c:v>
                </c:pt>
                <c:pt idx="15930">
                  <c:v>25.452776658828231</c:v>
                </c:pt>
                <c:pt idx="15931">
                  <c:v>26.288069665735897</c:v>
                </c:pt>
                <c:pt idx="15932">
                  <c:v>19.526833013527622</c:v>
                </c:pt>
                <c:pt idx="15933">
                  <c:v>49.041674862236945</c:v>
                </c:pt>
                <c:pt idx="15934">
                  <c:v>19.422772863036315</c:v>
                </c:pt>
                <c:pt idx="15935">
                  <c:v>27.423561355145679</c:v>
                </c:pt>
                <c:pt idx="15936">
                  <c:v>38.849591344268127</c:v>
                </c:pt>
                <c:pt idx="15937">
                  <c:v>24.410350776676438</c:v>
                </c:pt>
                <c:pt idx="15938">
                  <c:v>18.787072560231238</c:v>
                </c:pt>
                <c:pt idx="15939">
                  <c:v>26.593311893678305</c:v>
                </c:pt>
                <c:pt idx="15940">
                  <c:v>28.484644474956283</c:v>
                </c:pt>
                <c:pt idx="15941">
                  <c:v>24.876774388437042</c:v>
                </c:pt>
                <c:pt idx="15942">
                  <c:v>28.02436641286862</c:v>
                </c:pt>
                <c:pt idx="15943">
                  <c:v>48.73957645523631</c:v>
                </c:pt>
                <c:pt idx="15944">
                  <c:v>52.500187221916221</c:v>
                </c:pt>
                <c:pt idx="15945">
                  <c:v>26.637905460958603</c:v>
                </c:pt>
                <c:pt idx="15946">
                  <c:v>25.117376197056995</c:v>
                </c:pt>
                <c:pt idx="15947">
                  <c:v>53.949315159707098</c:v>
                </c:pt>
                <c:pt idx="15948">
                  <c:v>27.13857179477953</c:v>
                </c:pt>
                <c:pt idx="15949">
                  <c:v>39.070775889313971</c:v>
                </c:pt>
                <c:pt idx="15950">
                  <c:v>51.13146272410598</c:v>
                </c:pt>
                <c:pt idx="15951">
                  <c:v>26.108283557951538</c:v>
                </c:pt>
                <c:pt idx="15952">
                  <c:v>30.326003642148965</c:v>
                </c:pt>
                <c:pt idx="15953">
                  <c:v>27.899774286578996</c:v>
                </c:pt>
                <c:pt idx="15954">
                  <c:v>23.32497682389894</c:v>
                </c:pt>
                <c:pt idx="15955">
                  <c:v>35.604015285829739</c:v>
                </c:pt>
                <c:pt idx="15956">
                  <c:v>27.644037256489558</c:v>
                </c:pt>
                <c:pt idx="15957">
                  <c:v>36.490126192182288</c:v>
                </c:pt>
                <c:pt idx="15958">
                  <c:v>35.368598903559366</c:v>
                </c:pt>
                <c:pt idx="15959">
                  <c:v>42.725710883184405</c:v>
                </c:pt>
                <c:pt idx="15960">
                  <c:v>20.949973602439751</c:v>
                </c:pt>
                <c:pt idx="15961">
                  <c:v>22.819533244939031</c:v>
                </c:pt>
                <c:pt idx="15962">
                  <c:v>22.183893411286753</c:v>
                </c:pt>
                <c:pt idx="15963">
                  <c:v>25.579836981124544</c:v>
                </c:pt>
                <c:pt idx="15964">
                  <c:v>21.50812573312465</c:v>
                </c:pt>
                <c:pt idx="15965">
                  <c:v>45.559575048474777</c:v>
                </c:pt>
                <c:pt idx="15966">
                  <c:v>37.857172360101139</c:v>
                </c:pt>
                <c:pt idx="15967">
                  <c:v>24.054400916364646</c:v>
                </c:pt>
                <c:pt idx="15968">
                  <c:v>42.855574553334044</c:v>
                </c:pt>
                <c:pt idx="15969">
                  <c:v>22.882409583554566</c:v>
                </c:pt>
                <c:pt idx="15970">
                  <c:v>42.726265960792219</c:v>
                </c:pt>
                <c:pt idx="15971">
                  <c:v>47.786463427749617</c:v>
                </c:pt>
                <c:pt idx="15972">
                  <c:v>34.921260143029102</c:v>
                </c:pt>
                <c:pt idx="15973">
                  <c:v>35.934414980980357</c:v>
                </c:pt>
                <c:pt idx="15974">
                  <c:v>20.402982146440273</c:v>
                </c:pt>
                <c:pt idx="15975">
                  <c:v>30.520589184188665</c:v>
                </c:pt>
                <c:pt idx="15976">
                  <c:v>20.339965769915477</c:v>
                </c:pt>
                <c:pt idx="15977">
                  <c:v>28.366574723978832</c:v>
                </c:pt>
                <c:pt idx="15978">
                  <c:v>28.491406172891207</c:v>
                </c:pt>
                <c:pt idx="15979">
                  <c:v>37.427557760910275</c:v>
                </c:pt>
                <c:pt idx="15980">
                  <c:v>25.313511434086237</c:v>
                </c:pt>
                <c:pt idx="15981">
                  <c:v>51.400401896187475</c:v>
                </c:pt>
                <c:pt idx="15982">
                  <c:v>26.000046937165809</c:v>
                </c:pt>
                <c:pt idx="15983">
                  <c:v>19.300309481517644</c:v>
                </c:pt>
                <c:pt idx="15984">
                  <c:v>52.490972964598001</c:v>
                </c:pt>
                <c:pt idx="15985">
                  <c:v>22.956207919602765</c:v>
                </c:pt>
                <c:pt idx="15986">
                  <c:v>27.75474962603619</c:v>
                </c:pt>
                <c:pt idx="15987">
                  <c:v>58.550160390126166</c:v>
                </c:pt>
                <c:pt idx="15988">
                  <c:v>31.126774306030192</c:v>
                </c:pt>
                <c:pt idx="15989">
                  <c:v>39.77614912813241</c:v>
                </c:pt>
                <c:pt idx="15990">
                  <c:v>28.392053127011959</c:v>
                </c:pt>
                <c:pt idx="15991">
                  <c:v>24.86544416028298</c:v>
                </c:pt>
                <c:pt idx="15992">
                  <c:v>26.881763118625653</c:v>
                </c:pt>
                <c:pt idx="15993">
                  <c:v>24.657574202366245</c:v>
                </c:pt>
                <c:pt idx="15994">
                  <c:v>17.438532638176582</c:v>
                </c:pt>
                <c:pt idx="15995">
                  <c:v>29.484089969652963</c:v>
                </c:pt>
                <c:pt idx="15996">
                  <c:v>38.292170433350307</c:v>
                </c:pt>
                <c:pt idx="15997">
                  <c:v>33.948255034491879</c:v>
                </c:pt>
                <c:pt idx="15998">
                  <c:v>45.855935257314599</c:v>
                </c:pt>
                <c:pt idx="15999">
                  <c:v>26.037689807793555</c:v>
                </c:pt>
                <c:pt idx="16000">
                  <c:v>51.950868244271099</c:v>
                </c:pt>
                <c:pt idx="16001">
                  <c:v>49.594898292033065</c:v>
                </c:pt>
                <c:pt idx="16002">
                  <c:v>36.717878829351164</c:v>
                </c:pt>
                <c:pt idx="16003">
                  <c:v>35.063108169045726</c:v>
                </c:pt>
                <c:pt idx="16004">
                  <c:v>29.128581726379963</c:v>
                </c:pt>
                <c:pt idx="16005">
                  <c:v>39.531117528423664</c:v>
                </c:pt>
                <c:pt idx="16006">
                  <c:v>46.599232509090037</c:v>
                </c:pt>
                <c:pt idx="16007">
                  <c:v>31.176628676022247</c:v>
                </c:pt>
                <c:pt idx="16008">
                  <c:v>23.5378621584961</c:v>
                </c:pt>
                <c:pt idx="16009">
                  <c:v>22.457887312324011</c:v>
                </c:pt>
                <c:pt idx="16010">
                  <c:v>26.351379662193612</c:v>
                </c:pt>
                <c:pt idx="16011">
                  <c:v>22.18245260263966</c:v>
                </c:pt>
                <c:pt idx="16012">
                  <c:v>27.598672298103239</c:v>
                </c:pt>
                <c:pt idx="16013">
                  <c:v>29.501014496470159</c:v>
                </c:pt>
                <c:pt idx="16014">
                  <c:v>20.338364164227428</c:v>
                </c:pt>
                <c:pt idx="16015">
                  <c:v>29.912047036945928</c:v>
                </c:pt>
                <c:pt idx="16016">
                  <c:v>32.606832373726647</c:v>
                </c:pt>
                <c:pt idx="16017">
                  <c:v>35.642781288488997</c:v>
                </c:pt>
                <c:pt idx="16018">
                  <c:v>43.480589572268173</c:v>
                </c:pt>
                <c:pt idx="16019">
                  <c:v>49.380215679342264</c:v>
                </c:pt>
                <c:pt idx="16020">
                  <c:v>27.804130898899281</c:v>
                </c:pt>
                <c:pt idx="16021">
                  <c:v>20.378125591108912</c:v>
                </c:pt>
                <c:pt idx="16022">
                  <c:v>26.916714173011549</c:v>
                </c:pt>
                <c:pt idx="16023">
                  <c:v>35.311248501520048</c:v>
                </c:pt>
                <c:pt idx="16024">
                  <c:v>27.760405957556166</c:v>
                </c:pt>
                <c:pt idx="16025">
                  <c:v>54.524150433666506</c:v>
                </c:pt>
                <c:pt idx="16026">
                  <c:v>46.960406862741515</c:v>
                </c:pt>
                <c:pt idx="16027">
                  <c:v>21.816442842455466</c:v>
                </c:pt>
                <c:pt idx="16028">
                  <c:v>51.467469067545991</c:v>
                </c:pt>
                <c:pt idx="16029">
                  <c:v>20.137426515973971</c:v>
                </c:pt>
                <c:pt idx="16030">
                  <c:v>53.043188163772264</c:v>
                </c:pt>
                <c:pt idx="16031">
                  <c:v>37.770377753641256</c:v>
                </c:pt>
                <c:pt idx="16032">
                  <c:v>40.572261862788999</c:v>
                </c:pt>
                <c:pt idx="16033">
                  <c:v>54.358403197640726</c:v>
                </c:pt>
                <c:pt idx="16034">
                  <c:v>41.045713805236822</c:v>
                </c:pt>
                <c:pt idx="16035">
                  <c:v>32.943583662046564</c:v>
                </c:pt>
                <c:pt idx="16036">
                  <c:v>22.057117023904489</c:v>
                </c:pt>
                <c:pt idx="16037">
                  <c:v>29.570830904764158</c:v>
                </c:pt>
                <c:pt idx="16038">
                  <c:v>39.560465330872496</c:v>
                </c:pt>
                <c:pt idx="16039">
                  <c:v>54.866769865000769</c:v>
                </c:pt>
                <c:pt idx="16040">
                  <c:v>20.394968571686523</c:v>
                </c:pt>
                <c:pt idx="16041">
                  <c:v>19.931582300964198</c:v>
                </c:pt>
                <c:pt idx="16042">
                  <c:v>40.271419450300684</c:v>
                </c:pt>
                <c:pt idx="16043">
                  <c:v>19.593339511595399</c:v>
                </c:pt>
                <c:pt idx="16044">
                  <c:v>41.206386957333237</c:v>
                </c:pt>
                <c:pt idx="16045">
                  <c:v>23.534489768119805</c:v>
                </c:pt>
                <c:pt idx="16046">
                  <c:v>23.287624623263607</c:v>
                </c:pt>
                <c:pt idx="16047">
                  <c:v>25.768507668635543</c:v>
                </c:pt>
                <c:pt idx="16048">
                  <c:v>21.945118674593726</c:v>
                </c:pt>
                <c:pt idx="16049">
                  <c:v>25.231491210365316</c:v>
                </c:pt>
                <c:pt idx="16050">
                  <c:v>54.33380327655027</c:v>
                </c:pt>
                <c:pt idx="16051">
                  <c:v>27.887286308080657</c:v>
                </c:pt>
                <c:pt idx="16052">
                  <c:v>41.629305283676217</c:v>
                </c:pt>
                <c:pt idx="16053">
                  <c:v>22.89483047076434</c:v>
                </c:pt>
                <c:pt idx="16054">
                  <c:v>30.885421676644082</c:v>
                </c:pt>
                <c:pt idx="16055">
                  <c:v>28.180638517353586</c:v>
                </c:pt>
                <c:pt idx="16056">
                  <c:v>25.337892043743331</c:v>
                </c:pt>
                <c:pt idx="16057">
                  <c:v>25.111782884191033</c:v>
                </c:pt>
                <c:pt idx="16058">
                  <c:v>24.428024031801069</c:v>
                </c:pt>
                <c:pt idx="16059">
                  <c:v>32.490991567317067</c:v>
                </c:pt>
                <c:pt idx="16060">
                  <c:v>44.7107594049371</c:v>
                </c:pt>
                <c:pt idx="16061">
                  <c:v>22.445676467037242</c:v>
                </c:pt>
                <c:pt idx="16062">
                  <c:v>37.298124617315878</c:v>
                </c:pt>
                <c:pt idx="16063">
                  <c:v>32.307452724538535</c:v>
                </c:pt>
                <c:pt idx="16064">
                  <c:v>30.485675687287461</c:v>
                </c:pt>
                <c:pt idx="16065">
                  <c:v>22.703625562300196</c:v>
                </c:pt>
                <c:pt idx="16066">
                  <c:v>50.381799676245954</c:v>
                </c:pt>
                <c:pt idx="16067">
                  <c:v>27.938935779674996</c:v>
                </c:pt>
                <c:pt idx="16068">
                  <c:v>46.650699299598116</c:v>
                </c:pt>
                <c:pt idx="16069">
                  <c:v>26.174183149730929</c:v>
                </c:pt>
                <c:pt idx="16070">
                  <c:v>51.859623199264384</c:v>
                </c:pt>
                <c:pt idx="16071">
                  <c:v>18.890312862685057</c:v>
                </c:pt>
                <c:pt idx="16072">
                  <c:v>26.556464337187755</c:v>
                </c:pt>
                <c:pt idx="16073">
                  <c:v>27.84707479834594</c:v>
                </c:pt>
                <c:pt idx="16074">
                  <c:v>42.387036840880455</c:v>
                </c:pt>
                <c:pt idx="16075">
                  <c:v>21.617666735899334</c:v>
                </c:pt>
                <c:pt idx="16076">
                  <c:v>44.238649006551782</c:v>
                </c:pt>
                <c:pt idx="16077">
                  <c:v>27.278066693334342</c:v>
                </c:pt>
                <c:pt idx="16078">
                  <c:v>49.739285313271139</c:v>
                </c:pt>
                <c:pt idx="16079">
                  <c:v>52.724291661048895</c:v>
                </c:pt>
                <c:pt idx="16080">
                  <c:v>24.031415829930392</c:v>
                </c:pt>
                <c:pt idx="16081">
                  <c:v>25.056786376588907</c:v>
                </c:pt>
                <c:pt idx="16082">
                  <c:v>25.034966655965516</c:v>
                </c:pt>
                <c:pt idx="16083">
                  <c:v>24.112638886552212</c:v>
                </c:pt>
                <c:pt idx="16084">
                  <c:v>38.359356324236529</c:v>
                </c:pt>
                <c:pt idx="16085">
                  <c:v>26.832948154735139</c:v>
                </c:pt>
                <c:pt idx="16086">
                  <c:v>18.176877875102427</c:v>
                </c:pt>
                <c:pt idx="16087">
                  <c:v>57.123988012226938</c:v>
                </c:pt>
                <c:pt idx="16088">
                  <c:v>24.399540695220875</c:v>
                </c:pt>
                <c:pt idx="16089">
                  <c:v>21.315631863543253</c:v>
                </c:pt>
                <c:pt idx="16090">
                  <c:v>18.155728573588306</c:v>
                </c:pt>
                <c:pt idx="16091">
                  <c:v>23.877963923082376</c:v>
                </c:pt>
                <c:pt idx="16092">
                  <c:v>23.628525767666186</c:v>
                </c:pt>
                <c:pt idx="16093">
                  <c:v>51.724374798732768</c:v>
                </c:pt>
                <c:pt idx="16094">
                  <c:v>26.278777119367849</c:v>
                </c:pt>
                <c:pt idx="16095">
                  <c:v>28.026686698677118</c:v>
                </c:pt>
                <c:pt idx="16096">
                  <c:v>45.168552464829517</c:v>
                </c:pt>
                <c:pt idx="16097">
                  <c:v>29.258778641841737</c:v>
                </c:pt>
                <c:pt idx="16098">
                  <c:v>28.640998168387718</c:v>
                </c:pt>
                <c:pt idx="16099">
                  <c:v>36.383193567623557</c:v>
                </c:pt>
                <c:pt idx="16100">
                  <c:v>15.370977255442806</c:v>
                </c:pt>
                <c:pt idx="16101">
                  <c:v>31.211228634014393</c:v>
                </c:pt>
                <c:pt idx="16102">
                  <c:v>38.782258024333416</c:v>
                </c:pt>
                <c:pt idx="16103">
                  <c:v>20.546925883671705</c:v>
                </c:pt>
                <c:pt idx="16104">
                  <c:v>23.829488270481644</c:v>
                </c:pt>
                <c:pt idx="16105">
                  <c:v>33.362759919711635</c:v>
                </c:pt>
                <c:pt idx="16106">
                  <c:v>34.028116752288021</c:v>
                </c:pt>
                <c:pt idx="16107">
                  <c:v>22.005231694987046</c:v>
                </c:pt>
                <c:pt idx="16108">
                  <c:v>19.477920088274228</c:v>
                </c:pt>
                <c:pt idx="16109">
                  <c:v>23.693947125772009</c:v>
                </c:pt>
                <c:pt idx="16110">
                  <c:v>26.750946105922797</c:v>
                </c:pt>
                <c:pt idx="16111">
                  <c:v>26.742239253150625</c:v>
                </c:pt>
                <c:pt idx="16112">
                  <c:v>25.273114166231863</c:v>
                </c:pt>
                <c:pt idx="16113">
                  <c:v>40.016466998522745</c:v>
                </c:pt>
                <c:pt idx="16114">
                  <c:v>58.97611120023835</c:v>
                </c:pt>
                <c:pt idx="16115">
                  <c:v>41.127090979706701</c:v>
                </c:pt>
                <c:pt idx="16116">
                  <c:v>25.969948699964103</c:v>
                </c:pt>
                <c:pt idx="16117">
                  <c:v>34.383449851351287</c:v>
                </c:pt>
                <c:pt idx="16118">
                  <c:v>39.215235970890134</c:v>
                </c:pt>
                <c:pt idx="16119">
                  <c:v>43.785462116035113</c:v>
                </c:pt>
                <c:pt idx="16120">
                  <c:v>38.388842375511416</c:v>
                </c:pt>
                <c:pt idx="16121">
                  <c:v>50.417492649683979</c:v>
                </c:pt>
                <c:pt idx="16122">
                  <c:v>23.168443172321805</c:v>
                </c:pt>
                <c:pt idx="16123">
                  <c:v>45.055883622180772</c:v>
                </c:pt>
                <c:pt idx="16124">
                  <c:v>49.632517270553009</c:v>
                </c:pt>
                <c:pt idx="16125">
                  <c:v>29.453130446163716</c:v>
                </c:pt>
                <c:pt idx="16126">
                  <c:v>27.171773002263819</c:v>
                </c:pt>
                <c:pt idx="16127">
                  <c:v>36.697283803826899</c:v>
                </c:pt>
                <c:pt idx="16128">
                  <c:v>21.448170769780361</c:v>
                </c:pt>
                <c:pt idx="16129">
                  <c:v>47.024890851345369</c:v>
                </c:pt>
                <c:pt idx="16130">
                  <c:v>25.301506730912422</c:v>
                </c:pt>
                <c:pt idx="16131">
                  <c:v>45.434027171971124</c:v>
                </c:pt>
                <c:pt idx="16132">
                  <c:v>36.376671804158043</c:v>
                </c:pt>
                <c:pt idx="16133">
                  <c:v>28.182600417542449</c:v>
                </c:pt>
                <c:pt idx="16134">
                  <c:v>21.385896254191262</c:v>
                </c:pt>
                <c:pt idx="16135">
                  <c:v>45.308024823264148</c:v>
                </c:pt>
                <c:pt idx="16136">
                  <c:v>32.342421758425587</c:v>
                </c:pt>
                <c:pt idx="16137">
                  <c:v>25.455346592502831</c:v>
                </c:pt>
                <c:pt idx="16138">
                  <c:v>27.203497961674071</c:v>
                </c:pt>
                <c:pt idx="16139">
                  <c:v>51.920615154284576</c:v>
                </c:pt>
                <c:pt idx="16140">
                  <c:v>20.331487673206155</c:v>
                </c:pt>
                <c:pt idx="16141">
                  <c:v>27.779411171912937</c:v>
                </c:pt>
                <c:pt idx="16142">
                  <c:v>30.83741603473829</c:v>
                </c:pt>
                <c:pt idx="16143">
                  <c:v>60.994203833225114</c:v>
                </c:pt>
                <c:pt idx="16144">
                  <c:v>21.438049618433141</c:v>
                </c:pt>
                <c:pt idx="16145">
                  <c:v>34.776196449584766</c:v>
                </c:pt>
                <c:pt idx="16146">
                  <c:v>40.853764046229379</c:v>
                </c:pt>
                <c:pt idx="16147">
                  <c:v>18.855437565811922</c:v>
                </c:pt>
                <c:pt idx="16148">
                  <c:v>27.130004792985098</c:v>
                </c:pt>
                <c:pt idx="16149">
                  <c:v>28.088088613605187</c:v>
                </c:pt>
                <c:pt idx="16150">
                  <c:v>30.611699194507732</c:v>
                </c:pt>
                <c:pt idx="16151">
                  <c:v>41.931185712167206</c:v>
                </c:pt>
                <c:pt idx="16152">
                  <c:v>28.953156948547882</c:v>
                </c:pt>
                <c:pt idx="16153">
                  <c:v>49.264466170275156</c:v>
                </c:pt>
                <c:pt idx="16154">
                  <c:v>25.799205102220434</c:v>
                </c:pt>
                <c:pt idx="16155">
                  <c:v>24.60998858433522</c:v>
                </c:pt>
                <c:pt idx="16156">
                  <c:v>32.386852434030118</c:v>
                </c:pt>
                <c:pt idx="16157">
                  <c:v>49.260172020807509</c:v>
                </c:pt>
                <c:pt idx="16158">
                  <c:v>21.289717230016578</c:v>
                </c:pt>
                <c:pt idx="16159">
                  <c:v>31.324103556435929</c:v>
                </c:pt>
                <c:pt idx="16160">
                  <c:v>42.980772655856583</c:v>
                </c:pt>
                <c:pt idx="16161">
                  <c:v>43.766530523334936</c:v>
                </c:pt>
                <c:pt idx="16162">
                  <c:v>22.418403153120398</c:v>
                </c:pt>
                <c:pt idx="16163">
                  <c:v>26.112814256840647</c:v>
                </c:pt>
                <c:pt idx="16164">
                  <c:v>45.701521836671922</c:v>
                </c:pt>
                <c:pt idx="16165">
                  <c:v>46.433377705486649</c:v>
                </c:pt>
                <c:pt idx="16166">
                  <c:v>42.250095150050427</c:v>
                </c:pt>
                <c:pt idx="16167">
                  <c:v>20.573360927342705</c:v>
                </c:pt>
                <c:pt idx="16168">
                  <c:v>55.973819096297937</c:v>
                </c:pt>
                <c:pt idx="16169">
                  <c:v>33.746520142030761</c:v>
                </c:pt>
                <c:pt idx="16170">
                  <c:v>25.639129710158073</c:v>
                </c:pt>
                <c:pt idx="16171">
                  <c:v>27.283099201998979</c:v>
                </c:pt>
                <c:pt idx="16172">
                  <c:v>49.258519431094939</c:v>
                </c:pt>
                <c:pt idx="16173">
                  <c:v>35.071304534066151</c:v>
                </c:pt>
                <c:pt idx="16174">
                  <c:v>26.520305036081851</c:v>
                </c:pt>
                <c:pt idx="16175">
                  <c:v>26.618567917613845</c:v>
                </c:pt>
                <c:pt idx="16176">
                  <c:v>25.646811504657048</c:v>
                </c:pt>
                <c:pt idx="16177">
                  <c:v>32.494167133853367</c:v>
                </c:pt>
                <c:pt idx="16178">
                  <c:v>30.220695094896282</c:v>
                </c:pt>
                <c:pt idx="16179">
                  <c:v>41.848552032986888</c:v>
                </c:pt>
                <c:pt idx="16180">
                  <c:v>30.206764689491543</c:v>
                </c:pt>
                <c:pt idx="16181">
                  <c:v>37.78686960276962</c:v>
                </c:pt>
                <c:pt idx="16182">
                  <c:v>50.820142448972177</c:v>
                </c:pt>
                <c:pt idx="16183">
                  <c:v>48.057313495491613</c:v>
                </c:pt>
                <c:pt idx="16184">
                  <c:v>24.081050675096151</c:v>
                </c:pt>
                <c:pt idx="16185">
                  <c:v>28.700589765345569</c:v>
                </c:pt>
                <c:pt idx="16186">
                  <c:v>27.120227976270048</c:v>
                </c:pt>
                <c:pt idx="16187">
                  <c:v>54.148960104755467</c:v>
                </c:pt>
                <c:pt idx="16188">
                  <c:v>32.714557092042497</c:v>
                </c:pt>
                <c:pt idx="16189">
                  <c:v>46.632276142104629</c:v>
                </c:pt>
                <c:pt idx="16190">
                  <c:v>23.752003016910837</c:v>
                </c:pt>
                <c:pt idx="16191">
                  <c:v>53.089488851987781</c:v>
                </c:pt>
                <c:pt idx="16192">
                  <c:v>22.732538787644859</c:v>
                </c:pt>
                <c:pt idx="16193">
                  <c:v>27.727314054190263</c:v>
                </c:pt>
                <c:pt idx="16194">
                  <c:v>22.619356642562586</c:v>
                </c:pt>
                <c:pt idx="16195">
                  <c:v>46.614910050383266</c:v>
                </c:pt>
                <c:pt idx="16196">
                  <c:v>16.941862505265743</c:v>
                </c:pt>
                <c:pt idx="16197">
                  <c:v>30.975883060485369</c:v>
                </c:pt>
                <c:pt idx="16198">
                  <c:v>44.363889086525802</c:v>
                </c:pt>
                <c:pt idx="16199">
                  <c:v>33.709816824505332</c:v>
                </c:pt>
                <c:pt idx="16200">
                  <c:v>35.078300995175979</c:v>
                </c:pt>
                <c:pt idx="16201">
                  <c:v>56.614214895465466</c:v>
                </c:pt>
                <c:pt idx="16202">
                  <c:v>29.973512638521331</c:v>
                </c:pt>
                <c:pt idx="16203">
                  <c:v>50.85588998875631</c:v>
                </c:pt>
                <c:pt idx="16204">
                  <c:v>57.80620884380474</c:v>
                </c:pt>
                <c:pt idx="16205">
                  <c:v>22.40289685323043</c:v>
                </c:pt>
                <c:pt idx="16206">
                  <c:v>52.092384924250453</c:v>
                </c:pt>
                <c:pt idx="16207">
                  <c:v>50.845603570724847</c:v>
                </c:pt>
                <c:pt idx="16208">
                  <c:v>45.351297187992927</c:v>
                </c:pt>
                <c:pt idx="16209">
                  <c:v>33.676340026237668</c:v>
                </c:pt>
                <c:pt idx="16210">
                  <c:v>26.086135454152963</c:v>
                </c:pt>
                <c:pt idx="16211">
                  <c:v>47.694772455189089</c:v>
                </c:pt>
                <c:pt idx="16212">
                  <c:v>33.285171141946847</c:v>
                </c:pt>
                <c:pt idx="16213">
                  <c:v>27.891575422886024</c:v>
                </c:pt>
                <c:pt idx="16214">
                  <c:v>30.314983719800875</c:v>
                </c:pt>
                <c:pt idx="16215">
                  <c:v>27.701165393724352</c:v>
                </c:pt>
                <c:pt idx="16216">
                  <c:v>25.555259258601151</c:v>
                </c:pt>
                <c:pt idx="16217">
                  <c:v>22.286313551315025</c:v>
                </c:pt>
                <c:pt idx="16218">
                  <c:v>52.293980252582472</c:v>
                </c:pt>
                <c:pt idx="16219">
                  <c:v>27.683801693577649</c:v>
                </c:pt>
                <c:pt idx="16220">
                  <c:v>27.929086699157239</c:v>
                </c:pt>
                <c:pt idx="16221">
                  <c:v>34.132613414930276</c:v>
                </c:pt>
                <c:pt idx="16222">
                  <c:v>32.223095926162124</c:v>
                </c:pt>
                <c:pt idx="16223">
                  <c:v>45.603368265610989</c:v>
                </c:pt>
                <c:pt idx="16224">
                  <c:v>27.582363987910778</c:v>
                </c:pt>
                <c:pt idx="16225">
                  <c:v>39.118053235186665</c:v>
                </c:pt>
                <c:pt idx="16226">
                  <c:v>22.250479630125039</c:v>
                </c:pt>
                <c:pt idx="16227">
                  <c:v>29.414952224149978</c:v>
                </c:pt>
                <c:pt idx="16228">
                  <c:v>36.593763588211431</c:v>
                </c:pt>
                <c:pt idx="16229">
                  <c:v>23.551645085945488</c:v>
                </c:pt>
                <c:pt idx="16230">
                  <c:v>19.900307206317208</c:v>
                </c:pt>
                <c:pt idx="16231">
                  <c:v>40.313817584764706</c:v>
                </c:pt>
                <c:pt idx="16232">
                  <c:v>22.443204581216882</c:v>
                </c:pt>
                <c:pt idx="16233">
                  <c:v>36.689870935306587</c:v>
                </c:pt>
                <c:pt idx="16234">
                  <c:v>18.995245756493723</c:v>
                </c:pt>
                <c:pt idx="16235">
                  <c:v>26.186739749089341</c:v>
                </c:pt>
                <c:pt idx="16236">
                  <c:v>24.419587324437771</c:v>
                </c:pt>
                <c:pt idx="16237">
                  <c:v>30.885881520025823</c:v>
                </c:pt>
                <c:pt idx="16238">
                  <c:v>35.124341881164796</c:v>
                </c:pt>
                <c:pt idx="16239">
                  <c:v>37.785886695733879</c:v>
                </c:pt>
                <c:pt idx="16240">
                  <c:v>28.505450437302947</c:v>
                </c:pt>
                <c:pt idx="16241">
                  <c:v>39.641880048916462</c:v>
                </c:pt>
                <c:pt idx="16242">
                  <c:v>21.211636507317856</c:v>
                </c:pt>
                <c:pt idx="16243">
                  <c:v>48.958795328347968</c:v>
                </c:pt>
                <c:pt idx="16244">
                  <c:v>46.263589889057563</c:v>
                </c:pt>
                <c:pt idx="16245">
                  <c:v>27.880653430082326</c:v>
                </c:pt>
                <c:pt idx="16246">
                  <c:v>32.11607335113338</c:v>
                </c:pt>
                <c:pt idx="16247">
                  <c:v>20.4598048468991</c:v>
                </c:pt>
                <c:pt idx="16248">
                  <c:v>31.285592031988788</c:v>
                </c:pt>
                <c:pt idx="16249">
                  <c:v>47.496964149080078</c:v>
                </c:pt>
                <c:pt idx="16250">
                  <c:v>20.905866549848724</c:v>
                </c:pt>
                <c:pt idx="16251">
                  <c:v>18.30119972676809</c:v>
                </c:pt>
                <c:pt idx="16252">
                  <c:v>25.436871913564175</c:v>
                </c:pt>
                <c:pt idx="16253">
                  <c:v>47.781372815101442</c:v>
                </c:pt>
                <c:pt idx="16254">
                  <c:v>33.812734723198233</c:v>
                </c:pt>
                <c:pt idx="16255">
                  <c:v>32.750857396860013</c:v>
                </c:pt>
                <c:pt idx="16256">
                  <c:v>38.970884768550576</c:v>
                </c:pt>
                <c:pt idx="16257">
                  <c:v>31.611547283131138</c:v>
                </c:pt>
                <c:pt idx="16258">
                  <c:v>34.336835348528005</c:v>
                </c:pt>
                <c:pt idx="16259">
                  <c:v>37.845801474436001</c:v>
                </c:pt>
                <c:pt idx="16260">
                  <c:v>48.047219963985022</c:v>
                </c:pt>
                <c:pt idx="16261">
                  <c:v>24.099100457882596</c:v>
                </c:pt>
                <c:pt idx="16262">
                  <c:v>21.563911593404793</c:v>
                </c:pt>
                <c:pt idx="16263">
                  <c:v>41.334909413683889</c:v>
                </c:pt>
                <c:pt idx="16264">
                  <c:v>23.697906900385199</c:v>
                </c:pt>
                <c:pt idx="16265">
                  <c:v>20.904535395599567</c:v>
                </c:pt>
                <c:pt idx="16266">
                  <c:v>26.038591073393619</c:v>
                </c:pt>
                <c:pt idx="16267">
                  <c:v>40.602424640239278</c:v>
                </c:pt>
                <c:pt idx="16268">
                  <c:v>41.301376961019947</c:v>
                </c:pt>
                <c:pt idx="16269">
                  <c:v>31.325228684517565</c:v>
                </c:pt>
                <c:pt idx="16270">
                  <c:v>25.597216711837593</c:v>
                </c:pt>
                <c:pt idx="16271">
                  <c:v>42.080307694293495</c:v>
                </c:pt>
                <c:pt idx="16272">
                  <c:v>29.099877318769547</c:v>
                </c:pt>
                <c:pt idx="16273">
                  <c:v>25.039087276655277</c:v>
                </c:pt>
                <c:pt idx="16274">
                  <c:v>23.824476553939746</c:v>
                </c:pt>
                <c:pt idx="16275">
                  <c:v>51.562798710142836</c:v>
                </c:pt>
                <c:pt idx="16276">
                  <c:v>24.416966694700342</c:v>
                </c:pt>
                <c:pt idx="16277">
                  <c:v>24.123387728771245</c:v>
                </c:pt>
                <c:pt idx="16278">
                  <c:v>31.191689733145033</c:v>
                </c:pt>
                <c:pt idx="16279">
                  <c:v>22.366854625717089</c:v>
                </c:pt>
                <c:pt idx="16280">
                  <c:v>26.929203338984525</c:v>
                </c:pt>
                <c:pt idx="16281">
                  <c:v>27.961929066961016</c:v>
                </c:pt>
                <c:pt idx="16282">
                  <c:v>19.883684509204418</c:v>
                </c:pt>
                <c:pt idx="16283">
                  <c:v>31.671383222740456</c:v>
                </c:pt>
                <c:pt idx="16284">
                  <c:v>19.865452424551684</c:v>
                </c:pt>
                <c:pt idx="16285">
                  <c:v>23.800026511067884</c:v>
                </c:pt>
                <c:pt idx="16286">
                  <c:v>23.027853479317969</c:v>
                </c:pt>
                <c:pt idx="16287">
                  <c:v>23.283728677243722</c:v>
                </c:pt>
                <c:pt idx="16288">
                  <c:v>26.968770199438431</c:v>
                </c:pt>
                <c:pt idx="16289">
                  <c:v>21.708172813045728</c:v>
                </c:pt>
                <c:pt idx="16290">
                  <c:v>54.516400707760354</c:v>
                </c:pt>
                <c:pt idx="16291">
                  <c:v>35.019075992469176</c:v>
                </c:pt>
                <c:pt idx="16292">
                  <c:v>40.723897851751055</c:v>
                </c:pt>
                <c:pt idx="16293">
                  <c:v>52.71574308013242</c:v>
                </c:pt>
                <c:pt idx="16294">
                  <c:v>22.846384063006159</c:v>
                </c:pt>
                <c:pt idx="16295">
                  <c:v>43.094482824755914</c:v>
                </c:pt>
                <c:pt idx="16296">
                  <c:v>53.987304819238062</c:v>
                </c:pt>
                <c:pt idx="16297">
                  <c:v>24.91506083984391</c:v>
                </c:pt>
                <c:pt idx="16298">
                  <c:v>24.414454622404556</c:v>
                </c:pt>
                <c:pt idx="16299">
                  <c:v>42.187187671328545</c:v>
                </c:pt>
                <c:pt idx="16300">
                  <c:v>25.038855938456152</c:v>
                </c:pt>
                <c:pt idx="16301">
                  <c:v>45.729390635275514</c:v>
                </c:pt>
                <c:pt idx="16302">
                  <c:v>22.510403557573376</c:v>
                </c:pt>
                <c:pt idx="16303">
                  <c:v>23.451198010731773</c:v>
                </c:pt>
                <c:pt idx="16304">
                  <c:v>25.746264169905938</c:v>
                </c:pt>
                <c:pt idx="16305">
                  <c:v>54.722813367465676</c:v>
                </c:pt>
                <c:pt idx="16306">
                  <c:v>49.714422011755182</c:v>
                </c:pt>
                <c:pt idx="16307">
                  <c:v>26.944834312939143</c:v>
                </c:pt>
                <c:pt idx="16308">
                  <c:v>34.698028222203995</c:v>
                </c:pt>
                <c:pt idx="16309">
                  <c:v>28.054815842833925</c:v>
                </c:pt>
                <c:pt idx="16310">
                  <c:v>24.822048885752448</c:v>
                </c:pt>
                <c:pt idx="16311">
                  <c:v>20.806616989360553</c:v>
                </c:pt>
                <c:pt idx="16312">
                  <c:v>44.581525603018996</c:v>
                </c:pt>
                <c:pt idx="16313">
                  <c:v>43.530910227559978</c:v>
                </c:pt>
                <c:pt idx="16314">
                  <c:v>26.672473054080047</c:v>
                </c:pt>
                <c:pt idx="16315">
                  <c:v>19.815660939968769</c:v>
                </c:pt>
                <c:pt idx="16316">
                  <c:v>43.398528376924709</c:v>
                </c:pt>
                <c:pt idx="16317">
                  <c:v>21.112162670498272</c:v>
                </c:pt>
                <c:pt idx="16318">
                  <c:v>51.462331843473194</c:v>
                </c:pt>
                <c:pt idx="16319">
                  <c:v>28.809515415833111</c:v>
                </c:pt>
                <c:pt idx="16320">
                  <c:v>28.016973914028586</c:v>
                </c:pt>
                <c:pt idx="16321">
                  <c:v>21.255914789212611</c:v>
                </c:pt>
                <c:pt idx="16322">
                  <c:v>29.010624340298467</c:v>
                </c:pt>
                <c:pt idx="16323">
                  <c:v>34.969441789006417</c:v>
                </c:pt>
                <c:pt idx="16324">
                  <c:v>23.585178405050179</c:v>
                </c:pt>
                <c:pt idx="16325">
                  <c:v>32.618914757323054</c:v>
                </c:pt>
                <c:pt idx="16326">
                  <c:v>28.608702819204524</c:v>
                </c:pt>
                <c:pt idx="16327">
                  <c:v>24.730327262299042</c:v>
                </c:pt>
                <c:pt idx="16328">
                  <c:v>26.759660088706852</c:v>
                </c:pt>
                <c:pt idx="16329">
                  <c:v>57.33309922060571</c:v>
                </c:pt>
                <c:pt idx="16330">
                  <c:v>53.859991257971132</c:v>
                </c:pt>
                <c:pt idx="16331">
                  <c:v>27.457598749149764</c:v>
                </c:pt>
                <c:pt idx="16332">
                  <c:v>22.972428458126846</c:v>
                </c:pt>
                <c:pt idx="16333">
                  <c:v>20.875696811603003</c:v>
                </c:pt>
                <c:pt idx="16334">
                  <c:v>49.951828066025406</c:v>
                </c:pt>
                <c:pt idx="16335">
                  <c:v>20.469046176676617</c:v>
                </c:pt>
                <c:pt idx="16336">
                  <c:v>31.887957603888612</c:v>
                </c:pt>
                <c:pt idx="16337">
                  <c:v>34.193685723635532</c:v>
                </c:pt>
                <c:pt idx="16338">
                  <c:v>28.22186929751031</c:v>
                </c:pt>
                <c:pt idx="16339">
                  <c:v>24.130192697530749</c:v>
                </c:pt>
                <c:pt idx="16340">
                  <c:v>36.554638781454869</c:v>
                </c:pt>
                <c:pt idx="16341">
                  <c:v>28.694566379740785</c:v>
                </c:pt>
                <c:pt idx="16342">
                  <c:v>30.892452263224509</c:v>
                </c:pt>
                <c:pt idx="16343">
                  <c:v>22.071933071531671</c:v>
                </c:pt>
                <c:pt idx="16344">
                  <c:v>50.706799378039015</c:v>
                </c:pt>
                <c:pt idx="16345">
                  <c:v>29.48909804653595</c:v>
                </c:pt>
                <c:pt idx="16346">
                  <c:v>28.231641642741945</c:v>
                </c:pt>
                <c:pt idx="16347">
                  <c:v>25.671231575510095</c:v>
                </c:pt>
                <c:pt idx="16348">
                  <c:v>30.236483823376396</c:v>
                </c:pt>
                <c:pt idx="16349">
                  <c:v>25.842685507294796</c:v>
                </c:pt>
                <c:pt idx="16350">
                  <c:v>37.967383401756649</c:v>
                </c:pt>
                <c:pt idx="16351">
                  <c:v>25.004273088742256</c:v>
                </c:pt>
                <c:pt idx="16352">
                  <c:v>44.066175382456656</c:v>
                </c:pt>
                <c:pt idx="16353">
                  <c:v>24.253882544195342</c:v>
                </c:pt>
                <c:pt idx="16354">
                  <c:v>27.536844458257605</c:v>
                </c:pt>
                <c:pt idx="16355">
                  <c:v>31.099638247802414</c:v>
                </c:pt>
                <c:pt idx="16356">
                  <c:v>27.678842015118633</c:v>
                </c:pt>
                <c:pt idx="16357">
                  <c:v>21.818477176430818</c:v>
                </c:pt>
                <c:pt idx="16358">
                  <c:v>24.269969296267753</c:v>
                </c:pt>
                <c:pt idx="16359">
                  <c:v>18.118583781673241</c:v>
                </c:pt>
                <c:pt idx="16360">
                  <c:v>26.1990424914502</c:v>
                </c:pt>
                <c:pt idx="16361">
                  <c:v>28.501087632530322</c:v>
                </c:pt>
                <c:pt idx="16362">
                  <c:v>51.229556375390608</c:v>
                </c:pt>
                <c:pt idx="16363">
                  <c:v>54.802086631768908</c:v>
                </c:pt>
                <c:pt idx="16364">
                  <c:v>34.193957160042814</c:v>
                </c:pt>
                <c:pt idx="16365">
                  <c:v>23.087441751676014</c:v>
                </c:pt>
                <c:pt idx="16366">
                  <c:v>27.224254755178045</c:v>
                </c:pt>
                <c:pt idx="16367">
                  <c:v>25.886896657625414</c:v>
                </c:pt>
                <c:pt idx="16368">
                  <c:v>24.0878397606471</c:v>
                </c:pt>
                <c:pt idx="16369">
                  <c:v>21.459415481539498</c:v>
                </c:pt>
                <c:pt idx="16370">
                  <c:v>26.899159028768185</c:v>
                </c:pt>
                <c:pt idx="16371">
                  <c:v>51.311916438139328</c:v>
                </c:pt>
                <c:pt idx="16372">
                  <c:v>24.671256389193182</c:v>
                </c:pt>
                <c:pt idx="16373">
                  <c:v>25.513177997884977</c:v>
                </c:pt>
                <c:pt idx="16374">
                  <c:v>25.426550731664118</c:v>
                </c:pt>
                <c:pt idx="16375">
                  <c:v>21.945687576965952</c:v>
                </c:pt>
                <c:pt idx="16376">
                  <c:v>29.263895054092632</c:v>
                </c:pt>
                <c:pt idx="16377">
                  <c:v>20.589756973503569</c:v>
                </c:pt>
                <c:pt idx="16378">
                  <c:v>26.17048218321748</c:v>
                </c:pt>
                <c:pt idx="16379">
                  <c:v>21.714831439412489</c:v>
                </c:pt>
                <c:pt idx="16380">
                  <c:v>28.957004559785616</c:v>
                </c:pt>
                <c:pt idx="16381">
                  <c:v>24.310217918244231</c:v>
                </c:pt>
                <c:pt idx="16382">
                  <c:v>45.697873981118647</c:v>
                </c:pt>
                <c:pt idx="16383">
                  <c:v>26.492871759775916</c:v>
                </c:pt>
                <c:pt idx="16384">
                  <c:v>23.815738929756066</c:v>
                </c:pt>
                <c:pt idx="16385">
                  <c:v>29.340605683362064</c:v>
                </c:pt>
                <c:pt idx="16386">
                  <c:v>26.158237316180617</c:v>
                </c:pt>
                <c:pt idx="16387">
                  <c:v>25.7391163624931</c:v>
                </c:pt>
                <c:pt idx="16388">
                  <c:v>30.017434403563509</c:v>
                </c:pt>
                <c:pt idx="16389">
                  <c:v>24.778933214803494</c:v>
                </c:pt>
                <c:pt idx="16390">
                  <c:v>36.369738379922914</c:v>
                </c:pt>
                <c:pt idx="16391">
                  <c:v>49.777761849645273</c:v>
                </c:pt>
                <c:pt idx="16392">
                  <c:v>26.481794003724598</c:v>
                </c:pt>
                <c:pt idx="16393">
                  <c:v>27.851774533616911</c:v>
                </c:pt>
                <c:pt idx="16394">
                  <c:v>23.824459403228474</c:v>
                </c:pt>
                <c:pt idx="16395">
                  <c:v>41.217385721970409</c:v>
                </c:pt>
                <c:pt idx="16396">
                  <c:v>24.095233365722873</c:v>
                </c:pt>
                <c:pt idx="16397">
                  <c:v>29.743559198214356</c:v>
                </c:pt>
                <c:pt idx="16398">
                  <c:v>36.455251523378571</c:v>
                </c:pt>
                <c:pt idx="16399">
                  <c:v>25.89562331214707</c:v>
                </c:pt>
                <c:pt idx="16400">
                  <c:v>30.885748673354211</c:v>
                </c:pt>
                <c:pt idx="16401">
                  <c:v>22.050981077170221</c:v>
                </c:pt>
                <c:pt idx="16402">
                  <c:v>29.142106462901069</c:v>
                </c:pt>
                <c:pt idx="16403">
                  <c:v>27.664710083773016</c:v>
                </c:pt>
                <c:pt idx="16404">
                  <c:v>47.24686077464137</c:v>
                </c:pt>
                <c:pt idx="16405">
                  <c:v>31.485415235536625</c:v>
                </c:pt>
                <c:pt idx="16406">
                  <c:v>29.249498949895234</c:v>
                </c:pt>
                <c:pt idx="16407">
                  <c:v>22.804031891874097</c:v>
                </c:pt>
                <c:pt idx="16408">
                  <c:v>20.968150598656756</c:v>
                </c:pt>
                <c:pt idx="16409">
                  <c:v>45.35616353719022</c:v>
                </c:pt>
                <c:pt idx="16410">
                  <c:v>26.041697122301724</c:v>
                </c:pt>
                <c:pt idx="16411">
                  <c:v>26.494469051083428</c:v>
                </c:pt>
                <c:pt idx="16412">
                  <c:v>34.105827297635486</c:v>
                </c:pt>
                <c:pt idx="16413">
                  <c:v>18.513887033572892</c:v>
                </c:pt>
                <c:pt idx="16414">
                  <c:v>48.059641893035696</c:v>
                </c:pt>
                <c:pt idx="16415">
                  <c:v>29.581698285790768</c:v>
                </c:pt>
                <c:pt idx="16416">
                  <c:v>35.526830943908223</c:v>
                </c:pt>
                <c:pt idx="16417">
                  <c:v>28.132354279808368</c:v>
                </c:pt>
                <c:pt idx="16418">
                  <c:v>22.799093502966894</c:v>
                </c:pt>
                <c:pt idx="16419">
                  <c:v>33.387417890731825</c:v>
                </c:pt>
                <c:pt idx="16420">
                  <c:v>27.981265760797136</c:v>
                </c:pt>
                <c:pt idx="16421">
                  <c:v>23.545444234303357</c:v>
                </c:pt>
                <c:pt idx="16422">
                  <c:v>24.822535157893121</c:v>
                </c:pt>
                <c:pt idx="16423">
                  <c:v>45.521946979428165</c:v>
                </c:pt>
                <c:pt idx="16424">
                  <c:v>44.611109080177251</c:v>
                </c:pt>
                <c:pt idx="16425">
                  <c:v>22.993524509098734</c:v>
                </c:pt>
                <c:pt idx="16426">
                  <c:v>30.182521573745611</c:v>
                </c:pt>
                <c:pt idx="16427">
                  <c:v>23.329088189447184</c:v>
                </c:pt>
                <c:pt idx="16428">
                  <c:v>26.644112842488632</c:v>
                </c:pt>
                <c:pt idx="16429">
                  <c:v>42.219220387393229</c:v>
                </c:pt>
                <c:pt idx="16430">
                  <c:v>23.29151354354638</c:v>
                </c:pt>
                <c:pt idx="16431">
                  <c:v>32.852800641540057</c:v>
                </c:pt>
                <c:pt idx="16432">
                  <c:v>37.612824926923601</c:v>
                </c:pt>
                <c:pt idx="16433">
                  <c:v>27.954899587566402</c:v>
                </c:pt>
                <c:pt idx="16434">
                  <c:v>28.582926601679027</c:v>
                </c:pt>
                <c:pt idx="16435">
                  <c:v>57.608137876402687</c:v>
                </c:pt>
                <c:pt idx="16436">
                  <c:v>27.505065635529441</c:v>
                </c:pt>
                <c:pt idx="16437">
                  <c:v>20.345556646232456</c:v>
                </c:pt>
                <c:pt idx="16438">
                  <c:v>52.572068350008202</c:v>
                </c:pt>
                <c:pt idx="16439">
                  <c:v>25.524734445624137</c:v>
                </c:pt>
                <c:pt idx="16440">
                  <c:v>35.737669463808146</c:v>
                </c:pt>
                <c:pt idx="16441">
                  <c:v>45.378693127120791</c:v>
                </c:pt>
                <c:pt idx="16442">
                  <c:v>26.28174042002464</c:v>
                </c:pt>
                <c:pt idx="16443">
                  <c:v>21.502127485378136</c:v>
                </c:pt>
                <c:pt idx="16444">
                  <c:v>21.22428857250447</c:v>
                </c:pt>
                <c:pt idx="16445">
                  <c:v>29.306747090354495</c:v>
                </c:pt>
                <c:pt idx="16446">
                  <c:v>45.681451441957577</c:v>
                </c:pt>
                <c:pt idx="16447">
                  <c:v>35.023953108973814</c:v>
                </c:pt>
                <c:pt idx="16448">
                  <c:v>22.651011460659792</c:v>
                </c:pt>
                <c:pt idx="16449">
                  <c:v>48.156705536451881</c:v>
                </c:pt>
                <c:pt idx="16450">
                  <c:v>25.352353684950252</c:v>
                </c:pt>
                <c:pt idx="16451">
                  <c:v>25.997491751661954</c:v>
                </c:pt>
                <c:pt idx="16452">
                  <c:v>23.586052112376024</c:v>
                </c:pt>
                <c:pt idx="16453">
                  <c:v>26.623564658026929</c:v>
                </c:pt>
                <c:pt idx="16454">
                  <c:v>26.647080920926683</c:v>
                </c:pt>
                <c:pt idx="16455">
                  <c:v>42.168924971814484</c:v>
                </c:pt>
                <c:pt idx="16456">
                  <c:v>39.372145986330821</c:v>
                </c:pt>
                <c:pt idx="16457">
                  <c:v>26.085609145160841</c:v>
                </c:pt>
                <c:pt idx="16458">
                  <c:v>28.968041229603301</c:v>
                </c:pt>
                <c:pt idx="16459">
                  <c:v>33.944550680050526</c:v>
                </c:pt>
                <c:pt idx="16460">
                  <c:v>24.137065978889524</c:v>
                </c:pt>
                <c:pt idx="16461">
                  <c:v>27.682351377464034</c:v>
                </c:pt>
                <c:pt idx="16462">
                  <c:v>46.291816270807331</c:v>
                </c:pt>
                <c:pt idx="16463">
                  <c:v>21.157688785633383</c:v>
                </c:pt>
                <c:pt idx="16464">
                  <c:v>31.11106440972317</c:v>
                </c:pt>
                <c:pt idx="16465">
                  <c:v>23.32376430919642</c:v>
                </c:pt>
                <c:pt idx="16466">
                  <c:v>33.093651212612798</c:v>
                </c:pt>
                <c:pt idx="16467">
                  <c:v>27.593793232194685</c:v>
                </c:pt>
                <c:pt idx="16468">
                  <c:v>65.498154028027898</c:v>
                </c:pt>
                <c:pt idx="16469">
                  <c:v>18.810376635301221</c:v>
                </c:pt>
                <c:pt idx="16470">
                  <c:v>22.150428736906555</c:v>
                </c:pt>
                <c:pt idx="16471">
                  <c:v>32.481130390209394</c:v>
                </c:pt>
                <c:pt idx="16472">
                  <c:v>33.204322028305228</c:v>
                </c:pt>
                <c:pt idx="16473">
                  <c:v>29.730435304834764</c:v>
                </c:pt>
                <c:pt idx="16474">
                  <c:v>31.891217147917118</c:v>
                </c:pt>
                <c:pt idx="16475">
                  <c:v>26.649020435579057</c:v>
                </c:pt>
                <c:pt idx="16476">
                  <c:v>27.865323225810137</c:v>
                </c:pt>
                <c:pt idx="16477">
                  <c:v>50.560546624138411</c:v>
                </c:pt>
                <c:pt idx="16478">
                  <c:v>24.93429867503075</c:v>
                </c:pt>
                <c:pt idx="16479">
                  <c:v>30.920777225286958</c:v>
                </c:pt>
                <c:pt idx="16480">
                  <c:v>27.114421279578053</c:v>
                </c:pt>
                <c:pt idx="16481">
                  <c:v>32.000981500767487</c:v>
                </c:pt>
                <c:pt idx="16482">
                  <c:v>23.236998050440359</c:v>
                </c:pt>
                <c:pt idx="16483">
                  <c:v>25.155251831729984</c:v>
                </c:pt>
                <c:pt idx="16484">
                  <c:v>26.518052802920757</c:v>
                </c:pt>
                <c:pt idx="16485">
                  <c:v>27.055231711296358</c:v>
                </c:pt>
                <c:pt idx="16486">
                  <c:v>28.787423153398294</c:v>
                </c:pt>
                <c:pt idx="16487">
                  <c:v>24.622980876966746</c:v>
                </c:pt>
                <c:pt idx="16488">
                  <c:v>28.360803695239277</c:v>
                </c:pt>
                <c:pt idx="16489">
                  <c:v>27.128035126345086</c:v>
                </c:pt>
                <c:pt idx="16490">
                  <c:v>31.058552066581523</c:v>
                </c:pt>
                <c:pt idx="16491">
                  <c:v>30.026407792100361</c:v>
                </c:pt>
                <c:pt idx="16492">
                  <c:v>50.261090510197498</c:v>
                </c:pt>
                <c:pt idx="16493">
                  <c:v>52.071499300410281</c:v>
                </c:pt>
                <c:pt idx="16494">
                  <c:v>34.092113942666629</c:v>
                </c:pt>
                <c:pt idx="16495">
                  <c:v>22.111149512861257</c:v>
                </c:pt>
                <c:pt idx="16496">
                  <c:v>23.342308498805032</c:v>
                </c:pt>
                <c:pt idx="16497">
                  <c:v>32.095936145280618</c:v>
                </c:pt>
                <c:pt idx="16498">
                  <c:v>38.414395631861822</c:v>
                </c:pt>
                <c:pt idx="16499">
                  <c:v>31.853681481713668</c:v>
                </c:pt>
                <c:pt idx="16500">
                  <c:v>26.96227756507858</c:v>
                </c:pt>
                <c:pt idx="16501">
                  <c:v>23.04273852196852</c:v>
                </c:pt>
                <c:pt idx="16502">
                  <c:v>40.354603099753568</c:v>
                </c:pt>
                <c:pt idx="16503">
                  <c:v>27.810495524680814</c:v>
                </c:pt>
                <c:pt idx="16504">
                  <c:v>44.201597302358294</c:v>
                </c:pt>
                <c:pt idx="16505">
                  <c:v>26.567246542522369</c:v>
                </c:pt>
                <c:pt idx="16506">
                  <c:v>27.534857463274626</c:v>
                </c:pt>
                <c:pt idx="16507">
                  <c:v>17.241724244003752</c:v>
                </c:pt>
                <c:pt idx="16508">
                  <c:v>23.645523915966461</c:v>
                </c:pt>
                <c:pt idx="16509">
                  <c:v>31.73240940661934</c:v>
                </c:pt>
                <c:pt idx="16510">
                  <c:v>40.271783557171247</c:v>
                </c:pt>
                <c:pt idx="16511">
                  <c:v>25.704059517023548</c:v>
                </c:pt>
                <c:pt idx="16512">
                  <c:v>24.191881275311218</c:v>
                </c:pt>
                <c:pt idx="16513">
                  <c:v>27.42759175161726</c:v>
                </c:pt>
                <c:pt idx="16514">
                  <c:v>25.082420379151259</c:v>
                </c:pt>
                <c:pt idx="16515">
                  <c:v>27.970282127775313</c:v>
                </c:pt>
                <c:pt idx="16516">
                  <c:v>22.493311406158774</c:v>
                </c:pt>
                <c:pt idx="16517">
                  <c:v>26.969568917752127</c:v>
                </c:pt>
                <c:pt idx="16518">
                  <c:v>57.073951633274177</c:v>
                </c:pt>
                <c:pt idx="16519">
                  <c:v>49.458998644321632</c:v>
                </c:pt>
                <c:pt idx="16520">
                  <c:v>36.077591341604446</c:v>
                </c:pt>
                <c:pt idx="16521">
                  <c:v>29.977906159993029</c:v>
                </c:pt>
                <c:pt idx="16522">
                  <c:v>25.802462270354653</c:v>
                </c:pt>
                <c:pt idx="16523">
                  <c:v>42.359548094609636</c:v>
                </c:pt>
                <c:pt idx="16524">
                  <c:v>48.493630657998921</c:v>
                </c:pt>
                <c:pt idx="16525">
                  <c:v>31.974168388791185</c:v>
                </c:pt>
                <c:pt idx="16526">
                  <c:v>51.818076802883567</c:v>
                </c:pt>
                <c:pt idx="16527">
                  <c:v>48.346502485217577</c:v>
                </c:pt>
                <c:pt idx="16528">
                  <c:v>25.897180074865783</c:v>
                </c:pt>
                <c:pt idx="16529">
                  <c:v>32.636275091085139</c:v>
                </c:pt>
                <c:pt idx="16530">
                  <c:v>47.48858832474393</c:v>
                </c:pt>
                <c:pt idx="16531">
                  <c:v>28.47397605088582</c:v>
                </c:pt>
                <c:pt idx="16532">
                  <c:v>60.483918661047625</c:v>
                </c:pt>
                <c:pt idx="16533">
                  <c:v>39.025588860743682</c:v>
                </c:pt>
                <c:pt idx="16534">
                  <c:v>25.391267700603905</c:v>
                </c:pt>
                <c:pt idx="16535">
                  <c:v>26.286908100037522</c:v>
                </c:pt>
                <c:pt idx="16536">
                  <c:v>28.185290114890545</c:v>
                </c:pt>
                <c:pt idx="16537">
                  <c:v>49.880800842359335</c:v>
                </c:pt>
                <c:pt idx="16538">
                  <c:v>24.527304511793588</c:v>
                </c:pt>
                <c:pt idx="16539">
                  <c:v>32.136160393824476</c:v>
                </c:pt>
                <c:pt idx="16540">
                  <c:v>29.235040355798823</c:v>
                </c:pt>
                <c:pt idx="16541">
                  <c:v>44.986666579786309</c:v>
                </c:pt>
                <c:pt idx="16542">
                  <c:v>20.032125611172734</c:v>
                </c:pt>
                <c:pt idx="16543">
                  <c:v>32.36719120850757</c:v>
                </c:pt>
                <c:pt idx="16544">
                  <c:v>36.921211079711448</c:v>
                </c:pt>
                <c:pt idx="16545">
                  <c:v>30.522778190038032</c:v>
                </c:pt>
                <c:pt idx="16546">
                  <c:v>29.255259646542626</c:v>
                </c:pt>
                <c:pt idx="16547">
                  <c:v>17.018836320831969</c:v>
                </c:pt>
                <c:pt idx="16548">
                  <c:v>21.90573553925184</c:v>
                </c:pt>
                <c:pt idx="16549">
                  <c:v>27.473840604630638</c:v>
                </c:pt>
                <c:pt idx="16550">
                  <c:v>26.107153129240622</c:v>
                </c:pt>
                <c:pt idx="16551">
                  <c:v>25.354199744248294</c:v>
                </c:pt>
                <c:pt idx="16552">
                  <c:v>28.451732560429381</c:v>
                </c:pt>
                <c:pt idx="16553">
                  <c:v>22.499053042717851</c:v>
                </c:pt>
                <c:pt idx="16554">
                  <c:v>30.758645706813653</c:v>
                </c:pt>
                <c:pt idx="16555">
                  <c:v>24.359628272695545</c:v>
                </c:pt>
                <c:pt idx="16556">
                  <c:v>24.402524262547491</c:v>
                </c:pt>
                <c:pt idx="16557">
                  <c:v>29.557016261197052</c:v>
                </c:pt>
                <c:pt idx="16558">
                  <c:v>38.369303107167084</c:v>
                </c:pt>
                <c:pt idx="16559">
                  <c:v>27.475311989063812</c:v>
                </c:pt>
                <c:pt idx="16560">
                  <c:v>20.271380466214019</c:v>
                </c:pt>
                <c:pt idx="16561">
                  <c:v>25.337674490218511</c:v>
                </c:pt>
                <c:pt idx="16562">
                  <c:v>24.530909633949847</c:v>
                </c:pt>
                <c:pt idx="16563">
                  <c:v>25.94665428396382</c:v>
                </c:pt>
                <c:pt idx="16564">
                  <c:v>49.915002168645771</c:v>
                </c:pt>
                <c:pt idx="16565">
                  <c:v>23.15657623459904</c:v>
                </c:pt>
                <c:pt idx="16566">
                  <c:v>23.772771342406305</c:v>
                </c:pt>
                <c:pt idx="16567">
                  <c:v>52.947222265180301</c:v>
                </c:pt>
                <c:pt idx="16568">
                  <c:v>19.461056334301542</c:v>
                </c:pt>
                <c:pt idx="16569">
                  <c:v>33.867165581209342</c:v>
                </c:pt>
                <c:pt idx="16570">
                  <c:v>18.091506653183714</c:v>
                </c:pt>
                <c:pt idx="16571">
                  <c:v>44.828827273791838</c:v>
                </c:pt>
                <c:pt idx="16572">
                  <c:v>29.792558755226271</c:v>
                </c:pt>
                <c:pt idx="16573">
                  <c:v>22.792579932581667</c:v>
                </c:pt>
                <c:pt idx="16574">
                  <c:v>22.443940317325588</c:v>
                </c:pt>
                <c:pt idx="16575">
                  <c:v>45.324531336323425</c:v>
                </c:pt>
                <c:pt idx="16576">
                  <c:v>38.897406778555734</c:v>
                </c:pt>
                <c:pt idx="16577">
                  <c:v>32.312800844291104</c:v>
                </c:pt>
                <c:pt idx="16578">
                  <c:v>44.152164845057818</c:v>
                </c:pt>
                <c:pt idx="16579">
                  <c:v>26.541072923602503</c:v>
                </c:pt>
                <c:pt idx="16580">
                  <c:v>24.599877476211944</c:v>
                </c:pt>
                <c:pt idx="16581">
                  <c:v>32.659647295640418</c:v>
                </c:pt>
                <c:pt idx="16582">
                  <c:v>25.560352157335018</c:v>
                </c:pt>
                <c:pt idx="16583">
                  <c:v>51.527752812965829</c:v>
                </c:pt>
                <c:pt idx="16584">
                  <c:v>44.903271257460233</c:v>
                </c:pt>
                <c:pt idx="16585">
                  <c:v>22.190048680598228</c:v>
                </c:pt>
                <c:pt idx="16586">
                  <c:v>37.316571322322886</c:v>
                </c:pt>
                <c:pt idx="16587">
                  <c:v>50.216020140200079</c:v>
                </c:pt>
                <c:pt idx="16588">
                  <c:v>44.385539392797646</c:v>
                </c:pt>
                <c:pt idx="16589">
                  <c:v>30.077709284744632</c:v>
                </c:pt>
                <c:pt idx="16590">
                  <c:v>20.031691838242189</c:v>
                </c:pt>
                <c:pt idx="16591">
                  <c:v>30.927982158443832</c:v>
                </c:pt>
                <c:pt idx="16592">
                  <c:v>27.052549822795228</c:v>
                </c:pt>
                <c:pt idx="16593">
                  <c:v>24.474859844314956</c:v>
                </c:pt>
                <c:pt idx="16594">
                  <c:v>27.918810771676643</c:v>
                </c:pt>
                <c:pt idx="16595">
                  <c:v>35.747279685610636</c:v>
                </c:pt>
                <c:pt idx="16596">
                  <c:v>21.681485135762308</c:v>
                </c:pt>
                <c:pt idx="16597">
                  <c:v>22.549413153622883</c:v>
                </c:pt>
                <c:pt idx="16598">
                  <c:v>30.958205072181958</c:v>
                </c:pt>
                <c:pt idx="16599">
                  <c:v>48.537379082023662</c:v>
                </c:pt>
                <c:pt idx="16600">
                  <c:v>22.449805282535415</c:v>
                </c:pt>
                <c:pt idx="16601">
                  <c:v>25.603768095647762</c:v>
                </c:pt>
                <c:pt idx="16602">
                  <c:v>28.228483018744097</c:v>
                </c:pt>
                <c:pt idx="16603">
                  <c:v>27.969455307887863</c:v>
                </c:pt>
                <c:pt idx="16604">
                  <c:v>30.824017868570493</c:v>
                </c:pt>
                <c:pt idx="16605">
                  <c:v>53.48339830272397</c:v>
                </c:pt>
                <c:pt idx="16606">
                  <c:v>25.203391090764711</c:v>
                </c:pt>
                <c:pt idx="16607">
                  <c:v>26.361587300064386</c:v>
                </c:pt>
                <c:pt idx="16608">
                  <c:v>28.838931277224248</c:v>
                </c:pt>
                <c:pt idx="16609">
                  <c:v>37.396103501676542</c:v>
                </c:pt>
                <c:pt idx="16610">
                  <c:v>21.241107230142227</c:v>
                </c:pt>
                <c:pt idx="16611">
                  <c:v>39.267510015795224</c:v>
                </c:pt>
                <c:pt idx="16612">
                  <c:v>46.412508524021149</c:v>
                </c:pt>
                <c:pt idx="16613">
                  <c:v>24.870323145562942</c:v>
                </c:pt>
                <c:pt idx="16614">
                  <c:v>42.366928754322707</c:v>
                </c:pt>
                <c:pt idx="16615">
                  <c:v>29.728372019982764</c:v>
                </c:pt>
                <c:pt idx="16616">
                  <c:v>53.20325725579081</c:v>
                </c:pt>
                <c:pt idx="16617">
                  <c:v>22.385022182533977</c:v>
                </c:pt>
                <c:pt idx="16618">
                  <c:v>26.828420133497936</c:v>
                </c:pt>
                <c:pt idx="16619">
                  <c:v>15.993359583310763</c:v>
                </c:pt>
                <c:pt idx="16620">
                  <c:v>51.665866821007285</c:v>
                </c:pt>
                <c:pt idx="16621">
                  <c:v>32.872214949653184</c:v>
                </c:pt>
                <c:pt idx="16622">
                  <c:v>60.916451488024691</c:v>
                </c:pt>
                <c:pt idx="16623">
                  <c:v>21.74027048104929</c:v>
                </c:pt>
                <c:pt idx="16624">
                  <c:v>51.361608720075651</c:v>
                </c:pt>
                <c:pt idx="16625">
                  <c:v>35.980233724562574</c:v>
                </c:pt>
                <c:pt idx="16626">
                  <c:v>26.272040842902367</c:v>
                </c:pt>
                <c:pt idx="16627">
                  <c:v>31.450901708745754</c:v>
                </c:pt>
                <c:pt idx="16628">
                  <c:v>26.309264963780258</c:v>
                </c:pt>
                <c:pt idx="16629">
                  <c:v>29.769195427753612</c:v>
                </c:pt>
                <c:pt idx="16630">
                  <c:v>49.019690938690637</c:v>
                </c:pt>
                <c:pt idx="16631">
                  <c:v>28.134735253900764</c:v>
                </c:pt>
                <c:pt idx="16632">
                  <c:v>24.496234301835937</c:v>
                </c:pt>
                <c:pt idx="16633">
                  <c:v>26.143354484308876</c:v>
                </c:pt>
                <c:pt idx="16634">
                  <c:v>35.41810498022712</c:v>
                </c:pt>
                <c:pt idx="16635">
                  <c:v>29.00324871478135</c:v>
                </c:pt>
                <c:pt idx="16636">
                  <c:v>42.574678050266769</c:v>
                </c:pt>
                <c:pt idx="16637">
                  <c:v>46.967351981416286</c:v>
                </c:pt>
                <c:pt idx="16638">
                  <c:v>32.323284401767964</c:v>
                </c:pt>
                <c:pt idx="16639">
                  <c:v>41.740352064472418</c:v>
                </c:pt>
                <c:pt idx="16640">
                  <c:v>24.878597572608882</c:v>
                </c:pt>
                <c:pt idx="16641">
                  <c:v>44.751146872033964</c:v>
                </c:pt>
                <c:pt idx="16642">
                  <c:v>29.118997565866049</c:v>
                </c:pt>
                <c:pt idx="16643">
                  <c:v>19.879660652811758</c:v>
                </c:pt>
                <c:pt idx="16644">
                  <c:v>29.457017857135561</c:v>
                </c:pt>
                <c:pt idx="16645">
                  <c:v>33.822407105530345</c:v>
                </c:pt>
                <c:pt idx="16646">
                  <c:v>51.706546514436688</c:v>
                </c:pt>
                <c:pt idx="16647">
                  <c:v>26.283729606338877</c:v>
                </c:pt>
                <c:pt idx="16648">
                  <c:v>23.565352862774382</c:v>
                </c:pt>
                <c:pt idx="16649">
                  <c:v>34.354193988281274</c:v>
                </c:pt>
                <c:pt idx="16650">
                  <c:v>26.115884288135774</c:v>
                </c:pt>
                <c:pt idx="16651">
                  <c:v>24.517368995983922</c:v>
                </c:pt>
                <c:pt idx="16652">
                  <c:v>23.183336115125584</c:v>
                </c:pt>
                <c:pt idx="16653">
                  <c:v>31.974987056581561</c:v>
                </c:pt>
                <c:pt idx="16654">
                  <c:v>50.17918940082086</c:v>
                </c:pt>
                <c:pt idx="16655">
                  <c:v>21.868994708559327</c:v>
                </c:pt>
                <c:pt idx="16656">
                  <c:v>47.615102193110459</c:v>
                </c:pt>
                <c:pt idx="16657">
                  <c:v>27.18812789994665</c:v>
                </c:pt>
                <c:pt idx="16658">
                  <c:v>28.928788057808909</c:v>
                </c:pt>
                <c:pt idx="16659">
                  <c:v>25.287387332791489</c:v>
                </c:pt>
                <c:pt idx="16660">
                  <c:v>26.41059178660517</c:v>
                </c:pt>
                <c:pt idx="16661">
                  <c:v>33.22911753359147</c:v>
                </c:pt>
                <c:pt idx="16662">
                  <c:v>49.677136684822855</c:v>
                </c:pt>
                <c:pt idx="16663">
                  <c:v>52.416462221153438</c:v>
                </c:pt>
                <c:pt idx="16664">
                  <c:v>28.726664925245359</c:v>
                </c:pt>
                <c:pt idx="16665">
                  <c:v>22.335091440664275</c:v>
                </c:pt>
                <c:pt idx="16666">
                  <c:v>22.450292787666211</c:v>
                </c:pt>
                <c:pt idx="16667">
                  <c:v>32.292737706593719</c:v>
                </c:pt>
                <c:pt idx="16668">
                  <c:v>24.517259355937355</c:v>
                </c:pt>
                <c:pt idx="16669">
                  <c:v>23.59995341470907</c:v>
                </c:pt>
                <c:pt idx="16670">
                  <c:v>28.844387726523209</c:v>
                </c:pt>
                <c:pt idx="16671">
                  <c:v>27.015085553222768</c:v>
                </c:pt>
                <c:pt idx="16672">
                  <c:v>28.39052008934857</c:v>
                </c:pt>
                <c:pt idx="16673">
                  <c:v>38.034035749728694</c:v>
                </c:pt>
                <c:pt idx="16674">
                  <c:v>29.094463233448863</c:v>
                </c:pt>
                <c:pt idx="16675">
                  <c:v>40.635651597118155</c:v>
                </c:pt>
                <c:pt idx="16676">
                  <c:v>24.57159184158705</c:v>
                </c:pt>
                <c:pt idx="16677">
                  <c:v>48.978049188181082</c:v>
                </c:pt>
                <c:pt idx="16678">
                  <c:v>30.229159957568999</c:v>
                </c:pt>
                <c:pt idx="16679">
                  <c:v>50.87796438844515</c:v>
                </c:pt>
                <c:pt idx="16680">
                  <c:v>43.645250334862638</c:v>
                </c:pt>
                <c:pt idx="16681">
                  <c:v>33.732514489798859</c:v>
                </c:pt>
                <c:pt idx="16682">
                  <c:v>25.947890369061412</c:v>
                </c:pt>
                <c:pt idx="16683">
                  <c:v>31.036699675888546</c:v>
                </c:pt>
                <c:pt idx="16684">
                  <c:v>27.610741945693487</c:v>
                </c:pt>
                <c:pt idx="16685">
                  <c:v>21.631776563599626</c:v>
                </c:pt>
                <c:pt idx="16686">
                  <c:v>50.835977056997592</c:v>
                </c:pt>
                <c:pt idx="16687">
                  <c:v>25.176467655578762</c:v>
                </c:pt>
                <c:pt idx="16688">
                  <c:v>30.046165178920766</c:v>
                </c:pt>
                <c:pt idx="16689">
                  <c:v>62.713105509794225</c:v>
                </c:pt>
                <c:pt idx="16690">
                  <c:v>24.73106810771996</c:v>
                </c:pt>
                <c:pt idx="16691">
                  <c:v>33.763756708704733</c:v>
                </c:pt>
                <c:pt idx="16692">
                  <c:v>26.851643064748874</c:v>
                </c:pt>
                <c:pt idx="16693">
                  <c:v>23.275760440546215</c:v>
                </c:pt>
                <c:pt idx="16694">
                  <c:v>28.850817219599108</c:v>
                </c:pt>
                <c:pt idx="16695">
                  <c:v>22.271524749658276</c:v>
                </c:pt>
                <c:pt idx="16696">
                  <c:v>54.41450742275039</c:v>
                </c:pt>
                <c:pt idx="16697">
                  <c:v>31.587946664861065</c:v>
                </c:pt>
                <c:pt idx="16698">
                  <c:v>23.55985218231767</c:v>
                </c:pt>
                <c:pt idx="16699">
                  <c:v>23.891902991027806</c:v>
                </c:pt>
                <c:pt idx="16700">
                  <c:v>37.62848288626703</c:v>
                </c:pt>
                <c:pt idx="16701">
                  <c:v>55.68651324352453</c:v>
                </c:pt>
                <c:pt idx="16702">
                  <c:v>24.521175172412633</c:v>
                </c:pt>
                <c:pt idx="16703">
                  <c:v>24.594874631199968</c:v>
                </c:pt>
                <c:pt idx="16704">
                  <c:v>25.495175757855311</c:v>
                </c:pt>
                <c:pt idx="16705">
                  <c:v>22.07453685946281</c:v>
                </c:pt>
                <c:pt idx="16706">
                  <c:v>22.866324502239525</c:v>
                </c:pt>
                <c:pt idx="16707">
                  <c:v>45.095716345077854</c:v>
                </c:pt>
                <c:pt idx="16708">
                  <c:v>44.579496409685774</c:v>
                </c:pt>
                <c:pt idx="16709">
                  <c:v>57.41698494773491</c:v>
                </c:pt>
                <c:pt idx="16710">
                  <c:v>46.959858951778429</c:v>
                </c:pt>
                <c:pt idx="16711">
                  <c:v>32.682877769638395</c:v>
                </c:pt>
                <c:pt idx="16712">
                  <c:v>25.870065330230172</c:v>
                </c:pt>
                <c:pt idx="16713">
                  <c:v>41.39075839011705</c:v>
                </c:pt>
                <c:pt idx="16714">
                  <c:v>27.010423361808854</c:v>
                </c:pt>
                <c:pt idx="16715">
                  <c:v>27.001949214306979</c:v>
                </c:pt>
                <c:pt idx="16716">
                  <c:v>20.562687177423324</c:v>
                </c:pt>
                <c:pt idx="16717">
                  <c:v>28.37104009741471</c:v>
                </c:pt>
                <c:pt idx="16718">
                  <c:v>54.299700718262962</c:v>
                </c:pt>
                <c:pt idx="16719">
                  <c:v>30.183722166182886</c:v>
                </c:pt>
                <c:pt idx="16720">
                  <c:v>47.799068822670066</c:v>
                </c:pt>
                <c:pt idx="16721">
                  <c:v>31.365945392313723</c:v>
                </c:pt>
                <c:pt idx="16722">
                  <c:v>32.458499089436216</c:v>
                </c:pt>
                <c:pt idx="16723">
                  <c:v>24.752545532773524</c:v>
                </c:pt>
                <c:pt idx="16724">
                  <c:v>29.757434932273046</c:v>
                </c:pt>
                <c:pt idx="16725">
                  <c:v>30.956362070143467</c:v>
                </c:pt>
                <c:pt idx="16726">
                  <c:v>30.791884022027261</c:v>
                </c:pt>
                <c:pt idx="16727">
                  <c:v>46.713706540506081</c:v>
                </c:pt>
                <c:pt idx="16728">
                  <c:v>31.496404605726394</c:v>
                </c:pt>
                <c:pt idx="16729">
                  <c:v>24.642985066793557</c:v>
                </c:pt>
                <c:pt idx="16730">
                  <c:v>20.610432802683157</c:v>
                </c:pt>
                <c:pt idx="16731">
                  <c:v>38.867500999197176</c:v>
                </c:pt>
                <c:pt idx="16732">
                  <c:v>14.366693125473166</c:v>
                </c:pt>
                <c:pt idx="16733">
                  <c:v>50.172126382352111</c:v>
                </c:pt>
                <c:pt idx="16734">
                  <c:v>29.119850891094515</c:v>
                </c:pt>
                <c:pt idx="16735">
                  <c:v>38.740859229341304</c:v>
                </c:pt>
                <c:pt idx="16736">
                  <c:v>27.333499891852203</c:v>
                </c:pt>
                <c:pt idx="16737">
                  <c:v>56.295089463939334</c:v>
                </c:pt>
                <c:pt idx="16738">
                  <c:v>19.297108841567606</c:v>
                </c:pt>
                <c:pt idx="16739">
                  <c:v>52.741076393266106</c:v>
                </c:pt>
                <c:pt idx="16740">
                  <c:v>45.175942913623508</c:v>
                </c:pt>
                <c:pt idx="16741">
                  <c:v>25.456887127924794</c:v>
                </c:pt>
                <c:pt idx="16742">
                  <c:v>42.376719073872138</c:v>
                </c:pt>
                <c:pt idx="16743">
                  <c:v>22.589750688225003</c:v>
                </c:pt>
                <c:pt idx="16744">
                  <c:v>35.509211408190509</c:v>
                </c:pt>
                <c:pt idx="16745">
                  <c:v>31.521343328796586</c:v>
                </c:pt>
                <c:pt idx="16746">
                  <c:v>21.898735650059606</c:v>
                </c:pt>
                <c:pt idx="16747">
                  <c:v>44.760959870462287</c:v>
                </c:pt>
                <c:pt idx="16748">
                  <c:v>42.621079736201537</c:v>
                </c:pt>
                <c:pt idx="16749">
                  <c:v>24.564276029220085</c:v>
                </c:pt>
                <c:pt idx="16750">
                  <c:v>23.748006348930907</c:v>
                </c:pt>
                <c:pt idx="16751">
                  <c:v>24.71653473337652</c:v>
                </c:pt>
                <c:pt idx="16752">
                  <c:v>43.453757382547941</c:v>
                </c:pt>
                <c:pt idx="16753">
                  <c:v>36.385165647957763</c:v>
                </c:pt>
                <c:pt idx="16754">
                  <c:v>42.842042479122455</c:v>
                </c:pt>
                <c:pt idx="16755">
                  <c:v>31.685958292077366</c:v>
                </c:pt>
                <c:pt idx="16756">
                  <c:v>44.392596838442991</c:v>
                </c:pt>
                <c:pt idx="16757">
                  <c:v>14.273019201287823</c:v>
                </c:pt>
                <c:pt idx="16758">
                  <c:v>28.895950575804946</c:v>
                </c:pt>
                <c:pt idx="16759">
                  <c:v>41.513751860163275</c:v>
                </c:pt>
                <c:pt idx="16760">
                  <c:v>31.877080016304038</c:v>
                </c:pt>
                <c:pt idx="16761">
                  <c:v>26.581152415869493</c:v>
                </c:pt>
                <c:pt idx="16762">
                  <c:v>52.64434333600942</c:v>
                </c:pt>
                <c:pt idx="16763">
                  <c:v>24.856216172804174</c:v>
                </c:pt>
                <c:pt idx="16764">
                  <c:v>25.820204614685949</c:v>
                </c:pt>
                <c:pt idx="16765">
                  <c:v>20.285213597030221</c:v>
                </c:pt>
                <c:pt idx="16766">
                  <c:v>46.896075556605687</c:v>
                </c:pt>
                <c:pt idx="16767">
                  <c:v>20.628105895014659</c:v>
                </c:pt>
                <c:pt idx="16768">
                  <c:v>51.912077113412046</c:v>
                </c:pt>
                <c:pt idx="16769">
                  <c:v>29.884221870108348</c:v>
                </c:pt>
                <c:pt idx="16770">
                  <c:v>19.515616100407311</c:v>
                </c:pt>
                <c:pt idx="16771">
                  <c:v>49.251070686000382</c:v>
                </c:pt>
                <c:pt idx="16772">
                  <c:v>33.47285934217755</c:v>
                </c:pt>
                <c:pt idx="16773">
                  <c:v>23.56149051984881</c:v>
                </c:pt>
                <c:pt idx="16774">
                  <c:v>32.149448175916866</c:v>
                </c:pt>
                <c:pt idx="16775">
                  <c:v>28.373218934496606</c:v>
                </c:pt>
                <c:pt idx="16776">
                  <c:v>27.132205557746676</c:v>
                </c:pt>
                <c:pt idx="16777">
                  <c:v>38.631412736173203</c:v>
                </c:pt>
                <c:pt idx="16778">
                  <c:v>18.71051569059054</c:v>
                </c:pt>
                <c:pt idx="16779">
                  <c:v>19.609863073185611</c:v>
                </c:pt>
                <c:pt idx="16780">
                  <c:v>23.945836799189433</c:v>
                </c:pt>
                <c:pt idx="16781">
                  <c:v>24.168167325881583</c:v>
                </c:pt>
                <c:pt idx="16782">
                  <c:v>26.196785441815159</c:v>
                </c:pt>
                <c:pt idx="16783">
                  <c:v>55.877404650372178</c:v>
                </c:pt>
                <c:pt idx="16784">
                  <c:v>29.402409383496625</c:v>
                </c:pt>
                <c:pt idx="16785">
                  <c:v>57.76279476282712</c:v>
                </c:pt>
                <c:pt idx="16786">
                  <c:v>29.0363250628861</c:v>
                </c:pt>
                <c:pt idx="16787">
                  <c:v>39.498508735577012</c:v>
                </c:pt>
                <c:pt idx="16788">
                  <c:v>21.985679334193449</c:v>
                </c:pt>
                <c:pt idx="16789">
                  <c:v>23.919541342627312</c:v>
                </c:pt>
                <c:pt idx="16790">
                  <c:v>39.667076852702415</c:v>
                </c:pt>
                <c:pt idx="16791">
                  <c:v>24.664593946727422</c:v>
                </c:pt>
                <c:pt idx="16792">
                  <c:v>52.795647626094564</c:v>
                </c:pt>
                <c:pt idx="16793">
                  <c:v>35.103629809688009</c:v>
                </c:pt>
                <c:pt idx="16794">
                  <c:v>27.221594992403261</c:v>
                </c:pt>
                <c:pt idx="16795">
                  <c:v>26.886173805958432</c:v>
                </c:pt>
                <c:pt idx="16796">
                  <c:v>23.131796405252608</c:v>
                </c:pt>
                <c:pt idx="16797">
                  <c:v>33.303298857491541</c:v>
                </c:pt>
                <c:pt idx="16798">
                  <c:v>25.390701005363695</c:v>
                </c:pt>
                <c:pt idx="16799">
                  <c:v>29.182150553763339</c:v>
                </c:pt>
                <c:pt idx="16800">
                  <c:v>27.139766389673671</c:v>
                </c:pt>
                <c:pt idx="16801">
                  <c:v>20.498630022299999</c:v>
                </c:pt>
                <c:pt idx="16802">
                  <c:v>44.73654649050048</c:v>
                </c:pt>
                <c:pt idx="16803">
                  <c:v>35.70346451466235</c:v>
                </c:pt>
                <c:pt idx="16804">
                  <c:v>27.181951416230337</c:v>
                </c:pt>
                <c:pt idx="16805">
                  <c:v>28.375747017860114</c:v>
                </c:pt>
                <c:pt idx="16806">
                  <c:v>25.445064601328582</c:v>
                </c:pt>
                <c:pt idx="16807">
                  <c:v>24.188839068046246</c:v>
                </c:pt>
                <c:pt idx="16808">
                  <c:v>24.474750416000369</c:v>
                </c:pt>
                <c:pt idx="16809">
                  <c:v>25.314894448579601</c:v>
                </c:pt>
                <c:pt idx="16810">
                  <c:v>26.617316355982894</c:v>
                </c:pt>
                <c:pt idx="16811">
                  <c:v>30.643487371227177</c:v>
                </c:pt>
                <c:pt idx="16812">
                  <c:v>51.347373501216538</c:v>
                </c:pt>
                <c:pt idx="16813">
                  <c:v>25.475974381554813</c:v>
                </c:pt>
                <c:pt idx="16814">
                  <c:v>34.021033922029062</c:v>
                </c:pt>
                <c:pt idx="16815">
                  <c:v>22.947070226509553</c:v>
                </c:pt>
                <c:pt idx="16816">
                  <c:v>25.412943263660921</c:v>
                </c:pt>
                <c:pt idx="16817">
                  <c:v>26.254794223060298</c:v>
                </c:pt>
                <c:pt idx="16818">
                  <c:v>22.886685901596856</c:v>
                </c:pt>
                <c:pt idx="16819">
                  <c:v>34.118048822023042</c:v>
                </c:pt>
                <c:pt idx="16820">
                  <c:v>33.271559559385103</c:v>
                </c:pt>
                <c:pt idx="16821">
                  <c:v>29.761610538014814</c:v>
                </c:pt>
                <c:pt idx="16822">
                  <c:v>26.552138989150713</c:v>
                </c:pt>
                <c:pt idx="16823">
                  <c:v>25.907908741970047</c:v>
                </c:pt>
                <c:pt idx="16824">
                  <c:v>27.52318647061001</c:v>
                </c:pt>
                <c:pt idx="16825">
                  <c:v>43.965261442297177</c:v>
                </c:pt>
                <c:pt idx="16826">
                  <c:v>19.475114793846622</c:v>
                </c:pt>
                <c:pt idx="16827">
                  <c:v>30.924093479497891</c:v>
                </c:pt>
                <c:pt idx="16828">
                  <c:v>26.447420769048509</c:v>
                </c:pt>
                <c:pt idx="16829">
                  <c:v>32.624963325927652</c:v>
                </c:pt>
                <c:pt idx="16830">
                  <c:v>34.51614360266877</c:v>
                </c:pt>
                <c:pt idx="16831">
                  <c:v>43.905201966493365</c:v>
                </c:pt>
                <c:pt idx="16832">
                  <c:v>43.236780261301817</c:v>
                </c:pt>
                <c:pt idx="16833">
                  <c:v>21.047105115911581</c:v>
                </c:pt>
                <c:pt idx="16834">
                  <c:v>20.334760618565308</c:v>
                </c:pt>
                <c:pt idx="16835">
                  <c:v>26.041373455900953</c:v>
                </c:pt>
                <c:pt idx="16836">
                  <c:v>47.94010369863657</c:v>
                </c:pt>
                <c:pt idx="16837">
                  <c:v>26.839145306579368</c:v>
                </c:pt>
                <c:pt idx="16838">
                  <c:v>22.698436335640604</c:v>
                </c:pt>
                <c:pt idx="16839">
                  <c:v>45.657418841228441</c:v>
                </c:pt>
                <c:pt idx="16840">
                  <c:v>30.855139039820802</c:v>
                </c:pt>
                <c:pt idx="16841">
                  <c:v>58.313533664917763</c:v>
                </c:pt>
                <c:pt idx="16842">
                  <c:v>26.269613076982203</c:v>
                </c:pt>
                <c:pt idx="16843">
                  <c:v>26.442288305040954</c:v>
                </c:pt>
                <c:pt idx="16844">
                  <c:v>28.628880449871151</c:v>
                </c:pt>
                <c:pt idx="16845">
                  <c:v>31.817006789509353</c:v>
                </c:pt>
                <c:pt idx="16846">
                  <c:v>27.617827223043957</c:v>
                </c:pt>
                <c:pt idx="16847">
                  <c:v>49.118447036254032</c:v>
                </c:pt>
                <c:pt idx="16848">
                  <c:v>26.154487900479623</c:v>
                </c:pt>
                <c:pt idx="16849">
                  <c:v>35.418782039692559</c:v>
                </c:pt>
                <c:pt idx="16850">
                  <c:v>23.496631537548396</c:v>
                </c:pt>
                <c:pt idx="16851">
                  <c:v>16.403089132670921</c:v>
                </c:pt>
                <c:pt idx="16852">
                  <c:v>37.351228058690886</c:v>
                </c:pt>
                <c:pt idx="16853">
                  <c:v>23.152931263341699</c:v>
                </c:pt>
                <c:pt idx="16854">
                  <c:v>28.774390698627755</c:v>
                </c:pt>
                <c:pt idx="16855">
                  <c:v>24.959946335514584</c:v>
                </c:pt>
                <c:pt idx="16856">
                  <c:v>28.476226355924833</c:v>
                </c:pt>
                <c:pt idx="16857">
                  <c:v>52.846896986159024</c:v>
                </c:pt>
                <c:pt idx="16858">
                  <c:v>30.756124085389573</c:v>
                </c:pt>
                <c:pt idx="16859">
                  <c:v>55.913250677602605</c:v>
                </c:pt>
                <c:pt idx="16860">
                  <c:v>40.49485466127917</c:v>
                </c:pt>
                <c:pt idx="16861">
                  <c:v>24.339558219949005</c:v>
                </c:pt>
                <c:pt idx="16862">
                  <c:v>56.443472205626179</c:v>
                </c:pt>
                <c:pt idx="16863">
                  <c:v>23.008636028543108</c:v>
                </c:pt>
                <c:pt idx="16864">
                  <c:v>26.425088425711838</c:v>
                </c:pt>
                <c:pt idx="16865">
                  <c:v>25.246878190132804</c:v>
                </c:pt>
                <c:pt idx="16866">
                  <c:v>33.591503770859809</c:v>
                </c:pt>
                <c:pt idx="16867">
                  <c:v>24.34603261311533</c:v>
                </c:pt>
                <c:pt idx="16868">
                  <c:v>40.937486853120404</c:v>
                </c:pt>
                <c:pt idx="16869">
                  <c:v>23.071315830507427</c:v>
                </c:pt>
                <c:pt idx="16870">
                  <c:v>30.54299006049208</c:v>
                </c:pt>
                <c:pt idx="16871">
                  <c:v>35.152704675108772</c:v>
                </c:pt>
                <c:pt idx="16872">
                  <c:v>27.092548030616832</c:v>
                </c:pt>
                <c:pt idx="16873">
                  <c:v>24.796931939601009</c:v>
                </c:pt>
                <c:pt idx="16874">
                  <c:v>26.083762391074881</c:v>
                </c:pt>
                <c:pt idx="16875">
                  <c:v>31.159904126360885</c:v>
                </c:pt>
                <c:pt idx="16876">
                  <c:v>48.039082753842358</c:v>
                </c:pt>
                <c:pt idx="16877">
                  <c:v>31.776560241293964</c:v>
                </c:pt>
                <c:pt idx="16878">
                  <c:v>25.014413243212481</c:v>
                </c:pt>
                <c:pt idx="16879">
                  <c:v>19.963126454455182</c:v>
                </c:pt>
                <c:pt idx="16880">
                  <c:v>26.856095565296741</c:v>
                </c:pt>
                <c:pt idx="16881">
                  <c:v>24.001776984612349</c:v>
                </c:pt>
                <c:pt idx="16882">
                  <c:v>21.409891006283992</c:v>
                </c:pt>
                <c:pt idx="16883">
                  <c:v>25.643185766985681</c:v>
                </c:pt>
                <c:pt idx="16884">
                  <c:v>24.35519713997196</c:v>
                </c:pt>
                <c:pt idx="16885">
                  <c:v>39.09580603841416</c:v>
                </c:pt>
                <c:pt idx="16886">
                  <c:v>31.881832137520249</c:v>
                </c:pt>
                <c:pt idx="16887">
                  <c:v>29.652657199751268</c:v>
                </c:pt>
                <c:pt idx="16888">
                  <c:v>30.557545157875062</c:v>
                </c:pt>
                <c:pt idx="16889">
                  <c:v>38.910241285884162</c:v>
                </c:pt>
                <c:pt idx="16890">
                  <c:v>19.722297426713315</c:v>
                </c:pt>
                <c:pt idx="16891">
                  <c:v>36.241723573377158</c:v>
                </c:pt>
                <c:pt idx="16892">
                  <c:v>30.7486442218684</c:v>
                </c:pt>
                <c:pt idx="16893">
                  <c:v>24.54601251948899</c:v>
                </c:pt>
                <c:pt idx="16894">
                  <c:v>44.218259629062352</c:v>
                </c:pt>
                <c:pt idx="16895">
                  <c:v>24.134289575080494</c:v>
                </c:pt>
                <c:pt idx="16896">
                  <c:v>26.438555535891286</c:v>
                </c:pt>
                <c:pt idx="16897">
                  <c:v>18.852435719479761</c:v>
                </c:pt>
                <c:pt idx="16898">
                  <c:v>39.732548156153683</c:v>
                </c:pt>
                <c:pt idx="16899">
                  <c:v>47.555676330835063</c:v>
                </c:pt>
                <c:pt idx="16900">
                  <c:v>24.492273143661052</c:v>
                </c:pt>
                <c:pt idx="16901">
                  <c:v>24.267445710801997</c:v>
                </c:pt>
                <c:pt idx="16902">
                  <c:v>24.493244943774538</c:v>
                </c:pt>
                <c:pt idx="16903">
                  <c:v>26.744861367897066</c:v>
                </c:pt>
                <c:pt idx="16904">
                  <c:v>23.049034109532549</c:v>
                </c:pt>
                <c:pt idx="16905">
                  <c:v>32.472592515941173</c:v>
                </c:pt>
                <c:pt idx="16906">
                  <c:v>33.611656295259117</c:v>
                </c:pt>
                <c:pt idx="16907">
                  <c:v>35.240455930515672</c:v>
                </c:pt>
                <c:pt idx="16908">
                  <c:v>35.749034929816617</c:v>
                </c:pt>
                <c:pt idx="16909">
                  <c:v>28.418098870174077</c:v>
                </c:pt>
                <c:pt idx="16910">
                  <c:v>26.335340616872386</c:v>
                </c:pt>
                <c:pt idx="16911">
                  <c:v>22.188808415032423</c:v>
                </c:pt>
                <c:pt idx="16912">
                  <c:v>32.905697845930021</c:v>
                </c:pt>
                <c:pt idx="16913">
                  <c:v>27.21741018666728</c:v>
                </c:pt>
                <c:pt idx="16914">
                  <c:v>27.237548721882501</c:v>
                </c:pt>
                <c:pt idx="16915">
                  <c:v>29.366986524396275</c:v>
                </c:pt>
                <c:pt idx="16916">
                  <c:v>60.100772164714442</c:v>
                </c:pt>
                <c:pt idx="16917">
                  <c:v>19.682237793168998</c:v>
                </c:pt>
                <c:pt idx="16918">
                  <c:v>23.616159633412327</c:v>
                </c:pt>
                <c:pt idx="16919">
                  <c:v>33.808577919235894</c:v>
                </c:pt>
                <c:pt idx="16920">
                  <c:v>46.664228165934915</c:v>
                </c:pt>
                <c:pt idx="16921">
                  <c:v>24.854124389928231</c:v>
                </c:pt>
                <c:pt idx="16922">
                  <c:v>37.004624898922465</c:v>
                </c:pt>
                <c:pt idx="16923">
                  <c:v>14.399500004616218</c:v>
                </c:pt>
                <c:pt idx="16924">
                  <c:v>27.775023478222842</c:v>
                </c:pt>
                <c:pt idx="16925">
                  <c:v>23.498142983290911</c:v>
                </c:pt>
                <c:pt idx="16926">
                  <c:v>35.693590550793871</c:v>
                </c:pt>
                <c:pt idx="16927">
                  <c:v>30.585433119624359</c:v>
                </c:pt>
                <c:pt idx="16928">
                  <c:v>34.2222612348627</c:v>
                </c:pt>
                <c:pt idx="16929">
                  <c:v>28.932655157526376</c:v>
                </c:pt>
                <c:pt idx="16930">
                  <c:v>19.103891495128238</c:v>
                </c:pt>
                <c:pt idx="16931">
                  <c:v>20.867663754845651</c:v>
                </c:pt>
                <c:pt idx="16932">
                  <c:v>24.717601726687707</c:v>
                </c:pt>
                <c:pt idx="16933">
                  <c:v>38.140824859513835</c:v>
                </c:pt>
                <c:pt idx="16934">
                  <c:v>37.506104507428688</c:v>
                </c:pt>
                <c:pt idx="16935">
                  <c:v>27.313743663032128</c:v>
                </c:pt>
                <c:pt idx="16936">
                  <c:v>45.331832089288852</c:v>
                </c:pt>
                <c:pt idx="16937">
                  <c:v>30.861342581647154</c:v>
                </c:pt>
                <c:pt idx="16938">
                  <c:v>21.572731296615366</c:v>
                </c:pt>
                <c:pt idx="16939">
                  <c:v>25.869714921373792</c:v>
                </c:pt>
                <c:pt idx="16940">
                  <c:v>38.155448415007804</c:v>
                </c:pt>
                <c:pt idx="16941">
                  <c:v>31.469800690638607</c:v>
                </c:pt>
                <c:pt idx="16942">
                  <c:v>26.824137927573599</c:v>
                </c:pt>
                <c:pt idx="16943">
                  <c:v>19.56177662923119</c:v>
                </c:pt>
                <c:pt idx="16944">
                  <c:v>32.856613499904057</c:v>
                </c:pt>
                <c:pt idx="16945">
                  <c:v>58.282315311742245</c:v>
                </c:pt>
                <c:pt idx="16946">
                  <c:v>46.511606181821286</c:v>
                </c:pt>
                <c:pt idx="16947">
                  <c:v>55.727343603070075</c:v>
                </c:pt>
                <c:pt idx="16948">
                  <c:v>20.708750853904416</c:v>
                </c:pt>
                <c:pt idx="16949">
                  <c:v>19.42580768019744</c:v>
                </c:pt>
                <c:pt idx="16950">
                  <c:v>32.721372251222931</c:v>
                </c:pt>
                <c:pt idx="16951">
                  <c:v>33.547383473938879</c:v>
                </c:pt>
                <c:pt idx="16952">
                  <c:v>21.868957796944017</c:v>
                </c:pt>
                <c:pt idx="16953">
                  <c:v>18.681013080342112</c:v>
                </c:pt>
                <c:pt idx="16954">
                  <c:v>23.305513840166306</c:v>
                </c:pt>
                <c:pt idx="16955">
                  <c:v>27.828641478611708</c:v>
                </c:pt>
                <c:pt idx="16956">
                  <c:v>50.335379846811712</c:v>
                </c:pt>
                <c:pt idx="16957">
                  <c:v>31.868559505573476</c:v>
                </c:pt>
                <c:pt idx="16958">
                  <c:v>28.949717773769663</c:v>
                </c:pt>
                <c:pt idx="16959">
                  <c:v>24.361203375812138</c:v>
                </c:pt>
                <c:pt idx="16960">
                  <c:v>31.044831512023855</c:v>
                </c:pt>
                <c:pt idx="16961">
                  <c:v>25.112127355229553</c:v>
                </c:pt>
                <c:pt idx="16962">
                  <c:v>30.949069554337161</c:v>
                </c:pt>
                <c:pt idx="16963">
                  <c:v>31.29242689856888</c:v>
                </c:pt>
                <c:pt idx="16964">
                  <c:v>25.363106337612095</c:v>
                </c:pt>
                <c:pt idx="16965">
                  <c:v>30.395854347935874</c:v>
                </c:pt>
                <c:pt idx="16966">
                  <c:v>28.221641829797314</c:v>
                </c:pt>
                <c:pt idx="16967">
                  <c:v>58.647395881724194</c:v>
                </c:pt>
                <c:pt idx="16968">
                  <c:v>31.052462764855076</c:v>
                </c:pt>
                <c:pt idx="16969">
                  <c:v>24.668557934609961</c:v>
                </c:pt>
                <c:pt idx="16970">
                  <c:v>24.54022288126318</c:v>
                </c:pt>
                <c:pt idx="16971">
                  <c:v>29.068568756970393</c:v>
                </c:pt>
                <c:pt idx="16972">
                  <c:v>56.950516168604615</c:v>
                </c:pt>
                <c:pt idx="16973">
                  <c:v>47.369280529253352</c:v>
                </c:pt>
                <c:pt idx="16974">
                  <c:v>30.429548804510588</c:v>
                </c:pt>
                <c:pt idx="16975">
                  <c:v>21.299565568911557</c:v>
                </c:pt>
                <c:pt idx="16976">
                  <c:v>33.922460867938241</c:v>
                </c:pt>
                <c:pt idx="16977">
                  <c:v>32.624869669319061</c:v>
                </c:pt>
                <c:pt idx="16978">
                  <c:v>18.775390518431074</c:v>
                </c:pt>
                <c:pt idx="16979">
                  <c:v>25.888391952761644</c:v>
                </c:pt>
                <c:pt idx="16980">
                  <c:v>21.581742405828024</c:v>
                </c:pt>
                <c:pt idx="16981">
                  <c:v>30.300652254184357</c:v>
                </c:pt>
                <c:pt idx="16982">
                  <c:v>23.508169161193671</c:v>
                </c:pt>
                <c:pt idx="16983">
                  <c:v>23.384460801709313</c:v>
                </c:pt>
                <c:pt idx="16984">
                  <c:v>29.076168268927301</c:v>
                </c:pt>
                <c:pt idx="16985">
                  <c:v>27.347564537639958</c:v>
                </c:pt>
                <c:pt idx="16986">
                  <c:v>32.751696639626658</c:v>
                </c:pt>
                <c:pt idx="16987">
                  <c:v>32.519015783279585</c:v>
                </c:pt>
                <c:pt idx="16988">
                  <c:v>39.078509208635772</c:v>
                </c:pt>
                <c:pt idx="16989">
                  <c:v>29.31973360696724</c:v>
                </c:pt>
                <c:pt idx="16990">
                  <c:v>26.231298317716274</c:v>
                </c:pt>
                <c:pt idx="16991">
                  <c:v>50.328973958999995</c:v>
                </c:pt>
                <c:pt idx="16992">
                  <c:v>40.462174040813949</c:v>
                </c:pt>
                <c:pt idx="16993">
                  <c:v>21.804115229992572</c:v>
                </c:pt>
                <c:pt idx="16994">
                  <c:v>32.611477318937695</c:v>
                </c:pt>
                <c:pt idx="16995">
                  <c:v>50.099268750227871</c:v>
                </c:pt>
                <c:pt idx="16996">
                  <c:v>43.621305850230733</c:v>
                </c:pt>
                <c:pt idx="16997">
                  <c:v>23.347052022214932</c:v>
                </c:pt>
                <c:pt idx="16998">
                  <c:v>23.39539988632739</c:v>
                </c:pt>
                <c:pt idx="16999">
                  <c:v>24.949909202713808</c:v>
                </c:pt>
                <c:pt idx="17000">
                  <c:v>48.693732399642045</c:v>
                </c:pt>
                <c:pt idx="17001">
                  <c:v>24.633844732989147</c:v>
                </c:pt>
                <c:pt idx="17002">
                  <c:v>24.367396399470611</c:v>
                </c:pt>
                <c:pt idx="17003">
                  <c:v>25.520905402727823</c:v>
                </c:pt>
                <c:pt idx="17004">
                  <c:v>33.175070448755562</c:v>
                </c:pt>
                <c:pt idx="17005">
                  <c:v>26.522315403245621</c:v>
                </c:pt>
                <c:pt idx="17006">
                  <c:v>25.527246774211214</c:v>
                </c:pt>
                <c:pt idx="17007">
                  <c:v>31.070654253983999</c:v>
                </c:pt>
                <c:pt idx="17008">
                  <c:v>21.99775327041429</c:v>
                </c:pt>
                <c:pt idx="17009">
                  <c:v>52.744438169162621</c:v>
                </c:pt>
                <c:pt idx="17010">
                  <c:v>31.4948046038058</c:v>
                </c:pt>
                <c:pt idx="17011">
                  <c:v>27.017511796049959</c:v>
                </c:pt>
                <c:pt idx="17012">
                  <c:v>65.480366167352258</c:v>
                </c:pt>
                <c:pt idx="17013">
                  <c:v>25.312568436204486</c:v>
                </c:pt>
                <c:pt idx="17014">
                  <c:v>29.635009039364537</c:v>
                </c:pt>
                <c:pt idx="17015">
                  <c:v>45.19998427874129</c:v>
                </c:pt>
                <c:pt idx="17016">
                  <c:v>24.767736381335574</c:v>
                </c:pt>
                <c:pt idx="17017">
                  <c:v>30.326003261725752</c:v>
                </c:pt>
                <c:pt idx="17018">
                  <c:v>54.858919102571036</c:v>
                </c:pt>
                <c:pt idx="17019">
                  <c:v>21.813332646403474</c:v>
                </c:pt>
                <c:pt idx="17020">
                  <c:v>30.759829659440165</c:v>
                </c:pt>
                <c:pt idx="17021">
                  <c:v>27.528439052951345</c:v>
                </c:pt>
                <c:pt idx="17022">
                  <c:v>31.518439847289009</c:v>
                </c:pt>
                <c:pt idx="17023">
                  <c:v>40.771915068138718</c:v>
                </c:pt>
                <c:pt idx="17024">
                  <c:v>27.078631994206873</c:v>
                </c:pt>
                <c:pt idx="17025">
                  <c:v>23.372474307696599</c:v>
                </c:pt>
                <c:pt idx="17026">
                  <c:v>31.668934512412505</c:v>
                </c:pt>
                <c:pt idx="17027">
                  <c:v>22.65526053128136</c:v>
                </c:pt>
                <c:pt idx="17028">
                  <c:v>44.874590728821119</c:v>
                </c:pt>
                <c:pt idx="17029">
                  <c:v>18.923537620710775</c:v>
                </c:pt>
                <c:pt idx="17030">
                  <c:v>22.664563867733069</c:v>
                </c:pt>
                <c:pt idx="17031">
                  <c:v>31.319954785471101</c:v>
                </c:pt>
                <c:pt idx="17032">
                  <c:v>35.026811601019467</c:v>
                </c:pt>
                <c:pt idx="17033">
                  <c:v>45.896704100106255</c:v>
                </c:pt>
                <c:pt idx="17034">
                  <c:v>27.346206253009345</c:v>
                </c:pt>
                <c:pt idx="17035">
                  <c:v>47.953838305157184</c:v>
                </c:pt>
                <c:pt idx="17036">
                  <c:v>51.217391866439542</c:v>
                </c:pt>
                <c:pt idx="17037">
                  <c:v>52.308255795009117</c:v>
                </c:pt>
                <c:pt idx="17038">
                  <c:v>21.96180577742599</c:v>
                </c:pt>
                <c:pt idx="17039">
                  <c:v>47.737870177905208</c:v>
                </c:pt>
                <c:pt idx="17040">
                  <c:v>25.697650635050206</c:v>
                </c:pt>
                <c:pt idx="17041">
                  <c:v>37.212847019030029</c:v>
                </c:pt>
                <c:pt idx="17042">
                  <c:v>27.323556978605545</c:v>
                </c:pt>
                <c:pt idx="17043">
                  <c:v>25.667214433338653</c:v>
                </c:pt>
                <c:pt idx="17044">
                  <c:v>32.009576869612488</c:v>
                </c:pt>
                <c:pt idx="17045">
                  <c:v>29.299168482466889</c:v>
                </c:pt>
                <c:pt idx="17046">
                  <c:v>22.658593654032014</c:v>
                </c:pt>
                <c:pt idx="17047">
                  <c:v>22.341018784081228</c:v>
                </c:pt>
                <c:pt idx="17048">
                  <c:v>38.530435506306723</c:v>
                </c:pt>
                <c:pt idx="17049">
                  <c:v>22.30247188752293</c:v>
                </c:pt>
                <c:pt idx="17050">
                  <c:v>44.475777980487052</c:v>
                </c:pt>
                <c:pt idx="17051">
                  <c:v>34.472149276018079</c:v>
                </c:pt>
                <c:pt idx="17052">
                  <c:v>25.508833793580223</c:v>
                </c:pt>
                <c:pt idx="17053">
                  <c:v>23.716773332486689</c:v>
                </c:pt>
                <c:pt idx="17054">
                  <c:v>33.671415978552233</c:v>
                </c:pt>
                <c:pt idx="17055">
                  <c:v>32.348812936515912</c:v>
                </c:pt>
                <c:pt idx="17056">
                  <c:v>27.297669068281238</c:v>
                </c:pt>
                <c:pt idx="17057">
                  <c:v>29.760482588507191</c:v>
                </c:pt>
                <c:pt idx="17058">
                  <c:v>29.842406312849945</c:v>
                </c:pt>
                <c:pt idx="17059">
                  <c:v>37.744489977383225</c:v>
                </c:pt>
                <c:pt idx="17060">
                  <c:v>33.152739975044774</c:v>
                </c:pt>
                <c:pt idx="17061">
                  <c:v>29.513428551154231</c:v>
                </c:pt>
                <c:pt idx="17062">
                  <c:v>64.064186273236928</c:v>
                </c:pt>
                <c:pt idx="17063">
                  <c:v>47.967247237012337</c:v>
                </c:pt>
                <c:pt idx="17064">
                  <c:v>26.646606753527273</c:v>
                </c:pt>
                <c:pt idx="17065">
                  <c:v>19.397191754665677</c:v>
                </c:pt>
                <c:pt idx="17066">
                  <c:v>25.179550656728566</c:v>
                </c:pt>
                <c:pt idx="17067">
                  <c:v>56.451628421040141</c:v>
                </c:pt>
                <c:pt idx="17068">
                  <c:v>25.199194821895691</c:v>
                </c:pt>
                <c:pt idx="17069">
                  <c:v>25.26287798258554</c:v>
                </c:pt>
                <c:pt idx="17070">
                  <c:v>25.215261247208325</c:v>
                </c:pt>
                <c:pt idx="17071">
                  <c:v>26.434961819999451</c:v>
                </c:pt>
                <c:pt idx="17072">
                  <c:v>26.40718890255884</c:v>
                </c:pt>
                <c:pt idx="17073">
                  <c:v>24.996005612673237</c:v>
                </c:pt>
                <c:pt idx="17074">
                  <c:v>28.731022494475301</c:v>
                </c:pt>
                <c:pt idx="17075">
                  <c:v>34.187857593864997</c:v>
                </c:pt>
                <c:pt idx="17076">
                  <c:v>23.784192167521727</c:v>
                </c:pt>
                <c:pt idx="17077">
                  <c:v>26.557656459584425</c:v>
                </c:pt>
                <c:pt idx="17078">
                  <c:v>22.344195363789833</c:v>
                </c:pt>
                <c:pt idx="17079">
                  <c:v>29.786909088220032</c:v>
                </c:pt>
                <c:pt idx="17080">
                  <c:v>25.396651663438075</c:v>
                </c:pt>
                <c:pt idx="17081">
                  <c:v>28.19344619021005</c:v>
                </c:pt>
                <c:pt idx="17082">
                  <c:v>27.092273018936982</c:v>
                </c:pt>
                <c:pt idx="17083">
                  <c:v>57.361767390043717</c:v>
                </c:pt>
                <c:pt idx="17084">
                  <c:v>22.214045564061511</c:v>
                </c:pt>
                <c:pt idx="17085">
                  <c:v>26.14334350918211</c:v>
                </c:pt>
                <c:pt idx="17086">
                  <c:v>26.802344481296675</c:v>
                </c:pt>
                <c:pt idx="17087">
                  <c:v>29.283868843475368</c:v>
                </c:pt>
                <c:pt idx="17088">
                  <c:v>27.153884461019079</c:v>
                </c:pt>
                <c:pt idx="17089">
                  <c:v>30.935781597449328</c:v>
                </c:pt>
                <c:pt idx="17090">
                  <c:v>19.535613254193109</c:v>
                </c:pt>
                <c:pt idx="17091">
                  <c:v>42.836547721232037</c:v>
                </c:pt>
                <c:pt idx="17092">
                  <c:v>20.458076638398925</c:v>
                </c:pt>
                <c:pt idx="17093">
                  <c:v>37.438386305570099</c:v>
                </c:pt>
                <c:pt idx="17094">
                  <c:v>20.32351666949393</c:v>
                </c:pt>
                <c:pt idx="17095">
                  <c:v>19.79229916877707</c:v>
                </c:pt>
                <c:pt idx="17096">
                  <c:v>23.707221733692386</c:v>
                </c:pt>
                <c:pt idx="17097">
                  <c:v>26.274594629565271</c:v>
                </c:pt>
                <c:pt idx="17098">
                  <c:v>27.050420247241895</c:v>
                </c:pt>
                <c:pt idx="17099">
                  <c:v>32.776360615988743</c:v>
                </c:pt>
                <c:pt idx="17100">
                  <c:v>27.956937765472539</c:v>
                </c:pt>
                <c:pt idx="17101">
                  <c:v>23.938754827145502</c:v>
                </c:pt>
                <c:pt idx="17102">
                  <c:v>33.736471055416288</c:v>
                </c:pt>
                <c:pt idx="17103">
                  <c:v>26.019514664924618</c:v>
                </c:pt>
                <c:pt idx="17104">
                  <c:v>31.675630059679666</c:v>
                </c:pt>
                <c:pt idx="17105">
                  <c:v>26.529730476925469</c:v>
                </c:pt>
                <c:pt idx="17106">
                  <c:v>23.73773287890122</c:v>
                </c:pt>
                <c:pt idx="17107">
                  <c:v>25.937893132558017</c:v>
                </c:pt>
                <c:pt idx="17108">
                  <c:v>31.232483057686835</c:v>
                </c:pt>
                <c:pt idx="17109">
                  <c:v>35.514101924082162</c:v>
                </c:pt>
                <c:pt idx="17110">
                  <c:v>37.297118184813513</c:v>
                </c:pt>
                <c:pt idx="17111">
                  <c:v>26.111051874598751</c:v>
                </c:pt>
                <c:pt idx="17112">
                  <c:v>31.169521234969743</c:v>
                </c:pt>
                <c:pt idx="17113">
                  <c:v>35.938092255027868</c:v>
                </c:pt>
                <c:pt idx="17114">
                  <c:v>22.061930097495008</c:v>
                </c:pt>
                <c:pt idx="17115">
                  <c:v>54.28919612236276</c:v>
                </c:pt>
                <c:pt idx="17116">
                  <c:v>29.010543841162381</c:v>
                </c:pt>
                <c:pt idx="17117">
                  <c:v>24.144530200530404</c:v>
                </c:pt>
                <c:pt idx="17118">
                  <c:v>30.193999853365494</c:v>
                </c:pt>
                <c:pt idx="17119">
                  <c:v>24.528135274498698</c:v>
                </c:pt>
                <c:pt idx="17120">
                  <c:v>25.168359006410771</c:v>
                </c:pt>
                <c:pt idx="17121">
                  <c:v>29.980332310959007</c:v>
                </c:pt>
                <c:pt idx="17122">
                  <c:v>29.950819941507891</c:v>
                </c:pt>
                <c:pt idx="17123">
                  <c:v>46.830332018655866</c:v>
                </c:pt>
                <c:pt idx="17124">
                  <c:v>47.64928024624006</c:v>
                </c:pt>
                <c:pt idx="17125">
                  <c:v>26.214736229915797</c:v>
                </c:pt>
                <c:pt idx="17126">
                  <c:v>16.649400082619515</c:v>
                </c:pt>
                <c:pt idx="17127">
                  <c:v>31.114574813646627</c:v>
                </c:pt>
                <c:pt idx="17128">
                  <c:v>25.841729589149441</c:v>
                </c:pt>
                <c:pt idx="17129">
                  <c:v>50.82410051904543</c:v>
                </c:pt>
                <c:pt idx="17130">
                  <c:v>61.974987998872592</c:v>
                </c:pt>
                <c:pt idx="17131">
                  <c:v>31.776245185977078</c:v>
                </c:pt>
                <c:pt idx="17132">
                  <c:v>25.031591310251137</c:v>
                </c:pt>
                <c:pt idx="17133">
                  <c:v>25.512861285818438</c:v>
                </c:pt>
                <c:pt idx="17134">
                  <c:v>48.127937069472459</c:v>
                </c:pt>
                <c:pt idx="17135">
                  <c:v>26.203515963013675</c:v>
                </c:pt>
                <c:pt idx="17136">
                  <c:v>18.727680364727352</c:v>
                </c:pt>
                <c:pt idx="17137">
                  <c:v>35.573408737459758</c:v>
                </c:pt>
                <c:pt idx="17138">
                  <c:v>22.966616264769975</c:v>
                </c:pt>
                <c:pt idx="17139">
                  <c:v>27.627408086050792</c:v>
                </c:pt>
                <c:pt idx="17140">
                  <c:v>37.243677220011399</c:v>
                </c:pt>
                <c:pt idx="17141">
                  <c:v>33.85327702913402</c:v>
                </c:pt>
                <c:pt idx="17142">
                  <c:v>48.098619272770982</c:v>
                </c:pt>
                <c:pt idx="17143">
                  <c:v>37.457966658101164</c:v>
                </c:pt>
                <c:pt idx="17144">
                  <c:v>28.274228654931807</c:v>
                </c:pt>
                <c:pt idx="17145">
                  <c:v>28.294606490183497</c:v>
                </c:pt>
                <c:pt idx="17146">
                  <c:v>44.800788661895766</c:v>
                </c:pt>
                <c:pt idx="17147">
                  <c:v>23.713288317607667</c:v>
                </c:pt>
                <c:pt idx="17148">
                  <c:v>24.993200510098006</c:v>
                </c:pt>
                <c:pt idx="17149">
                  <c:v>26.264961803710968</c:v>
                </c:pt>
                <c:pt idx="17150">
                  <c:v>27.894984171856123</c:v>
                </c:pt>
                <c:pt idx="17151">
                  <c:v>33.356686498541549</c:v>
                </c:pt>
                <c:pt idx="17152">
                  <c:v>41.575827875770827</c:v>
                </c:pt>
                <c:pt idx="17153">
                  <c:v>23.378580031307621</c:v>
                </c:pt>
                <c:pt idx="17154">
                  <c:v>21.883120498571</c:v>
                </c:pt>
                <c:pt idx="17155">
                  <c:v>42.725075386018062</c:v>
                </c:pt>
                <c:pt idx="17156">
                  <c:v>27.289009823218677</c:v>
                </c:pt>
                <c:pt idx="17157">
                  <c:v>13.928773184301059</c:v>
                </c:pt>
                <c:pt idx="17158">
                  <c:v>28.183751112170761</c:v>
                </c:pt>
                <c:pt idx="17159">
                  <c:v>37.256897849777296</c:v>
                </c:pt>
                <c:pt idx="17160">
                  <c:v>59.748986673019395</c:v>
                </c:pt>
                <c:pt idx="17161">
                  <c:v>20.95347673868876</c:v>
                </c:pt>
                <c:pt idx="17162">
                  <c:v>37.958095437843191</c:v>
                </c:pt>
                <c:pt idx="17163">
                  <c:v>27.012490651875932</c:v>
                </c:pt>
                <c:pt idx="17164">
                  <c:v>45.436260344766957</c:v>
                </c:pt>
                <c:pt idx="17165">
                  <c:v>22.237160154950224</c:v>
                </c:pt>
                <c:pt idx="17166">
                  <c:v>32.820897907717089</c:v>
                </c:pt>
                <c:pt idx="17167">
                  <c:v>24.359482035705412</c:v>
                </c:pt>
                <c:pt idx="17168">
                  <c:v>39.790096174683143</c:v>
                </c:pt>
                <c:pt idx="17169">
                  <c:v>20.731197324675765</c:v>
                </c:pt>
                <c:pt idx="17170">
                  <c:v>28.609990025245679</c:v>
                </c:pt>
                <c:pt idx="17171">
                  <c:v>32.788810023058282</c:v>
                </c:pt>
                <c:pt idx="17172">
                  <c:v>22.888075882434865</c:v>
                </c:pt>
                <c:pt idx="17173">
                  <c:v>45.294158422800422</c:v>
                </c:pt>
                <c:pt idx="17174">
                  <c:v>37.132898885375269</c:v>
                </c:pt>
                <c:pt idx="17175">
                  <c:v>31.67853410540836</c:v>
                </c:pt>
                <c:pt idx="17176">
                  <c:v>43.532536405445413</c:v>
                </c:pt>
                <c:pt idx="17177">
                  <c:v>24.147363039351148</c:v>
                </c:pt>
                <c:pt idx="17178">
                  <c:v>30.818520259301891</c:v>
                </c:pt>
                <c:pt idx="17179">
                  <c:v>28.842365101513167</c:v>
                </c:pt>
                <c:pt idx="17180">
                  <c:v>33.499035962894553</c:v>
                </c:pt>
                <c:pt idx="17181">
                  <c:v>29.069478651965561</c:v>
                </c:pt>
                <c:pt idx="17182">
                  <c:v>43.679591901898554</c:v>
                </c:pt>
                <c:pt idx="17183">
                  <c:v>33.081797020877893</c:v>
                </c:pt>
                <c:pt idx="17184">
                  <c:v>22.780637228034163</c:v>
                </c:pt>
                <c:pt idx="17185">
                  <c:v>21.243063021881966</c:v>
                </c:pt>
                <c:pt idx="17186">
                  <c:v>29.491955005148792</c:v>
                </c:pt>
                <c:pt idx="17187">
                  <c:v>24.671022468623963</c:v>
                </c:pt>
                <c:pt idx="17188">
                  <c:v>25.572166815586691</c:v>
                </c:pt>
                <c:pt idx="17189">
                  <c:v>32.262641815052469</c:v>
                </c:pt>
                <c:pt idx="17190">
                  <c:v>20.180208058663837</c:v>
                </c:pt>
                <c:pt idx="17191">
                  <c:v>19.644576995155177</c:v>
                </c:pt>
                <c:pt idx="17192">
                  <c:v>33.730537232244657</c:v>
                </c:pt>
                <c:pt idx="17193">
                  <c:v>27.404823559205191</c:v>
                </c:pt>
                <c:pt idx="17194">
                  <c:v>47.902296144985222</c:v>
                </c:pt>
                <c:pt idx="17195">
                  <c:v>29.463271146704056</c:v>
                </c:pt>
                <c:pt idx="17196">
                  <c:v>49.437661901280492</c:v>
                </c:pt>
                <c:pt idx="17197">
                  <c:v>33.930679473604457</c:v>
                </c:pt>
                <c:pt idx="17198">
                  <c:v>42.69416835993497</c:v>
                </c:pt>
                <c:pt idx="17199">
                  <c:v>68.223831751023141</c:v>
                </c:pt>
                <c:pt idx="17200">
                  <c:v>35.698332983743164</c:v>
                </c:pt>
                <c:pt idx="17201">
                  <c:v>21.257872255876599</c:v>
                </c:pt>
                <c:pt idx="17202">
                  <c:v>60.228976902170118</c:v>
                </c:pt>
                <c:pt idx="17203">
                  <c:v>40.693004972100518</c:v>
                </c:pt>
                <c:pt idx="17204">
                  <c:v>24.727741396533375</c:v>
                </c:pt>
                <c:pt idx="17205">
                  <c:v>28.564546170495753</c:v>
                </c:pt>
                <c:pt idx="17206">
                  <c:v>24.8849357106523</c:v>
                </c:pt>
                <c:pt idx="17207">
                  <c:v>29.772535631335074</c:v>
                </c:pt>
                <c:pt idx="17208">
                  <c:v>17.066838409644792</c:v>
                </c:pt>
                <c:pt idx="17209">
                  <c:v>50.694348084684705</c:v>
                </c:pt>
                <c:pt idx="17210">
                  <c:v>20.641109961924723</c:v>
                </c:pt>
                <c:pt idx="17211">
                  <c:v>28.000093088247397</c:v>
                </c:pt>
                <c:pt idx="17212">
                  <c:v>46.120393762366831</c:v>
                </c:pt>
                <c:pt idx="17213">
                  <c:v>52.219974837233003</c:v>
                </c:pt>
                <c:pt idx="17214">
                  <c:v>41.347146373557095</c:v>
                </c:pt>
                <c:pt idx="17215">
                  <c:v>27.383980918818111</c:v>
                </c:pt>
                <c:pt idx="17216">
                  <c:v>29.792221324739717</c:v>
                </c:pt>
                <c:pt idx="17217">
                  <c:v>42.135195017515613</c:v>
                </c:pt>
                <c:pt idx="17218">
                  <c:v>22.10682221057608</c:v>
                </c:pt>
                <c:pt idx="17219">
                  <c:v>28.579071764350406</c:v>
                </c:pt>
                <c:pt idx="17220">
                  <c:v>27.612453826000124</c:v>
                </c:pt>
                <c:pt idx="17221">
                  <c:v>40.34588798196674</c:v>
                </c:pt>
                <c:pt idx="17222">
                  <c:v>19.628424777458978</c:v>
                </c:pt>
                <c:pt idx="17223">
                  <c:v>46.762886182785579</c:v>
                </c:pt>
                <c:pt idx="17224">
                  <c:v>51.862087050230365</c:v>
                </c:pt>
                <c:pt idx="17225">
                  <c:v>22.834555938176294</c:v>
                </c:pt>
                <c:pt idx="17226">
                  <c:v>24.242384981320825</c:v>
                </c:pt>
                <c:pt idx="17227">
                  <c:v>24.938486410533876</c:v>
                </c:pt>
                <c:pt idx="17228">
                  <c:v>44.916144310620304</c:v>
                </c:pt>
                <c:pt idx="17229">
                  <c:v>29.276183351677204</c:v>
                </c:pt>
                <c:pt idx="17230">
                  <c:v>37.440123174409287</c:v>
                </c:pt>
                <c:pt idx="17231">
                  <c:v>24.991705196308292</c:v>
                </c:pt>
                <c:pt idx="17232">
                  <c:v>25.610739848250127</c:v>
                </c:pt>
                <c:pt idx="17233">
                  <c:v>30.709842143416559</c:v>
                </c:pt>
                <c:pt idx="17234">
                  <c:v>28.37558486088929</c:v>
                </c:pt>
                <c:pt idx="17235">
                  <c:v>28.964455824019936</c:v>
                </c:pt>
                <c:pt idx="17236">
                  <c:v>32.374684340414831</c:v>
                </c:pt>
                <c:pt idx="17237">
                  <c:v>27.745522639499072</c:v>
                </c:pt>
                <c:pt idx="17238">
                  <c:v>26.668190489367085</c:v>
                </c:pt>
                <c:pt idx="17239">
                  <c:v>49.047679221182349</c:v>
                </c:pt>
                <c:pt idx="17240">
                  <c:v>29.264348471086798</c:v>
                </c:pt>
                <c:pt idx="17241">
                  <c:v>29.284823539270054</c:v>
                </c:pt>
                <c:pt idx="17242">
                  <c:v>53.932434785951997</c:v>
                </c:pt>
                <c:pt idx="17243">
                  <c:v>23.492461524866854</c:v>
                </c:pt>
                <c:pt idx="17244">
                  <c:v>22.097500526517891</c:v>
                </c:pt>
                <c:pt idx="17245">
                  <c:v>29.051430937985543</c:v>
                </c:pt>
                <c:pt idx="17246">
                  <c:v>46.640457284569962</c:v>
                </c:pt>
                <c:pt idx="17247">
                  <c:v>55.764172447568214</c:v>
                </c:pt>
                <c:pt idx="17248">
                  <c:v>20.971258136807535</c:v>
                </c:pt>
                <c:pt idx="17249">
                  <c:v>41.765002753345748</c:v>
                </c:pt>
                <c:pt idx="17250">
                  <c:v>26.938140297735874</c:v>
                </c:pt>
                <c:pt idx="17251">
                  <c:v>30.244714058214676</c:v>
                </c:pt>
                <c:pt idx="17252">
                  <c:v>31.272843653366326</c:v>
                </c:pt>
                <c:pt idx="17253">
                  <c:v>49.972839284341163</c:v>
                </c:pt>
                <c:pt idx="17254">
                  <c:v>37.079336679725657</c:v>
                </c:pt>
                <c:pt idx="17255">
                  <c:v>30.97790340529442</c:v>
                </c:pt>
                <c:pt idx="17256">
                  <c:v>49.713050074447516</c:v>
                </c:pt>
                <c:pt idx="17257">
                  <c:v>31.247092051779447</c:v>
                </c:pt>
                <c:pt idx="17258">
                  <c:v>33.663796899270061</c:v>
                </c:pt>
                <c:pt idx="17259">
                  <c:v>31.258938773618819</c:v>
                </c:pt>
                <c:pt idx="17260">
                  <c:v>29.152538190160961</c:v>
                </c:pt>
                <c:pt idx="17261">
                  <c:v>26.915138795088296</c:v>
                </c:pt>
                <c:pt idx="17262">
                  <c:v>18.49731259920004</c:v>
                </c:pt>
                <c:pt idx="17263">
                  <c:v>23.063440032525303</c:v>
                </c:pt>
                <c:pt idx="17264">
                  <c:v>30.364912098177694</c:v>
                </c:pt>
                <c:pt idx="17265">
                  <c:v>21.978972157470295</c:v>
                </c:pt>
                <c:pt idx="17266">
                  <c:v>31.674713372229647</c:v>
                </c:pt>
                <c:pt idx="17267">
                  <c:v>45.449656014359306</c:v>
                </c:pt>
                <c:pt idx="17268">
                  <c:v>42.047485880802796</c:v>
                </c:pt>
                <c:pt idx="17269">
                  <c:v>41.468355141771767</c:v>
                </c:pt>
                <c:pt idx="17270">
                  <c:v>26.611021585900829</c:v>
                </c:pt>
                <c:pt idx="17271">
                  <c:v>36.093442708586473</c:v>
                </c:pt>
                <c:pt idx="17272">
                  <c:v>40.491308457188055</c:v>
                </c:pt>
                <c:pt idx="17273">
                  <c:v>33.18738671978528</c:v>
                </c:pt>
                <c:pt idx="17274">
                  <c:v>27.177650562142418</c:v>
                </c:pt>
                <c:pt idx="17275">
                  <c:v>53.553336223274364</c:v>
                </c:pt>
                <c:pt idx="17276">
                  <c:v>26.668399775918964</c:v>
                </c:pt>
                <c:pt idx="17277">
                  <c:v>36.706143328662904</c:v>
                </c:pt>
                <c:pt idx="17278">
                  <c:v>28.992813591952018</c:v>
                </c:pt>
                <c:pt idx="17279">
                  <c:v>31.423641505332235</c:v>
                </c:pt>
                <c:pt idx="17280">
                  <c:v>48.816812209941503</c:v>
                </c:pt>
                <c:pt idx="17281">
                  <c:v>20.390298770617669</c:v>
                </c:pt>
                <c:pt idx="17282">
                  <c:v>25.978735582486514</c:v>
                </c:pt>
                <c:pt idx="17283">
                  <c:v>42.880218031369239</c:v>
                </c:pt>
                <c:pt idx="17284">
                  <c:v>20.88010669913854</c:v>
                </c:pt>
                <c:pt idx="17285">
                  <c:v>30.96992490473593</c:v>
                </c:pt>
                <c:pt idx="17286">
                  <c:v>19.05948668629269</c:v>
                </c:pt>
                <c:pt idx="17287">
                  <c:v>32.852346931189643</c:v>
                </c:pt>
                <c:pt idx="17288">
                  <c:v>26.345132948265977</c:v>
                </c:pt>
                <c:pt idx="17289">
                  <c:v>28.954522742030264</c:v>
                </c:pt>
                <c:pt idx="17290">
                  <c:v>22.01944650050724</c:v>
                </c:pt>
                <c:pt idx="17291">
                  <c:v>24.54701474004619</c:v>
                </c:pt>
                <c:pt idx="17292">
                  <c:v>16.208735300347598</c:v>
                </c:pt>
                <c:pt idx="17293">
                  <c:v>36.566507647814376</c:v>
                </c:pt>
                <c:pt idx="17294">
                  <c:v>27.253445979299968</c:v>
                </c:pt>
                <c:pt idx="17295">
                  <c:v>52.901713602212254</c:v>
                </c:pt>
                <c:pt idx="17296">
                  <c:v>22.33361845009577</c:v>
                </c:pt>
                <c:pt idx="17297">
                  <c:v>25.570542687799481</c:v>
                </c:pt>
                <c:pt idx="17298">
                  <c:v>25.997876541627793</c:v>
                </c:pt>
                <c:pt idx="17299">
                  <c:v>22.956556041699901</c:v>
                </c:pt>
                <c:pt idx="17300">
                  <c:v>22.407779629100165</c:v>
                </c:pt>
                <c:pt idx="17301">
                  <c:v>26.615343269315826</c:v>
                </c:pt>
                <c:pt idx="17302">
                  <c:v>25.632647833447084</c:v>
                </c:pt>
                <c:pt idx="17303">
                  <c:v>27.609774367165166</c:v>
                </c:pt>
                <c:pt idx="17304">
                  <c:v>22.728740383245558</c:v>
                </c:pt>
                <c:pt idx="17305">
                  <c:v>17.519591667348013</c:v>
                </c:pt>
                <c:pt idx="17306">
                  <c:v>27.77900844823461</c:v>
                </c:pt>
                <c:pt idx="17307">
                  <c:v>20.696736790602145</c:v>
                </c:pt>
                <c:pt idx="17308">
                  <c:v>28.287546083872215</c:v>
                </c:pt>
                <c:pt idx="17309">
                  <c:v>25.54459110008122</c:v>
                </c:pt>
                <c:pt idx="17310">
                  <c:v>45.792452558437567</c:v>
                </c:pt>
                <c:pt idx="17311">
                  <c:v>30.631393740726246</c:v>
                </c:pt>
                <c:pt idx="17312">
                  <c:v>24.999445872870158</c:v>
                </c:pt>
                <c:pt idx="17313">
                  <c:v>53.443614132477869</c:v>
                </c:pt>
                <c:pt idx="17314">
                  <c:v>43.298868531283695</c:v>
                </c:pt>
                <c:pt idx="17315">
                  <c:v>26.548756439330603</c:v>
                </c:pt>
                <c:pt idx="17316">
                  <c:v>28.537090346354582</c:v>
                </c:pt>
                <c:pt idx="17317">
                  <c:v>27.351379266246912</c:v>
                </c:pt>
                <c:pt idx="17318">
                  <c:v>34.471630992116822</c:v>
                </c:pt>
                <c:pt idx="17319">
                  <c:v>21.48711243229635</c:v>
                </c:pt>
                <c:pt idx="17320">
                  <c:v>55.098132817928793</c:v>
                </c:pt>
                <c:pt idx="17321">
                  <c:v>20.158447477380335</c:v>
                </c:pt>
                <c:pt idx="17322">
                  <c:v>33.597999011163047</c:v>
                </c:pt>
                <c:pt idx="17323">
                  <c:v>24.03824704039846</c:v>
                </c:pt>
                <c:pt idx="17324">
                  <c:v>55.949122178368427</c:v>
                </c:pt>
                <c:pt idx="17325">
                  <c:v>18.58262763984623</c:v>
                </c:pt>
                <c:pt idx="17326">
                  <c:v>30.416010814070717</c:v>
                </c:pt>
                <c:pt idx="17327">
                  <c:v>39.438984492036347</c:v>
                </c:pt>
                <c:pt idx="17328">
                  <c:v>30.754016988237641</c:v>
                </c:pt>
                <c:pt idx="17329">
                  <c:v>24.001556335734659</c:v>
                </c:pt>
                <c:pt idx="17330">
                  <c:v>35.321125329383108</c:v>
                </c:pt>
                <c:pt idx="17331">
                  <c:v>44.468301132587428</c:v>
                </c:pt>
                <c:pt idx="17332">
                  <c:v>59.422319249794995</c:v>
                </c:pt>
                <c:pt idx="17333">
                  <c:v>34.606162004442609</c:v>
                </c:pt>
                <c:pt idx="17334">
                  <c:v>25.000111704092184</c:v>
                </c:pt>
                <c:pt idx="17335">
                  <c:v>34.244688144677959</c:v>
                </c:pt>
                <c:pt idx="17336">
                  <c:v>31.345003224113633</c:v>
                </c:pt>
                <c:pt idx="17337">
                  <c:v>31.496576786837657</c:v>
                </c:pt>
                <c:pt idx="17338">
                  <c:v>20.117320465746896</c:v>
                </c:pt>
                <c:pt idx="17339">
                  <c:v>27.75933418142014</c:v>
                </c:pt>
                <c:pt idx="17340">
                  <c:v>62.050512902712093</c:v>
                </c:pt>
                <c:pt idx="17341">
                  <c:v>29.740710551240205</c:v>
                </c:pt>
                <c:pt idx="17342">
                  <c:v>26.727653757067007</c:v>
                </c:pt>
                <c:pt idx="17343">
                  <c:v>26.936156412508367</c:v>
                </c:pt>
                <c:pt idx="17344">
                  <c:v>19.66428081658638</c:v>
                </c:pt>
                <c:pt idx="17345">
                  <c:v>31.207771750828634</c:v>
                </c:pt>
                <c:pt idx="17346">
                  <c:v>21.002003134210021</c:v>
                </c:pt>
                <c:pt idx="17347">
                  <c:v>27.954282034419919</c:v>
                </c:pt>
                <c:pt idx="17348">
                  <c:v>26.934817987401768</c:v>
                </c:pt>
                <c:pt idx="17349">
                  <c:v>30.822743576003411</c:v>
                </c:pt>
                <c:pt idx="17350">
                  <c:v>21.47610325436974</c:v>
                </c:pt>
                <c:pt idx="17351">
                  <c:v>20.841608302226298</c:v>
                </c:pt>
                <c:pt idx="17352">
                  <c:v>24.437481752636678</c:v>
                </c:pt>
                <c:pt idx="17353">
                  <c:v>39.070754180221051</c:v>
                </c:pt>
                <c:pt idx="17354">
                  <c:v>29.975481652222317</c:v>
                </c:pt>
                <c:pt idx="17355">
                  <c:v>32.074326082349167</c:v>
                </c:pt>
                <c:pt idx="17356">
                  <c:v>22.566536717907709</c:v>
                </c:pt>
                <c:pt idx="17357">
                  <c:v>28.907448717532411</c:v>
                </c:pt>
                <c:pt idx="17358">
                  <c:v>30.32893784575673</c:v>
                </c:pt>
                <c:pt idx="17359">
                  <c:v>33.708687295345406</c:v>
                </c:pt>
                <c:pt idx="17360">
                  <c:v>55.996928178378489</c:v>
                </c:pt>
                <c:pt idx="17361">
                  <c:v>37.164551251060139</c:v>
                </c:pt>
                <c:pt idx="17362">
                  <c:v>36.427348023051692</c:v>
                </c:pt>
                <c:pt idx="17363">
                  <c:v>25.075703991112725</c:v>
                </c:pt>
                <c:pt idx="17364">
                  <c:v>30.025017728121149</c:v>
                </c:pt>
                <c:pt idx="17365">
                  <c:v>21.662515698354884</c:v>
                </c:pt>
                <c:pt idx="17366">
                  <c:v>42.92933939382791</c:v>
                </c:pt>
                <c:pt idx="17367">
                  <c:v>23.939114741545648</c:v>
                </c:pt>
                <c:pt idx="17368">
                  <c:v>24.037228383208728</c:v>
                </c:pt>
                <c:pt idx="17369">
                  <c:v>52.357197790373384</c:v>
                </c:pt>
                <c:pt idx="17370">
                  <c:v>26.399097496474528</c:v>
                </c:pt>
                <c:pt idx="17371">
                  <c:v>30.550930210452616</c:v>
                </c:pt>
                <c:pt idx="17372">
                  <c:v>50.574368308363233</c:v>
                </c:pt>
                <c:pt idx="17373">
                  <c:v>37.078679946726673</c:v>
                </c:pt>
                <c:pt idx="17374">
                  <c:v>33.033725159271</c:v>
                </c:pt>
                <c:pt idx="17375">
                  <c:v>28.232018844160041</c:v>
                </c:pt>
                <c:pt idx="17376">
                  <c:v>16.659072562546513</c:v>
                </c:pt>
                <c:pt idx="17377">
                  <c:v>28.390682647454426</c:v>
                </c:pt>
                <c:pt idx="17378">
                  <c:v>30.194415838847604</c:v>
                </c:pt>
                <c:pt idx="17379">
                  <c:v>47.318756670264392</c:v>
                </c:pt>
                <c:pt idx="17380">
                  <c:v>39.290839405459593</c:v>
                </c:pt>
                <c:pt idx="17381">
                  <c:v>30.331834364098679</c:v>
                </c:pt>
                <c:pt idx="17382">
                  <c:v>35.521552475068155</c:v>
                </c:pt>
                <c:pt idx="17383">
                  <c:v>25.376733503176137</c:v>
                </c:pt>
                <c:pt idx="17384">
                  <c:v>58.952405766804787</c:v>
                </c:pt>
                <c:pt idx="17385">
                  <c:v>28.070102777682727</c:v>
                </c:pt>
                <c:pt idx="17386">
                  <c:v>42.530491445877651</c:v>
                </c:pt>
                <c:pt idx="17387">
                  <c:v>36.359176372036799</c:v>
                </c:pt>
                <c:pt idx="17388">
                  <c:v>27.521353394843775</c:v>
                </c:pt>
                <c:pt idx="17389">
                  <c:v>22.757582310275026</c:v>
                </c:pt>
                <c:pt idx="17390">
                  <c:v>51.260921759029692</c:v>
                </c:pt>
                <c:pt idx="17391">
                  <c:v>21.967138786750443</c:v>
                </c:pt>
                <c:pt idx="17392">
                  <c:v>27.250534099946854</c:v>
                </c:pt>
                <c:pt idx="17393">
                  <c:v>40.87914256783661</c:v>
                </c:pt>
                <c:pt idx="17394">
                  <c:v>27.947150688406264</c:v>
                </c:pt>
                <c:pt idx="17395">
                  <c:v>31.647085774963053</c:v>
                </c:pt>
                <c:pt idx="17396">
                  <c:v>32.918087833471375</c:v>
                </c:pt>
                <c:pt idx="17397">
                  <c:v>29.232306678622749</c:v>
                </c:pt>
                <c:pt idx="17398">
                  <c:v>18.745479015098056</c:v>
                </c:pt>
                <c:pt idx="17399">
                  <c:v>51.010426338459695</c:v>
                </c:pt>
                <c:pt idx="17400">
                  <c:v>45.44574879332297</c:v>
                </c:pt>
                <c:pt idx="17401">
                  <c:v>31.432963623186492</c:v>
                </c:pt>
                <c:pt idx="17402">
                  <c:v>27.048479754131748</c:v>
                </c:pt>
                <c:pt idx="17403">
                  <c:v>45.719972601193078</c:v>
                </c:pt>
                <c:pt idx="17404">
                  <c:v>49.209821611038635</c:v>
                </c:pt>
                <c:pt idx="17405">
                  <c:v>30.591761364272806</c:v>
                </c:pt>
                <c:pt idx="17406">
                  <c:v>30.161013882003939</c:v>
                </c:pt>
                <c:pt idx="17407">
                  <c:v>30.217134966918419</c:v>
                </c:pt>
                <c:pt idx="17408">
                  <c:v>26.15686071182877</c:v>
                </c:pt>
                <c:pt idx="17409">
                  <c:v>46.060752495862346</c:v>
                </c:pt>
                <c:pt idx="17410">
                  <c:v>57.183598000948386</c:v>
                </c:pt>
                <c:pt idx="17411">
                  <c:v>51.934999754977696</c:v>
                </c:pt>
                <c:pt idx="17412">
                  <c:v>18.289006420363137</c:v>
                </c:pt>
                <c:pt idx="17413">
                  <c:v>38.968786385263449</c:v>
                </c:pt>
                <c:pt idx="17414">
                  <c:v>26.383557572221576</c:v>
                </c:pt>
                <c:pt idx="17415">
                  <c:v>24.613369362515041</c:v>
                </c:pt>
                <c:pt idx="17416">
                  <c:v>28.563806995268372</c:v>
                </c:pt>
                <c:pt idx="17417">
                  <c:v>41.445971847054963</c:v>
                </c:pt>
                <c:pt idx="17418">
                  <c:v>20.454831013114116</c:v>
                </c:pt>
                <c:pt idx="17419">
                  <c:v>27.902642450952335</c:v>
                </c:pt>
                <c:pt idx="17420">
                  <c:v>24.527100633618655</c:v>
                </c:pt>
                <c:pt idx="17421">
                  <c:v>25.918311588820146</c:v>
                </c:pt>
                <c:pt idx="17422">
                  <c:v>27.137318012107684</c:v>
                </c:pt>
                <c:pt idx="17423">
                  <c:v>46.294320810196552</c:v>
                </c:pt>
                <c:pt idx="17424">
                  <c:v>24.223545871076183</c:v>
                </c:pt>
                <c:pt idx="17425">
                  <c:v>54.481931024914957</c:v>
                </c:pt>
                <c:pt idx="17426">
                  <c:v>35.492567041762953</c:v>
                </c:pt>
                <c:pt idx="17427">
                  <c:v>44.138934416806826</c:v>
                </c:pt>
                <c:pt idx="17428">
                  <c:v>24.218944271978998</c:v>
                </c:pt>
                <c:pt idx="17429">
                  <c:v>25.201107197499187</c:v>
                </c:pt>
                <c:pt idx="17430">
                  <c:v>26.921655396534405</c:v>
                </c:pt>
                <c:pt idx="17431">
                  <c:v>35.95502262056209</c:v>
                </c:pt>
                <c:pt idx="17432">
                  <c:v>52.99703645047974</c:v>
                </c:pt>
                <c:pt idx="17433">
                  <c:v>26.223277512536967</c:v>
                </c:pt>
                <c:pt idx="17434">
                  <c:v>23.974440429329078</c:v>
                </c:pt>
                <c:pt idx="17435">
                  <c:v>31.779860746589975</c:v>
                </c:pt>
                <c:pt idx="17436">
                  <c:v>26.571848502587226</c:v>
                </c:pt>
                <c:pt idx="17437">
                  <c:v>52.302016495578343</c:v>
                </c:pt>
                <c:pt idx="17438">
                  <c:v>26.023073842763406</c:v>
                </c:pt>
                <c:pt idx="17439">
                  <c:v>30.415481448473692</c:v>
                </c:pt>
                <c:pt idx="17440">
                  <c:v>60.188338745165147</c:v>
                </c:pt>
                <c:pt idx="17441">
                  <c:v>31.535365966357343</c:v>
                </c:pt>
                <c:pt idx="17442">
                  <c:v>54.166287004873119</c:v>
                </c:pt>
                <c:pt idx="17443">
                  <c:v>22.110755326006316</c:v>
                </c:pt>
                <c:pt idx="17444">
                  <c:v>25.798971856255079</c:v>
                </c:pt>
                <c:pt idx="17445">
                  <c:v>47.309061235455538</c:v>
                </c:pt>
                <c:pt idx="17446">
                  <c:v>34.507923903320517</c:v>
                </c:pt>
                <c:pt idx="17447">
                  <c:v>52.732688106840712</c:v>
                </c:pt>
                <c:pt idx="17448">
                  <c:v>19.435753789051834</c:v>
                </c:pt>
                <c:pt idx="17449">
                  <c:v>28.470943530948695</c:v>
                </c:pt>
                <c:pt idx="17450">
                  <c:v>40.567331772288121</c:v>
                </c:pt>
                <c:pt idx="17451">
                  <c:v>28.058001067802113</c:v>
                </c:pt>
                <c:pt idx="17452">
                  <c:v>21.011364377110308</c:v>
                </c:pt>
                <c:pt idx="17453">
                  <c:v>22.924649106279169</c:v>
                </c:pt>
                <c:pt idx="17454">
                  <c:v>38.889382094697517</c:v>
                </c:pt>
                <c:pt idx="17455">
                  <c:v>22.91437799833999</c:v>
                </c:pt>
                <c:pt idx="17456">
                  <c:v>55.085743942768623</c:v>
                </c:pt>
                <c:pt idx="17457">
                  <c:v>50.687100741556861</c:v>
                </c:pt>
                <c:pt idx="17458">
                  <c:v>29.210058693857711</c:v>
                </c:pt>
                <c:pt idx="17459">
                  <c:v>27.346613695272087</c:v>
                </c:pt>
                <c:pt idx="17460">
                  <c:v>24.48961525357829</c:v>
                </c:pt>
                <c:pt idx="17461">
                  <c:v>26.136868977282447</c:v>
                </c:pt>
                <c:pt idx="17462">
                  <c:v>34.869990912517132</c:v>
                </c:pt>
                <c:pt idx="17463">
                  <c:v>23.642045733158248</c:v>
                </c:pt>
                <c:pt idx="17464">
                  <c:v>27.810057057583791</c:v>
                </c:pt>
                <c:pt idx="17465">
                  <c:v>26.9123783630953</c:v>
                </c:pt>
                <c:pt idx="17466">
                  <c:v>15.926811063038006</c:v>
                </c:pt>
                <c:pt idx="17467">
                  <c:v>30.199182954896038</c:v>
                </c:pt>
                <c:pt idx="17468">
                  <c:v>28.112401477524539</c:v>
                </c:pt>
                <c:pt idx="17469">
                  <c:v>28.410579360111996</c:v>
                </c:pt>
                <c:pt idx="17470">
                  <c:v>25.635216321371473</c:v>
                </c:pt>
                <c:pt idx="17471">
                  <c:v>48.717209738503207</c:v>
                </c:pt>
                <c:pt idx="17472">
                  <c:v>30.058462189081531</c:v>
                </c:pt>
                <c:pt idx="17473">
                  <c:v>27.589960670545089</c:v>
                </c:pt>
                <c:pt idx="17474">
                  <c:v>28.98808993192484</c:v>
                </c:pt>
                <c:pt idx="17475">
                  <c:v>28.542135740260122</c:v>
                </c:pt>
                <c:pt idx="17476">
                  <c:v>33.235230323945942</c:v>
                </c:pt>
                <c:pt idx="17477">
                  <c:v>38.243356183605265</c:v>
                </c:pt>
                <c:pt idx="17478">
                  <c:v>27.218433936910586</c:v>
                </c:pt>
                <c:pt idx="17479">
                  <c:v>32.471284100382192</c:v>
                </c:pt>
                <c:pt idx="17480">
                  <c:v>35.526025424279716</c:v>
                </c:pt>
                <c:pt idx="17481">
                  <c:v>27.788670782443635</c:v>
                </c:pt>
                <c:pt idx="17482">
                  <c:v>40.767998419822469</c:v>
                </c:pt>
                <c:pt idx="17483">
                  <c:v>27.520983515844961</c:v>
                </c:pt>
                <c:pt idx="17484">
                  <c:v>26.440090461881653</c:v>
                </c:pt>
                <c:pt idx="17485">
                  <c:v>45.267113199218187</c:v>
                </c:pt>
                <c:pt idx="17486">
                  <c:v>52.698296868680579</c:v>
                </c:pt>
                <c:pt idx="17487">
                  <c:v>26.623971875245857</c:v>
                </c:pt>
                <c:pt idx="17488">
                  <c:v>49.294390671334547</c:v>
                </c:pt>
                <c:pt idx="17489">
                  <c:v>25.179840877773263</c:v>
                </c:pt>
                <c:pt idx="17490">
                  <c:v>51.062898276225191</c:v>
                </c:pt>
                <c:pt idx="17491">
                  <c:v>28.817645206610834</c:v>
                </c:pt>
                <c:pt idx="17492">
                  <c:v>16.125231802683743</c:v>
                </c:pt>
                <c:pt idx="17493">
                  <c:v>36.589570030036711</c:v>
                </c:pt>
                <c:pt idx="17494">
                  <c:v>27.640796665599698</c:v>
                </c:pt>
                <c:pt idx="17495">
                  <c:v>25.812803266224048</c:v>
                </c:pt>
                <c:pt idx="17496">
                  <c:v>25.674329980994681</c:v>
                </c:pt>
                <c:pt idx="17497">
                  <c:v>28.28025361410899</c:v>
                </c:pt>
                <c:pt idx="17498">
                  <c:v>58.956503725394697</c:v>
                </c:pt>
                <c:pt idx="17499">
                  <c:v>34.590504130690036</c:v>
                </c:pt>
                <c:pt idx="17500">
                  <c:v>26.767564213829708</c:v>
                </c:pt>
                <c:pt idx="17501">
                  <c:v>32.972400497498903</c:v>
                </c:pt>
                <c:pt idx="17502">
                  <c:v>30.813037519864146</c:v>
                </c:pt>
                <c:pt idx="17503">
                  <c:v>28.084154849647383</c:v>
                </c:pt>
                <c:pt idx="17504">
                  <c:v>43.83207876250156</c:v>
                </c:pt>
                <c:pt idx="17505">
                  <c:v>48.815917838318931</c:v>
                </c:pt>
                <c:pt idx="17506">
                  <c:v>23.415748421887443</c:v>
                </c:pt>
                <c:pt idx="17507">
                  <c:v>56.938210897515141</c:v>
                </c:pt>
                <c:pt idx="17508">
                  <c:v>29.192496839735504</c:v>
                </c:pt>
                <c:pt idx="17509">
                  <c:v>22.397781842453718</c:v>
                </c:pt>
                <c:pt idx="17510">
                  <c:v>35.857410644124712</c:v>
                </c:pt>
                <c:pt idx="17511">
                  <c:v>26.095262649037437</c:v>
                </c:pt>
                <c:pt idx="17512">
                  <c:v>26.698726051683185</c:v>
                </c:pt>
                <c:pt idx="17513">
                  <c:v>32.730043168662903</c:v>
                </c:pt>
                <c:pt idx="17514">
                  <c:v>25.826480171654687</c:v>
                </c:pt>
                <c:pt idx="17515">
                  <c:v>35.399238924526671</c:v>
                </c:pt>
                <c:pt idx="17516">
                  <c:v>26.17596119281998</c:v>
                </c:pt>
                <c:pt idx="17517">
                  <c:v>20.322220610429689</c:v>
                </c:pt>
                <c:pt idx="17518">
                  <c:v>35.863122709336871</c:v>
                </c:pt>
                <c:pt idx="17519">
                  <c:v>49.846234110423843</c:v>
                </c:pt>
                <c:pt idx="17520">
                  <c:v>34.457429306945528</c:v>
                </c:pt>
                <c:pt idx="17521">
                  <c:v>29.171212553023807</c:v>
                </c:pt>
                <c:pt idx="17522">
                  <c:v>34.752500397685466</c:v>
                </c:pt>
                <c:pt idx="17523">
                  <c:v>31.70857502638259</c:v>
                </c:pt>
                <c:pt idx="17524">
                  <c:v>56.121072364436515</c:v>
                </c:pt>
                <c:pt idx="17525">
                  <c:v>19.794660024186143</c:v>
                </c:pt>
                <c:pt idx="17526">
                  <c:v>52.252325895623578</c:v>
                </c:pt>
                <c:pt idx="17527">
                  <c:v>32.874773350486493</c:v>
                </c:pt>
                <c:pt idx="17528">
                  <c:v>24.025913235324921</c:v>
                </c:pt>
                <c:pt idx="17529">
                  <c:v>26.265813723336059</c:v>
                </c:pt>
                <c:pt idx="17530">
                  <c:v>27.850670604710537</c:v>
                </c:pt>
                <c:pt idx="17531">
                  <c:v>26.700094501510879</c:v>
                </c:pt>
                <c:pt idx="17532">
                  <c:v>22.074270439543124</c:v>
                </c:pt>
                <c:pt idx="17533">
                  <c:v>24.595691973232665</c:v>
                </c:pt>
                <c:pt idx="17534">
                  <c:v>42.693175844364561</c:v>
                </c:pt>
                <c:pt idx="17535">
                  <c:v>27.12422149262472</c:v>
                </c:pt>
                <c:pt idx="17536">
                  <c:v>18.665200889441405</c:v>
                </c:pt>
                <c:pt idx="17537">
                  <c:v>27.522078040029257</c:v>
                </c:pt>
                <c:pt idx="17538">
                  <c:v>26.643726995167707</c:v>
                </c:pt>
                <c:pt idx="17539">
                  <c:v>29.984641270547982</c:v>
                </c:pt>
                <c:pt idx="17540">
                  <c:v>55.459065596156151</c:v>
                </c:pt>
                <c:pt idx="17541">
                  <c:v>25.716611954007597</c:v>
                </c:pt>
                <c:pt idx="17542">
                  <c:v>46.601137212891921</c:v>
                </c:pt>
                <c:pt idx="17543">
                  <c:v>27.906238173979233</c:v>
                </c:pt>
                <c:pt idx="17544">
                  <c:v>27.057828616726919</c:v>
                </c:pt>
                <c:pt idx="17545">
                  <c:v>30.533430635244002</c:v>
                </c:pt>
                <c:pt idx="17546">
                  <c:v>22.33413551221264</c:v>
                </c:pt>
                <c:pt idx="17547">
                  <c:v>29.616670525511449</c:v>
                </c:pt>
                <c:pt idx="17548">
                  <c:v>24.153193667492445</c:v>
                </c:pt>
                <c:pt idx="17549">
                  <c:v>39.792369599729817</c:v>
                </c:pt>
                <c:pt idx="17550">
                  <c:v>27.542744372293946</c:v>
                </c:pt>
                <c:pt idx="17551">
                  <c:v>30.645890065315928</c:v>
                </c:pt>
                <c:pt idx="17552">
                  <c:v>38.514261311171417</c:v>
                </c:pt>
                <c:pt idx="17553">
                  <c:v>51.480772726598403</c:v>
                </c:pt>
                <c:pt idx="17554">
                  <c:v>34.774686936552165</c:v>
                </c:pt>
                <c:pt idx="17555">
                  <c:v>19.273626626036318</c:v>
                </c:pt>
                <c:pt idx="17556">
                  <c:v>39.873058316226327</c:v>
                </c:pt>
                <c:pt idx="17557">
                  <c:v>19.122236031014573</c:v>
                </c:pt>
                <c:pt idx="17558">
                  <c:v>26.185058419431108</c:v>
                </c:pt>
                <c:pt idx="17559">
                  <c:v>41.628413787019227</c:v>
                </c:pt>
                <c:pt idx="17560">
                  <c:v>17.337890114987541</c:v>
                </c:pt>
                <c:pt idx="17561">
                  <c:v>26.472814832482261</c:v>
                </c:pt>
                <c:pt idx="17562">
                  <c:v>26.0612357520017</c:v>
                </c:pt>
                <c:pt idx="17563">
                  <c:v>25.174669030818258</c:v>
                </c:pt>
                <c:pt idx="17564">
                  <c:v>40.455117527896775</c:v>
                </c:pt>
                <c:pt idx="17565">
                  <c:v>20.537218088621394</c:v>
                </c:pt>
                <c:pt idx="17566">
                  <c:v>24.892902249336679</c:v>
                </c:pt>
                <c:pt idx="17567">
                  <c:v>26.670334072002124</c:v>
                </c:pt>
                <c:pt idx="17568">
                  <c:v>34.791136279418041</c:v>
                </c:pt>
                <c:pt idx="17569">
                  <c:v>28.075291969259844</c:v>
                </c:pt>
                <c:pt idx="17570">
                  <c:v>61.00634185200078</c:v>
                </c:pt>
                <c:pt idx="17571">
                  <c:v>56.238019814269663</c:v>
                </c:pt>
                <c:pt idx="17572">
                  <c:v>22.088966957007266</c:v>
                </c:pt>
                <c:pt idx="17573">
                  <c:v>19.412698255140757</c:v>
                </c:pt>
                <c:pt idx="17574">
                  <c:v>34.277012714425723</c:v>
                </c:pt>
                <c:pt idx="17575">
                  <c:v>25.764783455661082</c:v>
                </c:pt>
                <c:pt idx="17576">
                  <c:v>27.864013836654888</c:v>
                </c:pt>
                <c:pt idx="17577">
                  <c:v>23.61107221136983</c:v>
                </c:pt>
                <c:pt idx="17578">
                  <c:v>39.205762763172402</c:v>
                </c:pt>
                <c:pt idx="17579">
                  <c:v>29.069648188105759</c:v>
                </c:pt>
                <c:pt idx="17580">
                  <c:v>18.259483628584238</c:v>
                </c:pt>
                <c:pt idx="17581">
                  <c:v>20.742103455671739</c:v>
                </c:pt>
                <c:pt idx="17582">
                  <c:v>26.275747984704637</c:v>
                </c:pt>
                <c:pt idx="17583">
                  <c:v>30.030687541035668</c:v>
                </c:pt>
                <c:pt idx="17584">
                  <c:v>17.863804736231771</c:v>
                </c:pt>
                <c:pt idx="17585">
                  <c:v>32.495234748996687</c:v>
                </c:pt>
                <c:pt idx="17586">
                  <c:v>33.381175678162279</c:v>
                </c:pt>
                <c:pt idx="17587">
                  <c:v>31.55248302881234</c:v>
                </c:pt>
                <c:pt idx="17588">
                  <c:v>55.224756389265202</c:v>
                </c:pt>
                <c:pt idx="17589">
                  <c:v>19.892230825824612</c:v>
                </c:pt>
                <c:pt idx="17590">
                  <c:v>21.08298842043946</c:v>
                </c:pt>
                <c:pt idx="17591">
                  <c:v>27.67716707311444</c:v>
                </c:pt>
                <c:pt idx="17592">
                  <c:v>53.821663032906606</c:v>
                </c:pt>
                <c:pt idx="17593">
                  <c:v>24.895630942076025</c:v>
                </c:pt>
                <c:pt idx="17594">
                  <c:v>24.692439677855646</c:v>
                </c:pt>
                <c:pt idx="17595">
                  <c:v>19.704741091128998</c:v>
                </c:pt>
                <c:pt idx="17596">
                  <c:v>25.960166152046803</c:v>
                </c:pt>
                <c:pt idx="17597">
                  <c:v>53.094625470252957</c:v>
                </c:pt>
                <c:pt idx="17598">
                  <c:v>32.196871234980662</c:v>
                </c:pt>
                <c:pt idx="17599">
                  <c:v>28.093860635181194</c:v>
                </c:pt>
                <c:pt idx="17600">
                  <c:v>26.91974511246266</c:v>
                </c:pt>
                <c:pt idx="17601">
                  <c:v>35.12968602638071</c:v>
                </c:pt>
                <c:pt idx="17602">
                  <c:v>46.98718482675357</c:v>
                </c:pt>
                <c:pt idx="17603">
                  <c:v>53.619892618104593</c:v>
                </c:pt>
                <c:pt idx="17604">
                  <c:v>49.247412860257477</c:v>
                </c:pt>
                <c:pt idx="17605">
                  <c:v>59.273619057578728</c:v>
                </c:pt>
                <c:pt idx="17606">
                  <c:v>27.412752748502868</c:v>
                </c:pt>
                <c:pt idx="17607">
                  <c:v>24.452065982536048</c:v>
                </c:pt>
                <c:pt idx="17608">
                  <c:v>22.382370740765488</c:v>
                </c:pt>
                <c:pt idx="17609">
                  <c:v>16.193055568081203</c:v>
                </c:pt>
                <c:pt idx="17610">
                  <c:v>21.921865102723526</c:v>
                </c:pt>
                <c:pt idx="17611">
                  <c:v>26.053749341149835</c:v>
                </c:pt>
                <c:pt idx="17612">
                  <c:v>30.109624340565702</c:v>
                </c:pt>
                <c:pt idx="17613">
                  <c:v>22.910178586491362</c:v>
                </c:pt>
                <c:pt idx="17614">
                  <c:v>31.796648899051142</c:v>
                </c:pt>
                <c:pt idx="17615">
                  <c:v>24.270942095691652</c:v>
                </c:pt>
                <c:pt idx="17616">
                  <c:v>36.272411678182316</c:v>
                </c:pt>
                <c:pt idx="17617">
                  <c:v>45.348443316053952</c:v>
                </c:pt>
                <c:pt idx="17618">
                  <c:v>37.07152251515582</c:v>
                </c:pt>
                <c:pt idx="17619">
                  <c:v>24.270706232723395</c:v>
                </c:pt>
                <c:pt idx="17620">
                  <c:v>22.826016132997207</c:v>
                </c:pt>
                <c:pt idx="17621">
                  <c:v>26.579561511005863</c:v>
                </c:pt>
                <c:pt idx="17622">
                  <c:v>31.031887579430244</c:v>
                </c:pt>
                <c:pt idx="17623">
                  <c:v>23.219439197048526</c:v>
                </c:pt>
                <c:pt idx="17624">
                  <c:v>21.299908583515904</c:v>
                </c:pt>
                <c:pt idx="17625">
                  <c:v>26.432046974323388</c:v>
                </c:pt>
                <c:pt idx="17626">
                  <c:v>43.93968460698062</c:v>
                </c:pt>
                <c:pt idx="17627">
                  <c:v>17.758403373633296</c:v>
                </c:pt>
                <c:pt idx="17628">
                  <c:v>29.193482543514286</c:v>
                </c:pt>
                <c:pt idx="17629">
                  <c:v>52.541001499986884</c:v>
                </c:pt>
                <c:pt idx="17630">
                  <c:v>56.881450259248581</c:v>
                </c:pt>
                <c:pt idx="17631">
                  <c:v>26.831526837940686</c:v>
                </c:pt>
                <c:pt idx="17632">
                  <c:v>20.274065102748651</c:v>
                </c:pt>
                <c:pt idx="17633">
                  <c:v>58.086460805648279</c:v>
                </c:pt>
                <c:pt idx="17634">
                  <c:v>21.992410675515082</c:v>
                </c:pt>
                <c:pt idx="17635">
                  <c:v>48.327887933559836</c:v>
                </c:pt>
                <c:pt idx="17636">
                  <c:v>34.705377671535658</c:v>
                </c:pt>
                <c:pt idx="17637">
                  <c:v>48.972977068123072</c:v>
                </c:pt>
                <c:pt idx="17638">
                  <c:v>33.411340979938231</c:v>
                </c:pt>
                <c:pt idx="17639">
                  <c:v>28.381641882378354</c:v>
                </c:pt>
                <c:pt idx="17640">
                  <c:v>22.911488405975621</c:v>
                </c:pt>
                <c:pt idx="17641">
                  <c:v>32.102553609186948</c:v>
                </c:pt>
                <c:pt idx="17642">
                  <c:v>48.646565415055754</c:v>
                </c:pt>
                <c:pt idx="17643">
                  <c:v>27.452883096987151</c:v>
                </c:pt>
                <c:pt idx="17644">
                  <c:v>30.405758303216857</c:v>
                </c:pt>
                <c:pt idx="17645">
                  <c:v>22.503747261113038</c:v>
                </c:pt>
                <c:pt idx="17646">
                  <c:v>40.428140158302568</c:v>
                </c:pt>
                <c:pt idx="17647">
                  <c:v>31.914305629284279</c:v>
                </c:pt>
                <c:pt idx="17648">
                  <c:v>25.65877576883992</c:v>
                </c:pt>
                <c:pt idx="17649">
                  <c:v>27.559377699884529</c:v>
                </c:pt>
                <c:pt idx="17650">
                  <c:v>25.218257327098534</c:v>
                </c:pt>
                <c:pt idx="17651">
                  <c:v>39.747218446866007</c:v>
                </c:pt>
                <c:pt idx="17652">
                  <c:v>23.83269871624222</c:v>
                </c:pt>
                <c:pt idx="17653">
                  <c:v>28.730231409606638</c:v>
                </c:pt>
                <c:pt idx="17654">
                  <c:v>28.317565246412297</c:v>
                </c:pt>
                <c:pt idx="17655">
                  <c:v>21.464815734480567</c:v>
                </c:pt>
                <c:pt idx="17656">
                  <c:v>33.374692259651461</c:v>
                </c:pt>
                <c:pt idx="17657">
                  <c:v>29.345843687020679</c:v>
                </c:pt>
                <c:pt idx="17658">
                  <c:v>31.924659928220837</c:v>
                </c:pt>
                <c:pt idx="17659">
                  <c:v>27.103566001719635</c:v>
                </c:pt>
                <c:pt idx="17660">
                  <c:v>30.211550691808391</c:v>
                </c:pt>
                <c:pt idx="17661">
                  <c:v>21.940368813728487</c:v>
                </c:pt>
                <c:pt idx="17662">
                  <c:v>45.826396972284215</c:v>
                </c:pt>
                <c:pt idx="17663">
                  <c:v>48.51951357320246</c:v>
                </c:pt>
                <c:pt idx="17664">
                  <c:v>21.760591151282902</c:v>
                </c:pt>
                <c:pt idx="17665">
                  <c:v>23.455670055847584</c:v>
                </c:pt>
                <c:pt idx="17666">
                  <c:v>32.298324459992273</c:v>
                </c:pt>
                <c:pt idx="17667">
                  <c:v>32.169208501039925</c:v>
                </c:pt>
                <c:pt idx="17668">
                  <c:v>23.031220944387165</c:v>
                </c:pt>
                <c:pt idx="17669">
                  <c:v>29.1824632431663</c:v>
                </c:pt>
                <c:pt idx="17670">
                  <c:v>26.618070544440002</c:v>
                </c:pt>
                <c:pt idx="17671">
                  <c:v>20.049101312165533</c:v>
                </c:pt>
                <c:pt idx="17672">
                  <c:v>38.563159091441705</c:v>
                </c:pt>
                <c:pt idx="17673">
                  <c:v>35.109934092025561</c:v>
                </c:pt>
                <c:pt idx="17674">
                  <c:v>29.438210803977778</c:v>
                </c:pt>
                <c:pt idx="17675">
                  <c:v>24.963844990357764</c:v>
                </c:pt>
                <c:pt idx="17676">
                  <c:v>48.319509800476212</c:v>
                </c:pt>
                <c:pt idx="17677">
                  <c:v>37.712296985745056</c:v>
                </c:pt>
                <c:pt idx="17678">
                  <c:v>22.203243739351414</c:v>
                </c:pt>
                <c:pt idx="17679">
                  <c:v>53.608176089648481</c:v>
                </c:pt>
                <c:pt idx="17680">
                  <c:v>27.527182554035832</c:v>
                </c:pt>
                <c:pt idx="17681">
                  <c:v>29.699797022393952</c:v>
                </c:pt>
                <c:pt idx="17682">
                  <c:v>24.475719738523168</c:v>
                </c:pt>
                <c:pt idx="17683">
                  <c:v>30.048963171127031</c:v>
                </c:pt>
                <c:pt idx="17684">
                  <c:v>33.41817897966186</c:v>
                </c:pt>
                <c:pt idx="17685">
                  <c:v>25.750222029724018</c:v>
                </c:pt>
                <c:pt idx="17686">
                  <c:v>25.720177200865944</c:v>
                </c:pt>
                <c:pt idx="17687">
                  <c:v>35.817097587584655</c:v>
                </c:pt>
                <c:pt idx="17688">
                  <c:v>33.124333926754119</c:v>
                </c:pt>
                <c:pt idx="17689">
                  <c:v>21.324682990938328</c:v>
                </c:pt>
                <c:pt idx="17690">
                  <c:v>26.0952090631929</c:v>
                </c:pt>
                <c:pt idx="17691">
                  <c:v>25.24547731237837</c:v>
                </c:pt>
                <c:pt idx="17692">
                  <c:v>23.372904108746386</c:v>
                </c:pt>
                <c:pt idx="17693">
                  <c:v>25.195219204271574</c:v>
                </c:pt>
                <c:pt idx="17694">
                  <c:v>40.344195469346289</c:v>
                </c:pt>
                <c:pt idx="17695">
                  <c:v>25.061563879657779</c:v>
                </c:pt>
                <c:pt idx="17696">
                  <c:v>54.301488612223913</c:v>
                </c:pt>
                <c:pt idx="17697">
                  <c:v>29.358621264681354</c:v>
                </c:pt>
                <c:pt idx="17698">
                  <c:v>42.775112588028357</c:v>
                </c:pt>
                <c:pt idx="17699">
                  <c:v>29.154652587090307</c:v>
                </c:pt>
                <c:pt idx="17700">
                  <c:v>21.730841149616122</c:v>
                </c:pt>
                <c:pt idx="17701">
                  <c:v>26.968469454338326</c:v>
                </c:pt>
                <c:pt idx="17702">
                  <c:v>26.410819888571101</c:v>
                </c:pt>
                <c:pt idx="17703">
                  <c:v>32.127542207409896</c:v>
                </c:pt>
                <c:pt idx="17704">
                  <c:v>28.501595293257299</c:v>
                </c:pt>
                <c:pt idx="17705">
                  <c:v>34.22845702533391</c:v>
                </c:pt>
                <c:pt idx="17706">
                  <c:v>38.371449342078364</c:v>
                </c:pt>
                <c:pt idx="17707">
                  <c:v>49.004862508886852</c:v>
                </c:pt>
                <c:pt idx="17708">
                  <c:v>24.232164983720509</c:v>
                </c:pt>
                <c:pt idx="17709">
                  <c:v>29.611317442285682</c:v>
                </c:pt>
                <c:pt idx="17710">
                  <c:v>55.664638858741654</c:v>
                </c:pt>
                <c:pt idx="17711">
                  <c:v>19.875014248520849</c:v>
                </c:pt>
                <c:pt idx="17712">
                  <c:v>26.253357173536465</c:v>
                </c:pt>
                <c:pt idx="17713">
                  <c:v>57.890350971938133</c:v>
                </c:pt>
                <c:pt idx="17714">
                  <c:v>27.86393843811998</c:v>
                </c:pt>
                <c:pt idx="17715">
                  <c:v>54.706225092643599</c:v>
                </c:pt>
                <c:pt idx="17716">
                  <c:v>16.909520677049287</c:v>
                </c:pt>
                <c:pt idx="17717">
                  <c:v>45.945550924207133</c:v>
                </c:pt>
                <c:pt idx="17718">
                  <c:v>26.009775741379293</c:v>
                </c:pt>
                <c:pt idx="17719">
                  <c:v>40.528838901885379</c:v>
                </c:pt>
                <c:pt idx="17720">
                  <c:v>45.314548201509389</c:v>
                </c:pt>
                <c:pt idx="17721">
                  <c:v>42.845629854804137</c:v>
                </c:pt>
                <c:pt idx="17722">
                  <c:v>26.051727310721585</c:v>
                </c:pt>
                <c:pt idx="17723">
                  <c:v>25.408817919274583</c:v>
                </c:pt>
                <c:pt idx="17724">
                  <c:v>28.100751813795569</c:v>
                </c:pt>
                <c:pt idx="17725">
                  <c:v>46.872847806483335</c:v>
                </c:pt>
                <c:pt idx="17726">
                  <c:v>43.970881138917825</c:v>
                </c:pt>
                <c:pt idx="17727">
                  <c:v>26.538694768407037</c:v>
                </c:pt>
                <c:pt idx="17728">
                  <c:v>30.365412349448249</c:v>
                </c:pt>
                <c:pt idx="17729">
                  <c:v>51.121814269653207</c:v>
                </c:pt>
                <c:pt idx="17730">
                  <c:v>45.071410707669742</c:v>
                </c:pt>
                <c:pt idx="17731">
                  <c:v>26.722872354188048</c:v>
                </c:pt>
                <c:pt idx="17732">
                  <c:v>23.79438200065611</c:v>
                </c:pt>
                <c:pt idx="17733">
                  <c:v>32.340330674511193</c:v>
                </c:pt>
                <c:pt idx="17734">
                  <c:v>26.181487536364074</c:v>
                </c:pt>
                <c:pt idx="17735">
                  <c:v>28.835422466287184</c:v>
                </c:pt>
                <c:pt idx="17736">
                  <c:v>33.25789912983911</c:v>
                </c:pt>
                <c:pt idx="17737">
                  <c:v>27.231241764901739</c:v>
                </c:pt>
                <c:pt idx="17738">
                  <c:v>35.810424097081054</c:v>
                </c:pt>
                <c:pt idx="17739">
                  <c:v>19.835617827043613</c:v>
                </c:pt>
                <c:pt idx="17740">
                  <c:v>31.414837060080352</c:v>
                </c:pt>
                <c:pt idx="17741">
                  <c:v>25.261173789630362</c:v>
                </c:pt>
                <c:pt idx="17742">
                  <c:v>20.618539162800772</c:v>
                </c:pt>
                <c:pt idx="17743">
                  <c:v>27.612496361798847</c:v>
                </c:pt>
                <c:pt idx="17744">
                  <c:v>50.271967371782935</c:v>
                </c:pt>
                <c:pt idx="17745">
                  <c:v>41.096208974823973</c:v>
                </c:pt>
                <c:pt idx="17746">
                  <c:v>26.101675192647168</c:v>
                </c:pt>
                <c:pt idx="17747">
                  <c:v>26.427698978765179</c:v>
                </c:pt>
                <c:pt idx="17748">
                  <c:v>30.3628086281633</c:v>
                </c:pt>
                <c:pt idx="17749">
                  <c:v>35.320685809959237</c:v>
                </c:pt>
                <c:pt idx="17750">
                  <c:v>20.034524610170678</c:v>
                </c:pt>
                <c:pt idx="17751">
                  <c:v>35.493394496715453</c:v>
                </c:pt>
                <c:pt idx="17752">
                  <c:v>29.141178350194409</c:v>
                </c:pt>
                <c:pt idx="17753">
                  <c:v>52.100511889119396</c:v>
                </c:pt>
                <c:pt idx="17754">
                  <c:v>48.362066814337858</c:v>
                </c:pt>
                <c:pt idx="17755">
                  <c:v>48.12464399637409</c:v>
                </c:pt>
                <c:pt idx="17756">
                  <c:v>26.334009921085091</c:v>
                </c:pt>
                <c:pt idx="17757">
                  <c:v>26.383075650395281</c:v>
                </c:pt>
                <c:pt idx="17758">
                  <c:v>29.696494520108747</c:v>
                </c:pt>
                <c:pt idx="17759">
                  <c:v>19.046619229848623</c:v>
                </c:pt>
                <c:pt idx="17760">
                  <c:v>27.876168387835939</c:v>
                </c:pt>
                <c:pt idx="17761">
                  <c:v>34.194767791377288</c:v>
                </c:pt>
                <c:pt idx="17762">
                  <c:v>28.371096769903399</c:v>
                </c:pt>
                <c:pt idx="17763">
                  <c:v>28.948350870239068</c:v>
                </c:pt>
                <c:pt idx="17764">
                  <c:v>32.324233306397659</c:v>
                </c:pt>
                <c:pt idx="17765">
                  <c:v>24.51115161239159</c:v>
                </c:pt>
                <c:pt idx="17766">
                  <c:v>33.800430077396797</c:v>
                </c:pt>
                <c:pt idx="17767">
                  <c:v>28.738456155972798</c:v>
                </c:pt>
                <c:pt idx="17768">
                  <c:v>43.751731841408976</c:v>
                </c:pt>
                <c:pt idx="17769">
                  <c:v>45.21248361698234</c:v>
                </c:pt>
                <c:pt idx="17770">
                  <c:v>24.510579653902791</c:v>
                </c:pt>
                <c:pt idx="17771">
                  <c:v>28.545008286844695</c:v>
                </c:pt>
                <c:pt idx="17772">
                  <c:v>18.382206632883175</c:v>
                </c:pt>
                <c:pt idx="17773">
                  <c:v>36.639156379898424</c:v>
                </c:pt>
                <c:pt idx="17774">
                  <c:v>43.932607474382763</c:v>
                </c:pt>
                <c:pt idx="17775">
                  <c:v>48.581497275993655</c:v>
                </c:pt>
                <c:pt idx="17776">
                  <c:v>36.88362075097357</c:v>
                </c:pt>
                <c:pt idx="17777">
                  <c:v>36.903442450296033</c:v>
                </c:pt>
                <c:pt idx="17778">
                  <c:v>31.358572097157488</c:v>
                </c:pt>
                <c:pt idx="17779">
                  <c:v>18.54656964990355</c:v>
                </c:pt>
                <c:pt idx="17780">
                  <c:v>23.922744881649141</c:v>
                </c:pt>
                <c:pt idx="17781">
                  <c:v>27.402177390889577</c:v>
                </c:pt>
                <c:pt idx="17782">
                  <c:v>41.119992927318421</c:v>
                </c:pt>
                <c:pt idx="17783">
                  <c:v>23.659341845781569</c:v>
                </c:pt>
                <c:pt idx="17784">
                  <c:v>29.793623441460856</c:v>
                </c:pt>
                <c:pt idx="17785">
                  <c:v>26.985521880369596</c:v>
                </c:pt>
                <c:pt idx="17786">
                  <c:v>31.765075508873245</c:v>
                </c:pt>
                <c:pt idx="17787">
                  <c:v>25.6779255833709</c:v>
                </c:pt>
                <c:pt idx="17788">
                  <c:v>25.265229689971207</c:v>
                </c:pt>
                <c:pt idx="17789">
                  <c:v>17.947524926916984</c:v>
                </c:pt>
                <c:pt idx="17790">
                  <c:v>25.097691482752452</c:v>
                </c:pt>
                <c:pt idx="17791">
                  <c:v>28.177970726501776</c:v>
                </c:pt>
                <c:pt idx="17792">
                  <c:v>22.584515232086858</c:v>
                </c:pt>
                <c:pt idx="17793">
                  <c:v>38.834561915336067</c:v>
                </c:pt>
                <c:pt idx="17794">
                  <c:v>24.929637987336708</c:v>
                </c:pt>
                <c:pt idx="17795">
                  <c:v>18.68304614209049</c:v>
                </c:pt>
                <c:pt idx="17796">
                  <c:v>27.230374332457991</c:v>
                </c:pt>
                <c:pt idx="17797">
                  <c:v>29.8267498721412</c:v>
                </c:pt>
                <c:pt idx="17798">
                  <c:v>20.94621596005442</c:v>
                </c:pt>
                <c:pt idx="17799">
                  <c:v>26.65336406680003</c:v>
                </c:pt>
                <c:pt idx="17800">
                  <c:v>28.476868632591017</c:v>
                </c:pt>
                <c:pt idx="17801">
                  <c:v>20.569116775452947</c:v>
                </c:pt>
                <c:pt idx="17802">
                  <c:v>17.754312518063294</c:v>
                </c:pt>
                <c:pt idx="17803">
                  <c:v>25.773779739275874</c:v>
                </c:pt>
                <c:pt idx="17804">
                  <c:v>21.621970162338982</c:v>
                </c:pt>
                <c:pt idx="17805">
                  <c:v>21.264320502468482</c:v>
                </c:pt>
                <c:pt idx="17806">
                  <c:v>34.730919658167693</c:v>
                </c:pt>
                <c:pt idx="17807">
                  <c:v>23.499092687797123</c:v>
                </c:pt>
                <c:pt idx="17808">
                  <c:v>21.91662925632836</c:v>
                </c:pt>
                <c:pt idx="17809">
                  <c:v>30.078325465502171</c:v>
                </c:pt>
                <c:pt idx="17810">
                  <c:v>21.241620033125606</c:v>
                </c:pt>
                <c:pt idx="17811">
                  <c:v>26.676044528393312</c:v>
                </c:pt>
                <c:pt idx="17812">
                  <c:v>28.485632020614418</c:v>
                </c:pt>
                <c:pt idx="17813">
                  <c:v>50.932282288063014</c:v>
                </c:pt>
                <c:pt idx="17814">
                  <c:v>41.155960032536377</c:v>
                </c:pt>
                <c:pt idx="17815">
                  <c:v>50.943987724505803</c:v>
                </c:pt>
                <c:pt idx="17816">
                  <c:v>27.634991973588054</c:v>
                </c:pt>
                <c:pt idx="17817">
                  <c:v>23.264971902314741</c:v>
                </c:pt>
                <c:pt idx="17818">
                  <c:v>28.788462963999244</c:v>
                </c:pt>
                <c:pt idx="17819">
                  <c:v>21.018420227108713</c:v>
                </c:pt>
                <c:pt idx="17820">
                  <c:v>17.586776884343625</c:v>
                </c:pt>
                <c:pt idx="17821">
                  <c:v>60.361366215309509</c:v>
                </c:pt>
                <c:pt idx="17822">
                  <c:v>50.311850707581861</c:v>
                </c:pt>
                <c:pt idx="17823">
                  <c:v>27.423350905641374</c:v>
                </c:pt>
                <c:pt idx="17824">
                  <c:v>26.55566707518539</c:v>
                </c:pt>
                <c:pt idx="17825">
                  <c:v>26.16864184801759</c:v>
                </c:pt>
                <c:pt idx="17826">
                  <c:v>25.512994665423378</c:v>
                </c:pt>
                <c:pt idx="17827">
                  <c:v>27.88744754622634</c:v>
                </c:pt>
                <c:pt idx="17828">
                  <c:v>55.430863772307013</c:v>
                </c:pt>
                <c:pt idx="17829">
                  <c:v>32.408285661877038</c:v>
                </c:pt>
                <c:pt idx="17830">
                  <c:v>22.303728347580488</c:v>
                </c:pt>
                <c:pt idx="17831">
                  <c:v>28.352561272981173</c:v>
                </c:pt>
                <c:pt idx="17832">
                  <c:v>37.180723203985856</c:v>
                </c:pt>
                <c:pt idx="17833">
                  <c:v>23.33087223734422</c:v>
                </c:pt>
                <c:pt idx="17834">
                  <c:v>33.241732081231788</c:v>
                </c:pt>
                <c:pt idx="17835">
                  <c:v>36.208493346438772</c:v>
                </c:pt>
                <c:pt idx="17836">
                  <c:v>31.43735252279129</c:v>
                </c:pt>
                <c:pt idx="17837">
                  <c:v>27.517228656797414</c:v>
                </c:pt>
                <c:pt idx="17838">
                  <c:v>30.07272207815446</c:v>
                </c:pt>
                <c:pt idx="17839">
                  <c:v>52.283074457162535</c:v>
                </c:pt>
                <c:pt idx="17840">
                  <c:v>20.447882735401492</c:v>
                </c:pt>
                <c:pt idx="17841">
                  <c:v>26.283873222449106</c:v>
                </c:pt>
                <c:pt idx="17842">
                  <c:v>37.296858510751257</c:v>
                </c:pt>
                <c:pt idx="17843">
                  <c:v>56.615307257138966</c:v>
                </c:pt>
                <c:pt idx="17844">
                  <c:v>30.593950883235919</c:v>
                </c:pt>
                <c:pt idx="17845">
                  <c:v>32.269394440939138</c:v>
                </c:pt>
                <c:pt idx="17846">
                  <c:v>44.072615010499611</c:v>
                </c:pt>
                <c:pt idx="17847">
                  <c:v>24.071281005284067</c:v>
                </c:pt>
                <c:pt idx="17848">
                  <c:v>23.564488156000458</c:v>
                </c:pt>
                <c:pt idx="17849">
                  <c:v>58.203819389211979</c:v>
                </c:pt>
                <c:pt idx="17850">
                  <c:v>52.150747323829293</c:v>
                </c:pt>
                <c:pt idx="17851">
                  <c:v>29.212494067242428</c:v>
                </c:pt>
                <c:pt idx="17852">
                  <c:v>27.665615209775805</c:v>
                </c:pt>
                <c:pt idx="17853">
                  <c:v>50.839822618628602</c:v>
                </c:pt>
                <c:pt idx="17854">
                  <c:v>28.986203827070906</c:v>
                </c:pt>
                <c:pt idx="17855">
                  <c:v>30.871723301827281</c:v>
                </c:pt>
                <c:pt idx="17856">
                  <c:v>35.801175537715352</c:v>
                </c:pt>
                <c:pt idx="17857">
                  <c:v>30.814916341443723</c:v>
                </c:pt>
                <c:pt idx="17858">
                  <c:v>37.139455477095979</c:v>
                </c:pt>
                <c:pt idx="17859">
                  <c:v>55.543890492719854</c:v>
                </c:pt>
                <c:pt idx="17860">
                  <c:v>30.28211767871402</c:v>
                </c:pt>
                <c:pt idx="17861">
                  <c:v>31.141941591519462</c:v>
                </c:pt>
                <c:pt idx="17862">
                  <c:v>26.957166137299019</c:v>
                </c:pt>
                <c:pt idx="17863">
                  <c:v>29.048194332420422</c:v>
                </c:pt>
                <c:pt idx="17864">
                  <c:v>32.104660938342143</c:v>
                </c:pt>
                <c:pt idx="17865">
                  <c:v>32.220875155251612</c:v>
                </c:pt>
                <c:pt idx="17866">
                  <c:v>22.627949011537464</c:v>
                </c:pt>
                <c:pt idx="17867">
                  <c:v>25.800165834773068</c:v>
                </c:pt>
                <c:pt idx="17868">
                  <c:v>28.260820348094093</c:v>
                </c:pt>
                <c:pt idx="17869">
                  <c:v>37.152112838091966</c:v>
                </c:pt>
                <c:pt idx="17870">
                  <c:v>20.733678017630282</c:v>
                </c:pt>
                <c:pt idx="17871">
                  <c:v>29.111237154752455</c:v>
                </c:pt>
                <c:pt idx="17872">
                  <c:v>25.260632705371261</c:v>
                </c:pt>
                <c:pt idx="17873">
                  <c:v>23.559192757555699</c:v>
                </c:pt>
                <c:pt idx="17874">
                  <c:v>31.206199645364329</c:v>
                </c:pt>
                <c:pt idx="17875">
                  <c:v>22.046330837663586</c:v>
                </c:pt>
                <c:pt idx="17876">
                  <c:v>24.200696615664551</c:v>
                </c:pt>
                <c:pt idx="17877">
                  <c:v>19.753834635965561</c:v>
                </c:pt>
                <c:pt idx="17878">
                  <c:v>22.523490229235787</c:v>
                </c:pt>
                <c:pt idx="17879">
                  <c:v>29.570320604010014</c:v>
                </c:pt>
                <c:pt idx="17880">
                  <c:v>32.350502270017991</c:v>
                </c:pt>
                <c:pt idx="17881">
                  <c:v>53.484870229767814</c:v>
                </c:pt>
                <c:pt idx="17882">
                  <c:v>49.544887262579884</c:v>
                </c:pt>
                <c:pt idx="17883">
                  <c:v>40.589848278356904</c:v>
                </c:pt>
                <c:pt idx="17884">
                  <c:v>26.028257095122392</c:v>
                </c:pt>
                <c:pt idx="17885">
                  <c:v>47.349900356049396</c:v>
                </c:pt>
                <c:pt idx="17886">
                  <c:v>24.224672578323261</c:v>
                </c:pt>
                <c:pt idx="17887">
                  <c:v>24.013736791392812</c:v>
                </c:pt>
                <c:pt idx="17888">
                  <c:v>42.703992982364241</c:v>
                </c:pt>
                <c:pt idx="17889">
                  <c:v>37.271429351443089</c:v>
                </c:pt>
                <c:pt idx="17890">
                  <c:v>25.059546095568159</c:v>
                </c:pt>
                <c:pt idx="17891">
                  <c:v>37.67179579806011</c:v>
                </c:pt>
                <c:pt idx="17892">
                  <c:v>28.930960265455504</c:v>
                </c:pt>
                <c:pt idx="17893">
                  <c:v>55.034427047675344</c:v>
                </c:pt>
                <c:pt idx="17894">
                  <c:v>25.113682819220848</c:v>
                </c:pt>
                <c:pt idx="17895">
                  <c:v>29.01966707306557</c:v>
                </c:pt>
                <c:pt idx="17896">
                  <c:v>25.997645907912627</c:v>
                </c:pt>
                <c:pt idx="17897">
                  <c:v>42.018119276067473</c:v>
                </c:pt>
                <c:pt idx="17898">
                  <c:v>25.903126272927295</c:v>
                </c:pt>
                <c:pt idx="17899">
                  <c:v>36.460352415337709</c:v>
                </c:pt>
                <c:pt idx="17900">
                  <c:v>31.103121615125975</c:v>
                </c:pt>
                <c:pt idx="17901">
                  <c:v>23.280950793740864</c:v>
                </c:pt>
                <c:pt idx="17902">
                  <c:v>31.16162308177093</c:v>
                </c:pt>
                <c:pt idx="17903">
                  <c:v>27.336929631254183</c:v>
                </c:pt>
                <c:pt idx="17904">
                  <c:v>33.278583076148308</c:v>
                </c:pt>
                <c:pt idx="17905">
                  <c:v>51.043360484034586</c:v>
                </c:pt>
                <c:pt idx="17906">
                  <c:v>46.826617696240312</c:v>
                </c:pt>
                <c:pt idx="17907">
                  <c:v>45.816324827087008</c:v>
                </c:pt>
                <c:pt idx="17908">
                  <c:v>38.930203106374066</c:v>
                </c:pt>
                <c:pt idx="17909">
                  <c:v>21.221428081863685</c:v>
                </c:pt>
                <c:pt idx="17910">
                  <c:v>25.725358324367534</c:v>
                </c:pt>
                <c:pt idx="17911">
                  <c:v>36.363971373134241</c:v>
                </c:pt>
                <c:pt idx="17912">
                  <c:v>21.663446713505529</c:v>
                </c:pt>
                <c:pt idx="17913">
                  <c:v>53.287542682098199</c:v>
                </c:pt>
                <c:pt idx="17914">
                  <c:v>26.36081523992403</c:v>
                </c:pt>
                <c:pt idx="17915">
                  <c:v>43.522801708493148</c:v>
                </c:pt>
                <c:pt idx="17916">
                  <c:v>21.667541487244666</c:v>
                </c:pt>
                <c:pt idx="17917">
                  <c:v>31.500177756332093</c:v>
                </c:pt>
                <c:pt idx="17918">
                  <c:v>29.668618947855947</c:v>
                </c:pt>
                <c:pt idx="17919">
                  <c:v>30.25959155751449</c:v>
                </c:pt>
                <c:pt idx="17920">
                  <c:v>42.289799865632702</c:v>
                </c:pt>
                <c:pt idx="17921">
                  <c:v>24.733765468023325</c:v>
                </c:pt>
                <c:pt idx="17922">
                  <c:v>44.052534247786035</c:v>
                </c:pt>
                <c:pt idx="17923">
                  <c:v>59.078803810653049</c:v>
                </c:pt>
                <c:pt idx="17924">
                  <c:v>23.557092463716444</c:v>
                </c:pt>
                <c:pt idx="17925">
                  <c:v>28.250135173805702</c:v>
                </c:pt>
                <c:pt idx="17926">
                  <c:v>30.609900141992618</c:v>
                </c:pt>
                <c:pt idx="17927">
                  <c:v>29.988480018811778</c:v>
                </c:pt>
                <c:pt idx="17928">
                  <c:v>24.379872138088434</c:v>
                </c:pt>
                <c:pt idx="17929">
                  <c:v>30.885127826162019</c:v>
                </c:pt>
                <c:pt idx="17930">
                  <c:v>17.473840677775478</c:v>
                </c:pt>
                <c:pt idx="17931">
                  <c:v>29.243307812191834</c:v>
                </c:pt>
                <c:pt idx="17932">
                  <c:v>23.483962668802107</c:v>
                </c:pt>
                <c:pt idx="17933">
                  <c:v>43.890108974938116</c:v>
                </c:pt>
                <c:pt idx="17934">
                  <c:v>31.741884889408183</c:v>
                </c:pt>
                <c:pt idx="17935">
                  <c:v>22.818648859020634</c:v>
                </c:pt>
                <c:pt idx="17936">
                  <c:v>23.089247521293789</c:v>
                </c:pt>
                <c:pt idx="17937">
                  <c:v>34.393277690597962</c:v>
                </c:pt>
                <c:pt idx="17938">
                  <c:v>39.626281196002729</c:v>
                </c:pt>
                <c:pt idx="17939">
                  <c:v>20.262209116305129</c:v>
                </c:pt>
                <c:pt idx="17940">
                  <c:v>28.280203102355706</c:v>
                </c:pt>
                <c:pt idx="17941">
                  <c:v>36.839291544692848</c:v>
                </c:pt>
                <c:pt idx="17942">
                  <c:v>44.000323842390273</c:v>
                </c:pt>
                <c:pt idx="17943">
                  <c:v>25.044492216220593</c:v>
                </c:pt>
                <c:pt idx="17944">
                  <c:v>26.498899003618796</c:v>
                </c:pt>
                <c:pt idx="17945">
                  <c:v>35.094603031296664</c:v>
                </c:pt>
                <c:pt idx="17946">
                  <c:v>48.330680799628553</c:v>
                </c:pt>
                <c:pt idx="17947">
                  <c:v>26.48808425438957</c:v>
                </c:pt>
                <c:pt idx="17948">
                  <c:v>30.360613395428253</c:v>
                </c:pt>
                <c:pt idx="17949">
                  <c:v>40.070095556211918</c:v>
                </c:pt>
                <c:pt idx="17950">
                  <c:v>23.281787320571055</c:v>
                </c:pt>
                <c:pt idx="17951">
                  <c:v>26.323127735729528</c:v>
                </c:pt>
                <c:pt idx="17952">
                  <c:v>24.617601801182374</c:v>
                </c:pt>
                <c:pt idx="17953">
                  <c:v>22.991767236128545</c:v>
                </c:pt>
                <c:pt idx="17954">
                  <c:v>31.893144137837368</c:v>
                </c:pt>
                <c:pt idx="17955">
                  <c:v>39.011581184203855</c:v>
                </c:pt>
                <c:pt idx="17956">
                  <c:v>26.80361933194763</c:v>
                </c:pt>
                <c:pt idx="17957">
                  <c:v>24.409909075429969</c:v>
                </c:pt>
                <c:pt idx="17958">
                  <c:v>25.620232323206622</c:v>
                </c:pt>
                <c:pt idx="17959">
                  <c:v>24.719903438481058</c:v>
                </c:pt>
                <c:pt idx="17960">
                  <c:v>21.519088884051424</c:v>
                </c:pt>
                <c:pt idx="17961">
                  <c:v>22.789907173596585</c:v>
                </c:pt>
                <c:pt idx="17962">
                  <c:v>24.542481204688954</c:v>
                </c:pt>
                <c:pt idx="17963">
                  <c:v>26.291994151305609</c:v>
                </c:pt>
                <c:pt idx="17964">
                  <c:v>17.572598677667926</c:v>
                </c:pt>
                <c:pt idx="17965">
                  <c:v>32.144357396824248</c:v>
                </c:pt>
                <c:pt idx="17966">
                  <c:v>58.219647395470751</c:v>
                </c:pt>
                <c:pt idx="17967">
                  <c:v>33.743634641706088</c:v>
                </c:pt>
                <c:pt idx="17968">
                  <c:v>32.929866501214875</c:v>
                </c:pt>
                <c:pt idx="17969">
                  <c:v>26.061492934242338</c:v>
                </c:pt>
                <c:pt idx="17970">
                  <c:v>57.315188218354379</c:v>
                </c:pt>
                <c:pt idx="17971">
                  <c:v>43.677006519052782</c:v>
                </c:pt>
                <c:pt idx="17972">
                  <c:v>31.10859196826182</c:v>
                </c:pt>
                <c:pt idx="17973">
                  <c:v>32.886515748390352</c:v>
                </c:pt>
                <c:pt idx="17974">
                  <c:v>22.96585021712135</c:v>
                </c:pt>
                <c:pt idx="17975">
                  <c:v>26.612274537006577</c:v>
                </c:pt>
                <c:pt idx="17976">
                  <c:v>34.506998850585752</c:v>
                </c:pt>
                <c:pt idx="17977">
                  <c:v>29.724310133307647</c:v>
                </c:pt>
                <c:pt idx="17978">
                  <c:v>45.553439216878502</c:v>
                </c:pt>
                <c:pt idx="17979">
                  <c:v>25.594701181587421</c:v>
                </c:pt>
                <c:pt idx="17980">
                  <c:v>28.018733011821013</c:v>
                </c:pt>
                <c:pt idx="17981">
                  <c:v>25.740593734050361</c:v>
                </c:pt>
                <c:pt idx="17982">
                  <c:v>40.803725121394265</c:v>
                </c:pt>
                <c:pt idx="17983">
                  <c:v>23.109983726641282</c:v>
                </c:pt>
                <c:pt idx="17984">
                  <c:v>27.289234389894489</c:v>
                </c:pt>
                <c:pt idx="17985">
                  <c:v>26.770057990262927</c:v>
                </c:pt>
                <c:pt idx="17986">
                  <c:v>28.002299247630816</c:v>
                </c:pt>
                <c:pt idx="17987">
                  <c:v>26.630087972333733</c:v>
                </c:pt>
                <c:pt idx="17988">
                  <c:v>37.857406319634812</c:v>
                </c:pt>
                <c:pt idx="17989">
                  <c:v>23.593113512153909</c:v>
                </c:pt>
                <c:pt idx="17990">
                  <c:v>23.723749721921081</c:v>
                </c:pt>
                <c:pt idx="17991">
                  <c:v>21.566940287913688</c:v>
                </c:pt>
                <c:pt idx="17992">
                  <c:v>31.528680670283929</c:v>
                </c:pt>
                <c:pt idx="17993">
                  <c:v>34.599508245405858</c:v>
                </c:pt>
                <c:pt idx="17994">
                  <c:v>45.239716424211274</c:v>
                </c:pt>
                <c:pt idx="17995">
                  <c:v>43.873543266662423</c:v>
                </c:pt>
                <c:pt idx="17996">
                  <c:v>46.660815457437934</c:v>
                </c:pt>
                <c:pt idx="17997">
                  <c:v>20.198310629904729</c:v>
                </c:pt>
                <c:pt idx="17998">
                  <c:v>29.816866304103936</c:v>
                </c:pt>
                <c:pt idx="17999">
                  <c:v>48.666807492961837</c:v>
                </c:pt>
                <c:pt idx="18000">
                  <c:v>28.868985452831268</c:v>
                </c:pt>
                <c:pt idx="18001">
                  <c:v>47.871813620484382</c:v>
                </c:pt>
                <c:pt idx="18002">
                  <c:v>29.783155220743389</c:v>
                </c:pt>
                <c:pt idx="18003">
                  <c:v>33.391381787489443</c:v>
                </c:pt>
                <c:pt idx="18004">
                  <c:v>47.80986841999281</c:v>
                </c:pt>
                <c:pt idx="18005">
                  <c:v>28.048714930206476</c:v>
                </c:pt>
                <c:pt idx="18006">
                  <c:v>26.04704760881506</c:v>
                </c:pt>
                <c:pt idx="18007">
                  <c:v>27.093736868443187</c:v>
                </c:pt>
                <c:pt idx="18008">
                  <c:v>19.281346321785783</c:v>
                </c:pt>
                <c:pt idx="18009">
                  <c:v>46.466668215169378</c:v>
                </c:pt>
                <c:pt idx="18010">
                  <c:v>56.33803758666609</c:v>
                </c:pt>
                <c:pt idx="18011">
                  <c:v>43.21325561226454</c:v>
                </c:pt>
                <c:pt idx="18012">
                  <c:v>45.658299029564766</c:v>
                </c:pt>
                <c:pt idx="18013">
                  <c:v>24.938212697401426</c:v>
                </c:pt>
                <c:pt idx="18014">
                  <c:v>35.374830041564721</c:v>
                </c:pt>
                <c:pt idx="18015">
                  <c:v>25.838096445779062</c:v>
                </c:pt>
                <c:pt idx="18016">
                  <c:v>28.271399000172593</c:v>
                </c:pt>
                <c:pt idx="18017">
                  <c:v>22.899019051081854</c:v>
                </c:pt>
                <c:pt idx="18018">
                  <c:v>25.17157816451234</c:v>
                </c:pt>
                <c:pt idx="18019">
                  <c:v>30.963151960714768</c:v>
                </c:pt>
                <c:pt idx="18020">
                  <c:v>24.388203187703091</c:v>
                </c:pt>
                <c:pt idx="18021">
                  <c:v>24.506642882784199</c:v>
                </c:pt>
                <c:pt idx="18022">
                  <c:v>24.437919493856029</c:v>
                </c:pt>
                <c:pt idx="18023">
                  <c:v>42.650945719249634</c:v>
                </c:pt>
                <c:pt idx="18024">
                  <c:v>49.79421065181694</c:v>
                </c:pt>
                <c:pt idx="18025">
                  <c:v>24.991375563310378</c:v>
                </c:pt>
                <c:pt idx="18026">
                  <c:v>24.652428869816546</c:v>
                </c:pt>
                <c:pt idx="18027">
                  <c:v>27.927580154958726</c:v>
                </c:pt>
                <c:pt idx="18028">
                  <c:v>24.731375378876585</c:v>
                </c:pt>
                <c:pt idx="18029">
                  <c:v>23.609363415967763</c:v>
                </c:pt>
                <c:pt idx="18030">
                  <c:v>37.044943877004876</c:v>
                </c:pt>
                <c:pt idx="18031">
                  <c:v>44.975417777893064</c:v>
                </c:pt>
                <c:pt idx="18032">
                  <c:v>28.08112187073419</c:v>
                </c:pt>
                <c:pt idx="18033">
                  <c:v>21.941397745839581</c:v>
                </c:pt>
                <c:pt idx="18034">
                  <c:v>30.856586479050772</c:v>
                </c:pt>
                <c:pt idx="18035">
                  <c:v>21.807139514982353</c:v>
                </c:pt>
                <c:pt idx="18036">
                  <c:v>48.184999374796782</c:v>
                </c:pt>
                <c:pt idx="18037">
                  <c:v>61.328526877089843</c:v>
                </c:pt>
                <c:pt idx="18038">
                  <c:v>28.865307075626038</c:v>
                </c:pt>
                <c:pt idx="18039">
                  <c:v>58.035873292247672</c:v>
                </c:pt>
                <c:pt idx="18040">
                  <c:v>27.051636319335362</c:v>
                </c:pt>
                <c:pt idx="18041">
                  <c:v>23.7775394859515</c:v>
                </c:pt>
                <c:pt idx="18042">
                  <c:v>29.162180210391323</c:v>
                </c:pt>
                <c:pt idx="18043">
                  <c:v>31.273592230117952</c:v>
                </c:pt>
                <c:pt idx="18044">
                  <c:v>31.192561075063878</c:v>
                </c:pt>
                <c:pt idx="18045">
                  <c:v>40.257907714809107</c:v>
                </c:pt>
                <c:pt idx="18046">
                  <c:v>49.112593571772265</c:v>
                </c:pt>
                <c:pt idx="18047">
                  <c:v>26.86221911766501</c:v>
                </c:pt>
                <c:pt idx="18048">
                  <c:v>30.476312561779778</c:v>
                </c:pt>
                <c:pt idx="18049">
                  <c:v>26.814208250359677</c:v>
                </c:pt>
                <c:pt idx="18050">
                  <c:v>28.344972827454033</c:v>
                </c:pt>
                <c:pt idx="18051">
                  <c:v>26.021102527597929</c:v>
                </c:pt>
                <c:pt idx="18052">
                  <c:v>26.743614394582551</c:v>
                </c:pt>
                <c:pt idx="18053">
                  <c:v>22.31527999872019</c:v>
                </c:pt>
                <c:pt idx="18054">
                  <c:v>29.098882691015827</c:v>
                </c:pt>
                <c:pt idx="18055">
                  <c:v>48.287524386003199</c:v>
                </c:pt>
                <c:pt idx="18056">
                  <c:v>29.103499778593189</c:v>
                </c:pt>
                <c:pt idx="18057">
                  <c:v>28.371718700047644</c:v>
                </c:pt>
                <c:pt idx="18058">
                  <c:v>26.360216355451502</c:v>
                </c:pt>
                <c:pt idx="18059">
                  <c:v>36.19535262155825</c:v>
                </c:pt>
                <c:pt idx="18060">
                  <c:v>23.559515069509672</c:v>
                </c:pt>
                <c:pt idx="18061">
                  <c:v>44.518992680094989</c:v>
                </c:pt>
                <c:pt idx="18062">
                  <c:v>41.784536706599113</c:v>
                </c:pt>
                <c:pt idx="18063">
                  <c:v>35.939221204787081</c:v>
                </c:pt>
                <c:pt idx="18064">
                  <c:v>27.24909654838795</c:v>
                </c:pt>
                <c:pt idx="18065">
                  <c:v>24.502386211229236</c:v>
                </c:pt>
                <c:pt idx="18066">
                  <c:v>29.449015233517514</c:v>
                </c:pt>
                <c:pt idx="18067">
                  <c:v>29.584542123117792</c:v>
                </c:pt>
                <c:pt idx="18068">
                  <c:v>24.633433845402411</c:v>
                </c:pt>
                <c:pt idx="18069">
                  <c:v>24.052056666832868</c:v>
                </c:pt>
                <c:pt idx="18070">
                  <c:v>21.649110259106376</c:v>
                </c:pt>
                <c:pt idx="18071">
                  <c:v>25.816077769313285</c:v>
                </c:pt>
                <c:pt idx="18072">
                  <c:v>20.799835660423472</c:v>
                </c:pt>
                <c:pt idx="18073">
                  <c:v>24.368802728689833</c:v>
                </c:pt>
                <c:pt idx="18074">
                  <c:v>25.760054677227039</c:v>
                </c:pt>
                <c:pt idx="18075">
                  <c:v>26.37632081629571</c:v>
                </c:pt>
                <c:pt idx="18076">
                  <c:v>23.90401252543143</c:v>
                </c:pt>
                <c:pt idx="18077">
                  <c:v>19.28768298911293</c:v>
                </c:pt>
                <c:pt idx="18078">
                  <c:v>21.669594070141542</c:v>
                </c:pt>
                <c:pt idx="18079">
                  <c:v>46.173883771763585</c:v>
                </c:pt>
                <c:pt idx="18080">
                  <c:v>42.370830022383402</c:v>
                </c:pt>
                <c:pt idx="18081">
                  <c:v>25.315136939143279</c:v>
                </c:pt>
                <c:pt idx="18082">
                  <c:v>27.352875239971983</c:v>
                </c:pt>
                <c:pt idx="18083">
                  <c:v>23.949013618790332</c:v>
                </c:pt>
                <c:pt idx="18084">
                  <c:v>24.46772194231556</c:v>
                </c:pt>
                <c:pt idx="18085">
                  <c:v>25.227196064431268</c:v>
                </c:pt>
                <c:pt idx="18086">
                  <c:v>25.385520425281619</c:v>
                </c:pt>
                <c:pt idx="18087">
                  <c:v>19.799036042290144</c:v>
                </c:pt>
                <c:pt idx="18088">
                  <c:v>45.01660463236913</c:v>
                </c:pt>
                <c:pt idx="18089">
                  <c:v>52.369830993974915</c:v>
                </c:pt>
                <c:pt idx="18090">
                  <c:v>42.357987678586994</c:v>
                </c:pt>
                <c:pt idx="18091">
                  <c:v>30.980555961930889</c:v>
                </c:pt>
                <c:pt idx="18092">
                  <c:v>20.550649280238282</c:v>
                </c:pt>
                <c:pt idx="18093">
                  <c:v>27.479600346098174</c:v>
                </c:pt>
                <c:pt idx="18094">
                  <c:v>31.543173963845611</c:v>
                </c:pt>
                <c:pt idx="18095">
                  <c:v>17.46881725607491</c:v>
                </c:pt>
                <c:pt idx="18096">
                  <c:v>54.806714873595887</c:v>
                </c:pt>
                <c:pt idx="18097">
                  <c:v>19.697380338564486</c:v>
                </c:pt>
                <c:pt idx="18098">
                  <c:v>14.930718232793655</c:v>
                </c:pt>
                <c:pt idx="18099">
                  <c:v>24.600193603569274</c:v>
                </c:pt>
                <c:pt idx="18100">
                  <c:v>22.124041358657053</c:v>
                </c:pt>
                <c:pt idx="18101">
                  <c:v>27.188834637946268</c:v>
                </c:pt>
                <c:pt idx="18102">
                  <c:v>42.843669133600244</c:v>
                </c:pt>
                <c:pt idx="18103">
                  <c:v>54.446733991625109</c:v>
                </c:pt>
                <c:pt idx="18104">
                  <c:v>28.072921288602284</c:v>
                </c:pt>
                <c:pt idx="18105">
                  <c:v>29.850996175196407</c:v>
                </c:pt>
                <c:pt idx="18106">
                  <c:v>47.543712181569155</c:v>
                </c:pt>
                <c:pt idx="18107">
                  <c:v>24.980979719597919</c:v>
                </c:pt>
                <c:pt idx="18108">
                  <c:v>30.891413537236762</c:v>
                </c:pt>
                <c:pt idx="18109">
                  <c:v>26.470176981249072</c:v>
                </c:pt>
                <c:pt idx="18110">
                  <c:v>23.530873031245076</c:v>
                </c:pt>
                <c:pt idx="18111">
                  <c:v>33.767998636272807</c:v>
                </c:pt>
                <c:pt idx="18112">
                  <c:v>21.497542913770229</c:v>
                </c:pt>
                <c:pt idx="18113">
                  <c:v>24.238417975167842</c:v>
                </c:pt>
                <c:pt idx="18114">
                  <c:v>37.630172658986645</c:v>
                </c:pt>
                <c:pt idx="18115">
                  <c:v>23.863237556546352</c:v>
                </c:pt>
                <c:pt idx="18116">
                  <c:v>22.464520689080963</c:v>
                </c:pt>
                <c:pt idx="18117">
                  <c:v>26.424284967378398</c:v>
                </c:pt>
                <c:pt idx="18118">
                  <c:v>26.768111064298282</c:v>
                </c:pt>
                <c:pt idx="18119">
                  <c:v>24.825647501470257</c:v>
                </c:pt>
                <c:pt idx="18120">
                  <c:v>27.985754666516847</c:v>
                </c:pt>
                <c:pt idx="18121">
                  <c:v>36.18844938612299</c:v>
                </c:pt>
                <c:pt idx="18122">
                  <c:v>34.557026709440471</c:v>
                </c:pt>
                <c:pt idx="18123">
                  <c:v>31.262145328262328</c:v>
                </c:pt>
                <c:pt idx="18124">
                  <c:v>23.589658540318879</c:v>
                </c:pt>
                <c:pt idx="18125">
                  <c:v>24.988349743984969</c:v>
                </c:pt>
                <c:pt idx="18126">
                  <c:v>34.971529338870489</c:v>
                </c:pt>
                <c:pt idx="18127">
                  <c:v>34.620307001844076</c:v>
                </c:pt>
                <c:pt idx="18128">
                  <c:v>21.254273421558047</c:v>
                </c:pt>
                <c:pt idx="18129">
                  <c:v>20.545996499628146</c:v>
                </c:pt>
                <c:pt idx="18130">
                  <c:v>23.127156187471805</c:v>
                </c:pt>
                <c:pt idx="18131">
                  <c:v>22.358702420298421</c:v>
                </c:pt>
                <c:pt idx="18132">
                  <c:v>40.327862367136817</c:v>
                </c:pt>
                <c:pt idx="18133">
                  <c:v>19.54894338781293</c:v>
                </c:pt>
                <c:pt idx="18134">
                  <c:v>30.308492708963879</c:v>
                </c:pt>
                <c:pt idx="18135">
                  <c:v>20.576532357494155</c:v>
                </c:pt>
                <c:pt idx="18136">
                  <c:v>48.403812856944199</c:v>
                </c:pt>
                <c:pt idx="18137">
                  <c:v>27.871566645562829</c:v>
                </c:pt>
                <c:pt idx="18138">
                  <c:v>49.703471488386029</c:v>
                </c:pt>
                <c:pt idx="18139">
                  <c:v>29.272352356211307</c:v>
                </c:pt>
                <c:pt idx="18140">
                  <c:v>30.844090214569611</c:v>
                </c:pt>
                <c:pt idx="18141">
                  <c:v>36.682488644254192</c:v>
                </c:pt>
                <c:pt idx="18142">
                  <c:v>22.046888672756598</c:v>
                </c:pt>
                <c:pt idx="18143">
                  <c:v>20.786945039551764</c:v>
                </c:pt>
                <c:pt idx="18144">
                  <c:v>26.00058952504288</c:v>
                </c:pt>
                <c:pt idx="18145">
                  <c:v>23.89605006488198</c:v>
                </c:pt>
                <c:pt idx="18146">
                  <c:v>26.874273546646268</c:v>
                </c:pt>
                <c:pt idx="18147">
                  <c:v>22.833934099462628</c:v>
                </c:pt>
                <c:pt idx="18148">
                  <c:v>23.634644124611391</c:v>
                </c:pt>
                <c:pt idx="18149">
                  <c:v>26.244547897988415</c:v>
                </c:pt>
                <c:pt idx="18150">
                  <c:v>34.424356921797326</c:v>
                </c:pt>
                <c:pt idx="18151">
                  <c:v>28.595308391684231</c:v>
                </c:pt>
                <c:pt idx="18152">
                  <c:v>55.761404947959448</c:v>
                </c:pt>
                <c:pt idx="18153">
                  <c:v>33.663016183909527</c:v>
                </c:pt>
                <c:pt idx="18154">
                  <c:v>37.757265415339774</c:v>
                </c:pt>
                <c:pt idx="18155">
                  <c:v>32.144403665684109</c:v>
                </c:pt>
                <c:pt idx="18156">
                  <c:v>28.13912434341681</c:v>
                </c:pt>
                <c:pt idx="18157">
                  <c:v>36.608404762412661</c:v>
                </c:pt>
                <c:pt idx="18158">
                  <c:v>40.841640623481595</c:v>
                </c:pt>
                <c:pt idx="18159">
                  <c:v>24.175652525502933</c:v>
                </c:pt>
                <c:pt idx="18160">
                  <c:v>22.831127043127708</c:v>
                </c:pt>
                <c:pt idx="18161">
                  <c:v>41.760089953942675</c:v>
                </c:pt>
                <c:pt idx="18162">
                  <c:v>34.561913985694517</c:v>
                </c:pt>
                <c:pt idx="18163">
                  <c:v>24.959489381347318</c:v>
                </c:pt>
                <c:pt idx="18164">
                  <c:v>25.454279283522865</c:v>
                </c:pt>
                <c:pt idx="18165">
                  <c:v>20.381146431302916</c:v>
                </c:pt>
                <c:pt idx="18166">
                  <c:v>27.04343253198034</c:v>
                </c:pt>
                <c:pt idx="18167">
                  <c:v>25.543644162787061</c:v>
                </c:pt>
                <c:pt idx="18168">
                  <c:v>41.89748559136342</c:v>
                </c:pt>
                <c:pt idx="18169">
                  <c:v>28.180467230055598</c:v>
                </c:pt>
                <c:pt idx="18170">
                  <c:v>27.423283674196043</c:v>
                </c:pt>
                <c:pt idx="18171">
                  <c:v>30.960494281282664</c:v>
                </c:pt>
                <c:pt idx="18172">
                  <c:v>52.692098509445422</c:v>
                </c:pt>
                <c:pt idx="18173">
                  <c:v>28.661216087389441</c:v>
                </c:pt>
                <c:pt idx="18174">
                  <c:v>36.165230869054803</c:v>
                </c:pt>
                <c:pt idx="18175">
                  <c:v>45.91486074995705</c:v>
                </c:pt>
                <c:pt idx="18176">
                  <c:v>17.642967650953846</c:v>
                </c:pt>
                <c:pt idx="18177">
                  <c:v>47.368287224483304</c:v>
                </c:pt>
                <c:pt idx="18178">
                  <c:v>37.73900826011797</c:v>
                </c:pt>
                <c:pt idx="18179">
                  <c:v>32.793392400495733</c:v>
                </c:pt>
                <c:pt idx="18180">
                  <c:v>65.823954418016825</c:v>
                </c:pt>
                <c:pt idx="18181">
                  <c:v>28.822242488842242</c:v>
                </c:pt>
                <c:pt idx="18182">
                  <c:v>46.023008331641094</c:v>
                </c:pt>
                <c:pt idx="18183">
                  <c:v>56.517114295053219</c:v>
                </c:pt>
                <c:pt idx="18184">
                  <c:v>21.303881581986165</c:v>
                </c:pt>
                <c:pt idx="18185">
                  <c:v>38.526831933231072</c:v>
                </c:pt>
                <c:pt idx="18186">
                  <c:v>30.515431655958952</c:v>
                </c:pt>
                <c:pt idx="18187">
                  <c:v>25.106948056806917</c:v>
                </c:pt>
                <c:pt idx="18188">
                  <c:v>18.393043881751591</c:v>
                </c:pt>
                <c:pt idx="18189">
                  <c:v>25.170859295655493</c:v>
                </c:pt>
                <c:pt idx="18190">
                  <c:v>54.999300947826505</c:v>
                </c:pt>
                <c:pt idx="18191">
                  <c:v>29.951927308184288</c:v>
                </c:pt>
                <c:pt idx="18192">
                  <c:v>26.535480521352298</c:v>
                </c:pt>
                <c:pt idx="18193">
                  <c:v>26.426781987139918</c:v>
                </c:pt>
                <c:pt idx="18194">
                  <c:v>30.300916905900451</c:v>
                </c:pt>
                <c:pt idx="18195">
                  <c:v>33.269198669264547</c:v>
                </c:pt>
                <c:pt idx="18196">
                  <c:v>27.676520031773748</c:v>
                </c:pt>
                <c:pt idx="18197">
                  <c:v>21.178699108639826</c:v>
                </c:pt>
                <c:pt idx="18198">
                  <c:v>25.919269398672839</c:v>
                </c:pt>
                <c:pt idx="18199">
                  <c:v>25.351485756619709</c:v>
                </c:pt>
                <c:pt idx="18200">
                  <c:v>21.230975502706759</c:v>
                </c:pt>
                <c:pt idx="18201">
                  <c:v>30.198083379915513</c:v>
                </c:pt>
                <c:pt idx="18202">
                  <c:v>28.054014868754759</c:v>
                </c:pt>
                <c:pt idx="18203">
                  <c:v>22.499701489620534</c:v>
                </c:pt>
                <c:pt idx="18204">
                  <c:v>44.413689352642251</c:v>
                </c:pt>
                <c:pt idx="18205">
                  <c:v>22.816564771965371</c:v>
                </c:pt>
                <c:pt idx="18206">
                  <c:v>28.485793196937333</c:v>
                </c:pt>
                <c:pt idx="18207">
                  <c:v>22.626178258624094</c:v>
                </c:pt>
                <c:pt idx="18208">
                  <c:v>35.214970287752543</c:v>
                </c:pt>
                <c:pt idx="18209">
                  <c:v>24.873156408172289</c:v>
                </c:pt>
                <c:pt idx="18210">
                  <c:v>19.929203410129649</c:v>
                </c:pt>
                <c:pt idx="18211">
                  <c:v>33.044997834229392</c:v>
                </c:pt>
                <c:pt idx="18212">
                  <c:v>32.280499067711759</c:v>
                </c:pt>
                <c:pt idx="18213">
                  <c:v>26.879521241528519</c:v>
                </c:pt>
                <c:pt idx="18214">
                  <c:v>49.644610897944339</c:v>
                </c:pt>
                <c:pt idx="18215">
                  <c:v>26.297231956228565</c:v>
                </c:pt>
                <c:pt idx="18216">
                  <c:v>23.792403315115486</c:v>
                </c:pt>
                <c:pt idx="18217">
                  <c:v>59.541046348414078</c:v>
                </c:pt>
                <c:pt idx="18218">
                  <c:v>30.830378568853959</c:v>
                </c:pt>
                <c:pt idx="18219">
                  <c:v>32.362134911710896</c:v>
                </c:pt>
                <c:pt idx="18220">
                  <c:v>18.439227316061963</c:v>
                </c:pt>
                <c:pt idx="18221">
                  <c:v>26.392516511219799</c:v>
                </c:pt>
                <c:pt idx="18222">
                  <c:v>26.069427723633687</c:v>
                </c:pt>
                <c:pt idx="18223">
                  <c:v>24.393735349122711</c:v>
                </c:pt>
                <c:pt idx="18224">
                  <c:v>33.127839460285351</c:v>
                </c:pt>
                <c:pt idx="18225">
                  <c:v>25.352667173843372</c:v>
                </c:pt>
                <c:pt idx="18226">
                  <c:v>26.038849663900592</c:v>
                </c:pt>
                <c:pt idx="18227">
                  <c:v>25.535909464970974</c:v>
                </c:pt>
                <c:pt idx="18228">
                  <c:v>39.133049991534747</c:v>
                </c:pt>
                <c:pt idx="18229">
                  <c:v>54.099442612954718</c:v>
                </c:pt>
                <c:pt idx="18230">
                  <c:v>49.20889695080109</c:v>
                </c:pt>
                <c:pt idx="18231">
                  <c:v>41.367756487748707</c:v>
                </c:pt>
                <c:pt idx="18232">
                  <c:v>25.013972047085137</c:v>
                </c:pt>
                <c:pt idx="18233">
                  <c:v>27.473989703213739</c:v>
                </c:pt>
                <c:pt idx="18234">
                  <c:v>32.141730842418987</c:v>
                </c:pt>
                <c:pt idx="18235">
                  <c:v>31.071024235222048</c:v>
                </c:pt>
                <c:pt idx="18236">
                  <c:v>29.295016220836494</c:v>
                </c:pt>
                <c:pt idx="18237">
                  <c:v>50.541446704835785</c:v>
                </c:pt>
                <c:pt idx="18238">
                  <c:v>30.473050461141316</c:v>
                </c:pt>
                <c:pt idx="18239">
                  <c:v>22.95653957202299</c:v>
                </c:pt>
                <c:pt idx="18240">
                  <c:v>36.625236272686479</c:v>
                </c:pt>
                <c:pt idx="18241">
                  <c:v>22.548476875957267</c:v>
                </c:pt>
                <c:pt idx="18242">
                  <c:v>22.170421054090383</c:v>
                </c:pt>
                <c:pt idx="18243">
                  <c:v>35.417645659933903</c:v>
                </c:pt>
                <c:pt idx="18244">
                  <c:v>22.598614871661479</c:v>
                </c:pt>
                <c:pt idx="18245">
                  <c:v>29.481177630066988</c:v>
                </c:pt>
                <c:pt idx="18246">
                  <c:v>21.782085012045776</c:v>
                </c:pt>
                <c:pt idx="18247">
                  <c:v>24.112694720218947</c:v>
                </c:pt>
                <c:pt idx="18248">
                  <c:v>26.499476892836206</c:v>
                </c:pt>
                <c:pt idx="18249">
                  <c:v>42.366747023935858</c:v>
                </c:pt>
                <c:pt idx="18250">
                  <c:v>24.574376648679124</c:v>
                </c:pt>
                <c:pt idx="18251">
                  <c:v>25.017489812293157</c:v>
                </c:pt>
                <c:pt idx="18252">
                  <c:v>15.646467693169946</c:v>
                </c:pt>
                <c:pt idx="18253">
                  <c:v>25.296440087389612</c:v>
                </c:pt>
                <c:pt idx="18254">
                  <c:v>29.99516593987456</c:v>
                </c:pt>
                <c:pt idx="18255">
                  <c:v>30.329321511838963</c:v>
                </c:pt>
                <c:pt idx="18256">
                  <c:v>50.611383159465589</c:v>
                </c:pt>
                <c:pt idx="18257">
                  <c:v>25.743367664081461</c:v>
                </c:pt>
                <c:pt idx="18258">
                  <c:v>46.8017895401521</c:v>
                </c:pt>
                <c:pt idx="18259">
                  <c:v>27.807857698971446</c:v>
                </c:pt>
                <c:pt idx="18260">
                  <c:v>28.932599024328827</c:v>
                </c:pt>
                <c:pt idx="18261">
                  <c:v>30.129873332602983</c:v>
                </c:pt>
                <c:pt idx="18262">
                  <c:v>24.779217598792243</c:v>
                </c:pt>
                <c:pt idx="18263">
                  <c:v>30.732273778629345</c:v>
                </c:pt>
                <c:pt idx="18264">
                  <c:v>27.742811769836592</c:v>
                </c:pt>
                <c:pt idx="18265">
                  <c:v>32.650434243454846</c:v>
                </c:pt>
                <c:pt idx="18266">
                  <c:v>35.380344156557243</c:v>
                </c:pt>
                <c:pt idx="18267">
                  <c:v>28.438740159186054</c:v>
                </c:pt>
                <c:pt idx="18268">
                  <c:v>26.063624457284646</c:v>
                </c:pt>
                <c:pt idx="18269">
                  <c:v>36.311426398398396</c:v>
                </c:pt>
                <c:pt idx="18270">
                  <c:v>26.734991205919858</c:v>
                </c:pt>
                <c:pt idx="18271">
                  <c:v>27.991034593099194</c:v>
                </c:pt>
                <c:pt idx="18272">
                  <c:v>45.609776412903166</c:v>
                </c:pt>
                <c:pt idx="18273">
                  <c:v>29.65730117491319</c:v>
                </c:pt>
                <c:pt idx="18274">
                  <c:v>46.033123845980271</c:v>
                </c:pt>
                <c:pt idx="18275">
                  <c:v>30.404914885631868</c:v>
                </c:pt>
                <c:pt idx="18276">
                  <c:v>36.406813500640837</c:v>
                </c:pt>
                <c:pt idx="18277">
                  <c:v>23.911727196359188</c:v>
                </c:pt>
                <c:pt idx="18278">
                  <c:v>33.730059803075576</c:v>
                </c:pt>
                <c:pt idx="18279">
                  <c:v>26.696669227316967</c:v>
                </c:pt>
                <c:pt idx="18280">
                  <c:v>27.976549089573908</c:v>
                </c:pt>
                <c:pt idx="18281">
                  <c:v>30.941335492133646</c:v>
                </c:pt>
                <c:pt idx="18282">
                  <c:v>43.700012025758433</c:v>
                </c:pt>
                <c:pt idx="18283">
                  <c:v>37.177869242744592</c:v>
                </c:pt>
                <c:pt idx="18284">
                  <c:v>52.817408349307293</c:v>
                </c:pt>
                <c:pt idx="18285">
                  <c:v>50.484071356022078</c:v>
                </c:pt>
                <c:pt idx="18286">
                  <c:v>23.691433086465437</c:v>
                </c:pt>
                <c:pt idx="18287">
                  <c:v>24.281528592080775</c:v>
                </c:pt>
                <c:pt idx="18288">
                  <c:v>31.14078109909012</c:v>
                </c:pt>
                <c:pt idx="18289">
                  <c:v>25.570389183967045</c:v>
                </c:pt>
                <c:pt idx="18290">
                  <c:v>35.249933352596734</c:v>
                </c:pt>
                <c:pt idx="18291">
                  <c:v>25.288194868266363</c:v>
                </c:pt>
                <c:pt idx="18292">
                  <c:v>26.938200813571854</c:v>
                </c:pt>
                <c:pt idx="18293">
                  <c:v>40.451388265893669</c:v>
                </c:pt>
                <c:pt idx="18294">
                  <c:v>30.306044306574773</c:v>
                </c:pt>
                <c:pt idx="18295">
                  <c:v>17.014280703999873</c:v>
                </c:pt>
                <c:pt idx="18296">
                  <c:v>28.539198129749174</c:v>
                </c:pt>
                <c:pt idx="18297">
                  <c:v>25.705659535936178</c:v>
                </c:pt>
                <c:pt idx="18298">
                  <c:v>21.620111640673493</c:v>
                </c:pt>
                <c:pt idx="18299">
                  <c:v>31.234359479439092</c:v>
                </c:pt>
                <c:pt idx="18300">
                  <c:v>24.059220927784015</c:v>
                </c:pt>
                <c:pt idx="18301">
                  <c:v>20.304319813597068</c:v>
                </c:pt>
                <c:pt idx="18302">
                  <c:v>32.189186456878822</c:v>
                </c:pt>
                <c:pt idx="18303">
                  <c:v>43.447801948544665</c:v>
                </c:pt>
                <c:pt idx="18304">
                  <c:v>43.636588617636143</c:v>
                </c:pt>
                <c:pt idx="18305">
                  <c:v>24.698674405210607</c:v>
                </c:pt>
                <c:pt idx="18306">
                  <c:v>22.717784517803988</c:v>
                </c:pt>
                <c:pt idx="18307">
                  <c:v>22.681042422589968</c:v>
                </c:pt>
                <c:pt idx="18308">
                  <c:v>26.153928166648036</c:v>
                </c:pt>
                <c:pt idx="18309">
                  <c:v>23.836581508220746</c:v>
                </c:pt>
                <c:pt idx="18310">
                  <c:v>22.70245770551907</c:v>
                </c:pt>
                <c:pt idx="18311">
                  <c:v>31.320754863091071</c:v>
                </c:pt>
                <c:pt idx="18312">
                  <c:v>19.621234888000902</c:v>
                </c:pt>
                <c:pt idx="18313">
                  <c:v>33.864806378663616</c:v>
                </c:pt>
                <c:pt idx="18314">
                  <c:v>27.833474647657329</c:v>
                </c:pt>
                <c:pt idx="18315">
                  <c:v>44.703532963140844</c:v>
                </c:pt>
                <c:pt idx="18316">
                  <c:v>25.475333655773699</c:v>
                </c:pt>
                <c:pt idx="18317">
                  <c:v>25.917919039226028</c:v>
                </c:pt>
                <c:pt idx="18318">
                  <c:v>16.286923181183575</c:v>
                </c:pt>
                <c:pt idx="18319">
                  <c:v>31.289063742517211</c:v>
                </c:pt>
                <c:pt idx="18320">
                  <c:v>48.753201748797409</c:v>
                </c:pt>
                <c:pt idx="18321">
                  <c:v>32.380700916881416</c:v>
                </c:pt>
                <c:pt idx="18322">
                  <c:v>27.493417330884427</c:v>
                </c:pt>
                <c:pt idx="18323">
                  <c:v>43.546526188388441</c:v>
                </c:pt>
                <c:pt idx="18324">
                  <c:v>24.724062226861349</c:v>
                </c:pt>
                <c:pt idx="18325">
                  <c:v>39.87121617635173</c:v>
                </c:pt>
                <c:pt idx="18326">
                  <c:v>47.160227634889317</c:v>
                </c:pt>
                <c:pt idx="18327">
                  <c:v>29.068772908033704</c:v>
                </c:pt>
                <c:pt idx="18328">
                  <c:v>23.126713206618348</c:v>
                </c:pt>
                <c:pt idx="18329">
                  <c:v>28.808648456651646</c:v>
                </c:pt>
                <c:pt idx="18330">
                  <c:v>26.088613017980791</c:v>
                </c:pt>
                <c:pt idx="18331">
                  <c:v>31.168403014164397</c:v>
                </c:pt>
                <c:pt idx="18332">
                  <c:v>36.931225964407432</c:v>
                </c:pt>
                <c:pt idx="18333">
                  <c:v>26.052932386147653</c:v>
                </c:pt>
                <c:pt idx="18334">
                  <c:v>17.535201017721253</c:v>
                </c:pt>
                <c:pt idx="18335">
                  <c:v>27.908699342594375</c:v>
                </c:pt>
                <c:pt idx="18336">
                  <c:v>30.210452260940627</c:v>
                </c:pt>
                <c:pt idx="18337">
                  <c:v>33.697099054570955</c:v>
                </c:pt>
                <c:pt idx="18338">
                  <c:v>24.804665016107652</c:v>
                </c:pt>
                <c:pt idx="18339">
                  <c:v>38.282275125509443</c:v>
                </c:pt>
                <c:pt idx="18340">
                  <c:v>24.997940889804759</c:v>
                </c:pt>
                <c:pt idx="18341">
                  <c:v>44.062353535075637</c:v>
                </c:pt>
                <c:pt idx="18342">
                  <c:v>25.654881261530267</c:v>
                </c:pt>
                <c:pt idx="18343">
                  <c:v>24.173580289519691</c:v>
                </c:pt>
                <c:pt idx="18344">
                  <c:v>27.599683267004117</c:v>
                </c:pt>
                <c:pt idx="18345">
                  <c:v>21.679092804383203</c:v>
                </c:pt>
                <c:pt idx="18346">
                  <c:v>38.91719833416991</c:v>
                </c:pt>
                <c:pt idx="18347">
                  <c:v>29.493160224448076</c:v>
                </c:pt>
                <c:pt idx="18348">
                  <c:v>31.264786083862262</c:v>
                </c:pt>
                <c:pt idx="18349">
                  <c:v>28.349901872635321</c:v>
                </c:pt>
                <c:pt idx="18350">
                  <c:v>22.596262611239972</c:v>
                </c:pt>
                <c:pt idx="18351">
                  <c:v>30.27605331106637</c:v>
                </c:pt>
                <c:pt idx="18352">
                  <c:v>31.139422429837051</c:v>
                </c:pt>
                <c:pt idx="18353">
                  <c:v>20.208014187956898</c:v>
                </c:pt>
                <c:pt idx="18354">
                  <c:v>21.810473439266453</c:v>
                </c:pt>
                <c:pt idx="18355">
                  <c:v>28.140677397173043</c:v>
                </c:pt>
                <c:pt idx="18356">
                  <c:v>25.808635741391033</c:v>
                </c:pt>
                <c:pt idx="18357">
                  <c:v>25.53728549638933</c:v>
                </c:pt>
                <c:pt idx="18358">
                  <c:v>24.604051698802721</c:v>
                </c:pt>
                <c:pt idx="18359">
                  <c:v>29.397352983339356</c:v>
                </c:pt>
                <c:pt idx="18360">
                  <c:v>37.037034148209507</c:v>
                </c:pt>
                <c:pt idx="18361">
                  <c:v>26.407056060370692</c:v>
                </c:pt>
                <c:pt idx="18362">
                  <c:v>43.704141391003908</c:v>
                </c:pt>
                <c:pt idx="18363">
                  <c:v>18.40518969098768</c:v>
                </c:pt>
                <c:pt idx="18364">
                  <c:v>31.811467825857498</c:v>
                </c:pt>
                <c:pt idx="18365">
                  <c:v>45.22678527245467</c:v>
                </c:pt>
                <c:pt idx="18366">
                  <c:v>22.304172530246092</c:v>
                </c:pt>
                <c:pt idx="18367">
                  <c:v>32.874044374741565</c:v>
                </c:pt>
                <c:pt idx="18368">
                  <c:v>23.02979362135904</c:v>
                </c:pt>
                <c:pt idx="18369">
                  <c:v>27.62651329358437</c:v>
                </c:pt>
                <c:pt idx="18370">
                  <c:v>19.823181741847058</c:v>
                </c:pt>
                <c:pt idx="18371">
                  <c:v>28.53781681000789</c:v>
                </c:pt>
                <c:pt idx="18372">
                  <c:v>27.055167538684785</c:v>
                </c:pt>
                <c:pt idx="18373">
                  <c:v>26.154161513643921</c:v>
                </c:pt>
                <c:pt idx="18374">
                  <c:v>44.503078201045938</c:v>
                </c:pt>
                <c:pt idx="18375">
                  <c:v>53.541588420403052</c:v>
                </c:pt>
                <c:pt idx="18376">
                  <c:v>27.431642786333565</c:v>
                </c:pt>
                <c:pt idx="18377">
                  <c:v>29.28870771710675</c:v>
                </c:pt>
                <c:pt idx="18378">
                  <c:v>26.627121461171235</c:v>
                </c:pt>
                <c:pt idx="18379">
                  <c:v>26.793486907296515</c:v>
                </c:pt>
                <c:pt idx="18380">
                  <c:v>32.190748557802344</c:v>
                </c:pt>
                <c:pt idx="18381">
                  <c:v>16.402224888619564</c:v>
                </c:pt>
                <c:pt idx="18382">
                  <c:v>33.020499812079287</c:v>
                </c:pt>
                <c:pt idx="18383">
                  <c:v>29.644246587369615</c:v>
                </c:pt>
                <c:pt idx="18384">
                  <c:v>31.912174812039623</c:v>
                </c:pt>
                <c:pt idx="18385">
                  <c:v>27.533777120432436</c:v>
                </c:pt>
                <c:pt idx="18386">
                  <c:v>20.677397994678905</c:v>
                </c:pt>
                <c:pt idx="18387">
                  <c:v>49.216768111384255</c:v>
                </c:pt>
                <c:pt idx="18388">
                  <c:v>21.879915473548966</c:v>
                </c:pt>
                <c:pt idx="18389">
                  <c:v>31.034615424892579</c:v>
                </c:pt>
                <c:pt idx="18390">
                  <c:v>41.028733044166771</c:v>
                </c:pt>
                <c:pt idx="18391">
                  <c:v>36.480517582464053</c:v>
                </c:pt>
                <c:pt idx="18392">
                  <c:v>28.035874233817474</c:v>
                </c:pt>
                <c:pt idx="18393">
                  <c:v>52.702738594083158</c:v>
                </c:pt>
                <c:pt idx="18394">
                  <c:v>26.391903452816912</c:v>
                </c:pt>
                <c:pt idx="18395">
                  <c:v>27.159687165581648</c:v>
                </c:pt>
                <c:pt idx="18396">
                  <c:v>23.158950568469088</c:v>
                </c:pt>
                <c:pt idx="18397">
                  <c:v>43.191351950855605</c:v>
                </c:pt>
                <c:pt idx="18398">
                  <c:v>40.665434939980905</c:v>
                </c:pt>
                <c:pt idx="18399">
                  <c:v>37.752750450091028</c:v>
                </c:pt>
                <c:pt idx="18400">
                  <c:v>49.957483092203731</c:v>
                </c:pt>
                <c:pt idx="18401">
                  <c:v>29.39423908092532</c:v>
                </c:pt>
                <c:pt idx="18402">
                  <c:v>55.537187845746566</c:v>
                </c:pt>
                <c:pt idx="18403">
                  <c:v>25.71758255505469</c:v>
                </c:pt>
                <c:pt idx="18404">
                  <c:v>26.92503724803781</c:v>
                </c:pt>
                <c:pt idx="18405">
                  <c:v>41.902218075392767</c:v>
                </c:pt>
                <c:pt idx="18406">
                  <c:v>23.441940290279398</c:v>
                </c:pt>
                <c:pt idx="18407">
                  <c:v>22.638254703918314</c:v>
                </c:pt>
                <c:pt idx="18408">
                  <c:v>30.827445082513016</c:v>
                </c:pt>
                <c:pt idx="18409">
                  <c:v>54.632152216110079</c:v>
                </c:pt>
                <c:pt idx="18410">
                  <c:v>20.604828035740216</c:v>
                </c:pt>
                <c:pt idx="18411">
                  <c:v>17.335939727979586</c:v>
                </c:pt>
                <c:pt idx="18412">
                  <c:v>29.891327323134441</c:v>
                </c:pt>
                <c:pt idx="18413">
                  <c:v>21.662265090844127</c:v>
                </c:pt>
                <c:pt idx="18414">
                  <c:v>32.809695077794728</c:v>
                </c:pt>
                <c:pt idx="18415">
                  <c:v>19.140071717637657</c:v>
                </c:pt>
                <c:pt idx="18416">
                  <c:v>37.98282756742627</c:v>
                </c:pt>
                <c:pt idx="18417">
                  <c:v>47.288136690540831</c:v>
                </c:pt>
                <c:pt idx="18418">
                  <c:v>50.05243868043646</c:v>
                </c:pt>
                <c:pt idx="18419">
                  <c:v>26.611495708210494</c:v>
                </c:pt>
                <c:pt idx="18420">
                  <c:v>22.242005857075828</c:v>
                </c:pt>
                <c:pt idx="18421">
                  <c:v>37.384999033721627</c:v>
                </c:pt>
                <c:pt idx="18422">
                  <c:v>31.273716971554599</c:v>
                </c:pt>
                <c:pt idx="18423">
                  <c:v>51.72428841774812</c:v>
                </c:pt>
                <c:pt idx="18424">
                  <c:v>32.921163357946419</c:v>
                </c:pt>
                <c:pt idx="18425">
                  <c:v>20.048686202475459</c:v>
                </c:pt>
                <c:pt idx="18426">
                  <c:v>27.726862882503141</c:v>
                </c:pt>
                <c:pt idx="18427">
                  <c:v>28.04038844897174</c:v>
                </c:pt>
                <c:pt idx="18428">
                  <c:v>38.434216060332837</c:v>
                </c:pt>
                <c:pt idx="18429">
                  <c:v>16.058139428510199</c:v>
                </c:pt>
                <c:pt idx="18430">
                  <c:v>22.803649836845381</c:v>
                </c:pt>
                <c:pt idx="18431">
                  <c:v>27.782919557942225</c:v>
                </c:pt>
                <c:pt idx="18432">
                  <c:v>42.759108354384288</c:v>
                </c:pt>
                <c:pt idx="18433">
                  <c:v>23.952015039199654</c:v>
                </c:pt>
                <c:pt idx="18434">
                  <c:v>43.723852981149683</c:v>
                </c:pt>
                <c:pt idx="18435">
                  <c:v>30.804324457941885</c:v>
                </c:pt>
                <c:pt idx="18436">
                  <c:v>53.526746199574802</c:v>
                </c:pt>
                <c:pt idx="18437">
                  <c:v>33.294984443363866</c:v>
                </c:pt>
                <c:pt idx="18438">
                  <c:v>35.472420874769561</c:v>
                </c:pt>
                <c:pt idx="18439">
                  <c:v>58.456651223594221</c:v>
                </c:pt>
                <c:pt idx="18440">
                  <c:v>27.023598061326943</c:v>
                </c:pt>
                <c:pt idx="18441">
                  <c:v>26.751460333870078</c:v>
                </c:pt>
                <c:pt idx="18442">
                  <c:v>39.429912375708135</c:v>
                </c:pt>
                <c:pt idx="18443">
                  <c:v>25.602431664686069</c:v>
                </c:pt>
                <c:pt idx="18444">
                  <c:v>35.500236429158385</c:v>
                </c:pt>
                <c:pt idx="18445">
                  <c:v>24.584225044413529</c:v>
                </c:pt>
                <c:pt idx="18446">
                  <c:v>20.041455175976679</c:v>
                </c:pt>
                <c:pt idx="18447">
                  <c:v>33.416700827807574</c:v>
                </c:pt>
                <c:pt idx="18448">
                  <c:v>40.622561410167329</c:v>
                </c:pt>
                <c:pt idx="18449">
                  <c:v>28.006904569405041</c:v>
                </c:pt>
                <c:pt idx="18450">
                  <c:v>30.278467695813568</c:v>
                </c:pt>
                <c:pt idx="18451">
                  <c:v>46.753638136684785</c:v>
                </c:pt>
                <c:pt idx="18452">
                  <c:v>23.019930102618837</c:v>
                </c:pt>
                <c:pt idx="18453">
                  <c:v>49.221042173771131</c:v>
                </c:pt>
                <c:pt idx="18454">
                  <c:v>20.408789516357068</c:v>
                </c:pt>
                <c:pt idx="18455">
                  <c:v>27.265841528288107</c:v>
                </c:pt>
                <c:pt idx="18456">
                  <c:v>23.020862288152518</c:v>
                </c:pt>
                <c:pt idx="18457">
                  <c:v>48.809479703155887</c:v>
                </c:pt>
                <c:pt idx="18458">
                  <c:v>26.353119773634297</c:v>
                </c:pt>
                <c:pt idx="18459">
                  <c:v>25.291715365078829</c:v>
                </c:pt>
                <c:pt idx="18460">
                  <c:v>28.618740736584073</c:v>
                </c:pt>
                <c:pt idx="18461">
                  <c:v>60.145470816790628</c:v>
                </c:pt>
                <c:pt idx="18462">
                  <c:v>27.512540429407622</c:v>
                </c:pt>
                <c:pt idx="18463">
                  <c:v>31.218618014071971</c:v>
                </c:pt>
                <c:pt idx="18464">
                  <c:v>25.623036545411377</c:v>
                </c:pt>
                <c:pt idx="18465">
                  <c:v>36.446503414960667</c:v>
                </c:pt>
                <c:pt idx="18466">
                  <c:v>24.71132456478546</c:v>
                </c:pt>
                <c:pt idx="18467">
                  <c:v>25.885797489758676</c:v>
                </c:pt>
                <c:pt idx="18468">
                  <c:v>19.725906963109736</c:v>
                </c:pt>
                <c:pt idx="18469">
                  <c:v>25.640082639723548</c:v>
                </c:pt>
                <c:pt idx="18470">
                  <c:v>50.474904602760397</c:v>
                </c:pt>
                <c:pt idx="18471">
                  <c:v>42.356346792165724</c:v>
                </c:pt>
                <c:pt idx="18472">
                  <c:v>54.428290064955199</c:v>
                </c:pt>
                <c:pt idx="18473">
                  <c:v>19.53223106355518</c:v>
                </c:pt>
                <c:pt idx="18474">
                  <c:v>28.155747020120941</c:v>
                </c:pt>
                <c:pt idx="18475">
                  <c:v>51.206747964431869</c:v>
                </c:pt>
                <c:pt idx="18476">
                  <c:v>20.709915277539807</c:v>
                </c:pt>
                <c:pt idx="18477">
                  <c:v>28.386720824561209</c:v>
                </c:pt>
                <c:pt idx="18478">
                  <c:v>23.316164219903513</c:v>
                </c:pt>
                <c:pt idx="18479">
                  <c:v>31.74595461984358</c:v>
                </c:pt>
                <c:pt idx="18480">
                  <c:v>46.32729310469945</c:v>
                </c:pt>
                <c:pt idx="18481">
                  <c:v>28.247480874544301</c:v>
                </c:pt>
                <c:pt idx="18482">
                  <c:v>51.303259637479464</c:v>
                </c:pt>
                <c:pt idx="18483">
                  <c:v>42.163405712661778</c:v>
                </c:pt>
                <c:pt idx="18484">
                  <c:v>38.28900248429327</c:v>
                </c:pt>
                <c:pt idx="18485">
                  <c:v>49.86100772349748</c:v>
                </c:pt>
                <c:pt idx="18486">
                  <c:v>31.109875648624687</c:v>
                </c:pt>
                <c:pt idx="18487">
                  <c:v>28.954583986656225</c:v>
                </c:pt>
                <c:pt idx="18488">
                  <c:v>25.91108451749831</c:v>
                </c:pt>
                <c:pt idx="18489">
                  <c:v>49.010343860934675</c:v>
                </c:pt>
                <c:pt idx="18490">
                  <c:v>22.761766104694413</c:v>
                </c:pt>
                <c:pt idx="18491">
                  <c:v>68.113512397516658</c:v>
                </c:pt>
                <c:pt idx="18492">
                  <c:v>25.990046523593026</c:v>
                </c:pt>
                <c:pt idx="18493">
                  <c:v>29.404971455693271</c:v>
                </c:pt>
                <c:pt idx="18494">
                  <c:v>53.817993342517546</c:v>
                </c:pt>
                <c:pt idx="18495">
                  <c:v>29.755706583087154</c:v>
                </c:pt>
                <c:pt idx="18496">
                  <c:v>19.953244615248007</c:v>
                </c:pt>
                <c:pt idx="18497">
                  <c:v>28.245556306883294</c:v>
                </c:pt>
                <c:pt idx="18498">
                  <c:v>23.529886384107396</c:v>
                </c:pt>
                <c:pt idx="18499">
                  <c:v>27.882629021627622</c:v>
                </c:pt>
                <c:pt idx="18500">
                  <c:v>24.616856412232611</c:v>
                </c:pt>
                <c:pt idx="18501">
                  <c:v>26.781225887349308</c:v>
                </c:pt>
                <c:pt idx="18502">
                  <c:v>22.168501485006402</c:v>
                </c:pt>
                <c:pt idx="18503">
                  <c:v>45.047920501920544</c:v>
                </c:pt>
                <c:pt idx="18504">
                  <c:v>21.075888546705485</c:v>
                </c:pt>
                <c:pt idx="18505">
                  <c:v>26.934535053188572</c:v>
                </c:pt>
                <c:pt idx="18506">
                  <c:v>24.600303417629991</c:v>
                </c:pt>
                <c:pt idx="18507">
                  <c:v>21.42118663027297</c:v>
                </c:pt>
                <c:pt idx="18508">
                  <c:v>21.626192076420189</c:v>
                </c:pt>
                <c:pt idx="18509">
                  <c:v>23.047688387333643</c:v>
                </c:pt>
                <c:pt idx="18510">
                  <c:v>25.420243234193137</c:v>
                </c:pt>
                <c:pt idx="18511">
                  <c:v>27.103767699680709</c:v>
                </c:pt>
                <c:pt idx="18512">
                  <c:v>29.895527622466624</c:v>
                </c:pt>
                <c:pt idx="18513">
                  <c:v>26.454130654012967</c:v>
                </c:pt>
                <c:pt idx="18514">
                  <c:v>37.584219282537411</c:v>
                </c:pt>
                <c:pt idx="18515">
                  <c:v>34.064793177940707</c:v>
                </c:pt>
                <c:pt idx="18516">
                  <c:v>27.626070358840309</c:v>
                </c:pt>
                <c:pt idx="18517">
                  <c:v>46.429343121292355</c:v>
                </c:pt>
                <c:pt idx="18518">
                  <c:v>23.124519846866409</c:v>
                </c:pt>
                <c:pt idx="18519">
                  <c:v>31.064424367699623</c:v>
                </c:pt>
                <c:pt idx="18520">
                  <c:v>29.797477869031834</c:v>
                </c:pt>
                <c:pt idx="18521">
                  <c:v>27.609961060128192</c:v>
                </c:pt>
                <c:pt idx="18522">
                  <c:v>20.19801631208248</c:v>
                </c:pt>
                <c:pt idx="18523">
                  <c:v>17.259021627219393</c:v>
                </c:pt>
                <c:pt idx="18524">
                  <c:v>25.299243954627464</c:v>
                </c:pt>
                <c:pt idx="18525">
                  <c:v>25.818342562576852</c:v>
                </c:pt>
                <c:pt idx="18526">
                  <c:v>28.167113274004048</c:v>
                </c:pt>
                <c:pt idx="18527">
                  <c:v>20.475084599282571</c:v>
                </c:pt>
                <c:pt idx="18528">
                  <c:v>14.464016380979942</c:v>
                </c:pt>
                <c:pt idx="18529">
                  <c:v>34.325479623617127</c:v>
                </c:pt>
                <c:pt idx="18530">
                  <c:v>46.838773464775272</c:v>
                </c:pt>
                <c:pt idx="18531">
                  <c:v>29.349435866261661</c:v>
                </c:pt>
                <c:pt idx="18532">
                  <c:v>32.619973153215071</c:v>
                </c:pt>
                <c:pt idx="18533">
                  <c:v>47.703307405329248</c:v>
                </c:pt>
                <c:pt idx="18534">
                  <c:v>22.201809752847979</c:v>
                </c:pt>
                <c:pt idx="18535">
                  <c:v>33.444413874173222</c:v>
                </c:pt>
                <c:pt idx="18536">
                  <c:v>36.960341579513198</c:v>
                </c:pt>
                <c:pt idx="18537">
                  <c:v>22.800496601687286</c:v>
                </c:pt>
                <c:pt idx="18538">
                  <c:v>23.76000949216057</c:v>
                </c:pt>
                <c:pt idx="18539">
                  <c:v>18.404605426256044</c:v>
                </c:pt>
                <c:pt idx="18540">
                  <c:v>31.207673577920456</c:v>
                </c:pt>
                <c:pt idx="18541">
                  <c:v>33.114704959153187</c:v>
                </c:pt>
                <c:pt idx="18542">
                  <c:v>52.770708144081226</c:v>
                </c:pt>
                <c:pt idx="18543">
                  <c:v>20.587610765055569</c:v>
                </c:pt>
                <c:pt idx="18544">
                  <c:v>25.822396128812368</c:v>
                </c:pt>
                <c:pt idx="18545">
                  <c:v>21.280859463904559</c:v>
                </c:pt>
                <c:pt idx="18546">
                  <c:v>26.230314504467898</c:v>
                </c:pt>
                <c:pt idx="18547">
                  <c:v>32.711373754459387</c:v>
                </c:pt>
                <c:pt idx="18548">
                  <c:v>29.18247816074274</c:v>
                </c:pt>
                <c:pt idx="18549">
                  <c:v>20.828501389949373</c:v>
                </c:pt>
                <c:pt idx="18550">
                  <c:v>26.17635484726484</c:v>
                </c:pt>
                <c:pt idx="18551">
                  <c:v>43.153103565080407</c:v>
                </c:pt>
                <c:pt idx="18552">
                  <c:v>51.39299150547366</c:v>
                </c:pt>
                <c:pt idx="18553">
                  <c:v>37.185879080510183</c:v>
                </c:pt>
                <c:pt idx="18554">
                  <c:v>24.119724036117141</c:v>
                </c:pt>
                <c:pt idx="18555">
                  <c:v>43.63987447530554</c:v>
                </c:pt>
                <c:pt idx="18556">
                  <c:v>27.223053694877478</c:v>
                </c:pt>
                <c:pt idx="18557">
                  <c:v>28.609696445586071</c:v>
                </c:pt>
                <c:pt idx="18558">
                  <c:v>48.933656802604943</c:v>
                </c:pt>
                <c:pt idx="18559">
                  <c:v>57.399383734953759</c:v>
                </c:pt>
                <c:pt idx="18560">
                  <c:v>30.113834164786557</c:v>
                </c:pt>
                <c:pt idx="18561">
                  <c:v>29.974622210750802</c:v>
                </c:pt>
                <c:pt idx="18562">
                  <c:v>21.30739948658719</c:v>
                </c:pt>
                <c:pt idx="18563">
                  <c:v>27.251209316538606</c:v>
                </c:pt>
                <c:pt idx="18564">
                  <c:v>30.048881055707032</c:v>
                </c:pt>
                <c:pt idx="18565">
                  <c:v>35.050322983601028</c:v>
                </c:pt>
                <c:pt idx="18566">
                  <c:v>17.035473842117376</c:v>
                </c:pt>
                <c:pt idx="18567">
                  <c:v>48.586805118656386</c:v>
                </c:pt>
                <c:pt idx="18568">
                  <c:v>35.608938222096413</c:v>
                </c:pt>
                <c:pt idx="18569">
                  <c:v>30.944048109247962</c:v>
                </c:pt>
                <c:pt idx="18570">
                  <c:v>53.662586898921738</c:v>
                </c:pt>
                <c:pt idx="18571">
                  <c:v>17.062314131674302</c:v>
                </c:pt>
                <c:pt idx="18572">
                  <c:v>58.000562474442823</c:v>
                </c:pt>
                <c:pt idx="18573">
                  <c:v>24.597645979980989</c:v>
                </c:pt>
                <c:pt idx="18574">
                  <c:v>46.472124549729983</c:v>
                </c:pt>
                <c:pt idx="18575">
                  <c:v>31.317221631206905</c:v>
                </c:pt>
                <c:pt idx="18576">
                  <c:v>37.83196153935269</c:v>
                </c:pt>
                <c:pt idx="18577">
                  <c:v>52.891515828272574</c:v>
                </c:pt>
                <c:pt idx="18578">
                  <c:v>33.253840057267745</c:v>
                </c:pt>
                <c:pt idx="18579">
                  <c:v>24.715454100625315</c:v>
                </c:pt>
                <c:pt idx="18580">
                  <c:v>23.516044261826853</c:v>
                </c:pt>
                <c:pt idx="18581">
                  <c:v>23.024000779074505</c:v>
                </c:pt>
                <c:pt idx="18582">
                  <c:v>27.025807673476677</c:v>
                </c:pt>
                <c:pt idx="18583">
                  <c:v>50.408639189864147</c:v>
                </c:pt>
                <c:pt idx="18584">
                  <c:v>19.75179122816597</c:v>
                </c:pt>
                <c:pt idx="18585">
                  <c:v>25.799738613145479</c:v>
                </c:pt>
                <c:pt idx="18586">
                  <c:v>25.619047417147385</c:v>
                </c:pt>
                <c:pt idx="18587">
                  <c:v>30.402456857197684</c:v>
                </c:pt>
                <c:pt idx="18588">
                  <c:v>24.110014456559142</c:v>
                </c:pt>
                <c:pt idx="18589">
                  <c:v>27.346612370554361</c:v>
                </c:pt>
                <c:pt idx="18590">
                  <c:v>20.298899551643959</c:v>
                </c:pt>
                <c:pt idx="18591">
                  <c:v>48.155396950042871</c:v>
                </c:pt>
                <c:pt idx="18592">
                  <c:v>43.186952929455565</c:v>
                </c:pt>
                <c:pt idx="18593">
                  <c:v>36.696650873557616</c:v>
                </c:pt>
                <c:pt idx="18594">
                  <c:v>27.461380975808176</c:v>
                </c:pt>
                <c:pt idx="18595">
                  <c:v>24.196750507518825</c:v>
                </c:pt>
                <c:pt idx="18596">
                  <c:v>34.28830576135465</c:v>
                </c:pt>
                <c:pt idx="18597">
                  <c:v>27.002477856125889</c:v>
                </c:pt>
                <c:pt idx="18598">
                  <c:v>19.132851904482184</c:v>
                </c:pt>
                <c:pt idx="18599">
                  <c:v>55.203254706953167</c:v>
                </c:pt>
                <c:pt idx="18600">
                  <c:v>26.591527753784639</c:v>
                </c:pt>
                <c:pt idx="18601">
                  <c:v>25.883560979207662</c:v>
                </c:pt>
                <c:pt idx="18602">
                  <c:v>41.307357472773191</c:v>
                </c:pt>
                <c:pt idx="18603">
                  <c:v>39.292368965857008</c:v>
                </c:pt>
                <c:pt idx="18604">
                  <c:v>27.895357563590178</c:v>
                </c:pt>
                <c:pt idx="18605">
                  <c:v>29.190959149654166</c:v>
                </c:pt>
                <c:pt idx="18606">
                  <c:v>31.54699725688085</c:v>
                </c:pt>
                <c:pt idx="18607">
                  <c:v>33.850404415641911</c:v>
                </c:pt>
                <c:pt idx="18608">
                  <c:v>27.893221303844115</c:v>
                </c:pt>
                <c:pt idx="18609">
                  <c:v>37.120339655758364</c:v>
                </c:pt>
                <c:pt idx="18610">
                  <c:v>25.535188518531267</c:v>
                </c:pt>
                <c:pt idx="18611">
                  <c:v>31.223161179854223</c:v>
                </c:pt>
                <c:pt idx="18612">
                  <c:v>22.745340736895653</c:v>
                </c:pt>
                <c:pt idx="18613">
                  <c:v>30.097242365221323</c:v>
                </c:pt>
                <c:pt idx="18614">
                  <c:v>18.943105058582677</c:v>
                </c:pt>
                <c:pt idx="18615">
                  <c:v>48.010290324691923</c:v>
                </c:pt>
                <c:pt idx="18616">
                  <c:v>27.881626580171616</c:v>
                </c:pt>
                <c:pt idx="18617">
                  <c:v>30.181721714083732</c:v>
                </c:pt>
                <c:pt idx="18618">
                  <c:v>19.046785357486169</c:v>
                </c:pt>
                <c:pt idx="18619">
                  <c:v>26.252365962996979</c:v>
                </c:pt>
                <c:pt idx="18620">
                  <c:v>24.334315758952165</c:v>
                </c:pt>
                <c:pt idx="18621">
                  <c:v>31.264926298248518</c:v>
                </c:pt>
                <c:pt idx="18622">
                  <c:v>48.774285957570598</c:v>
                </c:pt>
                <c:pt idx="18623">
                  <c:v>33.156811549934986</c:v>
                </c:pt>
                <c:pt idx="18624">
                  <c:v>40.414652071978438</c:v>
                </c:pt>
                <c:pt idx="18625">
                  <c:v>37.620679966231762</c:v>
                </c:pt>
                <c:pt idx="18626">
                  <c:v>25.530582438523847</c:v>
                </c:pt>
                <c:pt idx="18627">
                  <c:v>56.862006140896277</c:v>
                </c:pt>
                <c:pt idx="18628">
                  <c:v>26.482553585199824</c:v>
                </c:pt>
                <c:pt idx="18629">
                  <c:v>26.215411798326929</c:v>
                </c:pt>
                <c:pt idx="18630">
                  <c:v>32.328148258343496</c:v>
                </c:pt>
                <c:pt idx="18631">
                  <c:v>29.969902597413789</c:v>
                </c:pt>
                <c:pt idx="18632">
                  <c:v>26.651101664591568</c:v>
                </c:pt>
                <c:pt idx="18633">
                  <c:v>43.780470694047352</c:v>
                </c:pt>
                <c:pt idx="18634">
                  <c:v>41.318517354941584</c:v>
                </c:pt>
                <c:pt idx="18635">
                  <c:v>28.216283136713621</c:v>
                </c:pt>
                <c:pt idx="18636">
                  <c:v>17.064029034739121</c:v>
                </c:pt>
                <c:pt idx="18637">
                  <c:v>28.251222451278377</c:v>
                </c:pt>
                <c:pt idx="18638">
                  <c:v>19.808230585728168</c:v>
                </c:pt>
                <c:pt idx="18639">
                  <c:v>47.402777378280454</c:v>
                </c:pt>
                <c:pt idx="18640">
                  <c:v>46.759827607259119</c:v>
                </c:pt>
                <c:pt idx="18641">
                  <c:v>29.501555074399377</c:v>
                </c:pt>
                <c:pt idx="18642">
                  <c:v>32.854664114761803</c:v>
                </c:pt>
                <c:pt idx="18643">
                  <c:v>22.026521144932815</c:v>
                </c:pt>
                <c:pt idx="18644">
                  <c:v>31.347612846973632</c:v>
                </c:pt>
                <c:pt idx="18645">
                  <c:v>27.81824603471108</c:v>
                </c:pt>
                <c:pt idx="18646">
                  <c:v>32.056798780402318</c:v>
                </c:pt>
                <c:pt idx="18647">
                  <c:v>31.13734031696519</c:v>
                </c:pt>
                <c:pt idx="18648">
                  <c:v>28.157743998329341</c:v>
                </c:pt>
                <c:pt idx="18649">
                  <c:v>33.360983434499246</c:v>
                </c:pt>
                <c:pt idx="18650">
                  <c:v>42.263548082430127</c:v>
                </c:pt>
                <c:pt idx="18651">
                  <c:v>22.781530754535837</c:v>
                </c:pt>
                <c:pt idx="18652">
                  <c:v>43.690515052999309</c:v>
                </c:pt>
                <c:pt idx="18653">
                  <c:v>28.354019242318902</c:v>
                </c:pt>
                <c:pt idx="18654">
                  <c:v>29.572867901295954</c:v>
                </c:pt>
                <c:pt idx="18655">
                  <c:v>31.395565981821413</c:v>
                </c:pt>
                <c:pt idx="18656">
                  <c:v>30.354136346970119</c:v>
                </c:pt>
                <c:pt idx="18657">
                  <c:v>54.678322918056772</c:v>
                </c:pt>
                <c:pt idx="18658">
                  <c:v>27.329908667579346</c:v>
                </c:pt>
                <c:pt idx="18659">
                  <c:v>29.470710438980639</c:v>
                </c:pt>
                <c:pt idx="18660">
                  <c:v>49.228438607949393</c:v>
                </c:pt>
                <c:pt idx="18661">
                  <c:v>26.457918311471644</c:v>
                </c:pt>
                <c:pt idx="18662">
                  <c:v>53.970461627040223</c:v>
                </c:pt>
                <c:pt idx="18663">
                  <c:v>41.437455553980854</c:v>
                </c:pt>
                <c:pt idx="18664">
                  <c:v>33.168706003778418</c:v>
                </c:pt>
                <c:pt idx="18665">
                  <c:v>23.987109957344416</c:v>
                </c:pt>
                <c:pt idx="18666">
                  <c:v>28.907075809780078</c:v>
                </c:pt>
                <c:pt idx="18667">
                  <c:v>46.919631582838093</c:v>
                </c:pt>
                <c:pt idx="18668">
                  <c:v>19.42814708338695</c:v>
                </c:pt>
                <c:pt idx="18669">
                  <c:v>41.728726844771344</c:v>
                </c:pt>
                <c:pt idx="18670">
                  <c:v>20.229017951102982</c:v>
                </c:pt>
                <c:pt idx="18671">
                  <c:v>19.232689907102817</c:v>
                </c:pt>
                <c:pt idx="18672">
                  <c:v>25.865910536089952</c:v>
                </c:pt>
                <c:pt idx="18673">
                  <c:v>22.585956226189815</c:v>
                </c:pt>
                <c:pt idx="18674">
                  <c:v>28.172742687401737</c:v>
                </c:pt>
                <c:pt idx="18675">
                  <c:v>42.854146141959902</c:v>
                </c:pt>
                <c:pt idx="18676">
                  <c:v>49.586073422743119</c:v>
                </c:pt>
                <c:pt idx="18677">
                  <c:v>29.144354055525866</c:v>
                </c:pt>
                <c:pt idx="18678">
                  <c:v>34.043782939349768</c:v>
                </c:pt>
                <c:pt idx="18679">
                  <c:v>24.629054048119045</c:v>
                </c:pt>
                <c:pt idx="18680">
                  <c:v>29.253840223796697</c:v>
                </c:pt>
                <c:pt idx="18681">
                  <c:v>26.140362201136544</c:v>
                </c:pt>
                <c:pt idx="18682">
                  <c:v>32.952126728305032</c:v>
                </c:pt>
                <c:pt idx="18683">
                  <c:v>25.677491493876357</c:v>
                </c:pt>
                <c:pt idx="18684">
                  <c:v>25.715973388237853</c:v>
                </c:pt>
                <c:pt idx="18685">
                  <c:v>30.74529075689729</c:v>
                </c:pt>
                <c:pt idx="18686">
                  <c:v>26.43951905198718</c:v>
                </c:pt>
                <c:pt idx="18687">
                  <c:v>22.155490786213615</c:v>
                </c:pt>
                <c:pt idx="18688">
                  <c:v>52.471731441450984</c:v>
                </c:pt>
                <c:pt idx="18689">
                  <c:v>31.186946336750431</c:v>
                </c:pt>
                <c:pt idx="18690">
                  <c:v>24.432379421261238</c:v>
                </c:pt>
                <c:pt idx="18691">
                  <c:v>47.65644958245926</c:v>
                </c:pt>
                <c:pt idx="18692">
                  <c:v>28.953426426846399</c:v>
                </c:pt>
                <c:pt idx="18693">
                  <c:v>37.258284793155099</c:v>
                </c:pt>
                <c:pt idx="18694">
                  <c:v>26.217418973838964</c:v>
                </c:pt>
                <c:pt idx="18695">
                  <c:v>16.431357154298968</c:v>
                </c:pt>
                <c:pt idx="18696">
                  <c:v>48.409512291195455</c:v>
                </c:pt>
                <c:pt idx="18697">
                  <c:v>19.717695168628552</c:v>
                </c:pt>
                <c:pt idx="18698">
                  <c:v>40.466056711122114</c:v>
                </c:pt>
                <c:pt idx="18699">
                  <c:v>31.834962585001463</c:v>
                </c:pt>
                <c:pt idx="18700">
                  <c:v>27.48663982435659</c:v>
                </c:pt>
                <c:pt idx="18701">
                  <c:v>35.197277501906129</c:v>
                </c:pt>
                <c:pt idx="18702">
                  <c:v>23.261608516550783</c:v>
                </c:pt>
                <c:pt idx="18703">
                  <c:v>29.863782836845559</c:v>
                </c:pt>
                <c:pt idx="18704">
                  <c:v>34.81430916971356</c:v>
                </c:pt>
                <c:pt idx="18705">
                  <c:v>28.743420425051958</c:v>
                </c:pt>
                <c:pt idx="18706">
                  <c:v>50.243929061842579</c:v>
                </c:pt>
                <c:pt idx="18707">
                  <c:v>26.647554382062388</c:v>
                </c:pt>
                <c:pt idx="18708">
                  <c:v>27.747131660235496</c:v>
                </c:pt>
                <c:pt idx="18709">
                  <c:v>28.872362562765638</c:v>
                </c:pt>
                <c:pt idx="18710">
                  <c:v>46.510398122390299</c:v>
                </c:pt>
                <c:pt idx="18711">
                  <c:v>32.204265280421623</c:v>
                </c:pt>
                <c:pt idx="18712">
                  <c:v>30.054801829842035</c:v>
                </c:pt>
                <c:pt idx="18713">
                  <c:v>39.570556957549513</c:v>
                </c:pt>
                <c:pt idx="18714">
                  <c:v>26.495497720921932</c:v>
                </c:pt>
                <c:pt idx="18715">
                  <c:v>36.703620426355137</c:v>
                </c:pt>
                <c:pt idx="18716">
                  <c:v>21.420832747670637</c:v>
                </c:pt>
                <c:pt idx="18717">
                  <c:v>32.069017720896106</c:v>
                </c:pt>
                <c:pt idx="18718">
                  <c:v>29.173979811217272</c:v>
                </c:pt>
                <c:pt idx="18719">
                  <c:v>26.637649653511598</c:v>
                </c:pt>
                <c:pt idx="18720">
                  <c:v>20.96817911899786</c:v>
                </c:pt>
                <c:pt idx="18721">
                  <c:v>25.68743714104486</c:v>
                </c:pt>
                <c:pt idx="18722">
                  <c:v>25.469866330973865</c:v>
                </c:pt>
                <c:pt idx="18723">
                  <c:v>33.309676736134598</c:v>
                </c:pt>
                <c:pt idx="18724">
                  <c:v>32.397825691159795</c:v>
                </c:pt>
                <c:pt idx="18725">
                  <c:v>41.766089719074856</c:v>
                </c:pt>
                <c:pt idx="18726">
                  <c:v>21.761622995551868</c:v>
                </c:pt>
                <c:pt idx="18727">
                  <c:v>46.557589443405902</c:v>
                </c:pt>
                <c:pt idx="18728">
                  <c:v>24.961207924047827</c:v>
                </c:pt>
                <c:pt idx="18729">
                  <c:v>24.467379672087436</c:v>
                </c:pt>
                <c:pt idx="18730">
                  <c:v>26.506941444964781</c:v>
                </c:pt>
                <c:pt idx="18731">
                  <c:v>26.245320555817944</c:v>
                </c:pt>
                <c:pt idx="18732">
                  <c:v>22.553589359255668</c:v>
                </c:pt>
                <c:pt idx="18733">
                  <c:v>29.590157094015836</c:v>
                </c:pt>
                <c:pt idx="18734">
                  <c:v>33.313651444095257</c:v>
                </c:pt>
                <c:pt idx="18735">
                  <c:v>22.614787285567559</c:v>
                </c:pt>
                <c:pt idx="18736">
                  <c:v>34.496172276224463</c:v>
                </c:pt>
                <c:pt idx="18737">
                  <c:v>59.322098223008261</c:v>
                </c:pt>
                <c:pt idx="18738">
                  <c:v>52.59780768837598</c:v>
                </c:pt>
                <c:pt idx="18739">
                  <c:v>28.196505789623128</c:v>
                </c:pt>
                <c:pt idx="18740">
                  <c:v>27.744958042984415</c:v>
                </c:pt>
                <c:pt idx="18741">
                  <c:v>37.216544192141953</c:v>
                </c:pt>
                <c:pt idx="18742">
                  <c:v>30.427653358840541</c:v>
                </c:pt>
                <c:pt idx="18743">
                  <c:v>29.289241805911225</c:v>
                </c:pt>
                <c:pt idx="18744">
                  <c:v>18.209923777107914</c:v>
                </c:pt>
                <c:pt idx="18745">
                  <c:v>23.887643565205561</c:v>
                </c:pt>
                <c:pt idx="18746">
                  <c:v>19.660333001102686</c:v>
                </c:pt>
                <c:pt idx="18747">
                  <c:v>26.822407477626925</c:v>
                </c:pt>
                <c:pt idx="18748">
                  <c:v>24.199048199519865</c:v>
                </c:pt>
                <c:pt idx="18749">
                  <c:v>16.293631012291613</c:v>
                </c:pt>
                <c:pt idx="18750">
                  <c:v>18.530748557157494</c:v>
                </c:pt>
                <c:pt idx="18751">
                  <c:v>24.524954623555004</c:v>
                </c:pt>
                <c:pt idx="18752">
                  <c:v>26.727986968538172</c:v>
                </c:pt>
                <c:pt idx="18753">
                  <c:v>29.344782212668807</c:v>
                </c:pt>
                <c:pt idx="18754">
                  <c:v>31.402341630524692</c:v>
                </c:pt>
                <c:pt idx="18755">
                  <c:v>22.180612942819543</c:v>
                </c:pt>
                <c:pt idx="18756">
                  <c:v>26.862797249935866</c:v>
                </c:pt>
                <c:pt idx="18757">
                  <c:v>22.505271578368948</c:v>
                </c:pt>
                <c:pt idx="18758">
                  <c:v>24.079978654172432</c:v>
                </c:pt>
                <c:pt idx="18759">
                  <c:v>29.628700904511867</c:v>
                </c:pt>
                <c:pt idx="18760">
                  <c:v>34.883247789959015</c:v>
                </c:pt>
                <c:pt idx="18761">
                  <c:v>25.194987139261144</c:v>
                </c:pt>
                <c:pt idx="18762">
                  <c:v>22.869439624974436</c:v>
                </c:pt>
                <c:pt idx="18763">
                  <c:v>29.982990425694425</c:v>
                </c:pt>
                <c:pt idx="18764">
                  <c:v>20.367422462209365</c:v>
                </c:pt>
                <c:pt idx="18765">
                  <c:v>46.360564461459077</c:v>
                </c:pt>
                <c:pt idx="18766">
                  <c:v>19.918573342634637</c:v>
                </c:pt>
                <c:pt idx="18767">
                  <c:v>29.632285730836607</c:v>
                </c:pt>
                <c:pt idx="18768">
                  <c:v>23.353560325822649</c:v>
                </c:pt>
                <c:pt idx="18769">
                  <c:v>52.1815390020883</c:v>
                </c:pt>
                <c:pt idx="18770">
                  <c:v>21.923375547847826</c:v>
                </c:pt>
                <c:pt idx="18771">
                  <c:v>21.185345975729792</c:v>
                </c:pt>
                <c:pt idx="18772">
                  <c:v>23.935989828135231</c:v>
                </c:pt>
                <c:pt idx="18773">
                  <c:v>30.698784860378211</c:v>
                </c:pt>
                <c:pt idx="18774">
                  <c:v>40.053972818694611</c:v>
                </c:pt>
                <c:pt idx="18775">
                  <c:v>31.789187171919444</c:v>
                </c:pt>
                <c:pt idx="18776">
                  <c:v>50.70032284433028</c:v>
                </c:pt>
                <c:pt idx="18777">
                  <c:v>19.434609040941549</c:v>
                </c:pt>
                <c:pt idx="18778">
                  <c:v>27.939613434428122</c:v>
                </c:pt>
                <c:pt idx="18779">
                  <c:v>27.911654336382512</c:v>
                </c:pt>
                <c:pt idx="18780">
                  <c:v>41.999743930372453</c:v>
                </c:pt>
                <c:pt idx="18781">
                  <c:v>43.95968424945886</c:v>
                </c:pt>
                <c:pt idx="18782">
                  <c:v>26.90025571104967</c:v>
                </c:pt>
                <c:pt idx="18783">
                  <c:v>27.371574375429343</c:v>
                </c:pt>
                <c:pt idx="18784">
                  <c:v>49.125777802921512</c:v>
                </c:pt>
                <c:pt idx="18785">
                  <c:v>60.26248588449328</c:v>
                </c:pt>
                <c:pt idx="18786">
                  <c:v>32.021376408487519</c:v>
                </c:pt>
                <c:pt idx="18787">
                  <c:v>29.92978860062701</c:v>
                </c:pt>
                <c:pt idx="18788">
                  <c:v>55.53818504120165</c:v>
                </c:pt>
                <c:pt idx="18789">
                  <c:v>28.808725239469727</c:v>
                </c:pt>
                <c:pt idx="18790">
                  <c:v>28.171210187269704</c:v>
                </c:pt>
                <c:pt idx="18791">
                  <c:v>19.06619620603367</c:v>
                </c:pt>
                <c:pt idx="18792">
                  <c:v>22.846438157565199</c:v>
                </c:pt>
                <c:pt idx="18793">
                  <c:v>23.380390634067812</c:v>
                </c:pt>
                <c:pt idx="18794">
                  <c:v>27.184077009691791</c:v>
                </c:pt>
                <c:pt idx="18795">
                  <c:v>25.646100421013308</c:v>
                </c:pt>
                <c:pt idx="18796">
                  <c:v>36.132507179810204</c:v>
                </c:pt>
                <c:pt idx="18797">
                  <c:v>28.190828681090871</c:v>
                </c:pt>
                <c:pt idx="18798">
                  <c:v>24.937969189464987</c:v>
                </c:pt>
                <c:pt idx="18799">
                  <c:v>36.189246767721919</c:v>
                </c:pt>
                <c:pt idx="18800">
                  <c:v>40.017676373448488</c:v>
                </c:pt>
                <c:pt idx="18801">
                  <c:v>27.890091323748504</c:v>
                </c:pt>
                <c:pt idx="18802">
                  <c:v>23.724678415746109</c:v>
                </c:pt>
                <c:pt idx="18803">
                  <c:v>43.487137442333307</c:v>
                </c:pt>
                <c:pt idx="18804">
                  <c:v>22.239224630798962</c:v>
                </c:pt>
                <c:pt idx="18805">
                  <c:v>21.441263640817347</c:v>
                </c:pt>
                <c:pt idx="18806">
                  <c:v>20.394447220047077</c:v>
                </c:pt>
                <c:pt idx="18807">
                  <c:v>30.910543692113894</c:v>
                </c:pt>
                <c:pt idx="18808">
                  <c:v>34.098046131826571</c:v>
                </c:pt>
                <c:pt idx="18809">
                  <c:v>39.342619649975092</c:v>
                </c:pt>
                <c:pt idx="18810">
                  <c:v>30.053177321143359</c:v>
                </c:pt>
                <c:pt idx="18811">
                  <c:v>28.584849964631726</c:v>
                </c:pt>
                <c:pt idx="18812">
                  <c:v>56.952457802618106</c:v>
                </c:pt>
                <c:pt idx="18813">
                  <c:v>35.656531945608336</c:v>
                </c:pt>
                <c:pt idx="18814">
                  <c:v>46.917007121527902</c:v>
                </c:pt>
                <c:pt idx="18815">
                  <c:v>26.501428859573533</c:v>
                </c:pt>
                <c:pt idx="18816">
                  <c:v>26.651049157558099</c:v>
                </c:pt>
                <c:pt idx="18817">
                  <c:v>26.895011121187139</c:v>
                </c:pt>
                <c:pt idx="18818">
                  <c:v>31.151016140540708</c:v>
                </c:pt>
                <c:pt idx="18819">
                  <c:v>48.664750111427821</c:v>
                </c:pt>
                <c:pt idx="18820">
                  <c:v>26.371266719114743</c:v>
                </c:pt>
                <c:pt idx="18821">
                  <c:v>32.738687837008477</c:v>
                </c:pt>
                <c:pt idx="18822">
                  <c:v>48.375437875502477</c:v>
                </c:pt>
                <c:pt idx="18823">
                  <c:v>28.052797759832885</c:v>
                </c:pt>
                <c:pt idx="18824">
                  <c:v>23.724897091851282</c:v>
                </c:pt>
                <c:pt idx="18825">
                  <c:v>24.411668435054541</c:v>
                </c:pt>
                <c:pt idx="18826">
                  <c:v>20.362202763682934</c:v>
                </c:pt>
                <c:pt idx="18827">
                  <c:v>25.460421221009394</c:v>
                </c:pt>
                <c:pt idx="18828">
                  <c:v>49.211196456778637</c:v>
                </c:pt>
                <c:pt idx="18829">
                  <c:v>30.203414994568504</c:v>
                </c:pt>
                <c:pt idx="18830">
                  <c:v>20.270122685167685</c:v>
                </c:pt>
                <c:pt idx="18831">
                  <c:v>35.662297020788458</c:v>
                </c:pt>
                <c:pt idx="18832">
                  <c:v>29.688837046656843</c:v>
                </c:pt>
                <c:pt idx="18833">
                  <c:v>29.23885123122129</c:v>
                </c:pt>
                <c:pt idx="18834">
                  <c:v>32.437371803880531</c:v>
                </c:pt>
                <c:pt idx="18835">
                  <c:v>38.581365568440148</c:v>
                </c:pt>
                <c:pt idx="18836">
                  <c:v>26.130297148016577</c:v>
                </c:pt>
                <c:pt idx="18837">
                  <c:v>25.422459655919631</c:v>
                </c:pt>
                <c:pt idx="18838">
                  <c:v>26.157340926321815</c:v>
                </c:pt>
                <c:pt idx="18839">
                  <c:v>27.535468736641413</c:v>
                </c:pt>
                <c:pt idx="18840">
                  <c:v>20.120069010142377</c:v>
                </c:pt>
                <c:pt idx="18841">
                  <c:v>44.281888802005255</c:v>
                </c:pt>
                <c:pt idx="18842">
                  <c:v>25.810515143034333</c:v>
                </c:pt>
                <c:pt idx="18843">
                  <c:v>26.047209086071909</c:v>
                </c:pt>
                <c:pt idx="18844">
                  <c:v>28.707249492510432</c:v>
                </c:pt>
                <c:pt idx="18845">
                  <c:v>19.855920949282712</c:v>
                </c:pt>
                <c:pt idx="18846">
                  <c:v>31.737299376544637</c:v>
                </c:pt>
                <c:pt idx="18847">
                  <c:v>24.248302919458137</c:v>
                </c:pt>
                <c:pt idx="18848">
                  <c:v>34.963008284933501</c:v>
                </c:pt>
                <c:pt idx="18849">
                  <c:v>25.587444192908087</c:v>
                </c:pt>
                <c:pt idx="18850">
                  <c:v>26.063231147053841</c:v>
                </c:pt>
                <c:pt idx="18851">
                  <c:v>20.854207077533033</c:v>
                </c:pt>
                <c:pt idx="18852">
                  <c:v>30.728637134882156</c:v>
                </c:pt>
                <c:pt idx="18853">
                  <c:v>43.534738233422345</c:v>
                </c:pt>
                <c:pt idx="18854">
                  <c:v>44.995463322356684</c:v>
                </c:pt>
                <c:pt idx="18855">
                  <c:v>48.66976852558016</c:v>
                </c:pt>
                <c:pt idx="18856">
                  <c:v>30.874494960487844</c:v>
                </c:pt>
                <c:pt idx="18857">
                  <c:v>28.043850751711965</c:v>
                </c:pt>
                <c:pt idx="18858">
                  <c:v>23.961855866936283</c:v>
                </c:pt>
                <c:pt idx="18859">
                  <c:v>18.60051826601007</c:v>
                </c:pt>
                <c:pt idx="18860">
                  <c:v>42.866644990662394</c:v>
                </c:pt>
                <c:pt idx="18861">
                  <c:v>25.860323639258681</c:v>
                </c:pt>
                <c:pt idx="18862">
                  <c:v>36.149754393305585</c:v>
                </c:pt>
                <c:pt idx="18863">
                  <c:v>58.110933711471596</c:v>
                </c:pt>
                <c:pt idx="18864">
                  <c:v>42.636937495353834</c:v>
                </c:pt>
                <c:pt idx="18865">
                  <c:v>34.607886094222053</c:v>
                </c:pt>
                <c:pt idx="18866">
                  <c:v>50.692469757977804</c:v>
                </c:pt>
                <c:pt idx="18867">
                  <c:v>30.462248519078173</c:v>
                </c:pt>
                <c:pt idx="18868">
                  <c:v>25.154480188721251</c:v>
                </c:pt>
                <c:pt idx="18869">
                  <c:v>24.842984170316363</c:v>
                </c:pt>
                <c:pt idx="18870">
                  <c:v>24.985541445548947</c:v>
                </c:pt>
                <c:pt idx="18871">
                  <c:v>30.591784761812043</c:v>
                </c:pt>
                <c:pt idx="18872">
                  <c:v>39.284112607525152</c:v>
                </c:pt>
                <c:pt idx="18873">
                  <c:v>28.988170578332024</c:v>
                </c:pt>
                <c:pt idx="18874">
                  <c:v>20.101381567716079</c:v>
                </c:pt>
                <c:pt idx="18875">
                  <c:v>29.268866071994207</c:v>
                </c:pt>
                <c:pt idx="18876">
                  <c:v>43.937243453440146</c:v>
                </c:pt>
                <c:pt idx="18877">
                  <c:v>31.488908066156132</c:v>
                </c:pt>
                <c:pt idx="18878">
                  <c:v>33.341887117386719</c:v>
                </c:pt>
                <c:pt idx="18879">
                  <c:v>25.295846946917592</c:v>
                </c:pt>
                <c:pt idx="18880">
                  <c:v>25.814314427257813</c:v>
                </c:pt>
                <c:pt idx="18881">
                  <c:v>29.081829546586533</c:v>
                </c:pt>
                <c:pt idx="18882">
                  <c:v>29.029888995606036</c:v>
                </c:pt>
                <c:pt idx="18883">
                  <c:v>54.053193935704236</c:v>
                </c:pt>
                <c:pt idx="18884">
                  <c:v>22.981377204426828</c:v>
                </c:pt>
                <c:pt idx="18885">
                  <c:v>25.652589099730509</c:v>
                </c:pt>
                <c:pt idx="18886">
                  <c:v>59.598439996237794</c:v>
                </c:pt>
                <c:pt idx="18887">
                  <c:v>30.855033258528344</c:v>
                </c:pt>
                <c:pt idx="18888">
                  <c:v>41.430603997337663</c:v>
                </c:pt>
                <c:pt idx="18889">
                  <c:v>16.071791375352479</c:v>
                </c:pt>
                <c:pt idx="18890">
                  <c:v>24.465600686006688</c:v>
                </c:pt>
                <c:pt idx="18891">
                  <c:v>43.125555723521103</c:v>
                </c:pt>
                <c:pt idx="18892">
                  <c:v>33.386174459470837</c:v>
                </c:pt>
                <c:pt idx="18893">
                  <c:v>39.104349305854669</c:v>
                </c:pt>
                <c:pt idx="18894">
                  <c:v>26.35592014598495</c:v>
                </c:pt>
                <c:pt idx="18895">
                  <c:v>43.586824843217023</c:v>
                </c:pt>
                <c:pt idx="18896">
                  <c:v>28.078743343140459</c:v>
                </c:pt>
                <c:pt idx="18897">
                  <c:v>31.310120611462196</c:v>
                </c:pt>
                <c:pt idx="18898">
                  <c:v>35.846894639789191</c:v>
                </c:pt>
                <c:pt idx="18899">
                  <c:v>32.241736208271476</c:v>
                </c:pt>
                <c:pt idx="18900">
                  <c:v>30.04602601665864</c:v>
                </c:pt>
                <c:pt idx="18901">
                  <c:v>18.393986892270146</c:v>
                </c:pt>
                <c:pt idx="18902">
                  <c:v>38.530121056088134</c:v>
                </c:pt>
                <c:pt idx="18903">
                  <c:v>20.92528065100494</c:v>
                </c:pt>
                <c:pt idx="18904">
                  <c:v>31.467242797059598</c:v>
                </c:pt>
                <c:pt idx="18905">
                  <c:v>24.289518278498541</c:v>
                </c:pt>
                <c:pt idx="18906">
                  <c:v>20.441483909987525</c:v>
                </c:pt>
                <c:pt idx="18907">
                  <c:v>27.37275317428232</c:v>
                </c:pt>
                <c:pt idx="18908">
                  <c:v>24.626848944332195</c:v>
                </c:pt>
                <c:pt idx="18909">
                  <c:v>36.781851839050717</c:v>
                </c:pt>
                <c:pt idx="18910">
                  <c:v>53.779924333805887</c:v>
                </c:pt>
                <c:pt idx="18911">
                  <c:v>39.25297014857621</c:v>
                </c:pt>
                <c:pt idx="18912">
                  <c:v>30.962114553440291</c:v>
                </c:pt>
                <c:pt idx="18913">
                  <c:v>26.044657455218921</c:v>
                </c:pt>
                <c:pt idx="18914">
                  <c:v>28.177376308490739</c:v>
                </c:pt>
                <c:pt idx="18915">
                  <c:v>36.434677860732194</c:v>
                </c:pt>
                <c:pt idx="18916">
                  <c:v>27.286738349363233</c:v>
                </c:pt>
                <c:pt idx="18917">
                  <c:v>28.616491100327181</c:v>
                </c:pt>
                <c:pt idx="18918">
                  <c:v>31.522040150295766</c:v>
                </c:pt>
                <c:pt idx="18919">
                  <c:v>17.371164410769904</c:v>
                </c:pt>
                <c:pt idx="18920">
                  <c:v>34.468539474365421</c:v>
                </c:pt>
                <c:pt idx="18921">
                  <c:v>31.408412491211553</c:v>
                </c:pt>
                <c:pt idx="18922">
                  <c:v>22.77409854032944</c:v>
                </c:pt>
                <c:pt idx="18923">
                  <c:v>23.047744226354219</c:v>
                </c:pt>
                <c:pt idx="18924">
                  <c:v>46.167311965329382</c:v>
                </c:pt>
                <c:pt idx="18925">
                  <c:v>29.254376057886823</c:v>
                </c:pt>
                <c:pt idx="18926">
                  <c:v>25.934121289063235</c:v>
                </c:pt>
                <c:pt idx="18927">
                  <c:v>20.468482959124451</c:v>
                </c:pt>
                <c:pt idx="18928">
                  <c:v>30.925572489947545</c:v>
                </c:pt>
                <c:pt idx="18929">
                  <c:v>20.67203615747594</c:v>
                </c:pt>
                <c:pt idx="18930">
                  <c:v>25.756179747049334</c:v>
                </c:pt>
                <c:pt idx="18931">
                  <c:v>37.760409202311088</c:v>
                </c:pt>
                <c:pt idx="18932">
                  <c:v>43.321381412347598</c:v>
                </c:pt>
                <c:pt idx="18933">
                  <c:v>34.642772505032738</c:v>
                </c:pt>
                <c:pt idx="18934">
                  <c:v>24.337903661691588</c:v>
                </c:pt>
                <c:pt idx="18935">
                  <c:v>33.355452807671064</c:v>
                </c:pt>
                <c:pt idx="18936">
                  <c:v>45.89222610820508</c:v>
                </c:pt>
                <c:pt idx="18937">
                  <c:v>35.524630807858259</c:v>
                </c:pt>
                <c:pt idx="18938">
                  <c:v>34.071523649073249</c:v>
                </c:pt>
                <c:pt idx="18939">
                  <c:v>24.478549751064048</c:v>
                </c:pt>
                <c:pt idx="18940">
                  <c:v>55.796365985165728</c:v>
                </c:pt>
                <c:pt idx="18941">
                  <c:v>44.151456318622344</c:v>
                </c:pt>
                <c:pt idx="18942">
                  <c:v>31.110038174821241</c:v>
                </c:pt>
                <c:pt idx="18943">
                  <c:v>25.845896720571538</c:v>
                </c:pt>
                <c:pt idx="18944">
                  <c:v>31.896494620854909</c:v>
                </c:pt>
                <c:pt idx="18945">
                  <c:v>25.76569302217117</c:v>
                </c:pt>
                <c:pt idx="18946">
                  <c:v>26.595104137460105</c:v>
                </c:pt>
                <c:pt idx="18947">
                  <c:v>29.681245092751446</c:v>
                </c:pt>
                <c:pt idx="18948">
                  <c:v>36.167472666186214</c:v>
                </c:pt>
                <c:pt idx="18949">
                  <c:v>34.478874335796</c:v>
                </c:pt>
                <c:pt idx="18950">
                  <c:v>26.212394205741077</c:v>
                </c:pt>
                <c:pt idx="18951">
                  <c:v>30.728629189712084</c:v>
                </c:pt>
                <c:pt idx="18952">
                  <c:v>27.198979509491689</c:v>
                </c:pt>
                <c:pt idx="18953">
                  <c:v>22.981806083535748</c:v>
                </c:pt>
                <c:pt idx="18954">
                  <c:v>25.984478853514048</c:v>
                </c:pt>
                <c:pt idx="18955">
                  <c:v>38.949723886892926</c:v>
                </c:pt>
                <c:pt idx="18956">
                  <c:v>27.26477269334346</c:v>
                </c:pt>
                <c:pt idx="18957">
                  <c:v>30.52085529158996</c:v>
                </c:pt>
                <c:pt idx="18958">
                  <c:v>27.632992143174707</c:v>
                </c:pt>
                <c:pt idx="18959">
                  <c:v>37.53231378725927</c:v>
                </c:pt>
                <c:pt idx="18960">
                  <c:v>32.490064277202592</c:v>
                </c:pt>
                <c:pt idx="18961">
                  <c:v>37.746364379274148</c:v>
                </c:pt>
                <c:pt idx="18962">
                  <c:v>31.199614809629239</c:v>
                </c:pt>
                <c:pt idx="18963">
                  <c:v>20.298293083689988</c:v>
                </c:pt>
                <c:pt idx="18964">
                  <c:v>33.883130185023433</c:v>
                </c:pt>
                <c:pt idx="18965">
                  <c:v>50.552459261854523</c:v>
                </c:pt>
                <c:pt idx="18966">
                  <c:v>54.791734210541648</c:v>
                </c:pt>
                <c:pt idx="18967">
                  <c:v>28.341775553479899</c:v>
                </c:pt>
                <c:pt idx="18968">
                  <c:v>33.837400930326559</c:v>
                </c:pt>
                <c:pt idx="18969">
                  <c:v>27.432883669210909</c:v>
                </c:pt>
                <c:pt idx="18970">
                  <c:v>34.078519171602714</c:v>
                </c:pt>
                <c:pt idx="18971">
                  <c:v>27.148548638361369</c:v>
                </c:pt>
                <c:pt idx="18972">
                  <c:v>26.007896519774775</c:v>
                </c:pt>
                <c:pt idx="18973">
                  <c:v>20.915212183985751</c:v>
                </c:pt>
                <c:pt idx="18974">
                  <c:v>43.545031593721689</c:v>
                </c:pt>
                <c:pt idx="18975">
                  <c:v>24.221907752753683</c:v>
                </c:pt>
                <c:pt idx="18976">
                  <c:v>25.921210283445873</c:v>
                </c:pt>
                <c:pt idx="18977">
                  <c:v>48.131887052838579</c:v>
                </c:pt>
                <c:pt idx="18978">
                  <c:v>34.499739118666149</c:v>
                </c:pt>
                <c:pt idx="18979">
                  <c:v>24.508542826025376</c:v>
                </c:pt>
                <c:pt idx="18980">
                  <c:v>31.367025352726376</c:v>
                </c:pt>
                <c:pt idx="18981">
                  <c:v>37.571647858116137</c:v>
                </c:pt>
                <c:pt idx="18982">
                  <c:v>27.995321046132005</c:v>
                </c:pt>
                <c:pt idx="18983">
                  <c:v>40.403417391001987</c:v>
                </c:pt>
                <c:pt idx="18984">
                  <c:v>22.526991400123499</c:v>
                </c:pt>
                <c:pt idx="18985">
                  <c:v>37.127491563107704</c:v>
                </c:pt>
                <c:pt idx="18986">
                  <c:v>24.88410637923787</c:v>
                </c:pt>
                <c:pt idx="18987">
                  <c:v>46.668548973715396</c:v>
                </c:pt>
                <c:pt idx="18988">
                  <c:v>26.538587127893209</c:v>
                </c:pt>
                <c:pt idx="18989">
                  <c:v>46.913618079410035</c:v>
                </c:pt>
                <c:pt idx="18990">
                  <c:v>25.369573225051678</c:v>
                </c:pt>
                <c:pt idx="18991">
                  <c:v>41.682385058748814</c:v>
                </c:pt>
                <c:pt idx="18992">
                  <c:v>23.65674414970875</c:v>
                </c:pt>
                <c:pt idx="18993">
                  <c:v>33.854619706927636</c:v>
                </c:pt>
                <c:pt idx="18994">
                  <c:v>27.959417247488087</c:v>
                </c:pt>
                <c:pt idx="18995">
                  <c:v>27.881466846776448</c:v>
                </c:pt>
                <c:pt idx="18996">
                  <c:v>44.011078037648765</c:v>
                </c:pt>
                <c:pt idx="18997">
                  <c:v>38.003511686778367</c:v>
                </c:pt>
                <c:pt idx="18998">
                  <c:v>39.832363992183943</c:v>
                </c:pt>
                <c:pt idx="18999">
                  <c:v>19.33108248491838</c:v>
                </c:pt>
                <c:pt idx="19000">
                  <c:v>23.914292959869123</c:v>
                </c:pt>
                <c:pt idx="19001">
                  <c:v>36.35352097413729</c:v>
                </c:pt>
                <c:pt idx="19002">
                  <c:v>43.203694483185117</c:v>
                </c:pt>
                <c:pt idx="19003">
                  <c:v>29.025564929717774</c:v>
                </c:pt>
                <c:pt idx="19004">
                  <c:v>31.760807108666157</c:v>
                </c:pt>
                <c:pt idx="19005">
                  <c:v>26.933734684289657</c:v>
                </c:pt>
                <c:pt idx="19006">
                  <c:v>28.826249613764098</c:v>
                </c:pt>
                <c:pt idx="19007">
                  <c:v>41.381878469950593</c:v>
                </c:pt>
                <c:pt idx="19008">
                  <c:v>55.347898386623413</c:v>
                </c:pt>
                <c:pt idx="19009">
                  <c:v>27.567443545502115</c:v>
                </c:pt>
                <c:pt idx="19010">
                  <c:v>22.111869479439282</c:v>
                </c:pt>
                <c:pt idx="19011">
                  <c:v>33.105522966045875</c:v>
                </c:pt>
                <c:pt idx="19012">
                  <c:v>23.524293002897107</c:v>
                </c:pt>
                <c:pt idx="19013">
                  <c:v>27.504039612873186</c:v>
                </c:pt>
                <c:pt idx="19014">
                  <c:v>30.61417673526342</c:v>
                </c:pt>
                <c:pt idx="19015">
                  <c:v>32.303781113697795</c:v>
                </c:pt>
                <c:pt idx="19016">
                  <c:v>20.6928659765777</c:v>
                </c:pt>
                <c:pt idx="19017">
                  <c:v>25.577512800846499</c:v>
                </c:pt>
                <c:pt idx="19018">
                  <c:v>42.765299245991727</c:v>
                </c:pt>
                <c:pt idx="19019">
                  <c:v>32.553843822069695</c:v>
                </c:pt>
                <c:pt idx="19020">
                  <c:v>29.349249606222411</c:v>
                </c:pt>
                <c:pt idx="19021">
                  <c:v>38.758274002438533</c:v>
                </c:pt>
                <c:pt idx="19022">
                  <c:v>35.959548529052412</c:v>
                </c:pt>
                <c:pt idx="19023">
                  <c:v>27.763795815109042</c:v>
                </c:pt>
                <c:pt idx="19024">
                  <c:v>52.433953746012989</c:v>
                </c:pt>
                <c:pt idx="19025">
                  <c:v>56.427367939813472</c:v>
                </c:pt>
                <c:pt idx="19026">
                  <c:v>31.674413905187109</c:v>
                </c:pt>
                <c:pt idx="19027">
                  <c:v>42.065896744836088</c:v>
                </c:pt>
                <c:pt idx="19028">
                  <c:v>25.82015242896977</c:v>
                </c:pt>
                <c:pt idx="19029">
                  <c:v>24.265484106171492</c:v>
                </c:pt>
                <c:pt idx="19030">
                  <c:v>29.617671269853467</c:v>
                </c:pt>
                <c:pt idx="19031">
                  <c:v>49.126907528927909</c:v>
                </c:pt>
                <c:pt idx="19032">
                  <c:v>42.035487457088536</c:v>
                </c:pt>
                <c:pt idx="19033">
                  <c:v>22.343046733166087</c:v>
                </c:pt>
                <c:pt idx="19034">
                  <c:v>19.32347003565469</c:v>
                </c:pt>
                <c:pt idx="19035">
                  <c:v>29.81685023491881</c:v>
                </c:pt>
                <c:pt idx="19036">
                  <c:v>46.734026641518376</c:v>
                </c:pt>
                <c:pt idx="19037">
                  <c:v>30.465082824871658</c:v>
                </c:pt>
                <c:pt idx="19038">
                  <c:v>53.386112403673238</c:v>
                </c:pt>
                <c:pt idx="19039">
                  <c:v>43.083850215458874</c:v>
                </c:pt>
                <c:pt idx="19040">
                  <c:v>34.373828508555725</c:v>
                </c:pt>
                <c:pt idx="19041">
                  <c:v>27.128544047482535</c:v>
                </c:pt>
                <c:pt idx="19042">
                  <c:v>43.556319903353</c:v>
                </c:pt>
                <c:pt idx="19043">
                  <c:v>23.814448174356194</c:v>
                </c:pt>
                <c:pt idx="19044">
                  <c:v>46.72688128539184</c:v>
                </c:pt>
                <c:pt idx="19045">
                  <c:v>23.606727950394983</c:v>
                </c:pt>
                <c:pt idx="19046">
                  <c:v>24.235032586415109</c:v>
                </c:pt>
                <c:pt idx="19047">
                  <c:v>30.138534158509174</c:v>
                </c:pt>
                <c:pt idx="19048">
                  <c:v>35.458909376443906</c:v>
                </c:pt>
                <c:pt idx="19049">
                  <c:v>23.504657932970996</c:v>
                </c:pt>
                <c:pt idx="19050">
                  <c:v>50.193030760452778</c:v>
                </c:pt>
                <c:pt idx="19051">
                  <c:v>28.909467998635222</c:v>
                </c:pt>
                <c:pt idx="19052">
                  <c:v>32.316230565125572</c:v>
                </c:pt>
                <c:pt idx="19053">
                  <c:v>23.421777745855177</c:v>
                </c:pt>
                <c:pt idx="19054">
                  <c:v>23.47296652482283</c:v>
                </c:pt>
                <c:pt idx="19055">
                  <c:v>22.402488806718061</c:v>
                </c:pt>
                <c:pt idx="19056">
                  <c:v>35.641270565310634</c:v>
                </c:pt>
                <c:pt idx="19057">
                  <c:v>25.991591791242897</c:v>
                </c:pt>
                <c:pt idx="19058">
                  <c:v>37.903854850952015</c:v>
                </c:pt>
                <c:pt idx="19059">
                  <c:v>26.07222505297095</c:v>
                </c:pt>
                <c:pt idx="19060">
                  <c:v>37.696649337499636</c:v>
                </c:pt>
                <c:pt idx="19061">
                  <c:v>29.485470375936806</c:v>
                </c:pt>
                <c:pt idx="19062">
                  <c:v>50.771183487175122</c:v>
                </c:pt>
                <c:pt idx="19063">
                  <c:v>22.122058020670334</c:v>
                </c:pt>
                <c:pt idx="19064">
                  <c:v>34.227460555450008</c:v>
                </c:pt>
                <c:pt idx="19065">
                  <c:v>33.761016452452736</c:v>
                </c:pt>
                <c:pt idx="19066">
                  <c:v>49.624827599704176</c:v>
                </c:pt>
                <c:pt idx="19067">
                  <c:v>39.276270512548429</c:v>
                </c:pt>
                <c:pt idx="19068">
                  <c:v>27.656887414274529</c:v>
                </c:pt>
                <c:pt idx="19069">
                  <c:v>49.199338262675255</c:v>
                </c:pt>
                <c:pt idx="19070">
                  <c:v>22.733835674060341</c:v>
                </c:pt>
                <c:pt idx="19071">
                  <c:v>54.854302288909906</c:v>
                </c:pt>
                <c:pt idx="19072">
                  <c:v>16.1422204429103</c:v>
                </c:pt>
                <c:pt idx="19073">
                  <c:v>21.807610237979087</c:v>
                </c:pt>
                <c:pt idx="19074">
                  <c:v>20.974278011687034</c:v>
                </c:pt>
                <c:pt idx="19075">
                  <c:v>25.994289227296406</c:v>
                </c:pt>
                <c:pt idx="19076">
                  <c:v>28.125784610661569</c:v>
                </c:pt>
                <c:pt idx="19077">
                  <c:v>44.888118567459571</c:v>
                </c:pt>
                <c:pt idx="19078">
                  <c:v>24.660193908457604</c:v>
                </c:pt>
                <c:pt idx="19079">
                  <c:v>28.418335738569461</c:v>
                </c:pt>
                <c:pt idx="19080">
                  <c:v>36.541723655875799</c:v>
                </c:pt>
                <c:pt idx="19081">
                  <c:v>28.658599349965122</c:v>
                </c:pt>
                <c:pt idx="19082">
                  <c:v>25.237587014644895</c:v>
                </c:pt>
                <c:pt idx="19083">
                  <c:v>27.181691283077726</c:v>
                </c:pt>
                <c:pt idx="19084">
                  <c:v>44.783104762143921</c:v>
                </c:pt>
                <c:pt idx="19085">
                  <c:v>39.979826383361427</c:v>
                </c:pt>
                <c:pt idx="19086">
                  <c:v>35.649210543921484</c:v>
                </c:pt>
                <c:pt idx="19087">
                  <c:v>24.200104012127174</c:v>
                </c:pt>
                <c:pt idx="19088">
                  <c:v>43.744490196113574</c:v>
                </c:pt>
                <c:pt idx="19089">
                  <c:v>40.617932911753783</c:v>
                </c:pt>
                <c:pt idx="19090">
                  <c:v>27.34712908291861</c:v>
                </c:pt>
                <c:pt idx="19091">
                  <c:v>25.578125996974659</c:v>
                </c:pt>
                <c:pt idx="19092">
                  <c:v>30.170011630950459</c:v>
                </c:pt>
                <c:pt idx="19093">
                  <c:v>22.503184079321528</c:v>
                </c:pt>
                <c:pt idx="19094">
                  <c:v>27.411284749427807</c:v>
                </c:pt>
                <c:pt idx="19095">
                  <c:v>39.75555601588237</c:v>
                </c:pt>
                <c:pt idx="19096">
                  <c:v>28.916702587838518</c:v>
                </c:pt>
                <c:pt idx="19097">
                  <c:v>25.430509588069107</c:v>
                </c:pt>
                <c:pt idx="19098">
                  <c:v>27.503767526523681</c:v>
                </c:pt>
                <c:pt idx="19099">
                  <c:v>36.889934925360187</c:v>
                </c:pt>
                <c:pt idx="19100">
                  <c:v>35.862610989076309</c:v>
                </c:pt>
                <c:pt idx="19101">
                  <c:v>27.942085250399831</c:v>
                </c:pt>
                <c:pt idx="19102">
                  <c:v>22.731387754729429</c:v>
                </c:pt>
                <c:pt idx="19103">
                  <c:v>29.685066302209208</c:v>
                </c:pt>
                <c:pt idx="19104">
                  <c:v>24.540718651395018</c:v>
                </c:pt>
                <c:pt idx="19105">
                  <c:v>29.893155551594219</c:v>
                </c:pt>
                <c:pt idx="19106">
                  <c:v>29.482591873536862</c:v>
                </c:pt>
                <c:pt idx="19107">
                  <c:v>55.741460574691082</c:v>
                </c:pt>
                <c:pt idx="19108">
                  <c:v>35.822616493863286</c:v>
                </c:pt>
                <c:pt idx="19109">
                  <c:v>35.548806165422739</c:v>
                </c:pt>
                <c:pt idx="19110">
                  <c:v>53.915426041132719</c:v>
                </c:pt>
                <c:pt idx="19111">
                  <c:v>31.047251970962208</c:v>
                </c:pt>
                <c:pt idx="19112">
                  <c:v>51.363622395044374</c:v>
                </c:pt>
                <c:pt idx="19113">
                  <c:v>24.785957043878941</c:v>
                </c:pt>
                <c:pt idx="19114">
                  <c:v>27.78835729323502</c:v>
                </c:pt>
                <c:pt idx="19115">
                  <c:v>46.501153805729125</c:v>
                </c:pt>
                <c:pt idx="19116">
                  <c:v>22.563083696078134</c:v>
                </c:pt>
                <c:pt idx="19117">
                  <c:v>25.390272633166319</c:v>
                </c:pt>
                <c:pt idx="19118">
                  <c:v>49.756218668315341</c:v>
                </c:pt>
                <c:pt idx="19119">
                  <c:v>26.843538830813301</c:v>
                </c:pt>
                <c:pt idx="19120">
                  <c:v>28.790511173616768</c:v>
                </c:pt>
                <c:pt idx="19121">
                  <c:v>32.619418273084854</c:v>
                </c:pt>
                <c:pt idx="19122">
                  <c:v>42.309836196559729</c:v>
                </c:pt>
                <c:pt idx="19123">
                  <c:v>52.106028690147781</c:v>
                </c:pt>
                <c:pt idx="19124">
                  <c:v>26.531051621384371</c:v>
                </c:pt>
                <c:pt idx="19125">
                  <c:v>28.938782918759166</c:v>
                </c:pt>
                <c:pt idx="19126">
                  <c:v>23.111317094079794</c:v>
                </c:pt>
                <c:pt idx="19127">
                  <c:v>25.077549138093808</c:v>
                </c:pt>
                <c:pt idx="19128">
                  <c:v>23.442661243466645</c:v>
                </c:pt>
                <c:pt idx="19129">
                  <c:v>41.967005608200886</c:v>
                </c:pt>
                <c:pt idx="19130">
                  <c:v>30.135019519370658</c:v>
                </c:pt>
                <c:pt idx="19131">
                  <c:v>24.6931398014355</c:v>
                </c:pt>
                <c:pt idx="19132">
                  <c:v>52.487968727554637</c:v>
                </c:pt>
                <c:pt idx="19133">
                  <c:v>34.180321268097515</c:v>
                </c:pt>
                <c:pt idx="19134">
                  <c:v>47.808541737341173</c:v>
                </c:pt>
                <c:pt idx="19135">
                  <c:v>49.777099731994959</c:v>
                </c:pt>
                <c:pt idx="19136">
                  <c:v>28.811185592185304</c:v>
                </c:pt>
                <c:pt idx="19137">
                  <c:v>37.309697078930832</c:v>
                </c:pt>
                <c:pt idx="19138">
                  <c:v>30.769836599631748</c:v>
                </c:pt>
                <c:pt idx="19139">
                  <c:v>28.626830797033282</c:v>
                </c:pt>
                <c:pt idx="19140">
                  <c:v>24.693059632608708</c:v>
                </c:pt>
                <c:pt idx="19141">
                  <c:v>23.305548794243528</c:v>
                </c:pt>
                <c:pt idx="19142">
                  <c:v>37.712581470710688</c:v>
                </c:pt>
                <c:pt idx="19143">
                  <c:v>35.240680831103433</c:v>
                </c:pt>
                <c:pt idx="19144">
                  <c:v>24.156641259011355</c:v>
                </c:pt>
                <c:pt idx="19145">
                  <c:v>23.293789087396632</c:v>
                </c:pt>
                <c:pt idx="19146">
                  <c:v>37.68883786849289</c:v>
                </c:pt>
                <c:pt idx="19147">
                  <c:v>25.023533661118734</c:v>
                </c:pt>
                <c:pt idx="19148">
                  <c:v>35.418456844253996</c:v>
                </c:pt>
                <c:pt idx="19149">
                  <c:v>26.482955189012593</c:v>
                </c:pt>
                <c:pt idx="19150">
                  <c:v>45.150039287360528</c:v>
                </c:pt>
                <c:pt idx="19151">
                  <c:v>23.133689785698536</c:v>
                </c:pt>
                <c:pt idx="19152">
                  <c:v>27.985198370717381</c:v>
                </c:pt>
                <c:pt idx="19153">
                  <c:v>18.357131000629813</c:v>
                </c:pt>
                <c:pt idx="19154">
                  <c:v>39.996648297529333</c:v>
                </c:pt>
                <c:pt idx="19155">
                  <c:v>52.210146347626768</c:v>
                </c:pt>
                <c:pt idx="19156">
                  <c:v>35.870767101385951</c:v>
                </c:pt>
                <c:pt idx="19157">
                  <c:v>23.279130194359279</c:v>
                </c:pt>
                <c:pt idx="19158">
                  <c:v>18.82080912982769</c:v>
                </c:pt>
                <c:pt idx="19159">
                  <c:v>38.3205376570072</c:v>
                </c:pt>
                <c:pt idx="19160">
                  <c:v>39.895477263316927</c:v>
                </c:pt>
                <c:pt idx="19161">
                  <c:v>25.425486807610049</c:v>
                </c:pt>
                <c:pt idx="19162">
                  <c:v>49.344210333134249</c:v>
                </c:pt>
                <c:pt idx="19163">
                  <c:v>33.830878865308478</c:v>
                </c:pt>
                <c:pt idx="19164">
                  <c:v>47.881640060624271</c:v>
                </c:pt>
                <c:pt idx="19165">
                  <c:v>32.604659978466373</c:v>
                </c:pt>
                <c:pt idx="19166">
                  <c:v>24.629527813226147</c:v>
                </c:pt>
                <c:pt idx="19167">
                  <c:v>53.755572166277652</c:v>
                </c:pt>
                <c:pt idx="19168">
                  <c:v>26.227995333164163</c:v>
                </c:pt>
                <c:pt idx="19169">
                  <c:v>18.179928075325343</c:v>
                </c:pt>
                <c:pt idx="19170">
                  <c:v>18.364453223759611</c:v>
                </c:pt>
                <c:pt idx="19171">
                  <c:v>33.375388101934824</c:v>
                </c:pt>
                <c:pt idx="19172">
                  <c:v>31.758373022210179</c:v>
                </c:pt>
                <c:pt idx="19173">
                  <c:v>18.666822402427389</c:v>
                </c:pt>
                <c:pt idx="19174">
                  <c:v>38.024988370709089</c:v>
                </c:pt>
                <c:pt idx="19175">
                  <c:v>37.173233250498257</c:v>
                </c:pt>
                <c:pt idx="19176">
                  <c:v>33.240887801316902</c:v>
                </c:pt>
                <c:pt idx="19177">
                  <c:v>36.093183580583585</c:v>
                </c:pt>
                <c:pt idx="19178">
                  <c:v>27.568417366120823</c:v>
                </c:pt>
                <c:pt idx="19179">
                  <c:v>26.991261362007293</c:v>
                </c:pt>
                <c:pt idx="19180">
                  <c:v>23.466675408886928</c:v>
                </c:pt>
                <c:pt idx="19181">
                  <c:v>53.975642071966178</c:v>
                </c:pt>
                <c:pt idx="19182">
                  <c:v>27.27978409114322</c:v>
                </c:pt>
                <c:pt idx="19183">
                  <c:v>27.154882229713643</c:v>
                </c:pt>
                <c:pt idx="19184">
                  <c:v>33.175390337742044</c:v>
                </c:pt>
                <c:pt idx="19185">
                  <c:v>32.961228242874952</c:v>
                </c:pt>
                <c:pt idx="19186">
                  <c:v>27.501150965723603</c:v>
                </c:pt>
                <c:pt idx="19187">
                  <c:v>30.51818653876343</c:v>
                </c:pt>
                <c:pt idx="19188">
                  <c:v>28.054114181517239</c:v>
                </c:pt>
                <c:pt idx="19189">
                  <c:v>29.909538096158983</c:v>
                </c:pt>
                <c:pt idx="19190">
                  <c:v>38.68876591781229</c:v>
                </c:pt>
                <c:pt idx="19191">
                  <c:v>21.474193220040632</c:v>
                </c:pt>
                <c:pt idx="19192">
                  <c:v>37.698630370386219</c:v>
                </c:pt>
                <c:pt idx="19193">
                  <c:v>49.345579211299651</c:v>
                </c:pt>
                <c:pt idx="19194">
                  <c:v>31.47368011117479</c:v>
                </c:pt>
                <c:pt idx="19195">
                  <c:v>23.97106402981899</c:v>
                </c:pt>
                <c:pt idx="19196">
                  <c:v>41.785672085773918</c:v>
                </c:pt>
                <c:pt idx="19197">
                  <c:v>26.764982201986481</c:v>
                </c:pt>
                <c:pt idx="19198">
                  <c:v>29.11130899051911</c:v>
                </c:pt>
                <c:pt idx="19199">
                  <c:v>29.001642378562106</c:v>
                </c:pt>
                <c:pt idx="19200">
                  <c:v>30.406222330248227</c:v>
                </c:pt>
                <c:pt idx="19201">
                  <c:v>34.533709709338375</c:v>
                </c:pt>
                <c:pt idx="19202">
                  <c:v>25.84389570598989</c:v>
                </c:pt>
                <c:pt idx="19203">
                  <c:v>20.500512937189747</c:v>
                </c:pt>
                <c:pt idx="19204">
                  <c:v>33.74090423644757</c:v>
                </c:pt>
                <c:pt idx="19205">
                  <c:v>24.596364712673846</c:v>
                </c:pt>
                <c:pt idx="19206">
                  <c:v>46.952837174618118</c:v>
                </c:pt>
                <c:pt idx="19207">
                  <c:v>20.521212777413872</c:v>
                </c:pt>
                <c:pt idx="19208">
                  <c:v>23.418105783272903</c:v>
                </c:pt>
                <c:pt idx="19209">
                  <c:v>31.269808725154014</c:v>
                </c:pt>
                <c:pt idx="19210">
                  <c:v>28.430637062478791</c:v>
                </c:pt>
                <c:pt idx="19211">
                  <c:v>19.356502368090624</c:v>
                </c:pt>
                <c:pt idx="19212">
                  <c:v>29.427370961629908</c:v>
                </c:pt>
                <c:pt idx="19213">
                  <c:v>48.557979838326801</c:v>
                </c:pt>
                <c:pt idx="19214">
                  <c:v>25.481814228868235</c:v>
                </c:pt>
                <c:pt idx="19215">
                  <c:v>27.634484137029919</c:v>
                </c:pt>
                <c:pt idx="19216">
                  <c:v>51.940337151647476</c:v>
                </c:pt>
                <c:pt idx="19217">
                  <c:v>48.740324107565272</c:v>
                </c:pt>
                <c:pt idx="19218">
                  <c:v>26.90765109011986</c:v>
                </c:pt>
                <c:pt idx="19219">
                  <c:v>27.195928010768405</c:v>
                </c:pt>
                <c:pt idx="19220">
                  <c:v>27.196461208824537</c:v>
                </c:pt>
                <c:pt idx="19221">
                  <c:v>32.174732606331766</c:v>
                </c:pt>
                <c:pt idx="19222">
                  <c:v>41.543481126636593</c:v>
                </c:pt>
                <c:pt idx="19223">
                  <c:v>47.514951106410606</c:v>
                </c:pt>
                <c:pt idx="19224">
                  <c:v>20.137861921505749</c:v>
                </c:pt>
                <c:pt idx="19225">
                  <c:v>27.152673227862437</c:v>
                </c:pt>
                <c:pt idx="19226">
                  <c:v>19.361046851307954</c:v>
                </c:pt>
                <c:pt idx="19227">
                  <c:v>27.070786776339219</c:v>
                </c:pt>
                <c:pt idx="19228">
                  <c:v>32.540087083996028</c:v>
                </c:pt>
                <c:pt idx="19229">
                  <c:v>21.520520820171601</c:v>
                </c:pt>
                <c:pt idx="19230">
                  <c:v>38.548234933490633</c:v>
                </c:pt>
                <c:pt idx="19231">
                  <c:v>27.216012243732045</c:v>
                </c:pt>
                <c:pt idx="19232">
                  <c:v>25.477337058373877</c:v>
                </c:pt>
                <c:pt idx="19233">
                  <c:v>36.842789744788007</c:v>
                </c:pt>
                <c:pt idx="19234">
                  <c:v>33.295953403118915</c:v>
                </c:pt>
                <c:pt idx="19235">
                  <c:v>29.913862913944875</c:v>
                </c:pt>
                <c:pt idx="19236">
                  <c:v>29.830699399740336</c:v>
                </c:pt>
                <c:pt idx="19237">
                  <c:v>26.337258358304037</c:v>
                </c:pt>
                <c:pt idx="19238">
                  <c:v>23.023016349509938</c:v>
                </c:pt>
                <c:pt idx="19239">
                  <c:v>37.156014903806827</c:v>
                </c:pt>
                <c:pt idx="19240">
                  <c:v>20.069856990302288</c:v>
                </c:pt>
                <c:pt idx="19241">
                  <c:v>28.420806378827031</c:v>
                </c:pt>
                <c:pt idx="19242">
                  <c:v>43.755151615761143</c:v>
                </c:pt>
                <c:pt idx="19243">
                  <c:v>23.318869351610488</c:v>
                </c:pt>
                <c:pt idx="19244">
                  <c:v>35.905245163224009</c:v>
                </c:pt>
                <c:pt idx="19245">
                  <c:v>28.326118547531991</c:v>
                </c:pt>
                <c:pt idx="19246">
                  <c:v>28.926224504736453</c:v>
                </c:pt>
                <c:pt idx="19247">
                  <c:v>42.730089420492092</c:v>
                </c:pt>
                <c:pt idx="19248">
                  <c:v>25.124272253605621</c:v>
                </c:pt>
                <c:pt idx="19249">
                  <c:v>26.859912762276767</c:v>
                </c:pt>
                <c:pt idx="19250">
                  <c:v>18.418991863702878</c:v>
                </c:pt>
                <c:pt idx="19251">
                  <c:v>36.849323317069903</c:v>
                </c:pt>
                <c:pt idx="19252">
                  <c:v>25.284469498725844</c:v>
                </c:pt>
                <c:pt idx="19253">
                  <c:v>44.665033299909105</c:v>
                </c:pt>
                <c:pt idx="19254">
                  <c:v>59.794741528216129</c:v>
                </c:pt>
                <c:pt idx="19255">
                  <c:v>24.304765956565738</c:v>
                </c:pt>
                <c:pt idx="19256">
                  <c:v>25.335676278318061</c:v>
                </c:pt>
                <c:pt idx="19257">
                  <c:v>31.128335418018231</c:v>
                </c:pt>
                <c:pt idx="19258">
                  <c:v>24.058715263057607</c:v>
                </c:pt>
                <c:pt idx="19259">
                  <c:v>48.814747942620556</c:v>
                </c:pt>
                <c:pt idx="19260">
                  <c:v>27.87205883681241</c:v>
                </c:pt>
                <c:pt idx="19261">
                  <c:v>22.215625286445785</c:v>
                </c:pt>
                <c:pt idx="19262">
                  <c:v>36.476982288407434</c:v>
                </c:pt>
                <c:pt idx="19263">
                  <c:v>42.710153591049433</c:v>
                </c:pt>
                <c:pt idx="19264">
                  <c:v>29.94240738937717</c:v>
                </c:pt>
                <c:pt idx="19265">
                  <c:v>29.107013915602245</c:v>
                </c:pt>
                <c:pt idx="19266">
                  <c:v>35.75039520425333</c:v>
                </c:pt>
                <c:pt idx="19267">
                  <c:v>29.743267683507945</c:v>
                </c:pt>
                <c:pt idx="19268">
                  <c:v>24.987763584533202</c:v>
                </c:pt>
                <c:pt idx="19269">
                  <c:v>41.302162913103246</c:v>
                </c:pt>
                <c:pt idx="19270">
                  <c:v>28.291405023720841</c:v>
                </c:pt>
                <c:pt idx="19271">
                  <c:v>30.787629859062172</c:v>
                </c:pt>
                <c:pt idx="19272">
                  <c:v>43.920574738326316</c:v>
                </c:pt>
                <c:pt idx="19273">
                  <c:v>30.642111580765352</c:v>
                </c:pt>
                <c:pt idx="19274">
                  <c:v>27.106818662612191</c:v>
                </c:pt>
                <c:pt idx="19275">
                  <c:v>27.357471433463399</c:v>
                </c:pt>
                <c:pt idx="19276">
                  <c:v>23.957129884129376</c:v>
                </c:pt>
                <c:pt idx="19277">
                  <c:v>40.126910692799335</c:v>
                </c:pt>
                <c:pt idx="19278">
                  <c:v>42.320151413828384</c:v>
                </c:pt>
                <c:pt idx="19279">
                  <c:v>32.069222309000097</c:v>
                </c:pt>
                <c:pt idx="19280">
                  <c:v>30.422183508378453</c:v>
                </c:pt>
                <c:pt idx="19281">
                  <c:v>24.094863493449466</c:v>
                </c:pt>
                <c:pt idx="19282">
                  <c:v>33.465831542373877</c:v>
                </c:pt>
                <c:pt idx="19283">
                  <c:v>22.017928159959354</c:v>
                </c:pt>
                <c:pt idx="19284">
                  <c:v>21.183711398753644</c:v>
                </c:pt>
                <c:pt idx="19285">
                  <c:v>50.994884814147596</c:v>
                </c:pt>
                <c:pt idx="19286">
                  <c:v>42.949239349224897</c:v>
                </c:pt>
                <c:pt idx="19287">
                  <c:v>26.860352296027656</c:v>
                </c:pt>
                <c:pt idx="19288">
                  <c:v>28.779930630871704</c:v>
                </c:pt>
                <c:pt idx="19289">
                  <c:v>39.937623600131992</c:v>
                </c:pt>
                <c:pt idx="19290">
                  <c:v>23.941131078942778</c:v>
                </c:pt>
                <c:pt idx="19291">
                  <c:v>32.048432490597989</c:v>
                </c:pt>
                <c:pt idx="19292">
                  <c:v>23.312062590125759</c:v>
                </c:pt>
                <c:pt idx="19293">
                  <c:v>24.606773517630984</c:v>
                </c:pt>
                <c:pt idx="19294">
                  <c:v>51.065319436158234</c:v>
                </c:pt>
                <c:pt idx="19295">
                  <c:v>52.632305283323078</c:v>
                </c:pt>
                <c:pt idx="19296">
                  <c:v>27.911848681645665</c:v>
                </c:pt>
                <c:pt idx="19297">
                  <c:v>35.244867259238397</c:v>
                </c:pt>
                <c:pt idx="19298">
                  <c:v>25.0614982963207</c:v>
                </c:pt>
                <c:pt idx="19299">
                  <c:v>22.31963892668028</c:v>
                </c:pt>
                <c:pt idx="19300">
                  <c:v>27.600849346159727</c:v>
                </c:pt>
                <c:pt idx="19301">
                  <c:v>23.862585842856543</c:v>
                </c:pt>
                <c:pt idx="19302">
                  <c:v>19.975043484171927</c:v>
                </c:pt>
                <c:pt idx="19303">
                  <c:v>30.950920262592483</c:v>
                </c:pt>
                <c:pt idx="19304">
                  <c:v>21.485133489171584</c:v>
                </c:pt>
                <c:pt idx="19305">
                  <c:v>21.679669632406785</c:v>
                </c:pt>
                <c:pt idx="19306">
                  <c:v>34.837181348214202</c:v>
                </c:pt>
                <c:pt idx="19307">
                  <c:v>40.82925622724413</c:v>
                </c:pt>
                <c:pt idx="19308">
                  <c:v>30.139109865556918</c:v>
                </c:pt>
                <c:pt idx="19309">
                  <c:v>47.35071031534909</c:v>
                </c:pt>
                <c:pt idx="19310">
                  <c:v>25.865197986480112</c:v>
                </c:pt>
                <c:pt idx="19311">
                  <c:v>25.278181509439651</c:v>
                </c:pt>
                <c:pt idx="19312">
                  <c:v>28.003869239110905</c:v>
                </c:pt>
                <c:pt idx="19313">
                  <c:v>28.391196199166565</c:v>
                </c:pt>
                <c:pt idx="19314">
                  <c:v>18.032030131351036</c:v>
                </c:pt>
                <c:pt idx="19315">
                  <c:v>26.407358392111004</c:v>
                </c:pt>
                <c:pt idx="19316">
                  <c:v>18.871508351859326</c:v>
                </c:pt>
                <c:pt idx="19317">
                  <c:v>27.018485777974149</c:v>
                </c:pt>
                <c:pt idx="19318">
                  <c:v>36.309990658282949</c:v>
                </c:pt>
                <c:pt idx="19319">
                  <c:v>32.773039419478465</c:v>
                </c:pt>
                <c:pt idx="19320">
                  <c:v>27.130973309129075</c:v>
                </c:pt>
                <c:pt idx="19321">
                  <c:v>24.007174273970829</c:v>
                </c:pt>
                <c:pt idx="19322">
                  <c:v>42.478635829757458</c:v>
                </c:pt>
                <c:pt idx="19323">
                  <c:v>42.221453764597115</c:v>
                </c:pt>
                <c:pt idx="19324">
                  <c:v>47.375042751476286</c:v>
                </c:pt>
                <c:pt idx="19325">
                  <c:v>39.132210453903397</c:v>
                </c:pt>
                <c:pt idx="19326">
                  <c:v>27.193188092894225</c:v>
                </c:pt>
                <c:pt idx="19327">
                  <c:v>23.961417637022812</c:v>
                </c:pt>
                <c:pt idx="19328">
                  <c:v>26.49007556333353</c:v>
                </c:pt>
                <c:pt idx="19329">
                  <c:v>42.356084444625722</c:v>
                </c:pt>
                <c:pt idx="19330">
                  <c:v>25.103009724413369</c:v>
                </c:pt>
                <c:pt idx="19331">
                  <c:v>28.818583319231369</c:v>
                </c:pt>
                <c:pt idx="19332">
                  <c:v>50.039912171090371</c:v>
                </c:pt>
                <c:pt idx="19333">
                  <c:v>50.161610850463546</c:v>
                </c:pt>
                <c:pt idx="19334">
                  <c:v>32.727945996566703</c:v>
                </c:pt>
                <c:pt idx="19335">
                  <c:v>28.30660526974745</c:v>
                </c:pt>
                <c:pt idx="19336">
                  <c:v>23.182693335610459</c:v>
                </c:pt>
                <c:pt idx="19337">
                  <c:v>54.903388510968853</c:v>
                </c:pt>
                <c:pt idx="19338">
                  <c:v>31.577239513399466</c:v>
                </c:pt>
                <c:pt idx="19339">
                  <c:v>33.586674028296173</c:v>
                </c:pt>
                <c:pt idx="19340">
                  <c:v>25.677119977513303</c:v>
                </c:pt>
                <c:pt idx="19341">
                  <c:v>48.836421530571194</c:v>
                </c:pt>
                <c:pt idx="19342">
                  <c:v>31.590791091507459</c:v>
                </c:pt>
                <c:pt idx="19343">
                  <c:v>38.369728991600063</c:v>
                </c:pt>
                <c:pt idx="19344">
                  <c:v>49.252972731300027</c:v>
                </c:pt>
                <c:pt idx="19345">
                  <c:v>25.232850901668858</c:v>
                </c:pt>
                <c:pt idx="19346">
                  <c:v>49.188492538239949</c:v>
                </c:pt>
                <c:pt idx="19347">
                  <c:v>31.383057367805293</c:v>
                </c:pt>
                <c:pt idx="19348">
                  <c:v>33.219562943692161</c:v>
                </c:pt>
                <c:pt idx="19349">
                  <c:v>24.094804973811474</c:v>
                </c:pt>
                <c:pt idx="19350">
                  <c:v>27.799323961648586</c:v>
                </c:pt>
                <c:pt idx="19351">
                  <c:v>35.970937648223796</c:v>
                </c:pt>
                <c:pt idx="19352">
                  <c:v>67.550866195622973</c:v>
                </c:pt>
                <c:pt idx="19353">
                  <c:v>34.271860807170988</c:v>
                </c:pt>
                <c:pt idx="19354">
                  <c:v>30.553074850762023</c:v>
                </c:pt>
                <c:pt idx="19355">
                  <c:v>47.306691568279831</c:v>
                </c:pt>
                <c:pt idx="19356">
                  <c:v>24.986080059318201</c:v>
                </c:pt>
                <c:pt idx="19357">
                  <c:v>32.28697921330393</c:v>
                </c:pt>
                <c:pt idx="19358">
                  <c:v>26.614954039954959</c:v>
                </c:pt>
                <c:pt idx="19359">
                  <c:v>24.62860307483945</c:v>
                </c:pt>
                <c:pt idx="19360">
                  <c:v>20.15914157827698</c:v>
                </c:pt>
                <c:pt idx="19361">
                  <c:v>33.359607323916016</c:v>
                </c:pt>
                <c:pt idx="19362">
                  <c:v>28.84039975923676</c:v>
                </c:pt>
                <c:pt idx="19363">
                  <c:v>25.737528456799708</c:v>
                </c:pt>
                <c:pt idx="19364">
                  <c:v>29.42625080472255</c:v>
                </c:pt>
                <c:pt idx="19365">
                  <c:v>24.884642253775134</c:v>
                </c:pt>
                <c:pt idx="19366">
                  <c:v>37.620003278024164</c:v>
                </c:pt>
                <c:pt idx="19367">
                  <c:v>45.023202806167987</c:v>
                </c:pt>
                <c:pt idx="19368">
                  <c:v>18.771317815640256</c:v>
                </c:pt>
                <c:pt idx="19369">
                  <c:v>48.573194678646658</c:v>
                </c:pt>
                <c:pt idx="19370">
                  <c:v>24.276536320545194</c:v>
                </c:pt>
                <c:pt idx="19371">
                  <c:v>36.031144420301047</c:v>
                </c:pt>
                <c:pt idx="19372">
                  <c:v>23.562655539742039</c:v>
                </c:pt>
                <c:pt idx="19373">
                  <c:v>28.710423550399362</c:v>
                </c:pt>
                <c:pt idx="19374">
                  <c:v>29.188626243217193</c:v>
                </c:pt>
                <c:pt idx="19375">
                  <c:v>25.082605984201297</c:v>
                </c:pt>
                <c:pt idx="19376">
                  <c:v>31.665025992472088</c:v>
                </c:pt>
                <c:pt idx="19377">
                  <c:v>51.538858874592755</c:v>
                </c:pt>
                <c:pt idx="19378">
                  <c:v>16.086781304866083</c:v>
                </c:pt>
                <c:pt idx="19379">
                  <c:v>49.291195436620825</c:v>
                </c:pt>
                <c:pt idx="19380">
                  <c:v>47.918444205264613</c:v>
                </c:pt>
                <c:pt idx="19381">
                  <c:v>26.928356935019238</c:v>
                </c:pt>
                <c:pt idx="19382">
                  <c:v>24.060728585659369</c:v>
                </c:pt>
                <c:pt idx="19383">
                  <c:v>26.133720136133398</c:v>
                </c:pt>
                <c:pt idx="19384">
                  <c:v>35.373454281615118</c:v>
                </c:pt>
                <c:pt idx="19385">
                  <c:v>32.760326134087101</c:v>
                </c:pt>
                <c:pt idx="19386">
                  <c:v>31.468021566953965</c:v>
                </c:pt>
                <c:pt idx="19387">
                  <c:v>21.687876300081783</c:v>
                </c:pt>
                <c:pt idx="19388">
                  <c:v>33.526887388127548</c:v>
                </c:pt>
                <c:pt idx="19389">
                  <c:v>24.266697833456313</c:v>
                </c:pt>
                <c:pt idx="19390">
                  <c:v>20.196862612133856</c:v>
                </c:pt>
                <c:pt idx="19391">
                  <c:v>27.451561821542587</c:v>
                </c:pt>
                <c:pt idx="19392">
                  <c:v>37.593196447512305</c:v>
                </c:pt>
                <c:pt idx="19393">
                  <c:v>28.417972376137886</c:v>
                </c:pt>
                <c:pt idx="19394">
                  <c:v>31.036950889708184</c:v>
                </c:pt>
                <c:pt idx="19395">
                  <c:v>19.9113128443494</c:v>
                </c:pt>
                <c:pt idx="19396">
                  <c:v>29.867771332354426</c:v>
                </c:pt>
                <c:pt idx="19397">
                  <c:v>58.756085403626322</c:v>
                </c:pt>
                <c:pt idx="19398">
                  <c:v>31.870999142624314</c:v>
                </c:pt>
                <c:pt idx="19399">
                  <c:v>29.523140035062031</c:v>
                </c:pt>
                <c:pt idx="19400">
                  <c:v>57.079677187345524</c:v>
                </c:pt>
                <c:pt idx="19401">
                  <c:v>31.754820206662792</c:v>
                </c:pt>
                <c:pt idx="19402">
                  <c:v>27.4031035011553</c:v>
                </c:pt>
                <c:pt idx="19403">
                  <c:v>30.017029379907424</c:v>
                </c:pt>
                <c:pt idx="19404">
                  <c:v>20.637458775783681</c:v>
                </c:pt>
                <c:pt idx="19405">
                  <c:v>32.942866293187969</c:v>
                </c:pt>
                <c:pt idx="19406">
                  <c:v>48.530117147487495</c:v>
                </c:pt>
                <c:pt idx="19407">
                  <c:v>21.647555836460146</c:v>
                </c:pt>
                <c:pt idx="19408">
                  <c:v>26.010638453631028</c:v>
                </c:pt>
                <c:pt idx="19409">
                  <c:v>42.7882526380779</c:v>
                </c:pt>
                <c:pt idx="19410">
                  <c:v>51.067705270774425</c:v>
                </c:pt>
                <c:pt idx="19411">
                  <c:v>16.570775670885485</c:v>
                </c:pt>
                <c:pt idx="19412">
                  <c:v>33.006392943180153</c:v>
                </c:pt>
                <c:pt idx="19413">
                  <c:v>51.943121816869187</c:v>
                </c:pt>
                <c:pt idx="19414">
                  <c:v>24.114622770090307</c:v>
                </c:pt>
                <c:pt idx="19415">
                  <c:v>32.476975369495364</c:v>
                </c:pt>
                <c:pt idx="19416">
                  <c:v>19.418901887020784</c:v>
                </c:pt>
                <c:pt idx="19417">
                  <c:v>23.205772385833107</c:v>
                </c:pt>
                <c:pt idx="19418">
                  <c:v>21.578281470825921</c:v>
                </c:pt>
                <c:pt idx="19419">
                  <c:v>29.79960837407787</c:v>
                </c:pt>
                <c:pt idx="19420">
                  <c:v>50.771368696240685</c:v>
                </c:pt>
                <c:pt idx="19421">
                  <c:v>26.941606297551733</c:v>
                </c:pt>
                <c:pt idx="19422">
                  <c:v>32.60946030020969</c:v>
                </c:pt>
                <c:pt idx="19423">
                  <c:v>19.657618774875218</c:v>
                </c:pt>
                <c:pt idx="19424">
                  <c:v>30.388968217163381</c:v>
                </c:pt>
                <c:pt idx="19425">
                  <c:v>27.13936882236602</c:v>
                </c:pt>
                <c:pt idx="19426">
                  <c:v>17.224679342046151</c:v>
                </c:pt>
                <c:pt idx="19427">
                  <c:v>32.775340251686913</c:v>
                </c:pt>
                <c:pt idx="19428">
                  <c:v>27.221975030210871</c:v>
                </c:pt>
                <c:pt idx="19429">
                  <c:v>32.455101091825469</c:v>
                </c:pt>
                <c:pt idx="19430">
                  <c:v>30.041110151343428</c:v>
                </c:pt>
                <c:pt idx="19431">
                  <c:v>20.99615549431498</c:v>
                </c:pt>
                <c:pt idx="19432">
                  <c:v>23.66463497093709</c:v>
                </c:pt>
                <c:pt idx="19433">
                  <c:v>31.620006712840194</c:v>
                </c:pt>
                <c:pt idx="19434">
                  <c:v>21.961756996459666</c:v>
                </c:pt>
                <c:pt idx="19435">
                  <c:v>23.837259777200025</c:v>
                </c:pt>
                <c:pt idx="19436">
                  <c:v>36.756208172218621</c:v>
                </c:pt>
                <c:pt idx="19437">
                  <c:v>25.9032191229098</c:v>
                </c:pt>
                <c:pt idx="19438">
                  <c:v>21.706603741170618</c:v>
                </c:pt>
                <c:pt idx="19439">
                  <c:v>42.073154077954946</c:v>
                </c:pt>
                <c:pt idx="19440">
                  <c:v>28.926753977640157</c:v>
                </c:pt>
                <c:pt idx="19441">
                  <c:v>40.804419902977067</c:v>
                </c:pt>
                <c:pt idx="19442">
                  <c:v>29.113537777842229</c:v>
                </c:pt>
                <c:pt idx="19443">
                  <c:v>19.476648302930762</c:v>
                </c:pt>
                <c:pt idx="19444">
                  <c:v>26.161277265016881</c:v>
                </c:pt>
                <c:pt idx="19445">
                  <c:v>39.20584849748456</c:v>
                </c:pt>
                <c:pt idx="19446">
                  <c:v>22.28344020079825</c:v>
                </c:pt>
                <c:pt idx="19447">
                  <c:v>25.598288889317079</c:v>
                </c:pt>
                <c:pt idx="19448">
                  <c:v>55.474299724342728</c:v>
                </c:pt>
                <c:pt idx="19449">
                  <c:v>32.444325409090467</c:v>
                </c:pt>
                <c:pt idx="19450">
                  <c:v>31.103228456690896</c:v>
                </c:pt>
                <c:pt idx="19451">
                  <c:v>21.322341622909871</c:v>
                </c:pt>
                <c:pt idx="19452">
                  <c:v>18.681675355319484</c:v>
                </c:pt>
                <c:pt idx="19453">
                  <c:v>44.732915981774724</c:v>
                </c:pt>
                <c:pt idx="19454">
                  <c:v>42.416084427317266</c:v>
                </c:pt>
                <c:pt idx="19455">
                  <c:v>29.813093829712646</c:v>
                </c:pt>
                <c:pt idx="19456">
                  <c:v>30.470926152043521</c:v>
                </c:pt>
                <c:pt idx="19457">
                  <c:v>22.997476579728112</c:v>
                </c:pt>
                <c:pt idx="19458">
                  <c:v>40.632324638385839</c:v>
                </c:pt>
                <c:pt idx="19459">
                  <c:v>25.972675758255946</c:v>
                </c:pt>
                <c:pt idx="19460">
                  <c:v>24.433715109875518</c:v>
                </c:pt>
                <c:pt idx="19461">
                  <c:v>31.156255155822556</c:v>
                </c:pt>
                <c:pt idx="19462">
                  <c:v>21.813389792967314</c:v>
                </c:pt>
                <c:pt idx="19463">
                  <c:v>27.055877602006166</c:v>
                </c:pt>
                <c:pt idx="19464">
                  <c:v>31.580677739464491</c:v>
                </c:pt>
                <c:pt idx="19465">
                  <c:v>47.714953913459176</c:v>
                </c:pt>
                <c:pt idx="19466">
                  <c:v>30.71117210061438</c:v>
                </c:pt>
                <c:pt idx="19467">
                  <c:v>21.235832176563079</c:v>
                </c:pt>
                <c:pt idx="19468">
                  <c:v>49.267494260477001</c:v>
                </c:pt>
                <c:pt idx="19469">
                  <c:v>17.786765279551911</c:v>
                </c:pt>
                <c:pt idx="19470">
                  <c:v>32.965020671522083</c:v>
                </c:pt>
                <c:pt idx="19471">
                  <c:v>26.405160739088515</c:v>
                </c:pt>
                <c:pt idx="19472">
                  <c:v>33.027860667176483</c:v>
                </c:pt>
                <c:pt idx="19473">
                  <c:v>29.677930414856291</c:v>
                </c:pt>
                <c:pt idx="19474">
                  <c:v>19.46220446938225</c:v>
                </c:pt>
                <c:pt idx="19475">
                  <c:v>28.258323826067674</c:v>
                </c:pt>
                <c:pt idx="19476">
                  <c:v>56.595865685192493</c:v>
                </c:pt>
                <c:pt idx="19477">
                  <c:v>16.941335674998829</c:v>
                </c:pt>
                <c:pt idx="19478">
                  <c:v>26.682435191231285</c:v>
                </c:pt>
                <c:pt idx="19479">
                  <c:v>28.235958417196684</c:v>
                </c:pt>
                <c:pt idx="19480">
                  <c:v>34.956562824322148</c:v>
                </c:pt>
                <c:pt idx="19481">
                  <c:v>28.37504903422013</c:v>
                </c:pt>
                <c:pt idx="19482">
                  <c:v>46.790699774301579</c:v>
                </c:pt>
                <c:pt idx="19483">
                  <c:v>28.058535088822037</c:v>
                </c:pt>
                <c:pt idx="19484">
                  <c:v>28.302864573489025</c:v>
                </c:pt>
                <c:pt idx="19485">
                  <c:v>26.656214049907227</c:v>
                </c:pt>
                <c:pt idx="19486">
                  <c:v>28.115098050355581</c:v>
                </c:pt>
                <c:pt idx="19487">
                  <c:v>22.194224660088878</c:v>
                </c:pt>
                <c:pt idx="19488">
                  <c:v>41.542377528583394</c:v>
                </c:pt>
                <c:pt idx="19489">
                  <c:v>25.603596805785266</c:v>
                </c:pt>
                <c:pt idx="19490">
                  <c:v>46.37053735046424</c:v>
                </c:pt>
                <c:pt idx="19491">
                  <c:v>22.486766466372739</c:v>
                </c:pt>
                <c:pt idx="19492">
                  <c:v>23.201573631348495</c:v>
                </c:pt>
                <c:pt idx="19493">
                  <c:v>27.758018280486258</c:v>
                </c:pt>
                <c:pt idx="19494">
                  <c:v>31.829396073183634</c:v>
                </c:pt>
                <c:pt idx="19495">
                  <c:v>51.793031496995582</c:v>
                </c:pt>
                <c:pt idx="19496">
                  <c:v>41.326988741247639</c:v>
                </c:pt>
                <c:pt idx="19497">
                  <c:v>40.441667025224348</c:v>
                </c:pt>
                <c:pt idx="19498">
                  <c:v>27.774605114625029</c:v>
                </c:pt>
                <c:pt idx="19499">
                  <c:v>28.482204411727164</c:v>
                </c:pt>
                <c:pt idx="19500">
                  <c:v>31.448272351865217</c:v>
                </c:pt>
                <c:pt idx="19501">
                  <c:v>47.882399270139636</c:v>
                </c:pt>
                <c:pt idx="19502">
                  <c:v>55.810498756336237</c:v>
                </c:pt>
                <c:pt idx="19503">
                  <c:v>24.242306750721763</c:v>
                </c:pt>
                <c:pt idx="19504">
                  <c:v>27.570313835754703</c:v>
                </c:pt>
                <c:pt idx="19505">
                  <c:v>26.871150609454634</c:v>
                </c:pt>
                <c:pt idx="19506">
                  <c:v>42.1183675777323</c:v>
                </c:pt>
                <c:pt idx="19507">
                  <c:v>26.192972318847037</c:v>
                </c:pt>
                <c:pt idx="19508">
                  <c:v>36.429658289346669</c:v>
                </c:pt>
                <c:pt idx="19509">
                  <c:v>26.152513042878475</c:v>
                </c:pt>
                <c:pt idx="19510">
                  <c:v>25.458617919256881</c:v>
                </c:pt>
                <c:pt idx="19511">
                  <c:v>21.958720175832013</c:v>
                </c:pt>
                <c:pt idx="19512">
                  <c:v>24.968818310710965</c:v>
                </c:pt>
                <c:pt idx="19513">
                  <c:v>37.815290208433566</c:v>
                </c:pt>
                <c:pt idx="19514">
                  <c:v>39.850687779190118</c:v>
                </c:pt>
                <c:pt idx="19515">
                  <c:v>50.289140453336913</c:v>
                </c:pt>
                <c:pt idx="19516">
                  <c:v>33.644504687458564</c:v>
                </c:pt>
                <c:pt idx="19517">
                  <c:v>46.131746348391303</c:v>
                </c:pt>
                <c:pt idx="19518">
                  <c:v>24.334208814208711</c:v>
                </c:pt>
                <c:pt idx="19519">
                  <c:v>42.401126361812203</c:v>
                </c:pt>
                <c:pt idx="19520">
                  <c:v>32.002716483621228</c:v>
                </c:pt>
                <c:pt idx="19521">
                  <c:v>20.909700521920534</c:v>
                </c:pt>
                <c:pt idx="19522">
                  <c:v>21.563748920351966</c:v>
                </c:pt>
                <c:pt idx="19523">
                  <c:v>25.161701970208775</c:v>
                </c:pt>
                <c:pt idx="19524">
                  <c:v>34.446607642612683</c:v>
                </c:pt>
                <c:pt idx="19525">
                  <c:v>31.083809413132961</c:v>
                </c:pt>
                <c:pt idx="19526">
                  <c:v>33.38032997213287</c:v>
                </c:pt>
                <c:pt idx="19527">
                  <c:v>29.863655129372155</c:v>
                </c:pt>
                <c:pt idx="19528">
                  <c:v>29.976398380780768</c:v>
                </c:pt>
                <c:pt idx="19529">
                  <c:v>20.377077981586741</c:v>
                </c:pt>
                <c:pt idx="19530">
                  <c:v>31.966467287227751</c:v>
                </c:pt>
                <c:pt idx="19531">
                  <c:v>45.900186307328397</c:v>
                </c:pt>
                <c:pt idx="19532">
                  <c:v>44.950265150726025</c:v>
                </c:pt>
                <c:pt idx="19533">
                  <c:v>42.723226684301579</c:v>
                </c:pt>
                <c:pt idx="19534">
                  <c:v>25.543560310671076</c:v>
                </c:pt>
                <c:pt idx="19535">
                  <c:v>32.560758666127896</c:v>
                </c:pt>
                <c:pt idx="19536">
                  <c:v>41.692252834538408</c:v>
                </c:pt>
                <c:pt idx="19537">
                  <c:v>33.051529015594859</c:v>
                </c:pt>
                <c:pt idx="19538">
                  <c:v>26.582438504078137</c:v>
                </c:pt>
                <c:pt idx="19539">
                  <c:v>15.928706546478441</c:v>
                </c:pt>
                <c:pt idx="19540">
                  <c:v>39.554811580495169</c:v>
                </c:pt>
                <c:pt idx="19541">
                  <c:v>44.837331598468921</c:v>
                </c:pt>
                <c:pt idx="19542">
                  <c:v>24.899539110943905</c:v>
                </c:pt>
                <c:pt idx="19543">
                  <c:v>28.942062070314527</c:v>
                </c:pt>
                <c:pt idx="19544">
                  <c:v>31.035803715073687</c:v>
                </c:pt>
                <c:pt idx="19545">
                  <c:v>29.51080175051947</c:v>
                </c:pt>
                <c:pt idx="19546">
                  <c:v>30.088159972343302</c:v>
                </c:pt>
                <c:pt idx="19547">
                  <c:v>30.96541896534389</c:v>
                </c:pt>
                <c:pt idx="19548">
                  <c:v>48.901697187807905</c:v>
                </c:pt>
                <c:pt idx="19549">
                  <c:v>40.675371823182893</c:v>
                </c:pt>
                <c:pt idx="19550">
                  <c:v>54.052359660730644</c:v>
                </c:pt>
                <c:pt idx="19551">
                  <c:v>26.774913610667983</c:v>
                </c:pt>
                <c:pt idx="19552">
                  <c:v>44.181337836359617</c:v>
                </c:pt>
                <c:pt idx="19553">
                  <c:v>29.419923997219819</c:v>
                </c:pt>
                <c:pt idx="19554">
                  <c:v>28.109779183316739</c:v>
                </c:pt>
                <c:pt idx="19555">
                  <c:v>31.204485762433567</c:v>
                </c:pt>
                <c:pt idx="19556">
                  <c:v>26.844155143550779</c:v>
                </c:pt>
                <c:pt idx="19557">
                  <c:v>23.632577827584953</c:v>
                </c:pt>
                <c:pt idx="19558">
                  <c:v>21.72782865615952</c:v>
                </c:pt>
                <c:pt idx="19559">
                  <c:v>59.565103682181849</c:v>
                </c:pt>
                <c:pt idx="19560">
                  <c:v>28.775870509309691</c:v>
                </c:pt>
                <c:pt idx="19561">
                  <c:v>30.376275992718419</c:v>
                </c:pt>
                <c:pt idx="19562">
                  <c:v>32.479872105378739</c:v>
                </c:pt>
                <c:pt idx="19563">
                  <c:v>30.084823829236683</c:v>
                </c:pt>
                <c:pt idx="19564">
                  <c:v>29.462880072417764</c:v>
                </c:pt>
                <c:pt idx="19565">
                  <c:v>26.438656917474834</c:v>
                </c:pt>
                <c:pt idx="19566">
                  <c:v>41.488274102084347</c:v>
                </c:pt>
                <c:pt idx="19567">
                  <c:v>22.90873049783788</c:v>
                </c:pt>
                <c:pt idx="19568">
                  <c:v>23.767336775461082</c:v>
                </c:pt>
                <c:pt idx="19569">
                  <c:v>23.639844806000536</c:v>
                </c:pt>
                <c:pt idx="19570">
                  <c:v>30.971729830134421</c:v>
                </c:pt>
                <c:pt idx="19571">
                  <c:v>44.015051752651999</c:v>
                </c:pt>
                <c:pt idx="19572">
                  <c:v>27.483680307691632</c:v>
                </c:pt>
                <c:pt idx="19573">
                  <c:v>33.536980151187393</c:v>
                </c:pt>
                <c:pt idx="19574">
                  <c:v>39.894520883971317</c:v>
                </c:pt>
                <c:pt idx="19575">
                  <c:v>27.315945401290037</c:v>
                </c:pt>
                <c:pt idx="19576">
                  <c:v>26.378868229033461</c:v>
                </c:pt>
                <c:pt idx="19577">
                  <c:v>20.874405853378015</c:v>
                </c:pt>
                <c:pt idx="19578">
                  <c:v>24.315957488061564</c:v>
                </c:pt>
                <c:pt idx="19579">
                  <c:v>32.203820265390206</c:v>
                </c:pt>
                <c:pt idx="19580">
                  <c:v>29.272960935989758</c:v>
                </c:pt>
                <c:pt idx="19581">
                  <c:v>30.587501535918701</c:v>
                </c:pt>
                <c:pt idx="19582">
                  <c:v>23.37269577103719</c:v>
                </c:pt>
                <c:pt idx="19583">
                  <c:v>31.232554873483508</c:v>
                </c:pt>
                <c:pt idx="19584">
                  <c:v>44.415780205117258</c:v>
                </c:pt>
                <c:pt idx="19585">
                  <c:v>39.977385782606007</c:v>
                </c:pt>
                <c:pt idx="19586">
                  <c:v>21.027917370955013</c:v>
                </c:pt>
                <c:pt idx="19587">
                  <c:v>26.632726039916456</c:v>
                </c:pt>
                <c:pt idx="19588">
                  <c:v>19.878497282579875</c:v>
                </c:pt>
                <c:pt idx="19589">
                  <c:v>31.041999957315202</c:v>
                </c:pt>
                <c:pt idx="19590">
                  <c:v>24.403973674857209</c:v>
                </c:pt>
                <c:pt idx="19591">
                  <c:v>19.020447195221497</c:v>
                </c:pt>
                <c:pt idx="19592">
                  <c:v>41.960988500522838</c:v>
                </c:pt>
                <c:pt idx="19593">
                  <c:v>29.819265406378591</c:v>
                </c:pt>
                <c:pt idx="19594">
                  <c:v>23.20887565380422</c:v>
                </c:pt>
                <c:pt idx="19595">
                  <c:v>56.672138345734126</c:v>
                </c:pt>
                <c:pt idx="19596">
                  <c:v>36.17419869491097</c:v>
                </c:pt>
                <c:pt idx="19597">
                  <c:v>30.821993616567784</c:v>
                </c:pt>
                <c:pt idx="19598">
                  <c:v>28.356823196300702</c:v>
                </c:pt>
                <c:pt idx="19599">
                  <c:v>44.166911225024116</c:v>
                </c:pt>
                <c:pt idx="19600">
                  <c:v>32.682502523469246</c:v>
                </c:pt>
                <c:pt idx="19601">
                  <c:v>30.361835050544475</c:v>
                </c:pt>
                <c:pt idx="19602">
                  <c:v>56.23253468806378</c:v>
                </c:pt>
                <c:pt idx="19603">
                  <c:v>28.342090190498972</c:v>
                </c:pt>
                <c:pt idx="19604">
                  <c:v>21.68147149995108</c:v>
                </c:pt>
                <c:pt idx="19605">
                  <c:v>31.426968801793929</c:v>
                </c:pt>
                <c:pt idx="19606">
                  <c:v>55.552934931683382</c:v>
                </c:pt>
                <c:pt idx="19607">
                  <c:v>41.457576716772188</c:v>
                </c:pt>
                <c:pt idx="19608">
                  <c:v>24.653701473398232</c:v>
                </c:pt>
                <c:pt idx="19609">
                  <c:v>47.235253211396198</c:v>
                </c:pt>
                <c:pt idx="19610">
                  <c:v>20.716931316700325</c:v>
                </c:pt>
                <c:pt idx="19611">
                  <c:v>24.175600695298264</c:v>
                </c:pt>
                <c:pt idx="19612">
                  <c:v>39.11593313174069</c:v>
                </c:pt>
                <c:pt idx="19613">
                  <c:v>24.628736371001025</c:v>
                </c:pt>
                <c:pt idx="19614">
                  <c:v>24.562327531238161</c:v>
                </c:pt>
                <c:pt idx="19615">
                  <c:v>25.300744373952764</c:v>
                </c:pt>
                <c:pt idx="19616">
                  <c:v>26.409104961540802</c:v>
                </c:pt>
                <c:pt idx="19617">
                  <c:v>27.215254374605941</c:v>
                </c:pt>
                <c:pt idx="19618">
                  <c:v>34.200554226558715</c:v>
                </c:pt>
                <c:pt idx="19619">
                  <c:v>27.147875834256915</c:v>
                </c:pt>
                <c:pt idx="19620">
                  <c:v>27.976716823496993</c:v>
                </c:pt>
                <c:pt idx="19621">
                  <c:v>26.976997573588225</c:v>
                </c:pt>
                <c:pt idx="19622">
                  <c:v>22.522981522834044</c:v>
                </c:pt>
                <c:pt idx="19623">
                  <c:v>21.938240703884023</c:v>
                </c:pt>
                <c:pt idx="19624">
                  <c:v>25.385308599320346</c:v>
                </c:pt>
                <c:pt idx="19625">
                  <c:v>27.437004211972802</c:v>
                </c:pt>
                <c:pt idx="19626">
                  <c:v>28.670119834386131</c:v>
                </c:pt>
                <c:pt idx="19627">
                  <c:v>25.542836591669779</c:v>
                </c:pt>
                <c:pt idx="19628">
                  <c:v>31.893960362085032</c:v>
                </c:pt>
                <c:pt idx="19629">
                  <c:v>26.186657772417703</c:v>
                </c:pt>
                <c:pt idx="19630">
                  <c:v>25.899209190405426</c:v>
                </c:pt>
                <c:pt idx="19631">
                  <c:v>38.152046096283634</c:v>
                </c:pt>
                <c:pt idx="19632">
                  <c:v>35.70506419501249</c:v>
                </c:pt>
                <c:pt idx="19633">
                  <c:v>21.944832470271592</c:v>
                </c:pt>
                <c:pt idx="19634">
                  <c:v>32.265743229871994</c:v>
                </c:pt>
                <c:pt idx="19635">
                  <c:v>38.493722211760947</c:v>
                </c:pt>
                <c:pt idx="19636">
                  <c:v>34.053108396760152</c:v>
                </c:pt>
                <c:pt idx="19637">
                  <c:v>39.597275498628591</c:v>
                </c:pt>
                <c:pt idx="19638">
                  <c:v>30.385980218982862</c:v>
                </c:pt>
                <c:pt idx="19639">
                  <c:v>23.519611022898136</c:v>
                </c:pt>
                <c:pt idx="19640">
                  <c:v>25.597093413451994</c:v>
                </c:pt>
                <c:pt idx="19641">
                  <c:v>28.41452756481301</c:v>
                </c:pt>
                <c:pt idx="19642">
                  <c:v>60.421352041030765</c:v>
                </c:pt>
                <c:pt idx="19643">
                  <c:v>46.570771207860624</c:v>
                </c:pt>
                <c:pt idx="19644">
                  <c:v>20.523957212835484</c:v>
                </c:pt>
                <c:pt idx="19645">
                  <c:v>33.231450145436924</c:v>
                </c:pt>
                <c:pt idx="19646">
                  <c:v>29.036905045122516</c:v>
                </c:pt>
                <c:pt idx="19647">
                  <c:v>20.296237220729907</c:v>
                </c:pt>
                <c:pt idx="19648">
                  <c:v>24.894852983820691</c:v>
                </c:pt>
                <c:pt idx="19649">
                  <c:v>29.37340575588599</c:v>
                </c:pt>
                <c:pt idx="19650">
                  <c:v>38.87046238532146</c:v>
                </c:pt>
                <c:pt idx="19651">
                  <c:v>21.908273385032256</c:v>
                </c:pt>
                <c:pt idx="19652">
                  <c:v>53.917093237255934</c:v>
                </c:pt>
                <c:pt idx="19653">
                  <c:v>30.397667514138934</c:v>
                </c:pt>
                <c:pt idx="19654">
                  <c:v>44.134520231744482</c:v>
                </c:pt>
                <c:pt idx="19655">
                  <c:v>29.358316503029698</c:v>
                </c:pt>
                <c:pt idx="19656">
                  <c:v>22.023990918676333</c:v>
                </c:pt>
                <c:pt idx="19657">
                  <c:v>18.143470530903063</c:v>
                </c:pt>
                <c:pt idx="19658">
                  <c:v>42.590801709604811</c:v>
                </c:pt>
                <c:pt idx="19659">
                  <c:v>26.225003234760173</c:v>
                </c:pt>
                <c:pt idx="19660">
                  <c:v>23.368691941636165</c:v>
                </c:pt>
                <c:pt idx="19661">
                  <c:v>48.294428048647148</c:v>
                </c:pt>
                <c:pt idx="19662">
                  <c:v>52.253187599925766</c:v>
                </c:pt>
                <c:pt idx="19663">
                  <c:v>25.336736253617737</c:v>
                </c:pt>
                <c:pt idx="19664">
                  <c:v>40.604549287492695</c:v>
                </c:pt>
                <c:pt idx="19665">
                  <c:v>16.159448321705337</c:v>
                </c:pt>
                <c:pt idx="19666">
                  <c:v>26.999574331870559</c:v>
                </c:pt>
                <c:pt idx="19667">
                  <c:v>18.661147451390839</c:v>
                </c:pt>
                <c:pt idx="19668">
                  <c:v>36.088897756676268</c:v>
                </c:pt>
                <c:pt idx="19669">
                  <c:v>23.853430096704848</c:v>
                </c:pt>
                <c:pt idx="19670">
                  <c:v>44.09175077587134</c:v>
                </c:pt>
                <c:pt idx="19671">
                  <c:v>45.382343062129507</c:v>
                </c:pt>
                <c:pt idx="19672">
                  <c:v>40.200199482311845</c:v>
                </c:pt>
                <c:pt idx="19673">
                  <c:v>28.631932275879116</c:v>
                </c:pt>
                <c:pt idx="19674">
                  <c:v>57.94488208118652</c:v>
                </c:pt>
                <c:pt idx="19675">
                  <c:v>25.710726348975083</c:v>
                </c:pt>
                <c:pt idx="19676">
                  <c:v>28.035107348689124</c:v>
                </c:pt>
                <c:pt idx="19677">
                  <c:v>32.458714020418142</c:v>
                </c:pt>
                <c:pt idx="19678">
                  <c:v>39.363172346251112</c:v>
                </c:pt>
                <c:pt idx="19679">
                  <c:v>49.836201614600014</c:v>
                </c:pt>
                <c:pt idx="19680">
                  <c:v>26.475839392533686</c:v>
                </c:pt>
                <c:pt idx="19681">
                  <c:v>28.83110020486621</c:v>
                </c:pt>
                <c:pt idx="19682">
                  <c:v>30.560597073888296</c:v>
                </c:pt>
                <c:pt idx="19683">
                  <c:v>51.519660199176634</c:v>
                </c:pt>
                <c:pt idx="19684">
                  <c:v>22.417300173223893</c:v>
                </c:pt>
                <c:pt idx="19685">
                  <c:v>23.764369963436714</c:v>
                </c:pt>
                <c:pt idx="19686">
                  <c:v>21.411182716081981</c:v>
                </c:pt>
                <c:pt idx="19687">
                  <c:v>24.169245420236091</c:v>
                </c:pt>
                <c:pt idx="19688">
                  <c:v>28.530350459971025</c:v>
                </c:pt>
                <c:pt idx="19689">
                  <c:v>44.421907467291788</c:v>
                </c:pt>
                <c:pt idx="19690">
                  <c:v>52.901757254321197</c:v>
                </c:pt>
                <c:pt idx="19691">
                  <c:v>27.584173519154263</c:v>
                </c:pt>
                <c:pt idx="19692">
                  <c:v>23.332786211738377</c:v>
                </c:pt>
                <c:pt idx="19693">
                  <c:v>28.203644921901216</c:v>
                </c:pt>
                <c:pt idx="19694">
                  <c:v>24.506597329029837</c:v>
                </c:pt>
                <c:pt idx="19695">
                  <c:v>45.692216185496235</c:v>
                </c:pt>
                <c:pt idx="19696">
                  <c:v>29.896191138924728</c:v>
                </c:pt>
                <c:pt idx="19697">
                  <c:v>28.10777972751551</c:v>
                </c:pt>
                <c:pt idx="19698">
                  <c:v>47.531529354423562</c:v>
                </c:pt>
                <c:pt idx="19699">
                  <c:v>25.834298410616952</c:v>
                </c:pt>
                <c:pt idx="19700">
                  <c:v>27.587058388249037</c:v>
                </c:pt>
                <c:pt idx="19701">
                  <c:v>25.831779642147694</c:v>
                </c:pt>
                <c:pt idx="19702">
                  <c:v>28.539134775230551</c:v>
                </c:pt>
                <c:pt idx="19703">
                  <c:v>28.665628338456397</c:v>
                </c:pt>
                <c:pt idx="19704">
                  <c:v>32.681500759877672</c:v>
                </c:pt>
                <c:pt idx="19705">
                  <c:v>27.661811254280394</c:v>
                </c:pt>
                <c:pt idx="19706">
                  <c:v>27.287848473108774</c:v>
                </c:pt>
                <c:pt idx="19707">
                  <c:v>51.479032315070995</c:v>
                </c:pt>
                <c:pt idx="19708">
                  <c:v>20.641444435647269</c:v>
                </c:pt>
                <c:pt idx="19709">
                  <c:v>42.817383467331638</c:v>
                </c:pt>
                <c:pt idx="19710">
                  <c:v>29.937136600857578</c:v>
                </c:pt>
                <c:pt idx="19711">
                  <c:v>29.35569829160784</c:v>
                </c:pt>
                <c:pt idx="19712">
                  <c:v>23.143246668153225</c:v>
                </c:pt>
                <c:pt idx="19713">
                  <c:v>27.820488214666916</c:v>
                </c:pt>
                <c:pt idx="19714">
                  <c:v>26.127812195695864</c:v>
                </c:pt>
                <c:pt idx="19715">
                  <c:v>26.427223429855854</c:v>
                </c:pt>
                <c:pt idx="19716">
                  <c:v>53.849523414214339</c:v>
                </c:pt>
                <c:pt idx="19717">
                  <c:v>23.297179045126583</c:v>
                </c:pt>
                <c:pt idx="19718">
                  <c:v>28.477483918183083</c:v>
                </c:pt>
                <c:pt idx="19719">
                  <c:v>48.053786502514633</c:v>
                </c:pt>
                <c:pt idx="19720">
                  <c:v>16.714200845083425</c:v>
                </c:pt>
                <c:pt idx="19721">
                  <c:v>20.942211144480417</c:v>
                </c:pt>
                <c:pt idx="19722">
                  <c:v>46.890815270763738</c:v>
                </c:pt>
                <c:pt idx="19723">
                  <c:v>27.466377211842094</c:v>
                </c:pt>
                <c:pt idx="19724">
                  <c:v>27.227636479774844</c:v>
                </c:pt>
                <c:pt idx="19725">
                  <c:v>24.142482857271791</c:v>
                </c:pt>
                <c:pt idx="19726">
                  <c:v>20.736243660410835</c:v>
                </c:pt>
                <c:pt idx="19727">
                  <c:v>55.798515420586398</c:v>
                </c:pt>
                <c:pt idx="19728">
                  <c:v>27.174219143746186</c:v>
                </c:pt>
                <c:pt idx="19729">
                  <c:v>24.693408386169477</c:v>
                </c:pt>
                <c:pt idx="19730">
                  <c:v>36.16958189613009</c:v>
                </c:pt>
                <c:pt idx="19731">
                  <c:v>46.463440065005607</c:v>
                </c:pt>
                <c:pt idx="19732">
                  <c:v>27.548243069274847</c:v>
                </c:pt>
                <c:pt idx="19733">
                  <c:v>21.625773987580196</c:v>
                </c:pt>
                <c:pt idx="19734">
                  <c:v>29.983120178978528</c:v>
                </c:pt>
                <c:pt idx="19735">
                  <c:v>38.001543342879657</c:v>
                </c:pt>
                <c:pt idx="19736">
                  <c:v>44.988840321837607</c:v>
                </c:pt>
                <c:pt idx="19737">
                  <c:v>36.511233594616435</c:v>
                </c:pt>
                <c:pt idx="19738">
                  <c:v>25.139962569707606</c:v>
                </c:pt>
                <c:pt idx="19739">
                  <c:v>30.918612379666591</c:v>
                </c:pt>
                <c:pt idx="19740">
                  <c:v>32.449294173316012</c:v>
                </c:pt>
                <c:pt idx="19741">
                  <c:v>24.34329009004378</c:v>
                </c:pt>
                <c:pt idx="19742">
                  <c:v>41.508988965224198</c:v>
                </c:pt>
                <c:pt idx="19743">
                  <c:v>31.581139340934307</c:v>
                </c:pt>
                <c:pt idx="19744">
                  <c:v>15.721453012161712</c:v>
                </c:pt>
                <c:pt idx="19745">
                  <c:v>27.655072601265381</c:v>
                </c:pt>
                <c:pt idx="19746">
                  <c:v>28.791542731223295</c:v>
                </c:pt>
                <c:pt idx="19747">
                  <c:v>58.220963204852815</c:v>
                </c:pt>
                <c:pt idx="19748">
                  <c:v>24.166854734782667</c:v>
                </c:pt>
                <c:pt idx="19749">
                  <c:v>30.347818881643359</c:v>
                </c:pt>
                <c:pt idx="19750">
                  <c:v>21.176208519087929</c:v>
                </c:pt>
                <c:pt idx="19751">
                  <c:v>29.881785646302752</c:v>
                </c:pt>
                <c:pt idx="19752">
                  <c:v>28.908741369378081</c:v>
                </c:pt>
                <c:pt idx="19753">
                  <c:v>34.157459851457666</c:v>
                </c:pt>
                <c:pt idx="19754">
                  <c:v>48.000464197042149</c:v>
                </c:pt>
                <c:pt idx="19755">
                  <c:v>23.274347446886026</c:v>
                </c:pt>
                <c:pt idx="19756">
                  <c:v>24.994224561589832</c:v>
                </c:pt>
                <c:pt idx="19757">
                  <c:v>29.521776354562721</c:v>
                </c:pt>
                <c:pt idx="19758">
                  <c:v>27.526230553277685</c:v>
                </c:pt>
                <c:pt idx="19759">
                  <c:v>23.746522591423656</c:v>
                </c:pt>
                <c:pt idx="19760">
                  <c:v>54.937265362404617</c:v>
                </c:pt>
                <c:pt idx="19761">
                  <c:v>36.85089858534252</c:v>
                </c:pt>
                <c:pt idx="19762">
                  <c:v>27.360593020101021</c:v>
                </c:pt>
                <c:pt idx="19763">
                  <c:v>30.784541361189241</c:v>
                </c:pt>
                <c:pt idx="19764">
                  <c:v>34.901171980122797</c:v>
                </c:pt>
                <c:pt idx="19765">
                  <c:v>49.909912693208057</c:v>
                </c:pt>
                <c:pt idx="19766">
                  <c:v>25.718726457052057</c:v>
                </c:pt>
                <c:pt idx="19767">
                  <c:v>48.071232489233935</c:v>
                </c:pt>
                <c:pt idx="19768">
                  <c:v>28.910940607850677</c:v>
                </c:pt>
                <c:pt idx="19769">
                  <c:v>30.56750201919187</c:v>
                </c:pt>
                <c:pt idx="19770">
                  <c:v>17.118731317433738</c:v>
                </c:pt>
                <c:pt idx="19771">
                  <c:v>26.959991019657789</c:v>
                </c:pt>
                <c:pt idx="19772">
                  <c:v>31.488080959194502</c:v>
                </c:pt>
                <c:pt idx="19773">
                  <c:v>50.661329526394823</c:v>
                </c:pt>
                <c:pt idx="19774">
                  <c:v>33.050851059871128</c:v>
                </c:pt>
                <c:pt idx="19775">
                  <c:v>32.23532919848747</c:v>
                </c:pt>
                <c:pt idx="19776">
                  <c:v>38.715147506183541</c:v>
                </c:pt>
                <c:pt idx="19777">
                  <c:v>29.495063787862719</c:v>
                </c:pt>
                <c:pt idx="19778">
                  <c:v>27.059959287263585</c:v>
                </c:pt>
                <c:pt idx="19779">
                  <c:v>43.672917153030376</c:v>
                </c:pt>
                <c:pt idx="19780">
                  <c:v>26.467776204590955</c:v>
                </c:pt>
                <c:pt idx="19781">
                  <c:v>19.253887899219102</c:v>
                </c:pt>
                <c:pt idx="19782">
                  <c:v>27.496707135489807</c:v>
                </c:pt>
                <c:pt idx="19783">
                  <c:v>30.54591001739735</c:v>
                </c:pt>
                <c:pt idx="19784">
                  <c:v>24.256551977263513</c:v>
                </c:pt>
                <c:pt idx="19785">
                  <c:v>26.769890974208018</c:v>
                </c:pt>
                <c:pt idx="19786">
                  <c:v>24.905470091627635</c:v>
                </c:pt>
                <c:pt idx="19787">
                  <c:v>28.816342493158434</c:v>
                </c:pt>
                <c:pt idx="19788">
                  <c:v>25.80213419281684</c:v>
                </c:pt>
                <c:pt idx="19789">
                  <c:v>23.523513701229952</c:v>
                </c:pt>
                <c:pt idx="19790">
                  <c:v>25.416265478022844</c:v>
                </c:pt>
                <c:pt idx="19791">
                  <c:v>31.449430274840747</c:v>
                </c:pt>
                <c:pt idx="19792">
                  <c:v>19.783304768881685</c:v>
                </c:pt>
                <c:pt idx="19793">
                  <c:v>48.519441940130825</c:v>
                </c:pt>
                <c:pt idx="19794">
                  <c:v>21.282879152798628</c:v>
                </c:pt>
                <c:pt idx="19795">
                  <c:v>28.552308129130854</c:v>
                </c:pt>
                <c:pt idx="19796">
                  <c:v>28.208386397464412</c:v>
                </c:pt>
                <c:pt idx="19797">
                  <c:v>64.464158872869902</c:v>
                </c:pt>
                <c:pt idx="19798">
                  <c:v>29.193371567327166</c:v>
                </c:pt>
                <c:pt idx="19799">
                  <c:v>21.01992946233586</c:v>
                </c:pt>
                <c:pt idx="19800">
                  <c:v>32.49897432703029</c:v>
                </c:pt>
                <c:pt idx="19801">
                  <c:v>32.190312699768803</c:v>
                </c:pt>
                <c:pt idx="19802">
                  <c:v>26.868869280006795</c:v>
                </c:pt>
                <c:pt idx="19803">
                  <c:v>28.588422250756089</c:v>
                </c:pt>
                <c:pt idx="19804">
                  <c:v>22.985149901174736</c:v>
                </c:pt>
                <c:pt idx="19805">
                  <c:v>28.345956243887379</c:v>
                </c:pt>
                <c:pt idx="19806">
                  <c:v>19.50527285008156</c:v>
                </c:pt>
                <c:pt idx="19807">
                  <c:v>26.674325306660897</c:v>
                </c:pt>
                <c:pt idx="19808">
                  <c:v>52.058718680789362</c:v>
                </c:pt>
                <c:pt idx="19809">
                  <c:v>42.085282077322269</c:v>
                </c:pt>
                <c:pt idx="19810">
                  <c:v>33.177027923463349</c:v>
                </c:pt>
                <c:pt idx="19811">
                  <c:v>29.125781429025778</c:v>
                </c:pt>
                <c:pt idx="19812">
                  <c:v>29.018308746136256</c:v>
                </c:pt>
                <c:pt idx="19813">
                  <c:v>28.167149402884895</c:v>
                </c:pt>
                <c:pt idx="19814">
                  <c:v>53.740311129350502</c:v>
                </c:pt>
                <c:pt idx="19815">
                  <c:v>32.852455996640657</c:v>
                </c:pt>
                <c:pt idx="19816">
                  <c:v>31.003343592687617</c:v>
                </c:pt>
                <c:pt idx="19817">
                  <c:v>26.784226974339866</c:v>
                </c:pt>
                <c:pt idx="19818">
                  <c:v>31.457220247890643</c:v>
                </c:pt>
                <c:pt idx="19819">
                  <c:v>19.22578794948739</c:v>
                </c:pt>
                <c:pt idx="19820">
                  <c:v>28.011493555460135</c:v>
                </c:pt>
                <c:pt idx="19821">
                  <c:v>25.280060873078924</c:v>
                </c:pt>
                <c:pt idx="19822">
                  <c:v>39.106349100061266</c:v>
                </c:pt>
                <c:pt idx="19823">
                  <c:v>31.304820734329034</c:v>
                </c:pt>
                <c:pt idx="19824">
                  <c:v>35.355600278983736</c:v>
                </c:pt>
                <c:pt idx="19825">
                  <c:v>29.536529404122589</c:v>
                </c:pt>
                <c:pt idx="19826">
                  <c:v>30.187350122311052</c:v>
                </c:pt>
                <c:pt idx="19827">
                  <c:v>47.572092969147143</c:v>
                </c:pt>
                <c:pt idx="19828">
                  <c:v>26.027320132205457</c:v>
                </c:pt>
                <c:pt idx="19829">
                  <c:v>23.613916222172833</c:v>
                </c:pt>
                <c:pt idx="19830">
                  <c:v>47.183642414553717</c:v>
                </c:pt>
                <c:pt idx="19831">
                  <c:v>49.888655548163598</c:v>
                </c:pt>
                <c:pt idx="19832">
                  <c:v>33.22701961733938</c:v>
                </c:pt>
                <c:pt idx="19833">
                  <c:v>38.285355699988628</c:v>
                </c:pt>
                <c:pt idx="19834">
                  <c:v>33.230894608665011</c:v>
                </c:pt>
                <c:pt idx="19835">
                  <c:v>23.992863364799078</c:v>
                </c:pt>
                <c:pt idx="19836">
                  <c:v>34.217166995757758</c:v>
                </c:pt>
                <c:pt idx="19837">
                  <c:v>30.8880535525856</c:v>
                </c:pt>
                <c:pt idx="19838">
                  <c:v>42.133446072141531</c:v>
                </c:pt>
                <c:pt idx="19839">
                  <c:v>47.771052661189884</c:v>
                </c:pt>
                <c:pt idx="19840">
                  <c:v>47.861342680501252</c:v>
                </c:pt>
                <c:pt idx="19841">
                  <c:v>22.559417441426316</c:v>
                </c:pt>
                <c:pt idx="19842">
                  <c:v>27.548203003612656</c:v>
                </c:pt>
                <c:pt idx="19843">
                  <c:v>33.610062227145406</c:v>
                </c:pt>
                <c:pt idx="19844">
                  <c:v>23.434998288883744</c:v>
                </c:pt>
                <c:pt idx="19845">
                  <c:v>24.813508574515566</c:v>
                </c:pt>
                <c:pt idx="19846">
                  <c:v>28.374667003422978</c:v>
                </c:pt>
                <c:pt idx="19847">
                  <c:v>27.7625194674875</c:v>
                </c:pt>
                <c:pt idx="19848">
                  <c:v>30.900461627782882</c:v>
                </c:pt>
                <c:pt idx="19849">
                  <c:v>28.159481208377446</c:v>
                </c:pt>
                <c:pt idx="19850">
                  <c:v>21.852575842710255</c:v>
                </c:pt>
                <c:pt idx="19851">
                  <c:v>40.657363038168562</c:v>
                </c:pt>
                <c:pt idx="19852">
                  <c:v>23.650063647786297</c:v>
                </c:pt>
                <c:pt idx="19853">
                  <c:v>23.222638579505269</c:v>
                </c:pt>
                <c:pt idx="19854">
                  <c:v>20.633217255682506</c:v>
                </c:pt>
                <c:pt idx="19855">
                  <c:v>34.34887371750591</c:v>
                </c:pt>
                <c:pt idx="19856">
                  <c:v>57.398039373228137</c:v>
                </c:pt>
                <c:pt idx="19857">
                  <c:v>24.96326888470599</c:v>
                </c:pt>
                <c:pt idx="19858">
                  <c:v>25.191868572097835</c:v>
                </c:pt>
                <c:pt idx="19859">
                  <c:v>28.093372209997725</c:v>
                </c:pt>
                <c:pt idx="19860">
                  <c:v>28.220555473526012</c:v>
                </c:pt>
                <c:pt idx="19861">
                  <c:v>44.282081765982333</c:v>
                </c:pt>
                <c:pt idx="19862">
                  <c:v>53.365573998399867</c:v>
                </c:pt>
                <c:pt idx="19863">
                  <c:v>28.908503600256644</c:v>
                </c:pt>
                <c:pt idx="19864">
                  <c:v>24.373170529498083</c:v>
                </c:pt>
                <c:pt idx="19865">
                  <c:v>20.098580178134323</c:v>
                </c:pt>
                <c:pt idx="19866">
                  <c:v>25.604356454242577</c:v>
                </c:pt>
                <c:pt idx="19867">
                  <c:v>24.791236803832039</c:v>
                </c:pt>
                <c:pt idx="19868">
                  <c:v>26.77645723817577</c:v>
                </c:pt>
                <c:pt idx="19869">
                  <c:v>28.46496368246407</c:v>
                </c:pt>
                <c:pt idx="19870">
                  <c:v>45.727216587676089</c:v>
                </c:pt>
                <c:pt idx="19871">
                  <c:v>24.460797249011893</c:v>
                </c:pt>
                <c:pt idx="19872">
                  <c:v>22.61746928677842</c:v>
                </c:pt>
                <c:pt idx="19873">
                  <c:v>46.077523085383561</c:v>
                </c:pt>
                <c:pt idx="19874">
                  <c:v>52.151387376024516</c:v>
                </c:pt>
                <c:pt idx="19875">
                  <c:v>26.515114922139208</c:v>
                </c:pt>
                <c:pt idx="19876">
                  <c:v>54.839705882978649</c:v>
                </c:pt>
                <c:pt idx="19877">
                  <c:v>29.962969939020368</c:v>
                </c:pt>
                <c:pt idx="19878">
                  <c:v>47.091814129074351</c:v>
                </c:pt>
                <c:pt idx="19879">
                  <c:v>26.673129346966057</c:v>
                </c:pt>
                <c:pt idx="19880">
                  <c:v>28.460217876401881</c:v>
                </c:pt>
                <c:pt idx="19881">
                  <c:v>31.361262265112149</c:v>
                </c:pt>
                <c:pt idx="19882">
                  <c:v>24.53330766142593</c:v>
                </c:pt>
                <c:pt idx="19883">
                  <c:v>29.144434648583772</c:v>
                </c:pt>
                <c:pt idx="19884">
                  <c:v>23.480080288606537</c:v>
                </c:pt>
                <c:pt idx="19885">
                  <c:v>24.149598702306527</c:v>
                </c:pt>
                <c:pt idx="19886">
                  <c:v>23.38526220765965</c:v>
                </c:pt>
                <c:pt idx="19887">
                  <c:v>45.565755280985798</c:v>
                </c:pt>
                <c:pt idx="19888">
                  <c:v>29.284025607849173</c:v>
                </c:pt>
                <c:pt idx="19889">
                  <c:v>45.314327424919071</c:v>
                </c:pt>
                <c:pt idx="19890">
                  <c:v>27.270605467109981</c:v>
                </c:pt>
                <c:pt idx="19891">
                  <c:v>20.118030428669027</c:v>
                </c:pt>
                <c:pt idx="19892">
                  <c:v>24.582481516903982</c:v>
                </c:pt>
                <c:pt idx="19893">
                  <c:v>32.943092920715216</c:v>
                </c:pt>
                <c:pt idx="19894">
                  <c:v>23.24148039648907</c:v>
                </c:pt>
                <c:pt idx="19895">
                  <c:v>28.930110163393508</c:v>
                </c:pt>
                <c:pt idx="19896">
                  <c:v>21.587427866213154</c:v>
                </c:pt>
                <c:pt idx="19897">
                  <c:v>28.059259765442878</c:v>
                </c:pt>
                <c:pt idx="19898">
                  <c:v>23.913501944556955</c:v>
                </c:pt>
                <c:pt idx="19899">
                  <c:v>18.62511243208176</c:v>
                </c:pt>
                <c:pt idx="19900">
                  <c:v>34.531660912321691</c:v>
                </c:pt>
                <c:pt idx="19901">
                  <c:v>28.626090687392846</c:v>
                </c:pt>
                <c:pt idx="19902">
                  <c:v>25.88371389517642</c:v>
                </c:pt>
                <c:pt idx="19903">
                  <c:v>40.851478083495778</c:v>
                </c:pt>
                <c:pt idx="19904">
                  <c:v>23.753877589875863</c:v>
                </c:pt>
                <c:pt idx="19905">
                  <c:v>45.469169820112882</c:v>
                </c:pt>
                <c:pt idx="19906">
                  <c:v>27.519608774965398</c:v>
                </c:pt>
                <c:pt idx="19907">
                  <c:v>25.299796803173514</c:v>
                </c:pt>
                <c:pt idx="19908">
                  <c:v>17.172404547754624</c:v>
                </c:pt>
                <c:pt idx="19909">
                  <c:v>26.736052125294925</c:v>
                </c:pt>
                <c:pt idx="19910">
                  <c:v>30.885142915217322</c:v>
                </c:pt>
                <c:pt idx="19911">
                  <c:v>36.199790663244855</c:v>
                </c:pt>
                <c:pt idx="19912">
                  <c:v>49.875083688159762</c:v>
                </c:pt>
                <c:pt idx="19913">
                  <c:v>22.522283387068086</c:v>
                </c:pt>
                <c:pt idx="19914">
                  <c:v>25.373918047798973</c:v>
                </c:pt>
                <c:pt idx="19915">
                  <c:v>53.060780844896804</c:v>
                </c:pt>
                <c:pt idx="19916">
                  <c:v>29.359156049529034</c:v>
                </c:pt>
                <c:pt idx="19917">
                  <c:v>24.330922334055064</c:v>
                </c:pt>
                <c:pt idx="19918">
                  <c:v>22.721631834427519</c:v>
                </c:pt>
                <c:pt idx="19919">
                  <c:v>23.680617754512951</c:v>
                </c:pt>
                <c:pt idx="19920">
                  <c:v>34.204484869175957</c:v>
                </c:pt>
                <c:pt idx="19921">
                  <c:v>29.072878399900404</c:v>
                </c:pt>
                <c:pt idx="19922">
                  <c:v>28.268044695049063</c:v>
                </c:pt>
                <c:pt idx="19923">
                  <c:v>29.030606776818416</c:v>
                </c:pt>
                <c:pt idx="19924">
                  <c:v>28.968229809660187</c:v>
                </c:pt>
                <c:pt idx="19925">
                  <c:v>55.655685491967034</c:v>
                </c:pt>
                <c:pt idx="19926">
                  <c:v>42.056613662792124</c:v>
                </c:pt>
                <c:pt idx="19927">
                  <c:v>46.668563780749487</c:v>
                </c:pt>
                <c:pt idx="19928">
                  <c:v>21.054541923062633</c:v>
                </c:pt>
                <c:pt idx="19929">
                  <c:v>26.184447821212729</c:v>
                </c:pt>
                <c:pt idx="19930">
                  <c:v>25.8459951920834</c:v>
                </c:pt>
                <c:pt idx="19931">
                  <c:v>24.786944404455213</c:v>
                </c:pt>
                <c:pt idx="19932">
                  <c:v>30.232142097278853</c:v>
                </c:pt>
                <c:pt idx="19933">
                  <c:v>29.063964048119388</c:v>
                </c:pt>
                <c:pt idx="19934">
                  <c:v>54.451397064027617</c:v>
                </c:pt>
                <c:pt idx="19935">
                  <c:v>30.574394587697537</c:v>
                </c:pt>
                <c:pt idx="19936">
                  <c:v>36.153171703202936</c:v>
                </c:pt>
                <c:pt idx="19937">
                  <c:v>14.480090729020752</c:v>
                </c:pt>
                <c:pt idx="19938">
                  <c:v>29.964473846028739</c:v>
                </c:pt>
                <c:pt idx="19939">
                  <c:v>22.138224946330439</c:v>
                </c:pt>
                <c:pt idx="19940">
                  <c:v>48.697462635294336</c:v>
                </c:pt>
                <c:pt idx="19941">
                  <c:v>28.001615099970849</c:v>
                </c:pt>
                <c:pt idx="19942">
                  <c:v>25.24106017795302</c:v>
                </c:pt>
                <c:pt idx="19943">
                  <c:v>30.08142045978936</c:v>
                </c:pt>
                <c:pt idx="19944">
                  <c:v>22.046731554479042</c:v>
                </c:pt>
                <c:pt idx="19945">
                  <c:v>24.504547977925402</c:v>
                </c:pt>
                <c:pt idx="19946">
                  <c:v>26.856739071298055</c:v>
                </c:pt>
                <c:pt idx="19947">
                  <c:v>21.916712040323876</c:v>
                </c:pt>
                <c:pt idx="19948">
                  <c:v>34.231202766481708</c:v>
                </c:pt>
                <c:pt idx="19949">
                  <c:v>32.562141507729493</c:v>
                </c:pt>
                <c:pt idx="19950">
                  <c:v>25.932974029439158</c:v>
                </c:pt>
                <c:pt idx="19951">
                  <c:v>51.965645536870284</c:v>
                </c:pt>
                <c:pt idx="19952">
                  <c:v>34.190191397591896</c:v>
                </c:pt>
                <c:pt idx="19953">
                  <c:v>40.92451769649859</c:v>
                </c:pt>
                <c:pt idx="19954">
                  <c:v>30.397572841998869</c:v>
                </c:pt>
                <c:pt idx="19955">
                  <c:v>20.360230337239173</c:v>
                </c:pt>
                <c:pt idx="19956">
                  <c:v>26.781623276226536</c:v>
                </c:pt>
                <c:pt idx="19957">
                  <c:v>24.101334605513777</c:v>
                </c:pt>
                <c:pt idx="19958">
                  <c:v>22.765536010122624</c:v>
                </c:pt>
                <c:pt idx="19959">
                  <c:v>44.104626954981541</c:v>
                </c:pt>
                <c:pt idx="19960">
                  <c:v>20.060983752802777</c:v>
                </c:pt>
                <c:pt idx="19961">
                  <c:v>43.444011261794948</c:v>
                </c:pt>
                <c:pt idx="19962">
                  <c:v>38.791272134200703</c:v>
                </c:pt>
                <c:pt idx="19963">
                  <c:v>20.865736199225175</c:v>
                </c:pt>
                <c:pt idx="19964">
                  <c:v>19.394442655589032</c:v>
                </c:pt>
                <c:pt idx="19965">
                  <c:v>44.522143863663253</c:v>
                </c:pt>
                <c:pt idx="19966">
                  <c:v>37.333330782077709</c:v>
                </c:pt>
                <c:pt idx="19967">
                  <c:v>31.799780395531208</c:v>
                </c:pt>
                <c:pt idx="19968">
                  <c:v>30.682808643227066</c:v>
                </c:pt>
                <c:pt idx="19969">
                  <c:v>21.830329067426</c:v>
                </c:pt>
                <c:pt idx="19970">
                  <c:v>48.98900371448989</c:v>
                </c:pt>
                <c:pt idx="19971">
                  <c:v>28.814864327451641</c:v>
                </c:pt>
                <c:pt idx="19972">
                  <c:v>41.764429590621319</c:v>
                </c:pt>
                <c:pt idx="19973">
                  <c:v>44.852833426200569</c:v>
                </c:pt>
                <c:pt idx="19974">
                  <c:v>23.696535525225052</c:v>
                </c:pt>
                <c:pt idx="19975">
                  <c:v>38.737840940372323</c:v>
                </c:pt>
                <c:pt idx="19976">
                  <c:v>26.814894932089068</c:v>
                </c:pt>
                <c:pt idx="19977">
                  <c:v>54.489428974671519</c:v>
                </c:pt>
                <c:pt idx="19978">
                  <c:v>32.136476619010374</c:v>
                </c:pt>
                <c:pt idx="19979">
                  <c:v>22.228964063199257</c:v>
                </c:pt>
                <c:pt idx="19980">
                  <c:v>27.493503274762308</c:v>
                </c:pt>
                <c:pt idx="19981">
                  <c:v>24.541014017319238</c:v>
                </c:pt>
                <c:pt idx="19982">
                  <c:v>26.531777253942639</c:v>
                </c:pt>
                <c:pt idx="19983">
                  <c:v>20.148421637871039</c:v>
                </c:pt>
                <c:pt idx="19984">
                  <c:v>41.584499893386486</c:v>
                </c:pt>
                <c:pt idx="19985">
                  <c:v>26.748256139687594</c:v>
                </c:pt>
                <c:pt idx="19986">
                  <c:v>39.993270924513425</c:v>
                </c:pt>
                <c:pt idx="19987">
                  <c:v>25.838227860644977</c:v>
                </c:pt>
                <c:pt idx="19988">
                  <c:v>32.313456084580316</c:v>
                </c:pt>
                <c:pt idx="19989">
                  <c:v>28.564372547548455</c:v>
                </c:pt>
                <c:pt idx="19990">
                  <c:v>33.786118919563187</c:v>
                </c:pt>
                <c:pt idx="19991">
                  <c:v>23.46601400765481</c:v>
                </c:pt>
                <c:pt idx="19992">
                  <c:v>27.307614523562542</c:v>
                </c:pt>
                <c:pt idx="19993">
                  <c:v>42.663254211434932</c:v>
                </c:pt>
                <c:pt idx="19994">
                  <c:v>59.012363392719543</c:v>
                </c:pt>
                <c:pt idx="19995">
                  <c:v>29.89495816295792</c:v>
                </c:pt>
                <c:pt idx="19996">
                  <c:v>26.285593220916748</c:v>
                </c:pt>
                <c:pt idx="19997">
                  <c:v>41.846853539152754</c:v>
                </c:pt>
                <c:pt idx="19998">
                  <c:v>25.031450960385659</c:v>
                </c:pt>
                <c:pt idx="19999">
                  <c:v>25.893212078578376</c:v>
                </c:pt>
                <c:pt idx="20000">
                  <c:v>53.29269751587794</c:v>
                </c:pt>
                <c:pt idx="20001">
                  <c:v>42.120426415915276</c:v>
                </c:pt>
                <c:pt idx="20002">
                  <c:v>34.31967968320015</c:v>
                </c:pt>
                <c:pt idx="20003">
                  <c:v>24.022805696491218</c:v>
                </c:pt>
                <c:pt idx="20004">
                  <c:v>23.205727313039958</c:v>
                </c:pt>
                <c:pt idx="20005">
                  <c:v>35.177633942816485</c:v>
                </c:pt>
                <c:pt idx="20006">
                  <c:v>29.861265598873107</c:v>
                </c:pt>
                <c:pt idx="20007">
                  <c:v>53.53827939422532</c:v>
                </c:pt>
                <c:pt idx="20008">
                  <c:v>28.07170119363688</c:v>
                </c:pt>
                <c:pt idx="20009">
                  <c:v>48.871938155205967</c:v>
                </c:pt>
                <c:pt idx="20010">
                  <c:v>17.492582097013511</c:v>
                </c:pt>
                <c:pt idx="20011">
                  <c:v>43.739108978896873</c:v>
                </c:pt>
                <c:pt idx="20012">
                  <c:v>20.81556470617031</c:v>
                </c:pt>
                <c:pt idx="20013">
                  <c:v>29.276771552372743</c:v>
                </c:pt>
                <c:pt idx="20014">
                  <c:v>26.62186769230178</c:v>
                </c:pt>
                <c:pt idx="20015">
                  <c:v>36.161227277114008</c:v>
                </c:pt>
                <c:pt idx="20016">
                  <c:v>31.012610592409317</c:v>
                </c:pt>
                <c:pt idx="20017">
                  <c:v>31.145654513713353</c:v>
                </c:pt>
                <c:pt idx="20018">
                  <c:v>22.932187410202779</c:v>
                </c:pt>
                <c:pt idx="20019">
                  <c:v>27.689690681053968</c:v>
                </c:pt>
                <c:pt idx="20020">
                  <c:v>39.53834738245483</c:v>
                </c:pt>
                <c:pt idx="20021">
                  <c:v>20.976551847336928</c:v>
                </c:pt>
                <c:pt idx="20022">
                  <c:v>54.187646126663907</c:v>
                </c:pt>
                <c:pt idx="20023">
                  <c:v>34.455246159667638</c:v>
                </c:pt>
                <c:pt idx="20024">
                  <c:v>46.218529346281485</c:v>
                </c:pt>
                <c:pt idx="20025">
                  <c:v>52.29288064222002</c:v>
                </c:pt>
                <c:pt idx="20026">
                  <c:v>43.667156564092025</c:v>
                </c:pt>
                <c:pt idx="20027">
                  <c:v>36.80026619703365</c:v>
                </c:pt>
                <c:pt idx="20028">
                  <c:v>17.951783715655203</c:v>
                </c:pt>
                <c:pt idx="20029">
                  <c:v>48.970121864443328</c:v>
                </c:pt>
                <c:pt idx="20030">
                  <c:v>26.125537098461834</c:v>
                </c:pt>
                <c:pt idx="20031">
                  <c:v>40.755892109104224</c:v>
                </c:pt>
                <c:pt idx="20032">
                  <c:v>32.973308306251177</c:v>
                </c:pt>
                <c:pt idx="20033">
                  <c:v>20.655238644878331</c:v>
                </c:pt>
                <c:pt idx="20034">
                  <c:v>41.094588867211989</c:v>
                </c:pt>
                <c:pt idx="20035">
                  <c:v>39.874283429951973</c:v>
                </c:pt>
                <c:pt idx="20036">
                  <c:v>20.083831411700416</c:v>
                </c:pt>
                <c:pt idx="20037">
                  <c:v>24.009860269120729</c:v>
                </c:pt>
                <c:pt idx="20038">
                  <c:v>27.007193359907763</c:v>
                </c:pt>
                <c:pt idx="20039">
                  <c:v>39.3577047435598</c:v>
                </c:pt>
                <c:pt idx="20040">
                  <c:v>31.941591950296711</c:v>
                </c:pt>
                <c:pt idx="20041">
                  <c:v>34.475385495318939</c:v>
                </c:pt>
                <c:pt idx="20042">
                  <c:v>31.676510197080745</c:v>
                </c:pt>
                <c:pt idx="20043">
                  <c:v>31.810608385739307</c:v>
                </c:pt>
                <c:pt idx="20044">
                  <c:v>25.795214131531466</c:v>
                </c:pt>
                <c:pt idx="20045">
                  <c:v>26.905112758527469</c:v>
                </c:pt>
                <c:pt idx="20046">
                  <c:v>50.56888208212326</c:v>
                </c:pt>
                <c:pt idx="20047">
                  <c:v>38.875057194663349</c:v>
                </c:pt>
                <c:pt idx="20048">
                  <c:v>21.035627277309231</c:v>
                </c:pt>
                <c:pt idx="20049">
                  <c:v>22.927886250978759</c:v>
                </c:pt>
                <c:pt idx="20050">
                  <c:v>52.305381058662505</c:v>
                </c:pt>
                <c:pt idx="20051">
                  <c:v>15.923037052457499</c:v>
                </c:pt>
                <c:pt idx="20052">
                  <c:v>29.964885602322976</c:v>
                </c:pt>
                <c:pt idx="20053">
                  <c:v>27.405105673000477</c:v>
                </c:pt>
                <c:pt idx="20054">
                  <c:v>26.77683062845438</c:v>
                </c:pt>
                <c:pt idx="20055">
                  <c:v>24.249475509412047</c:v>
                </c:pt>
                <c:pt idx="20056">
                  <c:v>20.581357819372855</c:v>
                </c:pt>
                <c:pt idx="20057">
                  <c:v>26.852243055897635</c:v>
                </c:pt>
                <c:pt idx="20058">
                  <c:v>27.695454087686901</c:v>
                </c:pt>
                <c:pt idx="20059">
                  <c:v>24.107445368661836</c:v>
                </c:pt>
                <c:pt idx="20060">
                  <c:v>57.924205708267834</c:v>
                </c:pt>
                <c:pt idx="20061">
                  <c:v>29.028233269029304</c:v>
                </c:pt>
                <c:pt idx="20062">
                  <c:v>28.85022824006748</c:v>
                </c:pt>
                <c:pt idx="20063">
                  <c:v>40.877480548078765</c:v>
                </c:pt>
                <c:pt idx="20064">
                  <c:v>31.809645997547026</c:v>
                </c:pt>
                <c:pt idx="20065">
                  <c:v>21.835249327843904</c:v>
                </c:pt>
                <c:pt idx="20066">
                  <c:v>17.499533331715057</c:v>
                </c:pt>
                <c:pt idx="20067">
                  <c:v>25.412303929398028</c:v>
                </c:pt>
                <c:pt idx="20068">
                  <c:v>28.44175465753305</c:v>
                </c:pt>
                <c:pt idx="20069">
                  <c:v>30.208468470556326</c:v>
                </c:pt>
                <c:pt idx="20070">
                  <c:v>51.004335081923465</c:v>
                </c:pt>
                <c:pt idx="20071">
                  <c:v>43.180652992878194</c:v>
                </c:pt>
                <c:pt idx="20072">
                  <c:v>55.172173778209007</c:v>
                </c:pt>
                <c:pt idx="20073">
                  <c:v>27.660903872765289</c:v>
                </c:pt>
                <c:pt idx="20074">
                  <c:v>35.043517531355754</c:v>
                </c:pt>
                <c:pt idx="20075">
                  <c:v>50.224767313240207</c:v>
                </c:pt>
                <c:pt idx="20076">
                  <c:v>23.951664522329878</c:v>
                </c:pt>
                <c:pt idx="20077">
                  <c:v>29.135878437703308</c:v>
                </c:pt>
                <c:pt idx="20078">
                  <c:v>22.588848843882438</c:v>
                </c:pt>
                <c:pt idx="20079">
                  <c:v>45.143052463650605</c:v>
                </c:pt>
                <c:pt idx="20080">
                  <c:v>47.70806645461559</c:v>
                </c:pt>
                <c:pt idx="20081">
                  <c:v>24.834399283422574</c:v>
                </c:pt>
                <c:pt idx="20082">
                  <c:v>28.853029642382381</c:v>
                </c:pt>
                <c:pt idx="20083">
                  <c:v>27.264966881232226</c:v>
                </c:pt>
                <c:pt idx="20084">
                  <c:v>53.970928062517707</c:v>
                </c:pt>
                <c:pt idx="20085">
                  <c:v>28.844083206138954</c:v>
                </c:pt>
                <c:pt idx="20086">
                  <c:v>22.509780641826765</c:v>
                </c:pt>
                <c:pt idx="20087">
                  <c:v>30.892250597862628</c:v>
                </c:pt>
                <c:pt idx="20088">
                  <c:v>21.179465510028582</c:v>
                </c:pt>
                <c:pt idx="20089">
                  <c:v>26.235378189553078</c:v>
                </c:pt>
                <c:pt idx="20090">
                  <c:v>26.800281028750117</c:v>
                </c:pt>
                <c:pt idx="20091">
                  <c:v>45.437300834707045</c:v>
                </c:pt>
                <c:pt idx="20092">
                  <c:v>44.626086787185685</c:v>
                </c:pt>
                <c:pt idx="20093">
                  <c:v>40.022881940625062</c:v>
                </c:pt>
                <c:pt idx="20094">
                  <c:v>23.604569253584256</c:v>
                </c:pt>
                <c:pt idx="20095">
                  <c:v>28.183674395102798</c:v>
                </c:pt>
                <c:pt idx="20096">
                  <c:v>24.46245819533523</c:v>
                </c:pt>
                <c:pt idx="20097">
                  <c:v>24.528912892096869</c:v>
                </c:pt>
                <c:pt idx="20098">
                  <c:v>39.986482505036427</c:v>
                </c:pt>
                <c:pt idx="20099">
                  <c:v>40.54353990497583</c:v>
                </c:pt>
                <c:pt idx="20100">
                  <c:v>20.806185850322578</c:v>
                </c:pt>
                <c:pt idx="20101">
                  <c:v>37.951629646660294</c:v>
                </c:pt>
                <c:pt idx="20102">
                  <c:v>23.926427998172432</c:v>
                </c:pt>
                <c:pt idx="20103">
                  <c:v>49.777687381884419</c:v>
                </c:pt>
                <c:pt idx="20104">
                  <c:v>29.827852198726056</c:v>
                </c:pt>
                <c:pt idx="20105">
                  <c:v>29.858980747526321</c:v>
                </c:pt>
                <c:pt idx="20106">
                  <c:v>25.491894979022803</c:v>
                </c:pt>
                <c:pt idx="20107">
                  <c:v>43.53618585900692</c:v>
                </c:pt>
                <c:pt idx="20108">
                  <c:v>21.111002443184773</c:v>
                </c:pt>
                <c:pt idx="20109">
                  <c:v>37.746254670134817</c:v>
                </c:pt>
                <c:pt idx="20110">
                  <c:v>25.285816395966069</c:v>
                </c:pt>
                <c:pt idx="20111">
                  <c:v>53.894088609709328</c:v>
                </c:pt>
                <c:pt idx="20112">
                  <c:v>30.138691664336086</c:v>
                </c:pt>
                <c:pt idx="20113">
                  <c:v>28.451167041817953</c:v>
                </c:pt>
                <c:pt idx="20114">
                  <c:v>22.106954084908104</c:v>
                </c:pt>
                <c:pt idx="20115">
                  <c:v>59.620751740238639</c:v>
                </c:pt>
                <c:pt idx="20116">
                  <c:v>29.570834017613976</c:v>
                </c:pt>
                <c:pt idx="20117">
                  <c:v>53.189236433114978</c:v>
                </c:pt>
                <c:pt idx="20118">
                  <c:v>25.232870513286592</c:v>
                </c:pt>
                <c:pt idx="20119">
                  <c:v>70.913112697508168</c:v>
                </c:pt>
                <c:pt idx="20120">
                  <c:v>21.8537377014807</c:v>
                </c:pt>
                <c:pt idx="20121">
                  <c:v>26.172505678249724</c:v>
                </c:pt>
                <c:pt idx="20122">
                  <c:v>29.8075874039593</c:v>
                </c:pt>
                <c:pt idx="20123">
                  <c:v>42.927752425198435</c:v>
                </c:pt>
                <c:pt idx="20124">
                  <c:v>22.906480484455781</c:v>
                </c:pt>
                <c:pt idx="20125">
                  <c:v>37.518619378539313</c:v>
                </c:pt>
                <c:pt idx="20126">
                  <c:v>47.073855182167321</c:v>
                </c:pt>
                <c:pt idx="20127">
                  <c:v>44.856323972861155</c:v>
                </c:pt>
                <c:pt idx="20128">
                  <c:v>27.146872278489102</c:v>
                </c:pt>
                <c:pt idx="20129">
                  <c:v>52.819008343827157</c:v>
                </c:pt>
                <c:pt idx="20130">
                  <c:v>37.52485728626322</c:v>
                </c:pt>
                <c:pt idx="20131">
                  <c:v>21.406951490562282</c:v>
                </c:pt>
                <c:pt idx="20132">
                  <c:v>22.0444085567446</c:v>
                </c:pt>
                <c:pt idx="20133">
                  <c:v>27.017050245392944</c:v>
                </c:pt>
                <c:pt idx="20134">
                  <c:v>27.468885033188585</c:v>
                </c:pt>
                <c:pt idx="20135">
                  <c:v>55.01773611927004</c:v>
                </c:pt>
                <c:pt idx="20136">
                  <c:v>44.650758735609593</c:v>
                </c:pt>
                <c:pt idx="20137">
                  <c:v>26.007805335435407</c:v>
                </c:pt>
                <c:pt idx="20138">
                  <c:v>48.54781220777808</c:v>
                </c:pt>
                <c:pt idx="20139">
                  <c:v>44.942317805028992</c:v>
                </c:pt>
                <c:pt idx="20140">
                  <c:v>35.536505518854192</c:v>
                </c:pt>
                <c:pt idx="20141">
                  <c:v>23.559291862301961</c:v>
                </c:pt>
                <c:pt idx="20142">
                  <c:v>41.534371141898518</c:v>
                </c:pt>
                <c:pt idx="20143">
                  <c:v>27.954918669931999</c:v>
                </c:pt>
                <c:pt idx="20144">
                  <c:v>29.377751754525974</c:v>
                </c:pt>
                <c:pt idx="20145">
                  <c:v>32.494383905101756</c:v>
                </c:pt>
                <c:pt idx="20146">
                  <c:v>50.875788860602626</c:v>
                </c:pt>
                <c:pt idx="20147">
                  <c:v>24.417827713754033</c:v>
                </c:pt>
                <c:pt idx="20148">
                  <c:v>30.263052724362062</c:v>
                </c:pt>
                <c:pt idx="20149">
                  <c:v>29.785430743541948</c:v>
                </c:pt>
                <c:pt idx="20150">
                  <c:v>33.464558594260168</c:v>
                </c:pt>
                <c:pt idx="20151">
                  <c:v>25.022019629123204</c:v>
                </c:pt>
                <c:pt idx="20152">
                  <c:v>22.964430307476761</c:v>
                </c:pt>
                <c:pt idx="20153">
                  <c:v>50.712248614888111</c:v>
                </c:pt>
                <c:pt idx="20154">
                  <c:v>24.84147222817829</c:v>
                </c:pt>
                <c:pt idx="20155">
                  <c:v>36.586620567146383</c:v>
                </c:pt>
                <c:pt idx="20156">
                  <c:v>17.194292222747038</c:v>
                </c:pt>
                <c:pt idx="20157">
                  <c:v>28.858375196674501</c:v>
                </c:pt>
                <c:pt idx="20158">
                  <c:v>22.291655240431137</c:v>
                </c:pt>
                <c:pt idx="20159">
                  <c:v>19.868240325393266</c:v>
                </c:pt>
                <c:pt idx="20160">
                  <c:v>42.025214098390926</c:v>
                </c:pt>
                <c:pt idx="20161">
                  <c:v>22.97256924109627</c:v>
                </c:pt>
                <c:pt idx="20162">
                  <c:v>25.311732026372326</c:v>
                </c:pt>
                <c:pt idx="20163">
                  <c:v>26.744231140866471</c:v>
                </c:pt>
                <c:pt idx="20164">
                  <c:v>21.797301280717384</c:v>
                </c:pt>
                <c:pt idx="20165">
                  <c:v>21.766113058811179</c:v>
                </c:pt>
                <c:pt idx="20166">
                  <c:v>24.987472051510458</c:v>
                </c:pt>
                <c:pt idx="20167">
                  <c:v>21.340813754698075</c:v>
                </c:pt>
                <c:pt idx="20168">
                  <c:v>37.707892225563938</c:v>
                </c:pt>
                <c:pt idx="20169">
                  <c:v>47.919625575672718</c:v>
                </c:pt>
                <c:pt idx="20170">
                  <c:v>27.874327375262162</c:v>
                </c:pt>
                <c:pt idx="20171">
                  <c:v>48.708162754501778</c:v>
                </c:pt>
                <c:pt idx="20172">
                  <c:v>18.646315048951635</c:v>
                </c:pt>
                <c:pt idx="20173">
                  <c:v>49.345574772374967</c:v>
                </c:pt>
                <c:pt idx="20174">
                  <c:v>18.982109324444142</c:v>
                </c:pt>
                <c:pt idx="20175">
                  <c:v>56.9333622876009</c:v>
                </c:pt>
                <c:pt idx="20176">
                  <c:v>35.017197901288739</c:v>
                </c:pt>
                <c:pt idx="20177">
                  <c:v>22.845059829737256</c:v>
                </c:pt>
                <c:pt idx="20178">
                  <c:v>24.119632395377117</c:v>
                </c:pt>
                <c:pt idx="20179">
                  <c:v>24.942693129400084</c:v>
                </c:pt>
                <c:pt idx="20180">
                  <c:v>23.489959040660153</c:v>
                </c:pt>
                <c:pt idx="20181">
                  <c:v>33.976942145725445</c:v>
                </c:pt>
                <c:pt idx="20182">
                  <c:v>22.624057897158266</c:v>
                </c:pt>
                <c:pt idx="20183">
                  <c:v>45.836504820754271</c:v>
                </c:pt>
                <c:pt idx="20184">
                  <c:v>24.986119427164969</c:v>
                </c:pt>
                <c:pt idx="20185">
                  <c:v>44.535864697435599</c:v>
                </c:pt>
                <c:pt idx="20186">
                  <c:v>24.274714344699781</c:v>
                </c:pt>
                <c:pt idx="20187">
                  <c:v>17.078830380007375</c:v>
                </c:pt>
                <c:pt idx="20188">
                  <c:v>51.088059870819926</c:v>
                </c:pt>
                <c:pt idx="20189">
                  <c:v>30.503495853518118</c:v>
                </c:pt>
                <c:pt idx="20190">
                  <c:v>23.66230820077794</c:v>
                </c:pt>
                <c:pt idx="20191">
                  <c:v>31.660400247939918</c:v>
                </c:pt>
                <c:pt idx="20192">
                  <c:v>46.380307889656059</c:v>
                </c:pt>
                <c:pt idx="20193">
                  <c:v>34.380788655424119</c:v>
                </c:pt>
                <c:pt idx="20194">
                  <c:v>32.540728276116617</c:v>
                </c:pt>
                <c:pt idx="20195">
                  <c:v>38.312495145349764</c:v>
                </c:pt>
                <c:pt idx="20196">
                  <c:v>24.686474574739492</c:v>
                </c:pt>
                <c:pt idx="20197">
                  <c:v>52.718750359432121</c:v>
                </c:pt>
                <c:pt idx="20198">
                  <c:v>42.849280621241419</c:v>
                </c:pt>
                <c:pt idx="20199">
                  <c:v>19.540652469895964</c:v>
                </c:pt>
                <c:pt idx="20200">
                  <c:v>32.069892117458835</c:v>
                </c:pt>
                <c:pt idx="20201">
                  <c:v>25.423086297456578</c:v>
                </c:pt>
                <c:pt idx="20202">
                  <c:v>21.432712652513814</c:v>
                </c:pt>
                <c:pt idx="20203">
                  <c:v>66.987333187613004</c:v>
                </c:pt>
                <c:pt idx="20204">
                  <c:v>18.494067450096527</c:v>
                </c:pt>
                <c:pt idx="20205">
                  <c:v>66.495520284673603</c:v>
                </c:pt>
                <c:pt idx="20206">
                  <c:v>33.762085661849625</c:v>
                </c:pt>
                <c:pt idx="20207">
                  <c:v>16.503766289454298</c:v>
                </c:pt>
                <c:pt idx="20208">
                  <c:v>41.785467766289436</c:v>
                </c:pt>
                <c:pt idx="20209">
                  <c:v>24.961673881829824</c:v>
                </c:pt>
                <c:pt idx="20210">
                  <c:v>31.675656413507362</c:v>
                </c:pt>
                <c:pt idx="20211">
                  <c:v>24.961331767641429</c:v>
                </c:pt>
                <c:pt idx="20212">
                  <c:v>29.462195384338337</c:v>
                </c:pt>
                <c:pt idx="20213">
                  <c:v>28.600471898743944</c:v>
                </c:pt>
                <c:pt idx="20214">
                  <c:v>24.722135616304378</c:v>
                </c:pt>
                <c:pt idx="20215">
                  <c:v>29.199665000668404</c:v>
                </c:pt>
                <c:pt idx="20216">
                  <c:v>24.467774904304679</c:v>
                </c:pt>
                <c:pt idx="20217">
                  <c:v>30.782858703206138</c:v>
                </c:pt>
                <c:pt idx="20218">
                  <c:v>18.416476882194306</c:v>
                </c:pt>
                <c:pt idx="20219">
                  <c:v>20.720600077732961</c:v>
                </c:pt>
                <c:pt idx="20220">
                  <c:v>26.739030482375689</c:v>
                </c:pt>
                <c:pt idx="20221">
                  <c:v>51.678808370813137</c:v>
                </c:pt>
                <c:pt idx="20222">
                  <c:v>35.775604479860831</c:v>
                </c:pt>
                <c:pt idx="20223">
                  <c:v>62.700184090948476</c:v>
                </c:pt>
                <c:pt idx="20224">
                  <c:v>28.63638015570109</c:v>
                </c:pt>
                <c:pt idx="20225">
                  <c:v>22.959470189990299</c:v>
                </c:pt>
                <c:pt idx="20226">
                  <c:v>44.056435766423341</c:v>
                </c:pt>
                <c:pt idx="20227">
                  <c:v>24.455700934133283</c:v>
                </c:pt>
                <c:pt idx="20228">
                  <c:v>20.392472195844796</c:v>
                </c:pt>
                <c:pt idx="20229">
                  <c:v>28.275723541383986</c:v>
                </c:pt>
                <c:pt idx="20230">
                  <c:v>28.245335135664238</c:v>
                </c:pt>
                <c:pt idx="20231">
                  <c:v>16.558083609650492</c:v>
                </c:pt>
                <c:pt idx="20232">
                  <c:v>27.850229906013681</c:v>
                </c:pt>
                <c:pt idx="20233">
                  <c:v>22.52990000955052</c:v>
                </c:pt>
                <c:pt idx="20234">
                  <c:v>26.487930533585057</c:v>
                </c:pt>
                <c:pt idx="20235">
                  <c:v>20.775889370910175</c:v>
                </c:pt>
                <c:pt idx="20236">
                  <c:v>51.983608649784657</c:v>
                </c:pt>
                <c:pt idx="20237">
                  <c:v>30.429766939218673</c:v>
                </c:pt>
                <c:pt idx="20238">
                  <c:v>34.494613288575373</c:v>
                </c:pt>
                <c:pt idx="20239">
                  <c:v>30.386495583398098</c:v>
                </c:pt>
                <c:pt idx="20240">
                  <c:v>25.769054034140474</c:v>
                </c:pt>
                <c:pt idx="20241">
                  <c:v>33.32461598050368</c:v>
                </c:pt>
                <c:pt idx="20242">
                  <c:v>27.0277091851408</c:v>
                </c:pt>
                <c:pt idx="20243">
                  <c:v>26.475848984302935</c:v>
                </c:pt>
                <c:pt idx="20244">
                  <c:v>22.732795506469955</c:v>
                </c:pt>
                <c:pt idx="20245">
                  <c:v>16.769384341862136</c:v>
                </c:pt>
                <c:pt idx="20246">
                  <c:v>21.533348299608278</c:v>
                </c:pt>
                <c:pt idx="20247">
                  <c:v>40.336137801234067</c:v>
                </c:pt>
                <c:pt idx="20248">
                  <c:v>40.640125498116525</c:v>
                </c:pt>
                <c:pt idx="20249">
                  <c:v>40.301397824397291</c:v>
                </c:pt>
                <c:pt idx="20250">
                  <c:v>29.226277279616198</c:v>
                </c:pt>
                <c:pt idx="20251">
                  <c:v>31.73701226444534</c:v>
                </c:pt>
                <c:pt idx="20252">
                  <c:v>31.037974708454737</c:v>
                </c:pt>
                <c:pt idx="20253">
                  <c:v>48.204012349429796</c:v>
                </c:pt>
                <c:pt idx="20254">
                  <c:v>27.514416551585221</c:v>
                </c:pt>
                <c:pt idx="20255">
                  <c:v>15.654714464474118</c:v>
                </c:pt>
                <c:pt idx="20256">
                  <c:v>25.110563448228895</c:v>
                </c:pt>
                <c:pt idx="20257">
                  <c:v>45.58585422743311</c:v>
                </c:pt>
                <c:pt idx="20258">
                  <c:v>22.851670759068959</c:v>
                </c:pt>
                <c:pt idx="20259">
                  <c:v>44.77841921276714</c:v>
                </c:pt>
                <c:pt idx="20260">
                  <c:v>13.165630223388334</c:v>
                </c:pt>
                <c:pt idx="20261">
                  <c:v>38.255702641206355</c:v>
                </c:pt>
                <c:pt idx="20262">
                  <c:v>25.426329027465961</c:v>
                </c:pt>
                <c:pt idx="20263">
                  <c:v>32.00324736895255</c:v>
                </c:pt>
                <c:pt idx="20264">
                  <c:v>27.583546355353995</c:v>
                </c:pt>
                <c:pt idx="20265">
                  <c:v>43.72461729123372</c:v>
                </c:pt>
                <c:pt idx="20266">
                  <c:v>21.826570628490011</c:v>
                </c:pt>
                <c:pt idx="20267">
                  <c:v>22.591571862369435</c:v>
                </c:pt>
                <c:pt idx="20268">
                  <c:v>29.431963002219693</c:v>
                </c:pt>
                <c:pt idx="20269">
                  <c:v>27.043622514001726</c:v>
                </c:pt>
                <c:pt idx="20270">
                  <c:v>48.748045517871638</c:v>
                </c:pt>
                <c:pt idx="20271">
                  <c:v>27.518339527073021</c:v>
                </c:pt>
                <c:pt idx="20272">
                  <c:v>30.042775206395159</c:v>
                </c:pt>
                <c:pt idx="20273">
                  <c:v>26.760410413531716</c:v>
                </c:pt>
                <c:pt idx="20274">
                  <c:v>17.493577360613742</c:v>
                </c:pt>
                <c:pt idx="20275">
                  <c:v>45.138646444539283</c:v>
                </c:pt>
                <c:pt idx="20276">
                  <c:v>31.690745318960875</c:v>
                </c:pt>
                <c:pt idx="20277">
                  <c:v>47.257987936317278</c:v>
                </c:pt>
                <c:pt idx="20278">
                  <c:v>54.912044476524308</c:v>
                </c:pt>
                <c:pt idx="20279">
                  <c:v>24.870203297855891</c:v>
                </c:pt>
                <c:pt idx="20280">
                  <c:v>27.205647003230272</c:v>
                </c:pt>
                <c:pt idx="20281">
                  <c:v>27.299934987134911</c:v>
                </c:pt>
                <c:pt idx="20282">
                  <c:v>43.214656234241076</c:v>
                </c:pt>
                <c:pt idx="20283">
                  <c:v>48.004516588892983</c:v>
                </c:pt>
                <c:pt idx="20284">
                  <c:v>37.270459800254933</c:v>
                </c:pt>
                <c:pt idx="20285">
                  <c:v>34.702503544049904</c:v>
                </c:pt>
                <c:pt idx="20286">
                  <c:v>55.911372769393289</c:v>
                </c:pt>
                <c:pt idx="20287">
                  <c:v>46.018475786096602</c:v>
                </c:pt>
                <c:pt idx="20288">
                  <c:v>39.931432923087911</c:v>
                </c:pt>
                <c:pt idx="20289">
                  <c:v>30.59576427372231</c:v>
                </c:pt>
                <c:pt idx="20290">
                  <c:v>36.331040471009516</c:v>
                </c:pt>
                <c:pt idx="20291">
                  <c:v>27.499298279325195</c:v>
                </c:pt>
                <c:pt idx="20292">
                  <c:v>32.584061045739489</c:v>
                </c:pt>
                <c:pt idx="20293">
                  <c:v>25.720017427679466</c:v>
                </c:pt>
                <c:pt idx="20294">
                  <c:v>31.216080896406659</c:v>
                </c:pt>
                <c:pt idx="20295">
                  <c:v>23.99805669197351</c:v>
                </c:pt>
                <c:pt idx="20296">
                  <c:v>25.223299778335861</c:v>
                </c:pt>
                <c:pt idx="20297">
                  <c:v>22.066479974109118</c:v>
                </c:pt>
                <c:pt idx="20298">
                  <c:v>29.975345690395432</c:v>
                </c:pt>
                <c:pt idx="20299">
                  <c:v>22.208107805229819</c:v>
                </c:pt>
                <c:pt idx="20300">
                  <c:v>44.208177134222737</c:v>
                </c:pt>
                <c:pt idx="20301">
                  <c:v>20.760372343194106</c:v>
                </c:pt>
                <c:pt idx="20302">
                  <c:v>24.696175457691066</c:v>
                </c:pt>
                <c:pt idx="20303">
                  <c:v>38.335656392791364</c:v>
                </c:pt>
                <c:pt idx="20304">
                  <c:v>34.353155072529667</c:v>
                </c:pt>
                <c:pt idx="20305">
                  <c:v>24.327501138822829</c:v>
                </c:pt>
                <c:pt idx="20306">
                  <c:v>32.87255149801301</c:v>
                </c:pt>
                <c:pt idx="20307">
                  <c:v>29.66330459826505</c:v>
                </c:pt>
                <c:pt idx="20308">
                  <c:v>44.442787526332644</c:v>
                </c:pt>
                <c:pt idx="20309">
                  <c:v>18.591124369627391</c:v>
                </c:pt>
                <c:pt idx="20310">
                  <c:v>23.48634678360272</c:v>
                </c:pt>
                <c:pt idx="20311">
                  <c:v>30.106566306040399</c:v>
                </c:pt>
                <c:pt idx="20312">
                  <c:v>20.098277671100252</c:v>
                </c:pt>
                <c:pt idx="20313">
                  <c:v>24.609131195874561</c:v>
                </c:pt>
                <c:pt idx="20314">
                  <c:v>23.729358462380851</c:v>
                </c:pt>
                <c:pt idx="20315">
                  <c:v>35.572398035837786</c:v>
                </c:pt>
                <c:pt idx="20316">
                  <c:v>41.415284431412857</c:v>
                </c:pt>
                <c:pt idx="20317">
                  <c:v>26.674502820586426</c:v>
                </c:pt>
                <c:pt idx="20318">
                  <c:v>34.250900998933396</c:v>
                </c:pt>
                <c:pt idx="20319">
                  <c:v>19.995311273479437</c:v>
                </c:pt>
                <c:pt idx="20320">
                  <c:v>33.3566701806064</c:v>
                </c:pt>
                <c:pt idx="20321">
                  <c:v>38.342935011455303</c:v>
                </c:pt>
                <c:pt idx="20322">
                  <c:v>27.711080298872574</c:v>
                </c:pt>
                <c:pt idx="20323">
                  <c:v>48.931545148113059</c:v>
                </c:pt>
                <c:pt idx="20324">
                  <c:v>28.9657242688445</c:v>
                </c:pt>
                <c:pt idx="20325">
                  <c:v>39.346053847349857</c:v>
                </c:pt>
                <c:pt idx="20326">
                  <c:v>22.822401822548514</c:v>
                </c:pt>
                <c:pt idx="20327">
                  <c:v>41.338014198690701</c:v>
                </c:pt>
                <c:pt idx="20328">
                  <c:v>24.701256758337198</c:v>
                </c:pt>
                <c:pt idx="20329">
                  <c:v>55.460530026266504</c:v>
                </c:pt>
                <c:pt idx="20330">
                  <c:v>32.066496037902944</c:v>
                </c:pt>
                <c:pt idx="20331">
                  <c:v>24.730593982832151</c:v>
                </c:pt>
                <c:pt idx="20332">
                  <c:v>16.821543096792155</c:v>
                </c:pt>
                <c:pt idx="20333">
                  <c:v>28.736426507822074</c:v>
                </c:pt>
                <c:pt idx="20334">
                  <c:v>24.642383889152367</c:v>
                </c:pt>
                <c:pt idx="20335">
                  <c:v>53.532912382777944</c:v>
                </c:pt>
                <c:pt idx="20336">
                  <c:v>17.904765999007278</c:v>
                </c:pt>
                <c:pt idx="20337">
                  <c:v>38.937103094014731</c:v>
                </c:pt>
                <c:pt idx="20338">
                  <c:v>39.448062025883146</c:v>
                </c:pt>
                <c:pt idx="20339">
                  <c:v>31.739485187239854</c:v>
                </c:pt>
                <c:pt idx="20340">
                  <c:v>27.970318361734854</c:v>
                </c:pt>
                <c:pt idx="20341">
                  <c:v>31.451159197933336</c:v>
                </c:pt>
                <c:pt idx="20342">
                  <c:v>26.929132529968875</c:v>
                </c:pt>
                <c:pt idx="20343">
                  <c:v>46.550815525272583</c:v>
                </c:pt>
                <c:pt idx="20344">
                  <c:v>25.121027840865835</c:v>
                </c:pt>
                <c:pt idx="20345">
                  <c:v>21.618040247391942</c:v>
                </c:pt>
                <c:pt idx="20346">
                  <c:v>24.340122306997941</c:v>
                </c:pt>
                <c:pt idx="20347">
                  <c:v>27.223093950058161</c:v>
                </c:pt>
                <c:pt idx="20348">
                  <c:v>58.974146216283174</c:v>
                </c:pt>
                <c:pt idx="20349">
                  <c:v>35.567467580889627</c:v>
                </c:pt>
                <c:pt idx="20350">
                  <c:v>33.261806960020223</c:v>
                </c:pt>
                <c:pt idx="20351">
                  <c:v>21.204716348686411</c:v>
                </c:pt>
                <c:pt idx="20352">
                  <c:v>47.3785269643462</c:v>
                </c:pt>
                <c:pt idx="20353">
                  <c:v>25.046321285409434</c:v>
                </c:pt>
                <c:pt idx="20354">
                  <c:v>26.13690367548018</c:v>
                </c:pt>
                <c:pt idx="20355">
                  <c:v>47.378990132628608</c:v>
                </c:pt>
                <c:pt idx="20356">
                  <c:v>27.725799154597048</c:v>
                </c:pt>
                <c:pt idx="20357">
                  <c:v>27.699977227292152</c:v>
                </c:pt>
                <c:pt idx="20358">
                  <c:v>22.426685007595516</c:v>
                </c:pt>
                <c:pt idx="20359">
                  <c:v>44.506002311467043</c:v>
                </c:pt>
                <c:pt idx="20360">
                  <c:v>23.088292399672053</c:v>
                </c:pt>
                <c:pt idx="20361">
                  <c:v>29.386230726167195</c:v>
                </c:pt>
                <c:pt idx="20362">
                  <c:v>42.249594034205735</c:v>
                </c:pt>
                <c:pt idx="20363">
                  <c:v>31.44678257552717</c:v>
                </c:pt>
                <c:pt idx="20364">
                  <c:v>23.377056961045014</c:v>
                </c:pt>
                <c:pt idx="20365">
                  <c:v>22.797872548817004</c:v>
                </c:pt>
                <c:pt idx="20366">
                  <c:v>63.046139359798389</c:v>
                </c:pt>
                <c:pt idx="20367">
                  <c:v>38.053807624394835</c:v>
                </c:pt>
                <c:pt idx="20368">
                  <c:v>20.486201171645277</c:v>
                </c:pt>
                <c:pt idx="20369">
                  <c:v>26.651374078191637</c:v>
                </c:pt>
                <c:pt idx="20370">
                  <c:v>29.540104244326606</c:v>
                </c:pt>
                <c:pt idx="20371">
                  <c:v>40.767547918067365</c:v>
                </c:pt>
                <c:pt idx="20372">
                  <c:v>21.310210503274611</c:v>
                </c:pt>
                <c:pt idx="20373">
                  <c:v>24.776192644220181</c:v>
                </c:pt>
                <c:pt idx="20374">
                  <c:v>24.427500161972084</c:v>
                </c:pt>
                <c:pt idx="20375">
                  <c:v>41.265409029761464</c:v>
                </c:pt>
                <c:pt idx="20376">
                  <c:v>39.202415882744141</c:v>
                </c:pt>
                <c:pt idx="20377">
                  <c:v>27.495868021247418</c:v>
                </c:pt>
                <c:pt idx="20378">
                  <c:v>49.037834208511647</c:v>
                </c:pt>
                <c:pt idx="20379">
                  <c:v>25.319750882416756</c:v>
                </c:pt>
                <c:pt idx="20380">
                  <c:v>24.74615679277375</c:v>
                </c:pt>
                <c:pt idx="20381">
                  <c:v>34.931613194747975</c:v>
                </c:pt>
                <c:pt idx="20382">
                  <c:v>55.032717577866677</c:v>
                </c:pt>
                <c:pt idx="20383">
                  <c:v>35.196227686622308</c:v>
                </c:pt>
                <c:pt idx="20384">
                  <c:v>47.518216011765681</c:v>
                </c:pt>
                <c:pt idx="20385">
                  <c:v>25.804003655733968</c:v>
                </c:pt>
                <c:pt idx="20386">
                  <c:v>24.681490185635759</c:v>
                </c:pt>
                <c:pt idx="20387">
                  <c:v>23.259303247855392</c:v>
                </c:pt>
                <c:pt idx="20388">
                  <c:v>29.86309061180696</c:v>
                </c:pt>
                <c:pt idx="20389">
                  <c:v>25.269683873031898</c:v>
                </c:pt>
                <c:pt idx="20390">
                  <c:v>22.747182366161326</c:v>
                </c:pt>
                <c:pt idx="20391">
                  <c:v>20.33785484344078</c:v>
                </c:pt>
                <c:pt idx="20392">
                  <c:v>20.244687345329336</c:v>
                </c:pt>
                <c:pt idx="20393">
                  <c:v>26.989534121772582</c:v>
                </c:pt>
                <c:pt idx="20394">
                  <c:v>45.03689317778111</c:v>
                </c:pt>
                <c:pt idx="20395">
                  <c:v>26.787234846731987</c:v>
                </c:pt>
                <c:pt idx="20396">
                  <c:v>21.314043749830631</c:v>
                </c:pt>
                <c:pt idx="20397">
                  <c:v>26.517006023087735</c:v>
                </c:pt>
                <c:pt idx="20398">
                  <c:v>23.449762928959295</c:v>
                </c:pt>
                <c:pt idx="20399">
                  <c:v>16.021289189678129</c:v>
                </c:pt>
                <c:pt idx="20400">
                  <c:v>52.671088374969841</c:v>
                </c:pt>
                <c:pt idx="20401">
                  <c:v>23.636855834445932</c:v>
                </c:pt>
                <c:pt idx="20402">
                  <c:v>27.257119112139552</c:v>
                </c:pt>
                <c:pt idx="20403">
                  <c:v>23.339721519906405</c:v>
                </c:pt>
                <c:pt idx="20404">
                  <c:v>35.167495290714129</c:v>
                </c:pt>
                <c:pt idx="20405">
                  <c:v>32.617900547849054</c:v>
                </c:pt>
                <c:pt idx="20406">
                  <c:v>37.496518680291011</c:v>
                </c:pt>
                <c:pt idx="20407">
                  <c:v>29.923199382818975</c:v>
                </c:pt>
                <c:pt idx="20408">
                  <c:v>24.650533550848223</c:v>
                </c:pt>
                <c:pt idx="20409">
                  <c:v>21.863640073975148</c:v>
                </c:pt>
                <c:pt idx="20410">
                  <c:v>31.117076296399084</c:v>
                </c:pt>
                <c:pt idx="20411">
                  <c:v>39.9416055124519</c:v>
                </c:pt>
                <c:pt idx="20412">
                  <c:v>28.566977374889269</c:v>
                </c:pt>
                <c:pt idx="20413">
                  <c:v>47.584447003570595</c:v>
                </c:pt>
                <c:pt idx="20414">
                  <c:v>29.335394620295574</c:v>
                </c:pt>
                <c:pt idx="20415">
                  <c:v>24.91544981073514</c:v>
                </c:pt>
                <c:pt idx="20416">
                  <c:v>32.216380422618982</c:v>
                </c:pt>
                <c:pt idx="20417">
                  <c:v>40.158838293506555</c:v>
                </c:pt>
                <c:pt idx="20418">
                  <c:v>24.469663280016903</c:v>
                </c:pt>
                <c:pt idx="20419">
                  <c:v>22.520640956403373</c:v>
                </c:pt>
                <c:pt idx="20420">
                  <c:v>47.196144627091677</c:v>
                </c:pt>
                <c:pt idx="20421">
                  <c:v>44.205629218801505</c:v>
                </c:pt>
                <c:pt idx="20422">
                  <c:v>23.080507583985515</c:v>
                </c:pt>
                <c:pt idx="20423">
                  <c:v>31.915335275982081</c:v>
                </c:pt>
                <c:pt idx="20424">
                  <c:v>21.347649909119887</c:v>
                </c:pt>
                <c:pt idx="20425">
                  <c:v>21.236961525057261</c:v>
                </c:pt>
                <c:pt idx="20426">
                  <c:v>45.029805980759825</c:v>
                </c:pt>
                <c:pt idx="20427">
                  <c:v>30.706245634831486</c:v>
                </c:pt>
                <c:pt idx="20428">
                  <c:v>24.56610001927163</c:v>
                </c:pt>
                <c:pt idx="20429">
                  <c:v>28.17761790315652</c:v>
                </c:pt>
                <c:pt idx="20430">
                  <c:v>47.783889555463716</c:v>
                </c:pt>
                <c:pt idx="20431">
                  <c:v>33.237425843495082</c:v>
                </c:pt>
                <c:pt idx="20432">
                  <c:v>25.950329088622432</c:v>
                </c:pt>
                <c:pt idx="20433">
                  <c:v>38.496922398818562</c:v>
                </c:pt>
                <c:pt idx="20434">
                  <c:v>26.537788168789042</c:v>
                </c:pt>
                <c:pt idx="20435">
                  <c:v>28.220574689744833</c:v>
                </c:pt>
                <c:pt idx="20436">
                  <c:v>38.90745840587055</c:v>
                </c:pt>
                <c:pt idx="20437">
                  <c:v>45.224381533814146</c:v>
                </c:pt>
                <c:pt idx="20438">
                  <c:v>27.220289238383771</c:v>
                </c:pt>
                <c:pt idx="20439">
                  <c:v>21.351322790001888</c:v>
                </c:pt>
                <c:pt idx="20440">
                  <c:v>16.790102953712374</c:v>
                </c:pt>
                <c:pt idx="20441">
                  <c:v>29.634867391624635</c:v>
                </c:pt>
                <c:pt idx="20442">
                  <c:v>27.497887269460144</c:v>
                </c:pt>
                <c:pt idx="20443">
                  <c:v>24.106393768474348</c:v>
                </c:pt>
                <c:pt idx="20444">
                  <c:v>28.797116781491908</c:v>
                </c:pt>
                <c:pt idx="20445">
                  <c:v>34.014658815560502</c:v>
                </c:pt>
                <c:pt idx="20446">
                  <c:v>20.157871215643254</c:v>
                </c:pt>
                <c:pt idx="20447">
                  <c:v>17.880672194543575</c:v>
                </c:pt>
                <c:pt idx="20448">
                  <c:v>25.915123135362968</c:v>
                </c:pt>
                <c:pt idx="20449">
                  <c:v>23.72029487567087</c:v>
                </c:pt>
                <c:pt idx="20450">
                  <c:v>20.414084232707776</c:v>
                </c:pt>
                <c:pt idx="20451">
                  <c:v>28.255578146700277</c:v>
                </c:pt>
                <c:pt idx="20452">
                  <c:v>27.850150718968866</c:v>
                </c:pt>
                <c:pt idx="20453">
                  <c:v>46.74664109681941</c:v>
                </c:pt>
                <c:pt idx="20454">
                  <c:v>51.606330892734029</c:v>
                </c:pt>
                <c:pt idx="20455">
                  <c:v>38.99006197686009</c:v>
                </c:pt>
                <c:pt idx="20456">
                  <c:v>23.679693175468913</c:v>
                </c:pt>
                <c:pt idx="20457">
                  <c:v>20.773837561700656</c:v>
                </c:pt>
                <c:pt idx="20458">
                  <c:v>41.704868714806729</c:v>
                </c:pt>
                <c:pt idx="20459">
                  <c:v>28.25509554883357</c:v>
                </c:pt>
                <c:pt idx="20460">
                  <c:v>24.229546546038943</c:v>
                </c:pt>
                <c:pt idx="20461">
                  <c:v>42.838305883503523</c:v>
                </c:pt>
                <c:pt idx="20462">
                  <c:v>33.321631539245232</c:v>
                </c:pt>
                <c:pt idx="20463">
                  <c:v>50.940372122252818</c:v>
                </c:pt>
                <c:pt idx="20464">
                  <c:v>33.29371797385793</c:v>
                </c:pt>
                <c:pt idx="20465">
                  <c:v>26.368566253737242</c:v>
                </c:pt>
                <c:pt idx="20466">
                  <c:v>31.272696484121234</c:v>
                </c:pt>
                <c:pt idx="20467">
                  <c:v>43.371025613699913</c:v>
                </c:pt>
                <c:pt idx="20468">
                  <c:v>36.47093640816631</c:v>
                </c:pt>
                <c:pt idx="20469">
                  <c:v>31.617988731829229</c:v>
                </c:pt>
                <c:pt idx="20470">
                  <c:v>21.866974023802683</c:v>
                </c:pt>
                <c:pt idx="20471">
                  <c:v>16.477725154617609</c:v>
                </c:pt>
                <c:pt idx="20472">
                  <c:v>23.974821113760886</c:v>
                </c:pt>
                <c:pt idx="20473">
                  <c:v>25.998224130988909</c:v>
                </c:pt>
                <c:pt idx="20474">
                  <c:v>31.251547876222823</c:v>
                </c:pt>
                <c:pt idx="20475">
                  <c:v>25.557566867615943</c:v>
                </c:pt>
                <c:pt idx="20476">
                  <c:v>23.280523633399913</c:v>
                </c:pt>
                <c:pt idx="20477">
                  <c:v>52.716388687221475</c:v>
                </c:pt>
                <c:pt idx="20478">
                  <c:v>50.424728044009846</c:v>
                </c:pt>
                <c:pt idx="20479">
                  <c:v>29.213822160139294</c:v>
                </c:pt>
                <c:pt idx="20480">
                  <c:v>30.798569158097287</c:v>
                </c:pt>
                <c:pt idx="20481">
                  <c:v>31.137464445395238</c:v>
                </c:pt>
                <c:pt idx="20482">
                  <c:v>32.376767336849767</c:v>
                </c:pt>
                <c:pt idx="20483">
                  <c:v>27.600278061769167</c:v>
                </c:pt>
                <c:pt idx="20484">
                  <c:v>26.106133175628123</c:v>
                </c:pt>
                <c:pt idx="20485">
                  <c:v>28.196605836175817</c:v>
                </c:pt>
                <c:pt idx="20486">
                  <c:v>26.046371098576302</c:v>
                </c:pt>
                <c:pt idx="20487">
                  <c:v>27.319707515528325</c:v>
                </c:pt>
                <c:pt idx="20488">
                  <c:v>26.341907035207527</c:v>
                </c:pt>
                <c:pt idx="20489">
                  <c:v>30.581883144199782</c:v>
                </c:pt>
                <c:pt idx="20490">
                  <c:v>34.059478620163375</c:v>
                </c:pt>
                <c:pt idx="20491">
                  <c:v>28.600923011567915</c:v>
                </c:pt>
                <c:pt idx="20492">
                  <c:v>37.013592176711164</c:v>
                </c:pt>
                <c:pt idx="20493">
                  <c:v>43.600469426678004</c:v>
                </c:pt>
                <c:pt idx="20494">
                  <c:v>48.390686184270386</c:v>
                </c:pt>
                <c:pt idx="20495">
                  <c:v>38.953617682416024</c:v>
                </c:pt>
                <c:pt idx="20496">
                  <c:v>19.398618641063983</c:v>
                </c:pt>
                <c:pt idx="20497">
                  <c:v>29.8629727662316</c:v>
                </c:pt>
                <c:pt idx="20498">
                  <c:v>45.885431527217754</c:v>
                </c:pt>
                <c:pt idx="20499">
                  <c:v>24.761299237037363</c:v>
                </c:pt>
                <c:pt idx="20500">
                  <c:v>23.920565577618554</c:v>
                </c:pt>
                <c:pt idx="20501">
                  <c:v>27.474737490164934</c:v>
                </c:pt>
                <c:pt idx="20502">
                  <c:v>50.909085741142235</c:v>
                </c:pt>
                <c:pt idx="20503">
                  <c:v>29.095396952226974</c:v>
                </c:pt>
                <c:pt idx="20504">
                  <c:v>23.749321699964419</c:v>
                </c:pt>
                <c:pt idx="20505">
                  <c:v>32.055032401370113</c:v>
                </c:pt>
                <c:pt idx="20506">
                  <c:v>23.01525884200856</c:v>
                </c:pt>
                <c:pt idx="20507">
                  <c:v>30.268133896338259</c:v>
                </c:pt>
                <c:pt idx="20508">
                  <c:v>21.598597074325021</c:v>
                </c:pt>
                <c:pt idx="20509">
                  <c:v>33.14968301939404</c:v>
                </c:pt>
                <c:pt idx="20510">
                  <c:v>24.795281853369215</c:v>
                </c:pt>
                <c:pt idx="20511">
                  <c:v>25.003396238832373</c:v>
                </c:pt>
                <c:pt idx="20512">
                  <c:v>54.330921823898677</c:v>
                </c:pt>
                <c:pt idx="20513">
                  <c:v>22.697901751442192</c:v>
                </c:pt>
                <c:pt idx="20514">
                  <c:v>51.296525027448084</c:v>
                </c:pt>
                <c:pt idx="20515">
                  <c:v>28.266220970910812</c:v>
                </c:pt>
                <c:pt idx="20516">
                  <c:v>32.879131030681741</c:v>
                </c:pt>
                <c:pt idx="20517">
                  <c:v>27.855842970919859</c:v>
                </c:pt>
                <c:pt idx="20518">
                  <c:v>30.481089364766859</c:v>
                </c:pt>
                <c:pt idx="20519">
                  <c:v>29.814924458993659</c:v>
                </c:pt>
                <c:pt idx="20520">
                  <c:v>34.940451755052024</c:v>
                </c:pt>
                <c:pt idx="20521">
                  <c:v>48.137858284994714</c:v>
                </c:pt>
                <c:pt idx="20522">
                  <c:v>33.565194860399203</c:v>
                </c:pt>
                <c:pt idx="20523">
                  <c:v>20.827206878468232</c:v>
                </c:pt>
                <c:pt idx="20524">
                  <c:v>26.471045887668247</c:v>
                </c:pt>
                <c:pt idx="20525">
                  <c:v>24.545275657707283</c:v>
                </c:pt>
                <c:pt idx="20526">
                  <c:v>49.388680971303245</c:v>
                </c:pt>
                <c:pt idx="20527">
                  <c:v>21.140910512553955</c:v>
                </c:pt>
                <c:pt idx="20528">
                  <c:v>27.52680867695414</c:v>
                </c:pt>
                <c:pt idx="20529">
                  <c:v>26.953986088753993</c:v>
                </c:pt>
                <c:pt idx="20530">
                  <c:v>38.997323255723558</c:v>
                </c:pt>
                <c:pt idx="20531">
                  <c:v>17.345603895911978</c:v>
                </c:pt>
                <c:pt idx="20532">
                  <c:v>38.199638186651576</c:v>
                </c:pt>
                <c:pt idx="20533">
                  <c:v>27.527594384142333</c:v>
                </c:pt>
                <c:pt idx="20534">
                  <c:v>42.294651240497551</c:v>
                </c:pt>
                <c:pt idx="20535">
                  <c:v>32.843695896730466</c:v>
                </c:pt>
                <c:pt idx="20536">
                  <c:v>17.389985676441466</c:v>
                </c:pt>
                <c:pt idx="20537">
                  <c:v>31.78560150016186</c:v>
                </c:pt>
                <c:pt idx="20538">
                  <c:v>44.281581927314669</c:v>
                </c:pt>
                <c:pt idx="20539">
                  <c:v>36.294471199112287</c:v>
                </c:pt>
                <c:pt idx="20540">
                  <c:v>52.621081807138097</c:v>
                </c:pt>
                <c:pt idx="20541">
                  <c:v>35.614337143683812</c:v>
                </c:pt>
                <c:pt idx="20542">
                  <c:v>27.097425686317887</c:v>
                </c:pt>
                <c:pt idx="20543">
                  <c:v>24.593121183473048</c:v>
                </c:pt>
                <c:pt idx="20544">
                  <c:v>49.482345522292015</c:v>
                </c:pt>
                <c:pt idx="20545">
                  <c:v>25.481627301253628</c:v>
                </c:pt>
                <c:pt idx="20546">
                  <c:v>30.726952027819447</c:v>
                </c:pt>
                <c:pt idx="20547">
                  <c:v>24.681797531642797</c:v>
                </c:pt>
                <c:pt idx="20548">
                  <c:v>31.520383888418916</c:v>
                </c:pt>
                <c:pt idx="20549">
                  <c:v>30.487835753076237</c:v>
                </c:pt>
                <c:pt idx="20550">
                  <c:v>37.681100593036632</c:v>
                </c:pt>
                <c:pt idx="20551">
                  <c:v>26.795036614853849</c:v>
                </c:pt>
                <c:pt idx="20552">
                  <c:v>26.56026066979911</c:v>
                </c:pt>
                <c:pt idx="20553">
                  <c:v>21.668980867200517</c:v>
                </c:pt>
                <c:pt idx="20554">
                  <c:v>45.713515679400913</c:v>
                </c:pt>
                <c:pt idx="20555">
                  <c:v>45.094838191887369</c:v>
                </c:pt>
                <c:pt idx="20556">
                  <c:v>28.713058207269569</c:v>
                </c:pt>
                <c:pt idx="20557">
                  <c:v>21.68227020746469</c:v>
                </c:pt>
                <c:pt idx="20558">
                  <c:v>25.985004467904655</c:v>
                </c:pt>
                <c:pt idx="20559">
                  <c:v>28.909030062648831</c:v>
                </c:pt>
                <c:pt idx="20560">
                  <c:v>27.975973719367026</c:v>
                </c:pt>
                <c:pt idx="20561">
                  <c:v>36.385941020047795</c:v>
                </c:pt>
                <c:pt idx="20562">
                  <c:v>20.573424217143994</c:v>
                </c:pt>
                <c:pt idx="20563">
                  <c:v>35.391480765266834</c:v>
                </c:pt>
                <c:pt idx="20564">
                  <c:v>28.922466391229843</c:v>
                </c:pt>
                <c:pt idx="20565">
                  <c:v>26.080119491592228</c:v>
                </c:pt>
                <c:pt idx="20566">
                  <c:v>27.04199081835408</c:v>
                </c:pt>
                <c:pt idx="20567">
                  <c:v>38.593839812521381</c:v>
                </c:pt>
                <c:pt idx="20568">
                  <c:v>38.965537262297353</c:v>
                </c:pt>
                <c:pt idx="20569">
                  <c:v>27.7632879831175</c:v>
                </c:pt>
                <c:pt idx="20570">
                  <c:v>26.737263482674919</c:v>
                </c:pt>
                <c:pt idx="20571">
                  <c:v>40.170681384009903</c:v>
                </c:pt>
                <c:pt idx="20572">
                  <c:v>27.700336193129129</c:v>
                </c:pt>
                <c:pt idx="20573">
                  <c:v>33.26282178734327</c:v>
                </c:pt>
                <c:pt idx="20574">
                  <c:v>37.022515467862839</c:v>
                </c:pt>
                <c:pt idx="20575">
                  <c:v>26.867429122343193</c:v>
                </c:pt>
                <c:pt idx="20576">
                  <c:v>41.980581873535399</c:v>
                </c:pt>
                <c:pt idx="20577">
                  <c:v>28.896332848878352</c:v>
                </c:pt>
                <c:pt idx="20578">
                  <c:v>25.187538315214237</c:v>
                </c:pt>
                <c:pt idx="20579">
                  <c:v>27.509936735049539</c:v>
                </c:pt>
                <c:pt idx="20580">
                  <c:v>32.41230062001339</c:v>
                </c:pt>
                <c:pt idx="20581">
                  <c:v>35.697771131586045</c:v>
                </c:pt>
                <c:pt idx="20582">
                  <c:v>26.290327997719139</c:v>
                </c:pt>
                <c:pt idx="20583">
                  <c:v>41.231717067485121</c:v>
                </c:pt>
                <c:pt idx="20584">
                  <c:v>40.390536101222494</c:v>
                </c:pt>
                <c:pt idx="20585">
                  <c:v>21.149219258128877</c:v>
                </c:pt>
                <c:pt idx="20586">
                  <c:v>30.810612276389051</c:v>
                </c:pt>
                <c:pt idx="20587">
                  <c:v>26.147817242111316</c:v>
                </c:pt>
                <c:pt idx="20588">
                  <c:v>24.30339864663809</c:v>
                </c:pt>
                <c:pt idx="20589">
                  <c:v>26.854863104489109</c:v>
                </c:pt>
                <c:pt idx="20590">
                  <c:v>28.505620611106661</c:v>
                </c:pt>
                <c:pt idx="20591">
                  <c:v>21.335630711371653</c:v>
                </c:pt>
                <c:pt idx="20592">
                  <c:v>28.210434008125112</c:v>
                </c:pt>
                <c:pt idx="20593">
                  <c:v>27.296843484245937</c:v>
                </c:pt>
                <c:pt idx="20594">
                  <c:v>38.857848313415801</c:v>
                </c:pt>
                <c:pt idx="20595">
                  <c:v>47.145378397379119</c:v>
                </c:pt>
                <c:pt idx="20596">
                  <c:v>27.605733942358643</c:v>
                </c:pt>
                <c:pt idx="20597">
                  <c:v>25.087686242856996</c:v>
                </c:pt>
                <c:pt idx="20598">
                  <c:v>20.867578961764185</c:v>
                </c:pt>
                <c:pt idx="20599">
                  <c:v>24.326859213462466</c:v>
                </c:pt>
                <c:pt idx="20600">
                  <c:v>44.332173463127347</c:v>
                </c:pt>
                <c:pt idx="20601">
                  <c:v>21.964567902854736</c:v>
                </c:pt>
                <c:pt idx="20602">
                  <c:v>31.993702153438306</c:v>
                </c:pt>
                <c:pt idx="20603">
                  <c:v>25.937718905800047</c:v>
                </c:pt>
                <c:pt idx="20604">
                  <c:v>26.513780488864136</c:v>
                </c:pt>
                <c:pt idx="20605">
                  <c:v>23.004268989607699</c:v>
                </c:pt>
                <c:pt idx="20606">
                  <c:v>47.429436492782798</c:v>
                </c:pt>
                <c:pt idx="20607">
                  <c:v>47.218958368676745</c:v>
                </c:pt>
                <c:pt idx="20608">
                  <c:v>31.665730430711783</c:v>
                </c:pt>
                <c:pt idx="20609">
                  <c:v>22.065694007644456</c:v>
                </c:pt>
                <c:pt idx="20610">
                  <c:v>23.852815575708117</c:v>
                </c:pt>
                <c:pt idx="20611">
                  <c:v>17.436851917854131</c:v>
                </c:pt>
                <c:pt idx="20612">
                  <c:v>27.630366170743617</c:v>
                </c:pt>
                <c:pt idx="20613">
                  <c:v>30.346823554565628</c:v>
                </c:pt>
                <c:pt idx="20614">
                  <c:v>32.396836835858579</c:v>
                </c:pt>
                <c:pt idx="20615">
                  <c:v>46.561929077260402</c:v>
                </c:pt>
                <c:pt idx="20616">
                  <c:v>31.425804524163325</c:v>
                </c:pt>
                <c:pt idx="20617">
                  <c:v>23.849461176196456</c:v>
                </c:pt>
                <c:pt idx="20618">
                  <c:v>22.552744302794444</c:v>
                </c:pt>
                <c:pt idx="20619">
                  <c:v>49.997436980601904</c:v>
                </c:pt>
                <c:pt idx="20620">
                  <c:v>27.022681263504971</c:v>
                </c:pt>
                <c:pt idx="20621">
                  <c:v>30.347407889261412</c:v>
                </c:pt>
                <c:pt idx="20622">
                  <c:v>24.011302904884282</c:v>
                </c:pt>
                <c:pt idx="20623">
                  <c:v>18.982245119324386</c:v>
                </c:pt>
                <c:pt idx="20624">
                  <c:v>17.196366158442963</c:v>
                </c:pt>
                <c:pt idx="20625">
                  <c:v>36.825041340127335</c:v>
                </c:pt>
                <c:pt idx="20626">
                  <c:v>26.629394998851144</c:v>
                </c:pt>
                <c:pt idx="20627">
                  <c:v>41.445476193555329</c:v>
                </c:pt>
                <c:pt idx="20628">
                  <c:v>26.616716278891808</c:v>
                </c:pt>
                <c:pt idx="20629">
                  <c:v>19.914556977520064</c:v>
                </c:pt>
                <c:pt idx="20630">
                  <c:v>27.44661820775999</c:v>
                </c:pt>
                <c:pt idx="20631">
                  <c:v>27.940009418039654</c:v>
                </c:pt>
                <c:pt idx="20632">
                  <c:v>35.293124482316166</c:v>
                </c:pt>
                <c:pt idx="20633">
                  <c:v>19.908454031281501</c:v>
                </c:pt>
                <c:pt idx="20634">
                  <c:v>30.802263547483488</c:v>
                </c:pt>
                <c:pt idx="20635">
                  <c:v>21.798792161209551</c:v>
                </c:pt>
                <c:pt idx="20636">
                  <c:v>28.034770866299834</c:v>
                </c:pt>
                <c:pt idx="20637">
                  <c:v>16.309427214451183</c:v>
                </c:pt>
                <c:pt idx="20638">
                  <c:v>36.636518115867659</c:v>
                </c:pt>
                <c:pt idx="20639">
                  <c:v>25.312101543956807</c:v>
                </c:pt>
                <c:pt idx="20640">
                  <c:v>26.801846842310013</c:v>
                </c:pt>
                <c:pt idx="20641">
                  <c:v>31.443137472108944</c:v>
                </c:pt>
                <c:pt idx="20642">
                  <c:v>25.368119620059186</c:v>
                </c:pt>
                <c:pt idx="20643">
                  <c:v>53.560480747483048</c:v>
                </c:pt>
                <c:pt idx="20644">
                  <c:v>35.455536939180462</c:v>
                </c:pt>
                <c:pt idx="20645">
                  <c:v>25.602704683473164</c:v>
                </c:pt>
                <c:pt idx="20646">
                  <c:v>37.843702378861778</c:v>
                </c:pt>
                <c:pt idx="20647">
                  <c:v>24.238447287658783</c:v>
                </c:pt>
                <c:pt idx="20648">
                  <c:v>52.454685619691134</c:v>
                </c:pt>
                <c:pt idx="20649">
                  <c:v>27.732424016402096</c:v>
                </c:pt>
                <c:pt idx="20650">
                  <c:v>27.22802814650613</c:v>
                </c:pt>
                <c:pt idx="20651">
                  <c:v>52.222132871166153</c:v>
                </c:pt>
                <c:pt idx="20652">
                  <c:v>30.365001962151212</c:v>
                </c:pt>
                <c:pt idx="20653">
                  <c:v>25.499501280556068</c:v>
                </c:pt>
                <c:pt idx="20654">
                  <c:v>25.511684554429937</c:v>
                </c:pt>
                <c:pt idx="20655">
                  <c:v>34.269881071998434</c:v>
                </c:pt>
                <c:pt idx="20656">
                  <c:v>46.229361895317936</c:v>
                </c:pt>
                <c:pt idx="20657">
                  <c:v>21.508751556398273</c:v>
                </c:pt>
                <c:pt idx="20658">
                  <c:v>30.523286301918002</c:v>
                </c:pt>
                <c:pt idx="20659">
                  <c:v>25.876710314482079</c:v>
                </c:pt>
                <c:pt idx="20660">
                  <c:v>32.968648428991465</c:v>
                </c:pt>
                <c:pt idx="20661">
                  <c:v>25.828064724457494</c:v>
                </c:pt>
                <c:pt idx="20662">
                  <c:v>33.215723422350791</c:v>
                </c:pt>
                <c:pt idx="20663">
                  <c:v>34.120653218733537</c:v>
                </c:pt>
                <c:pt idx="20664">
                  <c:v>38.993864842467097</c:v>
                </c:pt>
                <c:pt idx="20665">
                  <c:v>29.953006766185325</c:v>
                </c:pt>
                <c:pt idx="20666">
                  <c:v>27.009430787349331</c:v>
                </c:pt>
                <c:pt idx="20667">
                  <c:v>19.791621184820524</c:v>
                </c:pt>
                <c:pt idx="20668">
                  <c:v>54.459383158546032</c:v>
                </c:pt>
                <c:pt idx="20669">
                  <c:v>19.910299460808648</c:v>
                </c:pt>
                <c:pt idx="20670">
                  <c:v>19.047709833257631</c:v>
                </c:pt>
                <c:pt idx="20671">
                  <c:v>24.899526825654668</c:v>
                </c:pt>
                <c:pt idx="20672">
                  <c:v>25.000814245131689</c:v>
                </c:pt>
                <c:pt idx="20673">
                  <c:v>32.30194142433924</c:v>
                </c:pt>
                <c:pt idx="20674">
                  <c:v>37.951171184499906</c:v>
                </c:pt>
                <c:pt idx="20675">
                  <c:v>48.31553645943837</c:v>
                </c:pt>
                <c:pt idx="20676">
                  <c:v>36.106958813793241</c:v>
                </c:pt>
                <c:pt idx="20677">
                  <c:v>26.655684611214294</c:v>
                </c:pt>
                <c:pt idx="20678">
                  <c:v>28.16042103009687</c:v>
                </c:pt>
                <c:pt idx="20679">
                  <c:v>36.423682309472071</c:v>
                </c:pt>
                <c:pt idx="20680">
                  <c:v>29.636222833261101</c:v>
                </c:pt>
                <c:pt idx="20681">
                  <c:v>42.220813639237804</c:v>
                </c:pt>
                <c:pt idx="20682">
                  <c:v>42.663668498107135</c:v>
                </c:pt>
                <c:pt idx="20683">
                  <c:v>27.192322903507836</c:v>
                </c:pt>
                <c:pt idx="20684">
                  <c:v>46.622545350222616</c:v>
                </c:pt>
                <c:pt idx="20685">
                  <c:v>38.610155841915756</c:v>
                </c:pt>
                <c:pt idx="20686">
                  <c:v>27.458308324172339</c:v>
                </c:pt>
                <c:pt idx="20687">
                  <c:v>28.967835874374849</c:v>
                </c:pt>
                <c:pt idx="20688">
                  <c:v>39.008521823451844</c:v>
                </c:pt>
                <c:pt idx="20689">
                  <c:v>35.231977640352717</c:v>
                </c:pt>
                <c:pt idx="20690">
                  <c:v>27.011114582629148</c:v>
                </c:pt>
                <c:pt idx="20691">
                  <c:v>28.085246357512865</c:v>
                </c:pt>
                <c:pt idx="20692">
                  <c:v>23.567577984433157</c:v>
                </c:pt>
                <c:pt idx="20693">
                  <c:v>28.863806864131615</c:v>
                </c:pt>
                <c:pt idx="20694">
                  <c:v>33.742074931779271</c:v>
                </c:pt>
                <c:pt idx="20695">
                  <c:v>27.181990386714077</c:v>
                </c:pt>
                <c:pt idx="20696">
                  <c:v>49.789939620916101</c:v>
                </c:pt>
                <c:pt idx="20697">
                  <c:v>29.63153468141924</c:v>
                </c:pt>
                <c:pt idx="20698">
                  <c:v>29.955162707755385</c:v>
                </c:pt>
                <c:pt idx="20699">
                  <c:v>46.192164651389227</c:v>
                </c:pt>
                <c:pt idx="20700">
                  <c:v>50.016321390544505</c:v>
                </c:pt>
                <c:pt idx="20701">
                  <c:v>24.330150701207955</c:v>
                </c:pt>
                <c:pt idx="20702">
                  <c:v>28.884025064359392</c:v>
                </c:pt>
                <c:pt idx="20703">
                  <c:v>26.488791347260889</c:v>
                </c:pt>
                <c:pt idx="20704">
                  <c:v>31.806406456445316</c:v>
                </c:pt>
                <c:pt idx="20705">
                  <c:v>25.701929750094344</c:v>
                </c:pt>
                <c:pt idx="20706">
                  <c:v>28.960576406462724</c:v>
                </c:pt>
                <c:pt idx="20707">
                  <c:v>23.822425220548517</c:v>
                </c:pt>
                <c:pt idx="20708">
                  <c:v>21.771067244268458</c:v>
                </c:pt>
                <c:pt idx="20709">
                  <c:v>35.050715970725193</c:v>
                </c:pt>
                <c:pt idx="20710">
                  <c:v>38.274004634873862</c:v>
                </c:pt>
                <c:pt idx="20711">
                  <c:v>18.662809205077281</c:v>
                </c:pt>
                <c:pt idx="20712">
                  <c:v>59.936804673646051</c:v>
                </c:pt>
                <c:pt idx="20713">
                  <c:v>33.125384364902231</c:v>
                </c:pt>
                <c:pt idx="20714">
                  <c:v>29.97445000927841</c:v>
                </c:pt>
                <c:pt idx="20715">
                  <c:v>27.116996467175472</c:v>
                </c:pt>
                <c:pt idx="20716">
                  <c:v>58.634134688613202</c:v>
                </c:pt>
                <c:pt idx="20717">
                  <c:v>17.79750678338943</c:v>
                </c:pt>
                <c:pt idx="20718">
                  <c:v>20.163393855203083</c:v>
                </c:pt>
                <c:pt idx="20719">
                  <c:v>27.893413895150324</c:v>
                </c:pt>
                <c:pt idx="20720">
                  <c:v>29.267391271367984</c:v>
                </c:pt>
                <c:pt idx="20721">
                  <c:v>23.774155586655134</c:v>
                </c:pt>
                <c:pt idx="20722">
                  <c:v>34.509561422855057</c:v>
                </c:pt>
                <c:pt idx="20723">
                  <c:v>41.348466548495026</c:v>
                </c:pt>
                <c:pt idx="20724">
                  <c:v>26.807027961204717</c:v>
                </c:pt>
                <c:pt idx="20725">
                  <c:v>47.815062562938749</c:v>
                </c:pt>
                <c:pt idx="20726">
                  <c:v>22.499935772942528</c:v>
                </c:pt>
                <c:pt idx="20727">
                  <c:v>24.792813587946192</c:v>
                </c:pt>
                <c:pt idx="20728">
                  <c:v>24.710086132373792</c:v>
                </c:pt>
                <c:pt idx="20729">
                  <c:v>22.29464184867685</c:v>
                </c:pt>
                <c:pt idx="20730">
                  <c:v>27.777823519809427</c:v>
                </c:pt>
                <c:pt idx="20731">
                  <c:v>23.679322613451426</c:v>
                </c:pt>
                <c:pt idx="20732">
                  <c:v>51.129841060030607</c:v>
                </c:pt>
                <c:pt idx="20733">
                  <c:v>26.782857742718193</c:v>
                </c:pt>
                <c:pt idx="20734">
                  <c:v>26.136511336607136</c:v>
                </c:pt>
                <c:pt idx="20735">
                  <c:v>47.201782111786756</c:v>
                </c:pt>
                <c:pt idx="20736">
                  <c:v>21.146733687036967</c:v>
                </c:pt>
                <c:pt idx="20737">
                  <c:v>48.876156328331028</c:v>
                </c:pt>
                <c:pt idx="20738">
                  <c:v>28.359379416059227</c:v>
                </c:pt>
                <c:pt idx="20739">
                  <c:v>15.046025130124118</c:v>
                </c:pt>
                <c:pt idx="20740">
                  <c:v>23.765853410310974</c:v>
                </c:pt>
                <c:pt idx="20741">
                  <c:v>23.958435343683867</c:v>
                </c:pt>
                <c:pt idx="20742">
                  <c:v>29.091043712231063</c:v>
                </c:pt>
                <c:pt idx="20743">
                  <c:v>33.489728765348154</c:v>
                </c:pt>
                <c:pt idx="20744">
                  <c:v>37.010386619504757</c:v>
                </c:pt>
                <c:pt idx="20745">
                  <c:v>30.27515676189844</c:v>
                </c:pt>
                <c:pt idx="20746">
                  <c:v>22.535907977284225</c:v>
                </c:pt>
                <c:pt idx="20747">
                  <c:v>26.123125395975219</c:v>
                </c:pt>
                <c:pt idx="20748">
                  <c:v>26.083982493156668</c:v>
                </c:pt>
                <c:pt idx="20749">
                  <c:v>23.851012942467253</c:v>
                </c:pt>
                <c:pt idx="20750">
                  <c:v>19.910985850976825</c:v>
                </c:pt>
                <c:pt idx="20751">
                  <c:v>23.095449871255809</c:v>
                </c:pt>
                <c:pt idx="20752">
                  <c:v>23.006733303579509</c:v>
                </c:pt>
                <c:pt idx="20753">
                  <c:v>28.37924600592045</c:v>
                </c:pt>
                <c:pt idx="20754">
                  <c:v>56.13150700007219</c:v>
                </c:pt>
                <c:pt idx="20755">
                  <c:v>27.251962790788781</c:v>
                </c:pt>
                <c:pt idx="20756">
                  <c:v>37.805595825772791</c:v>
                </c:pt>
                <c:pt idx="20757">
                  <c:v>25.319960260620146</c:v>
                </c:pt>
                <c:pt idx="20758">
                  <c:v>17.12194868577847</c:v>
                </c:pt>
                <c:pt idx="20759">
                  <c:v>27.254384100911111</c:v>
                </c:pt>
                <c:pt idx="20760">
                  <c:v>28.388489231433567</c:v>
                </c:pt>
                <c:pt idx="20761">
                  <c:v>26.343553400756292</c:v>
                </c:pt>
                <c:pt idx="20762">
                  <c:v>23.558714992630708</c:v>
                </c:pt>
                <c:pt idx="20763">
                  <c:v>29.304328239107591</c:v>
                </c:pt>
                <c:pt idx="20764">
                  <c:v>21.959578125948831</c:v>
                </c:pt>
                <c:pt idx="20765">
                  <c:v>62.861418548259493</c:v>
                </c:pt>
                <c:pt idx="20766">
                  <c:v>22.566031567976022</c:v>
                </c:pt>
                <c:pt idx="20767">
                  <c:v>29.97003682511605</c:v>
                </c:pt>
                <c:pt idx="20768">
                  <c:v>23.547546874455175</c:v>
                </c:pt>
                <c:pt idx="20769">
                  <c:v>25.406541118886338</c:v>
                </c:pt>
                <c:pt idx="20770">
                  <c:v>45.885401240853199</c:v>
                </c:pt>
                <c:pt idx="20771">
                  <c:v>26.180343774995727</c:v>
                </c:pt>
                <c:pt idx="20772">
                  <c:v>44.782537302992566</c:v>
                </c:pt>
                <c:pt idx="20773">
                  <c:v>27.238664572562815</c:v>
                </c:pt>
                <c:pt idx="20774">
                  <c:v>30.996139731368114</c:v>
                </c:pt>
                <c:pt idx="20775">
                  <c:v>50.214672110169303</c:v>
                </c:pt>
                <c:pt idx="20776">
                  <c:v>31.122977578283816</c:v>
                </c:pt>
                <c:pt idx="20777">
                  <c:v>27.624802980865876</c:v>
                </c:pt>
                <c:pt idx="20778">
                  <c:v>21.784331568592112</c:v>
                </c:pt>
                <c:pt idx="20779">
                  <c:v>44.288791435287045</c:v>
                </c:pt>
                <c:pt idx="20780">
                  <c:v>32.214295164948922</c:v>
                </c:pt>
                <c:pt idx="20781">
                  <c:v>28.662187210413464</c:v>
                </c:pt>
                <c:pt idx="20782">
                  <c:v>24.991861140741353</c:v>
                </c:pt>
                <c:pt idx="20783">
                  <c:v>29.693568766951945</c:v>
                </c:pt>
                <c:pt idx="20784">
                  <c:v>41.29853971216184</c:v>
                </c:pt>
                <c:pt idx="20785">
                  <c:v>54.868394764669311</c:v>
                </c:pt>
                <c:pt idx="20786">
                  <c:v>28.119246833681562</c:v>
                </c:pt>
                <c:pt idx="20787">
                  <c:v>35.819931174154647</c:v>
                </c:pt>
                <c:pt idx="20788">
                  <c:v>25.288366226471595</c:v>
                </c:pt>
                <c:pt idx="20789">
                  <c:v>34.696961355317264</c:v>
                </c:pt>
                <c:pt idx="20790">
                  <c:v>33.299515223904791</c:v>
                </c:pt>
                <c:pt idx="20791">
                  <c:v>24.554504129269525</c:v>
                </c:pt>
                <c:pt idx="20792">
                  <c:v>45.061517753018457</c:v>
                </c:pt>
                <c:pt idx="20793">
                  <c:v>28.666409022258748</c:v>
                </c:pt>
                <c:pt idx="20794">
                  <c:v>33.081326257589737</c:v>
                </c:pt>
                <c:pt idx="20795">
                  <c:v>22.033974898429058</c:v>
                </c:pt>
                <c:pt idx="20796">
                  <c:v>24.386160413705376</c:v>
                </c:pt>
                <c:pt idx="20797">
                  <c:v>27.727324483883208</c:v>
                </c:pt>
                <c:pt idx="20798">
                  <c:v>33.764559859555355</c:v>
                </c:pt>
                <c:pt idx="20799">
                  <c:v>35.566868972383816</c:v>
                </c:pt>
                <c:pt idx="20800">
                  <c:v>24.269694827325822</c:v>
                </c:pt>
                <c:pt idx="20801">
                  <c:v>32.314661565125242</c:v>
                </c:pt>
                <c:pt idx="20802">
                  <c:v>23.813421904419091</c:v>
                </c:pt>
                <c:pt idx="20803">
                  <c:v>25.644853346644052</c:v>
                </c:pt>
                <c:pt idx="20804">
                  <c:v>27.412447347309069</c:v>
                </c:pt>
                <c:pt idx="20805">
                  <c:v>57.564671445737403</c:v>
                </c:pt>
                <c:pt idx="20806">
                  <c:v>24.457264456334944</c:v>
                </c:pt>
                <c:pt idx="20807">
                  <c:v>19.676950321084973</c:v>
                </c:pt>
                <c:pt idx="20808">
                  <c:v>29.285525563226923</c:v>
                </c:pt>
                <c:pt idx="20809">
                  <c:v>30.202426168712165</c:v>
                </c:pt>
                <c:pt idx="20810">
                  <c:v>27.407827250145068</c:v>
                </c:pt>
                <c:pt idx="20811">
                  <c:v>46.89193591756397</c:v>
                </c:pt>
                <c:pt idx="20812">
                  <c:v>52.35586259261413</c:v>
                </c:pt>
                <c:pt idx="20813">
                  <c:v>42.534758221755986</c:v>
                </c:pt>
                <c:pt idx="20814">
                  <c:v>26.890401122367127</c:v>
                </c:pt>
                <c:pt idx="20815">
                  <c:v>29.574458244927079</c:v>
                </c:pt>
                <c:pt idx="20816">
                  <c:v>52.759692063084358</c:v>
                </c:pt>
                <c:pt idx="20817">
                  <c:v>53.2939589370365</c:v>
                </c:pt>
                <c:pt idx="20818">
                  <c:v>20.857761350680814</c:v>
                </c:pt>
                <c:pt idx="20819">
                  <c:v>19.185122787522918</c:v>
                </c:pt>
                <c:pt idx="20820">
                  <c:v>44.440965250394505</c:v>
                </c:pt>
                <c:pt idx="20821">
                  <c:v>26.383231927048726</c:v>
                </c:pt>
                <c:pt idx="20822">
                  <c:v>38.832612128536347</c:v>
                </c:pt>
                <c:pt idx="20823">
                  <c:v>29.626880963832015</c:v>
                </c:pt>
                <c:pt idx="20824">
                  <c:v>27.01463274328302</c:v>
                </c:pt>
                <c:pt idx="20825">
                  <c:v>17.766559258398416</c:v>
                </c:pt>
                <c:pt idx="20826">
                  <c:v>21.515702567793031</c:v>
                </c:pt>
                <c:pt idx="20827">
                  <c:v>57.039468613730854</c:v>
                </c:pt>
                <c:pt idx="20828">
                  <c:v>27.029114399483277</c:v>
                </c:pt>
                <c:pt idx="20829">
                  <c:v>30.652095266062062</c:v>
                </c:pt>
                <c:pt idx="20830">
                  <c:v>23.881505673889489</c:v>
                </c:pt>
                <c:pt idx="20831">
                  <c:v>21.922409176425418</c:v>
                </c:pt>
                <c:pt idx="20832">
                  <c:v>25.126389169599314</c:v>
                </c:pt>
                <c:pt idx="20833">
                  <c:v>42.035298919105934</c:v>
                </c:pt>
                <c:pt idx="20834">
                  <c:v>25.3318001572441</c:v>
                </c:pt>
                <c:pt idx="20835">
                  <c:v>28.610338265864563</c:v>
                </c:pt>
                <c:pt idx="20836">
                  <c:v>63.579358793368911</c:v>
                </c:pt>
                <c:pt idx="20837">
                  <c:v>57.594756751687576</c:v>
                </c:pt>
                <c:pt idx="20838">
                  <c:v>30.765247830675335</c:v>
                </c:pt>
                <c:pt idx="20839">
                  <c:v>36.688068185206149</c:v>
                </c:pt>
                <c:pt idx="20840">
                  <c:v>46.138168650996533</c:v>
                </c:pt>
                <c:pt idx="20841">
                  <c:v>44.742215710976815</c:v>
                </c:pt>
                <c:pt idx="20842">
                  <c:v>46.032321171379778</c:v>
                </c:pt>
                <c:pt idx="20843">
                  <c:v>15.063319554133571</c:v>
                </c:pt>
                <c:pt idx="20844">
                  <c:v>28.287581302252796</c:v>
                </c:pt>
                <c:pt idx="20845">
                  <c:v>30.623641331000158</c:v>
                </c:pt>
                <c:pt idx="20846">
                  <c:v>28.618632683966503</c:v>
                </c:pt>
                <c:pt idx="20847">
                  <c:v>23.451995334746499</c:v>
                </c:pt>
                <c:pt idx="20848">
                  <c:v>45.375326148291037</c:v>
                </c:pt>
                <c:pt idx="20849">
                  <c:v>22.476029078674017</c:v>
                </c:pt>
                <c:pt idx="20850">
                  <c:v>50.312104918313594</c:v>
                </c:pt>
                <c:pt idx="20851">
                  <c:v>28.68255565907246</c:v>
                </c:pt>
                <c:pt idx="20852">
                  <c:v>32.484907165236372</c:v>
                </c:pt>
                <c:pt idx="20853">
                  <c:v>33.303302329901328</c:v>
                </c:pt>
                <c:pt idx="20854">
                  <c:v>32.418673241738801</c:v>
                </c:pt>
                <c:pt idx="20855">
                  <c:v>25.431388751270205</c:v>
                </c:pt>
                <c:pt idx="20856">
                  <c:v>27.591455593390837</c:v>
                </c:pt>
                <c:pt idx="20857">
                  <c:v>24.130232142903417</c:v>
                </c:pt>
                <c:pt idx="20858">
                  <c:v>34.936875872516715</c:v>
                </c:pt>
                <c:pt idx="20859">
                  <c:v>26.030647307494732</c:v>
                </c:pt>
                <c:pt idx="20860">
                  <c:v>19.685615825629931</c:v>
                </c:pt>
                <c:pt idx="20861">
                  <c:v>33.364995782346647</c:v>
                </c:pt>
                <c:pt idx="20862">
                  <c:v>30.476753693042191</c:v>
                </c:pt>
                <c:pt idx="20863">
                  <c:v>23.088256637884591</c:v>
                </c:pt>
                <c:pt idx="20864">
                  <c:v>22.838688225537858</c:v>
                </c:pt>
                <c:pt idx="20865">
                  <c:v>23.81441887400182</c:v>
                </c:pt>
                <c:pt idx="20866">
                  <c:v>32.36446473832136</c:v>
                </c:pt>
                <c:pt idx="20867">
                  <c:v>23.309338702391308</c:v>
                </c:pt>
                <c:pt idx="20868">
                  <c:v>42.486222518614639</c:v>
                </c:pt>
                <c:pt idx="20869">
                  <c:v>22.659623278162734</c:v>
                </c:pt>
                <c:pt idx="20870">
                  <c:v>32.969069260063321</c:v>
                </c:pt>
                <c:pt idx="20871">
                  <c:v>29.160069829372333</c:v>
                </c:pt>
                <c:pt idx="20872">
                  <c:v>45.508096779977507</c:v>
                </c:pt>
                <c:pt idx="20873">
                  <c:v>20.755657760474961</c:v>
                </c:pt>
                <c:pt idx="20874">
                  <c:v>48.612808935661306</c:v>
                </c:pt>
                <c:pt idx="20875">
                  <c:v>48.805531902388694</c:v>
                </c:pt>
                <c:pt idx="20876">
                  <c:v>25.473170103373278</c:v>
                </c:pt>
                <c:pt idx="20877">
                  <c:v>24.22681544682963</c:v>
                </c:pt>
                <c:pt idx="20878">
                  <c:v>46.436889025882905</c:v>
                </c:pt>
                <c:pt idx="20879">
                  <c:v>44.288680460111053</c:v>
                </c:pt>
                <c:pt idx="20880">
                  <c:v>28.016222783009756</c:v>
                </c:pt>
                <c:pt idx="20881">
                  <c:v>32.433168328422674</c:v>
                </c:pt>
                <c:pt idx="20882">
                  <c:v>22.438094488916622</c:v>
                </c:pt>
                <c:pt idx="20883">
                  <c:v>30.354253461753387</c:v>
                </c:pt>
                <c:pt idx="20884">
                  <c:v>45.587300102088655</c:v>
                </c:pt>
                <c:pt idx="20885">
                  <c:v>31.002193282268433</c:v>
                </c:pt>
                <c:pt idx="20886">
                  <c:v>41.935985548071869</c:v>
                </c:pt>
                <c:pt idx="20887">
                  <c:v>58.121511575568306</c:v>
                </c:pt>
                <c:pt idx="20888">
                  <c:v>24.86255586292744</c:v>
                </c:pt>
                <c:pt idx="20889">
                  <c:v>26.617185796194992</c:v>
                </c:pt>
                <c:pt idx="20890">
                  <c:v>25.477139774968578</c:v>
                </c:pt>
                <c:pt idx="20891">
                  <c:v>31.071193740444549</c:v>
                </c:pt>
                <c:pt idx="20892">
                  <c:v>29.623737844505136</c:v>
                </c:pt>
                <c:pt idx="20893">
                  <c:v>35.210814612419938</c:v>
                </c:pt>
                <c:pt idx="20894">
                  <c:v>26.256696323981963</c:v>
                </c:pt>
                <c:pt idx="20895">
                  <c:v>28.432043203193405</c:v>
                </c:pt>
                <c:pt idx="20896">
                  <c:v>24.782704650971489</c:v>
                </c:pt>
                <c:pt idx="20897">
                  <c:v>50.084827659269678</c:v>
                </c:pt>
                <c:pt idx="20898">
                  <c:v>23.626217906306202</c:v>
                </c:pt>
                <c:pt idx="20899">
                  <c:v>26.769012399201493</c:v>
                </c:pt>
                <c:pt idx="20900">
                  <c:v>26.18525722352955</c:v>
                </c:pt>
                <c:pt idx="20901">
                  <c:v>48.221990163474025</c:v>
                </c:pt>
                <c:pt idx="20902">
                  <c:v>34.507313840308584</c:v>
                </c:pt>
                <c:pt idx="20903">
                  <c:v>44.87433445562467</c:v>
                </c:pt>
                <c:pt idx="20904">
                  <c:v>32.472997863599808</c:v>
                </c:pt>
                <c:pt idx="20905">
                  <c:v>34.738699906738276</c:v>
                </c:pt>
                <c:pt idx="20906">
                  <c:v>49.895495084766907</c:v>
                </c:pt>
                <c:pt idx="20907">
                  <c:v>25.664138765217448</c:v>
                </c:pt>
                <c:pt idx="20908">
                  <c:v>29.703242298109288</c:v>
                </c:pt>
                <c:pt idx="20909">
                  <c:v>36.836329402981875</c:v>
                </c:pt>
                <c:pt idx="20910">
                  <c:v>32.695687081218566</c:v>
                </c:pt>
                <c:pt idx="20911">
                  <c:v>36.776620175942242</c:v>
                </c:pt>
                <c:pt idx="20912">
                  <c:v>50.496675348237602</c:v>
                </c:pt>
                <c:pt idx="20913">
                  <c:v>35.437307040247163</c:v>
                </c:pt>
                <c:pt idx="20914">
                  <c:v>34.206610938602346</c:v>
                </c:pt>
                <c:pt idx="20915">
                  <c:v>31.89020311023144</c:v>
                </c:pt>
                <c:pt idx="20916">
                  <c:v>26.654201496202838</c:v>
                </c:pt>
                <c:pt idx="20917">
                  <c:v>59.639998811792331</c:v>
                </c:pt>
                <c:pt idx="20918">
                  <c:v>29.493831943406086</c:v>
                </c:pt>
                <c:pt idx="20919">
                  <c:v>24.83435734549791</c:v>
                </c:pt>
                <c:pt idx="20920">
                  <c:v>35.869814097303049</c:v>
                </c:pt>
                <c:pt idx="20921">
                  <c:v>23.521516207833891</c:v>
                </c:pt>
                <c:pt idx="20922">
                  <c:v>25.42593291955783</c:v>
                </c:pt>
                <c:pt idx="20923">
                  <c:v>47.12472166781555</c:v>
                </c:pt>
                <c:pt idx="20924">
                  <c:v>22.729603474027087</c:v>
                </c:pt>
                <c:pt idx="20925">
                  <c:v>51.800196817082806</c:v>
                </c:pt>
                <c:pt idx="20926">
                  <c:v>31.032034662035556</c:v>
                </c:pt>
                <c:pt idx="20927">
                  <c:v>29.576853334472283</c:v>
                </c:pt>
                <c:pt idx="20928">
                  <c:v>25.048390321853489</c:v>
                </c:pt>
                <c:pt idx="20929">
                  <c:v>51.359943896643166</c:v>
                </c:pt>
                <c:pt idx="20930">
                  <c:v>20.145376336418742</c:v>
                </c:pt>
                <c:pt idx="20931">
                  <c:v>24.202414165653774</c:v>
                </c:pt>
                <c:pt idx="20932">
                  <c:v>37.683283420503017</c:v>
                </c:pt>
                <c:pt idx="20933">
                  <c:v>46.344502820842891</c:v>
                </c:pt>
                <c:pt idx="20934">
                  <c:v>32.354731985802573</c:v>
                </c:pt>
                <c:pt idx="20935">
                  <c:v>32.406589046800917</c:v>
                </c:pt>
                <c:pt idx="20936">
                  <c:v>15.299827976049698</c:v>
                </c:pt>
                <c:pt idx="20937">
                  <c:v>21.692451620790187</c:v>
                </c:pt>
                <c:pt idx="20938">
                  <c:v>23.422782457063981</c:v>
                </c:pt>
                <c:pt idx="20939">
                  <c:v>27.025339897249921</c:v>
                </c:pt>
                <c:pt idx="20940">
                  <c:v>26.573155683697962</c:v>
                </c:pt>
                <c:pt idx="20941">
                  <c:v>23.47667912365047</c:v>
                </c:pt>
                <c:pt idx="20942">
                  <c:v>38.097578371998729</c:v>
                </c:pt>
                <c:pt idx="20943">
                  <c:v>46.798743766440694</c:v>
                </c:pt>
                <c:pt idx="20944">
                  <c:v>24.237147230486183</c:v>
                </c:pt>
                <c:pt idx="20945">
                  <c:v>24.798361904777501</c:v>
                </c:pt>
                <c:pt idx="20946">
                  <c:v>28.299376542943335</c:v>
                </c:pt>
                <c:pt idx="20947">
                  <c:v>24.142615495597106</c:v>
                </c:pt>
                <c:pt idx="20948">
                  <c:v>31.644420068692146</c:v>
                </c:pt>
                <c:pt idx="20949">
                  <c:v>24.410257263130752</c:v>
                </c:pt>
                <c:pt idx="20950">
                  <c:v>18.835008585564953</c:v>
                </c:pt>
                <c:pt idx="20951">
                  <c:v>54.972714754619531</c:v>
                </c:pt>
                <c:pt idx="20952">
                  <c:v>27.98195497773683</c:v>
                </c:pt>
                <c:pt idx="20953">
                  <c:v>57.173045732048188</c:v>
                </c:pt>
                <c:pt idx="20954">
                  <c:v>21.918107415220216</c:v>
                </c:pt>
                <c:pt idx="20955">
                  <c:v>32.299319519322353</c:v>
                </c:pt>
                <c:pt idx="20956">
                  <c:v>28.117711046024265</c:v>
                </c:pt>
                <c:pt idx="20957">
                  <c:v>43.062442151533951</c:v>
                </c:pt>
                <c:pt idx="20958">
                  <c:v>22.23666209225323</c:v>
                </c:pt>
                <c:pt idx="20959">
                  <c:v>23.488786990740184</c:v>
                </c:pt>
                <c:pt idx="20960">
                  <c:v>25.126663755419955</c:v>
                </c:pt>
                <c:pt idx="20961">
                  <c:v>22.675501013707628</c:v>
                </c:pt>
                <c:pt idx="20962">
                  <c:v>22.45747543826598</c:v>
                </c:pt>
                <c:pt idx="20963">
                  <c:v>29.560674347187813</c:v>
                </c:pt>
                <c:pt idx="20964">
                  <c:v>23.810786281069198</c:v>
                </c:pt>
                <c:pt idx="20965">
                  <c:v>27.966613815283552</c:v>
                </c:pt>
                <c:pt idx="20966">
                  <c:v>33.91568031446964</c:v>
                </c:pt>
                <c:pt idx="20967">
                  <c:v>38.530475321521443</c:v>
                </c:pt>
                <c:pt idx="20968">
                  <c:v>32.188315575061132</c:v>
                </c:pt>
                <c:pt idx="20969">
                  <c:v>27.932291697915524</c:v>
                </c:pt>
                <c:pt idx="20970">
                  <c:v>23.062876578376382</c:v>
                </c:pt>
                <c:pt idx="20971">
                  <c:v>29.550334732561367</c:v>
                </c:pt>
                <c:pt idx="20972">
                  <c:v>42.908472642336363</c:v>
                </c:pt>
                <c:pt idx="20973">
                  <c:v>44.09525672245065</c:v>
                </c:pt>
                <c:pt idx="20974">
                  <c:v>20.338753521577651</c:v>
                </c:pt>
                <c:pt idx="20975">
                  <c:v>31.959500923180364</c:v>
                </c:pt>
                <c:pt idx="20976">
                  <c:v>27.754173914401466</c:v>
                </c:pt>
                <c:pt idx="20977">
                  <c:v>25.322223001408759</c:v>
                </c:pt>
                <c:pt idx="20978">
                  <c:v>16.400048057141223</c:v>
                </c:pt>
                <c:pt idx="20979">
                  <c:v>20.217900449121807</c:v>
                </c:pt>
                <c:pt idx="20980">
                  <c:v>29.209595457313938</c:v>
                </c:pt>
                <c:pt idx="20981">
                  <c:v>38.212710471515607</c:v>
                </c:pt>
                <c:pt idx="20982">
                  <c:v>27.652985697036694</c:v>
                </c:pt>
                <c:pt idx="20983">
                  <c:v>26.615049116152292</c:v>
                </c:pt>
                <c:pt idx="20984">
                  <c:v>24.184654865399107</c:v>
                </c:pt>
                <c:pt idx="20985">
                  <c:v>26.751159172934692</c:v>
                </c:pt>
                <c:pt idx="20986">
                  <c:v>34.373835593412515</c:v>
                </c:pt>
                <c:pt idx="20987">
                  <c:v>23.937947954077291</c:v>
                </c:pt>
                <c:pt idx="20988">
                  <c:v>35.087680189691262</c:v>
                </c:pt>
                <c:pt idx="20989">
                  <c:v>44.615813746528062</c:v>
                </c:pt>
                <c:pt idx="20990">
                  <c:v>24.958114673927504</c:v>
                </c:pt>
                <c:pt idx="20991">
                  <c:v>25.283798644913258</c:v>
                </c:pt>
                <c:pt idx="20992">
                  <c:v>22.595173010889496</c:v>
                </c:pt>
                <c:pt idx="20993">
                  <c:v>38.586555741146022</c:v>
                </c:pt>
                <c:pt idx="20994">
                  <c:v>24.642768255118899</c:v>
                </c:pt>
                <c:pt idx="20995">
                  <c:v>47.62951173616662</c:v>
                </c:pt>
                <c:pt idx="20996">
                  <c:v>49.019059217122788</c:v>
                </c:pt>
                <c:pt idx="20997">
                  <c:v>20.248537673291207</c:v>
                </c:pt>
                <c:pt idx="20998">
                  <c:v>31.085412736810891</c:v>
                </c:pt>
                <c:pt idx="20999">
                  <c:v>28.752797148650615</c:v>
                </c:pt>
                <c:pt idx="21000">
                  <c:v>28.715624948036854</c:v>
                </c:pt>
                <c:pt idx="21001">
                  <c:v>24.2334952422644</c:v>
                </c:pt>
                <c:pt idx="21002">
                  <c:v>47.758129680593854</c:v>
                </c:pt>
                <c:pt idx="21003">
                  <c:v>21.618350219513559</c:v>
                </c:pt>
                <c:pt idx="21004">
                  <c:v>26.509108027748908</c:v>
                </c:pt>
                <c:pt idx="21005">
                  <c:v>26.667311276019944</c:v>
                </c:pt>
                <c:pt idx="21006">
                  <c:v>24.290730634198848</c:v>
                </c:pt>
                <c:pt idx="21007">
                  <c:v>47.946261100995372</c:v>
                </c:pt>
                <c:pt idx="21008">
                  <c:v>25.759026291167107</c:v>
                </c:pt>
                <c:pt idx="21009">
                  <c:v>54.535751281921101</c:v>
                </c:pt>
                <c:pt idx="21010">
                  <c:v>31.796171115682451</c:v>
                </c:pt>
                <c:pt idx="21011">
                  <c:v>29.109608187973919</c:v>
                </c:pt>
                <c:pt idx="21012">
                  <c:v>45.950097833106803</c:v>
                </c:pt>
                <c:pt idx="21013">
                  <c:v>24.806011104242419</c:v>
                </c:pt>
                <c:pt idx="21014">
                  <c:v>26.232216444879114</c:v>
                </c:pt>
                <c:pt idx="21015">
                  <c:v>44.209376308303199</c:v>
                </c:pt>
                <c:pt idx="21016">
                  <c:v>29.890754161718402</c:v>
                </c:pt>
                <c:pt idx="21017">
                  <c:v>29.855857796265198</c:v>
                </c:pt>
                <c:pt idx="21018">
                  <c:v>27.079325542194404</c:v>
                </c:pt>
                <c:pt idx="21019">
                  <c:v>29.043324414365522</c:v>
                </c:pt>
                <c:pt idx="21020">
                  <c:v>36.492332918281662</c:v>
                </c:pt>
                <c:pt idx="21021">
                  <c:v>26.471232799294729</c:v>
                </c:pt>
                <c:pt idx="21022">
                  <c:v>26.101390980344465</c:v>
                </c:pt>
                <c:pt idx="21023">
                  <c:v>47.594319135504115</c:v>
                </c:pt>
                <c:pt idx="21024">
                  <c:v>23.400934064805021</c:v>
                </c:pt>
                <c:pt idx="21025">
                  <c:v>25.606089238327066</c:v>
                </c:pt>
                <c:pt idx="21026">
                  <c:v>27.110054227111377</c:v>
                </c:pt>
                <c:pt idx="21027">
                  <c:v>27.886660066117312</c:v>
                </c:pt>
                <c:pt idx="21028">
                  <c:v>24.630519880487793</c:v>
                </c:pt>
                <c:pt idx="21029">
                  <c:v>22.555746466311628</c:v>
                </c:pt>
                <c:pt idx="21030">
                  <c:v>29.377411761407938</c:v>
                </c:pt>
                <c:pt idx="21031">
                  <c:v>29.88288884316367</c:v>
                </c:pt>
                <c:pt idx="21032">
                  <c:v>23.924421047558901</c:v>
                </c:pt>
                <c:pt idx="21033">
                  <c:v>20.824129456492301</c:v>
                </c:pt>
                <c:pt idx="21034">
                  <c:v>17.416566725869366</c:v>
                </c:pt>
                <c:pt idx="21035">
                  <c:v>28.577532365896911</c:v>
                </c:pt>
                <c:pt idx="21036">
                  <c:v>26.265304237898164</c:v>
                </c:pt>
                <c:pt idx="21037">
                  <c:v>29.306384245628593</c:v>
                </c:pt>
                <c:pt idx="21038">
                  <c:v>50.972589946142378</c:v>
                </c:pt>
                <c:pt idx="21039">
                  <c:v>31.56300362946897</c:v>
                </c:pt>
                <c:pt idx="21040">
                  <c:v>18.662540165846913</c:v>
                </c:pt>
                <c:pt idx="21041">
                  <c:v>28.927896524816031</c:v>
                </c:pt>
                <c:pt idx="21042">
                  <c:v>33.255594885233357</c:v>
                </c:pt>
                <c:pt idx="21043">
                  <c:v>28.650338170953248</c:v>
                </c:pt>
                <c:pt idx="21044">
                  <c:v>56.869082772055783</c:v>
                </c:pt>
                <c:pt idx="21045">
                  <c:v>25.258103330605699</c:v>
                </c:pt>
                <c:pt idx="21046">
                  <c:v>25.29211996839447</c:v>
                </c:pt>
                <c:pt idx="21047">
                  <c:v>16.179662339509203</c:v>
                </c:pt>
                <c:pt idx="21048">
                  <c:v>43.141852301184656</c:v>
                </c:pt>
                <c:pt idx="21049">
                  <c:v>18.299242262314362</c:v>
                </c:pt>
                <c:pt idx="21050">
                  <c:v>24.733230119024569</c:v>
                </c:pt>
                <c:pt idx="21051">
                  <c:v>32.494691762781237</c:v>
                </c:pt>
                <c:pt idx="21052">
                  <c:v>40.834904912334345</c:v>
                </c:pt>
                <c:pt idx="21053">
                  <c:v>25.376408034118946</c:v>
                </c:pt>
                <c:pt idx="21054">
                  <c:v>17.920669049246023</c:v>
                </c:pt>
                <c:pt idx="21055">
                  <c:v>28.68654353662793</c:v>
                </c:pt>
                <c:pt idx="21056">
                  <c:v>52.280968189261003</c:v>
                </c:pt>
                <c:pt idx="21057">
                  <c:v>25.087817348138771</c:v>
                </c:pt>
                <c:pt idx="21058">
                  <c:v>21.360618504959739</c:v>
                </c:pt>
                <c:pt idx="21059">
                  <c:v>25.239968499657863</c:v>
                </c:pt>
                <c:pt idx="21060">
                  <c:v>31.534899165726138</c:v>
                </c:pt>
                <c:pt idx="21061">
                  <c:v>22.767172316059721</c:v>
                </c:pt>
                <c:pt idx="21062">
                  <c:v>23.207620034141421</c:v>
                </c:pt>
                <c:pt idx="21063">
                  <c:v>27.778741409653712</c:v>
                </c:pt>
                <c:pt idx="21064">
                  <c:v>35.35403352904062</c:v>
                </c:pt>
                <c:pt idx="21065">
                  <c:v>27.995177070237968</c:v>
                </c:pt>
                <c:pt idx="21066">
                  <c:v>28.846244144251656</c:v>
                </c:pt>
                <c:pt idx="21067">
                  <c:v>27.111735299137905</c:v>
                </c:pt>
                <c:pt idx="21068">
                  <c:v>34.292914163764848</c:v>
                </c:pt>
                <c:pt idx="21069">
                  <c:v>32.726627622248827</c:v>
                </c:pt>
                <c:pt idx="21070">
                  <c:v>22.01701855418181</c:v>
                </c:pt>
                <c:pt idx="21071">
                  <c:v>46.636769772311922</c:v>
                </c:pt>
                <c:pt idx="21072">
                  <c:v>37.66941569753827</c:v>
                </c:pt>
                <c:pt idx="21073">
                  <c:v>29.075583721365071</c:v>
                </c:pt>
                <c:pt idx="21074">
                  <c:v>46.690697356027009</c:v>
                </c:pt>
                <c:pt idx="21075">
                  <c:v>19.460432087960562</c:v>
                </c:pt>
                <c:pt idx="21076">
                  <c:v>21.717461020138344</c:v>
                </c:pt>
                <c:pt idx="21077">
                  <c:v>28.612541748405739</c:v>
                </c:pt>
                <c:pt idx="21078">
                  <c:v>25.617336209291299</c:v>
                </c:pt>
                <c:pt idx="21079">
                  <c:v>22.328879411824914</c:v>
                </c:pt>
                <c:pt idx="21080">
                  <c:v>23.437081772317455</c:v>
                </c:pt>
                <c:pt idx="21081">
                  <c:v>33.276822752225854</c:v>
                </c:pt>
                <c:pt idx="21082">
                  <c:v>50.6670262795692</c:v>
                </c:pt>
                <c:pt idx="21083">
                  <c:v>28.023801365371028</c:v>
                </c:pt>
                <c:pt idx="21084">
                  <c:v>31.436536800543788</c:v>
                </c:pt>
                <c:pt idx="21085">
                  <c:v>21.845341232034137</c:v>
                </c:pt>
                <c:pt idx="21086">
                  <c:v>43.839300524618444</c:v>
                </c:pt>
                <c:pt idx="21087">
                  <c:v>22.838732735282196</c:v>
                </c:pt>
                <c:pt idx="21088">
                  <c:v>26.005422653360412</c:v>
                </c:pt>
                <c:pt idx="21089">
                  <c:v>25.400472819861889</c:v>
                </c:pt>
                <c:pt idx="21090">
                  <c:v>24.752041279097984</c:v>
                </c:pt>
                <c:pt idx="21091">
                  <c:v>19.201184145952119</c:v>
                </c:pt>
                <c:pt idx="21092">
                  <c:v>20.151470591878571</c:v>
                </c:pt>
                <c:pt idx="21093">
                  <c:v>40.315724313452662</c:v>
                </c:pt>
                <c:pt idx="21094">
                  <c:v>29.623414862406587</c:v>
                </c:pt>
                <c:pt idx="21095">
                  <c:v>28.452762800215716</c:v>
                </c:pt>
                <c:pt idx="21096">
                  <c:v>21.032103900855041</c:v>
                </c:pt>
                <c:pt idx="21097">
                  <c:v>20.455331780426576</c:v>
                </c:pt>
                <c:pt idx="21098">
                  <c:v>31.417144629079846</c:v>
                </c:pt>
                <c:pt idx="21099">
                  <c:v>47.972622233817034</c:v>
                </c:pt>
                <c:pt idx="21100">
                  <c:v>20.269452826279313</c:v>
                </c:pt>
                <c:pt idx="21101">
                  <c:v>29.43127766793636</c:v>
                </c:pt>
                <c:pt idx="21102">
                  <c:v>31.525739143387998</c:v>
                </c:pt>
                <c:pt idx="21103">
                  <c:v>33.418330577415425</c:v>
                </c:pt>
                <c:pt idx="21104">
                  <c:v>64.542267678441064</c:v>
                </c:pt>
                <c:pt idx="21105">
                  <c:v>23.304293378977817</c:v>
                </c:pt>
                <c:pt idx="21106">
                  <c:v>23.501179373566508</c:v>
                </c:pt>
                <c:pt idx="21107">
                  <c:v>16.945634039093882</c:v>
                </c:pt>
                <c:pt idx="21108">
                  <c:v>54.437224572186771</c:v>
                </c:pt>
                <c:pt idx="21109">
                  <c:v>24.502664870125166</c:v>
                </c:pt>
                <c:pt idx="21110">
                  <c:v>33.439026500663566</c:v>
                </c:pt>
                <c:pt idx="21111">
                  <c:v>38.670676594025096</c:v>
                </c:pt>
                <c:pt idx="21112">
                  <c:v>31.414233918288549</c:v>
                </c:pt>
                <c:pt idx="21113">
                  <c:v>22.2662462786327</c:v>
                </c:pt>
                <c:pt idx="21114">
                  <c:v>56.67217981089788</c:v>
                </c:pt>
                <c:pt idx="21115">
                  <c:v>20.77257470602131</c:v>
                </c:pt>
                <c:pt idx="21116">
                  <c:v>22.550839479352053</c:v>
                </c:pt>
                <c:pt idx="21117">
                  <c:v>34.462861790130994</c:v>
                </c:pt>
                <c:pt idx="21118">
                  <c:v>29.804024274912418</c:v>
                </c:pt>
                <c:pt idx="21119">
                  <c:v>29.320061651242892</c:v>
                </c:pt>
                <c:pt idx="21120">
                  <c:v>20.90175842660701</c:v>
                </c:pt>
                <c:pt idx="21121">
                  <c:v>28.858398162291703</c:v>
                </c:pt>
                <c:pt idx="21122">
                  <c:v>30.106531234127431</c:v>
                </c:pt>
                <c:pt idx="21123">
                  <c:v>52.200064696831056</c:v>
                </c:pt>
                <c:pt idx="21124">
                  <c:v>22.771530728633358</c:v>
                </c:pt>
                <c:pt idx="21125">
                  <c:v>26.58329899120384</c:v>
                </c:pt>
                <c:pt idx="21126">
                  <c:v>42.09238359209597</c:v>
                </c:pt>
                <c:pt idx="21127">
                  <c:v>41.649717182488551</c:v>
                </c:pt>
                <c:pt idx="21128">
                  <c:v>21.831051183769304</c:v>
                </c:pt>
                <c:pt idx="21129">
                  <c:v>31.675909463429157</c:v>
                </c:pt>
                <c:pt idx="21130">
                  <c:v>23.70927397958971</c:v>
                </c:pt>
                <c:pt idx="21131">
                  <c:v>26.864409166682037</c:v>
                </c:pt>
                <c:pt idx="21132">
                  <c:v>29.356025812571488</c:v>
                </c:pt>
                <c:pt idx="21133">
                  <c:v>24.524372344922625</c:v>
                </c:pt>
                <c:pt idx="21134">
                  <c:v>28.873209984360621</c:v>
                </c:pt>
                <c:pt idx="21135">
                  <c:v>27.578916982915032</c:v>
                </c:pt>
                <c:pt idx="21136">
                  <c:v>25.342055047452703</c:v>
                </c:pt>
                <c:pt idx="21137">
                  <c:v>21.282745978452667</c:v>
                </c:pt>
                <c:pt idx="21138">
                  <c:v>26.383071835681918</c:v>
                </c:pt>
                <c:pt idx="21139">
                  <c:v>14.524903262203981</c:v>
                </c:pt>
                <c:pt idx="21140">
                  <c:v>19.672282283862796</c:v>
                </c:pt>
                <c:pt idx="21141">
                  <c:v>24.165969854614293</c:v>
                </c:pt>
                <c:pt idx="21142">
                  <c:v>16.860159888872154</c:v>
                </c:pt>
                <c:pt idx="21143">
                  <c:v>20.223276756063647</c:v>
                </c:pt>
                <c:pt idx="21144">
                  <c:v>28.335960698023495</c:v>
                </c:pt>
                <c:pt idx="21145">
                  <c:v>26.779285228278848</c:v>
                </c:pt>
                <c:pt idx="21146">
                  <c:v>27.313946693769168</c:v>
                </c:pt>
                <c:pt idx="21147">
                  <c:v>43.258059740520693</c:v>
                </c:pt>
                <c:pt idx="21148">
                  <c:v>20.082252250856577</c:v>
                </c:pt>
                <c:pt idx="21149">
                  <c:v>47.115865088610477</c:v>
                </c:pt>
                <c:pt idx="21150">
                  <c:v>46.340245326470153</c:v>
                </c:pt>
                <c:pt idx="21151">
                  <c:v>18.537221373965544</c:v>
                </c:pt>
                <c:pt idx="21152">
                  <c:v>49.06919062799949</c:v>
                </c:pt>
                <c:pt idx="21153">
                  <c:v>33.601773905736749</c:v>
                </c:pt>
                <c:pt idx="21154">
                  <c:v>25.892387113108512</c:v>
                </c:pt>
                <c:pt idx="21155">
                  <c:v>25.767903656442488</c:v>
                </c:pt>
                <c:pt idx="21156">
                  <c:v>28.433982065743063</c:v>
                </c:pt>
                <c:pt idx="21157">
                  <c:v>19.64898090311868</c:v>
                </c:pt>
                <c:pt idx="21158">
                  <c:v>27.174442626585659</c:v>
                </c:pt>
                <c:pt idx="21159">
                  <c:v>20.151486913795907</c:v>
                </c:pt>
                <c:pt idx="21160">
                  <c:v>21.289619941845125</c:v>
                </c:pt>
                <c:pt idx="21161">
                  <c:v>34.04747505745992</c:v>
                </c:pt>
                <c:pt idx="21162">
                  <c:v>37.567384880023809</c:v>
                </c:pt>
                <c:pt idx="21163">
                  <c:v>22.964378226223364</c:v>
                </c:pt>
                <c:pt idx="21164">
                  <c:v>36.798693355111439</c:v>
                </c:pt>
                <c:pt idx="21165">
                  <c:v>46.076326945167885</c:v>
                </c:pt>
                <c:pt idx="21166">
                  <c:v>18.29817725415479</c:v>
                </c:pt>
                <c:pt idx="21167">
                  <c:v>24.893410424637402</c:v>
                </c:pt>
                <c:pt idx="21168">
                  <c:v>37.44423340269762</c:v>
                </c:pt>
                <c:pt idx="21169">
                  <c:v>54.698886525476823</c:v>
                </c:pt>
                <c:pt idx="21170">
                  <c:v>27.487139908606022</c:v>
                </c:pt>
                <c:pt idx="21171">
                  <c:v>60.174888383172657</c:v>
                </c:pt>
                <c:pt idx="21172">
                  <c:v>22.26324074701208</c:v>
                </c:pt>
                <c:pt idx="21173">
                  <c:v>33.621905987995774</c:v>
                </c:pt>
                <c:pt idx="21174">
                  <c:v>32.998391377481617</c:v>
                </c:pt>
                <c:pt idx="21175">
                  <c:v>30.568688236910763</c:v>
                </c:pt>
                <c:pt idx="21176">
                  <c:v>18.61812773933055</c:v>
                </c:pt>
                <c:pt idx="21177">
                  <c:v>17.479399415690906</c:v>
                </c:pt>
                <c:pt idx="21178">
                  <c:v>24.149299922210499</c:v>
                </c:pt>
                <c:pt idx="21179">
                  <c:v>18.838254766725669</c:v>
                </c:pt>
                <c:pt idx="21180">
                  <c:v>39.671603475434942</c:v>
                </c:pt>
                <c:pt idx="21181">
                  <c:v>24.384616329880359</c:v>
                </c:pt>
                <c:pt idx="21182">
                  <c:v>24.655966386447766</c:v>
                </c:pt>
                <c:pt idx="21183">
                  <c:v>16.085582674772368</c:v>
                </c:pt>
                <c:pt idx="21184">
                  <c:v>27.143350674394458</c:v>
                </c:pt>
                <c:pt idx="21185">
                  <c:v>18.231545513691493</c:v>
                </c:pt>
                <c:pt idx="21186">
                  <c:v>19.402451918855224</c:v>
                </c:pt>
                <c:pt idx="21187">
                  <c:v>55.524727449510991</c:v>
                </c:pt>
                <c:pt idx="21188">
                  <c:v>32.090893099494281</c:v>
                </c:pt>
                <c:pt idx="21189">
                  <c:v>26.06487525153619</c:v>
                </c:pt>
                <c:pt idx="21190">
                  <c:v>26.430173818407638</c:v>
                </c:pt>
                <c:pt idx="21191">
                  <c:v>27.306447005319058</c:v>
                </c:pt>
                <c:pt idx="21192">
                  <c:v>23.720833997102446</c:v>
                </c:pt>
                <c:pt idx="21193">
                  <c:v>22.799809738075325</c:v>
                </c:pt>
                <c:pt idx="21194">
                  <c:v>45.26792273037637</c:v>
                </c:pt>
                <c:pt idx="21195">
                  <c:v>24.405062049621414</c:v>
                </c:pt>
                <c:pt idx="21196">
                  <c:v>15.707909161261647</c:v>
                </c:pt>
                <c:pt idx="21197">
                  <c:v>31.360872933386979</c:v>
                </c:pt>
                <c:pt idx="21198">
                  <c:v>30.730419020039836</c:v>
                </c:pt>
                <c:pt idx="21199">
                  <c:v>26.694300448000305</c:v>
                </c:pt>
                <c:pt idx="21200">
                  <c:v>15.806609064105926</c:v>
                </c:pt>
                <c:pt idx="21201">
                  <c:v>28.339317011393167</c:v>
                </c:pt>
                <c:pt idx="21202">
                  <c:v>32.709009463551332</c:v>
                </c:pt>
                <c:pt idx="21203">
                  <c:v>24.408756222965447</c:v>
                </c:pt>
                <c:pt idx="21204">
                  <c:v>29.374032514655813</c:v>
                </c:pt>
                <c:pt idx="21205">
                  <c:v>19.752739313118347</c:v>
                </c:pt>
                <c:pt idx="21206">
                  <c:v>23.961075046716722</c:v>
                </c:pt>
                <c:pt idx="21207">
                  <c:v>32.864613366520814</c:v>
                </c:pt>
                <c:pt idx="21208">
                  <c:v>29.397907779682924</c:v>
                </c:pt>
                <c:pt idx="21209">
                  <c:v>62.724450887144336</c:v>
                </c:pt>
                <c:pt idx="21210">
                  <c:v>27.831655112579348</c:v>
                </c:pt>
                <c:pt idx="21211">
                  <c:v>36.214842148637871</c:v>
                </c:pt>
                <c:pt idx="21212">
                  <c:v>26.902577950497022</c:v>
                </c:pt>
                <c:pt idx="21213">
                  <c:v>20.986101754845521</c:v>
                </c:pt>
                <c:pt idx="21214">
                  <c:v>26.420208127745852</c:v>
                </c:pt>
                <c:pt idx="21215">
                  <c:v>42.220860309680909</c:v>
                </c:pt>
                <c:pt idx="21216">
                  <c:v>31.926174909314273</c:v>
                </c:pt>
                <c:pt idx="21217">
                  <c:v>63.789155164001301</c:v>
                </c:pt>
                <c:pt idx="21218">
                  <c:v>21.591643429877436</c:v>
                </c:pt>
                <c:pt idx="21219">
                  <c:v>26.367542629458416</c:v>
                </c:pt>
                <c:pt idx="21220">
                  <c:v>31.113079437539543</c:v>
                </c:pt>
                <c:pt idx="21221">
                  <c:v>57.064778864933039</c:v>
                </c:pt>
                <c:pt idx="21222">
                  <c:v>20.976645692782974</c:v>
                </c:pt>
                <c:pt idx="21223">
                  <c:v>19.159909818493212</c:v>
                </c:pt>
                <c:pt idx="21224">
                  <c:v>27.802225896624936</c:v>
                </c:pt>
                <c:pt idx="21225">
                  <c:v>30.510553535250889</c:v>
                </c:pt>
                <c:pt idx="21226">
                  <c:v>55.294026885076775</c:v>
                </c:pt>
                <c:pt idx="21227">
                  <c:v>30.28113882393324</c:v>
                </c:pt>
                <c:pt idx="21228">
                  <c:v>23.475476241109263</c:v>
                </c:pt>
                <c:pt idx="21229">
                  <c:v>40.779976105410569</c:v>
                </c:pt>
                <c:pt idx="21230">
                  <c:v>31.506525741001624</c:v>
                </c:pt>
                <c:pt idx="21231">
                  <c:v>37.742058675515402</c:v>
                </c:pt>
                <c:pt idx="21232">
                  <c:v>51.889209165135028</c:v>
                </c:pt>
                <c:pt idx="21233">
                  <c:v>22.47122220335276</c:v>
                </c:pt>
                <c:pt idx="21234">
                  <c:v>23.331603375765411</c:v>
                </c:pt>
                <c:pt idx="21235">
                  <c:v>22.543541529488913</c:v>
                </c:pt>
                <c:pt idx="21236">
                  <c:v>22.539970327389796</c:v>
                </c:pt>
                <c:pt idx="21237">
                  <c:v>18.415020207824398</c:v>
                </c:pt>
                <c:pt idx="21238">
                  <c:v>50.943857788871291</c:v>
                </c:pt>
                <c:pt idx="21239">
                  <c:v>29.139958582857979</c:v>
                </c:pt>
                <c:pt idx="21240">
                  <c:v>27.959344291212915</c:v>
                </c:pt>
                <c:pt idx="21241">
                  <c:v>45.193466214942958</c:v>
                </c:pt>
                <c:pt idx="21242">
                  <c:v>27.264144710093532</c:v>
                </c:pt>
                <c:pt idx="21243">
                  <c:v>54.377206642197741</c:v>
                </c:pt>
                <c:pt idx="21244">
                  <c:v>38.266975983308917</c:v>
                </c:pt>
                <c:pt idx="21245">
                  <c:v>53.516629953218832</c:v>
                </c:pt>
                <c:pt idx="21246">
                  <c:v>23.398997908083494</c:v>
                </c:pt>
                <c:pt idx="21247">
                  <c:v>45.693907451314054</c:v>
                </c:pt>
                <c:pt idx="21248">
                  <c:v>31.913523485682965</c:v>
                </c:pt>
                <c:pt idx="21249">
                  <c:v>33.897092790445626</c:v>
                </c:pt>
                <c:pt idx="21250">
                  <c:v>28.409987462204047</c:v>
                </c:pt>
                <c:pt idx="21251">
                  <c:v>44.845998276564494</c:v>
                </c:pt>
                <c:pt idx="21252">
                  <c:v>33.874612242234463</c:v>
                </c:pt>
                <c:pt idx="21253">
                  <c:v>28.020316743053733</c:v>
                </c:pt>
                <c:pt idx="21254">
                  <c:v>26.187697287814448</c:v>
                </c:pt>
                <c:pt idx="21255">
                  <c:v>31.098622086010209</c:v>
                </c:pt>
                <c:pt idx="21256">
                  <c:v>39.8140134718087</c:v>
                </c:pt>
                <c:pt idx="21257">
                  <c:v>27.227412602789258</c:v>
                </c:pt>
                <c:pt idx="21258">
                  <c:v>22.959843841107581</c:v>
                </c:pt>
                <c:pt idx="21259">
                  <c:v>33.583556664389739</c:v>
                </c:pt>
                <c:pt idx="21260">
                  <c:v>48.013798620903252</c:v>
                </c:pt>
                <c:pt idx="21261">
                  <c:v>22.89713146881699</c:v>
                </c:pt>
                <c:pt idx="21262">
                  <c:v>26.41905301391251</c:v>
                </c:pt>
                <c:pt idx="21263">
                  <c:v>36.464732252570101</c:v>
                </c:pt>
                <c:pt idx="21264">
                  <c:v>29.280923649887576</c:v>
                </c:pt>
                <c:pt idx="21265">
                  <c:v>22.923678784612644</c:v>
                </c:pt>
                <c:pt idx="21266">
                  <c:v>51.759573802167296</c:v>
                </c:pt>
                <c:pt idx="21267">
                  <c:v>28.48888176410248</c:v>
                </c:pt>
                <c:pt idx="21268">
                  <c:v>29.538629316247185</c:v>
                </c:pt>
                <c:pt idx="21269">
                  <c:v>19.755810431852648</c:v>
                </c:pt>
                <c:pt idx="21270">
                  <c:v>30.323215447856867</c:v>
                </c:pt>
                <c:pt idx="21271">
                  <c:v>27.027190331833285</c:v>
                </c:pt>
                <c:pt idx="21272">
                  <c:v>28.260464699031001</c:v>
                </c:pt>
                <c:pt idx="21273">
                  <c:v>20.578289508546714</c:v>
                </c:pt>
                <c:pt idx="21274">
                  <c:v>26.619289059627423</c:v>
                </c:pt>
                <c:pt idx="21275">
                  <c:v>26.031026739507595</c:v>
                </c:pt>
                <c:pt idx="21276">
                  <c:v>38.618623405018866</c:v>
                </c:pt>
                <c:pt idx="21277">
                  <c:v>61.008392462104133</c:v>
                </c:pt>
                <c:pt idx="21278">
                  <c:v>21.767209382913695</c:v>
                </c:pt>
                <c:pt idx="21279">
                  <c:v>54.097967420233672</c:v>
                </c:pt>
                <c:pt idx="21280">
                  <c:v>23.156242696640359</c:v>
                </c:pt>
                <c:pt idx="21281">
                  <c:v>24.431043578048872</c:v>
                </c:pt>
                <c:pt idx="21282">
                  <c:v>23.074310790746285</c:v>
                </c:pt>
                <c:pt idx="21283">
                  <c:v>22.609305571439613</c:v>
                </c:pt>
                <c:pt idx="21284">
                  <c:v>28.205716242369128</c:v>
                </c:pt>
                <c:pt idx="21285">
                  <c:v>17.797264660529773</c:v>
                </c:pt>
                <c:pt idx="21286">
                  <c:v>15.667452405576572</c:v>
                </c:pt>
                <c:pt idx="21287">
                  <c:v>39.457799373172229</c:v>
                </c:pt>
                <c:pt idx="21288">
                  <c:v>28.810031000812401</c:v>
                </c:pt>
                <c:pt idx="21289">
                  <c:v>25.149287874071817</c:v>
                </c:pt>
                <c:pt idx="21290">
                  <c:v>20.959380755479746</c:v>
                </c:pt>
                <c:pt idx="21291">
                  <c:v>40.624117062057039</c:v>
                </c:pt>
                <c:pt idx="21292">
                  <c:v>40.94297182525434</c:v>
                </c:pt>
                <c:pt idx="21293">
                  <c:v>37.595081604047714</c:v>
                </c:pt>
                <c:pt idx="21294">
                  <c:v>25.704618954156338</c:v>
                </c:pt>
                <c:pt idx="21295">
                  <c:v>41.89240390098702</c:v>
                </c:pt>
                <c:pt idx="21296">
                  <c:v>24.929577429245704</c:v>
                </c:pt>
                <c:pt idx="21297">
                  <c:v>24.619402116068432</c:v>
                </c:pt>
                <c:pt idx="21298">
                  <c:v>33.54335437615191</c:v>
                </c:pt>
                <c:pt idx="21299">
                  <c:v>30.321889243576372</c:v>
                </c:pt>
                <c:pt idx="21300">
                  <c:v>26.561589806724246</c:v>
                </c:pt>
                <c:pt idx="21301">
                  <c:v>23.261634656814149</c:v>
                </c:pt>
                <c:pt idx="21302">
                  <c:v>55.538251919198743</c:v>
                </c:pt>
                <c:pt idx="21303">
                  <c:v>35.188147921562006</c:v>
                </c:pt>
                <c:pt idx="21304">
                  <c:v>29.951357082206002</c:v>
                </c:pt>
                <c:pt idx="21305">
                  <c:v>23.35457887525672</c:v>
                </c:pt>
                <c:pt idx="21306">
                  <c:v>27.725508067323851</c:v>
                </c:pt>
                <c:pt idx="21307">
                  <c:v>27.852635674902679</c:v>
                </c:pt>
                <c:pt idx="21308">
                  <c:v>23.829228181690311</c:v>
                </c:pt>
                <c:pt idx="21309">
                  <c:v>40.410014046098759</c:v>
                </c:pt>
                <c:pt idx="21310">
                  <c:v>27.159067507610484</c:v>
                </c:pt>
                <c:pt idx="21311">
                  <c:v>24.709268197429626</c:v>
                </c:pt>
                <c:pt idx="21312">
                  <c:v>24.152800315010239</c:v>
                </c:pt>
                <c:pt idx="21313">
                  <c:v>27.785720164839553</c:v>
                </c:pt>
                <c:pt idx="21314">
                  <c:v>21.435784196751626</c:v>
                </c:pt>
                <c:pt idx="21315">
                  <c:v>24.281476018646345</c:v>
                </c:pt>
                <c:pt idx="21316">
                  <c:v>25.963902587694122</c:v>
                </c:pt>
                <c:pt idx="21317">
                  <c:v>48.390835763572454</c:v>
                </c:pt>
                <c:pt idx="21318">
                  <c:v>58.510972431157917</c:v>
                </c:pt>
                <c:pt idx="21319">
                  <c:v>26.999348371497728</c:v>
                </c:pt>
                <c:pt idx="21320">
                  <c:v>38.33650519970913</c:v>
                </c:pt>
                <c:pt idx="21321">
                  <c:v>24.373020381291465</c:v>
                </c:pt>
                <c:pt idx="21322">
                  <c:v>24.511395929317359</c:v>
                </c:pt>
                <c:pt idx="21323">
                  <c:v>26.35932781149279</c:v>
                </c:pt>
                <c:pt idx="21324">
                  <c:v>26.218159957537203</c:v>
                </c:pt>
                <c:pt idx="21325">
                  <c:v>38.420315836171362</c:v>
                </c:pt>
                <c:pt idx="21326">
                  <c:v>29.204451399007382</c:v>
                </c:pt>
                <c:pt idx="21327">
                  <c:v>45.997734979670952</c:v>
                </c:pt>
                <c:pt idx="21328">
                  <c:v>28.718443894670969</c:v>
                </c:pt>
                <c:pt idx="21329">
                  <c:v>18.231377676563746</c:v>
                </c:pt>
                <c:pt idx="21330">
                  <c:v>19.245891213019462</c:v>
                </c:pt>
                <c:pt idx="21331">
                  <c:v>32.942560928466193</c:v>
                </c:pt>
                <c:pt idx="21332">
                  <c:v>48.961533934840276</c:v>
                </c:pt>
                <c:pt idx="21333">
                  <c:v>32.75161815167219</c:v>
                </c:pt>
                <c:pt idx="21334">
                  <c:v>31.028690442493136</c:v>
                </c:pt>
                <c:pt idx="21335">
                  <c:v>20.24629166288322</c:v>
                </c:pt>
                <c:pt idx="21336">
                  <c:v>34.295676639043229</c:v>
                </c:pt>
                <c:pt idx="21337">
                  <c:v>28.797602462780176</c:v>
                </c:pt>
                <c:pt idx="21338">
                  <c:v>29.809351887387177</c:v>
                </c:pt>
                <c:pt idx="21339">
                  <c:v>50.056746508867519</c:v>
                </c:pt>
                <c:pt idx="21340">
                  <c:v>44.731332879091795</c:v>
                </c:pt>
                <c:pt idx="21341">
                  <c:v>35.94683493349438</c:v>
                </c:pt>
                <c:pt idx="21342">
                  <c:v>34.963410869465648</c:v>
                </c:pt>
                <c:pt idx="21343">
                  <c:v>27.154405335002316</c:v>
                </c:pt>
                <c:pt idx="21344">
                  <c:v>24.475693051382887</c:v>
                </c:pt>
                <c:pt idx="21345">
                  <c:v>28.271153511650041</c:v>
                </c:pt>
                <c:pt idx="21346">
                  <c:v>21.380584928229407</c:v>
                </c:pt>
                <c:pt idx="21347">
                  <c:v>26.59772689566725</c:v>
                </c:pt>
                <c:pt idx="21348">
                  <c:v>53.656785044838323</c:v>
                </c:pt>
                <c:pt idx="21349">
                  <c:v>44.859770783837391</c:v>
                </c:pt>
                <c:pt idx="21350">
                  <c:v>29.379490545086711</c:v>
                </c:pt>
                <c:pt idx="21351">
                  <c:v>25.630342702487091</c:v>
                </c:pt>
                <c:pt idx="21352">
                  <c:v>36.876194762773643</c:v>
                </c:pt>
                <c:pt idx="21353">
                  <c:v>25.734330881766326</c:v>
                </c:pt>
                <c:pt idx="21354">
                  <c:v>32.454660551362473</c:v>
                </c:pt>
                <c:pt idx="21355">
                  <c:v>33.142727667686785</c:v>
                </c:pt>
                <c:pt idx="21356">
                  <c:v>18.392696263559483</c:v>
                </c:pt>
                <c:pt idx="21357">
                  <c:v>29.949623002208572</c:v>
                </c:pt>
                <c:pt idx="21358">
                  <c:v>38.160753202181951</c:v>
                </c:pt>
                <c:pt idx="21359">
                  <c:v>31.726752129452002</c:v>
                </c:pt>
                <c:pt idx="21360">
                  <c:v>27.903611829445261</c:v>
                </c:pt>
                <c:pt idx="21361">
                  <c:v>33.116501764874648</c:v>
                </c:pt>
                <c:pt idx="21362">
                  <c:v>22.363288915911973</c:v>
                </c:pt>
                <c:pt idx="21363">
                  <c:v>26.114819725958334</c:v>
                </c:pt>
                <c:pt idx="21364">
                  <c:v>50.817210181053923</c:v>
                </c:pt>
                <c:pt idx="21365">
                  <c:v>31.374588077035511</c:v>
                </c:pt>
                <c:pt idx="21366">
                  <c:v>40.316921946598427</c:v>
                </c:pt>
                <c:pt idx="21367">
                  <c:v>27.804703262551868</c:v>
                </c:pt>
                <c:pt idx="21368">
                  <c:v>33.647066343552019</c:v>
                </c:pt>
                <c:pt idx="21369">
                  <c:v>43.612820332704374</c:v>
                </c:pt>
                <c:pt idx="21370">
                  <c:v>34.069199395047484</c:v>
                </c:pt>
                <c:pt idx="21371">
                  <c:v>24.922626988702561</c:v>
                </c:pt>
                <c:pt idx="21372">
                  <c:v>31.682041411825161</c:v>
                </c:pt>
                <c:pt idx="21373">
                  <c:v>28.176559788170483</c:v>
                </c:pt>
                <c:pt idx="21374">
                  <c:v>23.257944046177222</c:v>
                </c:pt>
                <c:pt idx="21375">
                  <c:v>28.91951250307223</c:v>
                </c:pt>
                <c:pt idx="21376">
                  <c:v>25.940356056024303</c:v>
                </c:pt>
                <c:pt idx="21377">
                  <c:v>32.023855880264101</c:v>
                </c:pt>
                <c:pt idx="21378">
                  <c:v>16.942893730322133</c:v>
                </c:pt>
                <c:pt idx="21379">
                  <c:v>23.014148007421959</c:v>
                </c:pt>
                <c:pt idx="21380">
                  <c:v>37.924503743074226</c:v>
                </c:pt>
                <c:pt idx="21381">
                  <c:v>47.900747273755009</c:v>
                </c:pt>
                <c:pt idx="21382">
                  <c:v>26.740439652544353</c:v>
                </c:pt>
                <c:pt idx="21383">
                  <c:v>34.378788260774492</c:v>
                </c:pt>
                <c:pt idx="21384">
                  <c:v>21.437165882272488</c:v>
                </c:pt>
                <c:pt idx="21385">
                  <c:v>39.346301835293708</c:v>
                </c:pt>
                <c:pt idx="21386">
                  <c:v>15.615433114850049</c:v>
                </c:pt>
                <c:pt idx="21387">
                  <c:v>32.571634716975019</c:v>
                </c:pt>
                <c:pt idx="21388">
                  <c:v>54.804120298061719</c:v>
                </c:pt>
                <c:pt idx="21389">
                  <c:v>21.7030886248325</c:v>
                </c:pt>
                <c:pt idx="21390">
                  <c:v>26.096923381089876</c:v>
                </c:pt>
                <c:pt idx="21391">
                  <c:v>32.246702126943312</c:v>
                </c:pt>
                <c:pt idx="21392">
                  <c:v>28.133777669532911</c:v>
                </c:pt>
                <c:pt idx="21393">
                  <c:v>18.344934292347602</c:v>
                </c:pt>
                <c:pt idx="21394">
                  <c:v>44.795959868061615</c:v>
                </c:pt>
                <c:pt idx="21395">
                  <c:v>28.071523186533035</c:v>
                </c:pt>
                <c:pt idx="21396">
                  <c:v>29.920916226807023</c:v>
                </c:pt>
                <c:pt idx="21397">
                  <c:v>41.834202183980956</c:v>
                </c:pt>
                <c:pt idx="21398">
                  <c:v>25.537110681126833</c:v>
                </c:pt>
                <c:pt idx="21399">
                  <c:v>33.671909490598267</c:v>
                </c:pt>
                <c:pt idx="21400">
                  <c:v>26.971030502121117</c:v>
                </c:pt>
                <c:pt idx="21401">
                  <c:v>59.067789299687306</c:v>
                </c:pt>
                <c:pt idx="21402">
                  <c:v>26.153348746096949</c:v>
                </c:pt>
                <c:pt idx="21403">
                  <c:v>25.466641093042497</c:v>
                </c:pt>
                <c:pt idx="21404">
                  <c:v>28.552023041276215</c:v>
                </c:pt>
                <c:pt idx="21405">
                  <c:v>38.782171308413332</c:v>
                </c:pt>
                <c:pt idx="21406">
                  <c:v>24.956617283962615</c:v>
                </c:pt>
                <c:pt idx="21407">
                  <c:v>27.328195389607046</c:v>
                </c:pt>
                <c:pt idx="21408">
                  <c:v>31.518400916275752</c:v>
                </c:pt>
                <c:pt idx="21409">
                  <c:v>29.600085445069194</c:v>
                </c:pt>
                <c:pt idx="21410">
                  <c:v>53.089920851212632</c:v>
                </c:pt>
                <c:pt idx="21411">
                  <c:v>43.147116674561573</c:v>
                </c:pt>
                <c:pt idx="21412">
                  <c:v>24.548763210165617</c:v>
                </c:pt>
                <c:pt idx="21413">
                  <c:v>47.471225460448643</c:v>
                </c:pt>
                <c:pt idx="21414">
                  <c:v>17.648596629985519</c:v>
                </c:pt>
                <c:pt idx="21415">
                  <c:v>15.761317210407402</c:v>
                </c:pt>
                <c:pt idx="21416">
                  <c:v>32.761913746168389</c:v>
                </c:pt>
                <c:pt idx="21417">
                  <c:v>27.705760723988423</c:v>
                </c:pt>
                <c:pt idx="21418">
                  <c:v>23.318488627275009</c:v>
                </c:pt>
                <c:pt idx="21419">
                  <c:v>47.191691737085137</c:v>
                </c:pt>
                <c:pt idx="21420">
                  <c:v>39.783644661364491</c:v>
                </c:pt>
                <c:pt idx="21421">
                  <c:v>34.915435367114412</c:v>
                </c:pt>
                <c:pt idx="21422">
                  <c:v>20.575675397015946</c:v>
                </c:pt>
                <c:pt idx="21423">
                  <c:v>25.723524123227811</c:v>
                </c:pt>
                <c:pt idx="21424">
                  <c:v>27.233234310628099</c:v>
                </c:pt>
                <c:pt idx="21425">
                  <c:v>27.023473919397951</c:v>
                </c:pt>
                <c:pt idx="21426">
                  <c:v>27.474550982258062</c:v>
                </c:pt>
                <c:pt idx="21427">
                  <c:v>18.455003382942692</c:v>
                </c:pt>
                <c:pt idx="21428">
                  <c:v>20.764178466708827</c:v>
                </c:pt>
                <c:pt idx="21429">
                  <c:v>46.275248261886908</c:v>
                </c:pt>
                <c:pt idx="21430">
                  <c:v>26.181259367638248</c:v>
                </c:pt>
                <c:pt idx="21431">
                  <c:v>22.225378905708805</c:v>
                </c:pt>
                <c:pt idx="21432">
                  <c:v>28.971347332510664</c:v>
                </c:pt>
                <c:pt idx="21433">
                  <c:v>37.958142727076947</c:v>
                </c:pt>
                <c:pt idx="21434">
                  <c:v>38.109884798554177</c:v>
                </c:pt>
                <c:pt idx="21435">
                  <c:v>30.496881758286619</c:v>
                </c:pt>
                <c:pt idx="21436">
                  <c:v>26.402962645729609</c:v>
                </c:pt>
                <c:pt idx="21437">
                  <c:v>38.751502010665483</c:v>
                </c:pt>
                <c:pt idx="21438">
                  <c:v>24.524760110788861</c:v>
                </c:pt>
                <c:pt idx="21439">
                  <c:v>32.924281222074299</c:v>
                </c:pt>
                <c:pt idx="21440">
                  <c:v>25.029344181366199</c:v>
                </c:pt>
                <c:pt idx="21441">
                  <c:v>26.474268300042649</c:v>
                </c:pt>
                <c:pt idx="21442">
                  <c:v>27.340700844023875</c:v>
                </c:pt>
                <c:pt idx="21443">
                  <c:v>26.207208806323031</c:v>
                </c:pt>
                <c:pt idx="21444">
                  <c:v>25.341907051321964</c:v>
                </c:pt>
                <c:pt idx="21445">
                  <c:v>18.524647627769657</c:v>
                </c:pt>
                <c:pt idx="21446">
                  <c:v>19.397506627167544</c:v>
                </c:pt>
                <c:pt idx="21447">
                  <c:v>31.023893557199312</c:v>
                </c:pt>
                <c:pt idx="21448">
                  <c:v>30.270308354227755</c:v>
                </c:pt>
                <c:pt idx="21449">
                  <c:v>29.524152847047819</c:v>
                </c:pt>
                <c:pt idx="21450">
                  <c:v>45.015880767705184</c:v>
                </c:pt>
                <c:pt idx="21451">
                  <c:v>32.292379482918747</c:v>
                </c:pt>
                <c:pt idx="21452">
                  <c:v>44.90575813123376</c:v>
                </c:pt>
                <c:pt idx="21453">
                  <c:v>34.736499941146718</c:v>
                </c:pt>
                <c:pt idx="21454">
                  <c:v>37.107284659225193</c:v>
                </c:pt>
                <c:pt idx="21455">
                  <c:v>21.828412958693661</c:v>
                </c:pt>
                <c:pt idx="21456">
                  <c:v>55.668870628571483</c:v>
                </c:pt>
                <c:pt idx="21457">
                  <c:v>28.394934474981309</c:v>
                </c:pt>
                <c:pt idx="21458">
                  <c:v>26.891693100578717</c:v>
                </c:pt>
                <c:pt idx="21459">
                  <c:v>23.499736307238546</c:v>
                </c:pt>
                <c:pt idx="21460">
                  <c:v>37.283991258684402</c:v>
                </c:pt>
                <c:pt idx="21461">
                  <c:v>34.616049717924248</c:v>
                </c:pt>
                <c:pt idx="21462">
                  <c:v>24.234693788868</c:v>
                </c:pt>
                <c:pt idx="21463">
                  <c:v>23.234825545682742</c:v>
                </c:pt>
                <c:pt idx="21464">
                  <c:v>28.09705999237476</c:v>
                </c:pt>
                <c:pt idx="21465">
                  <c:v>25.797947449231021</c:v>
                </c:pt>
                <c:pt idx="21466">
                  <c:v>23.783323669362723</c:v>
                </c:pt>
                <c:pt idx="21467">
                  <c:v>29.390443141009737</c:v>
                </c:pt>
                <c:pt idx="21468">
                  <c:v>24.135086078663619</c:v>
                </c:pt>
                <c:pt idx="21469">
                  <c:v>25.780345513127806</c:v>
                </c:pt>
                <c:pt idx="21470">
                  <c:v>27.126491555478957</c:v>
                </c:pt>
                <c:pt idx="21471">
                  <c:v>49.804025858588439</c:v>
                </c:pt>
                <c:pt idx="21472">
                  <c:v>29.053385502847931</c:v>
                </c:pt>
                <c:pt idx="21473">
                  <c:v>27.537521239985821</c:v>
                </c:pt>
                <c:pt idx="21474">
                  <c:v>30.254942608579874</c:v>
                </c:pt>
                <c:pt idx="21475">
                  <c:v>50.383161320515185</c:v>
                </c:pt>
                <c:pt idx="21476">
                  <c:v>41.118265112145203</c:v>
                </c:pt>
                <c:pt idx="21477">
                  <c:v>44.735526354284943</c:v>
                </c:pt>
                <c:pt idx="21478">
                  <c:v>21.518863484751286</c:v>
                </c:pt>
                <c:pt idx="21479">
                  <c:v>31.188715248032974</c:v>
                </c:pt>
                <c:pt idx="21480">
                  <c:v>66.43510592990836</c:v>
                </c:pt>
                <c:pt idx="21481">
                  <c:v>42.053486654799016</c:v>
                </c:pt>
                <c:pt idx="21482">
                  <c:v>25.770670598416043</c:v>
                </c:pt>
                <c:pt idx="21483">
                  <c:v>31.53191317103613</c:v>
                </c:pt>
                <c:pt idx="21484">
                  <c:v>36.546470992599055</c:v>
                </c:pt>
                <c:pt idx="21485">
                  <c:v>26.235178821519789</c:v>
                </c:pt>
                <c:pt idx="21486">
                  <c:v>21.727802597576201</c:v>
                </c:pt>
                <c:pt idx="21487">
                  <c:v>23.42216958721913</c:v>
                </c:pt>
                <c:pt idx="21488">
                  <c:v>15.190328860141774</c:v>
                </c:pt>
                <c:pt idx="21489">
                  <c:v>18.507300076652268</c:v>
                </c:pt>
                <c:pt idx="21490">
                  <c:v>28.076663191802417</c:v>
                </c:pt>
                <c:pt idx="21491">
                  <c:v>26.738171234921435</c:v>
                </c:pt>
                <c:pt idx="21492">
                  <c:v>33.092607115193587</c:v>
                </c:pt>
                <c:pt idx="21493">
                  <c:v>28.716097872827177</c:v>
                </c:pt>
                <c:pt idx="21494">
                  <c:v>51.971890529568327</c:v>
                </c:pt>
                <c:pt idx="21495">
                  <c:v>25.762339793336626</c:v>
                </c:pt>
                <c:pt idx="21496">
                  <c:v>19.375483264456456</c:v>
                </c:pt>
                <c:pt idx="21497">
                  <c:v>23.458400241989207</c:v>
                </c:pt>
                <c:pt idx="21498">
                  <c:v>29.040830389465672</c:v>
                </c:pt>
                <c:pt idx="21499">
                  <c:v>26.425509875986133</c:v>
                </c:pt>
                <c:pt idx="21500">
                  <c:v>22.968197459037157</c:v>
                </c:pt>
                <c:pt idx="21501">
                  <c:v>30.41670778828054</c:v>
                </c:pt>
                <c:pt idx="21502">
                  <c:v>34.853897245116897</c:v>
                </c:pt>
                <c:pt idx="21503">
                  <c:v>56.438017501991112</c:v>
                </c:pt>
                <c:pt idx="21504">
                  <c:v>49.45044309499638</c:v>
                </c:pt>
                <c:pt idx="21505">
                  <c:v>25.497779743236478</c:v>
                </c:pt>
                <c:pt idx="21506">
                  <c:v>35.309561033167824</c:v>
                </c:pt>
                <c:pt idx="21507">
                  <c:v>35.781912733379976</c:v>
                </c:pt>
                <c:pt idx="21508">
                  <c:v>35.294155841543251</c:v>
                </c:pt>
                <c:pt idx="21509">
                  <c:v>28.404313174308705</c:v>
                </c:pt>
                <c:pt idx="21510">
                  <c:v>26.183197833383748</c:v>
                </c:pt>
                <c:pt idx="21511">
                  <c:v>23.242441622100053</c:v>
                </c:pt>
                <c:pt idx="21512">
                  <c:v>25.657969643652894</c:v>
                </c:pt>
                <c:pt idx="21513">
                  <c:v>28.262051631060469</c:v>
                </c:pt>
                <c:pt idx="21514">
                  <c:v>22.032721324061292</c:v>
                </c:pt>
                <c:pt idx="21515">
                  <c:v>28.106918860271922</c:v>
                </c:pt>
                <c:pt idx="21516">
                  <c:v>27.381366921981858</c:v>
                </c:pt>
                <c:pt idx="21517">
                  <c:v>31.652297986432679</c:v>
                </c:pt>
                <c:pt idx="21518">
                  <c:v>30.174964557084529</c:v>
                </c:pt>
                <c:pt idx="21519">
                  <c:v>28.558611968352274</c:v>
                </c:pt>
                <c:pt idx="21520">
                  <c:v>23.795946590060019</c:v>
                </c:pt>
                <c:pt idx="21521">
                  <c:v>59.046450953615263</c:v>
                </c:pt>
                <c:pt idx="21522">
                  <c:v>28.246932726506021</c:v>
                </c:pt>
                <c:pt idx="21523">
                  <c:v>20.966607762289925</c:v>
                </c:pt>
                <c:pt idx="21524">
                  <c:v>28.189308811163755</c:v>
                </c:pt>
                <c:pt idx="21525">
                  <c:v>32.756595970306265</c:v>
                </c:pt>
                <c:pt idx="21526">
                  <c:v>25.279641876108673</c:v>
                </c:pt>
                <c:pt idx="21527">
                  <c:v>29.258442727362617</c:v>
                </c:pt>
                <c:pt idx="21528">
                  <c:v>24.32606224544876</c:v>
                </c:pt>
                <c:pt idx="21529">
                  <c:v>29.609898810718636</c:v>
                </c:pt>
                <c:pt idx="21530">
                  <c:v>23.195419155459113</c:v>
                </c:pt>
                <c:pt idx="21531">
                  <c:v>33.966945411692912</c:v>
                </c:pt>
                <c:pt idx="21532">
                  <c:v>26.382607958489817</c:v>
                </c:pt>
                <c:pt idx="21533">
                  <c:v>32.557611297608403</c:v>
                </c:pt>
                <c:pt idx="21534">
                  <c:v>26.909541419465658</c:v>
                </c:pt>
                <c:pt idx="21535">
                  <c:v>29.881568071428894</c:v>
                </c:pt>
                <c:pt idx="21536">
                  <c:v>60.215439518054538</c:v>
                </c:pt>
                <c:pt idx="21537">
                  <c:v>37.217210537125801</c:v>
                </c:pt>
                <c:pt idx="21538">
                  <c:v>32.106412920187474</c:v>
                </c:pt>
                <c:pt idx="21539">
                  <c:v>37.635849959177996</c:v>
                </c:pt>
                <c:pt idx="21540">
                  <c:v>16.929551598976445</c:v>
                </c:pt>
                <c:pt idx="21541">
                  <c:v>24.629813338827624</c:v>
                </c:pt>
                <c:pt idx="21542">
                  <c:v>44.336507544528509</c:v>
                </c:pt>
                <c:pt idx="21543">
                  <c:v>30.734568447935711</c:v>
                </c:pt>
                <c:pt idx="21544">
                  <c:v>45.431199520203002</c:v>
                </c:pt>
                <c:pt idx="21545">
                  <c:v>31.199306538776035</c:v>
                </c:pt>
                <c:pt idx="21546">
                  <c:v>38.630923189367472</c:v>
                </c:pt>
                <c:pt idx="21547">
                  <c:v>28.524517242528223</c:v>
                </c:pt>
                <c:pt idx="21548">
                  <c:v>23.779848342830554</c:v>
                </c:pt>
                <c:pt idx="21549">
                  <c:v>36.145943228522924</c:v>
                </c:pt>
                <c:pt idx="21550">
                  <c:v>30.674506602751144</c:v>
                </c:pt>
                <c:pt idx="21551">
                  <c:v>23.669138409307998</c:v>
                </c:pt>
                <c:pt idx="21552">
                  <c:v>20.184009831118125</c:v>
                </c:pt>
                <c:pt idx="21553">
                  <c:v>23.462059873304973</c:v>
                </c:pt>
                <c:pt idx="21554">
                  <c:v>42.619948126537381</c:v>
                </c:pt>
                <c:pt idx="21555">
                  <c:v>27.44518654306335</c:v>
                </c:pt>
                <c:pt idx="21556">
                  <c:v>32.119400918434422</c:v>
                </c:pt>
                <c:pt idx="21557">
                  <c:v>24.34068299061736</c:v>
                </c:pt>
                <c:pt idx="21558">
                  <c:v>42.207124791261371</c:v>
                </c:pt>
                <c:pt idx="21559">
                  <c:v>31.840219324600721</c:v>
                </c:pt>
                <c:pt idx="21560">
                  <c:v>25.582516224163129</c:v>
                </c:pt>
                <c:pt idx="21561">
                  <c:v>25.464265388934191</c:v>
                </c:pt>
                <c:pt idx="21562">
                  <c:v>29.597715946774159</c:v>
                </c:pt>
                <c:pt idx="21563">
                  <c:v>47.995228814733736</c:v>
                </c:pt>
                <c:pt idx="21564">
                  <c:v>27.637093389779185</c:v>
                </c:pt>
                <c:pt idx="21565">
                  <c:v>24.22130059111446</c:v>
                </c:pt>
                <c:pt idx="21566">
                  <c:v>26.198823360769108</c:v>
                </c:pt>
                <c:pt idx="21567">
                  <c:v>27.05217656235325</c:v>
                </c:pt>
                <c:pt idx="21568">
                  <c:v>26.281664787099963</c:v>
                </c:pt>
                <c:pt idx="21569">
                  <c:v>26.170092048842267</c:v>
                </c:pt>
                <c:pt idx="21570">
                  <c:v>51.228409845897758</c:v>
                </c:pt>
                <c:pt idx="21571">
                  <c:v>30.311886967923471</c:v>
                </c:pt>
                <c:pt idx="21572">
                  <c:v>54.150468203265973</c:v>
                </c:pt>
                <c:pt idx="21573">
                  <c:v>21.974972610472243</c:v>
                </c:pt>
                <c:pt idx="21574">
                  <c:v>43.708194973300927</c:v>
                </c:pt>
                <c:pt idx="21575">
                  <c:v>26.000906839956386</c:v>
                </c:pt>
                <c:pt idx="21576">
                  <c:v>50.590403454098883</c:v>
                </c:pt>
                <c:pt idx="21577">
                  <c:v>34.882360619044469</c:v>
                </c:pt>
                <c:pt idx="21578">
                  <c:v>25.038446045489394</c:v>
                </c:pt>
                <c:pt idx="21579">
                  <c:v>48.302378454649308</c:v>
                </c:pt>
                <c:pt idx="21580">
                  <c:v>24.511504768451829</c:v>
                </c:pt>
                <c:pt idx="21581">
                  <c:v>26.298447422533322</c:v>
                </c:pt>
                <c:pt idx="21582">
                  <c:v>25.23551330606557</c:v>
                </c:pt>
                <c:pt idx="21583">
                  <c:v>23.322340305404829</c:v>
                </c:pt>
                <c:pt idx="21584">
                  <c:v>19.898351764554548</c:v>
                </c:pt>
                <c:pt idx="21585">
                  <c:v>34.283067071724687</c:v>
                </c:pt>
                <c:pt idx="21586">
                  <c:v>29.013238708330693</c:v>
                </c:pt>
                <c:pt idx="21587">
                  <c:v>18.081956864394972</c:v>
                </c:pt>
                <c:pt idx="21588">
                  <c:v>25.015227816098175</c:v>
                </c:pt>
                <c:pt idx="21589">
                  <c:v>25.030918198661812</c:v>
                </c:pt>
                <c:pt idx="21590">
                  <c:v>21.39215672733782</c:v>
                </c:pt>
                <c:pt idx="21591">
                  <c:v>32.225933923277033</c:v>
                </c:pt>
                <c:pt idx="21592">
                  <c:v>20.951668466332176</c:v>
                </c:pt>
                <c:pt idx="21593">
                  <c:v>25.361295016871665</c:v>
                </c:pt>
                <c:pt idx="21594">
                  <c:v>37.92509014112747</c:v>
                </c:pt>
                <c:pt idx="21595">
                  <c:v>33.473000672236154</c:v>
                </c:pt>
                <c:pt idx="21596">
                  <c:v>23.463702393971673</c:v>
                </c:pt>
                <c:pt idx="21597">
                  <c:v>47.190260380292536</c:v>
                </c:pt>
                <c:pt idx="21598">
                  <c:v>39.345202112392627</c:v>
                </c:pt>
                <c:pt idx="21599">
                  <c:v>48.173782544841146</c:v>
                </c:pt>
                <c:pt idx="21600">
                  <c:v>32.023316824390299</c:v>
                </c:pt>
                <c:pt idx="21601">
                  <c:v>39.162533096407813</c:v>
                </c:pt>
                <c:pt idx="21602">
                  <c:v>18.060881726326407</c:v>
                </c:pt>
                <c:pt idx="21603">
                  <c:v>20.21800654079636</c:v>
                </c:pt>
                <c:pt idx="21604">
                  <c:v>26.600360824706847</c:v>
                </c:pt>
                <c:pt idx="21605">
                  <c:v>25.256914219086635</c:v>
                </c:pt>
                <c:pt idx="21606">
                  <c:v>18.374525835244519</c:v>
                </c:pt>
                <c:pt idx="21607">
                  <c:v>19.080762674271607</c:v>
                </c:pt>
                <c:pt idx="21608">
                  <c:v>24.369782992453768</c:v>
                </c:pt>
                <c:pt idx="21609">
                  <c:v>27.533261353015092</c:v>
                </c:pt>
                <c:pt idx="21610">
                  <c:v>48.81210059190947</c:v>
                </c:pt>
                <c:pt idx="21611">
                  <c:v>46.474816141191091</c:v>
                </c:pt>
                <c:pt idx="21612">
                  <c:v>21.82954886325426</c:v>
                </c:pt>
                <c:pt idx="21613">
                  <c:v>41.00585874018563</c:v>
                </c:pt>
                <c:pt idx="21614">
                  <c:v>20.407234155100326</c:v>
                </c:pt>
                <c:pt idx="21615">
                  <c:v>39.373108818503283</c:v>
                </c:pt>
                <c:pt idx="21616">
                  <c:v>40.902713946601033</c:v>
                </c:pt>
                <c:pt idx="21617">
                  <c:v>19.908877752460015</c:v>
                </c:pt>
                <c:pt idx="21618">
                  <c:v>28.857877068760988</c:v>
                </c:pt>
                <c:pt idx="21619">
                  <c:v>21.050042060621937</c:v>
                </c:pt>
                <c:pt idx="21620">
                  <c:v>24.723836635595781</c:v>
                </c:pt>
                <c:pt idx="21621">
                  <c:v>21.408855351541767</c:v>
                </c:pt>
                <c:pt idx="21622">
                  <c:v>37.687583073371385</c:v>
                </c:pt>
                <c:pt idx="21623">
                  <c:v>21.542039896670204</c:v>
                </c:pt>
                <c:pt idx="21624">
                  <c:v>25.895981209671284</c:v>
                </c:pt>
                <c:pt idx="21625">
                  <c:v>29.383292848812712</c:v>
                </c:pt>
                <c:pt idx="21626">
                  <c:v>28.358245381116511</c:v>
                </c:pt>
                <c:pt idx="21627">
                  <c:v>20.843721131107952</c:v>
                </c:pt>
                <c:pt idx="21628">
                  <c:v>22.342693525624298</c:v>
                </c:pt>
                <c:pt idx="21629">
                  <c:v>26.306470137456603</c:v>
                </c:pt>
                <c:pt idx="21630">
                  <c:v>34.132351456081025</c:v>
                </c:pt>
                <c:pt idx="21631">
                  <c:v>25.163515321169822</c:v>
                </c:pt>
                <c:pt idx="21632">
                  <c:v>39.923750806237216</c:v>
                </c:pt>
                <c:pt idx="21633">
                  <c:v>31.71995232335955</c:v>
                </c:pt>
                <c:pt idx="21634">
                  <c:v>29.053386705612105</c:v>
                </c:pt>
                <c:pt idx="21635">
                  <c:v>32.581930080277964</c:v>
                </c:pt>
                <c:pt idx="21636">
                  <c:v>25.881929945516774</c:v>
                </c:pt>
                <c:pt idx="21637">
                  <c:v>26.13127362379872</c:v>
                </c:pt>
                <c:pt idx="21638">
                  <c:v>21.174071253693697</c:v>
                </c:pt>
                <c:pt idx="21639">
                  <c:v>24.055983713573195</c:v>
                </c:pt>
                <c:pt idx="21640">
                  <c:v>41.929867011562592</c:v>
                </c:pt>
                <c:pt idx="21641">
                  <c:v>59.375434024227616</c:v>
                </c:pt>
                <c:pt idx="21642">
                  <c:v>26.531448662801917</c:v>
                </c:pt>
                <c:pt idx="21643">
                  <c:v>22.186917348584807</c:v>
                </c:pt>
                <c:pt idx="21644">
                  <c:v>38.09242034678654</c:v>
                </c:pt>
                <c:pt idx="21645">
                  <c:v>24.547501949373633</c:v>
                </c:pt>
                <c:pt idx="21646">
                  <c:v>61.769730979067582</c:v>
                </c:pt>
                <c:pt idx="21647">
                  <c:v>23.93430584139923</c:v>
                </c:pt>
                <c:pt idx="21648">
                  <c:v>39.364194482025091</c:v>
                </c:pt>
                <c:pt idx="21649">
                  <c:v>32.381221136205042</c:v>
                </c:pt>
                <c:pt idx="21650">
                  <c:v>25.979139469625522</c:v>
                </c:pt>
                <c:pt idx="21651">
                  <c:v>28.354913404843604</c:v>
                </c:pt>
                <c:pt idx="21652">
                  <c:v>19.454446597798452</c:v>
                </c:pt>
                <c:pt idx="21653">
                  <c:v>20.447323324939553</c:v>
                </c:pt>
                <c:pt idx="21654">
                  <c:v>28.301891952932195</c:v>
                </c:pt>
                <c:pt idx="21655">
                  <c:v>39.431894468872372</c:v>
                </c:pt>
                <c:pt idx="21656">
                  <c:v>24.311037164125963</c:v>
                </c:pt>
                <c:pt idx="21657">
                  <c:v>45.70375773356043</c:v>
                </c:pt>
                <c:pt idx="21658">
                  <c:v>22.158515788630815</c:v>
                </c:pt>
                <c:pt idx="21659">
                  <c:v>25.50537395975666</c:v>
                </c:pt>
                <c:pt idx="21660">
                  <c:v>38.013445595003773</c:v>
                </c:pt>
                <c:pt idx="21661">
                  <c:v>33.766997393568417</c:v>
                </c:pt>
                <c:pt idx="21662">
                  <c:v>24.667699527595339</c:v>
                </c:pt>
                <c:pt idx="21663">
                  <c:v>18.850785492688729</c:v>
                </c:pt>
                <c:pt idx="21664">
                  <c:v>52.960417641211357</c:v>
                </c:pt>
                <c:pt idx="21665">
                  <c:v>27.751692137239932</c:v>
                </c:pt>
                <c:pt idx="21666">
                  <c:v>30.60261624176735</c:v>
                </c:pt>
                <c:pt idx="21667">
                  <c:v>33.299638065748056</c:v>
                </c:pt>
                <c:pt idx="21668">
                  <c:v>46.069993016342352</c:v>
                </c:pt>
                <c:pt idx="21669">
                  <c:v>35.434141722816847</c:v>
                </c:pt>
                <c:pt idx="21670">
                  <c:v>30.761917777760505</c:v>
                </c:pt>
                <c:pt idx="21671">
                  <c:v>24.850292746009842</c:v>
                </c:pt>
                <c:pt idx="21672">
                  <c:v>23.572796934982694</c:v>
                </c:pt>
                <c:pt idx="21673">
                  <c:v>21.982047242604352</c:v>
                </c:pt>
                <c:pt idx="21674">
                  <c:v>25.22413461289792</c:v>
                </c:pt>
                <c:pt idx="21675">
                  <c:v>26.072653082150389</c:v>
                </c:pt>
                <c:pt idx="21676">
                  <c:v>50.761244210284232</c:v>
                </c:pt>
                <c:pt idx="21677">
                  <c:v>20.295736190882408</c:v>
                </c:pt>
                <c:pt idx="21678">
                  <c:v>43.683485248754991</c:v>
                </c:pt>
                <c:pt idx="21679">
                  <c:v>25.738372155957389</c:v>
                </c:pt>
                <c:pt idx="21680">
                  <c:v>24.546796767784151</c:v>
                </c:pt>
                <c:pt idx="21681">
                  <c:v>26.276699685695956</c:v>
                </c:pt>
                <c:pt idx="21682">
                  <c:v>64.969356896822148</c:v>
                </c:pt>
                <c:pt idx="21683">
                  <c:v>23.302448244559148</c:v>
                </c:pt>
                <c:pt idx="21684">
                  <c:v>27.907107127458801</c:v>
                </c:pt>
                <c:pt idx="21685">
                  <c:v>48.648593822946339</c:v>
                </c:pt>
                <c:pt idx="21686">
                  <c:v>40.775961161343574</c:v>
                </c:pt>
                <c:pt idx="21687">
                  <c:v>44.619305461456932</c:v>
                </c:pt>
                <c:pt idx="21688">
                  <c:v>29.089060981822101</c:v>
                </c:pt>
                <c:pt idx="21689">
                  <c:v>24.108308894520952</c:v>
                </c:pt>
                <c:pt idx="21690">
                  <c:v>33.9170575927592</c:v>
                </c:pt>
                <c:pt idx="21691">
                  <c:v>40.679671063711382</c:v>
                </c:pt>
                <c:pt idx="21692">
                  <c:v>54.77073874173314</c:v>
                </c:pt>
                <c:pt idx="21693">
                  <c:v>31.523101772409444</c:v>
                </c:pt>
                <c:pt idx="21694">
                  <c:v>23.394086877350247</c:v>
                </c:pt>
                <c:pt idx="21695">
                  <c:v>38.81943450128486</c:v>
                </c:pt>
                <c:pt idx="21696">
                  <c:v>39.762454672899047</c:v>
                </c:pt>
                <c:pt idx="21697">
                  <c:v>21.612173237902429</c:v>
                </c:pt>
                <c:pt idx="21698">
                  <c:v>25.021007719329923</c:v>
                </c:pt>
                <c:pt idx="21699">
                  <c:v>22.865433983314741</c:v>
                </c:pt>
                <c:pt idx="21700">
                  <c:v>24.581087474674455</c:v>
                </c:pt>
                <c:pt idx="21701">
                  <c:v>24.686475195547779</c:v>
                </c:pt>
                <c:pt idx="21702">
                  <c:v>26.074700919463947</c:v>
                </c:pt>
                <c:pt idx="21703">
                  <c:v>30.314406099974356</c:v>
                </c:pt>
                <c:pt idx="21704">
                  <c:v>28.405863120907682</c:v>
                </c:pt>
                <c:pt idx="21705">
                  <c:v>28.661764539178861</c:v>
                </c:pt>
                <c:pt idx="21706">
                  <c:v>24.895248254350228</c:v>
                </c:pt>
                <c:pt idx="21707">
                  <c:v>31.058142616880421</c:v>
                </c:pt>
                <c:pt idx="21708">
                  <c:v>39.885961605431234</c:v>
                </c:pt>
                <c:pt idx="21709">
                  <c:v>33.787451966921353</c:v>
                </c:pt>
                <c:pt idx="21710">
                  <c:v>19.068182576500206</c:v>
                </c:pt>
                <c:pt idx="21711">
                  <c:v>27.214962750890354</c:v>
                </c:pt>
                <c:pt idx="21712">
                  <c:v>39.811322802907512</c:v>
                </c:pt>
                <c:pt idx="21713">
                  <c:v>27.028287339217233</c:v>
                </c:pt>
                <c:pt idx="21714">
                  <c:v>21.050654550583367</c:v>
                </c:pt>
                <c:pt idx="21715">
                  <c:v>25.599825090420978</c:v>
                </c:pt>
                <c:pt idx="21716">
                  <c:v>31.097761369247074</c:v>
                </c:pt>
                <c:pt idx="21717">
                  <c:v>21.565471063791151</c:v>
                </c:pt>
                <c:pt idx="21718">
                  <c:v>26.01161532133488</c:v>
                </c:pt>
                <c:pt idx="21719">
                  <c:v>50.470128452062738</c:v>
                </c:pt>
                <c:pt idx="21720">
                  <c:v>24.530154270664607</c:v>
                </c:pt>
                <c:pt idx="21721">
                  <c:v>28.54185797727872</c:v>
                </c:pt>
                <c:pt idx="21722">
                  <c:v>40.428748800285916</c:v>
                </c:pt>
                <c:pt idx="21723">
                  <c:v>17.318974084791723</c:v>
                </c:pt>
                <c:pt idx="21724">
                  <c:v>33.273676049998798</c:v>
                </c:pt>
                <c:pt idx="21725">
                  <c:v>24.288712739030693</c:v>
                </c:pt>
                <c:pt idx="21726">
                  <c:v>40.348119240132519</c:v>
                </c:pt>
                <c:pt idx="21727">
                  <c:v>26.375469579551492</c:v>
                </c:pt>
                <c:pt idx="21728">
                  <c:v>30.138151432429275</c:v>
                </c:pt>
                <c:pt idx="21729">
                  <c:v>37.194662378441329</c:v>
                </c:pt>
                <c:pt idx="21730">
                  <c:v>29.546110482726291</c:v>
                </c:pt>
                <c:pt idx="21731">
                  <c:v>29.743666854351829</c:v>
                </c:pt>
                <c:pt idx="21732">
                  <c:v>58.818533175215158</c:v>
                </c:pt>
                <c:pt idx="21733">
                  <c:v>28.429165107730483</c:v>
                </c:pt>
                <c:pt idx="21734">
                  <c:v>30.488214883311638</c:v>
                </c:pt>
                <c:pt idx="21735">
                  <c:v>21.5779266942302</c:v>
                </c:pt>
                <c:pt idx="21736">
                  <c:v>36.687275018538251</c:v>
                </c:pt>
                <c:pt idx="21737">
                  <c:v>26.470234086204101</c:v>
                </c:pt>
                <c:pt idx="21738">
                  <c:v>25.987958679329097</c:v>
                </c:pt>
                <c:pt idx="21739">
                  <c:v>32.981843470969991</c:v>
                </c:pt>
                <c:pt idx="21740">
                  <c:v>55.808288255720015</c:v>
                </c:pt>
                <c:pt idx="21741">
                  <c:v>35.713023754301652</c:v>
                </c:pt>
                <c:pt idx="21742">
                  <c:v>22.331598103247408</c:v>
                </c:pt>
                <c:pt idx="21743">
                  <c:v>27.669301104180327</c:v>
                </c:pt>
                <c:pt idx="21744">
                  <c:v>38.289594262129746</c:v>
                </c:pt>
                <c:pt idx="21745">
                  <c:v>48.231367668867392</c:v>
                </c:pt>
                <c:pt idx="21746">
                  <c:v>26.698881732247489</c:v>
                </c:pt>
                <c:pt idx="21747">
                  <c:v>55.810524959409676</c:v>
                </c:pt>
                <c:pt idx="21748">
                  <c:v>48.361954930274031</c:v>
                </c:pt>
                <c:pt idx="21749">
                  <c:v>31.254954244551453</c:v>
                </c:pt>
                <c:pt idx="21750">
                  <c:v>52.8100973434153</c:v>
                </c:pt>
                <c:pt idx="21751">
                  <c:v>49.089297973161301</c:v>
                </c:pt>
                <c:pt idx="21752">
                  <c:v>26.490610661065137</c:v>
                </c:pt>
                <c:pt idx="21753">
                  <c:v>19.672584183179957</c:v>
                </c:pt>
                <c:pt idx="21754">
                  <c:v>20.319252964574247</c:v>
                </c:pt>
                <c:pt idx="21755">
                  <c:v>23.470920595472002</c:v>
                </c:pt>
                <c:pt idx="21756">
                  <c:v>19.085245572596392</c:v>
                </c:pt>
                <c:pt idx="21757">
                  <c:v>22.043136770448047</c:v>
                </c:pt>
                <c:pt idx="21758">
                  <c:v>25.767932252748345</c:v>
                </c:pt>
                <c:pt idx="21759">
                  <c:v>30.325933864348329</c:v>
                </c:pt>
                <c:pt idx="21760">
                  <c:v>53.917707881565121</c:v>
                </c:pt>
                <c:pt idx="21761">
                  <c:v>27.775665252391985</c:v>
                </c:pt>
                <c:pt idx="21762">
                  <c:v>33.804507615653748</c:v>
                </c:pt>
                <c:pt idx="21763">
                  <c:v>23.256174856691963</c:v>
                </c:pt>
                <c:pt idx="21764">
                  <c:v>22.612163078310768</c:v>
                </c:pt>
                <c:pt idx="21765">
                  <c:v>31.526394901226922</c:v>
                </c:pt>
                <c:pt idx="21766">
                  <c:v>24.004657492499248</c:v>
                </c:pt>
                <c:pt idx="21767">
                  <c:v>27.651287056300017</c:v>
                </c:pt>
                <c:pt idx="21768">
                  <c:v>34.099577030916734</c:v>
                </c:pt>
                <c:pt idx="21769">
                  <c:v>34.170508142644302</c:v>
                </c:pt>
                <c:pt idx="21770">
                  <c:v>24.003311915445767</c:v>
                </c:pt>
                <c:pt idx="21771">
                  <c:v>25.01036649776961</c:v>
                </c:pt>
                <c:pt idx="21772">
                  <c:v>27.923155073531053</c:v>
                </c:pt>
                <c:pt idx="21773">
                  <c:v>28.761246485939072</c:v>
                </c:pt>
                <c:pt idx="21774">
                  <c:v>49.492473980262105</c:v>
                </c:pt>
                <c:pt idx="21775">
                  <c:v>29.463216899696409</c:v>
                </c:pt>
                <c:pt idx="21776">
                  <c:v>31.010293927382939</c:v>
                </c:pt>
                <c:pt idx="21777">
                  <c:v>25.217800742756854</c:v>
                </c:pt>
                <c:pt idx="21778">
                  <c:v>22.143082075653247</c:v>
                </c:pt>
                <c:pt idx="21779">
                  <c:v>50.551744039794364</c:v>
                </c:pt>
                <c:pt idx="21780">
                  <c:v>26.285256119654427</c:v>
                </c:pt>
                <c:pt idx="21781">
                  <c:v>35.471514050759318</c:v>
                </c:pt>
                <c:pt idx="21782">
                  <c:v>34.488112414828244</c:v>
                </c:pt>
                <c:pt idx="21783">
                  <c:v>23.896227349132211</c:v>
                </c:pt>
                <c:pt idx="21784">
                  <c:v>27.307002718836916</c:v>
                </c:pt>
                <c:pt idx="21785">
                  <c:v>55.293872884299418</c:v>
                </c:pt>
                <c:pt idx="21786">
                  <c:v>19.823638656565997</c:v>
                </c:pt>
                <c:pt idx="21787">
                  <c:v>19.5799516890456</c:v>
                </c:pt>
                <c:pt idx="21788">
                  <c:v>47.100911473370189</c:v>
                </c:pt>
                <c:pt idx="21789">
                  <c:v>29.285976956981955</c:v>
                </c:pt>
                <c:pt idx="21790">
                  <c:v>26.482487252570792</c:v>
                </c:pt>
                <c:pt idx="21791">
                  <c:v>27.077724132532666</c:v>
                </c:pt>
                <c:pt idx="21792">
                  <c:v>19.557591626717613</c:v>
                </c:pt>
                <c:pt idx="21793">
                  <c:v>29.080810327549223</c:v>
                </c:pt>
                <c:pt idx="21794">
                  <c:v>23.288076570612763</c:v>
                </c:pt>
                <c:pt idx="21795">
                  <c:v>56.689461171222149</c:v>
                </c:pt>
                <c:pt idx="21796">
                  <c:v>27.944461878826065</c:v>
                </c:pt>
                <c:pt idx="21797">
                  <c:v>56.939541567251297</c:v>
                </c:pt>
                <c:pt idx="21798">
                  <c:v>28.785066593898662</c:v>
                </c:pt>
                <c:pt idx="21799">
                  <c:v>32.657325557555261</c:v>
                </c:pt>
                <c:pt idx="21800">
                  <c:v>25.350352561323472</c:v>
                </c:pt>
                <c:pt idx="21801">
                  <c:v>30.120508774151695</c:v>
                </c:pt>
                <c:pt idx="21802">
                  <c:v>29.03573813598317</c:v>
                </c:pt>
                <c:pt idx="21803">
                  <c:v>30.64812038448601</c:v>
                </c:pt>
                <c:pt idx="21804">
                  <c:v>28.987505301887957</c:v>
                </c:pt>
                <c:pt idx="21805">
                  <c:v>26.397489947019718</c:v>
                </c:pt>
                <c:pt idx="21806">
                  <c:v>26.29342512879423</c:v>
                </c:pt>
                <c:pt idx="21807">
                  <c:v>45.817371632356696</c:v>
                </c:pt>
                <c:pt idx="21808">
                  <c:v>46.972219444156202</c:v>
                </c:pt>
                <c:pt idx="21809">
                  <c:v>26.50448518396156</c:v>
                </c:pt>
                <c:pt idx="21810">
                  <c:v>30.862436082353788</c:v>
                </c:pt>
                <c:pt idx="21811">
                  <c:v>26.064460287693251</c:v>
                </c:pt>
                <c:pt idx="21812">
                  <c:v>30.791169129906827</c:v>
                </c:pt>
                <c:pt idx="21813">
                  <c:v>27.856631088561389</c:v>
                </c:pt>
                <c:pt idx="21814">
                  <c:v>27.387471044700071</c:v>
                </c:pt>
                <c:pt idx="21815">
                  <c:v>26.729169807497698</c:v>
                </c:pt>
                <c:pt idx="21816">
                  <c:v>33.152374469983585</c:v>
                </c:pt>
                <c:pt idx="21817">
                  <c:v>21.304824497075721</c:v>
                </c:pt>
                <c:pt idx="21818">
                  <c:v>24.764007548961331</c:v>
                </c:pt>
                <c:pt idx="21819">
                  <c:v>23.664355702878485</c:v>
                </c:pt>
                <c:pt idx="21820">
                  <c:v>30.901130387205232</c:v>
                </c:pt>
                <c:pt idx="21821">
                  <c:v>40.027462337134239</c:v>
                </c:pt>
                <c:pt idx="21822">
                  <c:v>26.135642145179371</c:v>
                </c:pt>
                <c:pt idx="21823">
                  <c:v>25.756914226380214</c:v>
                </c:pt>
                <c:pt idx="21824">
                  <c:v>25.580480151985817</c:v>
                </c:pt>
                <c:pt idx="21825">
                  <c:v>23.391325845802914</c:v>
                </c:pt>
                <c:pt idx="21826">
                  <c:v>26.477448842499815</c:v>
                </c:pt>
                <c:pt idx="21827">
                  <c:v>29.754474917588084</c:v>
                </c:pt>
                <c:pt idx="21828">
                  <c:v>33.06334740312591</c:v>
                </c:pt>
                <c:pt idx="21829">
                  <c:v>24.355774564506426</c:v>
                </c:pt>
                <c:pt idx="21830">
                  <c:v>38.739984991574758</c:v>
                </c:pt>
                <c:pt idx="21831">
                  <c:v>27.716962739970619</c:v>
                </c:pt>
                <c:pt idx="21832">
                  <c:v>25.819129115007229</c:v>
                </c:pt>
                <c:pt idx="21833">
                  <c:v>29.327104252638552</c:v>
                </c:pt>
                <c:pt idx="21834">
                  <c:v>21.510374730537901</c:v>
                </c:pt>
                <c:pt idx="21835">
                  <c:v>21.938713590654711</c:v>
                </c:pt>
                <c:pt idx="21836">
                  <c:v>22.708953930183966</c:v>
                </c:pt>
                <c:pt idx="21837">
                  <c:v>25.189387296392116</c:v>
                </c:pt>
                <c:pt idx="21838">
                  <c:v>24.575826446225641</c:v>
                </c:pt>
                <c:pt idx="21839">
                  <c:v>15.92754729108705</c:v>
                </c:pt>
                <c:pt idx="21840">
                  <c:v>32.879151679018932</c:v>
                </c:pt>
                <c:pt idx="21841">
                  <c:v>24.646211466278885</c:v>
                </c:pt>
                <c:pt idx="21842">
                  <c:v>42.345506788102377</c:v>
                </c:pt>
                <c:pt idx="21843">
                  <c:v>26.224683533211888</c:v>
                </c:pt>
                <c:pt idx="21844">
                  <c:v>59.009015267955007</c:v>
                </c:pt>
                <c:pt idx="21845">
                  <c:v>42.168731578625959</c:v>
                </c:pt>
                <c:pt idx="21846">
                  <c:v>47.610392798106901</c:v>
                </c:pt>
                <c:pt idx="21847">
                  <c:v>27.755434423281692</c:v>
                </c:pt>
                <c:pt idx="21848">
                  <c:v>28.149427140102784</c:v>
                </c:pt>
                <c:pt idx="21849">
                  <c:v>43.800768037567444</c:v>
                </c:pt>
                <c:pt idx="21850">
                  <c:v>57.163535925167544</c:v>
                </c:pt>
                <c:pt idx="21851">
                  <c:v>45.612911173539842</c:v>
                </c:pt>
                <c:pt idx="21852">
                  <c:v>34.527425447218604</c:v>
                </c:pt>
                <c:pt idx="21853">
                  <c:v>43.750088815865155</c:v>
                </c:pt>
                <c:pt idx="21854">
                  <c:v>27.951285352342452</c:v>
                </c:pt>
                <c:pt idx="21855">
                  <c:v>27.603726505195347</c:v>
                </c:pt>
                <c:pt idx="21856">
                  <c:v>38.958991357426704</c:v>
                </c:pt>
                <c:pt idx="21857">
                  <c:v>20.563946860633006</c:v>
                </c:pt>
                <c:pt idx="21858">
                  <c:v>37.992297288843652</c:v>
                </c:pt>
                <c:pt idx="21859">
                  <c:v>30.344326533977551</c:v>
                </c:pt>
                <c:pt idx="21860">
                  <c:v>25.558597070190171</c:v>
                </c:pt>
                <c:pt idx="21861">
                  <c:v>25.865286718612705</c:v>
                </c:pt>
                <c:pt idx="21862">
                  <c:v>24.887477405746719</c:v>
                </c:pt>
                <c:pt idx="21863">
                  <c:v>50.923077976949564</c:v>
                </c:pt>
                <c:pt idx="21864">
                  <c:v>26.940195923298067</c:v>
                </c:pt>
                <c:pt idx="21865">
                  <c:v>22.988935568468197</c:v>
                </c:pt>
                <c:pt idx="21866">
                  <c:v>19.293505708645512</c:v>
                </c:pt>
                <c:pt idx="21867">
                  <c:v>29.136998405650537</c:v>
                </c:pt>
                <c:pt idx="21868">
                  <c:v>41.587911943878957</c:v>
                </c:pt>
                <c:pt idx="21869">
                  <c:v>21.964334868616085</c:v>
                </c:pt>
                <c:pt idx="21870">
                  <c:v>30.085017238971172</c:v>
                </c:pt>
                <c:pt idx="21871">
                  <c:v>23.637755765492333</c:v>
                </c:pt>
                <c:pt idx="21872">
                  <c:v>32.527392344475814</c:v>
                </c:pt>
                <c:pt idx="21873">
                  <c:v>21.270182746083417</c:v>
                </c:pt>
                <c:pt idx="21874">
                  <c:v>35.799145435100584</c:v>
                </c:pt>
                <c:pt idx="21875">
                  <c:v>20.492215612561075</c:v>
                </c:pt>
                <c:pt idx="21876">
                  <c:v>39.454711847218547</c:v>
                </c:pt>
                <c:pt idx="21877">
                  <c:v>22.256607506156328</c:v>
                </c:pt>
                <c:pt idx="21878">
                  <c:v>44.577415126226285</c:v>
                </c:pt>
                <c:pt idx="21879">
                  <c:v>26.640050464793021</c:v>
                </c:pt>
                <c:pt idx="21880">
                  <c:v>26.313469412291813</c:v>
                </c:pt>
                <c:pt idx="21881">
                  <c:v>23.797110331431963</c:v>
                </c:pt>
                <c:pt idx="21882">
                  <c:v>27.976347400054891</c:v>
                </c:pt>
                <c:pt idx="21883">
                  <c:v>29.193407529915508</c:v>
                </c:pt>
                <c:pt idx="21884">
                  <c:v>23.208429861876056</c:v>
                </c:pt>
                <c:pt idx="21885">
                  <c:v>22.237907741977185</c:v>
                </c:pt>
                <c:pt idx="21886">
                  <c:v>22.247119099132497</c:v>
                </c:pt>
                <c:pt idx="21887">
                  <c:v>45.871782639146076</c:v>
                </c:pt>
                <c:pt idx="21888">
                  <c:v>27.711282566504359</c:v>
                </c:pt>
                <c:pt idx="21889">
                  <c:v>45.375935726019357</c:v>
                </c:pt>
                <c:pt idx="21890">
                  <c:v>25.965271614940928</c:v>
                </c:pt>
                <c:pt idx="21891">
                  <c:v>26.132475149679802</c:v>
                </c:pt>
                <c:pt idx="21892">
                  <c:v>50.315844786758042</c:v>
                </c:pt>
                <c:pt idx="21893">
                  <c:v>29.094288007669</c:v>
                </c:pt>
                <c:pt idx="21894">
                  <c:v>27.941620946457139</c:v>
                </c:pt>
                <c:pt idx="21895">
                  <c:v>45.437910105691017</c:v>
                </c:pt>
                <c:pt idx="21896">
                  <c:v>30.977084682471371</c:v>
                </c:pt>
                <c:pt idx="21897">
                  <c:v>25.089454750162734</c:v>
                </c:pt>
                <c:pt idx="21898">
                  <c:v>19.195485319283492</c:v>
                </c:pt>
                <c:pt idx="21899">
                  <c:v>47.79308096100182</c:v>
                </c:pt>
                <c:pt idx="21900">
                  <c:v>34.259334867619508</c:v>
                </c:pt>
                <c:pt idx="21901">
                  <c:v>30.746321735957096</c:v>
                </c:pt>
                <c:pt idx="21902">
                  <c:v>32.965150145095855</c:v>
                </c:pt>
                <c:pt idx="21903">
                  <c:v>31.487741782814361</c:v>
                </c:pt>
                <c:pt idx="21904">
                  <c:v>19.049503639862746</c:v>
                </c:pt>
                <c:pt idx="21905">
                  <c:v>30.782622593494196</c:v>
                </c:pt>
                <c:pt idx="21906">
                  <c:v>27.857516467162569</c:v>
                </c:pt>
                <c:pt idx="21907">
                  <c:v>30.065092706664075</c:v>
                </c:pt>
                <c:pt idx="21908">
                  <c:v>25.682001829117208</c:v>
                </c:pt>
                <c:pt idx="21909">
                  <c:v>43.393545697053035</c:v>
                </c:pt>
                <c:pt idx="21910">
                  <c:v>26.724793368725887</c:v>
                </c:pt>
                <c:pt idx="21911">
                  <c:v>30.281593486678844</c:v>
                </c:pt>
                <c:pt idx="21912">
                  <c:v>25.178131437135871</c:v>
                </c:pt>
                <c:pt idx="21913">
                  <c:v>18.727937495234855</c:v>
                </c:pt>
                <c:pt idx="21914">
                  <c:v>27.405853820505925</c:v>
                </c:pt>
                <c:pt idx="21915">
                  <c:v>31.136122375701209</c:v>
                </c:pt>
                <c:pt idx="21916">
                  <c:v>22.336489956983264</c:v>
                </c:pt>
                <c:pt idx="21917">
                  <c:v>27.038523901517788</c:v>
                </c:pt>
                <c:pt idx="21918">
                  <c:v>25.100000077462919</c:v>
                </c:pt>
                <c:pt idx="21919">
                  <c:v>19.913754488632598</c:v>
                </c:pt>
                <c:pt idx="21920">
                  <c:v>20.150059945424925</c:v>
                </c:pt>
                <c:pt idx="21921">
                  <c:v>42.859235556385826</c:v>
                </c:pt>
                <c:pt idx="21922">
                  <c:v>16.012571752167247</c:v>
                </c:pt>
                <c:pt idx="21923">
                  <c:v>50.33969856982656</c:v>
                </c:pt>
                <c:pt idx="21924">
                  <c:v>25.805625125216316</c:v>
                </c:pt>
                <c:pt idx="21925">
                  <c:v>27.749921670707302</c:v>
                </c:pt>
                <c:pt idx="21926">
                  <c:v>19.744843806316105</c:v>
                </c:pt>
                <c:pt idx="21927">
                  <c:v>33.375333203076401</c:v>
                </c:pt>
                <c:pt idx="21928">
                  <c:v>23.585057345022996</c:v>
                </c:pt>
                <c:pt idx="21929">
                  <c:v>29.442274276656221</c:v>
                </c:pt>
                <c:pt idx="21930">
                  <c:v>31.193611577631277</c:v>
                </c:pt>
                <c:pt idx="21931">
                  <c:v>25.80994778571721</c:v>
                </c:pt>
                <c:pt idx="21932">
                  <c:v>47.37579760161114</c:v>
                </c:pt>
                <c:pt idx="21933">
                  <c:v>17.354453089254264</c:v>
                </c:pt>
                <c:pt idx="21934">
                  <c:v>31.861912079767794</c:v>
                </c:pt>
                <c:pt idx="21935">
                  <c:v>43.759797732086419</c:v>
                </c:pt>
                <c:pt idx="21936">
                  <c:v>24.46425984376917</c:v>
                </c:pt>
                <c:pt idx="21937">
                  <c:v>22.357199700348481</c:v>
                </c:pt>
                <c:pt idx="21938">
                  <c:v>36.919839859288082</c:v>
                </c:pt>
                <c:pt idx="21939">
                  <c:v>33.718187558640473</c:v>
                </c:pt>
                <c:pt idx="21940">
                  <c:v>37.427818211710694</c:v>
                </c:pt>
                <c:pt idx="21941">
                  <c:v>22.187023726820897</c:v>
                </c:pt>
                <c:pt idx="21942">
                  <c:v>26.605534387317295</c:v>
                </c:pt>
                <c:pt idx="21943">
                  <c:v>22.591055965383788</c:v>
                </c:pt>
                <c:pt idx="21944">
                  <c:v>24.92075155081222</c:v>
                </c:pt>
                <c:pt idx="21945">
                  <c:v>22.930688870353247</c:v>
                </c:pt>
                <c:pt idx="21946">
                  <c:v>27.553098831079275</c:v>
                </c:pt>
                <c:pt idx="21947">
                  <c:v>28.563674506548928</c:v>
                </c:pt>
                <c:pt idx="21948">
                  <c:v>50.429208340536448</c:v>
                </c:pt>
                <c:pt idx="21949">
                  <c:v>49.690156663296918</c:v>
                </c:pt>
                <c:pt idx="21950">
                  <c:v>24.041911558758066</c:v>
                </c:pt>
                <c:pt idx="21951">
                  <c:v>39.215881028363128</c:v>
                </c:pt>
                <c:pt idx="21952">
                  <c:v>27.192168748099583</c:v>
                </c:pt>
                <c:pt idx="21953">
                  <c:v>31.437785952450955</c:v>
                </c:pt>
                <c:pt idx="21954">
                  <c:v>31.20935136835714</c:v>
                </c:pt>
                <c:pt idx="21955">
                  <c:v>27.579823078565322</c:v>
                </c:pt>
                <c:pt idx="21956">
                  <c:v>50.740115819077175</c:v>
                </c:pt>
                <c:pt idx="21957">
                  <c:v>31.074030668903099</c:v>
                </c:pt>
                <c:pt idx="21958">
                  <c:v>26.643989074209081</c:v>
                </c:pt>
                <c:pt idx="21959">
                  <c:v>27.24519236893968</c:v>
                </c:pt>
                <c:pt idx="21960">
                  <c:v>23.517848089252414</c:v>
                </c:pt>
                <c:pt idx="21961">
                  <c:v>65.290535846228366</c:v>
                </c:pt>
                <c:pt idx="21962">
                  <c:v>24.416535924386036</c:v>
                </c:pt>
                <c:pt idx="21963">
                  <c:v>23.313112856019721</c:v>
                </c:pt>
                <c:pt idx="21964">
                  <c:v>27.320659998410111</c:v>
                </c:pt>
                <c:pt idx="21965">
                  <c:v>19.212024282145165</c:v>
                </c:pt>
                <c:pt idx="21966">
                  <c:v>58.253280491872751</c:v>
                </c:pt>
                <c:pt idx="21967">
                  <c:v>21.535490240183378</c:v>
                </c:pt>
                <c:pt idx="21968">
                  <c:v>51.781266714780109</c:v>
                </c:pt>
                <c:pt idx="21969">
                  <c:v>20.18760262462559</c:v>
                </c:pt>
                <c:pt idx="21970">
                  <c:v>28.562290695683746</c:v>
                </c:pt>
                <c:pt idx="21971">
                  <c:v>24.005018244256984</c:v>
                </c:pt>
                <c:pt idx="21972">
                  <c:v>26.903907236174646</c:v>
                </c:pt>
                <c:pt idx="21973">
                  <c:v>45.188467856495691</c:v>
                </c:pt>
                <c:pt idx="21974">
                  <c:v>31.828381020268083</c:v>
                </c:pt>
                <c:pt idx="21975">
                  <c:v>46.767665805141746</c:v>
                </c:pt>
                <c:pt idx="21976">
                  <c:v>26.869694189846598</c:v>
                </c:pt>
                <c:pt idx="21977">
                  <c:v>25.651296764094731</c:v>
                </c:pt>
                <c:pt idx="21978">
                  <c:v>28.167689642497816</c:v>
                </c:pt>
                <c:pt idx="21979">
                  <c:v>28.726539389740633</c:v>
                </c:pt>
                <c:pt idx="21980">
                  <c:v>18.779292700358646</c:v>
                </c:pt>
                <c:pt idx="21981">
                  <c:v>36.4293501309444</c:v>
                </c:pt>
                <c:pt idx="21982">
                  <c:v>39.880868452811548</c:v>
                </c:pt>
                <c:pt idx="21983">
                  <c:v>31.484225189292673</c:v>
                </c:pt>
                <c:pt idx="21984">
                  <c:v>21.215786654067674</c:v>
                </c:pt>
                <c:pt idx="21985">
                  <c:v>23.908769266278995</c:v>
                </c:pt>
                <c:pt idx="21986">
                  <c:v>30.550046715944486</c:v>
                </c:pt>
                <c:pt idx="21987">
                  <c:v>54.287430109860509</c:v>
                </c:pt>
                <c:pt idx="21988">
                  <c:v>36.47903762944987</c:v>
                </c:pt>
                <c:pt idx="21989">
                  <c:v>14.975544504495904</c:v>
                </c:pt>
                <c:pt idx="21990">
                  <c:v>17.939078405940826</c:v>
                </c:pt>
                <c:pt idx="21991">
                  <c:v>50.360024355663484</c:v>
                </c:pt>
                <c:pt idx="21992">
                  <c:v>25.488363551667387</c:v>
                </c:pt>
                <c:pt idx="21993">
                  <c:v>38.416495140352644</c:v>
                </c:pt>
                <c:pt idx="21994">
                  <c:v>26.554396590341319</c:v>
                </c:pt>
                <c:pt idx="21995">
                  <c:v>36.35634167618857</c:v>
                </c:pt>
                <c:pt idx="21996">
                  <c:v>41.215712354654208</c:v>
                </c:pt>
                <c:pt idx="21997">
                  <c:v>29.738188546207031</c:v>
                </c:pt>
                <c:pt idx="21998">
                  <c:v>25.420418824789035</c:v>
                </c:pt>
                <c:pt idx="21999">
                  <c:v>34.411256609273096</c:v>
                </c:pt>
                <c:pt idx="22000">
                  <c:v>15.952723418077889</c:v>
                </c:pt>
                <c:pt idx="22001">
                  <c:v>28.561376346031583</c:v>
                </c:pt>
                <c:pt idx="22002">
                  <c:v>44.678595465937271</c:v>
                </c:pt>
                <c:pt idx="22003">
                  <c:v>22.776385067139685</c:v>
                </c:pt>
                <c:pt idx="22004">
                  <c:v>44.714678578938774</c:v>
                </c:pt>
                <c:pt idx="22005">
                  <c:v>20.970587777167648</c:v>
                </c:pt>
                <c:pt idx="22006">
                  <c:v>30.531213929825277</c:v>
                </c:pt>
                <c:pt idx="22007">
                  <c:v>42.703969867607881</c:v>
                </c:pt>
                <c:pt idx="22008">
                  <c:v>48.064944538878429</c:v>
                </c:pt>
                <c:pt idx="22009">
                  <c:v>49.469648491208595</c:v>
                </c:pt>
                <c:pt idx="22010">
                  <c:v>21.86588906568636</c:v>
                </c:pt>
                <c:pt idx="22011">
                  <c:v>25.743245954069849</c:v>
                </c:pt>
                <c:pt idx="22012">
                  <c:v>27.579516607449012</c:v>
                </c:pt>
                <c:pt idx="22013">
                  <c:v>35.390947708396851</c:v>
                </c:pt>
                <c:pt idx="22014">
                  <c:v>26.265774605813689</c:v>
                </c:pt>
                <c:pt idx="22015">
                  <c:v>28.092681101260812</c:v>
                </c:pt>
                <c:pt idx="22016">
                  <c:v>35.794099266397936</c:v>
                </c:pt>
                <c:pt idx="22017">
                  <c:v>48.722104851825833</c:v>
                </c:pt>
                <c:pt idx="22018">
                  <c:v>24.909594528393022</c:v>
                </c:pt>
                <c:pt idx="22019">
                  <c:v>21.701605022064637</c:v>
                </c:pt>
                <c:pt idx="22020">
                  <c:v>29.011616003577728</c:v>
                </c:pt>
                <c:pt idx="22021">
                  <c:v>27.408341373964738</c:v>
                </c:pt>
                <c:pt idx="22022">
                  <c:v>23.749381838557969</c:v>
                </c:pt>
                <c:pt idx="22023">
                  <c:v>39.973680298274964</c:v>
                </c:pt>
                <c:pt idx="22024">
                  <c:v>33.372130387641995</c:v>
                </c:pt>
                <c:pt idx="22025">
                  <c:v>37.270991899278549</c:v>
                </c:pt>
                <c:pt idx="22026">
                  <c:v>27.661885661113949</c:v>
                </c:pt>
                <c:pt idx="22027">
                  <c:v>41.218224975711799</c:v>
                </c:pt>
                <c:pt idx="22028">
                  <c:v>31.724563570739274</c:v>
                </c:pt>
                <c:pt idx="22029">
                  <c:v>27.274655620033343</c:v>
                </c:pt>
                <c:pt idx="22030">
                  <c:v>26.549914405615944</c:v>
                </c:pt>
                <c:pt idx="22031">
                  <c:v>27.750698961155621</c:v>
                </c:pt>
                <c:pt idx="22032">
                  <c:v>20.32296637891433</c:v>
                </c:pt>
                <c:pt idx="22033">
                  <c:v>53.190749310270938</c:v>
                </c:pt>
                <c:pt idx="22034">
                  <c:v>27.95685867363121</c:v>
                </c:pt>
                <c:pt idx="22035">
                  <c:v>19.081362906185134</c:v>
                </c:pt>
                <c:pt idx="22036">
                  <c:v>31.145082010174093</c:v>
                </c:pt>
                <c:pt idx="22037">
                  <c:v>49.500848287292889</c:v>
                </c:pt>
                <c:pt idx="22038">
                  <c:v>24.534302912096521</c:v>
                </c:pt>
                <c:pt idx="22039">
                  <c:v>28.381136571902314</c:v>
                </c:pt>
                <c:pt idx="22040">
                  <c:v>23.720593239554582</c:v>
                </c:pt>
                <c:pt idx="22041">
                  <c:v>33.253218163544922</c:v>
                </c:pt>
                <c:pt idx="22042">
                  <c:v>31.061704328546774</c:v>
                </c:pt>
                <c:pt idx="22043">
                  <c:v>27.878753384292825</c:v>
                </c:pt>
                <c:pt idx="22044">
                  <c:v>21.459788717329317</c:v>
                </c:pt>
                <c:pt idx="22045">
                  <c:v>34.216862143232433</c:v>
                </c:pt>
                <c:pt idx="22046">
                  <c:v>28.173353693330171</c:v>
                </c:pt>
                <c:pt idx="22047">
                  <c:v>45.965657881257293</c:v>
                </c:pt>
                <c:pt idx="22048">
                  <c:v>49.672244567129383</c:v>
                </c:pt>
                <c:pt idx="22049">
                  <c:v>25.965413803890886</c:v>
                </c:pt>
                <c:pt idx="22050">
                  <c:v>47.225893493604715</c:v>
                </c:pt>
                <c:pt idx="22051">
                  <c:v>27.747206795142286</c:v>
                </c:pt>
                <c:pt idx="22052">
                  <c:v>27.667465790202268</c:v>
                </c:pt>
                <c:pt idx="22053">
                  <c:v>22.157207185214816</c:v>
                </c:pt>
                <c:pt idx="22054">
                  <c:v>47.576597984927055</c:v>
                </c:pt>
                <c:pt idx="22055">
                  <c:v>29.553202952280959</c:v>
                </c:pt>
                <c:pt idx="22056">
                  <c:v>20.049570992152049</c:v>
                </c:pt>
                <c:pt idx="22057">
                  <c:v>31.987024744113629</c:v>
                </c:pt>
                <c:pt idx="22058">
                  <c:v>26.182069858626441</c:v>
                </c:pt>
                <c:pt idx="22059">
                  <c:v>35.062781458224492</c:v>
                </c:pt>
                <c:pt idx="22060">
                  <c:v>46.395916664013725</c:v>
                </c:pt>
                <c:pt idx="22061">
                  <c:v>29.686738273053582</c:v>
                </c:pt>
                <c:pt idx="22062">
                  <c:v>35.4169176009853</c:v>
                </c:pt>
                <c:pt idx="22063">
                  <c:v>49.626679702571593</c:v>
                </c:pt>
                <c:pt idx="22064">
                  <c:v>33.996290820701788</c:v>
                </c:pt>
                <c:pt idx="22065">
                  <c:v>52.577383160385807</c:v>
                </c:pt>
                <c:pt idx="22066">
                  <c:v>28.559003040540485</c:v>
                </c:pt>
                <c:pt idx="22067">
                  <c:v>24.090412928670062</c:v>
                </c:pt>
                <c:pt idx="22068">
                  <c:v>26.576121919474247</c:v>
                </c:pt>
                <c:pt idx="22069">
                  <c:v>28.244882158791473</c:v>
                </c:pt>
                <c:pt idx="22070">
                  <c:v>26.307406693968193</c:v>
                </c:pt>
                <c:pt idx="22071">
                  <c:v>41.285975912109208</c:v>
                </c:pt>
                <c:pt idx="22072">
                  <c:v>28.205194198636754</c:v>
                </c:pt>
                <c:pt idx="22073">
                  <c:v>48.947871861037044</c:v>
                </c:pt>
                <c:pt idx="22074">
                  <c:v>28.52060946575364</c:v>
                </c:pt>
                <c:pt idx="22075">
                  <c:v>26.424286527220705</c:v>
                </c:pt>
                <c:pt idx="22076">
                  <c:v>20.188438956408135</c:v>
                </c:pt>
                <c:pt idx="22077">
                  <c:v>37.561329571344295</c:v>
                </c:pt>
                <c:pt idx="22078">
                  <c:v>21.279528252931019</c:v>
                </c:pt>
                <c:pt idx="22079">
                  <c:v>38.71679132318836</c:v>
                </c:pt>
                <c:pt idx="22080">
                  <c:v>24.783265808980012</c:v>
                </c:pt>
                <c:pt idx="22081">
                  <c:v>32.522528803903882</c:v>
                </c:pt>
                <c:pt idx="22082">
                  <c:v>24.484599837537289</c:v>
                </c:pt>
                <c:pt idx="22083">
                  <c:v>24.932252514059289</c:v>
                </c:pt>
                <c:pt idx="22084">
                  <c:v>29.579124815393012</c:v>
                </c:pt>
                <c:pt idx="22085">
                  <c:v>29.349758348754861</c:v>
                </c:pt>
                <c:pt idx="22086">
                  <c:v>35.479748212082725</c:v>
                </c:pt>
                <c:pt idx="22087">
                  <c:v>31.141615184576256</c:v>
                </c:pt>
                <c:pt idx="22088">
                  <c:v>64.71695215569639</c:v>
                </c:pt>
                <c:pt idx="22089">
                  <c:v>34.508887990698042</c:v>
                </c:pt>
                <c:pt idx="22090">
                  <c:v>24.005585666543443</c:v>
                </c:pt>
                <c:pt idx="22091">
                  <c:v>20.982244946653019</c:v>
                </c:pt>
                <c:pt idx="22092">
                  <c:v>35.302596826813698</c:v>
                </c:pt>
                <c:pt idx="22093">
                  <c:v>24.207960923843711</c:v>
                </c:pt>
                <c:pt idx="22094">
                  <c:v>32.676203800493049</c:v>
                </c:pt>
                <c:pt idx="22095">
                  <c:v>30.730722903976083</c:v>
                </c:pt>
                <c:pt idx="22096">
                  <c:v>22.492490015474683</c:v>
                </c:pt>
                <c:pt idx="22097">
                  <c:v>49.587891470431373</c:v>
                </c:pt>
                <c:pt idx="22098">
                  <c:v>47.24590449068225</c:v>
                </c:pt>
                <c:pt idx="22099">
                  <c:v>32.875818713921078</c:v>
                </c:pt>
                <c:pt idx="22100">
                  <c:v>35.176531257555226</c:v>
                </c:pt>
                <c:pt idx="22101">
                  <c:v>23.281291279587805</c:v>
                </c:pt>
                <c:pt idx="22102">
                  <c:v>27.092366565006547</c:v>
                </c:pt>
                <c:pt idx="22103">
                  <c:v>18.439125105183557</c:v>
                </c:pt>
                <c:pt idx="22104">
                  <c:v>43.798846246255138</c:v>
                </c:pt>
                <c:pt idx="22105">
                  <c:v>61.771119890896145</c:v>
                </c:pt>
                <c:pt idx="22106">
                  <c:v>16.346665011552549</c:v>
                </c:pt>
                <c:pt idx="22107">
                  <c:v>22.002619392377248</c:v>
                </c:pt>
                <c:pt idx="22108">
                  <c:v>23.381581386373114</c:v>
                </c:pt>
                <c:pt idx="22109">
                  <c:v>59.306638938542818</c:v>
                </c:pt>
                <c:pt idx="22110">
                  <c:v>19.505011995665019</c:v>
                </c:pt>
                <c:pt idx="22111">
                  <c:v>30.008611211969896</c:v>
                </c:pt>
                <c:pt idx="22112">
                  <c:v>26.261409006794601</c:v>
                </c:pt>
                <c:pt idx="22113">
                  <c:v>28.962161506205007</c:v>
                </c:pt>
                <c:pt idx="22114">
                  <c:v>30.805276308293514</c:v>
                </c:pt>
                <c:pt idx="22115">
                  <c:v>28.274333594453918</c:v>
                </c:pt>
                <c:pt idx="22116">
                  <c:v>56.52561200046275</c:v>
                </c:pt>
                <c:pt idx="22117">
                  <c:v>38.047208198559851</c:v>
                </c:pt>
                <c:pt idx="22118">
                  <c:v>19.840697342562464</c:v>
                </c:pt>
                <c:pt idx="22119">
                  <c:v>23.185967270447275</c:v>
                </c:pt>
                <c:pt idx="22120">
                  <c:v>26.333582809067536</c:v>
                </c:pt>
                <c:pt idx="22121">
                  <c:v>16.612929727333661</c:v>
                </c:pt>
                <c:pt idx="22122">
                  <c:v>32.73004705514262</c:v>
                </c:pt>
                <c:pt idx="22123">
                  <c:v>20.005470208586082</c:v>
                </c:pt>
                <c:pt idx="22124">
                  <c:v>33.639788873246395</c:v>
                </c:pt>
                <c:pt idx="22125">
                  <c:v>26.438104421120755</c:v>
                </c:pt>
                <c:pt idx="22126">
                  <c:v>29.496480508781055</c:v>
                </c:pt>
                <c:pt idx="22127">
                  <c:v>25.852251373706448</c:v>
                </c:pt>
                <c:pt idx="22128">
                  <c:v>22.874412276152064</c:v>
                </c:pt>
                <c:pt idx="22129">
                  <c:v>27.129512651489062</c:v>
                </c:pt>
                <c:pt idx="22130">
                  <c:v>28.973753315239886</c:v>
                </c:pt>
                <c:pt idx="22131">
                  <c:v>41.430649507655062</c:v>
                </c:pt>
                <c:pt idx="22132">
                  <c:v>22.144868667667307</c:v>
                </c:pt>
                <c:pt idx="22133">
                  <c:v>37.594563026676894</c:v>
                </c:pt>
                <c:pt idx="22134">
                  <c:v>22.728841729435089</c:v>
                </c:pt>
                <c:pt idx="22135">
                  <c:v>28.412510520942394</c:v>
                </c:pt>
                <c:pt idx="22136">
                  <c:v>33.085648939110634</c:v>
                </c:pt>
                <c:pt idx="22137">
                  <c:v>27.145662512808737</c:v>
                </c:pt>
                <c:pt idx="22138">
                  <c:v>32.434041462888388</c:v>
                </c:pt>
                <c:pt idx="22139">
                  <c:v>28.620401496135003</c:v>
                </c:pt>
                <c:pt idx="22140">
                  <c:v>22.950067885512201</c:v>
                </c:pt>
                <c:pt idx="22141">
                  <c:v>26.826737075792735</c:v>
                </c:pt>
                <c:pt idx="22142">
                  <c:v>26.788353286487169</c:v>
                </c:pt>
                <c:pt idx="22143">
                  <c:v>42.172220215204014</c:v>
                </c:pt>
                <c:pt idx="22144">
                  <c:v>25.190189806632254</c:v>
                </c:pt>
                <c:pt idx="22145">
                  <c:v>21.554101958456414</c:v>
                </c:pt>
                <c:pt idx="22146">
                  <c:v>25.25942263081852</c:v>
                </c:pt>
                <c:pt idx="22147">
                  <c:v>41.743914948261079</c:v>
                </c:pt>
                <c:pt idx="22148">
                  <c:v>26.643106360965888</c:v>
                </c:pt>
                <c:pt idx="22149">
                  <c:v>23.259602070437587</c:v>
                </c:pt>
                <c:pt idx="22150">
                  <c:v>48.316568778988348</c:v>
                </c:pt>
                <c:pt idx="22151">
                  <c:v>28.381724284188238</c:v>
                </c:pt>
                <c:pt idx="22152">
                  <c:v>54.436693083921575</c:v>
                </c:pt>
                <c:pt idx="22153">
                  <c:v>34.384097394691857</c:v>
                </c:pt>
                <c:pt idx="22154">
                  <c:v>49.580976594828414</c:v>
                </c:pt>
                <c:pt idx="22155">
                  <c:v>30.901208298030333</c:v>
                </c:pt>
                <c:pt idx="22156">
                  <c:v>41.564534493601151</c:v>
                </c:pt>
                <c:pt idx="22157">
                  <c:v>30.251221522439909</c:v>
                </c:pt>
                <c:pt idx="22158">
                  <c:v>31.844414430820457</c:v>
                </c:pt>
                <c:pt idx="22159">
                  <c:v>33.584973678772108</c:v>
                </c:pt>
                <c:pt idx="22160">
                  <c:v>29.512002641798635</c:v>
                </c:pt>
                <c:pt idx="22161">
                  <c:v>33.277106841365395</c:v>
                </c:pt>
                <c:pt idx="22162">
                  <c:v>40.681763079948652</c:v>
                </c:pt>
                <c:pt idx="22163">
                  <c:v>34.438907659691509</c:v>
                </c:pt>
                <c:pt idx="22164">
                  <c:v>24.633834563042836</c:v>
                </c:pt>
                <c:pt idx="22165">
                  <c:v>43.798794447780082</c:v>
                </c:pt>
                <c:pt idx="22166">
                  <c:v>21.655252609639611</c:v>
                </c:pt>
                <c:pt idx="22167">
                  <c:v>30.789578497874245</c:v>
                </c:pt>
                <c:pt idx="22168">
                  <c:v>46.008284174910088</c:v>
                </c:pt>
                <c:pt idx="22169">
                  <c:v>28.396102457743616</c:v>
                </c:pt>
                <c:pt idx="22170">
                  <c:v>20.688522813888461</c:v>
                </c:pt>
                <c:pt idx="22171">
                  <c:v>59.53883111973353</c:v>
                </c:pt>
                <c:pt idx="22172">
                  <c:v>31.828456282976664</c:v>
                </c:pt>
                <c:pt idx="22173">
                  <c:v>27.5607893524577</c:v>
                </c:pt>
                <c:pt idx="22174">
                  <c:v>27.164340873780002</c:v>
                </c:pt>
                <c:pt idx="22175">
                  <c:v>23.091329644688102</c:v>
                </c:pt>
                <c:pt idx="22176">
                  <c:v>32.008047473900184</c:v>
                </c:pt>
                <c:pt idx="22177">
                  <c:v>26.475155742372248</c:v>
                </c:pt>
                <c:pt idx="22178">
                  <c:v>41.498559590374043</c:v>
                </c:pt>
                <c:pt idx="22179">
                  <c:v>32.493925196694477</c:v>
                </c:pt>
                <c:pt idx="22180">
                  <c:v>25.138819653982772</c:v>
                </c:pt>
                <c:pt idx="22181">
                  <c:v>32.662704929710209</c:v>
                </c:pt>
                <c:pt idx="22182">
                  <c:v>35.044800684207225</c:v>
                </c:pt>
                <c:pt idx="22183">
                  <c:v>36.031820430134538</c:v>
                </c:pt>
                <c:pt idx="22184">
                  <c:v>26.456585952528567</c:v>
                </c:pt>
                <c:pt idx="22185">
                  <c:v>39.18654746840744</c:v>
                </c:pt>
                <c:pt idx="22186">
                  <c:v>25.714088553485269</c:v>
                </c:pt>
                <c:pt idx="22187">
                  <c:v>35.056179703001675</c:v>
                </c:pt>
                <c:pt idx="22188">
                  <c:v>28.732945821511091</c:v>
                </c:pt>
                <c:pt idx="22189">
                  <c:v>52.089506242578693</c:v>
                </c:pt>
                <c:pt idx="22190">
                  <c:v>20.651488119277186</c:v>
                </c:pt>
                <c:pt idx="22191">
                  <c:v>59.106477453001744</c:v>
                </c:pt>
                <c:pt idx="22192">
                  <c:v>21.603507999061964</c:v>
                </c:pt>
                <c:pt idx="22193">
                  <c:v>46.212685636734456</c:v>
                </c:pt>
                <c:pt idx="22194">
                  <c:v>24.607794829835381</c:v>
                </c:pt>
                <c:pt idx="22195">
                  <c:v>25.13672592775686</c:v>
                </c:pt>
                <c:pt idx="22196">
                  <c:v>27.287110192044292</c:v>
                </c:pt>
                <c:pt idx="22197">
                  <c:v>25.136058853504164</c:v>
                </c:pt>
                <c:pt idx="22198">
                  <c:v>29.266955829935061</c:v>
                </c:pt>
                <c:pt idx="22199">
                  <c:v>22.6621355396816</c:v>
                </c:pt>
                <c:pt idx="22200">
                  <c:v>26.370278759189837</c:v>
                </c:pt>
                <c:pt idx="22201">
                  <c:v>47.462153699116634</c:v>
                </c:pt>
                <c:pt idx="22202">
                  <c:v>34.137522617026612</c:v>
                </c:pt>
                <c:pt idx="22203">
                  <c:v>28.961295742089831</c:v>
                </c:pt>
                <c:pt idx="22204">
                  <c:v>28.169385954080916</c:v>
                </c:pt>
                <c:pt idx="22205">
                  <c:v>21.577160383007794</c:v>
                </c:pt>
                <c:pt idx="22206">
                  <c:v>19.69788127733495</c:v>
                </c:pt>
                <c:pt idx="22207">
                  <c:v>23.849269918672608</c:v>
                </c:pt>
                <c:pt idx="22208">
                  <c:v>36.391301924424404</c:v>
                </c:pt>
                <c:pt idx="22209">
                  <c:v>45.668026275002987</c:v>
                </c:pt>
                <c:pt idx="22210">
                  <c:v>41.520402898622308</c:v>
                </c:pt>
                <c:pt idx="22211">
                  <c:v>29.192938845682495</c:v>
                </c:pt>
                <c:pt idx="22212">
                  <c:v>27.452415241463193</c:v>
                </c:pt>
                <c:pt idx="22213">
                  <c:v>46.531222969640773</c:v>
                </c:pt>
                <c:pt idx="22214">
                  <c:v>19.968771133687262</c:v>
                </c:pt>
                <c:pt idx="22215">
                  <c:v>45.405515060061717</c:v>
                </c:pt>
                <c:pt idx="22216">
                  <c:v>33.263750205148156</c:v>
                </c:pt>
                <c:pt idx="22217">
                  <c:v>43.249303306668878</c:v>
                </c:pt>
                <c:pt idx="22218">
                  <c:v>17.442867399926691</c:v>
                </c:pt>
                <c:pt idx="22219">
                  <c:v>58.695008189045488</c:v>
                </c:pt>
                <c:pt idx="22220">
                  <c:v>54.185887173594026</c:v>
                </c:pt>
                <c:pt idx="22221">
                  <c:v>22.44869163856265</c:v>
                </c:pt>
                <c:pt idx="22222">
                  <c:v>22.690467017128764</c:v>
                </c:pt>
                <c:pt idx="22223">
                  <c:v>32.564021489090365</c:v>
                </c:pt>
                <c:pt idx="22224">
                  <c:v>17.046955984315073</c:v>
                </c:pt>
                <c:pt idx="22225">
                  <c:v>30.800847422868777</c:v>
                </c:pt>
                <c:pt idx="22226">
                  <c:v>57.033461978126027</c:v>
                </c:pt>
                <c:pt idx="22227">
                  <c:v>23.102035227303496</c:v>
                </c:pt>
                <c:pt idx="22228">
                  <c:v>20.285822117341368</c:v>
                </c:pt>
                <c:pt idx="22229">
                  <c:v>25.537483347662796</c:v>
                </c:pt>
                <c:pt idx="22230">
                  <c:v>47.141791953452106</c:v>
                </c:pt>
                <c:pt idx="22231">
                  <c:v>32.766283092051452</c:v>
                </c:pt>
                <c:pt idx="22232">
                  <c:v>23.411669987751139</c:v>
                </c:pt>
                <c:pt idx="22233">
                  <c:v>39.269957783576444</c:v>
                </c:pt>
                <c:pt idx="22234">
                  <c:v>22.612211711779238</c:v>
                </c:pt>
                <c:pt idx="22235">
                  <c:v>32.498791459038642</c:v>
                </c:pt>
                <c:pt idx="22236">
                  <c:v>22.75793040408098</c:v>
                </c:pt>
                <c:pt idx="22237">
                  <c:v>22.990050537421101</c:v>
                </c:pt>
                <c:pt idx="22238">
                  <c:v>23.598956181736654</c:v>
                </c:pt>
                <c:pt idx="22239">
                  <c:v>25.510504597002914</c:v>
                </c:pt>
                <c:pt idx="22240">
                  <c:v>19.636216210290272</c:v>
                </c:pt>
                <c:pt idx="22241">
                  <c:v>20.87255396781477</c:v>
                </c:pt>
                <c:pt idx="22242">
                  <c:v>33.800867992084797</c:v>
                </c:pt>
                <c:pt idx="22243">
                  <c:v>29.449293676712696</c:v>
                </c:pt>
                <c:pt idx="22244">
                  <c:v>27.419444997808831</c:v>
                </c:pt>
                <c:pt idx="22245">
                  <c:v>25.192211242679544</c:v>
                </c:pt>
                <c:pt idx="22246">
                  <c:v>19.474594805949373</c:v>
                </c:pt>
                <c:pt idx="22247">
                  <c:v>23.809726202619892</c:v>
                </c:pt>
                <c:pt idx="22248">
                  <c:v>21.353379494161906</c:v>
                </c:pt>
                <c:pt idx="22249">
                  <c:v>49.310307516644968</c:v>
                </c:pt>
                <c:pt idx="22250">
                  <c:v>22.526122076466319</c:v>
                </c:pt>
                <c:pt idx="22251">
                  <c:v>21.835993628278231</c:v>
                </c:pt>
                <c:pt idx="22252">
                  <c:v>21.711438407012011</c:v>
                </c:pt>
                <c:pt idx="22253">
                  <c:v>45.598093652937372</c:v>
                </c:pt>
                <c:pt idx="22254">
                  <c:v>25.477281350708733</c:v>
                </c:pt>
                <c:pt idx="22255">
                  <c:v>42.492238266753432</c:v>
                </c:pt>
                <c:pt idx="22256">
                  <c:v>27.007708454333049</c:v>
                </c:pt>
                <c:pt idx="22257">
                  <c:v>26.167631690699956</c:v>
                </c:pt>
                <c:pt idx="22258">
                  <c:v>32.509965841133294</c:v>
                </c:pt>
                <c:pt idx="22259">
                  <c:v>17.383272686110576</c:v>
                </c:pt>
                <c:pt idx="22260">
                  <c:v>31.801889087722476</c:v>
                </c:pt>
                <c:pt idx="22261">
                  <c:v>55.531938551273107</c:v>
                </c:pt>
                <c:pt idx="22262">
                  <c:v>46.723266920325145</c:v>
                </c:pt>
                <c:pt idx="22263">
                  <c:v>57.584843600334956</c:v>
                </c:pt>
                <c:pt idx="22264">
                  <c:v>25.858021466216751</c:v>
                </c:pt>
                <c:pt idx="22265">
                  <c:v>25.400183335046137</c:v>
                </c:pt>
                <c:pt idx="22266">
                  <c:v>30.173994571227208</c:v>
                </c:pt>
                <c:pt idx="22267">
                  <c:v>30.548102974082976</c:v>
                </c:pt>
                <c:pt idx="22268">
                  <c:v>38.163143791311107</c:v>
                </c:pt>
                <c:pt idx="22269">
                  <c:v>24.620091832418723</c:v>
                </c:pt>
                <c:pt idx="22270">
                  <c:v>27.348476875154702</c:v>
                </c:pt>
                <c:pt idx="22271">
                  <c:v>23.85587429354139</c:v>
                </c:pt>
                <c:pt idx="22272">
                  <c:v>30.76119081712789</c:v>
                </c:pt>
                <c:pt idx="22273">
                  <c:v>49.788847388036956</c:v>
                </c:pt>
                <c:pt idx="22274">
                  <c:v>23.657460174187452</c:v>
                </c:pt>
                <c:pt idx="22275">
                  <c:v>39.800632303250651</c:v>
                </c:pt>
                <c:pt idx="22276">
                  <c:v>24.967127558616074</c:v>
                </c:pt>
                <c:pt idx="22277">
                  <c:v>26.110270625092532</c:v>
                </c:pt>
                <c:pt idx="22278">
                  <c:v>28.920322578809419</c:v>
                </c:pt>
                <c:pt idx="22279">
                  <c:v>37.706096727475654</c:v>
                </c:pt>
                <c:pt idx="22280">
                  <c:v>28.844068729623142</c:v>
                </c:pt>
                <c:pt idx="22281">
                  <c:v>51.874856493708599</c:v>
                </c:pt>
                <c:pt idx="22282">
                  <c:v>32.356300172555436</c:v>
                </c:pt>
                <c:pt idx="22283">
                  <c:v>43.895678484467567</c:v>
                </c:pt>
                <c:pt idx="22284">
                  <c:v>32.544510964669072</c:v>
                </c:pt>
                <c:pt idx="22285">
                  <c:v>25.75962966017843</c:v>
                </c:pt>
                <c:pt idx="22286">
                  <c:v>42.310777955407204</c:v>
                </c:pt>
                <c:pt idx="22287">
                  <c:v>28.166891671137797</c:v>
                </c:pt>
                <c:pt idx="22288">
                  <c:v>33.283712227198421</c:v>
                </c:pt>
                <c:pt idx="22289">
                  <c:v>25.986707877192355</c:v>
                </c:pt>
                <c:pt idx="22290">
                  <c:v>32.420307359051662</c:v>
                </c:pt>
                <c:pt idx="22291">
                  <c:v>30.143609256120989</c:v>
                </c:pt>
                <c:pt idx="22292">
                  <c:v>62.867209273072362</c:v>
                </c:pt>
                <c:pt idx="22293">
                  <c:v>28.690576440628764</c:v>
                </c:pt>
                <c:pt idx="22294">
                  <c:v>28.090896629608579</c:v>
                </c:pt>
                <c:pt idx="22295">
                  <c:v>41.46812815651095</c:v>
                </c:pt>
                <c:pt idx="22296">
                  <c:v>24.345469255580966</c:v>
                </c:pt>
                <c:pt idx="22297">
                  <c:v>52.332124439718065</c:v>
                </c:pt>
                <c:pt idx="22298">
                  <c:v>32.479919184283453</c:v>
                </c:pt>
                <c:pt idx="22299">
                  <c:v>50.672971888680379</c:v>
                </c:pt>
                <c:pt idx="22300">
                  <c:v>61.262487086858592</c:v>
                </c:pt>
                <c:pt idx="22301">
                  <c:v>27.128840830239767</c:v>
                </c:pt>
                <c:pt idx="22302">
                  <c:v>17.65915499287982</c:v>
                </c:pt>
                <c:pt idx="22303">
                  <c:v>25.672268172866488</c:v>
                </c:pt>
                <c:pt idx="22304">
                  <c:v>22.871766543770327</c:v>
                </c:pt>
                <c:pt idx="22305">
                  <c:v>38.799274657727409</c:v>
                </c:pt>
                <c:pt idx="22306">
                  <c:v>26.607281671393025</c:v>
                </c:pt>
                <c:pt idx="22307">
                  <c:v>26.378133353246508</c:v>
                </c:pt>
                <c:pt idx="22308">
                  <c:v>26.68116864170721</c:v>
                </c:pt>
                <c:pt idx="22309">
                  <c:v>27.497067796195509</c:v>
                </c:pt>
                <c:pt idx="22310">
                  <c:v>18.228077175436294</c:v>
                </c:pt>
                <c:pt idx="22311">
                  <c:v>29.422339743449765</c:v>
                </c:pt>
                <c:pt idx="22312">
                  <c:v>30.068374220093308</c:v>
                </c:pt>
                <c:pt idx="22313">
                  <c:v>47.808874077316077</c:v>
                </c:pt>
                <c:pt idx="22314">
                  <c:v>33.255495701614301</c:v>
                </c:pt>
                <c:pt idx="22315">
                  <c:v>30.031109211045866</c:v>
                </c:pt>
                <c:pt idx="22316">
                  <c:v>29.895188507080853</c:v>
                </c:pt>
                <c:pt idx="22317">
                  <c:v>25.723591808565182</c:v>
                </c:pt>
                <c:pt idx="22318">
                  <c:v>24.14701073621552</c:v>
                </c:pt>
                <c:pt idx="22319">
                  <c:v>59.742231900358391</c:v>
                </c:pt>
                <c:pt idx="22320">
                  <c:v>25.099971186265225</c:v>
                </c:pt>
                <c:pt idx="22321">
                  <c:v>44.092885704654442</c:v>
                </c:pt>
                <c:pt idx="22322">
                  <c:v>20.060482242080184</c:v>
                </c:pt>
                <c:pt idx="22323">
                  <c:v>29.050430960708226</c:v>
                </c:pt>
                <c:pt idx="22324">
                  <c:v>38.638603542491403</c:v>
                </c:pt>
                <c:pt idx="22325">
                  <c:v>30.208175009583897</c:v>
                </c:pt>
                <c:pt idx="22326">
                  <c:v>42.099412137844965</c:v>
                </c:pt>
                <c:pt idx="22327">
                  <c:v>28.815508314810035</c:v>
                </c:pt>
                <c:pt idx="22328">
                  <c:v>26.952182852372349</c:v>
                </c:pt>
                <c:pt idx="22329">
                  <c:v>24.601233322187579</c:v>
                </c:pt>
                <c:pt idx="22330">
                  <c:v>51.860001504702133</c:v>
                </c:pt>
                <c:pt idx="22331">
                  <c:v>28.191850235324114</c:v>
                </c:pt>
                <c:pt idx="22332">
                  <c:v>47.238367323268868</c:v>
                </c:pt>
                <c:pt idx="22333">
                  <c:v>30.439942999574868</c:v>
                </c:pt>
                <c:pt idx="22334">
                  <c:v>44.43927786426287</c:v>
                </c:pt>
                <c:pt idx="22335">
                  <c:v>27.959860178352017</c:v>
                </c:pt>
                <c:pt idx="22336">
                  <c:v>61.153962887935364</c:v>
                </c:pt>
                <c:pt idx="22337">
                  <c:v>28.128576737996948</c:v>
                </c:pt>
                <c:pt idx="22338">
                  <c:v>20.534422768376913</c:v>
                </c:pt>
                <c:pt idx="22339">
                  <c:v>24.169557694074488</c:v>
                </c:pt>
                <c:pt idx="22340">
                  <c:v>37.538468786711974</c:v>
                </c:pt>
                <c:pt idx="22341">
                  <c:v>31.06167012122388</c:v>
                </c:pt>
                <c:pt idx="22342">
                  <c:v>25.711681250644158</c:v>
                </c:pt>
                <c:pt idx="22343">
                  <c:v>26.217631210674586</c:v>
                </c:pt>
                <c:pt idx="22344">
                  <c:v>31.094658904583437</c:v>
                </c:pt>
                <c:pt idx="22345">
                  <c:v>44.436204053217025</c:v>
                </c:pt>
                <c:pt idx="22346">
                  <c:v>23.995577843393775</c:v>
                </c:pt>
                <c:pt idx="22347">
                  <c:v>23.746244273113071</c:v>
                </c:pt>
                <c:pt idx="22348">
                  <c:v>38.77277707583869</c:v>
                </c:pt>
                <c:pt idx="22349">
                  <c:v>25.109395780234713</c:v>
                </c:pt>
                <c:pt idx="22350">
                  <c:v>27.736014597551829</c:v>
                </c:pt>
                <c:pt idx="22351">
                  <c:v>34.651452079722887</c:v>
                </c:pt>
                <c:pt idx="22352">
                  <c:v>47.979498046633076</c:v>
                </c:pt>
                <c:pt idx="22353">
                  <c:v>27.085655614827512</c:v>
                </c:pt>
                <c:pt idx="22354">
                  <c:v>53.20377009900394</c:v>
                </c:pt>
                <c:pt idx="22355">
                  <c:v>19.759855161506092</c:v>
                </c:pt>
                <c:pt idx="22356">
                  <c:v>27.368722639434683</c:v>
                </c:pt>
                <c:pt idx="22357">
                  <c:v>21.726029484700728</c:v>
                </c:pt>
                <c:pt idx="22358">
                  <c:v>34.170220127072142</c:v>
                </c:pt>
                <c:pt idx="22359">
                  <c:v>25.145849652518667</c:v>
                </c:pt>
                <c:pt idx="22360">
                  <c:v>16.790357733693636</c:v>
                </c:pt>
                <c:pt idx="22361">
                  <c:v>31.44330729879778</c:v>
                </c:pt>
                <c:pt idx="22362">
                  <c:v>35.703849703050402</c:v>
                </c:pt>
                <c:pt idx="22363">
                  <c:v>30.95564462288413</c:v>
                </c:pt>
                <c:pt idx="22364">
                  <c:v>23.248588818548967</c:v>
                </c:pt>
                <c:pt idx="22365">
                  <c:v>25.33166672637789</c:v>
                </c:pt>
                <c:pt idx="22366">
                  <c:v>29.483807215928575</c:v>
                </c:pt>
                <c:pt idx="22367">
                  <c:v>39.505924424088569</c:v>
                </c:pt>
                <c:pt idx="22368">
                  <c:v>27.033965777597999</c:v>
                </c:pt>
                <c:pt idx="22369">
                  <c:v>33.403465605246993</c:v>
                </c:pt>
                <c:pt idx="22370">
                  <c:v>17.87443756349326</c:v>
                </c:pt>
                <c:pt idx="22371">
                  <c:v>47.259263334657199</c:v>
                </c:pt>
                <c:pt idx="22372">
                  <c:v>58.679654762093818</c:v>
                </c:pt>
                <c:pt idx="22373">
                  <c:v>29.240254546597217</c:v>
                </c:pt>
                <c:pt idx="22374">
                  <c:v>20.977310684347188</c:v>
                </c:pt>
                <c:pt idx="22375">
                  <c:v>27.270055502573946</c:v>
                </c:pt>
                <c:pt idx="22376">
                  <c:v>24.795069939976798</c:v>
                </c:pt>
                <c:pt idx="22377">
                  <c:v>26.757428156774417</c:v>
                </c:pt>
                <c:pt idx="22378">
                  <c:v>24.045476547693369</c:v>
                </c:pt>
                <c:pt idx="22379">
                  <c:v>27.877155513629127</c:v>
                </c:pt>
                <c:pt idx="22380">
                  <c:v>28.374585193315319</c:v>
                </c:pt>
                <c:pt idx="22381">
                  <c:v>32.664765135248587</c:v>
                </c:pt>
                <c:pt idx="22382">
                  <c:v>41.968957524076686</c:v>
                </c:pt>
                <c:pt idx="22383">
                  <c:v>22.113074068370956</c:v>
                </c:pt>
                <c:pt idx="22384">
                  <c:v>13.744017439000647</c:v>
                </c:pt>
                <c:pt idx="22385">
                  <c:v>21.54649252120673</c:v>
                </c:pt>
                <c:pt idx="22386">
                  <c:v>27.332321719430634</c:v>
                </c:pt>
                <c:pt idx="22387">
                  <c:v>23.225971547116337</c:v>
                </c:pt>
                <c:pt idx="22388">
                  <c:v>21.939568223456291</c:v>
                </c:pt>
                <c:pt idx="22389">
                  <c:v>22.965240573259194</c:v>
                </c:pt>
                <c:pt idx="22390">
                  <c:v>30.004782810489459</c:v>
                </c:pt>
                <c:pt idx="22391">
                  <c:v>26.266810436826709</c:v>
                </c:pt>
                <c:pt idx="22392">
                  <c:v>26.484763016797594</c:v>
                </c:pt>
                <c:pt idx="22393">
                  <c:v>34.04989328979255</c:v>
                </c:pt>
                <c:pt idx="22394">
                  <c:v>23.845179309315753</c:v>
                </c:pt>
                <c:pt idx="22395">
                  <c:v>21.858970945191444</c:v>
                </c:pt>
                <c:pt idx="22396">
                  <c:v>25.290186434704211</c:v>
                </c:pt>
                <c:pt idx="22397">
                  <c:v>34.143927706345899</c:v>
                </c:pt>
                <c:pt idx="22398">
                  <c:v>24.058571797587707</c:v>
                </c:pt>
                <c:pt idx="22399">
                  <c:v>33.386338273265899</c:v>
                </c:pt>
                <c:pt idx="22400">
                  <c:v>24.324127852866642</c:v>
                </c:pt>
                <c:pt idx="22401">
                  <c:v>33.16353403621109</c:v>
                </c:pt>
                <c:pt idx="22402">
                  <c:v>26.294094402333144</c:v>
                </c:pt>
                <c:pt idx="22403">
                  <c:v>29.94778652908478</c:v>
                </c:pt>
                <c:pt idx="22404">
                  <c:v>32.788154251147503</c:v>
                </c:pt>
                <c:pt idx="22405">
                  <c:v>21.102881115233231</c:v>
                </c:pt>
                <c:pt idx="22406">
                  <c:v>41.052000430819632</c:v>
                </c:pt>
                <c:pt idx="22407">
                  <c:v>27.340848291053728</c:v>
                </c:pt>
                <c:pt idx="22408">
                  <c:v>42.911443400959215</c:v>
                </c:pt>
                <c:pt idx="22409">
                  <c:v>40.447147052928898</c:v>
                </c:pt>
                <c:pt idx="22410">
                  <c:v>32.516443364577071</c:v>
                </c:pt>
                <c:pt idx="22411">
                  <c:v>25.688813862443482</c:v>
                </c:pt>
                <c:pt idx="22412">
                  <c:v>25.711673263391756</c:v>
                </c:pt>
                <c:pt idx="22413">
                  <c:v>38.725855562424528</c:v>
                </c:pt>
                <c:pt idx="22414">
                  <c:v>27.363070429790241</c:v>
                </c:pt>
                <c:pt idx="22415">
                  <c:v>40.877698171446852</c:v>
                </c:pt>
                <c:pt idx="22416">
                  <c:v>27.126167741162977</c:v>
                </c:pt>
                <c:pt idx="22417">
                  <c:v>54.163946507995334</c:v>
                </c:pt>
                <c:pt idx="22418">
                  <c:v>46.677456690216715</c:v>
                </c:pt>
                <c:pt idx="22419">
                  <c:v>48.042663811350877</c:v>
                </c:pt>
                <c:pt idx="22420">
                  <c:v>22.726956025874447</c:v>
                </c:pt>
                <c:pt idx="22421">
                  <c:v>26.984591441635942</c:v>
                </c:pt>
                <c:pt idx="22422">
                  <c:v>32.700865706811108</c:v>
                </c:pt>
                <c:pt idx="22423">
                  <c:v>24.627389038369252</c:v>
                </c:pt>
                <c:pt idx="22424">
                  <c:v>49.135974674097284</c:v>
                </c:pt>
                <c:pt idx="22425">
                  <c:v>17.789521838456558</c:v>
                </c:pt>
                <c:pt idx="22426">
                  <c:v>21.090368253319202</c:v>
                </c:pt>
                <c:pt idx="22427">
                  <c:v>20.708729505261697</c:v>
                </c:pt>
                <c:pt idx="22428">
                  <c:v>19.979272413722175</c:v>
                </c:pt>
                <c:pt idx="22429">
                  <c:v>21.859896228783668</c:v>
                </c:pt>
                <c:pt idx="22430">
                  <c:v>24.495918580057541</c:v>
                </c:pt>
                <c:pt idx="22431">
                  <c:v>53.380947577069335</c:v>
                </c:pt>
                <c:pt idx="22432">
                  <c:v>67.397022803139038</c:v>
                </c:pt>
                <c:pt idx="22433">
                  <c:v>18.891747838011355</c:v>
                </c:pt>
                <c:pt idx="22434">
                  <c:v>26.794900799769543</c:v>
                </c:pt>
                <c:pt idx="22435">
                  <c:v>37.836329849494348</c:v>
                </c:pt>
                <c:pt idx="22436">
                  <c:v>34.504610423177652</c:v>
                </c:pt>
                <c:pt idx="22437">
                  <c:v>17.821387314014423</c:v>
                </c:pt>
                <c:pt idx="22438">
                  <c:v>52.928848340822711</c:v>
                </c:pt>
                <c:pt idx="22439">
                  <c:v>24.37483371612969</c:v>
                </c:pt>
                <c:pt idx="22440">
                  <c:v>24.654689178690397</c:v>
                </c:pt>
                <c:pt idx="22441">
                  <c:v>22.84893396859956</c:v>
                </c:pt>
                <c:pt idx="22442">
                  <c:v>21.466018290114967</c:v>
                </c:pt>
                <c:pt idx="22443">
                  <c:v>31.523870506848091</c:v>
                </c:pt>
                <c:pt idx="22444">
                  <c:v>35.263093770088858</c:v>
                </c:pt>
                <c:pt idx="22445">
                  <c:v>51.176814658370468</c:v>
                </c:pt>
                <c:pt idx="22446">
                  <c:v>55.35847434438223</c:v>
                </c:pt>
                <c:pt idx="22447">
                  <c:v>23.395016883934808</c:v>
                </c:pt>
                <c:pt idx="22448">
                  <c:v>32.427484094081997</c:v>
                </c:pt>
                <c:pt idx="22449">
                  <c:v>41.925508306477781</c:v>
                </c:pt>
                <c:pt idx="22450">
                  <c:v>55.044989115369837</c:v>
                </c:pt>
                <c:pt idx="22451">
                  <c:v>30.129502634929494</c:v>
                </c:pt>
                <c:pt idx="22452">
                  <c:v>26.52947046895752</c:v>
                </c:pt>
                <c:pt idx="22453">
                  <c:v>49.443746979135653</c:v>
                </c:pt>
                <c:pt idx="22454">
                  <c:v>26.761802841174269</c:v>
                </c:pt>
                <c:pt idx="22455">
                  <c:v>34.698696164852421</c:v>
                </c:pt>
                <c:pt idx="22456">
                  <c:v>30.77769237301559</c:v>
                </c:pt>
                <c:pt idx="22457">
                  <c:v>38.352097379818048</c:v>
                </c:pt>
                <c:pt idx="22458">
                  <c:v>22.468930713612384</c:v>
                </c:pt>
                <c:pt idx="22459">
                  <c:v>26.35655494100714</c:v>
                </c:pt>
                <c:pt idx="22460">
                  <c:v>21.636686940896578</c:v>
                </c:pt>
                <c:pt idx="22461">
                  <c:v>31.474797693633043</c:v>
                </c:pt>
                <c:pt idx="22462">
                  <c:v>21.442764344653053</c:v>
                </c:pt>
                <c:pt idx="22463">
                  <c:v>21.284342306450263</c:v>
                </c:pt>
                <c:pt idx="22464">
                  <c:v>23.026139483463393</c:v>
                </c:pt>
                <c:pt idx="22465">
                  <c:v>16.518418440914914</c:v>
                </c:pt>
                <c:pt idx="22466">
                  <c:v>53.795522146835978</c:v>
                </c:pt>
                <c:pt idx="22467">
                  <c:v>28.593639013909996</c:v>
                </c:pt>
                <c:pt idx="22468">
                  <c:v>20.72200863604813</c:v>
                </c:pt>
                <c:pt idx="22469">
                  <c:v>24.515207125636881</c:v>
                </c:pt>
                <c:pt idx="22470">
                  <c:v>26.800555249952122</c:v>
                </c:pt>
                <c:pt idx="22471">
                  <c:v>43.277695433839042</c:v>
                </c:pt>
                <c:pt idx="22472">
                  <c:v>42.166547145695077</c:v>
                </c:pt>
                <c:pt idx="22473">
                  <c:v>47.241571713534846</c:v>
                </c:pt>
                <c:pt idx="22474">
                  <c:v>17.010442603943517</c:v>
                </c:pt>
                <c:pt idx="22475">
                  <c:v>35.807916420266586</c:v>
                </c:pt>
                <c:pt idx="22476">
                  <c:v>21.285478836886156</c:v>
                </c:pt>
                <c:pt idx="22477">
                  <c:v>25.684747050451332</c:v>
                </c:pt>
                <c:pt idx="22478">
                  <c:v>27.321763171467698</c:v>
                </c:pt>
                <c:pt idx="22479">
                  <c:v>32.238785138812844</c:v>
                </c:pt>
                <c:pt idx="22480">
                  <c:v>25.465597462147478</c:v>
                </c:pt>
                <c:pt idx="22481">
                  <c:v>16.696332844805404</c:v>
                </c:pt>
                <c:pt idx="22482">
                  <c:v>35.132800106662899</c:v>
                </c:pt>
                <c:pt idx="22483">
                  <c:v>26.60755877068733</c:v>
                </c:pt>
                <c:pt idx="22484">
                  <c:v>30.388568720462299</c:v>
                </c:pt>
                <c:pt idx="22485">
                  <c:v>49.829282117287399</c:v>
                </c:pt>
                <c:pt idx="22486">
                  <c:v>27.664925193309053</c:v>
                </c:pt>
                <c:pt idx="22487">
                  <c:v>43.05265573360299</c:v>
                </c:pt>
                <c:pt idx="22488">
                  <c:v>20.071374184851297</c:v>
                </c:pt>
                <c:pt idx="22489">
                  <c:v>30.348742385523273</c:v>
                </c:pt>
                <c:pt idx="22490">
                  <c:v>26.118542115188689</c:v>
                </c:pt>
                <c:pt idx="22491">
                  <c:v>28.330811085578652</c:v>
                </c:pt>
                <c:pt idx="22492">
                  <c:v>24.978072208597847</c:v>
                </c:pt>
                <c:pt idx="22493">
                  <c:v>30.510040840947504</c:v>
                </c:pt>
                <c:pt idx="22494">
                  <c:v>26.979411926198281</c:v>
                </c:pt>
                <c:pt idx="22495">
                  <c:v>22.211756874943848</c:v>
                </c:pt>
                <c:pt idx="22496">
                  <c:v>24.792622668210424</c:v>
                </c:pt>
                <c:pt idx="22497">
                  <c:v>24.591812936543882</c:v>
                </c:pt>
                <c:pt idx="22498">
                  <c:v>19.949928430038653</c:v>
                </c:pt>
                <c:pt idx="22499">
                  <c:v>26.365648989923436</c:v>
                </c:pt>
                <c:pt idx="22500">
                  <c:v>31.624294923209764</c:v>
                </c:pt>
                <c:pt idx="22501">
                  <c:v>21.954698691946938</c:v>
                </c:pt>
                <c:pt idx="22502">
                  <c:v>51.979605670510367</c:v>
                </c:pt>
                <c:pt idx="22503">
                  <c:v>17.366706141902416</c:v>
                </c:pt>
                <c:pt idx="22504">
                  <c:v>24.487687489752716</c:v>
                </c:pt>
                <c:pt idx="22505">
                  <c:v>39.890205982282708</c:v>
                </c:pt>
                <c:pt idx="22506">
                  <c:v>25.465353338216111</c:v>
                </c:pt>
                <c:pt idx="22507">
                  <c:v>27.430136521869002</c:v>
                </c:pt>
                <c:pt idx="22508">
                  <c:v>26.638445677636817</c:v>
                </c:pt>
                <c:pt idx="22509">
                  <c:v>26.952133010368456</c:v>
                </c:pt>
                <c:pt idx="22510">
                  <c:v>29.350303696411686</c:v>
                </c:pt>
                <c:pt idx="22511">
                  <c:v>24.52089143462387</c:v>
                </c:pt>
                <c:pt idx="22512">
                  <c:v>24.664218691962571</c:v>
                </c:pt>
                <c:pt idx="22513">
                  <c:v>26.485838059402564</c:v>
                </c:pt>
                <c:pt idx="22514">
                  <c:v>30.674443337451283</c:v>
                </c:pt>
                <c:pt idx="22515">
                  <c:v>30.28297293816594</c:v>
                </c:pt>
                <c:pt idx="22516">
                  <c:v>23.914807380008003</c:v>
                </c:pt>
                <c:pt idx="22517">
                  <c:v>21.548450722465091</c:v>
                </c:pt>
                <c:pt idx="22518">
                  <c:v>20.960791724997673</c:v>
                </c:pt>
                <c:pt idx="22519">
                  <c:v>18.027345190004226</c:v>
                </c:pt>
                <c:pt idx="22520">
                  <c:v>18.649289022874623</c:v>
                </c:pt>
                <c:pt idx="22521">
                  <c:v>18.573716865401217</c:v>
                </c:pt>
                <c:pt idx="22522">
                  <c:v>27.785521240887633</c:v>
                </c:pt>
                <c:pt idx="22523">
                  <c:v>29.369761490031348</c:v>
                </c:pt>
                <c:pt idx="22524">
                  <c:v>30.228584377664305</c:v>
                </c:pt>
                <c:pt idx="22525">
                  <c:v>49.674904197281457</c:v>
                </c:pt>
                <c:pt idx="22526">
                  <c:v>19.456786789258327</c:v>
                </c:pt>
                <c:pt idx="22527">
                  <c:v>24.10458137974592</c:v>
                </c:pt>
                <c:pt idx="22528">
                  <c:v>22.98716497294927</c:v>
                </c:pt>
                <c:pt idx="22529">
                  <c:v>21.328352899802056</c:v>
                </c:pt>
                <c:pt idx="22530">
                  <c:v>38.246238251721103</c:v>
                </c:pt>
                <c:pt idx="22531">
                  <c:v>32.45922817533399</c:v>
                </c:pt>
                <c:pt idx="22532">
                  <c:v>26.028039857335301</c:v>
                </c:pt>
                <c:pt idx="22533">
                  <c:v>49.281698971598573</c:v>
                </c:pt>
                <c:pt idx="22534">
                  <c:v>45.414895526571087</c:v>
                </c:pt>
                <c:pt idx="22535">
                  <c:v>35.041612641697249</c:v>
                </c:pt>
                <c:pt idx="22536">
                  <c:v>27.53991904870216</c:v>
                </c:pt>
                <c:pt idx="22537">
                  <c:v>38.69510943685102</c:v>
                </c:pt>
                <c:pt idx="22538">
                  <c:v>25.691145615550326</c:v>
                </c:pt>
                <c:pt idx="22539">
                  <c:v>28.487082743279938</c:v>
                </c:pt>
                <c:pt idx="22540">
                  <c:v>19.491392025263604</c:v>
                </c:pt>
                <c:pt idx="22541">
                  <c:v>21.992513693075988</c:v>
                </c:pt>
                <c:pt idx="22542">
                  <c:v>25.97961413888401</c:v>
                </c:pt>
                <c:pt idx="22543">
                  <c:v>28.036016155416323</c:v>
                </c:pt>
                <c:pt idx="22544">
                  <c:v>48.505756147665785</c:v>
                </c:pt>
                <c:pt idx="22545">
                  <c:v>29.276452408934944</c:v>
                </c:pt>
                <c:pt idx="22546">
                  <c:v>20.734520880766041</c:v>
                </c:pt>
                <c:pt idx="22547">
                  <c:v>17.19603621453512</c:v>
                </c:pt>
                <c:pt idx="22548">
                  <c:v>21.262709136322105</c:v>
                </c:pt>
                <c:pt idx="22549">
                  <c:v>28.266030544499799</c:v>
                </c:pt>
                <c:pt idx="22550">
                  <c:v>29.771867514345082</c:v>
                </c:pt>
                <c:pt idx="22551">
                  <c:v>29.770430390819335</c:v>
                </c:pt>
                <c:pt idx="22552">
                  <c:v>32.111715610666948</c:v>
                </c:pt>
                <c:pt idx="22553">
                  <c:v>22.185958580976553</c:v>
                </c:pt>
                <c:pt idx="22554">
                  <c:v>29.557313958576522</c:v>
                </c:pt>
                <c:pt idx="22555">
                  <c:v>38.645119465146671</c:v>
                </c:pt>
                <c:pt idx="22556">
                  <c:v>27.218821294467801</c:v>
                </c:pt>
                <c:pt idx="22557">
                  <c:v>43.608486998882555</c:v>
                </c:pt>
                <c:pt idx="22558">
                  <c:v>19.609113732033482</c:v>
                </c:pt>
                <c:pt idx="22559">
                  <c:v>28.022748134664109</c:v>
                </c:pt>
                <c:pt idx="22560">
                  <c:v>24.431574956737336</c:v>
                </c:pt>
                <c:pt idx="22561">
                  <c:v>46.78162860846362</c:v>
                </c:pt>
                <c:pt idx="22562">
                  <c:v>27.289476607326925</c:v>
                </c:pt>
                <c:pt idx="22563">
                  <c:v>53.124489191473842</c:v>
                </c:pt>
                <c:pt idx="22564">
                  <c:v>41.02410236346752</c:v>
                </c:pt>
                <c:pt idx="22565">
                  <c:v>48.60521521291912</c:v>
                </c:pt>
                <c:pt idx="22566">
                  <c:v>39.839468629540846</c:v>
                </c:pt>
                <c:pt idx="22567">
                  <c:v>43.559125119285987</c:v>
                </c:pt>
                <c:pt idx="22568">
                  <c:v>28.520206123023975</c:v>
                </c:pt>
                <c:pt idx="22569">
                  <c:v>21.436446403642829</c:v>
                </c:pt>
                <c:pt idx="22570">
                  <c:v>32.510678005399051</c:v>
                </c:pt>
                <c:pt idx="22571">
                  <c:v>38.020721441952887</c:v>
                </c:pt>
                <c:pt idx="22572">
                  <c:v>47.019549367229033</c:v>
                </c:pt>
                <c:pt idx="22573">
                  <c:v>40.064979472707236</c:v>
                </c:pt>
                <c:pt idx="22574">
                  <c:v>19.529594880070263</c:v>
                </c:pt>
                <c:pt idx="22575">
                  <c:v>60.499288962504963</c:v>
                </c:pt>
                <c:pt idx="22576">
                  <c:v>24.351951971451161</c:v>
                </c:pt>
                <c:pt idx="22577">
                  <c:v>23.356716474547888</c:v>
                </c:pt>
                <c:pt idx="22578">
                  <c:v>50.005350781784713</c:v>
                </c:pt>
                <c:pt idx="22579">
                  <c:v>54.111486840068487</c:v>
                </c:pt>
                <c:pt idx="22580">
                  <c:v>32.849036506429144</c:v>
                </c:pt>
                <c:pt idx="22581">
                  <c:v>59.358908435371966</c:v>
                </c:pt>
                <c:pt idx="22582">
                  <c:v>22.310921649183495</c:v>
                </c:pt>
                <c:pt idx="22583">
                  <c:v>43.635777126765873</c:v>
                </c:pt>
                <c:pt idx="22584">
                  <c:v>23.000821173840631</c:v>
                </c:pt>
                <c:pt idx="22585">
                  <c:v>26.863949668180069</c:v>
                </c:pt>
                <c:pt idx="22586">
                  <c:v>46.666367089036534</c:v>
                </c:pt>
                <c:pt idx="22587">
                  <c:v>23.305802235468043</c:v>
                </c:pt>
                <c:pt idx="22588">
                  <c:v>22.010208568129435</c:v>
                </c:pt>
                <c:pt idx="22589">
                  <c:v>20.992969774142253</c:v>
                </c:pt>
                <c:pt idx="22590">
                  <c:v>42.056196391357247</c:v>
                </c:pt>
                <c:pt idx="22591">
                  <c:v>20.237062853924549</c:v>
                </c:pt>
                <c:pt idx="22592">
                  <c:v>30.08009643310535</c:v>
                </c:pt>
                <c:pt idx="22593">
                  <c:v>27.447314098387452</c:v>
                </c:pt>
                <c:pt idx="22594">
                  <c:v>24.51297660618356</c:v>
                </c:pt>
                <c:pt idx="22595">
                  <c:v>28.068036426983749</c:v>
                </c:pt>
                <c:pt idx="22596">
                  <c:v>38.379718564098397</c:v>
                </c:pt>
                <c:pt idx="22597">
                  <c:v>23.644900998057807</c:v>
                </c:pt>
                <c:pt idx="22598">
                  <c:v>40.716206525031843</c:v>
                </c:pt>
                <c:pt idx="22599">
                  <c:v>37.431389689017045</c:v>
                </c:pt>
                <c:pt idx="22600">
                  <c:v>32.894031671885401</c:v>
                </c:pt>
                <c:pt idx="22601">
                  <c:v>26.098600102022086</c:v>
                </c:pt>
                <c:pt idx="22602">
                  <c:v>36.760944585873858</c:v>
                </c:pt>
                <c:pt idx="22603">
                  <c:v>29.189915863869579</c:v>
                </c:pt>
                <c:pt idx="22604">
                  <c:v>27.973984743884635</c:v>
                </c:pt>
                <c:pt idx="22605">
                  <c:v>45.617949418609427</c:v>
                </c:pt>
                <c:pt idx="22606">
                  <c:v>22.164851566368583</c:v>
                </c:pt>
                <c:pt idx="22607">
                  <c:v>25.431702171452201</c:v>
                </c:pt>
                <c:pt idx="22608">
                  <c:v>23.760322857556538</c:v>
                </c:pt>
                <c:pt idx="22609">
                  <c:v>13.595224208591102</c:v>
                </c:pt>
                <c:pt idx="22610">
                  <c:v>29.747472281237577</c:v>
                </c:pt>
                <c:pt idx="22611">
                  <c:v>51.567246813872693</c:v>
                </c:pt>
                <c:pt idx="22612">
                  <c:v>23.478427394670362</c:v>
                </c:pt>
                <c:pt idx="22613">
                  <c:v>25.042896531451138</c:v>
                </c:pt>
                <c:pt idx="22614">
                  <c:v>33.093757456444067</c:v>
                </c:pt>
                <c:pt idx="22615">
                  <c:v>31.983289556065156</c:v>
                </c:pt>
                <c:pt idx="22616">
                  <c:v>40.401170747275515</c:v>
                </c:pt>
                <c:pt idx="22617">
                  <c:v>20.801932465574602</c:v>
                </c:pt>
                <c:pt idx="22618">
                  <c:v>31.831411212820555</c:v>
                </c:pt>
                <c:pt idx="22619">
                  <c:v>28.426139583213931</c:v>
                </c:pt>
                <c:pt idx="22620">
                  <c:v>27.49912673815005</c:v>
                </c:pt>
                <c:pt idx="22621">
                  <c:v>18.486405618792105</c:v>
                </c:pt>
                <c:pt idx="22622">
                  <c:v>23.98722908956902</c:v>
                </c:pt>
                <c:pt idx="22623">
                  <c:v>35.169163824267137</c:v>
                </c:pt>
                <c:pt idx="22624">
                  <c:v>32.414269501662019</c:v>
                </c:pt>
                <c:pt idx="22625">
                  <c:v>20.222145228629849</c:v>
                </c:pt>
                <c:pt idx="22626">
                  <c:v>47.647686872650453</c:v>
                </c:pt>
                <c:pt idx="22627">
                  <c:v>23.829244741380201</c:v>
                </c:pt>
                <c:pt idx="22628">
                  <c:v>21.036692972690467</c:v>
                </c:pt>
                <c:pt idx="22629">
                  <c:v>37.890926658342103</c:v>
                </c:pt>
                <c:pt idx="22630">
                  <c:v>23.546409623242113</c:v>
                </c:pt>
                <c:pt idx="22631">
                  <c:v>14.668659198182766</c:v>
                </c:pt>
                <c:pt idx="22632">
                  <c:v>46.163001698997562</c:v>
                </c:pt>
                <c:pt idx="22633">
                  <c:v>18.954202525045559</c:v>
                </c:pt>
                <c:pt idx="22634">
                  <c:v>29.940125280858549</c:v>
                </c:pt>
                <c:pt idx="22635">
                  <c:v>40.958041934450407</c:v>
                </c:pt>
                <c:pt idx="22636">
                  <c:v>26.168563986573119</c:v>
                </c:pt>
                <c:pt idx="22637">
                  <c:v>49.389291668066008</c:v>
                </c:pt>
                <c:pt idx="22638">
                  <c:v>27.325974312115715</c:v>
                </c:pt>
                <c:pt idx="22639">
                  <c:v>30.54790761819979</c:v>
                </c:pt>
                <c:pt idx="22640">
                  <c:v>24.818558303245439</c:v>
                </c:pt>
                <c:pt idx="22641">
                  <c:v>42.154320610085342</c:v>
                </c:pt>
                <c:pt idx="22642">
                  <c:v>23.173932932066911</c:v>
                </c:pt>
                <c:pt idx="22643">
                  <c:v>29.808590504581446</c:v>
                </c:pt>
                <c:pt idx="22644">
                  <c:v>24.577068013372863</c:v>
                </c:pt>
                <c:pt idx="22645">
                  <c:v>54.121844228781583</c:v>
                </c:pt>
                <c:pt idx="22646">
                  <c:v>44.961374797513898</c:v>
                </c:pt>
                <c:pt idx="22647">
                  <c:v>30.840741841161979</c:v>
                </c:pt>
                <c:pt idx="22648">
                  <c:v>26.977242513857739</c:v>
                </c:pt>
                <c:pt idx="22649">
                  <c:v>45.185620668445296</c:v>
                </c:pt>
                <c:pt idx="22650">
                  <c:v>33.729039283924379</c:v>
                </c:pt>
                <c:pt idx="22651">
                  <c:v>20.021022170770102</c:v>
                </c:pt>
                <c:pt idx="22652">
                  <c:v>27.263185001350976</c:v>
                </c:pt>
                <c:pt idx="22653">
                  <c:v>34.50651636469297</c:v>
                </c:pt>
                <c:pt idx="22654">
                  <c:v>28.811422139164353</c:v>
                </c:pt>
                <c:pt idx="22655">
                  <c:v>47.977804897494934</c:v>
                </c:pt>
                <c:pt idx="22656">
                  <c:v>28.416949025404019</c:v>
                </c:pt>
                <c:pt idx="22657">
                  <c:v>22.440333497329341</c:v>
                </c:pt>
                <c:pt idx="22658">
                  <c:v>28.296401878898351</c:v>
                </c:pt>
                <c:pt idx="22659">
                  <c:v>25.030204684118907</c:v>
                </c:pt>
                <c:pt idx="22660">
                  <c:v>27.161052782224246</c:v>
                </c:pt>
                <c:pt idx="22661">
                  <c:v>28.801321597127103</c:v>
                </c:pt>
                <c:pt idx="22662">
                  <c:v>21.541023821389178</c:v>
                </c:pt>
                <c:pt idx="22663">
                  <c:v>25.309629837450252</c:v>
                </c:pt>
                <c:pt idx="22664">
                  <c:v>21.358115286305569</c:v>
                </c:pt>
                <c:pt idx="22665">
                  <c:v>25.59460203695371</c:v>
                </c:pt>
                <c:pt idx="22666">
                  <c:v>45.796726176961222</c:v>
                </c:pt>
                <c:pt idx="22667">
                  <c:v>25.985840431336502</c:v>
                </c:pt>
                <c:pt idx="22668">
                  <c:v>37.057204230183075</c:v>
                </c:pt>
                <c:pt idx="22669">
                  <c:v>23.965835035740806</c:v>
                </c:pt>
                <c:pt idx="22670">
                  <c:v>28.521312162306614</c:v>
                </c:pt>
                <c:pt idx="22671">
                  <c:v>50.433463362917578</c:v>
                </c:pt>
                <c:pt idx="22672">
                  <c:v>43.997704951376868</c:v>
                </c:pt>
                <c:pt idx="22673">
                  <c:v>36.099297333673221</c:v>
                </c:pt>
                <c:pt idx="22674">
                  <c:v>42.174642771333062</c:v>
                </c:pt>
                <c:pt idx="22675">
                  <c:v>23.8896273413907</c:v>
                </c:pt>
                <c:pt idx="22676">
                  <c:v>24.546167599979221</c:v>
                </c:pt>
                <c:pt idx="22677">
                  <c:v>36.844120422018236</c:v>
                </c:pt>
                <c:pt idx="22678">
                  <c:v>31.83835082000455</c:v>
                </c:pt>
                <c:pt idx="22679">
                  <c:v>37.496012634796713</c:v>
                </c:pt>
                <c:pt idx="22680">
                  <c:v>33.504691464445372</c:v>
                </c:pt>
                <c:pt idx="22681">
                  <c:v>24.796638495619714</c:v>
                </c:pt>
                <c:pt idx="22682">
                  <c:v>45.911054241099087</c:v>
                </c:pt>
                <c:pt idx="22683">
                  <c:v>42.73862939795054</c:v>
                </c:pt>
                <c:pt idx="22684">
                  <c:v>31.794136569910851</c:v>
                </c:pt>
                <c:pt idx="22685">
                  <c:v>22.874192979464354</c:v>
                </c:pt>
                <c:pt idx="22686">
                  <c:v>58.301733690921729</c:v>
                </c:pt>
                <c:pt idx="22687">
                  <c:v>30.181172347821484</c:v>
                </c:pt>
                <c:pt idx="22688">
                  <c:v>30.836733458386185</c:v>
                </c:pt>
                <c:pt idx="22689">
                  <c:v>28.428014114478049</c:v>
                </c:pt>
                <c:pt idx="22690">
                  <c:v>41.812894322153888</c:v>
                </c:pt>
                <c:pt idx="22691">
                  <c:v>46.769012341692246</c:v>
                </c:pt>
                <c:pt idx="22692">
                  <c:v>26.003594482876593</c:v>
                </c:pt>
                <c:pt idx="22693">
                  <c:v>22.308110990956866</c:v>
                </c:pt>
                <c:pt idx="22694">
                  <c:v>43.309774620264236</c:v>
                </c:pt>
                <c:pt idx="22695">
                  <c:v>46.039970110758006</c:v>
                </c:pt>
                <c:pt idx="22696">
                  <c:v>53.664397471018603</c:v>
                </c:pt>
                <c:pt idx="22697">
                  <c:v>24.608768062221326</c:v>
                </c:pt>
                <c:pt idx="22698">
                  <c:v>36.94237570841468</c:v>
                </c:pt>
                <c:pt idx="22699">
                  <c:v>45.145378045545982</c:v>
                </c:pt>
                <c:pt idx="22700">
                  <c:v>27.077636707703139</c:v>
                </c:pt>
                <c:pt idx="22701">
                  <c:v>24.804495202718105</c:v>
                </c:pt>
                <c:pt idx="22702">
                  <c:v>20.799039207089443</c:v>
                </c:pt>
                <c:pt idx="22703">
                  <c:v>25.678786510898952</c:v>
                </c:pt>
                <c:pt idx="22704">
                  <c:v>41.674420111734243</c:v>
                </c:pt>
                <c:pt idx="22705">
                  <c:v>25.144921121755708</c:v>
                </c:pt>
                <c:pt idx="22706">
                  <c:v>25.8190288653899</c:v>
                </c:pt>
                <c:pt idx="22707">
                  <c:v>32.422624411925788</c:v>
                </c:pt>
                <c:pt idx="22708">
                  <c:v>47.298948224468369</c:v>
                </c:pt>
                <c:pt idx="22709">
                  <c:v>48.26288332109457</c:v>
                </c:pt>
                <c:pt idx="22710">
                  <c:v>22.520450190230228</c:v>
                </c:pt>
                <c:pt idx="22711">
                  <c:v>42.310413818089899</c:v>
                </c:pt>
                <c:pt idx="22712">
                  <c:v>30.174707612259784</c:v>
                </c:pt>
                <c:pt idx="22713">
                  <c:v>23.169790828610768</c:v>
                </c:pt>
                <c:pt idx="22714">
                  <c:v>24.856026544537173</c:v>
                </c:pt>
                <c:pt idx="22715">
                  <c:v>26.102062757167875</c:v>
                </c:pt>
                <c:pt idx="22716">
                  <c:v>28.834764642847425</c:v>
                </c:pt>
                <c:pt idx="22717">
                  <c:v>27.684934235872159</c:v>
                </c:pt>
                <c:pt idx="22718">
                  <c:v>21.594692924865775</c:v>
                </c:pt>
                <c:pt idx="22719">
                  <c:v>23.371790402962013</c:v>
                </c:pt>
                <c:pt idx="22720">
                  <c:v>26.07501007770961</c:v>
                </c:pt>
                <c:pt idx="22721">
                  <c:v>53.502773430065815</c:v>
                </c:pt>
                <c:pt idx="22722">
                  <c:v>33.551122626556186</c:v>
                </c:pt>
                <c:pt idx="22723">
                  <c:v>28.082724204056088</c:v>
                </c:pt>
                <c:pt idx="22724">
                  <c:v>21.217085872885079</c:v>
                </c:pt>
                <c:pt idx="22725">
                  <c:v>26.066844627157366</c:v>
                </c:pt>
                <c:pt idx="22726">
                  <c:v>28.2982633304971</c:v>
                </c:pt>
                <c:pt idx="22727">
                  <c:v>25.072976053489128</c:v>
                </c:pt>
                <c:pt idx="22728">
                  <c:v>24.330147580404617</c:v>
                </c:pt>
                <c:pt idx="22729">
                  <c:v>22.073680971762105</c:v>
                </c:pt>
                <c:pt idx="22730">
                  <c:v>24.598020341549031</c:v>
                </c:pt>
                <c:pt idx="22731">
                  <c:v>25.658774264178845</c:v>
                </c:pt>
                <c:pt idx="22732">
                  <c:v>48.883188681822688</c:v>
                </c:pt>
                <c:pt idx="22733">
                  <c:v>35.260968607158816</c:v>
                </c:pt>
                <c:pt idx="22734">
                  <c:v>27.667383417749381</c:v>
                </c:pt>
                <c:pt idx="22735">
                  <c:v>28.001930440415812</c:v>
                </c:pt>
                <c:pt idx="22736">
                  <c:v>25.397904028262303</c:v>
                </c:pt>
                <c:pt idx="22737">
                  <c:v>34.417661703839073</c:v>
                </c:pt>
                <c:pt idx="22738">
                  <c:v>30.700873190921566</c:v>
                </c:pt>
                <c:pt idx="22739">
                  <c:v>43.964531520291196</c:v>
                </c:pt>
                <c:pt idx="22740">
                  <c:v>55.299933992379202</c:v>
                </c:pt>
                <c:pt idx="22741">
                  <c:v>27.168508283011377</c:v>
                </c:pt>
                <c:pt idx="22742">
                  <c:v>50.803002347871221</c:v>
                </c:pt>
                <c:pt idx="22743">
                  <c:v>48.321967897212879</c:v>
                </c:pt>
                <c:pt idx="22744">
                  <c:v>28.467611850853181</c:v>
                </c:pt>
                <c:pt idx="22745">
                  <c:v>27.700175673307037</c:v>
                </c:pt>
                <c:pt idx="22746">
                  <c:v>21.807060841718801</c:v>
                </c:pt>
                <c:pt idx="22747">
                  <c:v>29.517500863816213</c:v>
                </c:pt>
                <c:pt idx="22748">
                  <c:v>36.760885299804592</c:v>
                </c:pt>
                <c:pt idx="22749">
                  <c:v>45.524890417222778</c:v>
                </c:pt>
                <c:pt idx="22750">
                  <c:v>28.387579357308457</c:v>
                </c:pt>
                <c:pt idx="22751">
                  <c:v>36.547188278394287</c:v>
                </c:pt>
                <c:pt idx="22752">
                  <c:v>26.746899855153991</c:v>
                </c:pt>
                <c:pt idx="22753">
                  <c:v>48.537759591515261</c:v>
                </c:pt>
                <c:pt idx="22754">
                  <c:v>36.967127846670373</c:v>
                </c:pt>
                <c:pt idx="22755">
                  <c:v>30.178443978864493</c:v>
                </c:pt>
                <c:pt idx="22756">
                  <c:v>18.475579035522962</c:v>
                </c:pt>
                <c:pt idx="22757">
                  <c:v>28.519572395058368</c:v>
                </c:pt>
                <c:pt idx="22758">
                  <c:v>23.032932057310354</c:v>
                </c:pt>
                <c:pt idx="22759">
                  <c:v>27.982613114733841</c:v>
                </c:pt>
                <c:pt idx="22760">
                  <c:v>25.58488005021135</c:v>
                </c:pt>
                <c:pt idx="22761">
                  <c:v>15.491980192736154</c:v>
                </c:pt>
                <c:pt idx="22762">
                  <c:v>29.170314920569307</c:v>
                </c:pt>
                <c:pt idx="22763">
                  <c:v>31.208981078392469</c:v>
                </c:pt>
                <c:pt idx="22764">
                  <c:v>29.875283720751355</c:v>
                </c:pt>
                <c:pt idx="22765">
                  <c:v>27.393052212782742</c:v>
                </c:pt>
                <c:pt idx="22766">
                  <c:v>28.566833095499661</c:v>
                </c:pt>
                <c:pt idx="22767">
                  <c:v>27.97144815952058</c:v>
                </c:pt>
                <c:pt idx="22768">
                  <c:v>27.22407346754154</c:v>
                </c:pt>
                <c:pt idx="22769">
                  <c:v>42.746050775193488</c:v>
                </c:pt>
                <c:pt idx="22770">
                  <c:v>26.393030964650702</c:v>
                </c:pt>
                <c:pt idx="22771">
                  <c:v>45.862521711746552</c:v>
                </c:pt>
                <c:pt idx="22772">
                  <c:v>49.173946804933529</c:v>
                </c:pt>
                <c:pt idx="22773">
                  <c:v>37.665438374310284</c:v>
                </c:pt>
                <c:pt idx="22774">
                  <c:v>25.316468240802003</c:v>
                </c:pt>
                <c:pt idx="22775">
                  <c:v>33.796143117192493</c:v>
                </c:pt>
                <c:pt idx="22776">
                  <c:v>27.574007653932107</c:v>
                </c:pt>
                <c:pt idx="22777">
                  <c:v>40.248686348867643</c:v>
                </c:pt>
                <c:pt idx="22778">
                  <c:v>32.704813871789838</c:v>
                </c:pt>
                <c:pt idx="22779">
                  <c:v>32.62563833301261</c:v>
                </c:pt>
                <c:pt idx="22780">
                  <c:v>26.943069560698703</c:v>
                </c:pt>
                <c:pt idx="22781">
                  <c:v>24.209535129794478</c:v>
                </c:pt>
                <c:pt idx="22782">
                  <c:v>32.758341901951098</c:v>
                </c:pt>
                <c:pt idx="22783">
                  <c:v>25.510977350995034</c:v>
                </c:pt>
                <c:pt idx="22784">
                  <c:v>19.786783756465386</c:v>
                </c:pt>
                <c:pt idx="22785">
                  <c:v>21.663191773064565</c:v>
                </c:pt>
                <c:pt idx="22786">
                  <c:v>28.846297919477241</c:v>
                </c:pt>
                <c:pt idx="22787">
                  <c:v>54.973640800226384</c:v>
                </c:pt>
                <c:pt idx="22788">
                  <c:v>25.835667256916054</c:v>
                </c:pt>
                <c:pt idx="22789">
                  <c:v>38.029215197148638</c:v>
                </c:pt>
                <c:pt idx="22790">
                  <c:v>40.538180129383164</c:v>
                </c:pt>
                <c:pt idx="22791">
                  <c:v>25.048358929212611</c:v>
                </c:pt>
                <c:pt idx="22792">
                  <c:v>23.921652878200895</c:v>
                </c:pt>
                <c:pt idx="22793">
                  <c:v>22.696600773739327</c:v>
                </c:pt>
                <c:pt idx="22794">
                  <c:v>32.825592574402833</c:v>
                </c:pt>
                <c:pt idx="22795">
                  <c:v>29.554214747528071</c:v>
                </c:pt>
                <c:pt idx="22796">
                  <c:v>21.499346476383771</c:v>
                </c:pt>
                <c:pt idx="22797">
                  <c:v>17.956763649835402</c:v>
                </c:pt>
                <c:pt idx="22798">
                  <c:v>24.464632358007989</c:v>
                </c:pt>
                <c:pt idx="22799">
                  <c:v>37.547890265399154</c:v>
                </c:pt>
                <c:pt idx="22800">
                  <c:v>23.967019982119311</c:v>
                </c:pt>
                <c:pt idx="22801">
                  <c:v>27.159733359444886</c:v>
                </c:pt>
                <c:pt idx="22802">
                  <c:v>29.657704822594191</c:v>
                </c:pt>
                <c:pt idx="22803">
                  <c:v>31.865148136792421</c:v>
                </c:pt>
                <c:pt idx="22804">
                  <c:v>43.210084809052297</c:v>
                </c:pt>
                <c:pt idx="22805">
                  <c:v>34.366044234944525</c:v>
                </c:pt>
                <c:pt idx="22806">
                  <c:v>31.753274146663294</c:v>
                </c:pt>
                <c:pt idx="22807">
                  <c:v>25.53709489354161</c:v>
                </c:pt>
                <c:pt idx="22808">
                  <c:v>29.772523549960294</c:v>
                </c:pt>
                <c:pt idx="22809">
                  <c:v>45.347050386090146</c:v>
                </c:pt>
                <c:pt idx="22810">
                  <c:v>29.247472691884671</c:v>
                </c:pt>
                <c:pt idx="22811">
                  <c:v>47.259548701573465</c:v>
                </c:pt>
                <c:pt idx="22812">
                  <c:v>27.346787227858247</c:v>
                </c:pt>
                <c:pt idx="22813">
                  <c:v>22.975305160245025</c:v>
                </c:pt>
                <c:pt idx="22814">
                  <c:v>22.869412175187986</c:v>
                </c:pt>
                <c:pt idx="22815">
                  <c:v>54.802138351892651</c:v>
                </c:pt>
                <c:pt idx="22816">
                  <c:v>28.269950671004558</c:v>
                </c:pt>
                <c:pt idx="22817">
                  <c:v>43.479256429658214</c:v>
                </c:pt>
                <c:pt idx="22818">
                  <c:v>38.398633614648602</c:v>
                </c:pt>
                <c:pt idx="22819">
                  <c:v>27.545685080995323</c:v>
                </c:pt>
                <c:pt idx="22820">
                  <c:v>21.456791639326326</c:v>
                </c:pt>
                <c:pt idx="22821">
                  <c:v>43.255189978114579</c:v>
                </c:pt>
                <c:pt idx="22822">
                  <c:v>48.65615842870843</c:v>
                </c:pt>
                <c:pt idx="22823">
                  <c:v>28.756674407925964</c:v>
                </c:pt>
                <c:pt idx="22824">
                  <c:v>23.416046644210905</c:v>
                </c:pt>
                <c:pt idx="22825">
                  <c:v>23.730388382368126</c:v>
                </c:pt>
                <c:pt idx="22826">
                  <c:v>35.389565846095486</c:v>
                </c:pt>
                <c:pt idx="22827">
                  <c:v>28.915306248781931</c:v>
                </c:pt>
                <c:pt idx="22828">
                  <c:v>32.592668976127484</c:v>
                </c:pt>
                <c:pt idx="22829">
                  <c:v>34.720835071518628</c:v>
                </c:pt>
                <c:pt idx="22830">
                  <c:v>30.501122416941211</c:v>
                </c:pt>
                <c:pt idx="22831">
                  <c:v>35.916762363179672</c:v>
                </c:pt>
                <c:pt idx="22832">
                  <c:v>22.897978900063148</c:v>
                </c:pt>
                <c:pt idx="22833">
                  <c:v>45.72508421133756</c:v>
                </c:pt>
                <c:pt idx="22834">
                  <c:v>31.258509084104162</c:v>
                </c:pt>
                <c:pt idx="22835">
                  <c:v>14.85537943671803</c:v>
                </c:pt>
                <c:pt idx="22836">
                  <c:v>24.473901396500857</c:v>
                </c:pt>
                <c:pt idx="22837">
                  <c:v>43.913229099171751</c:v>
                </c:pt>
                <c:pt idx="22838">
                  <c:v>24.807362734443426</c:v>
                </c:pt>
                <c:pt idx="22839">
                  <c:v>27.211955824984003</c:v>
                </c:pt>
                <c:pt idx="22840">
                  <c:v>30.022715573475882</c:v>
                </c:pt>
                <c:pt idx="22841">
                  <c:v>27.026349719840908</c:v>
                </c:pt>
                <c:pt idx="22842">
                  <c:v>25.906948297340207</c:v>
                </c:pt>
                <c:pt idx="22843">
                  <c:v>33.261288952962133</c:v>
                </c:pt>
                <c:pt idx="22844">
                  <c:v>33.125055231342941</c:v>
                </c:pt>
                <c:pt idx="22845">
                  <c:v>38.531479819541701</c:v>
                </c:pt>
                <c:pt idx="22846">
                  <c:v>18.734576525643561</c:v>
                </c:pt>
                <c:pt idx="22847">
                  <c:v>33.675612419706027</c:v>
                </c:pt>
                <c:pt idx="22848">
                  <c:v>46.932133934764529</c:v>
                </c:pt>
                <c:pt idx="22849">
                  <c:v>30.049165572286149</c:v>
                </c:pt>
                <c:pt idx="22850">
                  <c:v>25.147388761151259</c:v>
                </c:pt>
                <c:pt idx="22851">
                  <c:v>23.369692307897932</c:v>
                </c:pt>
                <c:pt idx="22852">
                  <c:v>29.510661524035044</c:v>
                </c:pt>
                <c:pt idx="22853">
                  <c:v>31.044930068474571</c:v>
                </c:pt>
                <c:pt idx="22854">
                  <c:v>22.237215707819036</c:v>
                </c:pt>
                <c:pt idx="22855">
                  <c:v>22.954470538601278</c:v>
                </c:pt>
                <c:pt idx="22856">
                  <c:v>24.709169999272454</c:v>
                </c:pt>
                <c:pt idx="22857">
                  <c:v>22.116461884481652</c:v>
                </c:pt>
                <c:pt idx="22858">
                  <c:v>22.15443966043436</c:v>
                </c:pt>
                <c:pt idx="22859">
                  <c:v>28.785025615232311</c:v>
                </c:pt>
                <c:pt idx="22860">
                  <c:v>22.227377885425689</c:v>
                </c:pt>
                <c:pt idx="22861">
                  <c:v>30.178898850548379</c:v>
                </c:pt>
                <c:pt idx="22862">
                  <c:v>21.604000937275146</c:v>
                </c:pt>
                <c:pt idx="22863">
                  <c:v>28.95132571756929</c:v>
                </c:pt>
                <c:pt idx="22864">
                  <c:v>25.620840749528647</c:v>
                </c:pt>
                <c:pt idx="22865">
                  <c:v>42.709988748736329</c:v>
                </c:pt>
                <c:pt idx="22866">
                  <c:v>23.543858266366804</c:v>
                </c:pt>
                <c:pt idx="22867">
                  <c:v>24.942009064088186</c:v>
                </c:pt>
                <c:pt idx="22868">
                  <c:v>33.760935287234247</c:v>
                </c:pt>
                <c:pt idx="22869">
                  <c:v>50.594007162446324</c:v>
                </c:pt>
                <c:pt idx="22870">
                  <c:v>39.688244579919044</c:v>
                </c:pt>
                <c:pt idx="22871">
                  <c:v>38.948424638450533</c:v>
                </c:pt>
                <c:pt idx="22872">
                  <c:v>28.216973610794923</c:v>
                </c:pt>
                <c:pt idx="22873">
                  <c:v>21.394965585072711</c:v>
                </c:pt>
                <c:pt idx="22874">
                  <c:v>20.959998018132261</c:v>
                </c:pt>
                <c:pt idx="22875">
                  <c:v>25.415747896773869</c:v>
                </c:pt>
                <c:pt idx="22876">
                  <c:v>27.738769878130501</c:v>
                </c:pt>
                <c:pt idx="22877">
                  <c:v>43.656713053292179</c:v>
                </c:pt>
                <c:pt idx="22878">
                  <c:v>25.666032436471312</c:v>
                </c:pt>
                <c:pt idx="22879">
                  <c:v>34.130569938641294</c:v>
                </c:pt>
                <c:pt idx="22880">
                  <c:v>16.466358694085127</c:v>
                </c:pt>
                <c:pt idx="22881">
                  <c:v>54.330022676241718</c:v>
                </c:pt>
                <c:pt idx="22882">
                  <c:v>23.834427186957022</c:v>
                </c:pt>
                <c:pt idx="22883">
                  <c:v>25.211088621995906</c:v>
                </c:pt>
                <c:pt idx="22884">
                  <c:v>31.965417944117675</c:v>
                </c:pt>
                <c:pt idx="22885">
                  <c:v>27.589300394693581</c:v>
                </c:pt>
                <c:pt idx="22886">
                  <c:v>30.33823768923633</c:v>
                </c:pt>
                <c:pt idx="22887">
                  <c:v>27.641812407875626</c:v>
                </c:pt>
                <c:pt idx="22888">
                  <c:v>44.777117499077086</c:v>
                </c:pt>
                <c:pt idx="22889">
                  <c:v>45.531078413177291</c:v>
                </c:pt>
                <c:pt idx="22890">
                  <c:v>38.729311535121198</c:v>
                </c:pt>
                <c:pt idx="22891">
                  <c:v>51.066211320266973</c:v>
                </c:pt>
                <c:pt idx="22892">
                  <c:v>24.054200731463649</c:v>
                </c:pt>
                <c:pt idx="22893">
                  <c:v>24.872517848752238</c:v>
                </c:pt>
                <c:pt idx="22894">
                  <c:v>29.818227754179983</c:v>
                </c:pt>
                <c:pt idx="22895">
                  <c:v>26.492709872844447</c:v>
                </c:pt>
                <c:pt idx="22896">
                  <c:v>25.633111988829977</c:v>
                </c:pt>
                <c:pt idx="22897">
                  <c:v>30.646670140324691</c:v>
                </c:pt>
                <c:pt idx="22898">
                  <c:v>30.831398330725698</c:v>
                </c:pt>
                <c:pt idx="22899">
                  <c:v>25.803690440067889</c:v>
                </c:pt>
                <c:pt idx="22900">
                  <c:v>13.24249178426264</c:v>
                </c:pt>
                <c:pt idx="22901">
                  <c:v>24.612920333213449</c:v>
                </c:pt>
                <c:pt idx="22902">
                  <c:v>37.70685411008472</c:v>
                </c:pt>
                <c:pt idx="22903">
                  <c:v>35.063341750686426</c:v>
                </c:pt>
                <c:pt idx="22904">
                  <c:v>44.234115603318116</c:v>
                </c:pt>
                <c:pt idx="22905">
                  <c:v>49.190065042077634</c:v>
                </c:pt>
                <c:pt idx="22906">
                  <c:v>27.608830891539011</c:v>
                </c:pt>
                <c:pt idx="22907">
                  <c:v>34.044929722152027</c:v>
                </c:pt>
                <c:pt idx="22908">
                  <c:v>49.010330014764698</c:v>
                </c:pt>
                <c:pt idx="22909">
                  <c:v>35.696011076237312</c:v>
                </c:pt>
                <c:pt idx="22910">
                  <c:v>27.528622638618231</c:v>
                </c:pt>
                <c:pt idx="22911">
                  <c:v>29.417730809820878</c:v>
                </c:pt>
                <c:pt idx="22912">
                  <c:v>23.6116858967764</c:v>
                </c:pt>
                <c:pt idx="22913">
                  <c:v>56.483669865437335</c:v>
                </c:pt>
                <c:pt idx="22914">
                  <c:v>27.798686611030874</c:v>
                </c:pt>
                <c:pt idx="22915">
                  <c:v>29.000276941595835</c:v>
                </c:pt>
                <c:pt idx="22916">
                  <c:v>27.994922884290776</c:v>
                </c:pt>
                <c:pt idx="22917">
                  <c:v>42.641453931964243</c:v>
                </c:pt>
                <c:pt idx="22918">
                  <c:v>24.556580156915668</c:v>
                </c:pt>
                <c:pt idx="22919">
                  <c:v>50.064464267258543</c:v>
                </c:pt>
                <c:pt idx="22920">
                  <c:v>19.878919376697844</c:v>
                </c:pt>
                <c:pt idx="22921">
                  <c:v>39.072190493918413</c:v>
                </c:pt>
                <c:pt idx="22922">
                  <c:v>23.201036434333538</c:v>
                </c:pt>
                <c:pt idx="22923">
                  <c:v>43.150051964247233</c:v>
                </c:pt>
                <c:pt idx="22924">
                  <c:v>27.436820184488589</c:v>
                </c:pt>
                <c:pt idx="22925">
                  <c:v>51.146883710692698</c:v>
                </c:pt>
                <c:pt idx="22926">
                  <c:v>38.012948280664133</c:v>
                </c:pt>
                <c:pt idx="22927">
                  <c:v>32.723678413481608</c:v>
                </c:pt>
                <c:pt idx="22928">
                  <c:v>27.213184961350468</c:v>
                </c:pt>
                <c:pt idx="22929">
                  <c:v>22.951721609766363</c:v>
                </c:pt>
                <c:pt idx="22930">
                  <c:v>36.499023588729187</c:v>
                </c:pt>
                <c:pt idx="22931">
                  <c:v>25.665875144345016</c:v>
                </c:pt>
                <c:pt idx="22932">
                  <c:v>47.4837354876204</c:v>
                </c:pt>
                <c:pt idx="22933">
                  <c:v>35.362825603289437</c:v>
                </c:pt>
                <c:pt idx="22934">
                  <c:v>27.760504572795977</c:v>
                </c:pt>
                <c:pt idx="22935">
                  <c:v>34.821596216712237</c:v>
                </c:pt>
                <c:pt idx="22936">
                  <c:v>25.846867622757223</c:v>
                </c:pt>
                <c:pt idx="22937">
                  <c:v>27.057432895482815</c:v>
                </c:pt>
                <c:pt idx="22938">
                  <c:v>32.525503584654764</c:v>
                </c:pt>
                <c:pt idx="22939">
                  <c:v>25.618667201150025</c:v>
                </c:pt>
                <c:pt idx="22940">
                  <c:v>20.104555812043383</c:v>
                </c:pt>
                <c:pt idx="22941">
                  <c:v>41.408594764599961</c:v>
                </c:pt>
                <c:pt idx="22942">
                  <c:v>36.334455002082819</c:v>
                </c:pt>
                <c:pt idx="22943">
                  <c:v>31.069250767654875</c:v>
                </c:pt>
                <c:pt idx="22944">
                  <c:v>50.028643479384641</c:v>
                </c:pt>
                <c:pt idx="22945">
                  <c:v>23.472947143230535</c:v>
                </c:pt>
                <c:pt idx="22946">
                  <c:v>41.18944156214701</c:v>
                </c:pt>
                <c:pt idx="22947">
                  <c:v>24.874135438421479</c:v>
                </c:pt>
                <c:pt idx="22948">
                  <c:v>34.531866211757553</c:v>
                </c:pt>
                <c:pt idx="22949">
                  <c:v>38.251402967403671</c:v>
                </c:pt>
                <c:pt idx="22950">
                  <c:v>52.179521678523543</c:v>
                </c:pt>
                <c:pt idx="22951">
                  <c:v>25.627099735575822</c:v>
                </c:pt>
                <c:pt idx="22952">
                  <c:v>23.03045761061588</c:v>
                </c:pt>
                <c:pt idx="22953">
                  <c:v>61.673051935657725</c:v>
                </c:pt>
                <c:pt idx="22954">
                  <c:v>20.127244111679953</c:v>
                </c:pt>
                <c:pt idx="22955">
                  <c:v>43.103384432351184</c:v>
                </c:pt>
                <c:pt idx="22956">
                  <c:v>47.430981673123455</c:v>
                </c:pt>
                <c:pt idx="22957">
                  <c:v>27.353868138488277</c:v>
                </c:pt>
                <c:pt idx="22958">
                  <c:v>43.493269509602655</c:v>
                </c:pt>
                <c:pt idx="22959">
                  <c:v>39.830372338351992</c:v>
                </c:pt>
                <c:pt idx="22960">
                  <c:v>26.445375436048948</c:v>
                </c:pt>
                <c:pt idx="22961">
                  <c:v>26.506771568754804</c:v>
                </c:pt>
                <c:pt idx="22962">
                  <c:v>43.336851241939598</c:v>
                </c:pt>
                <c:pt idx="22963">
                  <c:v>50.022613920691725</c:v>
                </c:pt>
                <c:pt idx="22964">
                  <c:v>27.52843841379428</c:v>
                </c:pt>
                <c:pt idx="22965">
                  <c:v>24.45344010161098</c:v>
                </c:pt>
                <c:pt idx="22966">
                  <c:v>20.991000274554551</c:v>
                </c:pt>
                <c:pt idx="22967">
                  <c:v>29.049650844323256</c:v>
                </c:pt>
                <c:pt idx="22968">
                  <c:v>19.845868171700374</c:v>
                </c:pt>
                <c:pt idx="22969">
                  <c:v>18.587746634860885</c:v>
                </c:pt>
                <c:pt idx="22970">
                  <c:v>39.331038075475561</c:v>
                </c:pt>
                <c:pt idx="22971">
                  <c:v>29.48731912152131</c:v>
                </c:pt>
                <c:pt idx="22972">
                  <c:v>47.688488904818286</c:v>
                </c:pt>
                <c:pt idx="22973">
                  <c:v>23.547288731454316</c:v>
                </c:pt>
                <c:pt idx="22974">
                  <c:v>28.469463452044725</c:v>
                </c:pt>
                <c:pt idx="22975">
                  <c:v>30.001402850244901</c:v>
                </c:pt>
                <c:pt idx="22976">
                  <c:v>55.888810329164457</c:v>
                </c:pt>
                <c:pt idx="22977">
                  <c:v>17.842918068312883</c:v>
                </c:pt>
                <c:pt idx="22978">
                  <c:v>42.585331215463789</c:v>
                </c:pt>
                <c:pt idx="22979">
                  <c:v>32.202645423764217</c:v>
                </c:pt>
                <c:pt idx="22980">
                  <c:v>29.250894045066616</c:v>
                </c:pt>
                <c:pt idx="22981">
                  <c:v>36.747031410303336</c:v>
                </c:pt>
                <c:pt idx="22982">
                  <c:v>28.42219659956821</c:v>
                </c:pt>
                <c:pt idx="22983">
                  <c:v>53.242416723921757</c:v>
                </c:pt>
                <c:pt idx="22984">
                  <c:v>23.56516692375288</c:v>
                </c:pt>
                <c:pt idx="22985">
                  <c:v>28.509236469506952</c:v>
                </c:pt>
                <c:pt idx="22986">
                  <c:v>43.032309614776487</c:v>
                </c:pt>
                <c:pt idx="22987">
                  <c:v>28.770163385063082</c:v>
                </c:pt>
                <c:pt idx="22988">
                  <c:v>20.050879734193209</c:v>
                </c:pt>
                <c:pt idx="22989">
                  <c:v>27.610711946246216</c:v>
                </c:pt>
                <c:pt idx="22990">
                  <c:v>20.914196786694461</c:v>
                </c:pt>
                <c:pt idx="22991">
                  <c:v>35.03044905396785</c:v>
                </c:pt>
                <c:pt idx="22992">
                  <c:v>31.376887722050455</c:v>
                </c:pt>
                <c:pt idx="22993">
                  <c:v>20.889499138374642</c:v>
                </c:pt>
                <c:pt idx="22994">
                  <c:v>26.594438521148223</c:v>
                </c:pt>
                <c:pt idx="22995">
                  <c:v>23.083465516138567</c:v>
                </c:pt>
                <c:pt idx="22996">
                  <c:v>26.412996930558666</c:v>
                </c:pt>
                <c:pt idx="22997">
                  <c:v>25.64522838427159</c:v>
                </c:pt>
                <c:pt idx="22998">
                  <c:v>21.555369657510088</c:v>
                </c:pt>
                <c:pt idx="22999">
                  <c:v>42.487768091187654</c:v>
                </c:pt>
                <c:pt idx="23000">
                  <c:v>26.995009874309883</c:v>
                </c:pt>
                <c:pt idx="23001">
                  <c:v>24.108700681343088</c:v>
                </c:pt>
                <c:pt idx="23002">
                  <c:v>25.760896442165034</c:v>
                </c:pt>
                <c:pt idx="23003">
                  <c:v>24.21611460377553</c:v>
                </c:pt>
                <c:pt idx="23004">
                  <c:v>36.348174533043405</c:v>
                </c:pt>
                <c:pt idx="23005">
                  <c:v>24.811166940539003</c:v>
                </c:pt>
                <c:pt idx="23006">
                  <c:v>20.44917061555844</c:v>
                </c:pt>
                <c:pt idx="23007">
                  <c:v>20.684906073257515</c:v>
                </c:pt>
                <c:pt idx="23008">
                  <c:v>47.622100274451981</c:v>
                </c:pt>
                <c:pt idx="23009">
                  <c:v>23.740254953991823</c:v>
                </c:pt>
                <c:pt idx="23010">
                  <c:v>24.332889966012416</c:v>
                </c:pt>
                <c:pt idx="23011">
                  <c:v>25.439371622688331</c:v>
                </c:pt>
                <c:pt idx="23012">
                  <c:v>26.755523826473237</c:v>
                </c:pt>
                <c:pt idx="23013">
                  <c:v>22.768331405615569</c:v>
                </c:pt>
                <c:pt idx="23014">
                  <c:v>30.588756867397489</c:v>
                </c:pt>
                <c:pt idx="23015">
                  <c:v>32.604299289446985</c:v>
                </c:pt>
                <c:pt idx="23016">
                  <c:v>24.390904014057899</c:v>
                </c:pt>
                <c:pt idx="23017">
                  <c:v>35.12589210843344</c:v>
                </c:pt>
                <c:pt idx="23018">
                  <c:v>34.454128574730603</c:v>
                </c:pt>
                <c:pt idx="23019">
                  <c:v>24.28614755257178</c:v>
                </c:pt>
                <c:pt idx="23020">
                  <c:v>24.385935907044459</c:v>
                </c:pt>
                <c:pt idx="23021">
                  <c:v>47.456890921596752</c:v>
                </c:pt>
                <c:pt idx="23022">
                  <c:v>32.499310546733213</c:v>
                </c:pt>
                <c:pt idx="23023">
                  <c:v>21.810025745796739</c:v>
                </c:pt>
                <c:pt idx="23024">
                  <c:v>44.715868626142083</c:v>
                </c:pt>
                <c:pt idx="23025">
                  <c:v>26.863467743432516</c:v>
                </c:pt>
                <c:pt idx="23026">
                  <c:v>29.299034944152964</c:v>
                </c:pt>
                <c:pt idx="23027">
                  <c:v>53.076574414037303</c:v>
                </c:pt>
                <c:pt idx="23028">
                  <c:v>39.125270864327298</c:v>
                </c:pt>
                <c:pt idx="23029">
                  <c:v>28.24401205671295</c:v>
                </c:pt>
                <c:pt idx="23030">
                  <c:v>20.482856685757959</c:v>
                </c:pt>
                <c:pt idx="23031">
                  <c:v>40.014694654314681</c:v>
                </c:pt>
                <c:pt idx="23032">
                  <c:v>33.681332823887146</c:v>
                </c:pt>
                <c:pt idx="23033">
                  <c:v>29.299270451867482</c:v>
                </c:pt>
                <c:pt idx="23034">
                  <c:v>30.211475172501224</c:v>
                </c:pt>
                <c:pt idx="23035">
                  <c:v>39.733671957437167</c:v>
                </c:pt>
                <c:pt idx="23036">
                  <c:v>30.595132230777679</c:v>
                </c:pt>
                <c:pt idx="23037">
                  <c:v>27.306000830752801</c:v>
                </c:pt>
                <c:pt idx="23038">
                  <c:v>21.388621393389553</c:v>
                </c:pt>
                <c:pt idx="23039">
                  <c:v>50.063300413341636</c:v>
                </c:pt>
                <c:pt idx="23040">
                  <c:v>26.850730285220436</c:v>
                </c:pt>
                <c:pt idx="23041">
                  <c:v>48.210345590901852</c:v>
                </c:pt>
                <c:pt idx="23042">
                  <c:v>51.314296260510339</c:v>
                </c:pt>
                <c:pt idx="23043">
                  <c:v>22.866840269578177</c:v>
                </c:pt>
                <c:pt idx="23044">
                  <c:v>29.317319384204833</c:v>
                </c:pt>
                <c:pt idx="23045">
                  <c:v>39.473357946065391</c:v>
                </c:pt>
                <c:pt idx="23046">
                  <c:v>24.36130612433335</c:v>
                </c:pt>
                <c:pt idx="23047">
                  <c:v>23.351872049977441</c:v>
                </c:pt>
                <c:pt idx="23048">
                  <c:v>29.495693792353087</c:v>
                </c:pt>
                <c:pt idx="23049">
                  <c:v>31.118962072629913</c:v>
                </c:pt>
                <c:pt idx="23050">
                  <c:v>25.883948099340817</c:v>
                </c:pt>
                <c:pt idx="23051">
                  <c:v>22.846440092221417</c:v>
                </c:pt>
                <c:pt idx="23052">
                  <c:v>36.409715517252636</c:v>
                </c:pt>
                <c:pt idx="23053">
                  <c:v>24.246144384160242</c:v>
                </c:pt>
                <c:pt idx="23054">
                  <c:v>29.823954539720482</c:v>
                </c:pt>
                <c:pt idx="23055">
                  <c:v>14.489667493667886</c:v>
                </c:pt>
                <c:pt idx="23056">
                  <c:v>28.09183082655866</c:v>
                </c:pt>
                <c:pt idx="23057">
                  <c:v>23.136437084348607</c:v>
                </c:pt>
                <c:pt idx="23058">
                  <c:v>26.734462615236158</c:v>
                </c:pt>
                <c:pt idx="23059">
                  <c:v>23.970980207906869</c:v>
                </c:pt>
                <c:pt idx="23060">
                  <c:v>31.041443255827701</c:v>
                </c:pt>
                <c:pt idx="23061">
                  <c:v>23.439733466424599</c:v>
                </c:pt>
                <c:pt idx="23062">
                  <c:v>23.299493517826903</c:v>
                </c:pt>
                <c:pt idx="23063">
                  <c:v>20.38485537896095</c:v>
                </c:pt>
                <c:pt idx="23064">
                  <c:v>43.391300765107452</c:v>
                </c:pt>
                <c:pt idx="23065">
                  <c:v>33.887981640518568</c:v>
                </c:pt>
                <c:pt idx="23066">
                  <c:v>46.106157952789594</c:v>
                </c:pt>
                <c:pt idx="23067">
                  <c:v>38.890070340672239</c:v>
                </c:pt>
                <c:pt idx="23068">
                  <c:v>18.021179724264165</c:v>
                </c:pt>
                <c:pt idx="23069">
                  <c:v>41.311529973452828</c:v>
                </c:pt>
                <c:pt idx="23070">
                  <c:v>37.22707102424701</c:v>
                </c:pt>
                <c:pt idx="23071">
                  <c:v>31.961744175703895</c:v>
                </c:pt>
                <c:pt idx="23072">
                  <c:v>26.237701484669344</c:v>
                </c:pt>
                <c:pt idx="23073">
                  <c:v>27.883486557353052</c:v>
                </c:pt>
                <c:pt idx="23074">
                  <c:v>25.868015044625569</c:v>
                </c:pt>
                <c:pt idx="23075">
                  <c:v>39.538350782108076</c:v>
                </c:pt>
                <c:pt idx="23076">
                  <c:v>23.982562517898113</c:v>
                </c:pt>
                <c:pt idx="23077">
                  <c:v>21.169954537703298</c:v>
                </c:pt>
                <c:pt idx="23078">
                  <c:v>40.099250104435718</c:v>
                </c:pt>
                <c:pt idx="23079">
                  <c:v>34.468238822205819</c:v>
                </c:pt>
                <c:pt idx="23080">
                  <c:v>17.033458764798389</c:v>
                </c:pt>
                <c:pt idx="23081">
                  <c:v>50.223960653625944</c:v>
                </c:pt>
                <c:pt idx="23082">
                  <c:v>31.364015568935862</c:v>
                </c:pt>
                <c:pt idx="23083">
                  <c:v>46.349277430773256</c:v>
                </c:pt>
                <c:pt idx="23084">
                  <c:v>18.103380094620636</c:v>
                </c:pt>
                <c:pt idx="23085">
                  <c:v>27.2672172110045</c:v>
                </c:pt>
                <c:pt idx="23086">
                  <c:v>28.505157434646506</c:v>
                </c:pt>
                <c:pt idx="23087">
                  <c:v>28.299147467856578</c:v>
                </c:pt>
                <c:pt idx="23088">
                  <c:v>48.587548553108036</c:v>
                </c:pt>
                <c:pt idx="23089">
                  <c:v>28.739369476641414</c:v>
                </c:pt>
                <c:pt idx="23090">
                  <c:v>19.163861555869676</c:v>
                </c:pt>
                <c:pt idx="23091">
                  <c:v>51.917150780537987</c:v>
                </c:pt>
                <c:pt idx="23092">
                  <c:v>35.825874547492475</c:v>
                </c:pt>
                <c:pt idx="23093">
                  <c:v>26.844284737627415</c:v>
                </c:pt>
                <c:pt idx="23094">
                  <c:v>59.222579451834179</c:v>
                </c:pt>
                <c:pt idx="23095">
                  <c:v>44.746633347502822</c:v>
                </c:pt>
                <c:pt idx="23096">
                  <c:v>20.353641440338095</c:v>
                </c:pt>
                <c:pt idx="23097">
                  <c:v>19.906843517615634</c:v>
                </c:pt>
                <c:pt idx="23098">
                  <c:v>27.933910515172311</c:v>
                </c:pt>
                <c:pt idx="23099">
                  <c:v>19.579754869522187</c:v>
                </c:pt>
                <c:pt idx="23100">
                  <c:v>28.173396478106248</c:v>
                </c:pt>
                <c:pt idx="23101">
                  <c:v>24.859300326516298</c:v>
                </c:pt>
                <c:pt idx="23102">
                  <c:v>20.293545430579947</c:v>
                </c:pt>
                <c:pt idx="23103">
                  <c:v>48.941798563319907</c:v>
                </c:pt>
                <c:pt idx="23104">
                  <c:v>32.570761505575568</c:v>
                </c:pt>
                <c:pt idx="23105">
                  <c:v>40.574718134270391</c:v>
                </c:pt>
                <c:pt idx="23106">
                  <c:v>27.384467868081117</c:v>
                </c:pt>
                <c:pt idx="23107">
                  <c:v>23.146521285476531</c:v>
                </c:pt>
                <c:pt idx="23108">
                  <c:v>49.184287035117201</c:v>
                </c:pt>
                <c:pt idx="23109">
                  <c:v>24.377019058081242</c:v>
                </c:pt>
                <c:pt idx="23110">
                  <c:v>21.616875502244767</c:v>
                </c:pt>
                <c:pt idx="23111">
                  <c:v>66.821118486076642</c:v>
                </c:pt>
                <c:pt idx="23112">
                  <c:v>33.030027536342217</c:v>
                </c:pt>
                <c:pt idx="23113">
                  <c:v>24.643666249993224</c:v>
                </c:pt>
                <c:pt idx="23114">
                  <c:v>50.628859462578191</c:v>
                </c:pt>
                <c:pt idx="23115">
                  <c:v>37.214734983913345</c:v>
                </c:pt>
                <c:pt idx="23116">
                  <c:v>27.925571719022049</c:v>
                </c:pt>
                <c:pt idx="23117">
                  <c:v>24.637535885496348</c:v>
                </c:pt>
                <c:pt idx="23118">
                  <c:v>50.132534295044572</c:v>
                </c:pt>
                <c:pt idx="23119">
                  <c:v>47.344800439037812</c:v>
                </c:pt>
                <c:pt idx="23120">
                  <c:v>44.51215738864154</c:v>
                </c:pt>
                <c:pt idx="23121">
                  <c:v>43.360443417298271</c:v>
                </c:pt>
                <c:pt idx="23122">
                  <c:v>28.757536225455723</c:v>
                </c:pt>
                <c:pt idx="23123">
                  <c:v>41.594449387649142</c:v>
                </c:pt>
                <c:pt idx="23124">
                  <c:v>35.960552052244573</c:v>
                </c:pt>
                <c:pt idx="23125">
                  <c:v>50.310452847415256</c:v>
                </c:pt>
                <c:pt idx="23126">
                  <c:v>35.754016016192793</c:v>
                </c:pt>
                <c:pt idx="23127">
                  <c:v>32.136845680157421</c:v>
                </c:pt>
                <c:pt idx="23128">
                  <c:v>31.983188963432362</c:v>
                </c:pt>
                <c:pt idx="23129">
                  <c:v>23.845813926448091</c:v>
                </c:pt>
                <c:pt idx="23130">
                  <c:v>46.345694678029389</c:v>
                </c:pt>
                <c:pt idx="23131">
                  <c:v>27.956356986754027</c:v>
                </c:pt>
                <c:pt idx="23132">
                  <c:v>50.820974911745424</c:v>
                </c:pt>
                <c:pt idx="23133">
                  <c:v>31.709474186337971</c:v>
                </c:pt>
                <c:pt idx="23134">
                  <c:v>17.165587523055329</c:v>
                </c:pt>
                <c:pt idx="23135">
                  <c:v>28.243677912957615</c:v>
                </c:pt>
                <c:pt idx="23136">
                  <c:v>48.346007228416624</c:v>
                </c:pt>
                <c:pt idx="23137">
                  <c:v>60.21078645849348</c:v>
                </c:pt>
                <c:pt idx="23138">
                  <c:v>33.426644120887119</c:v>
                </c:pt>
                <c:pt idx="23139">
                  <c:v>22.719974126805027</c:v>
                </c:pt>
                <c:pt idx="23140">
                  <c:v>24.035916719976054</c:v>
                </c:pt>
                <c:pt idx="23141">
                  <c:v>20.518735737431818</c:v>
                </c:pt>
                <c:pt idx="23142">
                  <c:v>40.013038776993803</c:v>
                </c:pt>
                <c:pt idx="23143">
                  <c:v>26.529468668165386</c:v>
                </c:pt>
                <c:pt idx="23144">
                  <c:v>29.677649718599071</c:v>
                </c:pt>
                <c:pt idx="23145">
                  <c:v>31.895297087643655</c:v>
                </c:pt>
                <c:pt idx="23146">
                  <c:v>51.946222820823067</c:v>
                </c:pt>
                <c:pt idx="23147">
                  <c:v>21.325245485871331</c:v>
                </c:pt>
                <c:pt idx="23148">
                  <c:v>27.425618091200306</c:v>
                </c:pt>
                <c:pt idx="23149">
                  <c:v>22.184952282090915</c:v>
                </c:pt>
                <c:pt idx="23150">
                  <c:v>28.161013526508526</c:v>
                </c:pt>
                <c:pt idx="23151">
                  <c:v>24.364017042128289</c:v>
                </c:pt>
                <c:pt idx="23152">
                  <c:v>30.085038148976075</c:v>
                </c:pt>
                <c:pt idx="23153">
                  <c:v>27.492541820681009</c:v>
                </c:pt>
                <c:pt idx="23154">
                  <c:v>25.878177033070486</c:v>
                </c:pt>
                <c:pt idx="23155">
                  <c:v>32.537002600608936</c:v>
                </c:pt>
                <c:pt idx="23156">
                  <c:v>31.946041934633655</c:v>
                </c:pt>
                <c:pt idx="23157">
                  <c:v>48.300773027092056</c:v>
                </c:pt>
                <c:pt idx="23158">
                  <c:v>25.752998243289923</c:v>
                </c:pt>
                <c:pt idx="23159">
                  <c:v>49.132052980657015</c:v>
                </c:pt>
                <c:pt idx="23160">
                  <c:v>51.391457023691075</c:v>
                </c:pt>
                <c:pt idx="23161">
                  <c:v>41.735875605338279</c:v>
                </c:pt>
                <c:pt idx="23162">
                  <c:v>52.104746287172198</c:v>
                </c:pt>
                <c:pt idx="23163">
                  <c:v>24.621916595789131</c:v>
                </c:pt>
                <c:pt idx="23164">
                  <c:v>23.408483637044704</c:v>
                </c:pt>
                <c:pt idx="23165">
                  <c:v>55.081374366452309</c:v>
                </c:pt>
                <c:pt idx="23166">
                  <c:v>33.193381046856331</c:v>
                </c:pt>
                <c:pt idx="23167">
                  <c:v>29.706637869257385</c:v>
                </c:pt>
                <c:pt idx="23168">
                  <c:v>23.053381977235514</c:v>
                </c:pt>
                <c:pt idx="23169">
                  <c:v>28.006146088685519</c:v>
                </c:pt>
                <c:pt idx="23170">
                  <c:v>19.02690571264543</c:v>
                </c:pt>
                <c:pt idx="23171">
                  <c:v>44.680239339389772</c:v>
                </c:pt>
                <c:pt idx="23172">
                  <c:v>30.613117114623265</c:v>
                </c:pt>
                <c:pt idx="23173">
                  <c:v>30.634730108675267</c:v>
                </c:pt>
                <c:pt idx="23174">
                  <c:v>21.206571460965542</c:v>
                </c:pt>
                <c:pt idx="23175">
                  <c:v>23.215133872175265</c:v>
                </c:pt>
                <c:pt idx="23176">
                  <c:v>25.701009815772402</c:v>
                </c:pt>
                <c:pt idx="23177">
                  <c:v>37.360404232708852</c:v>
                </c:pt>
                <c:pt idx="23178">
                  <c:v>29.139855036675151</c:v>
                </c:pt>
                <c:pt idx="23179">
                  <c:v>28.048317191313256</c:v>
                </c:pt>
                <c:pt idx="23180">
                  <c:v>24.220140504403595</c:v>
                </c:pt>
                <c:pt idx="23181">
                  <c:v>26.443586018234512</c:v>
                </c:pt>
                <c:pt idx="23182">
                  <c:v>28.792533029698948</c:v>
                </c:pt>
                <c:pt idx="23183">
                  <c:v>26.433165128803335</c:v>
                </c:pt>
                <c:pt idx="23184">
                  <c:v>42.783938852354424</c:v>
                </c:pt>
                <c:pt idx="23185">
                  <c:v>17.855739277162911</c:v>
                </c:pt>
                <c:pt idx="23186">
                  <c:v>32.651879438624846</c:v>
                </c:pt>
                <c:pt idx="23187">
                  <c:v>21.755547690241492</c:v>
                </c:pt>
                <c:pt idx="23188">
                  <c:v>43.218469306849606</c:v>
                </c:pt>
                <c:pt idx="23189">
                  <c:v>20.483915251618164</c:v>
                </c:pt>
                <c:pt idx="23190">
                  <c:v>14.119171452874983</c:v>
                </c:pt>
                <c:pt idx="23191">
                  <c:v>27.372806939918142</c:v>
                </c:pt>
                <c:pt idx="23192">
                  <c:v>35.373749225794441</c:v>
                </c:pt>
                <c:pt idx="23193">
                  <c:v>30.059579352932953</c:v>
                </c:pt>
                <c:pt idx="23194">
                  <c:v>25.452260452551364</c:v>
                </c:pt>
                <c:pt idx="23195">
                  <c:v>43.388867600877276</c:v>
                </c:pt>
                <c:pt idx="23196">
                  <c:v>24.95557403797525</c:v>
                </c:pt>
                <c:pt idx="23197">
                  <c:v>41.244406883222695</c:v>
                </c:pt>
                <c:pt idx="23198">
                  <c:v>47.040586013543376</c:v>
                </c:pt>
                <c:pt idx="23199">
                  <c:v>20.161481962970239</c:v>
                </c:pt>
                <c:pt idx="23200">
                  <c:v>41.695708386766277</c:v>
                </c:pt>
                <c:pt idx="23201">
                  <c:v>30.221513862506921</c:v>
                </c:pt>
                <c:pt idx="23202">
                  <c:v>42.281665120790471</c:v>
                </c:pt>
                <c:pt idx="23203">
                  <c:v>17.236231305573394</c:v>
                </c:pt>
                <c:pt idx="23204">
                  <c:v>26.13604358596487</c:v>
                </c:pt>
                <c:pt idx="23205">
                  <c:v>34.909835481118812</c:v>
                </c:pt>
                <c:pt idx="23206">
                  <c:v>24.511067827866285</c:v>
                </c:pt>
                <c:pt idx="23207">
                  <c:v>24.984140528356257</c:v>
                </c:pt>
                <c:pt idx="23208">
                  <c:v>45.255197657568459</c:v>
                </c:pt>
                <c:pt idx="23209">
                  <c:v>39.645048269857895</c:v>
                </c:pt>
                <c:pt idx="23210">
                  <c:v>27.652452449680442</c:v>
                </c:pt>
                <c:pt idx="23211">
                  <c:v>44.050608344016055</c:v>
                </c:pt>
                <c:pt idx="23212">
                  <c:v>26.745324640129201</c:v>
                </c:pt>
                <c:pt idx="23213">
                  <c:v>40.870352897118572</c:v>
                </c:pt>
                <c:pt idx="23214">
                  <c:v>20.221592475697079</c:v>
                </c:pt>
                <c:pt idx="23215">
                  <c:v>29.600066857183549</c:v>
                </c:pt>
                <c:pt idx="23216">
                  <c:v>50.718530856356274</c:v>
                </c:pt>
                <c:pt idx="23217">
                  <c:v>31.216400168687347</c:v>
                </c:pt>
                <c:pt idx="23218">
                  <c:v>51.205523413459019</c:v>
                </c:pt>
                <c:pt idx="23219">
                  <c:v>24.105999448503347</c:v>
                </c:pt>
                <c:pt idx="23220">
                  <c:v>23.651564778609181</c:v>
                </c:pt>
                <c:pt idx="23221">
                  <c:v>40.934242778630349</c:v>
                </c:pt>
                <c:pt idx="23222">
                  <c:v>55.470929220642766</c:v>
                </c:pt>
                <c:pt idx="23223">
                  <c:v>27.029927072145504</c:v>
                </c:pt>
                <c:pt idx="23224">
                  <c:v>23.757239315847976</c:v>
                </c:pt>
                <c:pt idx="23225">
                  <c:v>19.702461231676487</c:v>
                </c:pt>
                <c:pt idx="23226">
                  <c:v>24.51625050413676</c:v>
                </c:pt>
                <c:pt idx="23227">
                  <c:v>32.142905774442944</c:v>
                </c:pt>
                <c:pt idx="23228">
                  <c:v>36.71035560808653</c:v>
                </c:pt>
                <c:pt idx="23229">
                  <c:v>32.945124570029819</c:v>
                </c:pt>
                <c:pt idx="23230">
                  <c:v>40.774178876238814</c:v>
                </c:pt>
                <c:pt idx="23231">
                  <c:v>31.575340750692106</c:v>
                </c:pt>
                <c:pt idx="23232">
                  <c:v>13.146728940652068</c:v>
                </c:pt>
                <c:pt idx="23233">
                  <c:v>27.012208390141218</c:v>
                </c:pt>
                <c:pt idx="23234">
                  <c:v>23.764820457280958</c:v>
                </c:pt>
                <c:pt idx="23235">
                  <c:v>26.63475909068773</c:v>
                </c:pt>
                <c:pt idx="23236">
                  <c:v>48.173351516986784</c:v>
                </c:pt>
                <c:pt idx="23237">
                  <c:v>23.814011683056584</c:v>
                </c:pt>
                <c:pt idx="23238">
                  <c:v>45.694770125879693</c:v>
                </c:pt>
                <c:pt idx="23239">
                  <c:v>23.970566030897203</c:v>
                </c:pt>
                <c:pt idx="23240">
                  <c:v>51.733584366412686</c:v>
                </c:pt>
                <c:pt idx="23241">
                  <c:v>33.518653295064723</c:v>
                </c:pt>
                <c:pt idx="23242">
                  <c:v>24.679607014609367</c:v>
                </c:pt>
                <c:pt idx="23243">
                  <c:v>53.975629480047502</c:v>
                </c:pt>
                <c:pt idx="23244">
                  <c:v>17.86402707999514</c:v>
                </c:pt>
                <c:pt idx="23245">
                  <c:v>25.22667198114382</c:v>
                </c:pt>
                <c:pt idx="23246">
                  <c:v>26.156080683626392</c:v>
                </c:pt>
                <c:pt idx="23247">
                  <c:v>30.361773036805243</c:v>
                </c:pt>
                <c:pt idx="23248">
                  <c:v>22.63715820171139</c:v>
                </c:pt>
                <c:pt idx="23249">
                  <c:v>24.718043545168545</c:v>
                </c:pt>
                <c:pt idx="23250">
                  <c:v>25.469050498453782</c:v>
                </c:pt>
                <c:pt idx="23251">
                  <c:v>27.22106115956381</c:v>
                </c:pt>
                <c:pt idx="23252">
                  <c:v>26.037279451650033</c:v>
                </c:pt>
                <c:pt idx="23253">
                  <c:v>36.83361018123243</c:v>
                </c:pt>
                <c:pt idx="23254">
                  <c:v>29.330721921244326</c:v>
                </c:pt>
                <c:pt idx="23255">
                  <c:v>32.692757903955041</c:v>
                </c:pt>
                <c:pt idx="23256">
                  <c:v>31.427326432567845</c:v>
                </c:pt>
                <c:pt idx="23257">
                  <c:v>16.892426171353783</c:v>
                </c:pt>
                <c:pt idx="23258">
                  <c:v>29.184833021873718</c:v>
                </c:pt>
                <c:pt idx="23259">
                  <c:v>28.183660574623339</c:v>
                </c:pt>
                <c:pt idx="23260">
                  <c:v>30.786348152825148</c:v>
                </c:pt>
                <c:pt idx="23261">
                  <c:v>35.441044879438351</c:v>
                </c:pt>
                <c:pt idx="23262">
                  <c:v>44.475632372816506</c:v>
                </c:pt>
                <c:pt idx="23263">
                  <c:v>35.05712583764403</c:v>
                </c:pt>
                <c:pt idx="23264">
                  <c:v>30.526811528357733</c:v>
                </c:pt>
                <c:pt idx="23265">
                  <c:v>20.787565440409832</c:v>
                </c:pt>
                <c:pt idx="23266">
                  <c:v>26.660109553352711</c:v>
                </c:pt>
                <c:pt idx="23267">
                  <c:v>43.84386909302809</c:v>
                </c:pt>
                <c:pt idx="23268">
                  <c:v>25.302519336728121</c:v>
                </c:pt>
                <c:pt idx="23269">
                  <c:v>27.052785997621932</c:v>
                </c:pt>
                <c:pt idx="23270">
                  <c:v>23.898649611792223</c:v>
                </c:pt>
                <c:pt idx="23271">
                  <c:v>21.222443843933224</c:v>
                </c:pt>
                <c:pt idx="23272">
                  <c:v>34.413230749865193</c:v>
                </c:pt>
                <c:pt idx="23273">
                  <c:v>34.82292238650215</c:v>
                </c:pt>
                <c:pt idx="23274">
                  <c:v>26.544300405549677</c:v>
                </c:pt>
                <c:pt idx="23275">
                  <c:v>48.181521655704053</c:v>
                </c:pt>
                <c:pt idx="23276">
                  <c:v>24.721173224045174</c:v>
                </c:pt>
                <c:pt idx="23277">
                  <c:v>23.590655878887731</c:v>
                </c:pt>
                <c:pt idx="23278">
                  <c:v>27.986560720344549</c:v>
                </c:pt>
                <c:pt idx="23279">
                  <c:v>28.208139315660588</c:v>
                </c:pt>
                <c:pt idx="23280">
                  <c:v>30.817896517804424</c:v>
                </c:pt>
                <c:pt idx="23281">
                  <c:v>23.137910151346897</c:v>
                </c:pt>
                <c:pt idx="23282">
                  <c:v>25.974455044532363</c:v>
                </c:pt>
                <c:pt idx="23283">
                  <c:v>43.437034519017622</c:v>
                </c:pt>
                <c:pt idx="23284">
                  <c:v>25.874340704731551</c:v>
                </c:pt>
                <c:pt idx="23285">
                  <c:v>32.302236832624189</c:v>
                </c:pt>
                <c:pt idx="23286">
                  <c:v>23.025107245911077</c:v>
                </c:pt>
                <c:pt idx="23287">
                  <c:v>46.791717886709321</c:v>
                </c:pt>
                <c:pt idx="23288">
                  <c:v>22.890042818707315</c:v>
                </c:pt>
                <c:pt idx="23289">
                  <c:v>26.051019690775203</c:v>
                </c:pt>
                <c:pt idx="23290">
                  <c:v>24.75232340259543</c:v>
                </c:pt>
                <c:pt idx="23291">
                  <c:v>50.505804716478266</c:v>
                </c:pt>
                <c:pt idx="23292">
                  <c:v>37.971802954276583</c:v>
                </c:pt>
                <c:pt idx="23293">
                  <c:v>27.759763824208257</c:v>
                </c:pt>
                <c:pt idx="23294">
                  <c:v>26.513345105508371</c:v>
                </c:pt>
                <c:pt idx="23295">
                  <c:v>49.457549669756574</c:v>
                </c:pt>
                <c:pt idx="23296">
                  <c:v>22.432380488866876</c:v>
                </c:pt>
                <c:pt idx="23297">
                  <c:v>18.666389347057997</c:v>
                </c:pt>
                <c:pt idx="23298">
                  <c:v>51.189897097356834</c:v>
                </c:pt>
                <c:pt idx="23299">
                  <c:v>25.581510230622332</c:v>
                </c:pt>
                <c:pt idx="23300">
                  <c:v>44.023622316645266</c:v>
                </c:pt>
                <c:pt idx="23301">
                  <c:v>22.89319835795699</c:v>
                </c:pt>
                <c:pt idx="23302">
                  <c:v>33.264436803879875</c:v>
                </c:pt>
                <c:pt idx="23303">
                  <c:v>23.72482476613898</c:v>
                </c:pt>
                <c:pt idx="23304">
                  <c:v>25.488224530019785</c:v>
                </c:pt>
                <c:pt idx="23305">
                  <c:v>25.742559157136352</c:v>
                </c:pt>
                <c:pt idx="23306">
                  <c:v>27.761530223165565</c:v>
                </c:pt>
                <c:pt idx="23307">
                  <c:v>22.789393354339765</c:v>
                </c:pt>
                <c:pt idx="23308">
                  <c:v>33.142085721647597</c:v>
                </c:pt>
                <c:pt idx="23309">
                  <c:v>49.618478261241876</c:v>
                </c:pt>
                <c:pt idx="23310">
                  <c:v>52.651739691947476</c:v>
                </c:pt>
                <c:pt idx="23311">
                  <c:v>22.842136052378933</c:v>
                </c:pt>
                <c:pt idx="23312">
                  <c:v>25.334897940611942</c:v>
                </c:pt>
                <c:pt idx="23313">
                  <c:v>20.887588566649995</c:v>
                </c:pt>
                <c:pt idx="23314">
                  <c:v>34.289873701661307</c:v>
                </c:pt>
                <c:pt idx="23315">
                  <c:v>22.675504703966073</c:v>
                </c:pt>
                <c:pt idx="23316">
                  <c:v>20.656946979555979</c:v>
                </c:pt>
                <c:pt idx="23317">
                  <c:v>24.178746688740148</c:v>
                </c:pt>
                <c:pt idx="23318">
                  <c:v>36.259607105905332</c:v>
                </c:pt>
                <c:pt idx="23319">
                  <c:v>51.583992789135493</c:v>
                </c:pt>
                <c:pt idx="23320">
                  <c:v>35.525760999936303</c:v>
                </c:pt>
                <c:pt idx="23321">
                  <c:v>43.134078751130843</c:v>
                </c:pt>
                <c:pt idx="23322">
                  <c:v>30.657386652730775</c:v>
                </c:pt>
                <c:pt idx="23323">
                  <c:v>23.991733993898251</c:v>
                </c:pt>
                <c:pt idx="23324">
                  <c:v>32.72562630382955</c:v>
                </c:pt>
                <c:pt idx="23325">
                  <c:v>57.161268857017362</c:v>
                </c:pt>
                <c:pt idx="23326">
                  <c:v>38.284559040343616</c:v>
                </c:pt>
                <c:pt idx="23327">
                  <c:v>25.734802313279708</c:v>
                </c:pt>
                <c:pt idx="23328">
                  <c:v>18.283464373947389</c:v>
                </c:pt>
                <c:pt idx="23329">
                  <c:v>44.499081775889344</c:v>
                </c:pt>
                <c:pt idx="23330">
                  <c:v>30.125929312966953</c:v>
                </c:pt>
                <c:pt idx="23331">
                  <c:v>27.125924985713542</c:v>
                </c:pt>
                <c:pt idx="23332">
                  <c:v>43.163498583490963</c:v>
                </c:pt>
                <c:pt idx="23333">
                  <c:v>31.595186722228707</c:v>
                </c:pt>
                <c:pt idx="23334">
                  <c:v>32.225626133657016</c:v>
                </c:pt>
                <c:pt idx="23335">
                  <c:v>24.889750484255838</c:v>
                </c:pt>
                <c:pt idx="23336">
                  <c:v>30.373044527482687</c:v>
                </c:pt>
                <c:pt idx="23337">
                  <c:v>18.26489177939369</c:v>
                </c:pt>
                <c:pt idx="23338">
                  <c:v>22.550319709118632</c:v>
                </c:pt>
                <c:pt idx="23339">
                  <c:v>22.608385374301147</c:v>
                </c:pt>
                <c:pt idx="23340">
                  <c:v>28.127857366755038</c:v>
                </c:pt>
                <c:pt idx="23341">
                  <c:v>22.441568754691431</c:v>
                </c:pt>
                <c:pt idx="23342">
                  <c:v>31.817765695198652</c:v>
                </c:pt>
                <c:pt idx="23343">
                  <c:v>23.928747158813785</c:v>
                </c:pt>
                <c:pt idx="23344">
                  <c:v>29.715723410783788</c:v>
                </c:pt>
                <c:pt idx="23345">
                  <c:v>41.474191576522692</c:v>
                </c:pt>
                <c:pt idx="23346">
                  <c:v>49.721122771330343</c:v>
                </c:pt>
                <c:pt idx="23347">
                  <c:v>32.36543159418936</c:v>
                </c:pt>
                <c:pt idx="23348">
                  <c:v>29.102003589546538</c:v>
                </c:pt>
                <c:pt idx="23349">
                  <c:v>34.734255768042615</c:v>
                </c:pt>
                <c:pt idx="23350">
                  <c:v>26.385512685066654</c:v>
                </c:pt>
                <c:pt idx="23351">
                  <c:v>53.855873826616893</c:v>
                </c:pt>
                <c:pt idx="23352">
                  <c:v>27.950369589553077</c:v>
                </c:pt>
                <c:pt idx="23353">
                  <c:v>43.990149951533773</c:v>
                </c:pt>
                <c:pt idx="23354">
                  <c:v>18.941370510754368</c:v>
                </c:pt>
                <c:pt idx="23355">
                  <c:v>34.50667779051107</c:v>
                </c:pt>
                <c:pt idx="23356">
                  <c:v>29.956401017319607</c:v>
                </c:pt>
                <c:pt idx="23357">
                  <c:v>31.161561243665183</c:v>
                </c:pt>
                <c:pt idx="23358">
                  <c:v>19.216033581915788</c:v>
                </c:pt>
                <c:pt idx="23359">
                  <c:v>25.630503976797876</c:v>
                </c:pt>
                <c:pt idx="23360">
                  <c:v>61.036160101692829</c:v>
                </c:pt>
                <c:pt idx="23361">
                  <c:v>39.543763666773444</c:v>
                </c:pt>
                <c:pt idx="23362">
                  <c:v>21.184847140392783</c:v>
                </c:pt>
                <c:pt idx="23363">
                  <c:v>40.804835591741579</c:v>
                </c:pt>
                <c:pt idx="23364">
                  <c:v>24.768511585333691</c:v>
                </c:pt>
                <c:pt idx="23365">
                  <c:v>29.970985960756401</c:v>
                </c:pt>
                <c:pt idx="23366">
                  <c:v>48.744386672624735</c:v>
                </c:pt>
                <c:pt idx="23367">
                  <c:v>31.125912937358368</c:v>
                </c:pt>
                <c:pt idx="23368">
                  <c:v>30.868205775062158</c:v>
                </c:pt>
                <c:pt idx="23369">
                  <c:v>21.033372358871368</c:v>
                </c:pt>
                <c:pt idx="23370">
                  <c:v>27.279735939804695</c:v>
                </c:pt>
                <c:pt idx="23371">
                  <c:v>17.244752220647229</c:v>
                </c:pt>
                <c:pt idx="23372">
                  <c:v>25.581336240505955</c:v>
                </c:pt>
                <c:pt idx="23373">
                  <c:v>27.204340095916429</c:v>
                </c:pt>
                <c:pt idx="23374">
                  <c:v>24.366207727942722</c:v>
                </c:pt>
                <c:pt idx="23375">
                  <c:v>24.588726694276659</c:v>
                </c:pt>
                <c:pt idx="23376">
                  <c:v>26.001568265026176</c:v>
                </c:pt>
                <c:pt idx="23377">
                  <c:v>25.698252148790075</c:v>
                </c:pt>
                <c:pt idx="23378">
                  <c:v>32.774863248076215</c:v>
                </c:pt>
                <c:pt idx="23379">
                  <c:v>29.385077103740421</c:v>
                </c:pt>
                <c:pt idx="23380">
                  <c:v>30.79485281239052</c:v>
                </c:pt>
                <c:pt idx="23381">
                  <c:v>41.28778080084146</c:v>
                </c:pt>
                <c:pt idx="23382">
                  <c:v>29.382530398900624</c:v>
                </c:pt>
                <c:pt idx="23383">
                  <c:v>41.722428334431271</c:v>
                </c:pt>
                <c:pt idx="23384">
                  <c:v>26.29339873618768</c:v>
                </c:pt>
                <c:pt idx="23385">
                  <c:v>29.944539915875929</c:v>
                </c:pt>
                <c:pt idx="23386">
                  <c:v>23.590675905489128</c:v>
                </c:pt>
                <c:pt idx="23387">
                  <c:v>23.840559357929017</c:v>
                </c:pt>
                <c:pt idx="23388">
                  <c:v>24.742038096396055</c:v>
                </c:pt>
                <c:pt idx="23389">
                  <c:v>28.715245388486036</c:v>
                </c:pt>
                <c:pt idx="23390">
                  <c:v>38.601821328384794</c:v>
                </c:pt>
                <c:pt idx="23391">
                  <c:v>21.45104816484897</c:v>
                </c:pt>
                <c:pt idx="23392">
                  <c:v>29.542237453577112</c:v>
                </c:pt>
                <c:pt idx="23393">
                  <c:v>32.027924474579102</c:v>
                </c:pt>
                <c:pt idx="23394">
                  <c:v>31.377526799531935</c:v>
                </c:pt>
                <c:pt idx="23395">
                  <c:v>35.394698700441801</c:v>
                </c:pt>
                <c:pt idx="23396">
                  <c:v>29.26473608278652</c:v>
                </c:pt>
                <c:pt idx="23397">
                  <c:v>25.255011359221534</c:v>
                </c:pt>
                <c:pt idx="23398">
                  <c:v>44.768929762432869</c:v>
                </c:pt>
                <c:pt idx="23399">
                  <c:v>22.232091584204138</c:v>
                </c:pt>
                <c:pt idx="23400">
                  <c:v>27.887315288346823</c:v>
                </c:pt>
                <c:pt idx="23401">
                  <c:v>21.022816475535315</c:v>
                </c:pt>
                <c:pt idx="23402">
                  <c:v>28.412565944101377</c:v>
                </c:pt>
                <c:pt idx="23403">
                  <c:v>21.842738906413814</c:v>
                </c:pt>
                <c:pt idx="23404">
                  <c:v>23.086992544151915</c:v>
                </c:pt>
                <c:pt idx="23405">
                  <c:v>28.916149186713128</c:v>
                </c:pt>
                <c:pt idx="23406">
                  <c:v>31.887222579238347</c:v>
                </c:pt>
                <c:pt idx="23407">
                  <c:v>22.245240707289309</c:v>
                </c:pt>
                <c:pt idx="23408">
                  <c:v>27.726638600657321</c:v>
                </c:pt>
                <c:pt idx="23409">
                  <c:v>38.674133714893088</c:v>
                </c:pt>
                <c:pt idx="23410">
                  <c:v>32.157081422727018</c:v>
                </c:pt>
                <c:pt idx="23411">
                  <c:v>27.31110058038124</c:v>
                </c:pt>
                <c:pt idx="23412">
                  <c:v>47.598643473538878</c:v>
                </c:pt>
                <c:pt idx="23413">
                  <c:v>33.131612130258809</c:v>
                </c:pt>
                <c:pt idx="23414">
                  <c:v>49.859692046292857</c:v>
                </c:pt>
                <c:pt idx="23415">
                  <c:v>18.300917577963897</c:v>
                </c:pt>
                <c:pt idx="23416">
                  <c:v>28.352526525559533</c:v>
                </c:pt>
                <c:pt idx="23417">
                  <c:v>26.628794173394613</c:v>
                </c:pt>
                <c:pt idx="23418">
                  <c:v>21.840658164352224</c:v>
                </c:pt>
                <c:pt idx="23419">
                  <c:v>37.982282234410597</c:v>
                </c:pt>
                <c:pt idx="23420">
                  <c:v>36.399197662347603</c:v>
                </c:pt>
                <c:pt idx="23421">
                  <c:v>32.858292945909938</c:v>
                </c:pt>
                <c:pt idx="23422">
                  <c:v>48.851341048424686</c:v>
                </c:pt>
                <c:pt idx="23423">
                  <c:v>24.871600871708203</c:v>
                </c:pt>
                <c:pt idx="23424">
                  <c:v>48.232209316896196</c:v>
                </c:pt>
                <c:pt idx="23425">
                  <c:v>21.28382534776264</c:v>
                </c:pt>
                <c:pt idx="23426">
                  <c:v>27.924808363750703</c:v>
                </c:pt>
                <c:pt idx="23427">
                  <c:v>26.216412701992567</c:v>
                </c:pt>
                <c:pt idx="23428">
                  <c:v>35.053548739623814</c:v>
                </c:pt>
                <c:pt idx="23429">
                  <c:v>24.347470072592319</c:v>
                </c:pt>
                <c:pt idx="23430">
                  <c:v>25.824364042918692</c:v>
                </c:pt>
                <c:pt idx="23431">
                  <c:v>24.160986330141853</c:v>
                </c:pt>
                <c:pt idx="23432">
                  <c:v>18.054846513238111</c:v>
                </c:pt>
                <c:pt idx="23433">
                  <c:v>50.251296952483017</c:v>
                </c:pt>
                <c:pt idx="23434">
                  <c:v>25.033255351939339</c:v>
                </c:pt>
                <c:pt idx="23435">
                  <c:v>32.741702162144769</c:v>
                </c:pt>
                <c:pt idx="23436">
                  <c:v>38.338996392676115</c:v>
                </c:pt>
                <c:pt idx="23437">
                  <c:v>38.225025648285026</c:v>
                </c:pt>
                <c:pt idx="23438">
                  <c:v>32.054761394425583</c:v>
                </c:pt>
                <c:pt idx="23439">
                  <c:v>43.4189006624676</c:v>
                </c:pt>
                <c:pt idx="23440">
                  <c:v>35.516734609175352</c:v>
                </c:pt>
                <c:pt idx="23441">
                  <c:v>28.178884232551475</c:v>
                </c:pt>
                <c:pt idx="23442">
                  <c:v>26.913833953455121</c:v>
                </c:pt>
                <c:pt idx="23443">
                  <c:v>24.651058810966884</c:v>
                </c:pt>
                <c:pt idx="23444">
                  <c:v>20.620317347637069</c:v>
                </c:pt>
                <c:pt idx="23445">
                  <c:v>43.622060298793144</c:v>
                </c:pt>
                <c:pt idx="23446">
                  <c:v>23.398362050367897</c:v>
                </c:pt>
                <c:pt idx="23447">
                  <c:v>56.660666238164602</c:v>
                </c:pt>
                <c:pt idx="23448">
                  <c:v>52.816596725513328</c:v>
                </c:pt>
                <c:pt idx="23449">
                  <c:v>15.681061481053092</c:v>
                </c:pt>
                <c:pt idx="23450">
                  <c:v>31.795988327675069</c:v>
                </c:pt>
                <c:pt idx="23451">
                  <c:v>39.351293176757977</c:v>
                </c:pt>
                <c:pt idx="23452">
                  <c:v>30.189596352266118</c:v>
                </c:pt>
                <c:pt idx="23453">
                  <c:v>30.81988241278971</c:v>
                </c:pt>
                <c:pt idx="23454">
                  <c:v>27.758168071718643</c:v>
                </c:pt>
                <c:pt idx="23455">
                  <c:v>25.404743964234832</c:v>
                </c:pt>
                <c:pt idx="23456">
                  <c:v>19.317264995321032</c:v>
                </c:pt>
                <c:pt idx="23457">
                  <c:v>43.497742431674531</c:v>
                </c:pt>
                <c:pt idx="23458">
                  <c:v>29.30720972796022</c:v>
                </c:pt>
                <c:pt idx="23459">
                  <c:v>24.042830544782582</c:v>
                </c:pt>
                <c:pt idx="23460">
                  <c:v>22.337693294158623</c:v>
                </c:pt>
                <c:pt idx="23461">
                  <c:v>31.479748437654237</c:v>
                </c:pt>
                <c:pt idx="23462">
                  <c:v>36.024029438009919</c:v>
                </c:pt>
                <c:pt idx="23463">
                  <c:v>28.662385615277604</c:v>
                </c:pt>
                <c:pt idx="23464">
                  <c:v>21.690782551600723</c:v>
                </c:pt>
                <c:pt idx="23465">
                  <c:v>37.081095744552421</c:v>
                </c:pt>
                <c:pt idx="23466">
                  <c:v>36.622097571258621</c:v>
                </c:pt>
                <c:pt idx="23467">
                  <c:v>33.322263476596859</c:v>
                </c:pt>
                <c:pt idx="23468">
                  <c:v>33.84850419501889</c:v>
                </c:pt>
                <c:pt idx="23469">
                  <c:v>37.778575571735352</c:v>
                </c:pt>
                <c:pt idx="23470">
                  <c:v>20.068456090626498</c:v>
                </c:pt>
                <c:pt idx="23471">
                  <c:v>29.050199806916176</c:v>
                </c:pt>
                <c:pt idx="23472">
                  <c:v>55.186744343049305</c:v>
                </c:pt>
                <c:pt idx="23473">
                  <c:v>42.027830416275506</c:v>
                </c:pt>
                <c:pt idx="23474">
                  <c:v>25.636345199364825</c:v>
                </c:pt>
                <c:pt idx="23475">
                  <c:v>30.698866842982028</c:v>
                </c:pt>
                <c:pt idx="23476">
                  <c:v>31.559380217158775</c:v>
                </c:pt>
                <c:pt idx="23477">
                  <c:v>35.632280391633742</c:v>
                </c:pt>
                <c:pt idx="23478">
                  <c:v>25.681779011652374</c:v>
                </c:pt>
                <c:pt idx="23479">
                  <c:v>33.397603178797588</c:v>
                </c:pt>
                <c:pt idx="23480">
                  <c:v>32.024874645953133</c:v>
                </c:pt>
                <c:pt idx="23481">
                  <c:v>24.872907613943525</c:v>
                </c:pt>
                <c:pt idx="23482">
                  <c:v>24.382603158181336</c:v>
                </c:pt>
                <c:pt idx="23483">
                  <c:v>43.954219257281309</c:v>
                </c:pt>
                <c:pt idx="23484">
                  <c:v>52.40388553080296</c:v>
                </c:pt>
                <c:pt idx="23485">
                  <c:v>30.98789547106891</c:v>
                </c:pt>
                <c:pt idx="23486">
                  <c:v>39.881290160721626</c:v>
                </c:pt>
                <c:pt idx="23487">
                  <c:v>28.239935141606573</c:v>
                </c:pt>
                <c:pt idx="23488">
                  <c:v>34.364041575599593</c:v>
                </c:pt>
                <c:pt idx="23489">
                  <c:v>30.476057486168443</c:v>
                </c:pt>
                <c:pt idx="23490">
                  <c:v>33.261571695402239</c:v>
                </c:pt>
                <c:pt idx="23491">
                  <c:v>43.024275175974871</c:v>
                </c:pt>
                <c:pt idx="23492">
                  <c:v>32.633095022369034</c:v>
                </c:pt>
                <c:pt idx="23493">
                  <c:v>21.418942434038428</c:v>
                </c:pt>
                <c:pt idx="23494">
                  <c:v>25.2917192440698</c:v>
                </c:pt>
                <c:pt idx="23495">
                  <c:v>30.595254730194547</c:v>
                </c:pt>
                <c:pt idx="23496">
                  <c:v>30.691460348492861</c:v>
                </c:pt>
                <c:pt idx="23497">
                  <c:v>42.912930649806491</c:v>
                </c:pt>
                <c:pt idx="23498">
                  <c:v>50.318192928441533</c:v>
                </c:pt>
                <c:pt idx="23499">
                  <c:v>31.976199407866368</c:v>
                </c:pt>
                <c:pt idx="23500">
                  <c:v>35.15187342866929</c:v>
                </c:pt>
                <c:pt idx="23501">
                  <c:v>24.12236836540502</c:v>
                </c:pt>
                <c:pt idx="23502">
                  <c:v>23.820939404560811</c:v>
                </c:pt>
                <c:pt idx="23503">
                  <c:v>36.135711727618855</c:v>
                </c:pt>
                <c:pt idx="23504">
                  <c:v>32.089519717157089</c:v>
                </c:pt>
                <c:pt idx="23505">
                  <c:v>32.442858657413851</c:v>
                </c:pt>
                <c:pt idx="23506">
                  <c:v>26.522376544386496</c:v>
                </c:pt>
                <c:pt idx="23507">
                  <c:v>29.750660573074654</c:v>
                </c:pt>
                <c:pt idx="23508">
                  <c:v>22.869493679613921</c:v>
                </c:pt>
                <c:pt idx="23509">
                  <c:v>30.654521491331796</c:v>
                </c:pt>
                <c:pt idx="23510">
                  <c:v>38.515672000587315</c:v>
                </c:pt>
                <c:pt idx="23511">
                  <c:v>38.570357101108435</c:v>
                </c:pt>
                <c:pt idx="23512">
                  <c:v>23.501250677442425</c:v>
                </c:pt>
                <c:pt idx="23513">
                  <c:v>24.77292457554428</c:v>
                </c:pt>
                <c:pt idx="23514">
                  <c:v>23.300093565763007</c:v>
                </c:pt>
                <c:pt idx="23515">
                  <c:v>34.564469931785965</c:v>
                </c:pt>
                <c:pt idx="23516">
                  <c:v>21.627676527198851</c:v>
                </c:pt>
                <c:pt idx="23517">
                  <c:v>41.929886783256578</c:v>
                </c:pt>
                <c:pt idx="23518">
                  <c:v>20.840082790860631</c:v>
                </c:pt>
                <c:pt idx="23519">
                  <c:v>26.824045193341185</c:v>
                </c:pt>
                <c:pt idx="23520">
                  <c:v>34.601577624273247</c:v>
                </c:pt>
                <c:pt idx="23521">
                  <c:v>30.427042760473139</c:v>
                </c:pt>
                <c:pt idx="23522">
                  <c:v>28.017650608098318</c:v>
                </c:pt>
                <c:pt idx="23523">
                  <c:v>23.530890967423783</c:v>
                </c:pt>
                <c:pt idx="23524">
                  <c:v>32.351263877556917</c:v>
                </c:pt>
                <c:pt idx="23525">
                  <c:v>54.797317692523904</c:v>
                </c:pt>
                <c:pt idx="23526">
                  <c:v>43.033378866560959</c:v>
                </c:pt>
                <c:pt idx="23527">
                  <c:v>28.313728811129288</c:v>
                </c:pt>
                <c:pt idx="23528">
                  <c:v>22.784658423304588</c:v>
                </c:pt>
                <c:pt idx="23529">
                  <c:v>38.730551702247212</c:v>
                </c:pt>
                <c:pt idx="23530">
                  <c:v>30.386187075407467</c:v>
                </c:pt>
                <c:pt idx="23531">
                  <c:v>28.754266371960554</c:v>
                </c:pt>
                <c:pt idx="23532">
                  <c:v>26.400494269435566</c:v>
                </c:pt>
                <c:pt idx="23533">
                  <c:v>28.311393837328776</c:v>
                </c:pt>
                <c:pt idx="23534">
                  <c:v>48.02189179967327</c:v>
                </c:pt>
                <c:pt idx="23535">
                  <c:v>31.188950320234806</c:v>
                </c:pt>
                <c:pt idx="23536">
                  <c:v>26.234701635950458</c:v>
                </c:pt>
                <c:pt idx="23537">
                  <c:v>24.640702882738911</c:v>
                </c:pt>
                <c:pt idx="23538">
                  <c:v>32.903435532343998</c:v>
                </c:pt>
                <c:pt idx="23539">
                  <c:v>28.153445335035364</c:v>
                </c:pt>
                <c:pt idx="23540">
                  <c:v>25.595249410429979</c:v>
                </c:pt>
                <c:pt idx="23541">
                  <c:v>25.778706474261163</c:v>
                </c:pt>
                <c:pt idx="23542">
                  <c:v>37.223153316815193</c:v>
                </c:pt>
                <c:pt idx="23543">
                  <c:v>51.756574591026173</c:v>
                </c:pt>
                <c:pt idx="23544">
                  <c:v>21.150471038668393</c:v>
                </c:pt>
                <c:pt idx="23545">
                  <c:v>35.520528587143289</c:v>
                </c:pt>
                <c:pt idx="23546">
                  <c:v>26.292120000859569</c:v>
                </c:pt>
                <c:pt idx="23547">
                  <c:v>25.530614709753483</c:v>
                </c:pt>
                <c:pt idx="23548">
                  <c:v>33.202872589849065</c:v>
                </c:pt>
                <c:pt idx="23549">
                  <c:v>22.269833486221465</c:v>
                </c:pt>
                <c:pt idx="23550">
                  <c:v>25.899499113521543</c:v>
                </c:pt>
                <c:pt idx="23551">
                  <c:v>30.10939686735836</c:v>
                </c:pt>
                <c:pt idx="23552">
                  <c:v>35.668591902189377</c:v>
                </c:pt>
                <c:pt idx="23553">
                  <c:v>21.524944049574902</c:v>
                </c:pt>
                <c:pt idx="23554">
                  <c:v>38.526961104201504</c:v>
                </c:pt>
                <c:pt idx="23555">
                  <c:v>20.771430026745321</c:v>
                </c:pt>
                <c:pt idx="23556">
                  <c:v>31.515574058185628</c:v>
                </c:pt>
                <c:pt idx="23557">
                  <c:v>27.340628245260817</c:v>
                </c:pt>
                <c:pt idx="23558">
                  <c:v>27.656590093223286</c:v>
                </c:pt>
                <c:pt idx="23559">
                  <c:v>18.918835733619101</c:v>
                </c:pt>
                <c:pt idx="23560">
                  <c:v>22.299142989067388</c:v>
                </c:pt>
                <c:pt idx="23561">
                  <c:v>26.217521970837886</c:v>
                </c:pt>
                <c:pt idx="23562">
                  <c:v>25.319976189374572</c:v>
                </c:pt>
                <c:pt idx="23563">
                  <c:v>48.91245344654282</c:v>
                </c:pt>
                <c:pt idx="23564">
                  <c:v>20.916191622089002</c:v>
                </c:pt>
                <c:pt idx="23565">
                  <c:v>25.039944920705231</c:v>
                </c:pt>
                <c:pt idx="23566">
                  <c:v>26.294913083748032</c:v>
                </c:pt>
                <c:pt idx="23567">
                  <c:v>24.808801439688263</c:v>
                </c:pt>
                <c:pt idx="23568">
                  <c:v>41.717414604650287</c:v>
                </c:pt>
                <c:pt idx="23569">
                  <c:v>48.602811672521661</c:v>
                </c:pt>
                <c:pt idx="23570">
                  <c:v>50.773033077186483</c:v>
                </c:pt>
                <c:pt idx="23571">
                  <c:v>40.545388228257842</c:v>
                </c:pt>
                <c:pt idx="23572">
                  <c:v>25.458056505205796</c:v>
                </c:pt>
                <c:pt idx="23573">
                  <c:v>22.65142354270278</c:v>
                </c:pt>
                <c:pt idx="23574">
                  <c:v>44.168405982347522</c:v>
                </c:pt>
                <c:pt idx="23575">
                  <c:v>17.780873534296227</c:v>
                </c:pt>
                <c:pt idx="23576">
                  <c:v>31.919794081879967</c:v>
                </c:pt>
                <c:pt idx="23577">
                  <c:v>38.719989468453718</c:v>
                </c:pt>
                <c:pt idx="23578">
                  <c:v>49.133262391694032</c:v>
                </c:pt>
                <c:pt idx="23579">
                  <c:v>18.334315984377696</c:v>
                </c:pt>
                <c:pt idx="23580">
                  <c:v>36.519946863343307</c:v>
                </c:pt>
                <c:pt idx="23581">
                  <c:v>26.502134066385743</c:v>
                </c:pt>
                <c:pt idx="23582">
                  <c:v>42.254419572309153</c:v>
                </c:pt>
                <c:pt idx="23583">
                  <c:v>42.755149350770218</c:v>
                </c:pt>
                <c:pt idx="23584">
                  <c:v>20.538680673958513</c:v>
                </c:pt>
                <c:pt idx="23585">
                  <c:v>31.147203646509425</c:v>
                </c:pt>
                <c:pt idx="23586">
                  <c:v>38.849649791695505</c:v>
                </c:pt>
                <c:pt idx="23587">
                  <c:v>23.927419475068902</c:v>
                </c:pt>
                <c:pt idx="23588">
                  <c:v>15.178400903626013</c:v>
                </c:pt>
                <c:pt idx="23589">
                  <c:v>28.967021957449852</c:v>
                </c:pt>
                <c:pt idx="23590">
                  <c:v>26.185170146110213</c:v>
                </c:pt>
                <c:pt idx="23591">
                  <c:v>27.081295217721969</c:v>
                </c:pt>
                <c:pt idx="23592">
                  <c:v>58.448278103300964</c:v>
                </c:pt>
                <c:pt idx="23593">
                  <c:v>26.102546990409394</c:v>
                </c:pt>
                <c:pt idx="23594">
                  <c:v>47.971988519259483</c:v>
                </c:pt>
                <c:pt idx="23595">
                  <c:v>26.065147870581587</c:v>
                </c:pt>
                <c:pt idx="23596">
                  <c:v>26.328655890093351</c:v>
                </c:pt>
                <c:pt idx="23597">
                  <c:v>29.486529546331397</c:v>
                </c:pt>
                <c:pt idx="23598">
                  <c:v>26.564318217130722</c:v>
                </c:pt>
                <c:pt idx="23599">
                  <c:v>56.085394045966353</c:v>
                </c:pt>
                <c:pt idx="23600">
                  <c:v>23.97722246770952</c:v>
                </c:pt>
                <c:pt idx="23601">
                  <c:v>18.687180461042939</c:v>
                </c:pt>
                <c:pt idx="23602">
                  <c:v>38.31157742715753</c:v>
                </c:pt>
                <c:pt idx="23603">
                  <c:v>31.956021624483654</c:v>
                </c:pt>
                <c:pt idx="23604">
                  <c:v>22.952780997812514</c:v>
                </c:pt>
                <c:pt idx="23605">
                  <c:v>29.510583714293002</c:v>
                </c:pt>
                <c:pt idx="23606">
                  <c:v>29.900763200394611</c:v>
                </c:pt>
                <c:pt idx="23607">
                  <c:v>31.927682514300152</c:v>
                </c:pt>
                <c:pt idx="23608">
                  <c:v>33.712014274016518</c:v>
                </c:pt>
                <c:pt idx="23609">
                  <c:v>22.784063983989171</c:v>
                </c:pt>
                <c:pt idx="23610">
                  <c:v>43.896330123890671</c:v>
                </c:pt>
                <c:pt idx="23611">
                  <c:v>26.881972932737025</c:v>
                </c:pt>
                <c:pt idx="23612">
                  <c:v>46.569054576792411</c:v>
                </c:pt>
                <c:pt idx="23613">
                  <c:v>18.277112255061287</c:v>
                </c:pt>
                <c:pt idx="23614">
                  <c:v>26.678253530753299</c:v>
                </c:pt>
                <c:pt idx="23615">
                  <c:v>21.246072379622412</c:v>
                </c:pt>
                <c:pt idx="23616">
                  <c:v>52.349416291692989</c:v>
                </c:pt>
                <c:pt idx="23617">
                  <c:v>24.490027920613855</c:v>
                </c:pt>
                <c:pt idx="23618">
                  <c:v>21.906440764746922</c:v>
                </c:pt>
                <c:pt idx="23619">
                  <c:v>28.097508774225901</c:v>
                </c:pt>
                <c:pt idx="23620">
                  <c:v>34.314454872824648</c:v>
                </c:pt>
                <c:pt idx="23621">
                  <c:v>39.80217764009889</c:v>
                </c:pt>
                <c:pt idx="23622">
                  <c:v>34.50160195579943</c:v>
                </c:pt>
                <c:pt idx="23623">
                  <c:v>28.297923360290572</c:v>
                </c:pt>
                <c:pt idx="23624">
                  <c:v>22.054175292948795</c:v>
                </c:pt>
                <c:pt idx="23625">
                  <c:v>32.627239807268872</c:v>
                </c:pt>
                <c:pt idx="23626">
                  <c:v>24.166374126475368</c:v>
                </c:pt>
                <c:pt idx="23627">
                  <c:v>26.171633634324635</c:v>
                </c:pt>
                <c:pt idx="23628">
                  <c:v>29.879403518355115</c:v>
                </c:pt>
                <c:pt idx="23629">
                  <c:v>30.198910566466854</c:v>
                </c:pt>
                <c:pt idx="23630">
                  <c:v>23.337346047352433</c:v>
                </c:pt>
                <c:pt idx="23631">
                  <c:v>19.570872714658641</c:v>
                </c:pt>
                <c:pt idx="23632">
                  <c:v>25.231077423713337</c:v>
                </c:pt>
                <c:pt idx="23633">
                  <c:v>22.714479081443351</c:v>
                </c:pt>
                <c:pt idx="23634">
                  <c:v>34.745797703338084</c:v>
                </c:pt>
                <c:pt idx="23635">
                  <c:v>36.29287189806815</c:v>
                </c:pt>
                <c:pt idx="23636">
                  <c:v>24.20923779018905</c:v>
                </c:pt>
                <c:pt idx="23637">
                  <c:v>50.047587807059053</c:v>
                </c:pt>
                <c:pt idx="23638">
                  <c:v>28.518537610260658</c:v>
                </c:pt>
                <c:pt idx="23639">
                  <c:v>46.884576485034636</c:v>
                </c:pt>
                <c:pt idx="23640">
                  <c:v>22.371753992967143</c:v>
                </c:pt>
                <c:pt idx="23641">
                  <c:v>31.7022256184874</c:v>
                </c:pt>
                <c:pt idx="23642">
                  <c:v>22.348694302932138</c:v>
                </c:pt>
                <c:pt idx="23643">
                  <c:v>40.381660994866877</c:v>
                </c:pt>
                <c:pt idx="23644">
                  <c:v>52.696737439788549</c:v>
                </c:pt>
                <c:pt idx="23645">
                  <c:v>25.774426820493197</c:v>
                </c:pt>
                <c:pt idx="23646">
                  <c:v>56.255444030562778</c:v>
                </c:pt>
                <c:pt idx="23647">
                  <c:v>31.329706330958857</c:v>
                </c:pt>
                <c:pt idx="23648">
                  <c:v>24.361466788321078</c:v>
                </c:pt>
                <c:pt idx="23649">
                  <c:v>32.222057611362658</c:v>
                </c:pt>
                <c:pt idx="23650">
                  <c:v>27.19836081326644</c:v>
                </c:pt>
                <c:pt idx="23651">
                  <c:v>26.351316995829773</c:v>
                </c:pt>
                <c:pt idx="23652">
                  <c:v>23.306095904857173</c:v>
                </c:pt>
                <c:pt idx="23653">
                  <c:v>32.10859132613183</c:v>
                </c:pt>
                <c:pt idx="23654">
                  <c:v>32.452522367384056</c:v>
                </c:pt>
                <c:pt idx="23655">
                  <c:v>37.275549007399313</c:v>
                </c:pt>
                <c:pt idx="23656">
                  <c:v>21.418288273470722</c:v>
                </c:pt>
                <c:pt idx="23657">
                  <c:v>26.716211411212466</c:v>
                </c:pt>
                <c:pt idx="23658">
                  <c:v>26.556942287800169</c:v>
                </c:pt>
                <c:pt idx="23659">
                  <c:v>33.581728660169816</c:v>
                </c:pt>
                <c:pt idx="23660">
                  <c:v>39.274429351397174</c:v>
                </c:pt>
                <c:pt idx="23661">
                  <c:v>51.984323465243136</c:v>
                </c:pt>
                <c:pt idx="23662">
                  <c:v>21.245827889525227</c:v>
                </c:pt>
                <c:pt idx="23663">
                  <c:v>28.894425428651385</c:v>
                </c:pt>
                <c:pt idx="23664">
                  <c:v>22.419048969625354</c:v>
                </c:pt>
                <c:pt idx="23665">
                  <c:v>24.677307735759591</c:v>
                </c:pt>
                <c:pt idx="23666">
                  <c:v>24.751994025983912</c:v>
                </c:pt>
                <c:pt idx="23667">
                  <c:v>25.932287399006359</c:v>
                </c:pt>
                <c:pt idx="23668">
                  <c:v>60.403874483157928</c:v>
                </c:pt>
                <c:pt idx="23669">
                  <c:v>32.54596103218968</c:v>
                </c:pt>
                <c:pt idx="23670">
                  <c:v>25.049454858479308</c:v>
                </c:pt>
                <c:pt idx="23671">
                  <c:v>22.930699159830155</c:v>
                </c:pt>
                <c:pt idx="23672">
                  <c:v>28.148818802443476</c:v>
                </c:pt>
                <c:pt idx="23673">
                  <c:v>28.994856266312315</c:v>
                </c:pt>
                <c:pt idx="23674">
                  <c:v>19.79102505485174</c:v>
                </c:pt>
                <c:pt idx="23675">
                  <c:v>38.900182331120888</c:v>
                </c:pt>
                <c:pt idx="23676">
                  <c:v>29.436533411479658</c:v>
                </c:pt>
                <c:pt idx="23677">
                  <c:v>32.09024306678031</c:v>
                </c:pt>
                <c:pt idx="23678">
                  <c:v>28.431151284738835</c:v>
                </c:pt>
                <c:pt idx="23679">
                  <c:v>22.896615365796745</c:v>
                </c:pt>
                <c:pt idx="23680">
                  <c:v>34.922679783567688</c:v>
                </c:pt>
                <c:pt idx="23681">
                  <c:v>35.766202060133587</c:v>
                </c:pt>
                <c:pt idx="23682">
                  <c:v>26.74920282326989</c:v>
                </c:pt>
                <c:pt idx="23683">
                  <c:v>45.096880711006364</c:v>
                </c:pt>
                <c:pt idx="23684">
                  <c:v>35.008336557979327</c:v>
                </c:pt>
                <c:pt idx="23685">
                  <c:v>25.116009005362436</c:v>
                </c:pt>
                <c:pt idx="23686">
                  <c:v>33.638970861530709</c:v>
                </c:pt>
                <c:pt idx="23687">
                  <c:v>23.963325094065702</c:v>
                </c:pt>
                <c:pt idx="23688">
                  <c:v>25.404483326423225</c:v>
                </c:pt>
                <c:pt idx="23689">
                  <c:v>27.079821368130315</c:v>
                </c:pt>
                <c:pt idx="23690">
                  <c:v>24.840295272082486</c:v>
                </c:pt>
                <c:pt idx="23691">
                  <c:v>21.194586645342874</c:v>
                </c:pt>
                <c:pt idx="23692">
                  <c:v>22.030417339470269</c:v>
                </c:pt>
                <c:pt idx="23693">
                  <c:v>20.554767947991898</c:v>
                </c:pt>
                <c:pt idx="23694">
                  <c:v>58.954894195639767</c:v>
                </c:pt>
                <c:pt idx="23695">
                  <c:v>21.758359012414083</c:v>
                </c:pt>
                <c:pt idx="23696">
                  <c:v>23.013598382030565</c:v>
                </c:pt>
                <c:pt idx="23697">
                  <c:v>22.836777241687276</c:v>
                </c:pt>
                <c:pt idx="23698">
                  <c:v>23.416906715488089</c:v>
                </c:pt>
                <c:pt idx="23699">
                  <c:v>24.766593610484652</c:v>
                </c:pt>
                <c:pt idx="23700">
                  <c:v>29.607568984430742</c:v>
                </c:pt>
                <c:pt idx="23701">
                  <c:v>31.937607475996593</c:v>
                </c:pt>
                <c:pt idx="23702">
                  <c:v>27.401996658970123</c:v>
                </c:pt>
                <c:pt idx="23703">
                  <c:v>22.65310177278964</c:v>
                </c:pt>
                <c:pt idx="23704">
                  <c:v>27.965851341200036</c:v>
                </c:pt>
                <c:pt idx="23705">
                  <c:v>28.756651735961483</c:v>
                </c:pt>
                <c:pt idx="23706">
                  <c:v>36.413849190902361</c:v>
                </c:pt>
                <c:pt idx="23707">
                  <c:v>29.882561876148216</c:v>
                </c:pt>
                <c:pt idx="23708">
                  <c:v>28.147376635094624</c:v>
                </c:pt>
                <c:pt idx="23709">
                  <c:v>19.016253854015858</c:v>
                </c:pt>
                <c:pt idx="23710">
                  <c:v>26.051956499200422</c:v>
                </c:pt>
                <c:pt idx="23711">
                  <c:v>22.795503574644663</c:v>
                </c:pt>
                <c:pt idx="23712">
                  <c:v>46.244026096801527</c:v>
                </c:pt>
                <c:pt idx="23713">
                  <c:v>31.976462067270138</c:v>
                </c:pt>
                <c:pt idx="23714">
                  <c:v>19.06398059544291</c:v>
                </c:pt>
                <c:pt idx="23715">
                  <c:v>31.936496222122415</c:v>
                </c:pt>
                <c:pt idx="23716">
                  <c:v>32.161453527300523</c:v>
                </c:pt>
                <c:pt idx="23717">
                  <c:v>24.57822261754519</c:v>
                </c:pt>
                <c:pt idx="23718">
                  <c:v>33.424454932182449</c:v>
                </c:pt>
                <c:pt idx="23719">
                  <c:v>27.430897154151133</c:v>
                </c:pt>
                <c:pt idx="23720">
                  <c:v>20.81675287334722</c:v>
                </c:pt>
                <c:pt idx="23721">
                  <c:v>47.382959305230351</c:v>
                </c:pt>
                <c:pt idx="23722">
                  <c:v>28.245814050568985</c:v>
                </c:pt>
                <c:pt idx="23723">
                  <c:v>44.395924633806509</c:v>
                </c:pt>
                <c:pt idx="23724">
                  <c:v>23.11796144636179</c:v>
                </c:pt>
                <c:pt idx="23725">
                  <c:v>39.285117314444236</c:v>
                </c:pt>
                <c:pt idx="23726">
                  <c:v>18.034650313585047</c:v>
                </c:pt>
                <c:pt idx="23727">
                  <c:v>28.030294220262064</c:v>
                </c:pt>
                <c:pt idx="23728">
                  <c:v>30.548415172300896</c:v>
                </c:pt>
                <c:pt idx="23729">
                  <c:v>26.095497173419279</c:v>
                </c:pt>
                <c:pt idx="23730">
                  <c:v>27.558467064262214</c:v>
                </c:pt>
                <c:pt idx="23731">
                  <c:v>33.087514862879985</c:v>
                </c:pt>
                <c:pt idx="23732">
                  <c:v>43.5671800842998</c:v>
                </c:pt>
                <c:pt idx="23733">
                  <c:v>30.527046155777501</c:v>
                </c:pt>
                <c:pt idx="23734">
                  <c:v>21.541538685307039</c:v>
                </c:pt>
                <c:pt idx="23735">
                  <c:v>23.931893366148483</c:v>
                </c:pt>
                <c:pt idx="23736">
                  <c:v>26.976801673105705</c:v>
                </c:pt>
                <c:pt idx="23737">
                  <c:v>19.908321004757781</c:v>
                </c:pt>
                <c:pt idx="23738">
                  <c:v>24.444300678224891</c:v>
                </c:pt>
                <c:pt idx="23739">
                  <c:v>19.291930684152227</c:v>
                </c:pt>
                <c:pt idx="23740">
                  <c:v>20.843158311082764</c:v>
                </c:pt>
                <c:pt idx="23741">
                  <c:v>48.195075748897438</c:v>
                </c:pt>
                <c:pt idx="23742">
                  <c:v>21.659416290251809</c:v>
                </c:pt>
                <c:pt idx="23743">
                  <c:v>28.96290442468791</c:v>
                </c:pt>
                <c:pt idx="23744">
                  <c:v>30.71442430008296</c:v>
                </c:pt>
                <c:pt idx="23745">
                  <c:v>25.325354657148917</c:v>
                </c:pt>
                <c:pt idx="23746">
                  <c:v>26.985547403241856</c:v>
                </c:pt>
                <c:pt idx="23747">
                  <c:v>33.092346047523343</c:v>
                </c:pt>
                <c:pt idx="23748">
                  <c:v>29.335330556939166</c:v>
                </c:pt>
                <c:pt idx="23749">
                  <c:v>44.975815060637551</c:v>
                </c:pt>
                <c:pt idx="23750">
                  <c:v>31.132939117516038</c:v>
                </c:pt>
                <c:pt idx="23751">
                  <c:v>28.931381363483816</c:v>
                </c:pt>
                <c:pt idx="23752">
                  <c:v>28.745780058386963</c:v>
                </c:pt>
                <c:pt idx="23753">
                  <c:v>20.109554092403179</c:v>
                </c:pt>
                <c:pt idx="23754">
                  <c:v>17.583669556853085</c:v>
                </c:pt>
                <c:pt idx="23755">
                  <c:v>36.874501255247239</c:v>
                </c:pt>
                <c:pt idx="23756">
                  <c:v>31.431180880119499</c:v>
                </c:pt>
                <c:pt idx="23757">
                  <c:v>30.574264761504288</c:v>
                </c:pt>
                <c:pt idx="23758">
                  <c:v>21.591495989207584</c:v>
                </c:pt>
                <c:pt idx="23759">
                  <c:v>25.491478941586369</c:v>
                </c:pt>
                <c:pt idx="23760">
                  <c:v>27.680366498475919</c:v>
                </c:pt>
                <c:pt idx="23761">
                  <c:v>25.702200244209713</c:v>
                </c:pt>
                <c:pt idx="23762">
                  <c:v>31.264540226102007</c:v>
                </c:pt>
                <c:pt idx="23763">
                  <c:v>21.759322468841123</c:v>
                </c:pt>
                <c:pt idx="23764">
                  <c:v>28.87163262874672</c:v>
                </c:pt>
                <c:pt idx="23765">
                  <c:v>53.664393685680025</c:v>
                </c:pt>
                <c:pt idx="23766">
                  <c:v>25.589007953132658</c:v>
                </c:pt>
                <c:pt idx="23767">
                  <c:v>23.571906712760825</c:v>
                </c:pt>
                <c:pt idx="23768">
                  <c:v>30.33893992179258</c:v>
                </c:pt>
                <c:pt idx="23769">
                  <c:v>34.528151239721716</c:v>
                </c:pt>
                <c:pt idx="23770">
                  <c:v>41.101044036510551</c:v>
                </c:pt>
                <c:pt idx="23771">
                  <c:v>31.238928554314953</c:v>
                </c:pt>
                <c:pt idx="23772">
                  <c:v>21.630802444688893</c:v>
                </c:pt>
                <c:pt idx="23773">
                  <c:v>44.692706869220025</c:v>
                </c:pt>
                <c:pt idx="23774">
                  <c:v>31.890670625556123</c:v>
                </c:pt>
                <c:pt idx="23775">
                  <c:v>24.621261678287134</c:v>
                </c:pt>
                <c:pt idx="23776">
                  <c:v>32.954990897058615</c:v>
                </c:pt>
                <c:pt idx="23777">
                  <c:v>23.188270524972143</c:v>
                </c:pt>
                <c:pt idx="23778">
                  <c:v>28.06699348693801</c:v>
                </c:pt>
                <c:pt idx="23779">
                  <c:v>42.8495113367849</c:v>
                </c:pt>
                <c:pt idx="23780">
                  <c:v>30.590307621288396</c:v>
                </c:pt>
                <c:pt idx="23781">
                  <c:v>27.380463143441307</c:v>
                </c:pt>
                <c:pt idx="23782">
                  <c:v>17.909579130892599</c:v>
                </c:pt>
                <c:pt idx="23783">
                  <c:v>37.783842640989363</c:v>
                </c:pt>
                <c:pt idx="23784">
                  <c:v>22.442011653396229</c:v>
                </c:pt>
                <c:pt idx="23785">
                  <c:v>31.173767899835575</c:v>
                </c:pt>
                <c:pt idx="23786">
                  <c:v>29.739639820979455</c:v>
                </c:pt>
                <c:pt idx="23787">
                  <c:v>24.693969254531766</c:v>
                </c:pt>
                <c:pt idx="23788">
                  <c:v>40.426495238825538</c:v>
                </c:pt>
                <c:pt idx="23789">
                  <c:v>21.987835483277188</c:v>
                </c:pt>
                <c:pt idx="23790">
                  <c:v>30.985553888835721</c:v>
                </c:pt>
                <c:pt idx="23791">
                  <c:v>23.820333388847395</c:v>
                </c:pt>
                <c:pt idx="23792">
                  <c:v>24.382125241825179</c:v>
                </c:pt>
                <c:pt idx="23793">
                  <c:v>24.027238569699239</c:v>
                </c:pt>
                <c:pt idx="23794">
                  <c:v>26.269540548331619</c:v>
                </c:pt>
                <c:pt idx="23795">
                  <c:v>34.147488550831248</c:v>
                </c:pt>
                <c:pt idx="23796">
                  <c:v>27.496839313580917</c:v>
                </c:pt>
                <c:pt idx="23797">
                  <c:v>46.853614248482018</c:v>
                </c:pt>
                <c:pt idx="23798">
                  <c:v>29.39784572243229</c:v>
                </c:pt>
                <c:pt idx="23799">
                  <c:v>50.226060342674558</c:v>
                </c:pt>
                <c:pt idx="23800">
                  <c:v>47.122242878053889</c:v>
                </c:pt>
                <c:pt idx="23801">
                  <c:v>41.470581538624863</c:v>
                </c:pt>
                <c:pt idx="23802">
                  <c:v>40.454899923970338</c:v>
                </c:pt>
                <c:pt idx="23803">
                  <c:v>49.559680641386109</c:v>
                </c:pt>
                <c:pt idx="23804">
                  <c:v>52.391310773686051</c:v>
                </c:pt>
                <c:pt idx="23805">
                  <c:v>27.620161963999692</c:v>
                </c:pt>
                <c:pt idx="23806">
                  <c:v>28.027413782066777</c:v>
                </c:pt>
                <c:pt idx="23807">
                  <c:v>30.654188847899974</c:v>
                </c:pt>
                <c:pt idx="23808">
                  <c:v>16.314509684052521</c:v>
                </c:pt>
                <c:pt idx="23809">
                  <c:v>27.710568787887887</c:v>
                </c:pt>
                <c:pt idx="23810">
                  <c:v>23.410642443219494</c:v>
                </c:pt>
                <c:pt idx="23811">
                  <c:v>30.796123941159241</c:v>
                </c:pt>
                <c:pt idx="23812">
                  <c:v>33.506519681545321</c:v>
                </c:pt>
                <c:pt idx="23813">
                  <c:v>16.928402242756015</c:v>
                </c:pt>
                <c:pt idx="23814">
                  <c:v>31.942007439017566</c:v>
                </c:pt>
                <c:pt idx="23815">
                  <c:v>18.134260146812885</c:v>
                </c:pt>
                <c:pt idx="23816">
                  <c:v>40.4012152159547</c:v>
                </c:pt>
                <c:pt idx="23817">
                  <c:v>26.914875262598336</c:v>
                </c:pt>
                <c:pt idx="23818">
                  <c:v>34.547232590771401</c:v>
                </c:pt>
                <c:pt idx="23819">
                  <c:v>25.062353610602401</c:v>
                </c:pt>
                <c:pt idx="23820">
                  <c:v>42.984336029995553</c:v>
                </c:pt>
                <c:pt idx="23821">
                  <c:v>29.344335763476845</c:v>
                </c:pt>
                <c:pt idx="23822">
                  <c:v>26.051425046036456</c:v>
                </c:pt>
                <c:pt idx="23823">
                  <c:v>31.149580581395085</c:v>
                </c:pt>
                <c:pt idx="23824">
                  <c:v>24.003021525591393</c:v>
                </c:pt>
                <c:pt idx="23825">
                  <c:v>32.888258203442092</c:v>
                </c:pt>
                <c:pt idx="23826">
                  <c:v>20.286557265246973</c:v>
                </c:pt>
                <c:pt idx="23827">
                  <c:v>27.55676029339168</c:v>
                </c:pt>
                <c:pt idx="23828">
                  <c:v>42.852170865969121</c:v>
                </c:pt>
                <c:pt idx="23829">
                  <c:v>27.055286636325004</c:v>
                </c:pt>
                <c:pt idx="23830">
                  <c:v>41.545354423161129</c:v>
                </c:pt>
                <c:pt idx="23831">
                  <c:v>24.980145911634711</c:v>
                </c:pt>
                <c:pt idx="23832">
                  <c:v>40.161839253259615</c:v>
                </c:pt>
                <c:pt idx="23833">
                  <c:v>25.797547783184932</c:v>
                </c:pt>
                <c:pt idx="23834">
                  <c:v>35.115825681238682</c:v>
                </c:pt>
                <c:pt idx="23835">
                  <c:v>36.066689828197262</c:v>
                </c:pt>
                <c:pt idx="23836">
                  <c:v>31.716412083859716</c:v>
                </c:pt>
                <c:pt idx="23837">
                  <c:v>22.53531664658993</c:v>
                </c:pt>
                <c:pt idx="23838">
                  <c:v>26.024657259785361</c:v>
                </c:pt>
                <c:pt idx="23839">
                  <c:v>29.865701074145861</c:v>
                </c:pt>
                <c:pt idx="23840">
                  <c:v>37.343307437009038</c:v>
                </c:pt>
                <c:pt idx="23841">
                  <c:v>27.955573632350067</c:v>
                </c:pt>
                <c:pt idx="23842">
                  <c:v>19.188111098242469</c:v>
                </c:pt>
                <c:pt idx="23843">
                  <c:v>33.009275455374642</c:v>
                </c:pt>
                <c:pt idx="23844">
                  <c:v>41.282471910193223</c:v>
                </c:pt>
                <c:pt idx="23845">
                  <c:v>31.025534518513989</c:v>
                </c:pt>
                <c:pt idx="23846">
                  <c:v>25.475083930030181</c:v>
                </c:pt>
                <c:pt idx="23847">
                  <c:v>26.749295938214935</c:v>
                </c:pt>
                <c:pt idx="23848">
                  <c:v>31.943125177958461</c:v>
                </c:pt>
                <c:pt idx="23849">
                  <c:v>23.599988638135283</c:v>
                </c:pt>
                <c:pt idx="23850">
                  <c:v>28.475597625174203</c:v>
                </c:pt>
                <c:pt idx="23851">
                  <c:v>19.362795195986799</c:v>
                </c:pt>
                <c:pt idx="23852">
                  <c:v>48.626840369526484</c:v>
                </c:pt>
                <c:pt idx="23853">
                  <c:v>44.871243700321784</c:v>
                </c:pt>
                <c:pt idx="23854">
                  <c:v>27.760841608612328</c:v>
                </c:pt>
                <c:pt idx="23855">
                  <c:v>26.238696066303955</c:v>
                </c:pt>
                <c:pt idx="23856">
                  <c:v>26.399204372795992</c:v>
                </c:pt>
                <c:pt idx="23857">
                  <c:v>23.72259533604084</c:v>
                </c:pt>
                <c:pt idx="23858">
                  <c:v>51.329045334352884</c:v>
                </c:pt>
                <c:pt idx="23859">
                  <c:v>22.334427064092104</c:v>
                </c:pt>
                <c:pt idx="23860">
                  <c:v>24.181468154775093</c:v>
                </c:pt>
                <c:pt idx="23861">
                  <c:v>29.133743085473082</c:v>
                </c:pt>
                <c:pt idx="23862">
                  <c:v>34.563930692029217</c:v>
                </c:pt>
                <c:pt idx="23863">
                  <c:v>34.313552406911434</c:v>
                </c:pt>
                <c:pt idx="23864">
                  <c:v>43.315714572243465</c:v>
                </c:pt>
                <c:pt idx="23865">
                  <c:v>49.260000809140308</c:v>
                </c:pt>
                <c:pt idx="23866">
                  <c:v>23.998821832537974</c:v>
                </c:pt>
                <c:pt idx="23867">
                  <c:v>29.679123887627881</c:v>
                </c:pt>
                <c:pt idx="23868">
                  <c:v>24.409071991124325</c:v>
                </c:pt>
                <c:pt idx="23869">
                  <c:v>24.874110895734297</c:v>
                </c:pt>
                <c:pt idx="23870">
                  <c:v>27.714632956746286</c:v>
                </c:pt>
                <c:pt idx="23871">
                  <c:v>30.92699542846411</c:v>
                </c:pt>
                <c:pt idx="23872">
                  <c:v>24.65920389370973</c:v>
                </c:pt>
                <c:pt idx="23873">
                  <c:v>26.31194125740527</c:v>
                </c:pt>
                <c:pt idx="23874">
                  <c:v>30.781414290560136</c:v>
                </c:pt>
                <c:pt idx="23875">
                  <c:v>33.554968096111473</c:v>
                </c:pt>
                <c:pt idx="23876">
                  <c:v>29.633895067907648</c:v>
                </c:pt>
                <c:pt idx="23877">
                  <c:v>24.357259343574107</c:v>
                </c:pt>
                <c:pt idx="23878">
                  <c:v>30.443563212575285</c:v>
                </c:pt>
                <c:pt idx="23879">
                  <c:v>28.225425482058888</c:v>
                </c:pt>
                <c:pt idx="23880">
                  <c:v>28.992736340829108</c:v>
                </c:pt>
                <c:pt idx="23881">
                  <c:v>25.832937321672361</c:v>
                </c:pt>
                <c:pt idx="23882">
                  <c:v>30.402432635819824</c:v>
                </c:pt>
                <c:pt idx="23883">
                  <c:v>23.215687849167058</c:v>
                </c:pt>
                <c:pt idx="23884">
                  <c:v>29.164335736583542</c:v>
                </c:pt>
                <c:pt idx="23885">
                  <c:v>24.915807611125199</c:v>
                </c:pt>
                <c:pt idx="23886">
                  <c:v>23.757981623260349</c:v>
                </c:pt>
                <c:pt idx="23887">
                  <c:v>32.546253858238266</c:v>
                </c:pt>
                <c:pt idx="23888">
                  <c:v>31.647208310233026</c:v>
                </c:pt>
                <c:pt idx="23889">
                  <c:v>53.018443554505822</c:v>
                </c:pt>
                <c:pt idx="23890">
                  <c:v>30.987802204507208</c:v>
                </c:pt>
                <c:pt idx="23891">
                  <c:v>24.566073934638027</c:v>
                </c:pt>
                <c:pt idx="23892">
                  <c:v>41.934076862463861</c:v>
                </c:pt>
                <c:pt idx="23893">
                  <c:v>18.079337977386373</c:v>
                </c:pt>
                <c:pt idx="23894">
                  <c:v>41.27116890013945</c:v>
                </c:pt>
                <c:pt idx="23895">
                  <c:v>40.407537419960583</c:v>
                </c:pt>
                <c:pt idx="23896">
                  <c:v>32.719809833707842</c:v>
                </c:pt>
                <c:pt idx="23897">
                  <c:v>28.84063288435215</c:v>
                </c:pt>
                <c:pt idx="23898">
                  <c:v>28.292330926086077</c:v>
                </c:pt>
                <c:pt idx="23899">
                  <c:v>10.489941135672659</c:v>
                </c:pt>
                <c:pt idx="23900">
                  <c:v>22.910536223439188</c:v>
                </c:pt>
                <c:pt idx="23901">
                  <c:v>54.719321148063983</c:v>
                </c:pt>
                <c:pt idx="23902">
                  <c:v>31.930586102807133</c:v>
                </c:pt>
                <c:pt idx="23903">
                  <c:v>28.743450881387556</c:v>
                </c:pt>
                <c:pt idx="23904">
                  <c:v>35.501544221284504</c:v>
                </c:pt>
                <c:pt idx="23905">
                  <c:v>26.050572748110955</c:v>
                </c:pt>
                <c:pt idx="23906">
                  <c:v>18.910996833554822</c:v>
                </c:pt>
                <c:pt idx="23907">
                  <c:v>41.752281559642896</c:v>
                </c:pt>
                <c:pt idx="23908">
                  <c:v>35.688507261927647</c:v>
                </c:pt>
                <c:pt idx="23909">
                  <c:v>29.917734535889263</c:v>
                </c:pt>
                <c:pt idx="23910">
                  <c:v>33.802699833770909</c:v>
                </c:pt>
                <c:pt idx="23911">
                  <c:v>25.853412686717931</c:v>
                </c:pt>
                <c:pt idx="23912">
                  <c:v>27.626176491873288</c:v>
                </c:pt>
                <c:pt idx="23913">
                  <c:v>28.828606559153613</c:v>
                </c:pt>
                <c:pt idx="23914">
                  <c:v>28.791381890373149</c:v>
                </c:pt>
                <c:pt idx="23915">
                  <c:v>23.543641155976992</c:v>
                </c:pt>
                <c:pt idx="23916">
                  <c:v>24.96965145140873</c:v>
                </c:pt>
                <c:pt idx="23917">
                  <c:v>23.365825673527283</c:v>
                </c:pt>
                <c:pt idx="23918">
                  <c:v>23.670520812418076</c:v>
                </c:pt>
                <c:pt idx="23919">
                  <c:v>33.839519291040212</c:v>
                </c:pt>
                <c:pt idx="23920">
                  <c:v>39.509993351475146</c:v>
                </c:pt>
                <c:pt idx="23921">
                  <c:v>27.420199124750294</c:v>
                </c:pt>
                <c:pt idx="23922">
                  <c:v>49.676083988373918</c:v>
                </c:pt>
                <c:pt idx="23923">
                  <c:v>43.134260726735626</c:v>
                </c:pt>
                <c:pt idx="23924">
                  <c:v>26.323741218289129</c:v>
                </c:pt>
                <c:pt idx="23925">
                  <c:v>38.428347192739963</c:v>
                </c:pt>
                <c:pt idx="23926">
                  <c:v>23.914720895589628</c:v>
                </c:pt>
                <c:pt idx="23927">
                  <c:v>31.294768140914616</c:v>
                </c:pt>
                <c:pt idx="23928">
                  <c:v>53.709299030158988</c:v>
                </c:pt>
                <c:pt idx="23929">
                  <c:v>21.768271175299333</c:v>
                </c:pt>
                <c:pt idx="23930">
                  <c:v>24.838126262328714</c:v>
                </c:pt>
                <c:pt idx="23931">
                  <c:v>29.055478799840873</c:v>
                </c:pt>
                <c:pt idx="23932">
                  <c:v>51.815302582880598</c:v>
                </c:pt>
                <c:pt idx="23933">
                  <c:v>17.932746826466477</c:v>
                </c:pt>
                <c:pt idx="23934">
                  <c:v>29.673403018979425</c:v>
                </c:pt>
                <c:pt idx="23935">
                  <c:v>38.599124698532769</c:v>
                </c:pt>
                <c:pt idx="23936">
                  <c:v>49.443862167326984</c:v>
                </c:pt>
                <c:pt idx="23937">
                  <c:v>21.060369969112617</c:v>
                </c:pt>
                <c:pt idx="23938">
                  <c:v>36.636078599517177</c:v>
                </c:pt>
                <c:pt idx="23939">
                  <c:v>36.112130662409093</c:v>
                </c:pt>
                <c:pt idx="23940">
                  <c:v>25.081411414435522</c:v>
                </c:pt>
                <c:pt idx="23941">
                  <c:v>25.426882577004108</c:v>
                </c:pt>
                <c:pt idx="23942">
                  <c:v>31.316618789304968</c:v>
                </c:pt>
                <c:pt idx="23943">
                  <c:v>42.339159919140002</c:v>
                </c:pt>
                <c:pt idx="23944">
                  <c:v>17.25859977471962</c:v>
                </c:pt>
                <c:pt idx="23945">
                  <c:v>24.175496113471461</c:v>
                </c:pt>
                <c:pt idx="23946">
                  <c:v>37.245878596205706</c:v>
                </c:pt>
                <c:pt idx="23947">
                  <c:v>23.464976844579109</c:v>
                </c:pt>
                <c:pt idx="23948">
                  <c:v>19.482268947060149</c:v>
                </c:pt>
                <c:pt idx="23949">
                  <c:v>19.42630212270662</c:v>
                </c:pt>
                <c:pt idx="23950">
                  <c:v>21.083288343204877</c:v>
                </c:pt>
                <c:pt idx="23951">
                  <c:v>40.743250687830837</c:v>
                </c:pt>
                <c:pt idx="23952">
                  <c:v>31.307460303806195</c:v>
                </c:pt>
                <c:pt idx="23953">
                  <c:v>27.78767348186847</c:v>
                </c:pt>
                <c:pt idx="23954">
                  <c:v>21.381181896998875</c:v>
                </c:pt>
                <c:pt idx="23955">
                  <c:v>35.16008966851075</c:v>
                </c:pt>
                <c:pt idx="23956">
                  <c:v>55.869640846789956</c:v>
                </c:pt>
                <c:pt idx="23957">
                  <c:v>30.399164280144159</c:v>
                </c:pt>
                <c:pt idx="23958">
                  <c:v>27.931556036965311</c:v>
                </c:pt>
                <c:pt idx="23959">
                  <c:v>24.165320512479251</c:v>
                </c:pt>
                <c:pt idx="23960">
                  <c:v>24.844203338801638</c:v>
                </c:pt>
                <c:pt idx="23961">
                  <c:v>28.177096225770583</c:v>
                </c:pt>
                <c:pt idx="23962">
                  <c:v>30.766667746287322</c:v>
                </c:pt>
                <c:pt idx="23963">
                  <c:v>23.265377770391972</c:v>
                </c:pt>
                <c:pt idx="23964">
                  <c:v>35.40818039042103</c:v>
                </c:pt>
                <c:pt idx="23965">
                  <c:v>30.190140161577308</c:v>
                </c:pt>
                <c:pt idx="23966">
                  <c:v>30.996376644941314</c:v>
                </c:pt>
                <c:pt idx="23967">
                  <c:v>25.205006759814509</c:v>
                </c:pt>
                <c:pt idx="23968">
                  <c:v>31.098962395445199</c:v>
                </c:pt>
                <c:pt idx="23969">
                  <c:v>26.473683087137122</c:v>
                </c:pt>
                <c:pt idx="23970">
                  <c:v>21.657790326214471</c:v>
                </c:pt>
                <c:pt idx="23971">
                  <c:v>23.48576275575698</c:v>
                </c:pt>
                <c:pt idx="23972">
                  <c:v>23.194221270129059</c:v>
                </c:pt>
                <c:pt idx="23973">
                  <c:v>32.49335530411301</c:v>
                </c:pt>
                <c:pt idx="23974">
                  <c:v>26.206191459202678</c:v>
                </c:pt>
                <c:pt idx="23975">
                  <c:v>44.786608237697429</c:v>
                </c:pt>
                <c:pt idx="23976">
                  <c:v>29.293551070756379</c:v>
                </c:pt>
                <c:pt idx="23977">
                  <c:v>49.921648884545093</c:v>
                </c:pt>
                <c:pt idx="23978">
                  <c:v>26.287921913455158</c:v>
                </c:pt>
                <c:pt idx="23979">
                  <c:v>33.699258768501473</c:v>
                </c:pt>
                <c:pt idx="23980">
                  <c:v>30.921622431826467</c:v>
                </c:pt>
                <c:pt idx="23981">
                  <c:v>46.843001857177519</c:v>
                </c:pt>
                <c:pt idx="23982">
                  <c:v>26.389132542088209</c:v>
                </c:pt>
                <c:pt idx="23983">
                  <c:v>48.125974765263599</c:v>
                </c:pt>
                <c:pt idx="23984">
                  <c:v>32.709304191182014</c:v>
                </c:pt>
                <c:pt idx="23985">
                  <c:v>25.456374432495529</c:v>
                </c:pt>
                <c:pt idx="23986">
                  <c:v>20.001091986818839</c:v>
                </c:pt>
                <c:pt idx="23987">
                  <c:v>37.736801355687277</c:v>
                </c:pt>
                <c:pt idx="23988">
                  <c:v>28.465030089713295</c:v>
                </c:pt>
                <c:pt idx="23989">
                  <c:v>29.858083309224792</c:v>
                </c:pt>
                <c:pt idx="23990">
                  <c:v>16.147739784083488</c:v>
                </c:pt>
                <c:pt idx="23991">
                  <c:v>31.621385002559951</c:v>
                </c:pt>
                <c:pt idx="23992">
                  <c:v>37.360278786133279</c:v>
                </c:pt>
                <c:pt idx="23993">
                  <c:v>39.310151619838166</c:v>
                </c:pt>
                <c:pt idx="23994">
                  <c:v>19.772836455939963</c:v>
                </c:pt>
                <c:pt idx="23995">
                  <c:v>31.181975319104588</c:v>
                </c:pt>
                <c:pt idx="23996">
                  <c:v>51.881567247223366</c:v>
                </c:pt>
                <c:pt idx="23997">
                  <c:v>23.81435820425515</c:v>
                </c:pt>
                <c:pt idx="23998">
                  <c:v>48.70204016455569</c:v>
                </c:pt>
                <c:pt idx="23999">
                  <c:v>32.583764242572045</c:v>
                </c:pt>
                <c:pt idx="24000">
                  <c:v>25.220743418666181</c:v>
                </c:pt>
                <c:pt idx="24001">
                  <c:v>30.876057036102562</c:v>
                </c:pt>
                <c:pt idx="24002">
                  <c:v>22.169567803468944</c:v>
                </c:pt>
                <c:pt idx="24003">
                  <c:v>48.229864949610665</c:v>
                </c:pt>
                <c:pt idx="24004">
                  <c:v>17.13512202027626</c:v>
                </c:pt>
                <c:pt idx="24005">
                  <c:v>30.77490524854219</c:v>
                </c:pt>
                <c:pt idx="24006">
                  <c:v>25.809167792466724</c:v>
                </c:pt>
                <c:pt idx="24007">
                  <c:v>31.010342235848718</c:v>
                </c:pt>
                <c:pt idx="24008">
                  <c:v>60.588733483164262</c:v>
                </c:pt>
                <c:pt idx="24009">
                  <c:v>48.73900959825621</c:v>
                </c:pt>
                <c:pt idx="24010">
                  <c:v>30.139293195890033</c:v>
                </c:pt>
                <c:pt idx="24011">
                  <c:v>28.127858682552333</c:v>
                </c:pt>
                <c:pt idx="24012">
                  <c:v>18.398133903435475</c:v>
                </c:pt>
                <c:pt idx="24013">
                  <c:v>23.535565402130239</c:v>
                </c:pt>
                <c:pt idx="24014">
                  <c:v>26.713380528368557</c:v>
                </c:pt>
                <c:pt idx="24015">
                  <c:v>27.592080621327966</c:v>
                </c:pt>
                <c:pt idx="24016">
                  <c:v>24.130831906453516</c:v>
                </c:pt>
                <c:pt idx="24017">
                  <c:v>26.470098518690627</c:v>
                </c:pt>
                <c:pt idx="24018">
                  <c:v>24.484018391208895</c:v>
                </c:pt>
                <c:pt idx="24019">
                  <c:v>42.743709924473883</c:v>
                </c:pt>
                <c:pt idx="24020">
                  <c:v>41.286621266384707</c:v>
                </c:pt>
                <c:pt idx="24021">
                  <c:v>32.037282465651103</c:v>
                </c:pt>
                <c:pt idx="24022">
                  <c:v>25.880154697563441</c:v>
                </c:pt>
                <c:pt idx="24023">
                  <c:v>21.383486385088894</c:v>
                </c:pt>
                <c:pt idx="24024">
                  <c:v>24.561670448726112</c:v>
                </c:pt>
                <c:pt idx="24025">
                  <c:v>25.572346062669201</c:v>
                </c:pt>
                <c:pt idx="24026">
                  <c:v>49.03458373650551</c:v>
                </c:pt>
                <c:pt idx="24027">
                  <c:v>22.22033402608535</c:v>
                </c:pt>
                <c:pt idx="24028">
                  <c:v>29.792450641252703</c:v>
                </c:pt>
                <c:pt idx="24029">
                  <c:v>48.79096412989734</c:v>
                </c:pt>
                <c:pt idx="24030">
                  <c:v>26.454497459686632</c:v>
                </c:pt>
                <c:pt idx="24031">
                  <c:v>27.401870920367969</c:v>
                </c:pt>
                <c:pt idx="24032">
                  <c:v>30.793666340917078</c:v>
                </c:pt>
                <c:pt idx="24033">
                  <c:v>29.437281008721406</c:v>
                </c:pt>
                <c:pt idx="24034">
                  <c:v>23.440523348856491</c:v>
                </c:pt>
                <c:pt idx="24035">
                  <c:v>19.959164579997136</c:v>
                </c:pt>
                <c:pt idx="24036">
                  <c:v>25.201211513354245</c:v>
                </c:pt>
                <c:pt idx="24037">
                  <c:v>17.590372223389057</c:v>
                </c:pt>
                <c:pt idx="24038">
                  <c:v>43.785682530411677</c:v>
                </c:pt>
                <c:pt idx="24039">
                  <c:v>22.224733626585561</c:v>
                </c:pt>
                <c:pt idx="24040">
                  <c:v>29.031984767398264</c:v>
                </c:pt>
                <c:pt idx="24041">
                  <c:v>62.358044724173844</c:v>
                </c:pt>
                <c:pt idx="24042">
                  <c:v>23.732813342770207</c:v>
                </c:pt>
                <c:pt idx="24043">
                  <c:v>18.796084072037452</c:v>
                </c:pt>
                <c:pt idx="24044">
                  <c:v>25.456319993575569</c:v>
                </c:pt>
                <c:pt idx="24045">
                  <c:v>25.278014843992459</c:v>
                </c:pt>
                <c:pt idx="24046">
                  <c:v>17.378483635935027</c:v>
                </c:pt>
                <c:pt idx="24047">
                  <c:v>22.549855455976644</c:v>
                </c:pt>
                <c:pt idx="24048">
                  <c:v>23.689439919257957</c:v>
                </c:pt>
                <c:pt idx="24049">
                  <c:v>33.494603933690442</c:v>
                </c:pt>
                <c:pt idx="24050">
                  <c:v>27.42881626798528</c:v>
                </c:pt>
                <c:pt idx="24051">
                  <c:v>32.203639346571492</c:v>
                </c:pt>
                <c:pt idx="24052">
                  <c:v>35.629017772304032</c:v>
                </c:pt>
                <c:pt idx="24053">
                  <c:v>46.439873840121194</c:v>
                </c:pt>
                <c:pt idx="24054">
                  <c:v>30.618338598903591</c:v>
                </c:pt>
                <c:pt idx="24055">
                  <c:v>26.697835495532317</c:v>
                </c:pt>
                <c:pt idx="24056">
                  <c:v>23.739144981760543</c:v>
                </c:pt>
                <c:pt idx="24057">
                  <c:v>45.768499604571652</c:v>
                </c:pt>
                <c:pt idx="24058">
                  <c:v>32.537422445215348</c:v>
                </c:pt>
                <c:pt idx="24059">
                  <c:v>24.534014132091762</c:v>
                </c:pt>
                <c:pt idx="24060">
                  <c:v>18.21865028398032</c:v>
                </c:pt>
                <c:pt idx="24061">
                  <c:v>23.5926214398058</c:v>
                </c:pt>
                <c:pt idx="24062">
                  <c:v>28.97362617009491</c:v>
                </c:pt>
                <c:pt idx="24063">
                  <c:v>29.483678017303689</c:v>
                </c:pt>
                <c:pt idx="24064">
                  <c:v>23.515411189483121</c:v>
                </c:pt>
                <c:pt idx="24065">
                  <c:v>18.732439573133544</c:v>
                </c:pt>
                <c:pt idx="24066">
                  <c:v>29.62477108736207</c:v>
                </c:pt>
                <c:pt idx="24067">
                  <c:v>25.405348498390879</c:v>
                </c:pt>
                <c:pt idx="24068">
                  <c:v>21.567496633356306</c:v>
                </c:pt>
                <c:pt idx="24069">
                  <c:v>24.920647597300967</c:v>
                </c:pt>
                <c:pt idx="24070">
                  <c:v>35.005083923864255</c:v>
                </c:pt>
                <c:pt idx="24071">
                  <c:v>32.682288157035515</c:v>
                </c:pt>
                <c:pt idx="24072">
                  <c:v>20.850033449994122</c:v>
                </c:pt>
                <c:pt idx="24073">
                  <c:v>20.85166524346608</c:v>
                </c:pt>
                <c:pt idx="24074">
                  <c:v>22.035627726882154</c:v>
                </c:pt>
                <c:pt idx="24075">
                  <c:v>55.539224406496032</c:v>
                </c:pt>
                <c:pt idx="24076">
                  <c:v>26.057809690451641</c:v>
                </c:pt>
                <c:pt idx="24077">
                  <c:v>29.253559848927985</c:v>
                </c:pt>
                <c:pt idx="24078">
                  <c:v>27.88931554339559</c:v>
                </c:pt>
                <c:pt idx="24079">
                  <c:v>34.228328601193191</c:v>
                </c:pt>
                <c:pt idx="24080">
                  <c:v>31.649273639104536</c:v>
                </c:pt>
                <c:pt idx="24081">
                  <c:v>47.913546025779155</c:v>
                </c:pt>
                <c:pt idx="24082">
                  <c:v>21.950687870260804</c:v>
                </c:pt>
                <c:pt idx="24083">
                  <c:v>30.200564846844198</c:v>
                </c:pt>
                <c:pt idx="24084">
                  <c:v>30.478635219282012</c:v>
                </c:pt>
                <c:pt idx="24085">
                  <c:v>28.85063928579946</c:v>
                </c:pt>
                <c:pt idx="24086">
                  <c:v>43.391899875612779</c:v>
                </c:pt>
                <c:pt idx="24087">
                  <c:v>49.37149206324429</c:v>
                </c:pt>
                <c:pt idx="24088">
                  <c:v>41.729737164301092</c:v>
                </c:pt>
                <c:pt idx="24089">
                  <c:v>48.966659160273011</c:v>
                </c:pt>
                <c:pt idx="24090">
                  <c:v>58.094759385508354</c:v>
                </c:pt>
                <c:pt idx="24091">
                  <c:v>25.804754585568176</c:v>
                </c:pt>
                <c:pt idx="24092">
                  <c:v>34.11001494591801</c:v>
                </c:pt>
                <c:pt idx="24093">
                  <c:v>27.115132749394398</c:v>
                </c:pt>
                <c:pt idx="24094">
                  <c:v>45.759442947760412</c:v>
                </c:pt>
                <c:pt idx="24095">
                  <c:v>16.244444944749855</c:v>
                </c:pt>
                <c:pt idx="24096">
                  <c:v>46.500687819008846</c:v>
                </c:pt>
                <c:pt idx="24097">
                  <c:v>22.934832745171491</c:v>
                </c:pt>
                <c:pt idx="24098">
                  <c:v>28.131115811642708</c:v>
                </c:pt>
                <c:pt idx="24099">
                  <c:v>26.721235866029176</c:v>
                </c:pt>
                <c:pt idx="24100">
                  <c:v>64.358203565749491</c:v>
                </c:pt>
                <c:pt idx="24101">
                  <c:v>35.236493326059765</c:v>
                </c:pt>
                <c:pt idx="24102">
                  <c:v>36.401843410865176</c:v>
                </c:pt>
                <c:pt idx="24103">
                  <c:v>32.241626929333357</c:v>
                </c:pt>
                <c:pt idx="24104">
                  <c:v>59.119416750048416</c:v>
                </c:pt>
                <c:pt idx="24105">
                  <c:v>50.535153250932836</c:v>
                </c:pt>
                <c:pt idx="24106">
                  <c:v>49.133179113268184</c:v>
                </c:pt>
                <c:pt idx="24107">
                  <c:v>43.9284430112507</c:v>
                </c:pt>
                <c:pt idx="24108">
                  <c:v>23.49366682847722</c:v>
                </c:pt>
                <c:pt idx="24109">
                  <c:v>24.534942081186109</c:v>
                </c:pt>
                <c:pt idx="24110">
                  <c:v>19.72849571337867</c:v>
                </c:pt>
                <c:pt idx="24111">
                  <c:v>25.017439506776132</c:v>
                </c:pt>
                <c:pt idx="24112">
                  <c:v>34.257356703244433</c:v>
                </c:pt>
                <c:pt idx="24113">
                  <c:v>31.615304759789364</c:v>
                </c:pt>
                <c:pt idx="24114">
                  <c:v>54.224229064120507</c:v>
                </c:pt>
                <c:pt idx="24115">
                  <c:v>25.37667317360571</c:v>
                </c:pt>
                <c:pt idx="24116">
                  <c:v>24.619956871554422</c:v>
                </c:pt>
                <c:pt idx="24117">
                  <c:v>23.040112605459221</c:v>
                </c:pt>
                <c:pt idx="24118">
                  <c:v>17.47914293477956</c:v>
                </c:pt>
                <c:pt idx="24119">
                  <c:v>35.984163963594646</c:v>
                </c:pt>
                <c:pt idx="24120">
                  <c:v>30.470055876016716</c:v>
                </c:pt>
                <c:pt idx="24121">
                  <c:v>51.535596687308718</c:v>
                </c:pt>
                <c:pt idx="24122">
                  <c:v>26.875817510526112</c:v>
                </c:pt>
                <c:pt idx="24123">
                  <c:v>27.776118955016852</c:v>
                </c:pt>
                <c:pt idx="24124">
                  <c:v>33.829624790757578</c:v>
                </c:pt>
                <c:pt idx="24125">
                  <c:v>26.365879200231319</c:v>
                </c:pt>
                <c:pt idx="24126">
                  <c:v>30.488278290826983</c:v>
                </c:pt>
                <c:pt idx="24127">
                  <c:v>23.846899370084863</c:v>
                </c:pt>
                <c:pt idx="24128">
                  <c:v>17.154719043138417</c:v>
                </c:pt>
                <c:pt idx="24129">
                  <c:v>18.470123526097332</c:v>
                </c:pt>
                <c:pt idx="24130">
                  <c:v>22.675701075842735</c:v>
                </c:pt>
                <c:pt idx="24131">
                  <c:v>22.763464078031387</c:v>
                </c:pt>
                <c:pt idx="24132">
                  <c:v>17.925805218773757</c:v>
                </c:pt>
                <c:pt idx="24133">
                  <c:v>30.415740478410413</c:v>
                </c:pt>
                <c:pt idx="24134">
                  <c:v>29.350082911182501</c:v>
                </c:pt>
                <c:pt idx="24135">
                  <c:v>22.151960883153837</c:v>
                </c:pt>
                <c:pt idx="24136">
                  <c:v>30.441498773128306</c:v>
                </c:pt>
                <c:pt idx="24137">
                  <c:v>28.503099620989623</c:v>
                </c:pt>
                <c:pt idx="24138">
                  <c:v>29.14060557374065</c:v>
                </c:pt>
                <c:pt idx="24139">
                  <c:v>24.295432804811721</c:v>
                </c:pt>
                <c:pt idx="24140">
                  <c:v>32.13682979530347</c:v>
                </c:pt>
                <c:pt idx="24141">
                  <c:v>30.545453128196158</c:v>
                </c:pt>
                <c:pt idx="24142">
                  <c:v>30.35532759567127</c:v>
                </c:pt>
                <c:pt idx="24143">
                  <c:v>28.49671740285288</c:v>
                </c:pt>
                <c:pt idx="24144">
                  <c:v>23.373599781904606</c:v>
                </c:pt>
                <c:pt idx="24145">
                  <c:v>48.471865754740399</c:v>
                </c:pt>
                <c:pt idx="24146">
                  <c:v>23.280423428696913</c:v>
                </c:pt>
                <c:pt idx="24147">
                  <c:v>29.006980527261732</c:v>
                </c:pt>
                <c:pt idx="24148">
                  <c:v>26.013497379884022</c:v>
                </c:pt>
                <c:pt idx="24149">
                  <c:v>27.183701165038144</c:v>
                </c:pt>
                <c:pt idx="24150">
                  <c:v>27.45062979169051</c:v>
                </c:pt>
                <c:pt idx="24151">
                  <c:v>30.50214641181093</c:v>
                </c:pt>
                <c:pt idx="24152">
                  <c:v>32.827069764278654</c:v>
                </c:pt>
                <c:pt idx="24153">
                  <c:v>32.274046078394228</c:v>
                </c:pt>
                <c:pt idx="24154">
                  <c:v>28.488646427716318</c:v>
                </c:pt>
                <c:pt idx="24155">
                  <c:v>26.139881383781997</c:v>
                </c:pt>
                <c:pt idx="24156">
                  <c:v>29.929815449116525</c:v>
                </c:pt>
                <c:pt idx="24157">
                  <c:v>23.904755521421929</c:v>
                </c:pt>
                <c:pt idx="24158">
                  <c:v>45.68720394016777</c:v>
                </c:pt>
                <c:pt idx="24159">
                  <c:v>28.580464985024435</c:v>
                </c:pt>
                <c:pt idx="24160">
                  <c:v>29.06056420193719</c:v>
                </c:pt>
                <c:pt idx="24161">
                  <c:v>27.725745427315125</c:v>
                </c:pt>
                <c:pt idx="24162">
                  <c:v>26.677376814988349</c:v>
                </c:pt>
                <c:pt idx="24163">
                  <c:v>22.842817292956145</c:v>
                </c:pt>
                <c:pt idx="24164">
                  <c:v>21.956623981337675</c:v>
                </c:pt>
                <c:pt idx="24165">
                  <c:v>34.262191690547539</c:v>
                </c:pt>
                <c:pt idx="24166">
                  <c:v>16.918281881935716</c:v>
                </c:pt>
                <c:pt idx="24167">
                  <c:v>32.284550132173514</c:v>
                </c:pt>
                <c:pt idx="24168">
                  <c:v>24.54800780057051</c:v>
                </c:pt>
                <c:pt idx="24169">
                  <c:v>20.160024810320639</c:v>
                </c:pt>
                <c:pt idx="24170">
                  <c:v>34.875324311283585</c:v>
                </c:pt>
                <c:pt idx="24171">
                  <c:v>45.15375552376311</c:v>
                </c:pt>
                <c:pt idx="24172">
                  <c:v>20.040300846680385</c:v>
                </c:pt>
                <c:pt idx="24173">
                  <c:v>24.661605873316255</c:v>
                </c:pt>
                <c:pt idx="24174">
                  <c:v>24.474925747768786</c:v>
                </c:pt>
                <c:pt idx="24175">
                  <c:v>45.882113189547994</c:v>
                </c:pt>
                <c:pt idx="24176">
                  <c:v>24.671666465341119</c:v>
                </c:pt>
                <c:pt idx="24177">
                  <c:v>27.112686778694684</c:v>
                </c:pt>
                <c:pt idx="24178">
                  <c:v>28.866020873872756</c:v>
                </c:pt>
                <c:pt idx="24179">
                  <c:v>18.691053130278984</c:v>
                </c:pt>
                <c:pt idx="24180">
                  <c:v>38.540831122978481</c:v>
                </c:pt>
                <c:pt idx="24181">
                  <c:v>15.13221864267679</c:v>
                </c:pt>
                <c:pt idx="24182">
                  <c:v>45.864558967202022</c:v>
                </c:pt>
                <c:pt idx="24183">
                  <c:v>33.909914580883502</c:v>
                </c:pt>
                <c:pt idx="24184">
                  <c:v>30.273006325024753</c:v>
                </c:pt>
                <c:pt idx="24185">
                  <c:v>32.711647502332632</c:v>
                </c:pt>
                <c:pt idx="24186">
                  <c:v>22.836926824854721</c:v>
                </c:pt>
                <c:pt idx="24187">
                  <c:v>28.677793751714322</c:v>
                </c:pt>
                <c:pt idx="24188">
                  <c:v>42.862996039775311</c:v>
                </c:pt>
                <c:pt idx="24189">
                  <c:v>45.700804653970216</c:v>
                </c:pt>
                <c:pt idx="24190">
                  <c:v>31.849501329828968</c:v>
                </c:pt>
                <c:pt idx="24191">
                  <c:v>24.407546989135597</c:v>
                </c:pt>
                <c:pt idx="24192">
                  <c:v>30.693075836823756</c:v>
                </c:pt>
                <c:pt idx="24193">
                  <c:v>50.976438105207947</c:v>
                </c:pt>
                <c:pt idx="24194">
                  <c:v>23.17532967457263</c:v>
                </c:pt>
                <c:pt idx="24195">
                  <c:v>60.615574997841946</c:v>
                </c:pt>
                <c:pt idx="24196">
                  <c:v>26.611824328864081</c:v>
                </c:pt>
                <c:pt idx="24197">
                  <c:v>24.030427714667745</c:v>
                </c:pt>
                <c:pt idx="24198">
                  <c:v>27.568830105761009</c:v>
                </c:pt>
                <c:pt idx="24199">
                  <c:v>21.013913146670696</c:v>
                </c:pt>
                <c:pt idx="24200">
                  <c:v>59.517011563096617</c:v>
                </c:pt>
                <c:pt idx="24201">
                  <c:v>34.624816513475366</c:v>
                </c:pt>
                <c:pt idx="24202">
                  <c:v>42.015711768617543</c:v>
                </c:pt>
                <c:pt idx="24203">
                  <c:v>23.281928219412087</c:v>
                </c:pt>
                <c:pt idx="24204">
                  <c:v>30.317125098093907</c:v>
                </c:pt>
                <c:pt idx="24205">
                  <c:v>18.205043994724964</c:v>
                </c:pt>
                <c:pt idx="24206">
                  <c:v>26.973510729899857</c:v>
                </c:pt>
                <c:pt idx="24207">
                  <c:v>34.340916690305441</c:v>
                </c:pt>
                <c:pt idx="24208">
                  <c:v>22.830088013648595</c:v>
                </c:pt>
                <c:pt idx="24209">
                  <c:v>38.369806336143029</c:v>
                </c:pt>
                <c:pt idx="24210">
                  <c:v>26.812117454516141</c:v>
                </c:pt>
                <c:pt idx="24211">
                  <c:v>41.612123536726941</c:v>
                </c:pt>
                <c:pt idx="24212">
                  <c:v>30.636997561269144</c:v>
                </c:pt>
                <c:pt idx="24213">
                  <c:v>29.814069915542451</c:v>
                </c:pt>
                <c:pt idx="24214">
                  <c:v>30.115489348763518</c:v>
                </c:pt>
                <c:pt idx="24215">
                  <c:v>21.42177858636806</c:v>
                </c:pt>
                <c:pt idx="24216">
                  <c:v>28.641956266354434</c:v>
                </c:pt>
                <c:pt idx="24217">
                  <c:v>31.651265261233593</c:v>
                </c:pt>
                <c:pt idx="24218">
                  <c:v>40.08971053391565</c:v>
                </c:pt>
                <c:pt idx="24219">
                  <c:v>53.432099676380595</c:v>
                </c:pt>
                <c:pt idx="24220">
                  <c:v>23.34840448383985</c:v>
                </c:pt>
                <c:pt idx="24221">
                  <c:v>21.126660667217184</c:v>
                </c:pt>
                <c:pt idx="24222">
                  <c:v>20.825440131634124</c:v>
                </c:pt>
                <c:pt idx="24223">
                  <c:v>21.751068853254953</c:v>
                </c:pt>
                <c:pt idx="24224">
                  <c:v>30.436547534921793</c:v>
                </c:pt>
                <c:pt idx="24225">
                  <c:v>24.275343882122439</c:v>
                </c:pt>
                <c:pt idx="24226">
                  <c:v>24.034716587060846</c:v>
                </c:pt>
                <c:pt idx="24227">
                  <c:v>47.477235595791853</c:v>
                </c:pt>
                <c:pt idx="24228">
                  <c:v>15.828268910060157</c:v>
                </c:pt>
                <c:pt idx="24229">
                  <c:v>25.505103996765982</c:v>
                </c:pt>
                <c:pt idx="24230">
                  <c:v>34.907136285478295</c:v>
                </c:pt>
                <c:pt idx="24231">
                  <c:v>41.552106387933691</c:v>
                </c:pt>
                <c:pt idx="24232">
                  <c:v>25.606530551863308</c:v>
                </c:pt>
                <c:pt idx="24233">
                  <c:v>47.806813119363468</c:v>
                </c:pt>
                <c:pt idx="24234">
                  <c:v>38.108348215452722</c:v>
                </c:pt>
                <c:pt idx="24235">
                  <c:v>17.074392647745725</c:v>
                </c:pt>
                <c:pt idx="24236">
                  <c:v>25.912008922468452</c:v>
                </c:pt>
                <c:pt idx="24237">
                  <c:v>30.6841014195229</c:v>
                </c:pt>
                <c:pt idx="24238">
                  <c:v>42.022649287654509</c:v>
                </c:pt>
                <c:pt idx="24239">
                  <c:v>30.232788083783763</c:v>
                </c:pt>
                <c:pt idx="24240">
                  <c:v>20.02384372357562</c:v>
                </c:pt>
                <c:pt idx="24241">
                  <c:v>35.773518577939448</c:v>
                </c:pt>
                <c:pt idx="24242">
                  <c:v>22.781079463989389</c:v>
                </c:pt>
                <c:pt idx="24243">
                  <c:v>14.484631359375525</c:v>
                </c:pt>
                <c:pt idx="24244">
                  <c:v>23.595705805124716</c:v>
                </c:pt>
                <c:pt idx="24245">
                  <c:v>21.467124838077723</c:v>
                </c:pt>
                <c:pt idx="24246">
                  <c:v>26.29124740296524</c:v>
                </c:pt>
                <c:pt idx="24247">
                  <c:v>27.001739067853585</c:v>
                </c:pt>
                <c:pt idx="24248">
                  <c:v>35.421327583732882</c:v>
                </c:pt>
                <c:pt idx="24249">
                  <c:v>29.887369561030827</c:v>
                </c:pt>
                <c:pt idx="24250">
                  <c:v>32.253419668123279</c:v>
                </c:pt>
                <c:pt idx="24251">
                  <c:v>26.491290935962567</c:v>
                </c:pt>
                <c:pt idx="24252">
                  <c:v>39.588266302849327</c:v>
                </c:pt>
                <c:pt idx="24253">
                  <c:v>37.134464670592813</c:v>
                </c:pt>
                <c:pt idx="24254">
                  <c:v>26.381368851496202</c:v>
                </c:pt>
                <c:pt idx="24255">
                  <c:v>27.378932718645856</c:v>
                </c:pt>
                <c:pt idx="24256">
                  <c:v>23.585112717941662</c:v>
                </c:pt>
                <c:pt idx="24257">
                  <c:v>20.874747642728686</c:v>
                </c:pt>
                <c:pt idx="24258">
                  <c:v>25.530824112517784</c:v>
                </c:pt>
                <c:pt idx="24259">
                  <c:v>27.126190980497732</c:v>
                </c:pt>
                <c:pt idx="24260">
                  <c:v>33.027432435136546</c:v>
                </c:pt>
                <c:pt idx="24261">
                  <c:v>38.72104296534684</c:v>
                </c:pt>
                <c:pt idx="24262">
                  <c:v>50.606342876439882</c:v>
                </c:pt>
                <c:pt idx="24263">
                  <c:v>31.76891297136639</c:v>
                </c:pt>
                <c:pt idx="24264">
                  <c:v>33.610088552985957</c:v>
                </c:pt>
                <c:pt idx="24265">
                  <c:v>35.275171467827043</c:v>
                </c:pt>
                <c:pt idx="24266">
                  <c:v>22.340230400607233</c:v>
                </c:pt>
                <c:pt idx="24267">
                  <c:v>30.917398831807812</c:v>
                </c:pt>
                <c:pt idx="24268">
                  <c:v>22.815026107967036</c:v>
                </c:pt>
                <c:pt idx="24269">
                  <c:v>19.405484652058483</c:v>
                </c:pt>
                <c:pt idx="24270">
                  <c:v>31.287382282311345</c:v>
                </c:pt>
                <c:pt idx="24271">
                  <c:v>28.547629346186394</c:v>
                </c:pt>
                <c:pt idx="24272">
                  <c:v>22.430611828075378</c:v>
                </c:pt>
                <c:pt idx="24273">
                  <c:v>23.159416145125149</c:v>
                </c:pt>
                <c:pt idx="24274">
                  <c:v>35.772873384983292</c:v>
                </c:pt>
                <c:pt idx="24275">
                  <c:v>26.915930942562191</c:v>
                </c:pt>
                <c:pt idx="24276">
                  <c:v>28.482925325194795</c:v>
                </c:pt>
                <c:pt idx="24277">
                  <c:v>35.180908236622123</c:v>
                </c:pt>
                <c:pt idx="24278">
                  <c:v>39.194521485780299</c:v>
                </c:pt>
                <c:pt idx="24279">
                  <c:v>46.939387059970393</c:v>
                </c:pt>
                <c:pt idx="24280">
                  <c:v>38.412136320873167</c:v>
                </c:pt>
                <c:pt idx="24281">
                  <c:v>39.996194972964524</c:v>
                </c:pt>
                <c:pt idx="24282">
                  <c:v>38.966370377132037</c:v>
                </c:pt>
                <c:pt idx="24283">
                  <c:v>18.76918733414935</c:v>
                </c:pt>
                <c:pt idx="24284">
                  <c:v>23.81237850941146</c:v>
                </c:pt>
                <c:pt idx="24285">
                  <c:v>28.126948775280805</c:v>
                </c:pt>
                <c:pt idx="24286">
                  <c:v>29.468644975910657</c:v>
                </c:pt>
                <c:pt idx="24287">
                  <c:v>22.458594033200367</c:v>
                </c:pt>
                <c:pt idx="24288">
                  <c:v>28.674349506213083</c:v>
                </c:pt>
                <c:pt idx="24289">
                  <c:v>26.306916968948116</c:v>
                </c:pt>
                <c:pt idx="24290">
                  <c:v>41.868953760701096</c:v>
                </c:pt>
                <c:pt idx="24291">
                  <c:v>36.733354673859608</c:v>
                </c:pt>
                <c:pt idx="24292">
                  <c:v>26.727069459051719</c:v>
                </c:pt>
                <c:pt idx="24293">
                  <c:v>28.624366517379315</c:v>
                </c:pt>
                <c:pt idx="24294">
                  <c:v>37.571835450776497</c:v>
                </c:pt>
                <c:pt idx="24295">
                  <c:v>52.8859685904374</c:v>
                </c:pt>
                <c:pt idx="24296">
                  <c:v>22.485633318187183</c:v>
                </c:pt>
                <c:pt idx="24297">
                  <c:v>26.588106482054307</c:v>
                </c:pt>
                <c:pt idx="24298">
                  <c:v>25.142249323982981</c:v>
                </c:pt>
                <c:pt idx="24299">
                  <c:v>20.465954652501278</c:v>
                </c:pt>
                <c:pt idx="24300">
                  <c:v>42.730935647620328</c:v>
                </c:pt>
                <c:pt idx="24301">
                  <c:v>28.428878288289045</c:v>
                </c:pt>
                <c:pt idx="24302">
                  <c:v>49.036626361185689</c:v>
                </c:pt>
                <c:pt idx="24303">
                  <c:v>52.959490566754589</c:v>
                </c:pt>
                <c:pt idx="24304">
                  <c:v>36.973488446795081</c:v>
                </c:pt>
                <c:pt idx="24305">
                  <c:v>32.537882830122982</c:v>
                </c:pt>
                <c:pt idx="24306">
                  <c:v>32.528611450647091</c:v>
                </c:pt>
                <c:pt idx="24307">
                  <c:v>56.781074540703784</c:v>
                </c:pt>
                <c:pt idx="24308">
                  <c:v>26.001293300386106</c:v>
                </c:pt>
                <c:pt idx="24309">
                  <c:v>44.371511986258454</c:v>
                </c:pt>
                <c:pt idx="24310">
                  <c:v>45.495849260978453</c:v>
                </c:pt>
                <c:pt idx="24311">
                  <c:v>43.296888138944247</c:v>
                </c:pt>
                <c:pt idx="24312">
                  <c:v>37.554333996329454</c:v>
                </c:pt>
                <c:pt idx="24313">
                  <c:v>20.599387924111372</c:v>
                </c:pt>
                <c:pt idx="24314">
                  <c:v>33.547326023288342</c:v>
                </c:pt>
                <c:pt idx="24315">
                  <c:v>18.592560174605321</c:v>
                </c:pt>
                <c:pt idx="24316">
                  <c:v>32.015048903731518</c:v>
                </c:pt>
                <c:pt idx="24317">
                  <c:v>54.225007914486071</c:v>
                </c:pt>
                <c:pt idx="24318">
                  <c:v>32.128823334712436</c:v>
                </c:pt>
                <c:pt idx="24319">
                  <c:v>21.290596835372014</c:v>
                </c:pt>
                <c:pt idx="24320">
                  <c:v>23.82811162596807</c:v>
                </c:pt>
                <c:pt idx="24321">
                  <c:v>20.181064372664963</c:v>
                </c:pt>
                <c:pt idx="24322">
                  <c:v>45.205710887352204</c:v>
                </c:pt>
                <c:pt idx="24323">
                  <c:v>29.970535381067311</c:v>
                </c:pt>
                <c:pt idx="24324">
                  <c:v>41.194114224958042</c:v>
                </c:pt>
                <c:pt idx="24325">
                  <c:v>22.479118037684881</c:v>
                </c:pt>
                <c:pt idx="24326">
                  <c:v>15.389972983288782</c:v>
                </c:pt>
                <c:pt idx="24327">
                  <c:v>22.51889591401487</c:v>
                </c:pt>
                <c:pt idx="24328">
                  <c:v>28.46008441870022</c:v>
                </c:pt>
                <c:pt idx="24329">
                  <c:v>19.259201046752839</c:v>
                </c:pt>
                <c:pt idx="24330">
                  <c:v>26.865837073691779</c:v>
                </c:pt>
                <c:pt idx="24331">
                  <c:v>46.930563607959876</c:v>
                </c:pt>
                <c:pt idx="24332">
                  <c:v>33.572175958357121</c:v>
                </c:pt>
                <c:pt idx="24333">
                  <c:v>23.829197333829669</c:v>
                </c:pt>
                <c:pt idx="24334">
                  <c:v>22.052350396480861</c:v>
                </c:pt>
                <c:pt idx="24335">
                  <c:v>21.991548224925189</c:v>
                </c:pt>
                <c:pt idx="24336">
                  <c:v>20.63458879704358</c:v>
                </c:pt>
                <c:pt idx="24337">
                  <c:v>23.056293626946946</c:v>
                </c:pt>
                <c:pt idx="24338">
                  <c:v>18.45462737230168</c:v>
                </c:pt>
                <c:pt idx="24339">
                  <c:v>28.511180418865774</c:v>
                </c:pt>
                <c:pt idx="24340">
                  <c:v>25.877431359796155</c:v>
                </c:pt>
                <c:pt idx="24341">
                  <c:v>27.116909039067465</c:v>
                </c:pt>
                <c:pt idx="24342">
                  <c:v>17.406189102197047</c:v>
                </c:pt>
                <c:pt idx="24343">
                  <c:v>23.214121430413627</c:v>
                </c:pt>
                <c:pt idx="24344">
                  <c:v>29.437471912002117</c:v>
                </c:pt>
                <c:pt idx="24345">
                  <c:v>49.373909761564093</c:v>
                </c:pt>
                <c:pt idx="24346">
                  <c:v>22.968244659603524</c:v>
                </c:pt>
                <c:pt idx="24347">
                  <c:v>31.754860857109328</c:v>
                </c:pt>
                <c:pt idx="24348">
                  <c:v>41.273744199664158</c:v>
                </c:pt>
                <c:pt idx="24349">
                  <c:v>45.638730267536467</c:v>
                </c:pt>
                <c:pt idx="24350">
                  <c:v>26.762239104092629</c:v>
                </c:pt>
                <c:pt idx="24351">
                  <c:v>23.07670575317626</c:v>
                </c:pt>
                <c:pt idx="24352">
                  <c:v>26.727544705849091</c:v>
                </c:pt>
                <c:pt idx="24353">
                  <c:v>59.081722366473613</c:v>
                </c:pt>
                <c:pt idx="24354">
                  <c:v>26.725062334459384</c:v>
                </c:pt>
                <c:pt idx="24355">
                  <c:v>27.12069152365428</c:v>
                </c:pt>
                <c:pt idx="24356">
                  <c:v>17.917383350514321</c:v>
                </c:pt>
                <c:pt idx="24357">
                  <c:v>27.023787059094431</c:v>
                </c:pt>
                <c:pt idx="24358">
                  <c:v>23.221085621980755</c:v>
                </c:pt>
                <c:pt idx="24359">
                  <c:v>35.06516312778632</c:v>
                </c:pt>
                <c:pt idx="24360">
                  <c:v>38.672758461387417</c:v>
                </c:pt>
                <c:pt idx="24361">
                  <c:v>22.800162635334964</c:v>
                </c:pt>
                <c:pt idx="24362">
                  <c:v>26.422689928542354</c:v>
                </c:pt>
                <c:pt idx="24363">
                  <c:v>26.723151949315451</c:v>
                </c:pt>
                <c:pt idx="24364">
                  <c:v>29.828245228228468</c:v>
                </c:pt>
                <c:pt idx="24365">
                  <c:v>48.553079816611124</c:v>
                </c:pt>
                <c:pt idx="24366">
                  <c:v>41.511483941689605</c:v>
                </c:pt>
                <c:pt idx="24367">
                  <c:v>37.05203038038038</c:v>
                </c:pt>
                <c:pt idx="24368">
                  <c:v>16.243025949219142</c:v>
                </c:pt>
                <c:pt idx="24369">
                  <c:v>30.420476524111969</c:v>
                </c:pt>
                <c:pt idx="24370">
                  <c:v>30.707257652926195</c:v>
                </c:pt>
                <c:pt idx="24371">
                  <c:v>33.032409767954412</c:v>
                </c:pt>
                <c:pt idx="24372">
                  <c:v>33.030128363733141</c:v>
                </c:pt>
                <c:pt idx="24373">
                  <c:v>24.613218220053032</c:v>
                </c:pt>
                <c:pt idx="24374">
                  <c:v>25.959587007188901</c:v>
                </c:pt>
                <c:pt idx="24375">
                  <c:v>30.561511013020262</c:v>
                </c:pt>
                <c:pt idx="24376">
                  <c:v>29.466201734562013</c:v>
                </c:pt>
                <c:pt idx="24377">
                  <c:v>38.535959223281473</c:v>
                </c:pt>
                <c:pt idx="24378">
                  <c:v>18.258606256577767</c:v>
                </c:pt>
                <c:pt idx="24379">
                  <c:v>24.836385162531197</c:v>
                </c:pt>
                <c:pt idx="24380">
                  <c:v>28.532573895378107</c:v>
                </c:pt>
                <c:pt idx="24381">
                  <c:v>30.131034740342752</c:v>
                </c:pt>
                <c:pt idx="24382">
                  <c:v>26.450253446622561</c:v>
                </c:pt>
                <c:pt idx="24383">
                  <c:v>43.910659714151933</c:v>
                </c:pt>
                <c:pt idx="24384">
                  <c:v>30.31848648114395</c:v>
                </c:pt>
                <c:pt idx="24385">
                  <c:v>41.731066930834103</c:v>
                </c:pt>
                <c:pt idx="24386">
                  <c:v>54.299161425249345</c:v>
                </c:pt>
                <c:pt idx="24387">
                  <c:v>32.006963886040168</c:v>
                </c:pt>
                <c:pt idx="24388">
                  <c:v>31.460103548755033</c:v>
                </c:pt>
                <c:pt idx="24389">
                  <c:v>42.192464253785587</c:v>
                </c:pt>
                <c:pt idx="24390">
                  <c:v>15.934961685732421</c:v>
                </c:pt>
                <c:pt idx="24391">
                  <c:v>43.601452579365429</c:v>
                </c:pt>
                <c:pt idx="24392">
                  <c:v>42.432760288863008</c:v>
                </c:pt>
                <c:pt idx="24393">
                  <c:v>25.16840696127101</c:v>
                </c:pt>
                <c:pt idx="24394">
                  <c:v>25.295113502174544</c:v>
                </c:pt>
                <c:pt idx="24395">
                  <c:v>26.747249227344213</c:v>
                </c:pt>
                <c:pt idx="24396">
                  <c:v>28.736969185778889</c:v>
                </c:pt>
                <c:pt idx="24397">
                  <c:v>39.074536975429581</c:v>
                </c:pt>
                <c:pt idx="24398">
                  <c:v>35.608042892480498</c:v>
                </c:pt>
                <c:pt idx="24399">
                  <c:v>36.002818536168618</c:v>
                </c:pt>
                <c:pt idx="24400">
                  <c:v>30.517203541316476</c:v>
                </c:pt>
                <c:pt idx="24401">
                  <c:v>38.097270119258695</c:v>
                </c:pt>
                <c:pt idx="24402">
                  <c:v>36.595822106189374</c:v>
                </c:pt>
                <c:pt idx="24403">
                  <c:v>26.604632772979663</c:v>
                </c:pt>
                <c:pt idx="24404">
                  <c:v>28.511180250833863</c:v>
                </c:pt>
                <c:pt idx="24405">
                  <c:v>28.273392989418198</c:v>
                </c:pt>
                <c:pt idx="24406">
                  <c:v>33.488259313564491</c:v>
                </c:pt>
                <c:pt idx="24407">
                  <c:v>41.243606722385096</c:v>
                </c:pt>
                <c:pt idx="24408">
                  <c:v>23.983526609952989</c:v>
                </c:pt>
                <c:pt idx="24409">
                  <c:v>26.835909099159682</c:v>
                </c:pt>
                <c:pt idx="24410">
                  <c:v>43.40585078466048</c:v>
                </c:pt>
                <c:pt idx="24411">
                  <c:v>38.701283930810973</c:v>
                </c:pt>
                <c:pt idx="24412">
                  <c:v>24.177782049577477</c:v>
                </c:pt>
                <c:pt idx="24413">
                  <c:v>25.192160661682106</c:v>
                </c:pt>
                <c:pt idx="24414">
                  <c:v>22.253051251017766</c:v>
                </c:pt>
                <c:pt idx="24415">
                  <c:v>29.722425040322115</c:v>
                </c:pt>
                <c:pt idx="24416">
                  <c:v>24.210405655834002</c:v>
                </c:pt>
                <c:pt idx="24417">
                  <c:v>23.781152807935104</c:v>
                </c:pt>
                <c:pt idx="24418">
                  <c:v>27.09764570056263</c:v>
                </c:pt>
                <c:pt idx="24419">
                  <c:v>35.554440394805781</c:v>
                </c:pt>
                <c:pt idx="24420">
                  <c:v>26.904748038546586</c:v>
                </c:pt>
                <c:pt idx="24421">
                  <c:v>23.07965100232461</c:v>
                </c:pt>
                <c:pt idx="24422">
                  <c:v>26.974598547440131</c:v>
                </c:pt>
                <c:pt idx="24423">
                  <c:v>45.387707421599593</c:v>
                </c:pt>
                <c:pt idx="24424">
                  <c:v>37.064415245221475</c:v>
                </c:pt>
                <c:pt idx="24425">
                  <c:v>19.570396932359603</c:v>
                </c:pt>
                <c:pt idx="24426">
                  <c:v>53.107748799517907</c:v>
                </c:pt>
                <c:pt idx="24427">
                  <c:v>17.659181872613786</c:v>
                </c:pt>
                <c:pt idx="24428">
                  <c:v>26.297479546642666</c:v>
                </c:pt>
                <c:pt idx="24429">
                  <c:v>42.004612336767416</c:v>
                </c:pt>
                <c:pt idx="24430">
                  <c:v>33.019374273445067</c:v>
                </c:pt>
                <c:pt idx="24431">
                  <c:v>54.278823328864547</c:v>
                </c:pt>
                <c:pt idx="24432">
                  <c:v>50.079821356873552</c:v>
                </c:pt>
                <c:pt idx="24433">
                  <c:v>32.943270583832415</c:v>
                </c:pt>
                <c:pt idx="24434">
                  <c:v>46.001576541525601</c:v>
                </c:pt>
                <c:pt idx="24435">
                  <c:v>31.195593083248632</c:v>
                </c:pt>
                <c:pt idx="24436">
                  <c:v>43.983159470503082</c:v>
                </c:pt>
                <c:pt idx="24437">
                  <c:v>32.565211719298247</c:v>
                </c:pt>
                <c:pt idx="24438">
                  <c:v>24.878464441517767</c:v>
                </c:pt>
                <c:pt idx="24439">
                  <c:v>41.130155784934963</c:v>
                </c:pt>
                <c:pt idx="24440">
                  <c:v>48.773748288635304</c:v>
                </c:pt>
                <c:pt idx="24441">
                  <c:v>33.461307861804613</c:v>
                </c:pt>
                <c:pt idx="24442">
                  <c:v>22.316526118474243</c:v>
                </c:pt>
                <c:pt idx="24443">
                  <c:v>37.879198481356696</c:v>
                </c:pt>
                <c:pt idx="24444">
                  <c:v>32.585738968281888</c:v>
                </c:pt>
                <c:pt idx="24445">
                  <c:v>21.687033891147102</c:v>
                </c:pt>
                <c:pt idx="24446">
                  <c:v>24.304547676615289</c:v>
                </c:pt>
                <c:pt idx="24447">
                  <c:v>50.468581200317729</c:v>
                </c:pt>
                <c:pt idx="24448">
                  <c:v>32.708151543499525</c:v>
                </c:pt>
                <c:pt idx="24449">
                  <c:v>30.854483635397806</c:v>
                </c:pt>
                <c:pt idx="24450">
                  <c:v>27.280382636944069</c:v>
                </c:pt>
                <c:pt idx="24451">
                  <c:v>32.548502533235329</c:v>
                </c:pt>
                <c:pt idx="24452">
                  <c:v>27.985394467335524</c:v>
                </c:pt>
                <c:pt idx="24453">
                  <c:v>29.198745913412431</c:v>
                </c:pt>
                <c:pt idx="24454">
                  <c:v>27.021489581210545</c:v>
                </c:pt>
                <c:pt idx="24455">
                  <c:v>32.561443610683774</c:v>
                </c:pt>
                <c:pt idx="24456">
                  <c:v>29.886761947076216</c:v>
                </c:pt>
                <c:pt idx="24457">
                  <c:v>28.441217929875599</c:v>
                </c:pt>
                <c:pt idx="24458">
                  <c:v>24.117855369295562</c:v>
                </c:pt>
                <c:pt idx="24459">
                  <c:v>27.828257890305466</c:v>
                </c:pt>
                <c:pt idx="24460">
                  <c:v>45.041033482384684</c:v>
                </c:pt>
                <c:pt idx="24461">
                  <c:v>32.784800231821201</c:v>
                </c:pt>
                <c:pt idx="24462">
                  <c:v>31.736305303909859</c:v>
                </c:pt>
                <c:pt idx="24463">
                  <c:v>25.257697333976189</c:v>
                </c:pt>
                <c:pt idx="24464">
                  <c:v>26.048421876696068</c:v>
                </c:pt>
                <c:pt idx="24465">
                  <c:v>34.922351608670581</c:v>
                </c:pt>
                <c:pt idx="24466">
                  <c:v>48.908326819115501</c:v>
                </c:pt>
                <c:pt idx="24467">
                  <c:v>28.296090482702802</c:v>
                </c:pt>
                <c:pt idx="24468">
                  <c:v>22.22832656281382</c:v>
                </c:pt>
                <c:pt idx="24469">
                  <c:v>22.4231651589877</c:v>
                </c:pt>
                <c:pt idx="24470">
                  <c:v>31.317717136957349</c:v>
                </c:pt>
                <c:pt idx="24471">
                  <c:v>16.913713791666133</c:v>
                </c:pt>
                <c:pt idx="24472">
                  <c:v>22.865016805745785</c:v>
                </c:pt>
                <c:pt idx="24473">
                  <c:v>20.652681432217058</c:v>
                </c:pt>
                <c:pt idx="24474">
                  <c:v>33.816306801675111</c:v>
                </c:pt>
                <c:pt idx="24475">
                  <c:v>51.109792998739145</c:v>
                </c:pt>
                <c:pt idx="24476">
                  <c:v>24.900480053693954</c:v>
                </c:pt>
                <c:pt idx="24477">
                  <c:v>26.851464405488905</c:v>
                </c:pt>
                <c:pt idx="24478">
                  <c:v>19.39287888531986</c:v>
                </c:pt>
                <c:pt idx="24479">
                  <c:v>32.156766080329902</c:v>
                </c:pt>
                <c:pt idx="24480">
                  <c:v>45.373167105523869</c:v>
                </c:pt>
                <c:pt idx="24481">
                  <c:v>31.542797363094966</c:v>
                </c:pt>
                <c:pt idx="24482">
                  <c:v>40.432884403576935</c:v>
                </c:pt>
                <c:pt idx="24483">
                  <c:v>26.654946373627759</c:v>
                </c:pt>
                <c:pt idx="24484">
                  <c:v>24.069312490666071</c:v>
                </c:pt>
                <c:pt idx="24485">
                  <c:v>40.873720958416854</c:v>
                </c:pt>
                <c:pt idx="24486">
                  <c:v>25.785769642928333</c:v>
                </c:pt>
                <c:pt idx="24487">
                  <c:v>21.647571835068902</c:v>
                </c:pt>
                <c:pt idx="24488">
                  <c:v>35.922098918147299</c:v>
                </c:pt>
                <c:pt idx="24489">
                  <c:v>35.23819025218053</c:v>
                </c:pt>
                <c:pt idx="24490">
                  <c:v>35.684180252342735</c:v>
                </c:pt>
                <c:pt idx="24491">
                  <c:v>33.363095124469986</c:v>
                </c:pt>
                <c:pt idx="24492">
                  <c:v>42.547106326045501</c:v>
                </c:pt>
                <c:pt idx="24493">
                  <c:v>29.653959439397312</c:v>
                </c:pt>
                <c:pt idx="24494">
                  <c:v>30.748430820647492</c:v>
                </c:pt>
                <c:pt idx="24495">
                  <c:v>37.609938891062761</c:v>
                </c:pt>
                <c:pt idx="24496">
                  <c:v>44.250209426147293</c:v>
                </c:pt>
                <c:pt idx="24497">
                  <c:v>25.843049489916748</c:v>
                </c:pt>
                <c:pt idx="24498">
                  <c:v>61.864811499708395</c:v>
                </c:pt>
                <c:pt idx="24499">
                  <c:v>30.783019802876968</c:v>
                </c:pt>
                <c:pt idx="24500">
                  <c:v>46.468898947669132</c:v>
                </c:pt>
                <c:pt idx="24501">
                  <c:v>50.155867850903789</c:v>
                </c:pt>
                <c:pt idx="24502">
                  <c:v>43.300260927573461</c:v>
                </c:pt>
                <c:pt idx="24503">
                  <c:v>38.238565915886625</c:v>
                </c:pt>
                <c:pt idx="24504">
                  <c:v>25.113643588574202</c:v>
                </c:pt>
                <c:pt idx="24505">
                  <c:v>53.145972006145278</c:v>
                </c:pt>
                <c:pt idx="24506">
                  <c:v>19.029190789554697</c:v>
                </c:pt>
                <c:pt idx="24507">
                  <c:v>27.140924083050582</c:v>
                </c:pt>
                <c:pt idx="24508">
                  <c:v>27.531564982615819</c:v>
                </c:pt>
                <c:pt idx="24509">
                  <c:v>47.773213820352439</c:v>
                </c:pt>
                <c:pt idx="24510">
                  <c:v>44.536738173967869</c:v>
                </c:pt>
                <c:pt idx="24511">
                  <c:v>30.585601371056864</c:v>
                </c:pt>
                <c:pt idx="24512">
                  <c:v>24.849161372192647</c:v>
                </c:pt>
                <c:pt idx="24513">
                  <c:v>56.318170452289593</c:v>
                </c:pt>
                <c:pt idx="24514">
                  <c:v>42.721159753498391</c:v>
                </c:pt>
                <c:pt idx="24515">
                  <c:v>18.928363028663252</c:v>
                </c:pt>
                <c:pt idx="24516">
                  <c:v>32.451057613224023</c:v>
                </c:pt>
                <c:pt idx="24517">
                  <c:v>54.566391316325571</c:v>
                </c:pt>
                <c:pt idx="24518">
                  <c:v>28.888473507741846</c:v>
                </c:pt>
                <c:pt idx="24519">
                  <c:v>23.301643374869315</c:v>
                </c:pt>
                <c:pt idx="24520">
                  <c:v>17.527427467701798</c:v>
                </c:pt>
                <c:pt idx="24521">
                  <c:v>46.029993482118194</c:v>
                </c:pt>
                <c:pt idx="24522">
                  <c:v>25.937733322065142</c:v>
                </c:pt>
                <c:pt idx="24523">
                  <c:v>33.138636753109125</c:v>
                </c:pt>
                <c:pt idx="24524">
                  <c:v>28.364222667329734</c:v>
                </c:pt>
                <c:pt idx="24525">
                  <c:v>34.482229105064235</c:v>
                </c:pt>
                <c:pt idx="24526">
                  <c:v>21.760633770905976</c:v>
                </c:pt>
                <c:pt idx="24527">
                  <c:v>38.766888960247755</c:v>
                </c:pt>
                <c:pt idx="24528">
                  <c:v>39.345748310940039</c:v>
                </c:pt>
                <c:pt idx="24529">
                  <c:v>24.921691735406622</c:v>
                </c:pt>
                <c:pt idx="24530">
                  <c:v>29.081624633043326</c:v>
                </c:pt>
                <c:pt idx="24531">
                  <c:v>29.010524414115554</c:v>
                </c:pt>
                <c:pt idx="24532">
                  <c:v>31.965698917371615</c:v>
                </c:pt>
                <c:pt idx="24533">
                  <c:v>21.929065612638858</c:v>
                </c:pt>
                <c:pt idx="24534">
                  <c:v>43.241283050802885</c:v>
                </c:pt>
                <c:pt idx="24535">
                  <c:v>34.771492016635541</c:v>
                </c:pt>
                <c:pt idx="24536">
                  <c:v>42.183880967882786</c:v>
                </c:pt>
                <c:pt idx="24537">
                  <c:v>36.697579542366121</c:v>
                </c:pt>
                <c:pt idx="24538">
                  <c:v>36.080215911489667</c:v>
                </c:pt>
                <c:pt idx="24539">
                  <c:v>24.950025744415818</c:v>
                </c:pt>
                <c:pt idx="24540">
                  <c:v>19.50558781015453</c:v>
                </c:pt>
                <c:pt idx="24541">
                  <c:v>52.193458949415181</c:v>
                </c:pt>
                <c:pt idx="24542">
                  <c:v>50.243588449845433</c:v>
                </c:pt>
                <c:pt idx="24543">
                  <c:v>38.517810886678028</c:v>
                </c:pt>
                <c:pt idx="24544">
                  <c:v>27.327558401759813</c:v>
                </c:pt>
                <c:pt idx="24545">
                  <c:v>34.482224010500694</c:v>
                </c:pt>
                <c:pt idx="24546">
                  <c:v>36.923854573186624</c:v>
                </c:pt>
                <c:pt idx="24547">
                  <c:v>25.310489776360718</c:v>
                </c:pt>
                <c:pt idx="24548">
                  <c:v>30.047997059198046</c:v>
                </c:pt>
                <c:pt idx="24549">
                  <c:v>27.621751997329845</c:v>
                </c:pt>
                <c:pt idx="24550">
                  <c:v>24.966774529364709</c:v>
                </c:pt>
                <c:pt idx="24551">
                  <c:v>42.409525742354155</c:v>
                </c:pt>
                <c:pt idx="24552">
                  <c:v>49.704484077669939</c:v>
                </c:pt>
                <c:pt idx="24553">
                  <c:v>30.088781371595861</c:v>
                </c:pt>
                <c:pt idx="24554">
                  <c:v>21.458789967307194</c:v>
                </c:pt>
                <c:pt idx="24555">
                  <c:v>36.002932880357676</c:v>
                </c:pt>
                <c:pt idx="24556">
                  <c:v>41.96125951387269</c:v>
                </c:pt>
                <c:pt idx="24557">
                  <c:v>46.013820483701053</c:v>
                </c:pt>
                <c:pt idx="24558">
                  <c:v>34.503388533339816</c:v>
                </c:pt>
                <c:pt idx="24559">
                  <c:v>28.408628399181591</c:v>
                </c:pt>
                <c:pt idx="24560">
                  <c:v>18.386096381831813</c:v>
                </c:pt>
                <c:pt idx="24561">
                  <c:v>29.27340980290176</c:v>
                </c:pt>
                <c:pt idx="24562">
                  <c:v>33.342581992502673</c:v>
                </c:pt>
                <c:pt idx="24563">
                  <c:v>45.009772396793814</c:v>
                </c:pt>
                <c:pt idx="24564">
                  <c:v>29.457869927904987</c:v>
                </c:pt>
                <c:pt idx="24565">
                  <c:v>33.245458649313548</c:v>
                </c:pt>
                <c:pt idx="24566">
                  <c:v>28.025103827350385</c:v>
                </c:pt>
                <c:pt idx="24567">
                  <c:v>26.959670822683972</c:v>
                </c:pt>
                <c:pt idx="24568">
                  <c:v>49.175902128575956</c:v>
                </c:pt>
                <c:pt idx="24569">
                  <c:v>26.642873031815572</c:v>
                </c:pt>
                <c:pt idx="24570">
                  <c:v>36.47495161037709</c:v>
                </c:pt>
                <c:pt idx="24571">
                  <c:v>48.736359591872244</c:v>
                </c:pt>
                <c:pt idx="24572">
                  <c:v>20.820491639542055</c:v>
                </c:pt>
                <c:pt idx="24573">
                  <c:v>40.136006777321356</c:v>
                </c:pt>
                <c:pt idx="24574">
                  <c:v>28.369842756039748</c:v>
                </c:pt>
                <c:pt idx="24575">
                  <c:v>28.919328184992075</c:v>
                </c:pt>
                <c:pt idx="24576">
                  <c:v>26.400042526338503</c:v>
                </c:pt>
                <c:pt idx="24577">
                  <c:v>27.679153892347351</c:v>
                </c:pt>
                <c:pt idx="24578">
                  <c:v>24.38293794705303</c:v>
                </c:pt>
                <c:pt idx="24579">
                  <c:v>33.168965272518307</c:v>
                </c:pt>
                <c:pt idx="24580">
                  <c:v>37.864379693943697</c:v>
                </c:pt>
                <c:pt idx="24581">
                  <c:v>18.929803102315699</c:v>
                </c:pt>
                <c:pt idx="24582">
                  <c:v>21.692593881829428</c:v>
                </c:pt>
                <c:pt idx="24583">
                  <c:v>57.109409218971123</c:v>
                </c:pt>
                <c:pt idx="24584">
                  <c:v>29.498159666109775</c:v>
                </c:pt>
                <c:pt idx="24585">
                  <c:v>25.943626837219657</c:v>
                </c:pt>
                <c:pt idx="24586">
                  <c:v>29.792273203737619</c:v>
                </c:pt>
                <c:pt idx="24587">
                  <c:v>33.436782149702061</c:v>
                </c:pt>
                <c:pt idx="24588">
                  <c:v>23.628376437588116</c:v>
                </c:pt>
                <c:pt idx="24589">
                  <c:v>19.584513504209081</c:v>
                </c:pt>
                <c:pt idx="24590">
                  <c:v>31.983324971729783</c:v>
                </c:pt>
                <c:pt idx="24591">
                  <c:v>24.867789070079333</c:v>
                </c:pt>
                <c:pt idx="24592">
                  <c:v>18.609601807716459</c:v>
                </c:pt>
                <c:pt idx="24593">
                  <c:v>18.537187500661176</c:v>
                </c:pt>
                <c:pt idx="24594">
                  <c:v>32.723837575196143</c:v>
                </c:pt>
                <c:pt idx="24595">
                  <c:v>51.339115042905306</c:v>
                </c:pt>
                <c:pt idx="24596">
                  <c:v>29.940541845078055</c:v>
                </c:pt>
                <c:pt idx="24597">
                  <c:v>26.102836447597824</c:v>
                </c:pt>
                <c:pt idx="24598">
                  <c:v>43.16029588242381</c:v>
                </c:pt>
                <c:pt idx="24599">
                  <c:v>16.555761103631582</c:v>
                </c:pt>
                <c:pt idx="24600">
                  <c:v>47.078595361150569</c:v>
                </c:pt>
                <c:pt idx="24601">
                  <c:v>21.863810441183386</c:v>
                </c:pt>
                <c:pt idx="24602">
                  <c:v>36.373072152733855</c:v>
                </c:pt>
                <c:pt idx="24603">
                  <c:v>21.434297894128086</c:v>
                </c:pt>
                <c:pt idx="24604">
                  <c:v>41.474229416736797</c:v>
                </c:pt>
                <c:pt idx="24605">
                  <c:v>27.570465581842811</c:v>
                </c:pt>
                <c:pt idx="24606">
                  <c:v>29.969453849720328</c:v>
                </c:pt>
                <c:pt idx="24607">
                  <c:v>28.801245849679947</c:v>
                </c:pt>
                <c:pt idx="24608">
                  <c:v>25.260321920084003</c:v>
                </c:pt>
                <c:pt idx="24609">
                  <c:v>30.629867878826708</c:v>
                </c:pt>
                <c:pt idx="24610">
                  <c:v>31.160659787800498</c:v>
                </c:pt>
                <c:pt idx="24611">
                  <c:v>25.6365524006636</c:v>
                </c:pt>
                <c:pt idx="24612">
                  <c:v>31.022233114967037</c:v>
                </c:pt>
                <c:pt idx="24613">
                  <c:v>58.122951278662661</c:v>
                </c:pt>
                <c:pt idx="24614">
                  <c:v>25.269661879008648</c:v>
                </c:pt>
                <c:pt idx="24615">
                  <c:v>26.926921785360996</c:v>
                </c:pt>
                <c:pt idx="24616">
                  <c:v>47.183737123066244</c:v>
                </c:pt>
                <c:pt idx="24617">
                  <c:v>26.473302195750954</c:v>
                </c:pt>
                <c:pt idx="24618">
                  <c:v>25.489829159021511</c:v>
                </c:pt>
                <c:pt idx="24619">
                  <c:v>49.481259022335074</c:v>
                </c:pt>
                <c:pt idx="24620">
                  <c:v>61.533470286954497</c:v>
                </c:pt>
                <c:pt idx="24621">
                  <c:v>25.06162803301212</c:v>
                </c:pt>
                <c:pt idx="24622">
                  <c:v>27.312601673060659</c:v>
                </c:pt>
                <c:pt idx="24623">
                  <c:v>26.400943866221521</c:v>
                </c:pt>
                <c:pt idx="24624">
                  <c:v>52.699207029283848</c:v>
                </c:pt>
                <c:pt idx="24625">
                  <c:v>25.452352799039879</c:v>
                </c:pt>
                <c:pt idx="24626">
                  <c:v>26.422035951735815</c:v>
                </c:pt>
                <c:pt idx="24627">
                  <c:v>49.460485531861323</c:v>
                </c:pt>
                <c:pt idx="24628">
                  <c:v>48.707607352505697</c:v>
                </c:pt>
                <c:pt idx="24629">
                  <c:v>26.708074706408208</c:v>
                </c:pt>
                <c:pt idx="24630">
                  <c:v>27.873155992540461</c:v>
                </c:pt>
                <c:pt idx="24631">
                  <c:v>22.32518010861375</c:v>
                </c:pt>
                <c:pt idx="24632">
                  <c:v>28.971670207657226</c:v>
                </c:pt>
                <c:pt idx="24633">
                  <c:v>35.136781024399902</c:v>
                </c:pt>
                <c:pt idx="24634">
                  <c:v>23.656408976631241</c:v>
                </c:pt>
                <c:pt idx="24635">
                  <c:v>20.741009227670563</c:v>
                </c:pt>
                <c:pt idx="24636">
                  <c:v>31.841164401224756</c:v>
                </c:pt>
                <c:pt idx="24637">
                  <c:v>27.313954176494939</c:v>
                </c:pt>
                <c:pt idx="24638">
                  <c:v>61.909791622384716</c:v>
                </c:pt>
                <c:pt idx="24639">
                  <c:v>28.507382533648496</c:v>
                </c:pt>
                <c:pt idx="24640">
                  <c:v>41.354872918091544</c:v>
                </c:pt>
                <c:pt idx="24641">
                  <c:v>24.410450825046251</c:v>
                </c:pt>
                <c:pt idx="24642">
                  <c:v>52.681440584709357</c:v>
                </c:pt>
                <c:pt idx="24643">
                  <c:v>30.815515151260321</c:v>
                </c:pt>
                <c:pt idx="24644">
                  <c:v>46.981988428388981</c:v>
                </c:pt>
                <c:pt idx="24645">
                  <c:v>23.080421892568801</c:v>
                </c:pt>
                <c:pt idx="24646">
                  <c:v>26.583889393107679</c:v>
                </c:pt>
                <c:pt idx="24647">
                  <c:v>37.131782359657016</c:v>
                </c:pt>
                <c:pt idx="24648">
                  <c:v>45.293235079935108</c:v>
                </c:pt>
                <c:pt idx="24649">
                  <c:v>25.679079557000332</c:v>
                </c:pt>
                <c:pt idx="24650">
                  <c:v>44.728742487209082</c:v>
                </c:pt>
                <c:pt idx="24651">
                  <c:v>26.844837911533119</c:v>
                </c:pt>
                <c:pt idx="24652">
                  <c:v>26.485759093503432</c:v>
                </c:pt>
                <c:pt idx="24653">
                  <c:v>24.663915625579609</c:v>
                </c:pt>
                <c:pt idx="24654">
                  <c:v>34.564026683647462</c:v>
                </c:pt>
                <c:pt idx="24655">
                  <c:v>42.86337396163448</c:v>
                </c:pt>
                <c:pt idx="24656">
                  <c:v>44.544612513740397</c:v>
                </c:pt>
                <c:pt idx="24657">
                  <c:v>26.193883968974959</c:v>
                </c:pt>
                <c:pt idx="24658">
                  <c:v>27.988282639816912</c:v>
                </c:pt>
                <c:pt idx="24659">
                  <c:v>25.660833690947982</c:v>
                </c:pt>
                <c:pt idx="24660">
                  <c:v>25.09431226424239</c:v>
                </c:pt>
                <c:pt idx="24661">
                  <c:v>25.387699461724914</c:v>
                </c:pt>
                <c:pt idx="24662">
                  <c:v>25.976787496722707</c:v>
                </c:pt>
                <c:pt idx="24663">
                  <c:v>32.679948156213463</c:v>
                </c:pt>
                <c:pt idx="24664">
                  <c:v>22.909694585458574</c:v>
                </c:pt>
                <c:pt idx="24665">
                  <c:v>21.642953479464669</c:v>
                </c:pt>
                <c:pt idx="24666">
                  <c:v>22.64948367772196</c:v>
                </c:pt>
                <c:pt idx="24667">
                  <c:v>21.552777200722172</c:v>
                </c:pt>
                <c:pt idx="24668">
                  <c:v>27.720472080106372</c:v>
                </c:pt>
                <c:pt idx="24669">
                  <c:v>49.841594395714431</c:v>
                </c:pt>
                <c:pt idx="24670">
                  <c:v>27.994212316291833</c:v>
                </c:pt>
                <c:pt idx="24671">
                  <c:v>32.054679305916324</c:v>
                </c:pt>
                <c:pt idx="24672">
                  <c:v>35.703243068413904</c:v>
                </c:pt>
                <c:pt idx="24673">
                  <c:v>26.521639191414973</c:v>
                </c:pt>
                <c:pt idx="24674">
                  <c:v>45.801175846008285</c:v>
                </c:pt>
                <c:pt idx="24675">
                  <c:v>56.134056555750782</c:v>
                </c:pt>
                <c:pt idx="24676">
                  <c:v>36.181158957894667</c:v>
                </c:pt>
                <c:pt idx="24677">
                  <c:v>24.331234226039093</c:v>
                </c:pt>
                <c:pt idx="24678">
                  <c:v>21.667927339498128</c:v>
                </c:pt>
                <c:pt idx="24679">
                  <c:v>34.224043583768101</c:v>
                </c:pt>
                <c:pt idx="24680">
                  <c:v>30.950081465781555</c:v>
                </c:pt>
                <c:pt idx="24681">
                  <c:v>23.234079384551254</c:v>
                </c:pt>
                <c:pt idx="24682">
                  <c:v>38.327974421114661</c:v>
                </c:pt>
                <c:pt idx="24683">
                  <c:v>28.625495319373226</c:v>
                </c:pt>
                <c:pt idx="24684">
                  <c:v>43.389939776110964</c:v>
                </c:pt>
                <c:pt idx="24685">
                  <c:v>37.107115952509503</c:v>
                </c:pt>
                <c:pt idx="24686">
                  <c:v>25.041412412777536</c:v>
                </c:pt>
                <c:pt idx="24687">
                  <c:v>49.197518509219748</c:v>
                </c:pt>
                <c:pt idx="24688">
                  <c:v>48.589550432027913</c:v>
                </c:pt>
                <c:pt idx="24689">
                  <c:v>22.454948043228889</c:v>
                </c:pt>
                <c:pt idx="24690">
                  <c:v>25.86067048257836</c:v>
                </c:pt>
                <c:pt idx="24691">
                  <c:v>48.326671173538003</c:v>
                </c:pt>
                <c:pt idx="24692">
                  <c:v>14.418724033444894</c:v>
                </c:pt>
                <c:pt idx="24693">
                  <c:v>44.56160125832011</c:v>
                </c:pt>
                <c:pt idx="24694">
                  <c:v>18.938381159422207</c:v>
                </c:pt>
                <c:pt idx="24695">
                  <c:v>22.415715646761196</c:v>
                </c:pt>
                <c:pt idx="24696">
                  <c:v>43.284498075858494</c:v>
                </c:pt>
                <c:pt idx="24697">
                  <c:v>51.049372170269336</c:v>
                </c:pt>
                <c:pt idx="24698">
                  <c:v>50.770721239838089</c:v>
                </c:pt>
                <c:pt idx="24699">
                  <c:v>46.730513822040123</c:v>
                </c:pt>
                <c:pt idx="24700">
                  <c:v>33.802558814184067</c:v>
                </c:pt>
                <c:pt idx="24701">
                  <c:v>29.277022970477571</c:v>
                </c:pt>
                <c:pt idx="24702">
                  <c:v>26.214027410927816</c:v>
                </c:pt>
                <c:pt idx="24703">
                  <c:v>23.347561566597452</c:v>
                </c:pt>
                <c:pt idx="24704">
                  <c:v>36.852781813639446</c:v>
                </c:pt>
                <c:pt idx="24705">
                  <c:v>28.985958484709691</c:v>
                </c:pt>
                <c:pt idx="24706">
                  <c:v>46.2778910699544</c:v>
                </c:pt>
                <c:pt idx="24707">
                  <c:v>26.049622997408036</c:v>
                </c:pt>
                <c:pt idx="24708">
                  <c:v>50.089973379220758</c:v>
                </c:pt>
                <c:pt idx="24709">
                  <c:v>26.908005018429947</c:v>
                </c:pt>
                <c:pt idx="24710">
                  <c:v>13.585921721969401</c:v>
                </c:pt>
                <c:pt idx="24711">
                  <c:v>26.884736955334091</c:v>
                </c:pt>
                <c:pt idx="24712">
                  <c:v>26.986083687527984</c:v>
                </c:pt>
                <c:pt idx="24713">
                  <c:v>16.165012674638341</c:v>
                </c:pt>
                <c:pt idx="24714">
                  <c:v>29.67105265636679</c:v>
                </c:pt>
                <c:pt idx="24715">
                  <c:v>26.418171502471111</c:v>
                </c:pt>
                <c:pt idx="24716">
                  <c:v>22.821889997117012</c:v>
                </c:pt>
                <c:pt idx="24717">
                  <c:v>36.670101843705709</c:v>
                </c:pt>
                <c:pt idx="24718">
                  <c:v>27.146486396077055</c:v>
                </c:pt>
                <c:pt idx="24719">
                  <c:v>38.326799741781819</c:v>
                </c:pt>
                <c:pt idx="24720">
                  <c:v>33.879768955111103</c:v>
                </c:pt>
                <c:pt idx="24721">
                  <c:v>27.461762159039836</c:v>
                </c:pt>
                <c:pt idx="24722">
                  <c:v>30.360898651572178</c:v>
                </c:pt>
                <c:pt idx="24723">
                  <c:v>57.888406891650867</c:v>
                </c:pt>
                <c:pt idx="24724">
                  <c:v>28.299770468004652</c:v>
                </c:pt>
                <c:pt idx="24725">
                  <c:v>32.008375479120367</c:v>
                </c:pt>
                <c:pt idx="24726">
                  <c:v>29.20469954364474</c:v>
                </c:pt>
                <c:pt idx="24727">
                  <c:v>42.180555338840932</c:v>
                </c:pt>
                <c:pt idx="24728">
                  <c:v>26.796765659277963</c:v>
                </c:pt>
                <c:pt idx="24729">
                  <c:v>57.355053890279606</c:v>
                </c:pt>
                <c:pt idx="24730">
                  <c:v>38.302950235991162</c:v>
                </c:pt>
                <c:pt idx="24731">
                  <c:v>21.215282739359736</c:v>
                </c:pt>
                <c:pt idx="24732">
                  <c:v>41.780705321884227</c:v>
                </c:pt>
                <c:pt idx="24733">
                  <c:v>23.634499521631021</c:v>
                </c:pt>
                <c:pt idx="24734">
                  <c:v>21.03552658751676</c:v>
                </c:pt>
                <c:pt idx="24735">
                  <c:v>47.043499231739226</c:v>
                </c:pt>
                <c:pt idx="24736">
                  <c:v>22.108015781841019</c:v>
                </c:pt>
                <c:pt idx="24737">
                  <c:v>31.939809623531691</c:v>
                </c:pt>
                <c:pt idx="24738">
                  <c:v>20.158252294628902</c:v>
                </c:pt>
                <c:pt idx="24739">
                  <c:v>25.781027789935195</c:v>
                </c:pt>
                <c:pt idx="24740">
                  <c:v>23.311472349927396</c:v>
                </c:pt>
                <c:pt idx="24741">
                  <c:v>26.594748189559148</c:v>
                </c:pt>
                <c:pt idx="24742">
                  <c:v>19.496057650782742</c:v>
                </c:pt>
                <c:pt idx="24743">
                  <c:v>31.45591081809836</c:v>
                </c:pt>
                <c:pt idx="24744">
                  <c:v>16.548696431729127</c:v>
                </c:pt>
                <c:pt idx="24745">
                  <c:v>41.120545726449393</c:v>
                </c:pt>
                <c:pt idx="24746">
                  <c:v>51.374433814057269</c:v>
                </c:pt>
                <c:pt idx="24747">
                  <c:v>34.389155391885026</c:v>
                </c:pt>
                <c:pt idx="24748">
                  <c:v>24.106763759003289</c:v>
                </c:pt>
                <c:pt idx="24749">
                  <c:v>37.644373840042348</c:v>
                </c:pt>
                <c:pt idx="24750">
                  <c:v>40.899907337672282</c:v>
                </c:pt>
                <c:pt idx="24751">
                  <c:v>28.960251656792469</c:v>
                </c:pt>
                <c:pt idx="24752">
                  <c:v>20.509751550033133</c:v>
                </c:pt>
                <c:pt idx="24753">
                  <c:v>23.309311521472338</c:v>
                </c:pt>
                <c:pt idx="24754">
                  <c:v>35.577117381477684</c:v>
                </c:pt>
                <c:pt idx="24755">
                  <c:v>29.87745336387907</c:v>
                </c:pt>
                <c:pt idx="24756">
                  <c:v>17.935072114123063</c:v>
                </c:pt>
                <c:pt idx="24757">
                  <c:v>23.348700232787802</c:v>
                </c:pt>
                <c:pt idx="24758">
                  <c:v>24.943513684225831</c:v>
                </c:pt>
                <c:pt idx="24759">
                  <c:v>49.223586982891156</c:v>
                </c:pt>
                <c:pt idx="24760">
                  <c:v>25.191936434348492</c:v>
                </c:pt>
                <c:pt idx="24761">
                  <c:v>39.027000167872636</c:v>
                </c:pt>
                <c:pt idx="24762">
                  <c:v>34.046420769448154</c:v>
                </c:pt>
                <c:pt idx="24763">
                  <c:v>21.745068251401932</c:v>
                </c:pt>
                <c:pt idx="24764">
                  <c:v>28.713040264551523</c:v>
                </c:pt>
                <c:pt idx="24765">
                  <c:v>22.65510506346418</c:v>
                </c:pt>
                <c:pt idx="24766">
                  <c:v>52.269515964970836</c:v>
                </c:pt>
                <c:pt idx="24767">
                  <c:v>17.44586104592063</c:v>
                </c:pt>
                <c:pt idx="24768">
                  <c:v>24.179859903132538</c:v>
                </c:pt>
                <c:pt idx="24769">
                  <c:v>32.127659574798471</c:v>
                </c:pt>
                <c:pt idx="24770">
                  <c:v>37.305751165215568</c:v>
                </c:pt>
                <c:pt idx="24771">
                  <c:v>40.571543867225181</c:v>
                </c:pt>
                <c:pt idx="24772">
                  <c:v>24.532240786415947</c:v>
                </c:pt>
                <c:pt idx="24773">
                  <c:v>25.320156294025637</c:v>
                </c:pt>
                <c:pt idx="24774">
                  <c:v>30.984510264462163</c:v>
                </c:pt>
                <c:pt idx="24775">
                  <c:v>43.517542619082022</c:v>
                </c:pt>
                <c:pt idx="24776">
                  <c:v>26.2276757009991</c:v>
                </c:pt>
                <c:pt idx="24777">
                  <c:v>16.085840914954762</c:v>
                </c:pt>
                <c:pt idx="24778">
                  <c:v>16.056849629384047</c:v>
                </c:pt>
                <c:pt idx="24779">
                  <c:v>30.623883251333368</c:v>
                </c:pt>
                <c:pt idx="24780">
                  <c:v>49.208153600775717</c:v>
                </c:pt>
                <c:pt idx="24781">
                  <c:v>39.224361258433007</c:v>
                </c:pt>
                <c:pt idx="24782">
                  <c:v>54.682188280984327</c:v>
                </c:pt>
                <c:pt idx="24783">
                  <c:v>45.654094627890608</c:v>
                </c:pt>
                <c:pt idx="24784">
                  <c:v>23.388830698897387</c:v>
                </c:pt>
                <c:pt idx="24785">
                  <c:v>26.88032504939417</c:v>
                </c:pt>
                <c:pt idx="24786">
                  <c:v>25.957258790787048</c:v>
                </c:pt>
                <c:pt idx="24787">
                  <c:v>23.66274132103246</c:v>
                </c:pt>
                <c:pt idx="24788">
                  <c:v>25.996458152239452</c:v>
                </c:pt>
                <c:pt idx="24789">
                  <c:v>25.236063771797269</c:v>
                </c:pt>
                <c:pt idx="24790">
                  <c:v>31.859948470028598</c:v>
                </c:pt>
                <c:pt idx="24791">
                  <c:v>40.471689940104405</c:v>
                </c:pt>
                <c:pt idx="24792">
                  <c:v>15.920133664467064</c:v>
                </c:pt>
                <c:pt idx="24793">
                  <c:v>27.202638208978897</c:v>
                </c:pt>
                <c:pt idx="24794">
                  <c:v>32.963827360851234</c:v>
                </c:pt>
                <c:pt idx="24795">
                  <c:v>27.29038022228881</c:v>
                </c:pt>
                <c:pt idx="24796">
                  <c:v>38.577553762331377</c:v>
                </c:pt>
                <c:pt idx="24797">
                  <c:v>27.987524672377827</c:v>
                </c:pt>
                <c:pt idx="24798">
                  <c:v>72.740241153902701</c:v>
                </c:pt>
                <c:pt idx="24799">
                  <c:v>25.057777003385826</c:v>
                </c:pt>
                <c:pt idx="24800">
                  <c:v>24.011418320658208</c:v>
                </c:pt>
                <c:pt idx="24801">
                  <c:v>28.442909223850886</c:v>
                </c:pt>
                <c:pt idx="24802">
                  <c:v>37.456378687652894</c:v>
                </c:pt>
                <c:pt idx="24803">
                  <c:v>26.043762910086244</c:v>
                </c:pt>
                <c:pt idx="24804">
                  <c:v>28.190417675749039</c:v>
                </c:pt>
                <c:pt idx="24805">
                  <c:v>23.330306880190378</c:v>
                </c:pt>
                <c:pt idx="24806">
                  <c:v>22.910637375175511</c:v>
                </c:pt>
                <c:pt idx="24807">
                  <c:v>24.972905686494915</c:v>
                </c:pt>
                <c:pt idx="24808">
                  <c:v>39.478806948879701</c:v>
                </c:pt>
                <c:pt idx="24809">
                  <c:v>29.878956680925729</c:v>
                </c:pt>
                <c:pt idx="24810">
                  <c:v>30.087938394946718</c:v>
                </c:pt>
                <c:pt idx="24811">
                  <c:v>32.916351831879901</c:v>
                </c:pt>
                <c:pt idx="24812">
                  <c:v>42.397958341365573</c:v>
                </c:pt>
                <c:pt idx="24813">
                  <c:v>31.373364226625718</c:v>
                </c:pt>
                <c:pt idx="24814">
                  <c:v>24.720714791326397</c:v>
                </c:pt>
                <c:pt idx="24815">
                  <c:v>36.85259354718751</c:v>
                </c:pt>
                <c:pt idx="24816">
                  <c:v>22.543007793168591</c:v>
                </c:pt>
                <c:pt idx="24817">
                  <c:v>46.344597884574839</c:v>
                </c:pt>
                <c:pt idx="24818">
                  <c:v>27.096774913934883</c:v>
                </c:pt>
                <c:pt idx="24819">
                  <c:v>44.088706041224277</c:v>
                </c:pt>
                <c:pt idx="24820">
                  <c:v>27.303975589677002</c:v>
                </c:pt>
                <c:pt idx="24821">
                  <c:v>47.656473175006155</c:v>
                </c:pt>
                <c:pt idx="24822">
                  <c:v>28.915411165653101</c:v>
                </c:pt>
                <c:pt idx="24823">
                  <c:v>53.336366034632405</c:v>
                </c:pt>
                <c:pt idx="24824">
                  <c:v>30.292539882590113</c:v>
                </c:pt>
                <c:pt idx="24825">
                  <c:v>21.564322004510309</c:v>
                </c:pt>
                <c:pt idx="24826">
                  <c:v>19.7976824413443</c:v>
                </c:pt>
                <c:pt idx="24827">
                  <c:v>47.271690364954765</c:v>
                </c:pt>
                <c:pt idx="24828">
                  <c:v>30.667844528100265</c:v>
                </c:pt>
                <c:pt idx="24829">
                  <c:v>25.220483555501239</c:v>
                </c:pt>
                <c:pt idx="24830">
                  <c:v>46.20149816067304</c:v>
                </c:pt>
                <c:pt idx="24831">
                  <c:v>28.167002405274918</c:v>
                </c:pt>
                <c:pt idx="24832">
                  <c:v>22.657669305274514</c:v>
                </c:pt>
                <c:pt idx="24833">
                  <c:v>28.123399524989406</c:v>
                </c:pt>
                <c:pt idx="24834">
                  <c:v>24.761199114977067</c:v>
                </c:pt>
                <c:pt idx="24835">
                  <c:v>27.069204173276798</c:v>
                </c:pt>
                <c:pt idx="24836">
                  <c:v>40.572618205725973</c:v>
                </c:pt>
                <c:pt idx="24837">
                  <c:v>16.8413834031739</c:v>
                </c:pt>
                <c:pt idx="24838">
                  <c:v>32.822533363228885</c:v>
                </c:pt>
                <c:pt idx="24839">
                  <c:v>48.622451001764084</c:v>
                </c:pt>
                <c:pt idx="24840">
                  <c:v>13.767713110489414</c:v>
                </c:pt>
                <c:pt idx="24841">
                  <c:v>49.873335384954594</c:v>
                </c:pt>
                <c:pt idx="24842">
                  <c:v>28.25019512275977</c:v>
                </c:pt>
                <c:pt idx="24843">
                  <c:v>44.254827613663693</c:v>
                </c:pt>
                <c:pt idx="24844">
                  <c:v>23.194170949587203</c:v>
                </c:pt>
                <c:pt idx="24845">
                  <c:v>34.490009422122981</c:v>
                </c:pt>
                <c:pt idx="24846">
                  <c:v>22.027554639049271</c:v>
                </c:pt>
                <c:pt idx="24847">
                  <c:v>29.187778391832353</c:v>
                </c:pt>
                <c:pt idx="24848">
                  <c:v>53.337495059252326</c:v>
                </c:pt>
                <c:pt idx="24849">
                  <c:v>30.712204070234222</c:v>
                </c:pt>
                <c:pt idx="24850">
                  <c:v>26.661335687643046</c:v>
                </c:pt>
                <c:pt idx="24851">
                  <c:v>44.580687694961149</c:v>
                </c:pt>
                <c:pt idx="24852">
                  <c:v>20.505829180835704</c:v>
                </c:pt>
                <c:pt idx="24853">
                  <c:v>36.337717215427446</c:v>
                </c:pt>
                <c:pt idx="24854">
                  <c:v>15.775787181462123</c:v>
                </c:pt>
                <c:pt idx="24855">
                  <c:v>31.429780978772936</c:v>
                </c:pt>
                <c:pt idx="24856">
                  <c:v>17.195385838725791</c:v>
                </c:pt>
                <c:pt idx="24857">
                  <c:v>31.265016800407416</c:v>
                </c:pt>
                <c:pt idx="24858">
                  <c:v>22.248951879853003</c:v>
                </c:pt>
                <c:pt idx="24859">
                  <c:v>27.268756708265265</c:v>
                </c:pt>
                <c:pt idx="24860">
                  <c:v>26.270795188608531</c:v>
                </c:pt>
                <c:pt idx="24861">
                  <c:v>29.664609490559076</c:v>
                </c:pt>
                <c:pt idx="24862">
                  <c:v>20.777619216411338</c:v>
                </c:pt>
                <c:pt idx="24863">
                  <c:v>43.722095544714449</c:v>
                </c:pt>
                <c:pt idx="24864">
                  <c:v>26.539716218080805</c:v>
                </c:pt>
                <c:pt idx="24865">
                  <c:v>27.580329517575297</c:v>
                </c:pt>
                <c:pt idx="24866">
                  <c:v>29.45585533357351</c:v>
                </c:pt>
                <c:pt idx="24867">
                  <c:v>26.41772482907767</c:v>
                </c:pt>
                <c:pt idx="24868">
                  <c:v>32.555790674458606</c:v>
                </c:pt>
                <c:pt idx="24869">
                  <c:v>34.953972375963559</c:v>
                </c:pt>
                <c:pt idx="24870">
                  <c:v>21.201795348426831</c:v>
                </c:pt>
                <c:pt idx="24871">
                  <c:v>29.124300961769841</c:v>
                </c:pt>
                <c:pt idx="24872">
                  <c:v>31.287385875125828</c:v>
                </c:pt>
                <c:pt idx="24873">
                  <c:v>25.026879667738683</c:v>
                </c:pt>
                <c:pt idx="24874">
                  <c:v>36.086224468670714</c:v>
                </c:pt>
                <c:pt idx="24875">
                  <c:v>28.024981247010501</c:v>
                </c:pt>
                <c:pt idx="24876">
                  <c:v>28.340031784560637</c:v>
                </c:pt>
                <c:pt idx="24877">
                  <c:v>42.930370510477644</c:v>
                </c:pt>
                <c:pt idx="24878">
                  <c:v>27.848365423375878</c:v>
                </c:pt>
                <c:pt idx="24879">
                  <c:v>44.91040232618537</c:v>
                </c:pt>
                <c:pt idx="24880">
                  <c:v>53.90655441061115</c:v>
                </c:pt>
                <c:pt idx="24881">
                  <c:v>21.069587831511146</c:v>
                </c:pt>
                <c:pt idx="24882">
                  <c:v>50.052614153588209</c:v>
                </c:pt>
                <c:pt idx="24883">
                  <c:v>22.605223737316489</c:v>
                </c:pt>
                <c:pt idx="24884">
                  <c:v>47.075000807011172</c:v>
                </c:pt>
                <c:pt idx="24885">
                  <c:v>21.284708451466827</c:v>
                </c:pt>
                <c:pt idx="24886">
                  <c:v>35.995763077154592</c:v>
                </c:pt>
                <c:pt idx="24887">
                  <c:v>45.909113532924074</c:v>
                </c:pt>
                <c:pt idx="24888">
                  <c:v>48.784012336783817</c:v>
                </c:pt>
                <c:pt idx="24889">
                  <c:v>20.847648102111894</c:v>
                </c:pt>
                <c:pt idx="24890">
                  <c:v>33.062943929781333</c:v>
                </c:pt>
                <c:pt idx="24891">
                  <c:v>21.307905367335479</c:v>
                </c:pt>
                <c:pt idx="24892">
                  <c:v>35.929857063952944</c:v>
                </c:pt>
                <c:pt idx="24893">
                  <c:v>21.176358246838912</c:v>
                </c:pt>
                <c:pt idx="24894">
                  <c:v>21.746600544283382</c:v>
                </c:pt>
                <c:pt idx="24895">
                  <c:v>31.283966011450168</c:v>
                </c:pt>
                <c:pt idx="24896">
                  <c:v>28.578210883681233</c:v>
                </c:pt>
                <c:pt idx="24897">
                  <c:v>18.677922369019015</c:v>
                </c:pt>
                <c:pt idx="24898">
                  <c:v>38.503586028737338</c:v>
                </c:pt>
                <c:pt idx="24899">
                  <c:v>27.792729401957914</c:v>
                </c:pt>
                <c:pt idx="24900">
                  <c:v>29.092222908418979</c:v>
                </c:pt>
                <c:pt idx="24901">
                  <c:v>22.595743980195671</c:v>
                </c:pt>
                <c:pt idx="24902">
                  <c:v>36.017988698934495</c:v>
                </c:pt>
                <c:pt idx="24903">
                  <c:v>32.251982289586167</c:v>
                </c:pt>
                <c:pt idx="24904">
                  <c:v>21.714803527589464</c:v>
                </c:pt>
                <c:pt idx="24905">
                  <c:v>33.276707221967541</c:v>
                </c:pt>
                <c:pt idx="24906">
                  <c:v>19.103237920409423</c:v>
                </c:pt>
                <c:pt idx="24907">
                  <c:v>48.368059538392799</c:v>
                </c:pt>
                <c:pt idx="24908">
                  <c:v>27.634608317975051</c:v>
                </c:pt>
                <c:pt idx="24909">
                  <c:v>23.908403525964086</c:v>
                </c:pt>
                <c:pt idx="24910">
                  <c:v>29.396823977585413</c:v>
                </c:pt>
                <c:pt idx="24911">
                  <c:v>23.031344168852176</c:v>
                </c:pt>
                <c:pt idx="24912">
                  <c:v>30.276498472507829</c:v>
                </c:pt>
                <c:pt idx="24913">
                  <c:v>33.780803602618533</c:v>
                </c:pt>
                <c:pt idx="24914">
                  <c:v>32.841084331109485</c:v>
                </c:pt>
                <c:pt idx="24915">
                  <c:v>24.029072354843453</c:v>
                </c:pt>
                <c:pt idx="24916">
                  <c:v>32.22574334158427</c:v>
                </c:pt>
                <c:pt idx="24917">
                  <c:v>41.271217216883457</c:v>
                </c:pt>
                <c:pt idx="24918">
                  <c:v>25.19985483550813</c:v>
                </c:pt>
                <c:pt idx="24919">
                  <c:v>38.829055397968723</c:v>
                </c:pt>
                <c:pt idx="24920">
                  <c:v>46.300352219486847</c:v>
                </c:pt>
                <c:pt idx="24921">
                  <c:v>49.522079476369825</c:v>
                </c:pt>
                <c:pt idx="24922">
                  <c:v>47.75229086591979</c:v>
                </c:pt>
                <c:pt idx="24923">
                  <c:v>23.21601306641314</c:v>
                </c:pt>
                <c:pt idx="24924">
                  <c:v>41.284501486882718</c:v>
                </c:pt>
                <c:pt idx="24925">
                  <c:v>21.364646851178314</c:v>
                </c:pt>
                <c:pt idx="24926">
                  <c:v>30.623701563035503</c:v>
                </c:pt>
                <c:pt idx="24927">
                  <c:v>24.394173113782099</c:v>
                </c:pt>
                <c:pt idx="24928">
                  <c:v>45.47441260941779</c:v>
                </c:pt>
                <c:pt idx="24929">
                  <c:v>24.600827493058812</c:v>
                </c:pt>
                <c:pt idx="24930">
                  <c:v>29.581645047263976</c:v>
                </c:pt>
                <c:pt idx="24931">
                  <c:v>15.322512274675239</c:v>
                </c:pt>
                <c:pt idx="24932">
                  <c:v>30.814686826331712</c:v>
                </c:pt>
                <c:pt idx="24933">
                  <c:v>46.439888355524936</c:v>
                </c:pt>
                <c:pt idx="24934">
                  <c:v>34.323158961586181</c:v>
                </c:pt>
                <c:pt idx="24935">
                  <c:v>26.041840531419957</c:v>
                </c:pt>
                <c:pt idx="24936">
                  <c:v>26.060732606160506</c:v>
                </c:pt>
                <c:pt idx="24937">
                  <c:v>43.494044604583202</c:v>
                </c:pt>
                <c:pt idx="24938">
                  <c:v>32.975056816213431</c:v>
                </c:pt>
                <c:pt idx="24939">
                  <c:v>24.296482085188018</c:v>
                </c:pt>
                <c:pt idx="24940">
                  <c:v>35.155215317177536</c:v>
                </c:pt>
                <c:pt idx="24941">
                  <c:v>18.591950276265216</c:v>
                </c:pt>
                <c:pt idx="24942">
                  <c:v>55.411510507183159</c:v>
                </c:pt>
                <c:pt idx="24943">
                  <c:v>21.171690783122337</c:v>
                </c:pt>
                <c:pt idx="24944">
                  <c:v>32.780672481388201</c:v>
                </c:pt>
                <c:pt idx="24945">
                  <c:v>28.774967370242543</c:v>
                </c:pt>
                <c:pt idx="24946">
                  <c:v>26.375045637561549</c:v>
                </c:pt>
                <c:pt idx="24947">
                  <c:v>28.252975730927599</c:v>
                </c:pt>
                <c:pt idx="24948">
                  <c:v>32.785286680859379</c:v>
                </c:pt>
                <c:pt idx="24949">
                  <c:v>20.601803507869473</c:v>
                </c:pt>
                <c:pt idx="24950">
                  <c:v>28.142556036742235</c:v>
                </c:pt>
                <c:pt idx="24951">
                  <c:v>34.970350663907666</c:v>
                </c:pt>
                <c:pt idx="24952">
                  <c:v>45.202590538632876</c:v>
                </c:pt>
                <c:pt idx="24953">
                  <c:v>43.246700402920702</c:v>
                </c:pt>
                <c:pt idx="24954">
                  <c:v>32.993688662773692</c:v>
                </c:pt>
                <c:pt idx="24955">
                  <c:v>28.475635053222767</c:v>
                </c:pt>
                <c:pt idx="24956">
                  <c:v>52.626422020389889</c:v>
                </c:pt>
                <c:pt idx="24957">
                  <c:v>37.91062313272559</c:v>
                </c:pt>
                <c:pt idx="24958">
                  <c:v>56.112840492285137</c:v>
                </c:pt>
                <c:pt idx="24959">
                  <c:v>23.085348269285504</c:v>
                </c:pt>
                <c:pt idx="24960">
                  <c:v>21.367085686511974</c:v>
                </c:pt>
                <c:pt idx="24961">
                  <c:v>22.783655002525759</c:v>
                </c:pt>
                <c:pt idx="24962">
                  <c:v>47.744704416877887</c:v>
                </c:pt>
                <c:pt idx="24963">
                  <c:v>29.409851160061166</c:v>
                </c:pt>
                <c:pt idx="24964">
                  <c:v>26.280937590060415</c:v>
                </c:pt>
                <c:pt idx="24965">
                  <c:v>22.642946522499507</c:v>
                </c:pt>
                <c:pt idx="24966">
                  <c:v>32.606400680626543</c:v>
                </c:pt>
                <c:pt idx="24967">
                  <c:v>25.88567147971488</c:v>
                </c:pt>
                <c:pt idx="24968">
                  <c:v>23.210684872466967</c:v>
                </c:pt>
                <c:pt idx="24969">
                  <c:v>41.2679122966126</c:v>
                </c:pt>
                <c:pt idx="24970">
                  <c:v>24.732854460505195</c:v>
                </c:pt>
                <c:pt idx="24971">
                  <c:v>29.384277372721051</c:v>
                </c:pt>
                <c:pt idx="24972">
                  <c:v>26.097068825016038</c:v>
                </c:pt>
                <c:pt idx="24973">
                  <c:v>24.419719845350009</c:v>
                </c:pt>
                <c:pt idx="24974">
                  <c:v>42.984590261978951</c:v>
                </c:pt>
                <c:pt idx="24975">
                  <c:v>29.675029072075027</c:v>
                </c:pt>
                <c:pt idx="24976">
                  <c:v>21.414083858882975</c:v>
                </c:pt>
                <c:pt idx="24977">
                  <c:v>54.379298533925748</c:v>
                </c:pt>
                <c:pt idx="24978">
                  <c:v>20.591805475554427</c:v>
                </c:pt>
                <c:pt idx="24979">
                  <c:v>26.516201236883852</c:v>
                </c:pt>
                <c:pt idx="24980">
                  <c:v>27.723602164209908</c:v>
                </c:pt>
                <c:pt idx="24981">
                  <c:v>49.120179956648798</c:v>
                </c:pt>
                <c:pt idx="24982">
                  <c:v>15.500563331978235</c:v>
                </c:pt>
                <c:pt idx="24983">
                  <c:v>26.945795614739232</c:v>
                </c:pt>
                <c:pt idx="24984">
                  <c:v>24.490121053797445</c:v>
                </c:pt>
                <c:pt idx="24985">
                  <c:v>36.992423552450454</c:v>
                </c:pt>
                <c:pt idx="24986">
                  <c:v>33.815852645626144</c:v>
                </c:pt>
                <c:pt idx="24987">
                  <c:v>42.460919020536572</c:v>
                </c:pt>
                <c:pt idx="24988">
                  <c:v>25.845758584812529</c:v>
                </c:pt>
                <c:pt idx="24989">
                  <c:v>21.743933145437612</c:v>
                </c:pt>
                <c:pt idx="24990">
                  <c:v>24.996516403344394</c:v>
                </c:pt>
                <c:pt idx="24991">
                  <c:v>29.439831599304426</c:v>
                </c:pt>
                <c:pt idx="24992">
                  <c:v>20.867907407452197</c:v>
                </c:pt>
                <c:pt idx="24993">
                  <c:v>51.023182385684258</c:v>
                </c:pt>
                <c:pt idx="24994">
                  <c:v>32.596507265269253</c:v>
                </c:pt>
                <c:pt idx="24995">
                  <c:v>31.924808350341607</c:v>
                </c:pt>
                <c:pt idx="24996">
                  <c:v>24.651775405111405</c:v>
                </c:pt>
                <c:pt idx="24997">
                  <c:v>51.033689644961086</c:v>
                </c:pt>
                <c:pt idx="24998">
                  <c:v>47.678479153093868</c:v>
                </c:pt>
                <c:pt idx="24999">
                  <c:v>23.702237343918302</c:v>
                </c:pt>
                <c:pt idx="25000">
                  <c:v>27.633999822556607</c:v>
                </c:pt>
                <c:pt idx="25001">
                  <c:v>32.945119368586461</c:v>
                </c:pt>
                <c:pt idx="25002">
                  <c:v>25.55156924484692</c:v>
                </c:pt>
                <c:pt idx="25003">
                  <c:v>28.442045496787216</c:v>
                </c:pt>
                <c:pt idx="25004">
                  <c:v>42.122998865256953</c:v>
                </c:pt>
                <c:pt idx="25005">
                  <c:v>21.313019733970087</c:v>
                </c:pt>
                <c:pt idx="25006">
                  <c:v>42.84906946708761</c:v>
                </c:pt>
                <c:pt idx="25007">
                  <c:v>34.138692806633344</c:v>
                </c:pt>
                <c:pt idx="25008">
                  <c:v>27.149488833693056</c:v>
                </c:pt>
                <c:pt idx="25009">
                  <c:v>20.564311244783831</c:v>
                </c:pt>
                <c:pt idx="25010">
                  <c:v>23.945645921559041</c:v>
                </c:pt>
                <c:pt idx="25011">
                  <c:v>23.682967793254143</c:v>
                </c:pt>
                <c:pt idx="25012">
                  <c:v>36.575169270506414</c:v>
                </c:pt>
                <c:pt idx="25013">
                  <c:v>35.110640120564248</c:v>
                </c:pt>
                <c:pt idx="25014">
                  <c:v>21.601219594035452</c:v>
                </c:pt>
                <c:pt idx="25015">
                  <c:v>40.100604787190825</c:v>
                </c:pt>
                <c:pt idx="25016">
                  <c:v>21.916925584206446</c:v>
                </c:pt>
                <c:pt idx="25017">
                  <c:v>27.685484843640698</c:v>
                </c:pt>
                <c:pt idx="25018">
                  <c:v>39.447553291531129</c:v>
                </c:pt>
                <c:pt idx="25019">
                  <c:v>17.59427057525734</c:v>
                </c:pt>
                <c:pt idx="25020">
                  <c:v>21.994652909532462</c:v>
                </c:pt>
                <c:pt idx="25021">
                  <c:v>24.769568672915319</c:v>
                </c:pt>
                <c:pt idx="25022">
                  <c:v>23.884446304420688</c:v>
                </c:pt>
                <c:pt idx="25023">
                  <c:v>20.84011224957608</c:v>
                </c:pt>
                <c:pt idx="25024">
                  <c:v>26.497609639757954</c:v>
                </c:pt>
                <c:pt idx="25025">
                  <c:v>25.275425450137952</c:v>
                </c:pt>
                <c:pt idx="25026">
                  <c:v>44.719769557913125</c:v>
                </c:pt>
                <c:pt idx="25027">
                  <c:v>48.143897976004489</c:v>
                </c:pt>
                <c:pt idx="25028">
                  <c:v>24.398194014396047</c:v>
                </c:pt>
                <c:pt idx="25029">
                  <c:v>29.017409086108763</c:v>
                </c:pt>
                <c:pt idx="25030">
                  <c:v>24.676658754073774</c:v>
                </c:pt>
                <c:pt idx="25031">
                  <c:v>21.823604800739538</c:v>
                </c:pt>
                <c:pt idx="25032">
                  <c:v>25.864829474665395</c:v>
                </c:pt>
                <c:pt idx="25033">
                  <c:v>15.420488794560372</c:v>
                </c:pt>
                <c:pt idx="25034">
                  <c:v>28.564216664671534</c:v>
                </c:pt>
                <c:pt idx="25035">
                  <c:v>28.336305756641075</c:v>
                </c:pt>
                <c:pt idx="25036">
                  <c:v>30.183651654803796</c:v>
                </c:pt>
                <c:pt idx="25037">
                  <c:v>29.902466430420848</c:v>
                </c:pt>
                <c:pt idx="25038">
                  <c:v>24.936425728600522</c:v>
                </c:pt>
                <c:pt idx="25039">
                  <c:v>27.949486096414798</c:v>
                </c:pt>
                <c:pt idx="25040">
                  <c:v>31.281497930907285</c:v>
                </c:pt>
                <c:pt idx="25041">
                  <c:v>34.805054136592489</c:v>
                </c:pt>
                <c:pt idx="25042">
                  <c:v>27.355110710527558</c:v>
                </c:pt>
                <c:pt idx="25043">
                  <c:v>28.018576277794395</c:v>
                </c:pt>
                <c:pt idx="25044">
                  <c:v>40.002850596724983</c:v>
                </c:pt>
                <c:pt idx="25045">
                  <c:v>49.859695660081975</c:v>
                </c:pt>
                <c:pt idx="25046">
                  <c:v>22.154746203479519</c:v>
                </c:pt>
                <c:pt idx="25047">
                  <c:v>17.989805227141908</c:v>
                </c:pt>
                <c:pt idx="25048">
                  <c:v>44.429942032347526</c:v>
                </c:pt>
                <c:pt idx="25049">
                  <c:v>33.169123086156098</c:v>
                </c:pt>
                <c:pt idx="25050">
                  <c:v>24.410151285321867</c:v>
                </c:pt>
                <c:pt idx="25051">
                  <c:v>54.805421481925798</c:v>
                </c:pt>
                <c:pt idx="25052">
                  <c:v>20.894757803559028</c:v>
                </c:pt>
                <c:pt idx="25053">
                  <c:v>28.853412390604316</c:v>
                </c:pt>
                <c:pt idx="25054">
                  <c:v>40.917361013905122</c:v>
                </c:pt>
                <c:pt idx="25055">
                  <c:v>33.689558809233837</c:v>
                </c:pt>
                <c:pt idx="25056">
                  <c:v>28.804475662318794</c:v>
                </c:pt>
                <c:pt idx="25057">
                  <c:v>29.826857331114272</c:v>
                </c:pt>
                <c:pt idx="25058">
                  <c:v>21.248991589479687</c:v>
                </c:pt>
                <c:pt idx="25059">
                  <c:v>33.589511951059492</c:v>
                </c:pt>
                <c:pt idx="25060">
                  <c:v>16.465488226681103</c:v>
                </c:pt>
                <c:pt idx="25061">
                  <c:v>20.684496880015207</c:v>
                </c:pt>
                <c:pt idx="25062">
                  <c:v>26.276321498155127</c:v>
                </c:pt>
                <c:pt idx="25063">
                  <c:v>27.578657838476019</c:v>
                </c:pt>
                <c:pt idx="25064">
                  <c:v>24.527301733991514</c:v>
                </c:pt>
                <c:pt idx="25065">
                  <c:v>50.980135256896887</c:v>
                </c:pt>
                <c:pt idx="25066">
                  <c:v>44.579846034504705</c:v>
                </c:pt>
                <c:pt idx="25067">
                  <c:v>53.652385327297225</c:v>
                </c:pt>
                <c:pt idx="25068">
                  <c:v>30.180680559743646</c:v>
                </c:pt>
                <c:pt idx="25069">
                  <c:v>23.738081328208914</c:v>
                </c:pt>
                <c:pt idx="25070">
                  <c:v>38.810577281078906</c:v>
                </c:pt>
                <c:pt idx="25071">
                  <c:v>31.750998312457334</c:v>
                </c:pt>
                <c:pt idx="25072">
                  <c:v>25.017868136458134</c:v>
                </c:pt>
                <c:pt idx="25073">
                  <c:v>34.115159988586306</c:v>
                </c:pt>
                <c:pt idx="25074">
                  <c:v>38.956432338193004</c:v>
                </c:pt>
                <c:pt idx="25075">
                  <c:v>48.103193241700055</c:v>
                </c:pt>
                <c:pt idx="25076">
                  <c:v>25.978010768341708</c:v>
                </c:pt>
                <c:pt idx="25077">
                  <c:v>19.176781390072094</c:v>
                </c:pt>
                <c:pt idx="25078">
                  <c:v>22.060591212126127</c:v>
                </c:pt>
                <c:pt idx="25079">
                  <c:v>24.05605405419054</c:v>
                </c:pt>
                <c:pt idx="25080">
                  <c:v>25.608152543331926</c:v>
                </c:pt>
                <c:pt idx="25081">
                  <c:v>50.853148348015026</c:v>
                </c:pt>
                <c:pt idx="25082">
                  <c:v>29.757444171794383</c:v>
                </c:pt>
                <c:pt idx="25083">
                  <c:v>54.278560817440599</c:v>
                </c:pt>
                <c:pt idx="25084">
                  <c:v>23.673099026342587</c:v>
                </c:pt>
                <c:pt idx="25085">
                  <c:v>33.376622924340161</c:v>
                </c:pt>
                <c:pt idx="25086">
                  <c:v>26.620567385836605</c:v>
                </c:pt>
                <c:pt idx="25087">
                  <c:v>26.971586445025853</c:v>
                </c:pt>
                <c:pt idx="25088">
                  <c:v>44.720378988702095</c:v>
                </c:pt>
                <c:pt idx="25089">
                  <c:v>43.787633573323085</c:v>
                </c:pt>
                <c:pt idx="25090">
                  <c:v>30.553437095371514</c:v>
                </c:pt>
                <c:pt idx="25091">
                  <c:v>36.467432417750317</c:v>
                </c:pt>
                <c:pt idx="25092">
                  <c:v>27.856463675892346</c:v>
                </c:pt>
                <c:pt idx="25093">
                  <c:v>47.467100121923337</c:v>
                </c:pt>
                <c:pt idx="25094">
                  <c:v>21.718807269948556</c:v>
                </c:pt>
                <c:pt idx="25095">
                  <c:v>25.023987979891373</c:v>
                </c:pt>
                <c:pt idx="25096">
                  <c:v>43.528542717999031</c:v>
                </c:pt>
                <c:pt idx="25097">
                  <c:v>41.730475998009211</c:v>
                </c:pt>
                <c:pt idx="25098">
                  <c:v>31.011462444690856</c:v>
                </c:pt>
                <c:pt idx="25099">
                  <c:v>27.871747407194778</c:v>
                </c:pt>
                <c:pt idx="25100">
                  <c:v>30.057029759003992</c:v>
                </c:pt>
                <c:pt idx="25101">
                  <c:v>24.933937961253417</c:v>
                </c:pt>
                <c:pt idx="25102">
                  <c:v>48.49235692702635</c:v>
                </c:pt>
                <c:pt idx="25103">
                  <c:v>52.640081573569176</c:v>
                </c:pt>
                <c:pt idx="25104">
                  <c:v>36.342863548809682</c:v>
                </c:pt>
                <c:pt idx="25105">
                  <c:v>21.937700296691613</c:v>
                </c:pt>
                <c:pt idx="25106">
                  <c:v>30.212434431431031</c:v>
                </c:pt>
                <c:pt idx="25107">
                  <c:v>48.006883529007666</c:v>
                </c:pt>
                <c:pt idx="25108">
                  <c:v>24.501867036089365</c:v>
                </c:pt>
                <c:pt idx="25109">
                  <c:v>35.738804693085889</c:v>
                </c:pt>
                <c:pt idx="25110">
                  <c:v>25.828705436236334</c:v>
                </c:pt>
                <c:pt idx="25111">
                  <c:v>26.579871143694159</c:v>
                </c:pt>
                <c:pt idx="25112">
                  <c:v>37.68949222495695</c:v>
                </c:pt>
                <c:pt idx="25113">
                  <c:v>24.920349282171941</c:v>
                </c:pt>
                <c:pt idx="25114">
                  <c:v>56.304926079365281</c:v>
                </c:pt>
                <c:pt idx="25115">
                  <c:v>23.678801547648376</c:v>
                </c:pt>
                <c:pt idx="25116">
                  <c:v>18.244111187983165</c:v>
                </c:pt>
                <c:pt idx="25117">
                  <c:v>42.203550215598824</c:v>
                </c:pt>
                <c:pt idx="25118">
                  <c:v>25.639116265324908</c:v>
                </c:pt>
                <c:pt idx="25119">
                  <c:v>40.877041259468584</c:v>
                </c:pt>
                <c:pt idx="25120">
                  <c:v>26.38480246317792</c:v>
                </c:pt>
                <c:pt idx="25121">
                  <c:v>46.954701947218382</c:v>
                </c:pt>
                <c:pt idx="25122">
                  <c:v>28.71579930959458</c:v>
                </c:pt>
                <c:pt idx="25123">
                  <c:v>23.968036088397351</c:v>
                </c:pt>
                <c:pt idx="25124">
                  <c:v>26.919329680965788</c:v>
                </c:pt>
                <c:pt idx="25125">
                  <c:v>27.063218563315655</c:v>
                </c:pt>
                <c:pt idx="25126">
                  <c:v>29.771653727019043</c:v>
                </c:pt>
                <c:pt idx="25127">
                  <c:v>20.215489251321021</c:v>
                </c:pt>
                <c:pt idx="25128">
                  <c:v>32.874400462868337</c:v>
                </c:pt>
                <c:pt idx="25129">
                  <c:v>28.779819658488378</c:v>
                </c:pt>
                <c:pt idx="25130">
                  <c:v>51.20728814126813</c:v>
                </c:pt>
                <c:pt idx="25131">
                  <c:v>48.453319860146983</c:v>
                </c:pt>
                <c:pt idx="25132">
                  <c:v>30.006223506569064</c:v>
                </c:pt>
                <c:pt idx="25133">
                  <c:v>49.703539524648875</c:v>
                </c:pt>
                <c:pt idx="25134">
                  <c:v>23.441244759609035</c:v>
                </c:pt>
                <c:pt idx="25135">
                  <c:v>29.359518378447902</c:v>
                </c:pt>
                <c:pt idx="25136">
                  <c:v>23.009651122717422</c:v>
                </c:pt>
                <c:pt idx="25137">
                  <c:v>60.780591132472225</c:v>
                </c:pt>
                <c:pt idx="25138">
                  <c:v>23.462702425316319</c:v>
                </c:pt>
                <c:pt idx="25139">
                  <c:v>25.152484125962843</c:v>
                </c:pt>
                <c:pt idx="25140">
                  <c:v>26.112073320234568</c:v>
                </c:pt>
                <c:pt idx="25141">
                  <c:v>41.838612148956493</c:v>
                </c:pt>
                <c:pt idx="25142">
                  <c:v>50.772594035356484</c:v>
                </c:pt>
                <c:pt idx="25143">
                  <c:v>34.814610117214883</c:v>
                </c:pt>
                <c:pt idx="25144">
                  <c:v>49.95143507982192</c:v>
                </c:pt>
                <c:pt idx="25145">
                  <c:v>28.751997334644603</c:v>
                </c:pt>
                <c:pt idx="25146">
                  <c:v>29.247050028076895</c:v>
                </c:pt>
                <c:pt idx="25147">
                  <c:v>25.257724488275802</c:v>
                </c:pt>
                <c:pt idx="25148">
                  <c:v>21.916647480305002</c:v>
                </c:pt>
                <c:pt idx="25149">
                  <c:v>22.621615309772711</c:v>
                </c:pt>
                <c:pt idx="25150">
                  <c:v>31.987354288523353</c:v>
                </c:pt>
                <c:pt idx="25151">
                  <c:v>28.777804413308246</c:v>
                </c:pt>
                <c:pt idx="25152">
                  <c:v>22.124617381322835</c:v>
                </c:pt>
                <c:pt idx="25153">
                  <c:v>25.498559747352022</c:v>
                </c:pt>
                <c:pt idx="25154">
                  <c:v>31.262684759661269</c:v>
                </c:pt>
                <c:pt idx="25155">
                  <c:v>25.66476438159718</c:v>
                </c:pt>
                <c:pt idx="25156">
                  <c:v>34.283794383376382</c:v>
                </c:pt>
                <c:pt idx="25157">
                  <c:v>56.536595760276377</c:v>
                </c:pt>
                <c:pt idx="25158">
                  <c:v>31.925833984290119</c:v>
                </c:pt>
                <c:pt idx="25159">
                  <c:v>25.98698921428587</c:v>
                </c:pt>
                <c:pt idx="25160">
                  <c:v>22.556877932905273</c:v>
                </c:pt>
                <c:pt idx="25161">
                  <c:v>26.727688439151397</c:v>
                </c:pt>
                <c:pt idx="25162">
                  <c:v>46.994216723085827</c:v>
                </c:pt>
                <c:pt idx="25163">
                  <c:v>30.802690801756079</c:v>
                </c:pt>
                <c:pt idx="25164">
                  <c:v>23.530765944715565</c:v>
                </c:pt>
                <c:pt idx="25165">
                  <c:v>28.095635200215675</c:v>
                </c:pt>
                <c:pt idx="25166">
                  <c:v>27.54129200033486</c:v>
                </c:pt>
                <c:pt idx="25167">
                  <c:v>32.356766017506345</c:v>
                </c:pt>
                <c:pt idx="25168">
                  <c:v>28.321274080801636</c:v>
                </c:pt>
                <c:pt idx="25169">
                  <c:v>23.724335109644585</c:v>
                </c:pt>
                <c:pt idx="25170">
                  <c:v>50.128380528791922</c:v>
                </c:pt>
                <c:pt idx="25171">
                  <c:v>27.158153055920963</c:v>
                </c:pt>
                <c:pt idx="25172">
                  <c:v>28.840058991469782</c:v>
                </c:pt>
                <c:pt idx="25173">
                  <c:v>25.024459076855514</c:v>
                </c:pt>
                <c:pt idx="25174">
                  <c:v>23.810166274632419</c:v>
                </c:pt>
                <c:pt idx="25175">
                  <c:v>21.920550043911575</c:v>
                </c:pt>
                <c:pt idx="25176">
                  <c:v>22.42400793282815</c:v>
                </c:pt>
                <c:pt idx="25177">
                  <c:v>27.429326528493522</c:v>
                </c:pt>
                <c:pt idx="25178">
                  <c:v>41.584981421281412</c:v>
                </c:pt>
                <c:pt idx="25179">
                  <c:v>47.193254780116717</c:v>
                </c:pt>
                <c:pt idx="25180">
                  <c:v>62.561240464595542</c:v>
                </c:pt>
                <c:pt idx="25181">
                  <c:v>32.031825880112258</c:v>
                </c:pt>
                <c:pt idx="25182">
                  <c:v>25.191090881830039</c:v>
                </c:pt>
                <c:pt idx="25183">
                  <c:v>47.862595222252779</c:v>
                </c:pt>
                <c:pt idx="25184">
                  <c:v>23.495299436556621</c:v>
                </c:pt>
                <c:pt idx="25185">
                  <c:v>30.19149189492488</c:v>
                </c:pt>
                <c:pt idx="25186">
                  <c:v>42.387647967439307</c:v>
                </c:pt>
                <c:pt idx="25187">
                  <c:v>33.648322850555552</c:v>
                </c:pt>
                <c:pt idx="25188">
                  <c:v>22.787761951177067</c:v>
                </c:pt>
                <c:pt idx="25189">
                  <c:v>48.219782808778049</c:v>
                </c:pt>
                <c:pt idx="25190">
                  <c:v>23.155709953057748</c:v>
                </c:pt>
                <c:pt idx="25191">
                  <c:v>36.466891629807336</c:v>
                </c:pt>
                <c:pt idx="25192">
                  <c:v>35.910347865652483</c:v>
                </c:pt>
                <c:pt idx="25193">
                  <c:v>22.239003313755084</c:v>
                </c:pt>
                <c:pt idx="25194">
                  <c:v>23.954553488812287</c:v>
                </c:pt>
                <c:pt idx="25195">
                  <c:v>27.187402682831852</c:v>
                </c:pt>
                <c:pt idx="25196">
                  <c:v>29.546867118590615</c:v>
                </c:pt>
                <c:pt idx="25197">
                  <c:v>29.379724022535584</c:v>
                </c:pt>
                <c:pt idx="25198">
                  <c:v>46.763662664651598</c:v>
                </c:pt>
                <c:pt idx="25199">
                  <c:v>24.720159406951645</c:v>
                </c:pt>
                <c:pt idx="25200">
                  <c:v>56.133057232453446</c:v>
                </c:pt>
                <c:pt idx="25201">
                  <c:v>27.707592306733819</c:v>
                </c:pt>
                <c:pt idx="25202">
                  <c:v>29.354770150068887</c:v>
                </c:pt>
                <c:pt idx="25203">
                  <c:v>27.901453178170556</c:v>
                </c:pt>
                <c:pt idx="25204">
                  <c:v>31.386807042802332</c:v>
                </c:pt>
                <c:pt idx="25205">
                  <c:v>20.369592514147456</c:v>
                </c:pt>
                <c:pt idx="25206">
                  <c:v>31.700895261568185</c:v>
                </c:pt>
                <c:pt idx="25207">
                  <c:v>26.28194202562284</c:v>
                </c:pt>
                <c:pt idx="25208">
                  <c:v>26.120123445820248</c:v>
                </c:pt>
                <c:pt idx="25209">
                  <c:v>26.663458811332454</c:v>
                </c:pt>
                <c:pt idx="25210">
                  <c:v>50.045925764519396</c:v>
                </c:pt>
                <c:pt idx="25211">
                  <c:v>20.764956021704712</c:v>
                </c:pt>
                <c:pt idx="25212">
                  <c:v>21.403114935323988</c:v>
                </c:pt>
                <c:pt idx="25213">
                  <c:v>49.547087668811471</c:v>
                </c:pt>
                <c:pt idx="25214">
                  <c:v>38.923759938000792</c:v>
                </c:pt>
                <c:pt idx="25215">
                  <c:v>24.707547944329374</c:v>
                </c:pt>
                <c:pt idx="25216">
                  <c:v>21.007469339760966</c:v>
                </c:pt>
                <c:pt idx="25217">
                  <c:v>35.777973364023133</c:v>
                </c:pt>
                <c:pt idx="25218">
                  <c:v>36.865049669412777</c:v>
                </c:pt>
                <c:pt idx="25219">
                  <c:v>22.03901714501216</c:v>
                </c:pt>
                <c:pt idx="25220">
                  <c:v>23.288387120971226</c:v>
                </c:pt>
                <c:pt idx="25221">
                  <c:v>28.586136794972969</c:v>
                </c:pt>
                <c:pt idx="25222">
                  <c:v>27.854335956065938</c:v>
                </c:pt>
                <c:pt idx="25223">
                  <c:v>32.556740157533426</c:v>
                </c:pt>
                <c:pt idx="25224">
                  <c:v>24.457221913394548</c:v>
                </c:pt>
                <c:pt idx="25225">
                  <c:v>18.591669056776112</c:v>
                </c:pt>
                <c:pt idx="25226">
                  <c:v>27.701749341994123</c:v>
                </c:pt>
                <c:pt idx="25227">
                  <c:v>28.610448251555084</c:v>
                </c:pt>
                <c:pt idx="25228">
                  <c:v>24.245461816274464</c:v>
                </c:pt>
                <c:pt idx="25229">
                  <c:v>28.306738030979883</c:v>
                </c:pt>
                <c:pt idx="25230">
                  <c:v>23.982165397593128</c:v>
                </c:pt>
                <c:pt idx="25231">
                  <c:v>22.409111179618062</c:v>
                </c:pt>
                <c:pt idx="25232">
                  <c:v>24.156489818896496</c:v>
                </c:pt>
                <c:pt idx="25233">
                  <c:v>31.923266954577283</c:v>
                </c:pt>
                <c:pt idx="25234">
                  <c:v>28.97581906246818</c:v>
                </c:pt>
                <c:pt idx="25235">
                  <c:v>25.532375758183164</c:v>
                </c:pt>
                <c:pt idx="25236">
                  <c:v>16.679688724869727</c:v>
                </c:pt>
                <c:pt idx="25237">
                  <c:v>29.453813542689936</c:v>
                </c:pt>
                <c:pt idx="25238">
                  <c:v>29.567906099318691</c:v>
                </c:pt>
                <c:pt idx="25239">
                  <c:v>29.750050607290326</c:v>
                </c:pt>
                <c:pt idx="25240">
                  <c:v>22.319504840690396</c:v>
                </c:pt>
                <c:pt idx="25241">
                  <c:v>34.813378228606467</c:v>
                </c:pt>
                <c:pt idx="25242">
                  <c:v>15.937860663011882</c:v>
                </c:pt>
                <c:pt idx="25243">
                  <c:v>36.929873877576753</c:v>
                </c:pt>
                <c:pt idx="25244">
                  <c:v>56.476708673489192</c:v>
                </c:pt>
                <c:pt idx="25245">
                  <c:v>37.275065856884375</c:v>
                </c:pt>
                <c:pt idx="25246">
                  <c:v>49.318558613383324</c:v>
                </c:pt>
                <c:pt idx="25247">
                  <c:v>50.051309204048977</c:v>
                </c:pt>
                <c:pt idx="25248">
                  <c:v>24.236644218355597</c:v>
                </c:pt>
                <c:pt idx="25249">
                  <c:v>35.323308850793126</c:v>
                </c:pt>
                <c:pt idx="25250">
                  <c:v>26.289988011019958</c:v>
                </c:pt>
                <c:pt idx="25251">
                  <c:v>49.286057078580804</c:v>
                </c:pt>
                <c:pt idx="25252">
                  <c:v>22.925256298841227</c:v>
                </c:pt>
                <c:pt idx="25253">
                  <c:v>28.408608792321154</c:v>
                </c:pt>
                <c:pt idx="25254">
                  <c:v>27.972662186618347</c:v>
                </c:pt>
                <c:pt idx="25255">
                  <c:v>33.886239939151288</c:v>
                </c:pt>
                <c:pt idx="25256">
                  <c:v>56.201082814333184</c:v>
                </c:pt>
                <c:pt idx="25257">
                  <c:v>56.52753186696323</c:v>
                </c:pt>
                <c:pt idx="25258">
                  <c:v>27.336659918939354</c:v>
                </c:pt>
                <c:pt idx="25259">
                  <c:v>50.95629479959328</c:v>
                </c:pt>
                <c:pt idx="25260">
                  <c:v>23.056617872352486</c:v>
                </c:pt>
                <c:pt idx="25261">
                  <c:v>38.590030961980993</c:v>
                </c:pt>
                <c:pt idx="25262">
                  <c:v>29.855504406188953</c:v>
                </c:pt>
                <c:pt idx="25263">
                  <c:v>28.922227633973158</c:v>
                </c:pt>
                <c:pt idx="25264">
                  <c:v>26.941373338659101</c:v>
                </c:pt>
                <c:pt idx="25265">
                  <c:v>20.141600197106278</c:v>
                </c:pt>
                <c:pt idx="25266">
                  <c:v>28.407865168807351</c:v>
                </c:pt>
                <c:pt idx="25267">
                  <c:v>28.282524023703019</c:v>
                </c:pt>
                <c:pt idx="25268">
                  <c:v>28.012259093673215</c:v>
                </c:pt>
                <c:pt idx="25269">
                  <c:v>19.069031744138595</c:v>
                </c:pt>
                <c:pt idx="25270">
                  <c:v>33.996804657919498</c:v>
                </c:pt>
                <c:pt idx="25271">
                  <c:v>25.341717423505379</c:v>
                </c:pt>
                <c:pt idx="25272">
                  <c:v>44.165729314761407</c:v>
                </c:pt>
                <c:pt idx="25273">
                  <c:v>24.148151603410632</c:v>
                </c:pt>
                <c:pt idx="25274">
                  <c:v>21.630372961873015</c:v>
                </c:pt>
                <c:pt idx="25275">
                  <c:v>27.290361541129354</c:v>
                </c:pt>
                <c:pt idx="25276">
                  <c:v>29.451336547410783</c:v>
                </c:pt>
                <c:pt idx="25277">
                  <c:v>16.550175971442837</c:v>
                </c:pt>
                <c:pt idx="25278">
                  <c:v>23.925297299491344</c:v>
                </c:pt>
                <c:pt idx="25279">
                  <c:v>34.81048831886325</c:v>
                </c:pt>
                <c:pt idx="25280">
                  <c:v>35.251464587338504</c:v>
                </c:pt>
                <c:pt idx="25281">
                  <c:v>28.197470326048929</c:v>
                </c:pt>
                <c:pt idx="25282">
                  <c:v>17.817225966327083</c:v>
                </c:pt>
                <c:pt idx="25283">
                  <c:v>28.786229107100453</c:v>
                </c:pt>
                <c:pt idx="25284">
                  <c:v>30.507553256997554</c:v>
                </c:pt>
                <c:pt idx="25285">
                  <c:v>19.706793506594938</c:v>
                </c:pt>
                <c:pt idx="25286">
                  <c:v>25.367461949770949</c:v>
                </c:pt>
                <c:pt idx="25287">
                  <c:v>28.348569464792511</c:v>
                </c:pt>
                <c:pt idx="25288">
                  <c:v>30.38593518090148</c:v>
                </c:pt>
                <c:pt idx="25289">
                  <c:v>27.039283543549708</c:v>
                </c:pt>
                <c:pt idx="25290">
                  <c:v>23.363614991622143</c:v>
                </c:pt>
                <c:pt idx="25291">
                  <c:v>28.460133446952447</c:v>
                </c:pt>
                <c:pt idx="25292">
                  <c:v>22.527544024636715</c:v>
                </c:pt>
                <c:pt idx="25293">
                  <c:v>40.115453844874118</c:v>
                </c:pt>
                <c:pt idx="25294">
                  <c:v>21.337088434951358</c:v>
                </c:pt>
                <c:pt idx="25295">
                  <c:v>25.381597842316324</c:v>
                </c:pt>
                <c:pt idx="25296">
                  <c:v>19.318312415942419</c:v>
                </c:pt>
                <c:pt idx="25297">
                  <c:v>33.547569738385498</c:v>
                </c:pt>
                <c:pt idx="25298">
                  <c:v>26.910617891685131</c:v>
                </c:pt>
                <c:pt idx="25299">
                  <c:v>27.889050092500362</c:v>
                </c:pt>
                <c:pt idx="25300">
                  <c:v>26.055766845626653</c:v>
                </c:pt>
                <c:pt idx="25301">
                  <c:v>20.795206685917872</c:v>
                </c:pt>
                <c:pt idx="25302">
                  <c:v>19.39891581244731</c:v>
                </c:pt>
                <c:pt idx="25303">
                  <c:v>40.808228497978384</c:v>
                </c:pt>
                <c:pt idx="25304">
                  <c:v>21.21370685648477</c:v>
                </c:pt>
                <c:pt idx="25305">
                  <c:v>45.032004066563381</c:v>
                </c:pt>
                <c:pt idx="25306">
                  <c:v>27.262942300266296</c:v>
                </c:pt>
                <c:pt idx="25307">
                  <c:v>20.688640812433718</c:v>
                </c:pt>
                <c:pt idx="25308">
                  <c:v>25.990266115624518</c:v>
                </c:pt>
                <c:pt idx="25309">
                  <c:v>26.935510848491099</c:v>
                </c:pt>
                <c:pt idx="25310">
                  <c:v>44.325987525284532</c:v>
                </c:pt>
                <c:pt idx="25311">
                  <c:v>30.227053665597541</c:v>
                </c:pt>
                <c:pt idx="25312">
                  <c:v>42.708952559782084</c:v>
                </c:pt>
                <c:pt idx="25313">
                  <c:v>37.737373808354747</c:v>
                </c:pt>
                <c:pt idx="25314">
                  <c:v>23.73805918001456</c:v>
                </c:pt>
                <c:pt idx="25315">
                  <c:v>18.599065044376136</c:v>
                </c:pt>
                <c:pt idx="25316">
                  <c:v>26.066600026420414</c:v>
                </c:pt>
                <c:pt idx="25317">
                  <c:v>53.031091439978674</c:v>
                </c:pt>
                <c:pt idx="25318">
                  <c:v>22.512370929595701</c:v>
                </c:pt>
                <c:pt idx="25319">
                  <c:v>30.441716456918925</c:v>
                </c:pt>
                <c:pt idx="25320">
                  <c:v>16.205110282656271</c:v>
                </c:pt>
                <c:pt idx="25321">
                  <c:v>26.052659760616123</c:v>
                </c:pt>
                <c:pt idx="25322">
                  <c:v>22.685804766197855</c:v>
                </c:pt>
                <c:pt idx="25323">
                  <c:v>48.318805048221151</c:v>
                </c:pt>
                <c:pt idx="25324">
                  <c:v>37.352093609496741</c:v>
                </c:pt>
                <c:pt idx="25325">
                  <c:v>54.276576271099998</c:v>
                </c:pt>
                <c:pt idx="25326">
                  <c:v>22.250841663310517</c:v>
                </c:pt>
                <c:pt idx="25327">
                  <c:v>48.635414942356043</c:v>
                </c:pt>
                <c:pt idx="25328">
                  <c:v>30.446972669977278</c:v>
                </c:pt>
                <c:pt idx="25329">
                  <c:v>32.228296910235478</c:v>
                </c:pt>
                <c:pt idx="25330">
                  <c:v>37.989781410789703</c:v>
                </c:pt>
                <c:pt idx="25331">
                  <c:v>28.604947008478526</c:v>
                </c:pt>
                <c:pt idx="25332">
                  <c:v>37.373856591650323</c:v>
                </c:pt>
                <c:pt idx="25333">
                  <c:v>27.74711461734401</c:v>
                </c:pt>
                <c:pt idx="25334">
                  <c:v>39.627891747272017</c:v>
                </c:pt>
                <c:pt idx="25335">
                  <c:v>25.252446668239237</c:v>
                </c:pt>
                <c:pt idx="25336">
                  <c:v>34.212279213882852</c:v>
                </c:pt>
                <c:pt idx="25337">
                  <c:v>23.879340577548746</c:v>
                </c:pt>
                <c:pt idx="25338">
                  <c:v>28.111594313299936</c:v>
                </c:pt>
                <c:pt idx="25339">
                  <c:v>22.847328076835822</c:v>
                </c:pt>
                <c:pt idx="25340">
                  <c:v>34.997594711075649</c:v>
                </c:pt>
                <c:pt idx="25341">
                  <c:v>35.762374978833819</c:v>
                </c:pt>
                <c:pt idx="25342">
                  <c:v>25.841421563403596</c:v>
                </c:pt>
                <c:pt idx="25343">
                  <c:v>20.894713605591402</c:v>
                </c:pt>
                <c:pt idx="25344">
                  <c:v>25.213329744415866</c:v>
                </c:pt>
                <c:pt idx="25345">
                  <c:v>42.083590004840673</c:v>
                </c:pt>
                <c:pt idx="25346">
                  <c:v>23.402735161391288</c:v>
                </c:pt>
                <c:pt idx="25347">
                  <c:v>28.831859898629592</c:v>
                </c:pt>
                <c:pt idx="25348">
                  <c:v>25.431573000407894</c:v>
                </c:pt>
                <c:pt idx="25349">
                  <c:v>34.951651547155436</c:v>
                </c:pt>
                <c:pt idx="25350">
                  <c:v>26.46968302114966</c:v>
                </c:pt>
                <c:pt idx="25351">
                  <c:v>14.558050910497913</c:v>
                </c:pt>
                <c:pt idx="25352">
                  <c:v>24.866620603134486</c:v>
                </c:pt>
                <c:pt idx="25353">
                  <c:v>18.921008304972279</c:v>
                </c:pt>
                <c:pt idx="25354">
                  <c:v>31.212107862108098</c:v>
                </c:pt>
                <c:pt idx="25355">
                  <c:v>34.703288757060967</c:v>
                </c:pt>
                <c:pt idx="25356">
                  <c:v>24.419148116837366</c:v>
                </c:pt>
                <c:pt idx="25357">
                  <c:v>53.051525832968309</c:v>
                </c:pt>
                <c:pt idx="25358">
                  <c:v>21.493893166328164</c:v>
                </c:pt>
                <c:pt idx="25359">
                  <c:v>24.621104893419421</c:v>
                </c:pt>
                <c:pt idx="25360">
                  <c:v>22.006316106034248</c:v>
                </c:pt>
                <c:pt idx="25361">
                  <c:v>28.932169090316769</c:v>
                </c:pt>
                <c:pt idx="25362">
                  <c:v>25.657093840520734</c:v>
                </c:pt>
                <c:pt idx="25363">
                  <c:v>24.870465519937294</c:v>
                </c:pt>
                <c:pt idx="25364">
                  <c:v>31.550897720618842</c:v>
                </c:pt>
                <c:pt idx="25365">
                  <c:v>31.223545445106883</c:v>
                </c:pt>
                <c:pt idx="25366">
                  <c:v>24.226842282326068</c:v>
                </c:pt>
                <c:pt idx="25367">
                  <c:v>39.44334063599532</c:v>
                </c:pt>
                <c:pt idx="25368">
                  <c:v>20.159659443432911</c:v>
                </c:pt>
                <c:pt idx="25369">
                  <c:v>31.143914685613488</c:v>
                </c:pt>
                <c:pt idx="25370">
                  <c:v>30.41952741220075</c:v>
                </c:pt>
                <c:pt idx="25371">
                  <c:v>19.071698869140214</c:v>
                </c:pt>
                <c:pt idx="25372">
                  <c:v>25.462106250700828</c:v>
                </c:pt>
                <c:pt idx="25373">
                  <c:v>44.122593388744754</c:v>
                </c:pt>
                <c:pt idx="25374">
                  <c:v>30.19915913779198</c:v>
                </c:pt>
                <c:pt idx="25375">
                  <c:v>18.395141523193868</c:v>
                </c:pt>
                <c:pt idx="25376">
                  <c:v>54.466489367874459</c:v>
                </c:pt>
                <c:pt idx="25377">
                  <c:v>44.033349969581472</c:v>
                </c:pt>
                <c:pt idx="25378">
                  <c:v>25.636964494611565</c:v>
                </c:pt>
                <c:pt idx="25379">
                  <c:v>26.845157934465774</c:v>
                </c:pt>
                <c:pt idx="25380">
                  <c:v>22.206491907216172</c:v>
                </c:pt>
                <c:pt idx="25381">
                  <c:v>24.682164687329674</c:v>
                </c:pt>
                <c:pt idx="25382">
                  <c:v>49.272574978934195</c:v>
                </c:pt>
                <c:pt idx="25383">
                  <c:v>27.024255810689493</c:v>
                </c:pt>
                <c:pt idx="25384">
                  <c:v>43.091687857764491</c:v>
                </c:pt>
                <c:pt idx="25385">
                  <c:v>24.133027535201048</c:v>
                </c:pt>
                <c:pt idx="25386">
                  <c:v>30.215874126905113</c:v>
                </c:pt>
                <c:pt idx="25387">
                  <c:v>41.254386758379496</c:v>
                </c:pt>
                <c:pt idx="25388">
                  <c:v>24.802710218262426</c:v>
                </c:pt>
                <c:pt idx="25389">
                  <c:v>28.14102197250439</c:v>
                </c:pt>
                <c:pt idx="25390">
                  <c:v>20.589136080826304</c:v>
                </c:pt>
                <c:pt idx="25391">
                  <c:v>35.662135312564615</c:v>
                </c:pt>
                <c:pt idx="25392">
                  <c:v>40.364867483582742</c:v>
                </c:pt>
                <c:pt idx="25393">
                  <c:v>47.083395262393203</c:v>
                </c:pt>
                <c:pt idx="25394">
                  <c:v>39.302809074310055</c:v>
                </c:pt>
                <c:pt idx="25395">
                  <c:v>40.535569151165603</c:v>
                </c:pt>
                <c:pt idx="25396">
                  <c:v>47.255653960558917</c:v>
                </c:pt>
                <c:pt idx="25397">
                  <c:v>20.310273485885684</c:v>
                </c:pt>
                <c:pt idx="25398">
                  <c:v>17.186205046832129</c:v>
                </c:pt>
                <c:pt idx="25399">
                  <c:v>48.345515847786423</c:v>
                </c:pt>
                <c:pt idx="25400">
                  <c:v>25.167478513395668</c:v>
                </c:pt>
                <c:pt idx="25401">
                  <c:v>25.260952123443587</c:v>
                </c:pt>
                <c:pt idx="25402">
                  <c:v>59.045992066477893</c:v>
                </c:pt>
                <c:pt idx="25403">
                  <c:v>30.903698684409378</c:v>
                </c:pt>
                <c:pt idx="25404">
                  <c:v>30.125359981491574</c:v>
                </c:pt>
                <c:pt idx="25405">
                  <c:v>48.834902206528497</c:v>
                </c:pt>
                <c:pt idx="25406">
                  <c:v>27.883891302484464</c:v>
                </c:pt>
                <c:pt idx="25407">
                  <c:v>47.365863380125425</c:v>
                </c:pt>
                <c:pt idx="25408">
                  <c:v>49.240570382199934</c:v>
                </c:pt>
                <c:pt idx="25409">
                  <c:v>32.127608752220695</c:v>
                </c:pt>
                <c:pt idx="25410">
                  <c:v>30.524805557840246</c:v>
                </c:pt>
                <c:pt idx="25411">
                  <c:v>45.981819935367028</c:v>
                </c:pt>
                <c:pt idx="25412">
                  <c:v>47.552777482033072</c:v>
                </c:pt>
                <c:pt idx="25413">
                  <c:v>27.882814736808704</c:v>
                </c:pt>
                <c:pt idx="25414">
                  <c:v>45.22132828752909</c:v>
                </c:pt>
                <c:pt idx="25415">
                  <c:v>22.066736202356765</c:v>
                </c:pt>
                <c:pt idx="25416">
                  <c:v>16.01750303487065</c:v>
                </c:pt>
                <c:pt idx="25417">
                  <c:v>21.029110518463156</c:v>
                </c:pt>
                <c:pt idx="25418">
                  <c:v>19.903206914444802</c:v>
                </c:pt>
                <c:pt idx="25419">
                  <c:v>30.382348087366417</c:v>
                </c:pt>
                <c:pt idx="25420">
                  <c:v>51.261378758134128</c:v>
                </c:pt>
                <c:pt idx="25421">
                  <c:v>34.022365501995615</c:v>
                </c:pt>
                <c:pt idx="25422">
                  <c:v>24.897797120935458</c:v>
                </c:pt>
                <c:pt idx="25423">
                  <c:v>45.295925651340831</c:v>
                </c:pt>
                <c:pt idx="25424">
                  <c:v>25.803840954346072</c:v>
                </c:pt>
                <c:pt idx="25425">
                  <c:v>30.77449951660536</c:v>
                </c:pt>
                <c:pt idx="25426">
                  <c:v>30.640952152408879</c:v>
                </c:pt>
                <c:pt idx="25427">
                  <c:v>18.856234136276232</c:v>
                </c:pt>
                <c:pt idx="25428">
                  <c:v>39.584669162530318</c:v>
                </c:pt>
                <c:pt idx="25429">
                  <c:v>29.133137459361688</c:v>
                </c:pt>
                <c:pt idx="25430">
                  <c:v>48.470718036958623</c:v>
                </c:pt>
                <c:pt idx="25431">
                  <c:v>26.405864644596335</c:v>
                </c:pt>
                <c:pt idx="25432">
                  <c:v>26.113420118104461</c:v>
                </c:pt>
                <c:pt idx="25433">
                  <c:v>25.73347214690725</c:v>
                </c:pt>
                <c:pt idx="25434">
                  <c:v>24.008647255048821</c:v>
                </c:pt>
                <c:pt idx="25435">
                  <c:v>40.822490882070568</c:v>
                </c:pt>
                <c:pt idx="25436">
                  <c:v>23.827136103321525</c:v>
                </c:pt>
                <c:pt idx="25437">
                  <c:v>28.225260217671963</c:v>
                </c:pt>
                <c:pt idx="25438">
                  <c:v>18.826479413538912</c:v>
                </c:pt>
                <c:pt idx="25439">
                  <c:v>25.38604038807815</c:v>
                </c:pt>
                <c:pt idx="25440">
                  <c:v>18.853582436166409</c:v>
                </c:pt>
                <c:pt idx="25441">
                  <c:v>32.989186510808835</c:v>
                </c:pt>
                <c:pt idx="25442">
                  <c:v>20.621785623584724</c:v>
                </c:pt>
                <c:pt idx="25443">
                  <c:v>29.428957719367311</c:v>
                </c:pt>
                <c:pt idx="25444">
                  <c:v>23.97802192751325</c:v>
                </c:pt>
                <c:pt idx="25445">
                  <c:v>29.441851463949369</c:v>
                </c:pt>
                <c:pt idx="25446">
                  <c:v>23.756259660137331</c:v>
                </c:pt>
                <c:pt idx="25447">
                  <c:v>26.464536864743248</c:v>
                </c:pt>
                <c:pt idx="25448">
                  <c:v>21.557320636500005</c:v>
                </c:pt>
                <c:pt idx="25449">
                  <c:v>20.330860332472906</c:v>
                </c:pt>
                <c:pt idx="25450">
                  <c:v>30.585631423895521</c:v>
                </c:pt>
                <c:pt idx="25451">
                  <c:v>46.011940172709487</c:v>
                </c:pt>
                <c:pt idx="25452">
                  <c:v>42.599159104156101</c:v>
                </c:pt>
                <c:pt idx="25453">
                  <c:v>37.559608731283731</c:v>
                </c:pt>
                <c:pt idx="25454">
                  <c:v>64.43171991629751</c:v>
                </c:pt>
                <c:pt idx="25455">
                  <c:v>26.215983653229991</c:v>
                </c:pt>
                <c:pt idx="25456">
                  <c:v>28.840135757070914</c:v>
                </c:pt>
                <c:pt idx="25457">
                  <c:v>52.122870308774118</c:v>
                </c:pt>
                <c:pt idx="25458">
                  <c:v>37.952019537097797</c:v>
                </c:pt>
                <c:pt idx="25459">
                  <c:v>42.523583500954516</c:v>
                </c:pt>
                <c:pt idx="25460">
                  <c:v>24.637595378257966</c:v>
                </c:pt>
                <c:pt idx="25461">
                  <c:v>14.270274319961612</c:v>
                </c:pt>
                <c:pt idx="25462">
                  <c:v>22.213363541204178</c:v>
                </c:pt>
                <c:pt idx="25463">
                  <c:v>44.076221394345296</c:v>
                </c:pt>
                <c:pt idx="25464">
                  <c:v>22.721908713195532</c:v>
                </c:pt>
                <c:pt idx="25465">
                  <c:v>23.439254511452368</c:v>
                </c:pt>
                <c:pt idx="25466">
                  <c:v>35.177857816059685</c:v>
                </c:pt>
                <c:pt idx="25467">
                  <c:v>19.374064017495868</c:v>
                </c:pt>
                <c:pt idx="25468">
                  <c:v>42.187374190748336</c:v>
                </c:pt>
                <c:pt idx="25469">
                  <c:v>26.087053342920015</c:v>
                </c:pt>
                <c:pt idx="25470">
                  <c:v>24.259653263594416</c:v>
                </c:pt>
                <c:pt idx="25471">
                  <c:v>25.931567492934121</c:v>
                </c:pt>
                <c:pt idx="25472">
                  <c:v>52.285059842359743</c:v>
                </c:pt>
                <c:pt idx="25473">
                  <c:v>47.243595984317338</c:v>
                </c:pt>
                <c:pt idx="25474">
                  <c:v>23.575494798202641</c:v>
                </c:pt>
                <c:pt idx="25475">
                  <c:v>33.701042344243845</c:v>
                </c:pt>
                <c:pt idx="25476">
                  <c:v>33.706291053628178</c:v>
                </c:pt>
                <c:pt idx="25477">
                  <c:v>24.017888804980092</c:v>
                </c:pt>
                <c:pt idx="25478">
                  <c:v>23.782292664020815</c:v>
                </c:pt>
                <c:pt idx="25479">
                  <c:v>45.979822711496112</c:v>
                </c:pt>
                <c:pt idx="25480">
                  <c:v>46.345780409895056</c:v>
                </c:pt>
                <c:pt idx="25481">
                  <c:v>30.532525372510527</c:v>
                </c:pt>
                <c:pt idx="25482">
                  <c:v>20.836481196183644</c:v>
                </c:pt>
                <c:pt idx="25483">
                  <c:v>22.065812273824029</c:v>
                </c:pt>
                <c:pt idx="25484">
                  <c:v>23.460828393950877</c:v>
                </c:pt>
                <c:pt idx="25485">
                  <c:v>19.91397204921649</c:v>
                </c:pt>
                <c:pt idx="25486">
                  <c:v>18.636671892310069</c:v>
                </c:pt>
                <c:pt idx="25487">
                  <c:v>32.066320796576825</c:v>
                </c:pt>
                <c:pt idx="25488">
                  <c:v>22.169052753152492</c:v>
                </c:pt>
                <c:pt idx="25489">
                  <c:v>32.205142422974419</c:v>
                </c:pt>
                <c:pt idx="25490">
                  <c:v>27.048281848680176</c:v>
                </c:pt>
                <c:pt idx="25491">
                  <c:v>15.382306424945442</c:v>
                </c:pt>
                <c:pt idx="25492">
                  <c:v>35.076015833628695</c:v>
                </c:pt>
                <c:pt idx="25493">
                  <c:v>45.968758483291936</c:v>
                </c:pt>
                <c:pt idx="25494">
                  <c:v>25.328911866992549</c:v>
                </c:pt>
                <c:pt idx="25495">
                  <c:v>28.177923670128528</c:v>
                </c:pt>
                <c:pt idx="25496">
                  <c:v>21.053288060035811</c:v>
                </c:pt>
                <c:pt idx="25497">
                  <c:v>26.031595816927307</c:v>
                </c:pt>
                <c:pt idx="25498">
                  <c:v>29.985468650227929</c:v>
                </c:pt>
                <c:pt idx="25499">
                  <c:v>30.044358749345015</c:v>
                </c:pt>
                <c:pt idx="25500">
                  <c:v>26.104890062790943</c:v>
                </c:pt>
                <c:pt idx="25501">
                  <c:v>19.303683183750938</c:v>
                </c:pt>
                <c:pt idx="25502">
                  <c:v>33.228651935960386</c:v>
                </c:pt>
                <c:pt idx="25503">
                  <c:v>48.845103229816914</c:v>
                </c:pt>
                <c:pt idx="25504">
                  <c:v>30.005050009261236</c:v>
                </c:pt>
                <c:pt idx="25505">
                  <c:v>31.265074118379495</c:v>
                </c:pt>
                <c:pt idx="25506">
                  <c:v>28.297816683965326</c:v>
                </c:pt>
                <c:pt idx="25507">
                  <c:v>49.477850583915448</c:v>
                </c:pt>
                <c:pt idx="25508">
                  <c:v>49.593483574031005</c:v>
                </c:pt>
                <c:pt idx="25509">
                  <c:v>36.881907662660723</c:v>
                </c:pt>
                <c:pt idx="25510">
                  <c:v>34.475175810222282</c:v>
                </c:pt>
                <c:pt idx="25511">
                  <c:v>21.854530651781158</c:v>
                </c:pt>
                <c:pt idx="25512">
                  <c:v>16.637637865160336</c:v>
                </c:pt>
                <c:pt idx="25513">
                  <c:v>23.037293067288189</c:v>
                </c:pt>
                <c:pt idx="25514">
                  <c:v>23.789247829402246</c:v>
                </c:pt>
                <c:pt idx="25515">
                  <c:v>48.842875549559132</c:v>
                </c:pt>
                <c:pt idx="25516">
                  <c:v>22.892241484689066</c:v>
                </c:pt>
                <c:pt idx="25517">
                  <c:v>31.149942973461641</c:v>
                </c:pt>
                <c:pt idx="25518">
                  <c:v>31.719157885090606</c:v>
                </c:pt>
                <c:pt idx="25519">
                  <c:v>23.281964039731164</c:v>
                </c:pt>
                <c:pt idx="25520">
                  <c:v>24.218733831050915</c:v>
                </c:pt>
                <c:pt idx="25521">
                  <c:v>35.377183302450504</c:v>
                </c:pt>
                <c:pt idx="25522">
                  <c:v>20.277311723481567</c:v>
                </c:pt>
                <c:pt idx="25523">
                  <c:v>20.544877234936067</c:v>
                </c:pt>
                <c:pt idx="25524">
                  <c:v>27.60291128551426</c:v>
                </c:pt>
                <c:pt idx="25525">
                  <c:v>32.64282328384774</c:v>
                </c:pt>
                <c:pt idx="25526">
                  <c:v>22.990208865194841</c:v>
                </c:pt>
                <c:pt idx="25527">
                  <c:v>26.22217745002996</c:v>
                </c:pt>
                <c:pt idx="25528">
                  <c:v>51.399712561308824</c:v>
                </c:pt>
                <c:pt idx="25529">
                  <c:v>29.659434449976231</c:v>
                </c:pt>
                <c:pt idx="25530">
                  <c:v>25.854172774770152</c:v>
                </c:pt>
                <c:pt idx="25531">
                  <c:v>24.803505721386355</c:v>
                </c:pt>
                <c:pt idx="25532">
                  <c:v>21.30242315564762</c:v>
                </c:pt>
                <c:pt idx="25533">
                  <c:v>52.772272540395079</c:v>
                </c:pt>
                <c:pt idx="25534">
                  <c:v>24.651692892902766</c:v>
                </c:pt>
                <c:pt idx="25535">
                  <c:v>23.195729178324356</c:v>
                </c:pt>
                <c:pt idx="25536">
                  <c:v>27.365222565066727</c:v>
                </c:pt>
                <c:pt idx="25537">
                  <c:v>32.160107531915074</c:v>
                </c:pt>
                <c:pt idx="25538">
                  <c:v>22.309087092305404</c:v>
                </c:pt>
                <c:pt idx="25539">
                  <c:v>45.619327072720935</c:v>
                </c:pt>
                <c:pt idx="25540">
                  <c:v>20.878781719507661</c:v>
                </c:pt>
                <c:pt idx="25541">
                  <c:v>26.982919215918223</c:v>
                </c:pt>
                <c:pt idx="25542">
                  <c:v>24.94745221496704</c:v>
                </c:pt>
                <c:pt idx="25543">
                  <c:v>25.363781022761653</c:v>
                </c:pt>
                <c:pt idx="25544">
                  <c:v>27.574327492831621</c:v>
                </c:pt>
                <c:pt idx="25545">
                  <c:v>35.345253822626368</c:v>
                </c:pt>
                <c:pt idx="25546">
                  <c:v>30.184269413042749</c:v>
                </c:pt>
                <c:pt idx="25547">
                  <c:v>29.821289138423275</c:v>
                </c:pt>
                <c:pt idx="25548">
                  <c:v>38.078095977343189</c:v>
                </c:pt>
                <c:pt idx="25549">
                  <c:v>22.88686978042136</c:v>
                </c:pt>
                <c:pt idx="25550">
                  <c:v>23.259312250254435</c:v>
                </c:pt>
                <c:pt idx="25551">
                  <c:v>43.200809502907077</c:v>
                </c:pt>
                <c:pt idx="25552">
                  <c:v>39.430423573333272</c:v>
                </c:pt>
                <c:pt idx="25553">
                  <c:v>25.101719550526813</c:v>
                </c:pt>
                <c:pt idx="25554">
                  <c:v>25.544804247022228</c:v>
                </c:pt>
                <c:pt idx="25555">
                  <c:v>29.962130894144952</c:v>
                </c:pt>
                <c:pt idx="25556">
                  <c:v>23.963882489118966</c:v>
                </c:pt>
                <c:pt idx="25557">
                  <c:v>30.009394454283079</c:v>
                </c:pt>
                <c:pt idx="25558">
                  <c:v>21.222043268300336</c:v>
                </c:pt>
                <c:pt idx="25559">
                  <c:v>22.111135030102968</c:v>
                </c:pt>
                <c:pt idx="25560">
                  <c:v>46.265757249158199</c:v>
                </c:pt>
                <c:pt idx="25561">
                  <c:v>31.946914760660771</c:v>
                </c:pt>
                <c:pt idx="25562">
                  <c:v>24.022965732566146</c:v>
                </c:pt>
                <c:pt idx="25563">
                  <c:v>32.400838561568804</c:v>
                </c:pt>
                <c:pt idx="25564">
                  <c:v>34.206881792057032</c:v>
                </c:pt>
                <c:pt idx="25565">
                  <c:v>31.308211636718742</c:v>
                </c:pt>
                <c:pt idx="25566">
                  <c:v>27.192886681794946</c:v>
                </c:pt>
                <c:pt idx="25567">
                  <c:v>26.945197134298702</c:v>
                </c:pt>
                <c:pt idx="25568">
                  <c:v>48.511336225080861</c:v>
                </c:pt>
                <c:pt idx="25569">
                  <c:v>30.843765442362979</c:v>
                </c:pt>
                <c:pt idx="25570">
                  <c:v>17.799310904521221</c:v>
                </c:pt>
                <c:pt idx="25571">
                  <c:v>31.006315774192501</c:v>
                </c:pt>
                <c:pt idx="25572">
                  <c:v>21.150688674943769</c:v>
                </c:pt>
                <c:pt idx="25573">
                  <c:v>36.606525486602152</c:v>
                </c:pt>
                <c:pt idx="25574">
                  <c:v>48.073365203884372</c:v>
                </c:pt>
                <c:pt idx="25575">
                  <c:v>33.852509590780095</c:v>
                </c:pt>
                <c:pt idx="25576">
                  <c:v>51.61073833818665</c:v>
                </c:pt>
                <c:pt idx="25577">
                  <c:v>33.580453424454909</c:v>
                </c:pt>
                <c:pt idx="25578">
                  <c:v>26.867918259923989</c:v>
                </c:pt>
                <c:pt idx="25579">
                  <c:v>36.199761546394178</c:v>
                </c:pt>
                <c:pt idx="25580">
                  <c:v>27.573058382235029</c:v>
                </c:pt>
                <c:pt idx="25581">
                  <c:v>23.059026757922688</c:v>
                </c:pt>
                <c:pt idx="25582">
                  <c:v>31.958025974240471</c:v>
                </c:pt>
                <c:pt idx="25583">
                  <c:v>26.038071052521612</c:v>
                </c:pt>
                <c:pt idx="25584">
                  <c:v>28.47543022147212</c:v>
                </c:pt>
                <c:pt idx="25585">
                  <c:v>27.148515320439508</c:v>
                </c:pt>
                <c:pt idx="25586">
                  <c:v>21.822588993379515</c:v>
                </c:pt>
                <c:pt idx="25587">
                  <c:v>24.677888222688662</c:v>
                </c:pt>
                <c:pt idx="25588">
                  <c:v>38.164449679683656</c:v>
                </c:pt>
                <c:pt idx="25589">
                  <c:v>39.097455830126997</c:v>
                </c:pt>
                <c:pt idx="25590">
                  <c:v>30.279368875865547</c:v>
                </c:pt>
                <c:pt idx="25591">
                  <c:v>53.461914142084268</c:v>
                </c:pt>
                <c:pt idx="25592">
                  <c:v>27.365739839470667</c:v>
                </c:pt>
                <c:pt idx="25593">
                  <c:v>48.900945843096252</c:v>
                </c:pt>
                <c:pt idx="25594">
                  <c:v>31.480926134078953</c:v>
                </c:pt>
                <c:pt idx="25595">
                  <c:v>48.578443288888799</c:v>
                </c:pt>
                <c:pt idx="25596">
                  <c:v>28.289239021851209</c:v>
                </c:pt>
                <c:pt idx="25597">
                  <c:v>22.744621668869634</c:v>
                </c:pt>
                <c:pt idx="25598">
                  <c:v>42.571274334119366</c:v>
                </c:pt>
                <c:pt idx="25599">
                  <c:v>46.371177969484776</c:v>
                </c:pt>
                <c:pt idx="25600">
                  <c:v>21.786834216976608</c:v>
                </c:pt>
                <c:pt idx="25601">
                  <c:v>46.701083616063642</c:v>
                </c:pt>
                <c:pt idx="25602">
                  <c:v>43.556929853437019</c:v>
                </c:pt>
                <c:pt idx="25603">
                  <c:v>29.666480204177795</c:v>
                </c:pt>
                <c:pt idx="25604">
                  <c:v>42.45437293367452</c:v>
                </c:pt>
                <c:pt idx="25605">
                  <c:v>37.974960346161183</c:v>
                </c:pt>
                <c:pt idx="25606">
                  <c:v>34.37278753821839</c:v>
                </c:pt>
                <c:pt idx="25607">
                  <c:v>27.705205988590443</c:v>
                </c:pt>
                <c:pt idx="25608">
                  <c:v>54.628192826847119</c:v>
                </c:pt>
                <c:pt idx="25609">
                  <c:v>28.112601272467977</c:v>
                </c:pt>
                <c:pt idx="25610">
                  <c:v>38.303593640058828</c:v>
                </c:pt>
                <c:pt idx="25611">
                  <c:v>28.83388034940188</c:v>
                </c:pt>
                <c:pt idx="25612">
                  <c:v>58.391269053135318</c:v>
                </c:pt>
                <c:pt idx="25613">
                  <c:v>25.451689363764352</c:v>
                </c:pt>
                <c:pt idx="25614">
                  <c:v>39.247507586805682</c:v>
                </c:pt>
                <c:pt idx="25615">
                  <c:v>40.692645645558926</c:v>
                </c:pt>
                <c:pt idx="25616">
                  <c:v>23.723967970128797</c:v>
                </c:pt>
                <c:pt idx="25617">
                  <c:v>20.890249167493003</c:v>
                </c:pt>
                <c:pt idx="25618">
                  <c:v>29.408076624570768</c:v>
                </c:pt>
                <c:pt idx="25619">
                  <c:v>29.459668501391373</c:v>
                </c:pt>
                <c:pt idx="25620">
                  <c:v>29.595809375899801</c:v>
                </c:pt>
                <c:pt idx="25621">
                  <c:v>21.288165385663291</c:v>
                </c:pt>
                <c:pt idx="25622">
                  <c:v>41.276096482556135</c:v>
                </c:pt>
                <c:pt idx="25623">
                  <c:v>54.154254747174726</c:v>
                </c:pt>
                <c:pt idx="25624">
                  <c:v>25.980739942683343</c:v>
                </c:pt>
                <c:pt idx="25625">
                  <c:v>25.602265771206643</c:v>
                </c:pt>
                <c:pt idx="25626">
                  <c:v>20.243544045810612</c:v>
                </c:pt>
                <c:pt idx="25627">
                  <c:v>25.295095834919277</c:v>
                </c:pt>
                <c:pt idx="25628">
                  <c:v>24.732200565549263</c:v>
                </c:pt>
                <c:pt idx="25629">
                  <c:v>28.587272568775731</c:v>
                </c:pt>
                <c:pt idx="25630">
                  <c:v>37.295353634133193</c:v>
                </c:pt>
                <c:pt idx="25631">
                  <c:v>22.018023928666</c:v>
                </c:pt>
                <c:pt idx="25632">
                  <c:v>19.158509507736191</c:v>
                </c:pt>
                <c:pt idx="25633">
                  <c:v>44.998957542411887</c:v>
                </c:pt>
                <c:pt idx="25634">
                  <c:v>21.137555467529246</c:v>
                </c:pt>
                <c:pt idx="25635">
                  <c:v>25.459341785935884</c:v>
                </c:pt>
                <c:pt idx="25636">
                  <c:v>30.772148132109823</c:v>
                </c:pt>
                <c:pt idx="25637">
                  <c:v>46.59695232378791</c:v>
                </c:pt>
                <c:pt idx="25638">
                  <c:v>31.324226145716072</c:v>
                </c:pt>
                <c:pt idx="25639">
                  <c:v>25.502148102982861</c:v>
                </c:pt>
                <c:pt idx="25640">
                  <c:v>23.032488271517956</c:v>
                </c:pt>
                <c:pt idx="25641">
                  <c:v>25.087916532910082</c:v>
                </c:pt>
                <c:pt idx="25642">
                  <c:v>26.94430966013234</c:v>
                </c:pt>
                <c:pt idx="25643">
                  <c:v>26.940986422566464</c:v>
                </c:pt>
                <c:pt idx="25644">
                  <c:v>18.936472970907758</c:v>
                </c:pt>
                <c:pt idx="25645">
                  <c:v>29.284521288370172</c:v>
                </c:pt>
                <c:pt idx="25646">
                  <c:v>26.414684067243225</c:v>
                </c:pt>
                <c:pt idx="25647">
                  <c:v>47.781079982970503</c:v>
                </c:pt>
                <c:pt idx="25648">
                  <c:v>47.323393073186942</c:v>
                </c:pt>
                <c:pt idx="25649">
                  <c:v>26.500944416138239</c:v>
                </c:pt>
                <c:pt idx="25650">
                  <c:v>39.566911673401023</c:v>
                </c:pt>
                <c:pt idx="25651">
                  <c:v>23.431078626147166</c:v>
                </c:pt>
                <c:pt idx="25652">
                  <c:v>31.696732396142167</c:v>
                </c:pt>
                <c:pt idx="25653">
                  <c:v>27.500545797358598</c:v>
                </c:pt>
                <c:pt idx="25654">
                  <c:v>20.111957698462611</c:v>
                </c:pt>
                <c:pt idx="25655">
                  <c:v>24.557075909811076</c:v>
                </c:pt>
                <c:pt idx="25656">
                  <c:v>29.05438170912398</c:v>
                </c:pt>
                <c:pt idx="25657">
                  <c:v>22.254778018405979</c:v>
                </c:pt>
                <c:pt idx="25658">
                  <c:v>25.574441160831476</c:v>
                </c:pt>
                <c:pt idx="25659">
                  <c:v>32.78168016724841</c:v>
                </c:pt>
                <c:pt idx="25660">
                  <c:v>46.250830239148797</c:v>
                </c:pt>
                <c:pt idx="25661">
                  <c:v>34.315503754668406</c:v>
                </c:pt>
                <c:pt idx="25662">
                  <c:v>25.15808542340157</c:v>
                </c:pt>
                <c:pt idx="25663">
                  <c:v>31.093424229264471</c:v>
                </c:pt>
                <c:pt idx="25664">
                  <c:v>20.254059153576776</c:v>
                </c:pt>
                <c:pt idx="25665">
                  <c:v>34.910179466540484</c:v>
                </c:pt>
                <c:pt idx="25666">
                  <c:v>23.163907009810018</c:v>
                </c:pt>
                <c:pt idx="25667">
                  <c:v>21.357864763236993</c:v>
                </c:pt>
                <c:pt idx="25668">
                  <c:v>26.61062580312462</c:v>
                </c:pt>
                <c:pt idx="25669">
                  <c:v>23.488090166486906</c:v>
                </c:pt>
                <c:pt idx="25670">
                  <c:v>29.846076184352256</c:v>
                </c:pt>
                <c:pt idx="25671">
                  <c:v>43.885734472357001</c:v>
                </c:pt>
                <c:pt idx="25672">
                  <c:v>25.736127670895804</c:v>
                </c:pt>
                <c:pt idx="25673">
                  <c:v>26.425794490295921</c:v>
                </c:pt>
                <c:pt idx="25674">
                  <c:v>22.967280333014493</c:v>
                </c:pt>
                <c:pt idx="25675">
                  <c:v>52.03847312180585</c:v>
                </c:pt>
                <c:pt idx="25676">
                  <c:v>27.704681506564818</c:v>
                </c:pt>
                <c:pt idx="25677">
                  <c:v>26.074207613976039</c:v>
                </c:pt>
                <c:pt idx="25678">
                  <c:v>31.012494168431658</c:v>
                </c:pt>
                <c:pt idx="25679">
                  <c:v>31.595269489922106</c:v>
                </c:pt>
                <c:pt idx="25680">
                  <c:v>23.219504442544501</c:v>
                </c:pt>
                <c:pt idx="25681">
                  <c:v>33.105981103155699</c:v>
                </c:pt>
                <c:pt idx="25682">
                  <c:v>26.777113769370061</c:v>
                </c:pt>
                <c:pt idx="25683">
                  <c:v>30.96221947677067</c:v>
                </c:pt>
                <c:pt idx="25684">
                  <c:v>53.815617630746814</c:v>
                </c:pt>
                <c:pt idx="25685">
                  <c:v>39.544912413249833</c:v>
                </c:pt>
                <c:pt idx="25686">
                  <c:v>36.167356082464792</c:v>
                </c:pt>
                <c:pt idx="25687">
                  <c:v>44.657356216219732</c:v>
                </c:pt>
                <c:pt idx="25688">
                  <c:v>26.564945762566495</c:v>
                </c:pt>
                <c:pt idx="25689">
                  <c:v>29.374261783711997</c:v>
                </c:pt>
                <c:pt idx="25690">
                  <c:v>26.226410634100443</c:v>
                </c:pt>
                <c:pt idx="25691">
                  <c:v>46.893250630491636</c:v>
                </c:pt>
                <c:pt idx="25692">
                  <c:v>18.417880149431959</c:v>
                </c:pt>
                <c:pt idx="25693">
                  <c:v>25.623183064023685</c:v>
                </c:pt>
                <c:pt idx="25694">
                  <c:v>37.27382054168455</c:v>
                </c:pt>
                <c:pt idx="25695">
                  <c:v>39.32309056775663</c:v>
                </c:pt>
                <c:pt idx="25696">
                  <c:v>24.913686235403791</c:v>
                </c:pt>
                <c:pt idx="25697">
                  <c:v>31.81106459178001</c:v>
                </c:pt>
                <c:pt idx="25698">
                  <c:v>29.862609583124645</c:v>
                </c:pt>
                <c:pt idx="25699">
                  <c:v>34.774071845175285</c:v>
                </c:pt>
                <c:pt idx="25700">
                  <c:v>19.337421505591884</c:v>
                </c:pt>
                <c:pt idx="25701">
                  <c:v>35.426095033952578</c:v>
                </c:pt>
                <c:pt idx="25702">
                  <c:v>52.488296177927815</c:v>
                </c:pt>
                <c:pt idx="25703">
                  <c:v>15.478812146174239</c:v>
                </c:pt>
                <c:pt idx="25704">
                  <c:v>23.65560517012042</c:v>
                </c:pt>
                <c:pt idx="25705">
                  <c:v>45.027162036294186</c:v>
                </c:pt>
                <c:pt idx="25706">
                  <c:v>31.941091934442237</c:v>
                </c:pt>
                <c:pt idx="25707">
                  <c:v>20.717658549696274</c:v>
                </c:pt>
                <c:pt idx="25708">
                  <c:v>32.63741378824831</c:v>
                </c:pt>
                <c:pt idx="25709">
                  <c:v>41.608375979067873</c:v>
                </c:pt>
                <c:pt idx="25710">
                  <c:v>24.988660950106592</c:v>
                </c:pt>
                <c:pt idx="25711">
                  <c:v>24.461372199575152</c:v>
                </c:pt>
                <c:pt idx="25712">
                  <c:v>16.439992998062124</c:v>
                </c:pt>
                <c:pt idx="25713">
                  <c:v>24.060151777825276</c:v>
                </c:pt>
                <c:pt idx="25714">
                  <c:v>23.355225720964388</c:v>
                </c:pt>
                <c:pt idx="25715">
                  <c:v>20.41561866077117</c:v>
                </c:pt>
                <c:pt idx="25716">
                  <c:v>48.701729842394982</c:v>
                </c:pt>
                <c:pt idx="25717">
                  <c:v>20.740399309040232</c:v>
                </c:pt>
                <c:pt idx="25718">
                  <c:v>24.392374249753072</c:v>
                </c:pt>
                <c:pt idx="25719">
                  <c:v>30.31466649641612</c:v>
                </c:pt>
                <c:pt idx="25720">
                  <c:v>40.970799608940382</c:v>
                </c:pt>
                <c:pt idx="25721">
                  <c:v>30.474384542059362</c:v>
                </c:pt>
                <c:pt idx="25722">
                  <c:v>23.583935441638779</c:v>
                </c:pt>
                <c:pt idx="25723">
                  <c:v>34.705572489089391</c:v>
                </c:pt>
                <c:pt idx="25724">
                  <c:v>29.112964889514902</c:v>
                </c:pt>
                <c:pt idx="25725">
                  <c:v>17.697500493213326</c:v>
                </c:pt>
                <c:pt idx="25726">
                  <c:v>31.299914233789952</c:v>
                </c:pt>
                <c:pt idx="25727">
                  <c:v>46.221411364047668</c:v>
                </c:pt>
                <c:pt idx="25728">
                  <c:v>24.511816761299137</c:v>
                </c:pt>
                <c:pt idx="25729">
                  <c:v>37.592773852241692</c:v>
                </c:pt>
                <c:pt idx="25730">
                  <c:v>26.368003839109008</c:v>
                </c:pt>
                <c:pt idx="25731">
                  <c:v>22.189134966088993</c:v>
                </c:pt>
                <c:pt idx="25732">
                  <c:v>35.111466694717734</c:v>
                </c:pt>
                <c:pt idx="25733">
                  <c:v>25.550382074485256</c:v>
                </c:pt>
                <c:pt idx="25734">
                  <c:v>22.506104759222939</c:v>
                </c:pt>
                <c:pt idx="25735">
                  <c:v>21.543666547976926</c:v>
                </c:pt>
                <c:pt idx="25736">
                  <c:v>26.012457106377191</c:v>
                </c:pt>
                <c:pt idx="25737">
                  <c:v>22.678874429034092</c:v>
                </c:pt>
                <c:pt idx="25738">
                  <c:v>48.759307183567103</c:v>
                </c:pt>
                <c:pt idx="25739">
                  <c:v>22.47449854489756</c:v>
                </c:pt>
                <c:pt idx="25740">
                  <c:v>27.603477670785729</c:v>
                </c:pt>
                <c:pt idx="25741">
                  <c:v>25.558241253416508</c:v>
                </c:pt>
                <c:pt idx="25742">
                  <c:v>23.729741498209052</c:v>
                </c:pt>
                <c:pt idx="25743">
                  <c:v>55.942994533426869</c:v>
                </c:pt>
                <c:pt idx="25744">
                  <c:v>26.778729652763531</c:v>
                </c:pt>
                <c:pt idx="25745">
                  <c:v>31.723757646069483</c:v>
                </c:pt>
                <c:pt idx="25746">
                  <c:v>34.155030726344648</c:v>
                </c:pt>
                <c:pt idx="25747">
                  <c:v>18.815067570568239</c:v>
                </c:pt>
                <c:pt idx="25748">
                  <c:v>35.899713310716187</c:v>
                </c:pt>
                <c:pt idx="25749">
                  <c:v>23.82181427480052</c:v>
                </c:pt>
                <c:pt idx="25750">
                  <c:v>41.928488935091131</c:v>
                </c:pt>
                <c:pt idx="25751">
                  <c:v>27.317497434467171</c:v>
                </c:pt>
                <c:pt idx="25752">
                  <c:v>48.480875565378504</c:v>
                </c:pt>
                <c:pt idx="25753">
                  <c:v>26.976912801063143</c:v>
                </c:pt>
                <c:pt idx="25754">
                  <c:v>25.55603724747613</c:v>
                </c:pt>
                <c:pt idx="25755">
                  <c:v>47.429988751634497</c:v>
                </c:pt>
                <c:pt idx="25756">
                  <c:v>22.867628448588601</c:v>
                </c:pt>
                <c:pt idx="25757">
                  <c:v>32.134728741802284</c:v>
                </c:pt>
                <c:pt idx="25758">
                  <c:v>23.560607399328937</c:v>
                </c:pt>
                <c:pt idx="25759">
                  <c:v>28.174941310383847</c:v>
                </c:pt>
                <c:pt idx="25760">
                  <c:v>57.501432672881123</c:v>
                </c:pt>
                <c:pt idx="25761">
                  <c:v>28.198573912853366</c:v>
                </c:pt>
                <c:pt idx="25762">
                  <c:v>26.509250679349908</c:v>
                </c:pt>
                <c:pt idx="25763">
                  <c:v>31.38729936972312</c:v>
                </c:pt>
                <c:pt idx="25764">
                  <c:v>28.833850096271807</c:v>
                </c:pt>
                <c:pt idx="25765">
                  <c:v>41.96021618003337</c:v>
                </c:pt>
                <c:pt idx="25766">
                  <c:v>45.123752498553401</c:v>
                </c:pt>
                <c:pt idx="25767">
                  <c:v>27.853632447147895</c:v>
                </c:pt>
                <c:pt idx="25768">
                  <c:v>27.5631061092785</c:v>
                </c:pt>
                <c:pt idx="25769">
                  <c:v>34.890067150287194</c:v>
                </c:pt>
                <c:pt idx="25770">
                  <c:v>31.427476944090749</c:v>
                </c:pt>
                <c:pt idx="25771">
                  <c:v>55.465484641959925</c:v>
                </c:pt>
                <c:pt idx="25772">
                  <c:v>21.438037956503134</c:v>
                </c:pt>
                <c:pt idx="25773">
                  <c:v>20.683264335103907</c:v>
                </c:pt>
                <c:pt idx="25774">
                  <c:v>38.12448895935443</c:v>
                </c:pt>
                <c:pt idx="25775">
                  <c:v>41.558411120216221</c:v>
                </c:pt>
                <c:pt idx="25776">
                  <c:v>26.599180548718785</c:v>
                </c:pt>
                <c:pt idx="25777">
                  <c:v>26.945531570877005</c:v>
                </c:pt>
                <c:pt idx="25778">
                  <c:v>18.139509117302786</c:v>
                </c:pt>
                <c:pt idx="25779">
                  <c:v>22.062836769133085</c:v>
                </c:pt>
                <c:pt idx="25780">
                  <c:v>29.367648942759054</c:v>
                </c:pt>
                <c:pt idx="25781">
                  <c:v>59.62255011465858</c:v>
                </c:pt>
                <c:pt idx="25782">
                  <c:v>23.622365907672044</c:v>
                </c:pt>
                <c:pt idx="25783">
                  <c:v>42.432266648080919</c:v>
                </c:pt>
                <c:pt idx="25784">
                  <c:v>24.94088796018309</c:v>
                </c:pt>
                <c:pt idx="25785">
                  <c:v>24.380522990872063</c:v>
                </c:pt>
                <c:pt idx="25786">
                  <c:v>44.534822264076197</c:v>
                </c:pt>
                <c:pt idx="25787">
                  <c:v>21.413355962153386</c:v>
                </c:pt>
                <c:pt idx="25788">
                  <c:v>22.870721202674936</c:v>
                </c:pt>
                <c:pt idx="25789">
                  <c:v>57.094253006535517</c:v>
                </c:pt>
                <c:pt idx="25790">
                  <c:v>38.192543065663415</c:v>
                </c:pt>
                <c:pt idx="25791">
                  <c:v>24.963182538479693</c:v>
                </c:pt>
                <c:pt idx="25792">
                  <c:v>31.924170258878465</c:v>
                </c:pt>
                <c:pt idx="25793">
                  <c:v>49.14121528839469</c:v>
                </c:pt>
                <c:pt idx="25794">
                  <c:v>30.925673355979704</c:v>
                </c:pt>
                <c:pt idx="25795">
                  <c:v>30.640281175046205</c:v>
                </c:pt>
                <c:pt idx="25796">
                  <c:v>35.482594532372836</c:v>
                </c:pt>
                <c:pt idx="25797">
                  <c:v>24.012889377113702</c:v>
                </c:pt>
                <c:pt idx="25798">
                  <c:v>34.667687651926606</c:v>
                </c:pt>
                <c:pt idx="25799">
                  <c:v>24.744507333912249</c:v>
                </c:pt>
                <c:pt idx="25800">
                  <c:v>44.689714604223795</c:v>
                </c:pt>
                <c:pt idx="25801">
                  <c:v>27.716577650297751</c:v>
                </c:pt>
                <c:pt idx="25802">
                  <c:v>49.930986805346031</c:v>
                </c:pt>
                <c:pt idx="25803">
                  <c:v>40.76860083044842</c:v>
                </c:pt>
                <c:pt idx="25804">
                  <c:v>39.144436653208579</c:v>
                </c:pt>
                <c:pt idx="25805">
                  <c:v>52.09731672138814</c:v>
                </c:pt>
                <c:pt idx="25806">
                  <c:v>31.257743015959797</c:v>
                </c:pt>
                <c:pt idx="25807">
                  <c:v>35.631890409716128</c:v>
                </c:pt>
                <c:pt idx="25808">
                  <c:v>55.080802470933634</c:v>
                </c:pt>
                <c:pt idx="25809">
                  <c:v>25.897291307676333</c:v>
                </c:pt>
                <c:pt idx="25810">
                  <c:v>46.079066690786568</c:v>
                </c:pt>
                <c:pt idx="25811">
                  <c:v>42.191860872885798</c:v>
                </c:pt>
                <c:pt idx="25812">
                  <c:v>58.564587688538339</c:v>
                </c:pt>
                <c:pt idx="25813">
                  <c:v>42.258346304247432</c:v>
                </c:pt>
                <c:pt idx="25814">
                  <c:v>42.608398754794649</c:v>
                </c:pt>
                <c:pt idx="25815">
                  <c:v>31.278939505493408</c:v>
                </c:pt>
                <c:pt idx="25816">
                  <c:v>22.382207892527006</c:v>
                </c:pt>
                <c:pt idx="25817">
                  <c:v>31.088480478837127</c:v>
                </c:pt>
                <c:pt idx="25818">
                  <c:v>23.735678276486336</c:v>
                </c:pt>
                <c:pt idx="25819">
                  <c:v>25.223610541280557</c:v>
                </c:pt>
                <c:pt idx="25820">
                  <c:v>30.896519112279478</c:v>
                </c:pt>
                <c:pt idx="25821">
                  <c:v>37.9021643836072</c:v>
                </c:pt>
                <c:pt idx="25822">
                  <c:v>29.187798927442238</c:v>
                </c:pt>
                <c:pt idx="25823">
                  <c:v>36.257144712628275</c:v>
                </c:pt>
                <c:pt idx="25824">
                  <c:v>28.182991991778522</c:v>
                </c:pt>
                <c:pt idx="25825">
                  <c:v>21.562697553859103</c:v>
                </c:pt>
                <c:pt idx="25826">
                  <c:v>21.95062806486629</c:v>
                </c:pt>
                <c:pt idx="25827">
                  <c:v>24.131913393451804</c:v>
                </c:pt>
                <c:pt idx="25828">
                  <c:v>25.281821979471168</c:v>
                </c:pt>
                <c:pt idx="25829">
                  <c:v>42.453530394213573</c:v>
                </c:pt>
                <c:pt idx="25830">
                  <c:v>25.308327185249933</c:v>
                </c:pt>
                <c:pt idx="25831">
                  <c:v>19.664245781454273</c:v>
                </c:pt>
                <c:pt idx="25832">
                  <c:v>18.226726929015939</c:v>
                </c:pt>
                <c:pt idx="25833">
                  <c:v>29.946892074088133</c:v>
                </c:pt>
                <c:pt idx="25834">
                  <c:v>46.766944201966226</c:v>
                </c:pt>
                <c:pt idx="25835">
                  <c:v>52.010747862645516</c:v>
                </c:pt>
                <c:pt idx="25836">
                  <c:v>27.34997511023516</c:v>
                </c:pt>
                <c:pt idx="25837">
                  <c:v>17.444066443973622</c:v>
                </c:pt>
                <c:pt idx="25838">
                  <c:v>26.40207942442207</c:v>
                </c:pt>
                <c:pt idx="25839">
                  <c:v>26.53408540067894</c:v>
                </c:pt>
                <c:pt idx="25840">
                  <c:v>24.578054882698421</c:v>
                </c:pt>
                <c:pt idx="25841">
                  <c:v>20.333003505768826</c:v>
                </c:pt>
                <c:pt idx="25842">
                  <c:v>19.869470908421484</c:v>
                </c:pt>
                <c:pt idx="25843">
                  <c:v>20.951594618622188</c:v>
                </c:pt>
                <c:pt idx="25844">
                  <c:v>17.797110294584954</c:v>
                </c:pt>
                <c:pt idx="25845">
                  <c:v>40.512128288604949</c:v>
                </c:pt>
                <c:pt idx="25846">
                  <c:v>39.284316135798292</c:v>
                </c:pt>
                <c:pt idx="25847">
                  <c:v>49.352725779464279</c:v>
                </c:pt>
                <c:pt idx="25848">
                  <c:v>32.633932391174575</c:v>
                </c:pt>
                <c:pt idx="25849">
                  <c:v>24.323941194686181</c:v>
                </c:pt>
                <c:pt idx="25850">
                  <c:v>42.033297866878492</c:v>
                </c:pt>
                <c:pt idx="25851">
                  <c:v>24.163825534522033</c:v>
                </c:pt>
                <c:pt idx="25852">
                  <c:v>16.19361077041745</c:v>
                </c:pt>
                <c:pt idx="25853">
                  <c:v>35.872529921335058</c:v>
                </c:pt>
                <c:pt idx="25854">
                  <c:v>21.121597091748647</c:v>
                </c:pt>
                <c:pt idx="25855">
                  <c:v>20.638063251759132</c:v>
                </c:pt>
                <c:pt idx="25856">
                  <c:v>36.644201384642059</c:v>
                </c:pt>
                <c:pt idx="25857">
                  <c:v>50.713791679740453</c:v>
                </c:pt>
                <c:pt idx="25858">
                  <c:v>46.903159026840278</c:v>
                </c:pt>
                <c:pt idx="25859">
                  <c:v>22.538102155041692</c:v>
                </c:pt>
                <c:pt idx="25860">
                  <c:v>56.347364525546418</c:v>
                </c:pt>
                <c:pt idx="25861">
                  <c:v>28.17144937468089</c:v>
                </c:pt>
                <c:pt idx="25862">
                  <c:v>28.461561819012019</c:v>
                </c:pt>
                <c:pt idx="25863">
                  <c:v>23.377994322382541</c:v>
                </c:pt>
                <c:pt idx="25864">
                  <c:v>25.913684668283409</c:v>
                </c:pt>
                <c:pt idx="25865">
                  <c:v>26.515457887759112</c:v>
                </c:pt>
                <c:pt idx="25866">
                  <c:v>35.069055126358272</c:v>
                </c:pt>
                <c:pt idx="25867">
                  <c:v>38.922851239923531</c:v>
                </c:pt>
                <c:pt idx="25868">
                  <c:v>20.99431255218294</c:v>
                </c:pt>
                <c:pt idx="25869">
                  <c:v>19.87475659343842</c:v>
                </c:pt>
                <c:pt idx="25870">
                  <c:v>29.124480812385453</c:v>
                </c:pt>
                <c:pt idx="25871">
                  <c:v>28.667567351548765</c:v>
                </c:pt>
                <c:pt idx="25872">
                  <c:v>44.281698042352886</c:v>
                </c:pt>
                <c:pt idx="25873">
                  <c:v>27.681232080248819</c:v>
                </c:pt>
                <c:pt idx="25874">
                  <c:v>32.529143593982695</c:v>
                </c:pt>
                <c:pt idx="25875">
                  <c:v>52.36282450775451</c:v>
                </c:pt>
                <c:pt idx="25876">
                  <c:v>35.940093466106894</c:v>
                </c:pt>
                <c:pt idx="25877">
                  <c:v>24.209506774160342</c:v>
                </c:pt>
                <c:pt idx="25878">
                  <c:v>34.738897898591148</c:v>
                </c:pt>
                <c:pt idx="25879">
                  <c:v>32.757808745103098</c:v>
                </c:pt>
                <c:pt idx="25880">
                  <c:v>18.917468572555283</c:v>
                </c:pt>
                <c:pt idx="25881">
                  <c:v>35.077678733256654</c:v>
                </c:pt>
                <c:pt idx="25882">
                  <c:v>33.759312630061686</c:v>
                </c:pt>
                <c:pt idx="25883">
                  <c:v>51.302608051730438</c:v>
                </c:pt>
                <c:pt idx="25884">
                  <c:v>25.879014059052814</c:v>
                </c:pt>
                <c:pt idx="25885">
                  <c:v>36.289877389186273</c:v>
                </c:pt>
                <c:pt idx="25886">
                  <c:v>31.323979681940109</c:v>
                </c:pt>
                <c:pt idx="25887">
                  <c:v>23.292838057586589</c:v>
                </c:pt>
                <c:pt idx="25888">
                  <c:v>23.997086378571733</c:v>
                </c:pt>
                <c:pt idx="25889">
                  <c:v>28.687278900449961</c:v>
                </c:pt>
                <c:pt idx="25890">
                  <c:v>24.63144909312642</c:v>
                </c:pt>
                <c:pt idx="25891">
                  <c:v>33.546377284158069</c:v>
                </c:pt>
                <c:pt idx="25892">
                  <c:v>55.577088883696447</c:v>
                </c:pt>
                <c:pt idx="25893">
                  <c:v>22.627740799247515</c:v>
                </c:pt>
                <c:pt idx="25894">
                  <c:v>26.360566042789969</c:v>
                </c:pt>
                <c:pt idx="25895">
                  <c:v>21.801385244292163</c:v>
                </c:pt>
                <c:pt idx="25896">
                  <c:v>27.864765852489995</c:v>
                </c:pt>
                <c:pt idx="25897">
                  <c:v>25.280729822086943</c:v>
                </c:pt>
                <c:pt idx="25898">
                  <c:v>22.370335201756358</c:v>
                </c:pt>
                <c:pt idx="25899">
                  <c:v>35.494511587387173</c:v>
                </c:pt>
                <c:pt idx="25900">
                  <c:v>41.399133434408313</c:v>
                </c:pt>
                <c:pt idx="25901">
                  <c:v>24.714434245260357</c:v>
                </c:pt>
                <c:pt idx="25902">
                  <c:v>39.618260404939683</c:v>
                </c:pt>
                <c:pt idx="25903">
                  <c:v>39.324912113233417</c:v>
                </c:pt>
                <c:pt idx="25904">
                  <c:v>23.909300237732971</c:v>
                </c:pt>
                <c:pt idx="25905">
                  <c:v>37.290386329754767</c:v>
                </c:pt>
                <c:pt idx="25906">
                  <c:v>51.296420562089587</c:v>
                </c:pt>
                <c:pt idx="25907">
                  <c:v>24.304188937998411</c:v>
                </c:pt>
                <c:pt idx="25908">
                  <c:v>39.043998061764668</c:v>
                </c:pt>
                <c:pt idx="25909">
                  <c:v>26.623238658099297</c:v>
                </c:pt>
                <c:pt idx="25910">
                  <c:v>26.448319328848584</c:v>
                </c:pt>
                <c:pt idx="25911">
                  <c:v>22.226496970731898</c:v>
                </c:pt>
                <c:pt idx="25912">
                  <c:v>22.575642917400707</c:v>
                </c:pt>
                <c:pt idx="25913">
                  <c:v>23.979119875526322</c:v>
                </c:pt>
                <c:pt idx="25914">
                  <c:v>30.116396411575298</c:v>
                </c:pt>
                <c:pt idx="25915">
                  <c:v>56.264352509878385</c:v>
                </c:pt>
                <c:pt idx="25916">
                  <c:v>45.636511947825454</c:v>
                </c:pt>
                <c:pt idx="25917">
                  <c:v>32.737257510946215</c:v>
                </c:pt>
                <c:pt idx="25918">
                  <c:v>28.169614676823251</c:v>
                </c:pt>
                <c:pt idx="25919">
                  <c:v>30.298119155946097</c:v>
                </c:pt>
                <c:pt idx="25920">
                  <c:v>25.353987481761379</c:v>
                </c:pt>
                <c:pt idx="25921">
                  <c:v>26.912334139356027</c:v>
                </c:pt>
                <c:pt idx="25922">
                  <c:v>37.717947431690803</c:v>
                </c:pt>
                <c:pt idx="25923">
                  <c:v>23.144009771657934</c:v>
                </c:pt>
                <c:pt idx="25924">
                  <c:v>39.563499903882743</c:v>
                </c:pt>
                <c:pt idx="25925">
                  <c:v>19.524737100403183</c:v>
                </c:pt>
                <c:pt idx="25926">
                  <c:v>27.150218588239209</c:v>
                </c:pt>
                <c:pt idx="25927">
                  <c:v>54.160405927128366</c:v>
                </c:pt>
                <c:pt idx="25928">
                  <c:v>28.832486633782985</c:v>
                </c:pt>
                <c:pt idx="25929">
                  <c:v>32.280347816341525</c:v>
                </c:pt>
                <c:pt idx="25930">
                  <c:v>28.609498186702645</c:v>
                </c:pt>
                <c:pt idx="25931">
                  <c:v>23.646522042103886</c:v>
                </c:pt>
                <c:pt idx="25932">
                  <c:v>46.028067128343068</c:v>
                </c:pt>
                <c:pt idx="25933">
                  <c:v>26.56885599934672</c:v>
                </c:pt>
                <c:pt idx="25934">
                  <c:v>36.77396905140364</c:v>
                </c:pt>
                <c:pt idx="25935">
                  <c:v>49.833480532249716</c:v>
                </c:pt>
                <c:pt idx="25936">
                  <c:v>47.907057963004505</c:v>
                </c:pt>
                <c:pt idx="25937">
                  <c:v>29.23255952984983</c:v>
                </c:pt>
                <c:pt idx="25938">
                  <c:v>21.085098692861592</c:v>
                </c:pt>
                <c:pt idx="25939">
                  <c:v>33.49189492598699</c:v>
                </c:pt>
                <c:pt idx="25940">
                  <c:v>44.233294231534011</c:v>
                </c:pt>
                <c:pt idx="25941">
                  <c:v>30.819630977612135</c:v>
                </c:pt>
                <c:pt idx="25942">
                  <c:v>52.625696519221329</c:v>
                </c:pt>
                <c:pt idx="25943">
                  <c:v>17.891731029585529</c:v>
                </c:pt>
                <c:pt idx="25944">
                  <c:v>23.783688308659595</c:v>
                </c:pt>
                <c:pt idx="25945">
                  <c:v>25.317423321472415</c:v>
                </c:pt>
                <c:pt idx="25946">
                  <c:v>18.286225604458927</c:v>
                </c:pt>
                <c:pt idx="25947">
                  <c:v>24.442206094298751</c:v>
                </c:pt>
                <c:pt idx="25948">
                  <c:v>32.099654325369237</c:v>
                </c:pt>
                <c:pt idx="25949">
                  <c:v>35.618302344774534</c:v>
                </c:pt>
                <c:pt idx="25950">
                  <c:v>32.501339693128145</c:v>
                </c:pt>
                <c:pt idx="25951">
                  <c:v>22.424340226238449</c:v>
                </c:pt>
                <c:pt idx="25952">
                  <c:v>24.994331221674198</c:v>
                </c:pt>
                <c:pt idx="25953">
                  <c:v>23.998135813145087</c:v>
                </c:pt>
                <c:pt idx="25954">
                  <c:v>25.333026245080326</c:v>
                </c:pt>
                <c:pt idx="25955">
                  <c:v>28.049957314819466</c:v>
                </c:pt>
                <c:pt idx="25956">
                  <c:v>47.429362668159925</c:v>
                </c:pt>
                <c:pt idx="25957">
                  <c:v>15.953744784383376</c:v>
                </c:pt>
                <c:pt idx="25958">
                  <c:v>47.540037579777902</c:v>
                </c:pt>
                <c:pt idx="25959">
                  <c:v>35.389782912525753</c:v>
                </c:pt>
                <c:pt idx="25960">
                  <c:v>38.99929047876919</c:v>
                </c:pt>
                <c:pt idx="25961">
                  <c:v>29.867665155038772</c:v>
                </c:pt>
                <c:pt idx="25962">
                  <c:v>28.950713057122421</c:v>
                </c:pt>
                <c:pt idx="25963">
                  <c:v>47.932950471306121</c:v>
                </c:pt>
                <c:pt idx="25964">
                  <c:v>21.487738244562756</c:v>
                </c:pt>
                <c:pt idx="25965">
                  <c:v>27.262982867635777</c:v>
                </c:pt>
                <c:pt idx="25966">
                  <c:v>21.209650990337959</c:v>
                </c:pt>
                <c:pt idx="25967">
                  <c:v>24.675189104286805</c:v>
                </c:pt>
                <c:pt idx="25968">
                  <c:v>28.269888880578428</c:v>
                </c:pt>
                <c:pt idx="25969">
                  <c:v>30.288702714872478</c:v>
                </c:pt>
                <c:pt idx="25970">
                  <c:v>26.393828267272475</c:v>
                </c:pt>
                <c:pt idx="25971">
                  <c:v>51.22799013523737</c:v>
                </c:pt>
                <c:pt idx="25972">
                  <c:v>26.824707781546273</c:v>
                </c:pt>
                <c:pt idx="25973">
                  <c:v>27.775667919866379</c:v>
                </c:pt>
                <c:pt idx="25974">
                  <c:v>39.755587171941798</c:v>
                </c:pt>
                <c:pt idx="25975">
                  <c:v>26.4538909662237</c:v>
                </c:pt>
                <c:pt idx="25976">
                  <c:v>25.813970899380564</c:v>
                </c:pt>
                <c:pt idx="25977">
                  <c:v>18.548332628174713</c:v>
                </c:pt>
                <c:pt idx="25978">
                  <c:v>29.993067839931228</c:v>
                </c:pt>
                <c:pt idx="25979">
                  <c:v>22.945501007253938</c:v>
                </c:pt>
                <c:pt idx="25980">
                  <c:v>22.816731423769589</c:v>
                </c:pt>
                <c:pt idx="25981">
                  <c:v>28.032833379635655</c:v>
                </c:pt>
                <c:pt idx="25982">
                  <c:v>20.598288912035507</c:v>
                </c:pt>
                <c:pt idx="25983">
                  <c:v>26.915049336067227</c:v>
                </c:pt>
                <c:pt idx="25984">
                  <c:v>37.531894293972286</c:v>
                </c:pt>
                <c:pt idx="25985">
                  <c:v>26.761934569461221</c:v>
                </c:pt>
                <c:pt idx="25986">
                  <c:v>25.956500668295661</c:v>
                </c:pt>
                <c:pt idx="25987">
                  <c:v>29.342994439049363</c:v>
                </c:pt>
                <c:pt idx="25988">
                  <c:v>27.080811406263031</c:v>
                </c:pt>
                <c:pt idx="25989">
                  <c:v>31.378730021641019</c:v>
                </c:pt>
                <c:pt idx="25990">
                  <c:v>43.156437347132162</c:v>
                </c:pt>
                <c:pt idx="25991">
                  <c:v>35.595735829346289</c:v>
                </c:pt>
                <c:pt idx="25992">
                  <c:v>32.138483457994603</c:v>
                </c:pt>
                <c:pt idx="25993">
                  <c:v>36.291270520262742</c:v>
                </c:pt>
                <c:pt idx="25994">
                  <c:v>33.148573865397815</c:v>
                </c:pt>
                <c:pt idx="25995">
                  <c:v>26.077609125908744</c:v>
                </c:pt>
                <c:pt idx="25996">
                  <c:v>28.419954066562006</c:v>
                </c:pt>
                <c:pt idx="25997">
                  <c:v>25.062918553719086</c:v>
                </c:pt>
                <c:pt idx="25998">
                  <c:v>18.349237972884257</c:v>
                </c:pt>
                <c:pt idx="25999">
                  <c:v>46.708980837062647</c:v>
                </c:pt>
                <c:pt idx="26000">
                  <c:v>38.320978444954243</c:v>
                </c:pt>
                <c:pt idx="26001">
                  <c:v>33.986657389879944</c:v>
                </c:pt>
                <c:pt idx="26002">
                  <c:v>29.702528495626758</c:v>
                </c:pt>
                <c:pt idx="26003">
                  <c:v>55.404040527383501</c:v>
                </c:pt>
                <c:pt idx="26004">
                  <c:v>42.89027443088812</c:v>
                </c:pt>
                <c:pt idx="26005">
                  <c:v>21.809429162854361</c:v>
                </c:pt>
                <c:pt idx="26006">
                  <c:v>28.057610789656973</c:v>
                </c:pt>
                <c:pt idx="26007">
                  <c:v>29.000171194629015</c:v>
                </c:pt>
                <c:pt idx="26008">
                  <c:v>51.887013066149777</c:v>
                </c:pt>
                <c:pt idx="26009">
                  <c:v>28.409133603381882</c:v>
                </c:pt>
                <c:pt idx="26010">
                  <c:v>34.226732914063703</c:v>
                </c:pt>
                <c:pt idx="26011">
                  <c:v>46.488519172219334</c:v>
                </c:pt>
                <c:pt idx="26012">
                  <c:v>34.470110449371333</c:v>
                </c:pt>
                <c:pt idx="26013">
                  <c:v>31.170870028688888</c:v>
                </c:pt>
                <c:pt idx="26014">
                  <c:v>21.374715569364792</c:v>
                </c:pt>
                <c:pt idx="26015">
                  <c:v>31.836242712661026</c:v>
                </c:pt>
                <c:pt idx="26016">
                  <c:v>27.347815673053404</c:v>
                </c:pt>
                <c:pt idx="26017">
                  <c:v>24.392457694882012</c:v>
                </c:pt>
                <c:pt idx="26018">
                  <c:v>19.802413768150075</c:v>
                </c:pt>
                <c:pt idx="26019">
                  <c:v>23.553080390288955</c:v>
                </c:pt>
                <c:pt idx="26020">
                  <c:v>31.190799960982297</c:v>
                </c:pt>
                <c:pt idx="26021">
                  <c:v>26.163133203017438</c:v>
                </c:pt>
                <c:pt idx="26022">
                  <c:v>57.56628114497466</c:v>
                </c:pt>
                <c:pt idx="26023">
                  <c:v>28.408116687973983</c:v>
                </c:pt>
                <c:pt idx="26024">
                  <c:v>19.263412241352519</c:v>
                </c:pt>
                <c:pt idx="26025">
                  <c:v>41.522086204541822</c:v>
                </c:pt>
                <c:pt idx="26026">
                  <c:v>22.964041597366162</c:v>
                </c:pt>
                <c:pt idx="26027">
                  <c:v>27.318162741327143</c:v>
                </c:pt>
                <c:pt idx="26028">
                  <c:v>41.522426189555397</c:v>
                </c:pt>
                <c:pt idx="26029">
                  <c:v>30.361248946457369</c:v>
                </c:pt>
                <c:pt idx="26030">
                  <c:v>31.230435307788778</c:v>
                </c:pt>
                <c:pt idx="26031">
                  <c:v>27.80175490762003</c:v>
                </c:pt>
                <c:pt idx="26032">
                  <c:v>23.73809518151991</c:v>
                </c:pt>
                <c:pt idx="26033">
                  <c:v>27.303209241019893</c:v>
                </c:pt>
                <c:pt idx="26034">
                  <c:v>33.076775635877937</c:v>
                </c:pt>
                <c:pt idx="26035">
                  <c:v>24.458478096529596</c:v>
                </c:pt>
                <c:pt idx="26036">
                  <c:v>50.72230479490193</c:v>
                </c:pt>
                <c:pt idx="26037">
                  <c:v>23.325854001415188</c:v>
                </c:pt>
                <c:pt idx="26038">
                  <c:v>29.613736962266969</c:v>
                </c:pt>
                <c:pt idx="26039">
                  <c:v>29.974881964759234</c:v>
                </c:pt>
                <c:pt idx="26040">
                  <c:v>25.082680642986666</c:v>
                </c:pt>
                <c:pt idx="26041">
                  <c:v>24.957220616720903</c:v>
                </c:pt>
                <c:pt idx="26042">
                  <c:v>22.564237818643882</c:v>
                </c:pt>
                <c:pt idx="26043">
                  <c:v>22.149258289627618</c:v>
                </c:pt>
                <c:pt idx="26044">
                  <c:v>36.398522747254702</c:v>
                </c:pt>
                <c:pt idx="26045">
                  <c:v>27.820733707766593</c:v>
                </c:pt>
                <c:pt idx="26046">
                  <c:v>31.523516433070192</c:v>
                </c:pt>
                <c:pt idx="26047">
                  <c:v>28.542750459271055</c:v>
                </c:pt>
                <c:pt idx="26048">
                  <c:v>25.238866878194472</c:v>
                </c:pt>
                <c:pt idx="26049">
                  <c:v>56.350369156063145</c:v>
                </c:pt>
                <c:pt idx="26050">
                  <c:v>28.441500369240643</c:v>
                </c:pt>
                <c:pt idx="26051">
                  <c:v>19.628008045032523</c:v>
                </c:pt>
                <c:pt idx="26052">
                  <c:v>38.81271541346409</c:v>
                </c:pt>
                <c:pt idx="26053">
                  <c:v>26.728500942341505</c:v>
                </c:pt>
                <c:pt idx="26054">
                  <c:v>20.029436315514673</c:v>
                </c:pt>
                <c:pt idx="26055">
                  <c:v>44.511210208188999</c:v>
                </c:pt>
                <c:pt idx="26056">
                  <c:v>43.614100405181297</c:v>
                </c:pt>
                <c:pt idx="26057">
                  <c:v>19.380759822062608</c:v>
                </c:pt>
                <c:pt idx="26058">
                  <c:v>21.481010225467426</c:v>
                </c:pt>
                <c:pt idx="26059">
                  <c:v>20.662379295980124</c:v>
                </c:pt>
                <c:pt idx="26060">
                  <c:v>20.138716107907971</c:v>
                </c:pt>
                <c:pt idx="26061">
                  <c:v>28.090028806786318</c:v>
                </c:pt>
                <c:pt idx="26062">
                  <c:v>24.462511002192372</c:v>
                </c:pt>
                <c:pt idx="26063">
                  <c:v>34.762080191155803</c:v>
                </c:pt>
                <c:pt idx="26064">
                  <c:v>22.356394117636601</c:v>
                </c:pt>
                <c:pt idx="26065">
                  <c:v>28.208785695772519</c:v>
                </c:pt>
                <c:pt idx="26066">
                  <c:v>42.649666796976021</c:v>
                </c:pt>
                <c:pt idx="26067">
                  <c:v>16.786585695069927</c:v>
                </c:pt>
                <c:pt idx="26068">
                  <c:v>21.770150732194619</c:v>
                </c:pt>
                <c:pt idx="26069">
                  <c:v>25.060689025291065</c:v>
                </c:pt>
                <c:pt idx="26070">
                  <c:v>26.802782448416696</c:v>
                </c:pt>
                <c:pt idx="26071">
                  <c:v>23.595154360400834</c:v>
                </c:pt>
                <c:pt idx="26072">
                  <c:v>34.725655607358604</c:v>
                </c:pt>
                <c:pt idx="26073">
                  <c:v>44.824856071693837</c:v>
                </c:pt>
                <c:pt idx="26074">
                  <c:v>23.707913548098148</c:v>
                </c:pt>
                <c:pt idx="26075">
                  <c:v>21.444160385717154</c:v>
                </c:pt>
                <c:pt idx="26076">
                  <c:v>57.139734032162288</c:v>
                </c:pt>
                <c:pt idx="26077">
                  <c:v>16.531432930512587</c:v>
                </c:pt>
                <c:pt idx="26078">
                  <c:v>44.231231758126995</c:v>
                </c:pt>
                <c:pt idx="26079">
                  <c:v>21.092470697964167</c:v>
                </c:pt>
                <c:pt idx="26080">
                  <c:v>25.147100892799585</c:v>
                </c:pt>
                <c:pt idx="26081">
                  <c:v>22.036082921763178</c:v>
                </c:pt>
                <c:pt idx="26082">
                  <c:v>53.551041557935463</c:v>
                </c:pt>
                <c:pt idx="26083">
                  <c:v>28.305842200597493</c:v>
                </c:pt>
                <c:pt idx="26084">
                  <c:v>27.269018462396403</c:v>
                </c:pt>
                <c:pt idx="26085">
                  <c:v>41.025389164912582</c:v>
                </c:pt>
                <c:pt idx="26086">
                  <c:v>27.344106284922582</c:v>
                </c:pt>
                <c:pt idx="26087">
                  <c:v>27.026361936944824</c:v>
                </c:pt>
                <c:pt idx="26088">
                  <c:v>24.788931042270644</c:v>
                </c:pt>
                <c:pt idx="26089">
                  <c:v>26.60060333476126</c:v>
                </c:pt>
                <c:pt idx="26090">
                  <c:v>54.132189762909128</c:v>
                </c:pt>
                <c:pt idx="26091">
                  <c:v>22.015564433352417</c:v>
                </c:pt>
                <c:pt idx="26092">
                  <c:v>31.468003563108162</c:v>
                </c:pt>
                <c:pt idx="26093">
                  <c:v>23.361606318021725</c:v>
                </c:pt>
                <c:pt idx="26094">
                  <c:v>30.299209958993398</c:v>
                </c:pt>
                <c:pt idx="26095">
                  <c:v>28.867740313468698</c:v>
                </c:pt>
                <c:pt idx="26096">
                  <c:v>28.346213675641376</c:v>
                </c:pt>
                <c:pt idx="26097">
                  <c:v>59.79876370617594</c:v>
                </c:pt>
                <c:pt idx="26098">
                  <c:v>36.159065633482854</c:v>
                </c:pt>
                <c:pt idx="26099">
                  <c:v>28.977265799620909</c:v>
                </c:pt>
                <c:pt idx="26100">
                  <c:v>26.340576445417973</c:v>
                </c:pt>
                <c:pt idx="26101">
                  <c:v>30.603479821964001</c:v>
                </c:pt>
                <c:pt idx="26102">
                  <c:v>47.880830868263125</c:v>
                </c:pt>
                <c:pt idx="26103">
                  <c:v>23.827904397564588</c:v>
                </c:pt>
                <c:pt idx="26104">
                  <c:v>24.519225519217194</c:v>
                </c:pt>
                <c:pt idx="26105">
                  <c:v>45.334245263961549</c:v>
                </c:pt>
                <c:pt idx="26106">
                  <c:v>29.288368906033568</c:v>
                </c:pt>
                <c:pt idx="26107">
                  <c:v>26.662511032182181</c:v>
                </c:pt>
                <c:pt idx="26108">
                  <c:v>24.199578541395709</c:v>
                </c:pt>
                <c:pt idx="26109">
                  <c:v>21.235957528378499</c:v>
                </c:pt>
                <c:pt idx="26110">
                  <c:v>50.742161379040702</c:v>
                </c:pt>
                <c:pt idx="26111">
                  <c:v>33.631686354933649</c:v>
                </c:pt>
                <c:pt idx="26112">
                  <c:v>25.214998148772533</c:v>
                </c:pt>
                <c:pt idx="26113">
                  <c:v>25.777033490470242</c:v>
                </c:pt>
                <c:pt idx="26114">
                  <c:v>26.223903442148917</c:v>
                </c:pt>
                <c:pt idx="26115">
                  <c:v>42.132594088852521</c:v>
                </c:pt>
                <c:pt idx="26116">
                  <c:v>42.63996849768499</c:v>
                </c:pt>
                <c:pt idx="26117">
                  <c:v>19.515800436730913</c:v>
                </c:pt>
                <c:pt idx="26118">
                  <c:v>23.819489873324301</c:v>
                </c:pt>
                <c:pt idx="26119">
                  <c:v>48.148972840016192</c:v>
                </c:pt>
                <c:pt idx="26120">
                  <c:v>34.994644200508958</c:v>
                </c:pt>
                <c:pt idx="26121">
                  <c:v>46.885377593981403</c:v>
                </c:pt>
                <c:pt idx="26122">
                  <c:v>26.441533706190196</c:v>
                </c:pt>
                <c:pt idx="26123">
                  <c:v>48.360566393215301</c:v>
                </c:pt>
                <c:pt idx="26124">
                  <c:v>20.942287100273724</c:v>
                </c:pt>
                <c:pt idx="26125">
                  <c:v>25.616570880826302</c:v>
                </c:pt>
                <c:pt idx="26126">
                  <c:v>31.225422318699771</c:v>
                </c:pt>
                <c:pt idx="26127">
                  <c:v>28.069950263715455</c:v>
                </c:pt>
                <c:pt idx="26128">
                  <c:v>31.080930558657464</c:v>
                </c:pt>
                <c:pt idx="26129">
                  <c:v>25.018068993201386</c:v>
                </c:pt>
                <c:pt idx="26130">
                  <c:v>54.080897893570878</c:v>
                </c:pt>
                <c:pt idx="26131">
                  <c:v>25.078982524011998</c:v>
                </c:pt>
                <c:pt idx="26132">
                  <c:v>24.590937780260681</c:v>
                </c:pt>
                <c:pt idx="26133">
                  <c:v>42.640206445099004</c:v>
                </c:pt>
                <c:pt idx="26134">
                  <c:v>27.091241949128676</c:v>
                </c:pt>
                <c:pt idx="26135">
                  <c:v>30.560807032765677</c:v>
                </c:pt>
                <c:pt idx="26136">
                  <c:v>25.715695395352103</c:v>
                </c:pt>
                <c:pt idx="26137">
                  <c:v>31.433667512174974</c:v>
                </c:pt>
                <c:pt idx="26138">
                  <c:v>50.913467179318353</c:v>
                </c:pt>
                <c:pt idx="26139">
                  <c:v>26.671557834916825</c:v>
                </c:pt>
                <c:pt idx="26140">
                  <c:v>36.778553079350871</c:v>
                </c:pt>
                <c:pt idx="26141">
                  <c:v>27.063605021759365</c:v>
                </c:pt>
                <c:pt idx="26142">
                  <c:v>48.776462657786936</c:v>
                </c:pt>
                <c:pt idx="26143">
                  <c:v>42.890803424340895</c:v>
                </c:pt>
                <c:pt idx="26144">
                  <c:v>18.332922279098664</c:v>
                </c:pt>
                <c:pt idx="26145">
                  <c:v>28.873533493519425</c:v>
                </c:pt>
                <c:pt idx="26146">
                  <c:v>22.611252917420391</c:v>
                </c:pt>
                <c:pt idx="26147">
                  <c:v>27.57151376627462</c:v>
                </c:pt>
                <c:pt idx="26148">
                  <c:v>58.144965814815578</c:v>
                </c:pt>
                <c:pt idx="26149">
                  <c:v>21.647770238254562</c:v>
                </c:pt>
                <c:pt idx="26150">
                  <c:v>29.864521491791617</c:v>
                </c:pt>
                <c:pt idx="26151">
                  <c:v>32.690748231779196</c:v>
                </c:pt>
                <c:pt idx="26152">
                  <c:v>44.513344905759801</c:v>
                </c:pt>
                <c:pt idx="26153">
                  <c:v>38.134211609195646</c:v>
                </c:pt>
                <c:pt idx="26154">
                  <c:v>48.286015852472161</c:v>
                </c:pt>
                <c:pt idx="26155">
                  <c:v>22.791981680337209</c:v>
                </c:pt>
                <c:pt idx="26156">
                  <c:v>29.674835778909568</c:v>
                </c:pt>
                <c:pt idx="26157">
                  <c:v>31.118121523422133</c:v>
                </c:pt>
                <c:pt idx="26158">
                  <c:v>39.258162052867739</c:v>
                </c:pt>
                <c:pt idx="26159">
                  <c:v>23.699934928272434</c:v>
                </c:pt>
                <c:pt idx="26160">
                  <c:v>27.725169012663148</c:v>
                </c:pt>
                <c:pt idx="26161">
                  <c:v>41.131981171183114</c:v>
                </c:pt>
                <c:pt idx="26162">
                  <c:v>45.861135387057857</c:v>
                </c:pt>
                <c:pt idx="26163">
                  <c:v>26.293204763088788</c:v>
                </c:pt>
                <c:pt idx="26164">
                  <c:v>25.89981881639229</c:v>
                </c:pt>
                <c:pt idx="26165">
                  <c:v>30.095740212737425</c:v>
                </c:pt>
                <c:pt idx="26166">
                  <c:v>29.881848554381694</c:v>
                </c:pt>
                <c:pt idx="26167">
                  <c:v>30.328695860629598</c:v>
                </c:pt>
                <c:pt idx="26168">
                  <c:v>31.042795472890827</c:v>
                </c:pt>
                <c:pt idx="26169">
                  <c:v>52.366520703717875</c:v>
                </c:pt>
                <c:pt idx="26170">
                  <c:v>51.231249124815413</c:v>
                </c:pt>
                <c:pt idx="26171">
                  <c:v>38.25644424768943</c:v>
                </c:pt>
                <c:pt idx="26172">
                  <c:v>21.467601060692274</c:v>
                </c:pt>
                <c:pt idx="26173">
                  <c:v>34.62823826307919</c:v>
                </c:pt>
                <c:pt idx="26174">
                  <c:v>40.618418554149379</c:v>
                </c:pt>
                <c:pt idx="26175">
                  <c:v>18.430370976231856</c:v>
                </c:pt>
                <c:pt idx="26176">
                  <c:v>37.021669332767082</c:v>
                </c:pt>
                <c:pt idx="26177">
                  <c:v>36.098499928586101</c:v>
                </c:pt>
                <c:pt idx="26178">
                  <c:v>28.734720637469426</c:v>
                </c:pt>
                <c:pt idx="26179">
                  <c:v>23.7613263757247</c:v>
                </c:pt>
                <c:pt idx="26180">
                  <c:v>27.105363405526905</c:v>
                </c:pt>
                <c:pt idx="26181">
                  <c:v>24.430203472526998</c:v>
                </c:pt>
                <c:pt idx="26182">
                  <c:v>22.090861909445429</c:v>
                </c:pt>
                <c:pt idx="26183">
                  <c:v>50.870180470709677</c:v>
                </c:pt>
                <c:pt idx="26184">
                  <c:v>28.637665728278332</c:v>
                </c:pt>
                <c:pt idx="26185">
                  <c:v>39.119579086890504</c:v>
                </c:pt>
                <c:pt idx="26186">
                  <c:v>26.802705846880308</c:v>
                </c:pt>
                <c:pt idx="26187">
                  <c:v>36.980870337119839</c:v>
                </c:pt>
                <c:pt idx="26188">
                  <c:v>21.716618939200654</c:v>
                </c:pt>
                <c:pt idx="26189">
                  <c:v>40.234594485654512</c:v>
                </c:pt>
                <c:pt idx="26190">
                  <c:v>49.586304446712838</c:v>
                </c:pt>
                <c:pt idx="26191">
                  <c:v>53.676999253620075</c:v>
                </c:pt>
                <c:pt idx="26192">
                  <c:v>40.876590500593935</c:v>
                </c:pt>
                <c:pt idx="26193">
                  <c:v>22.309153123784363</c:v>
                </c:pt>
                <c:pt idx="26194">
                  <c:v>29.895007051013842</c:v>
                </c:pt>
                <c:pt idx="26195">
                  <c:v>46.827805299690382</c:v>
                </c:pt>
                <c:pt idx="26196">
                  <c:v>28.014626523917318</c:v>
                </c:pt>
                <c:pt idx="26197">
                  <c:v>25.591222828589196</c:v>
                </c:pt>
                <c:pt idx="26198">
                  <c:v>29.511220462424486</c:v>
                </c:pt>
                <c:pt idx="26199">
                  <c:v>35.512551973687309</c:v>
                </c:pt>
                <c:pt idx="26200">
                  <c:v>32.840783900111006</c:v>
                </c:pt>
                <c:pt idx="26201">
                  <c:v>49.124817851109867</c:v>
                </c:pt>
                <c:pt idx="26202">
                  <c:v>32.888202214245737</c:v>
                </c:pt>
                <c:pt idx="26203">
                  <c:v>57.411875703339653</c:v>
                </c:pt>
                <c:pt idx="26204">
                  <c:v>34.982453044215326</c:v>
                </c:pt>
                <c:pt idx="26205">
                  <c:v>16.735596065997683</c:v>
                </c:pt>
                <c:pt idx="26206">
                  <c:v>19.796385324970235</c:v>
                </c:pt>
                <c:pt idx="26207">
                  <c:v>32.654813544746482</c:v>
                </c:pt>
                <c:pt idx="26208">
                  <c:v>35.135702545618265</c:v>
                </c:pt>
                <c:pt idx="26209">
                  <c:v>27.841881248532637</c:v>
                </c:pt>
                <c:pt idx="26210">
                  <c:v>25.874028161114065</c:v>
                </c:pt>
                <c:pt idx="26211">
                  <c:v>30.748439905822405</c:v>
                </c:pt>
                <c:pt idx="26212">
                  <c:v>49.048838392799148</c:v>
                </c:pt>
                <c:pt idx="26213">
                  <c:v>54.016389947904301</c:v>
                </c:pt>
                <c:pt idx="26214">
                  <c:v>31.638629950405623</c:v>
                </c:pt>
                <c:pt idx="26215">
                  <c:v>26.102954379291738</c:v>
                </c:pt>
                <c:pt idx="26216">
                  <c:v>44.608792589769372</c:v>
                </c:pt>
                <c:pt idx="26217">
                  <c:v>53.930824978530104</c:v>
                </c:pt>
                <c:pt idx="26218">
                  <c:v>26.434313702763895</c:v>
                </c:pt>
                <c:pt idx="26219">
                  <c:v>26.628448276011248</c:v>
                </c:pt>
                <c:pt idx="26220">
                  <c:v>38.90111577211654</c:v>
                </c:pt>
                <c:pt idx="26221">
                  <c:v>23.207806146505181</c:v>
                </c:pt>
                <c:pt idx="26222">
                  <c:v>17.363672815416997</c:v>
                </c:pt>
                <c:pt idx="26223">
                  <c:v>29.71864083135759</c:v>
                </c:pt>
                <c:pt idx="26224">
                  <c:v>26.971713595433791</c:v>
                </c:pt>
                <c:pt idx="26225">
                  <c:v>20.133573876473399</c:v>
                </c:pt>
                <c:pt idx="26226">
                  <c:v>18.966807650717094</c:v>
                </c:pt>
                <c:pt idx="26227">
                  <c:v>23.728713336360027</c:v>
                </c:pt>
                <c:pt idx="26228">
                  <c:v>25.983077232578342</c:v>
                </c:pt>
                <c:pt idx="26229">
                  <c:v>30.818347115628065</c:v>
                </c:pt>
                <c:pt idx="26230">
                  <c:v>28.172774301948035</c:v>
                </c:pt>
                <c:pt idx="26231">
                  <c:v>21.084766276135149</c:v>
                </c:pt>
                <c:pt idx="26232">
                  <c:v>50.855760521980876</c:v>
                </c:pt>
                <c:pt idx="26233">
                  <c:v>51.586381317972638</c:v>
                </c:pt>
                <c:pt idx="26234">
                  <c:v>51.335836000217611</c:v>
                </c:pt>
                <c:pt idx="26235">
                  <c:v>29.911583417070169</c:v>
                </c:pt>
                <c:pt idx="26236">
                  <c:v>28.144995221942946</c:v>
                </c:pt>
                <c:pt idx="26237">
                  <c:v>24.019519136333084</c:v>
                </c:pt>
                <c:pt idx="26238">
                  <c:v>49.767446834735857</c:v>
                </c:pt>
                <c:pt idx="26239">
                  <c:v>54.145131265669136</c:v>
                </c:pt>
                <c:pt idx="26240">
                  <c:v>22.528896652790174</c:v>
                </c:pt>
                <c:pt idx="26241">
                  <c:v>30.44972346043199</c:v>
                </c:pt>
                <c:pt idx="26242">
                  <c:v>27.861340391954862</c:v>
                </c:pt>
                <c:pt idx="26243">
                  <c:v>28.192068483760035</c:v>
                </c:pt>
                <c:pt idx="26244">
                  <c:v>47.014828839426052</c:v>
                </c:pt>
                <c:pt idx="26245">
                  <c:v>30.219245915220259</c:v>
                </c:pt>
                <c:pt idx="26246">
                  <c:v>31.594333800871368</c:v>
                </c:pt>
                <c:pt idx="26247">
                  <c:v>30.788698549351789</c:v>
                </c:pt>
                <c:pt idx="26248">
                  <c:v>50.635331478639323</c:v>
                </c:pt>
                <c:pt idx="26249">
                  <c:v>53.326051035944062</c:v>
                </c:pt>
                <c:pt idx="26250">
                  <c:v>32.737916020972577</c:v>
                </c:pt>
                <c:pt idx="26251">
                  <c:v>39.816752495780221</c:v>
                </c:pt>
                <c:pt idx="26252">
                  <c:v>22.901932015063466</c:v>
                </c:pt>
                <c:pt idx="26253">
                  <c:v>30.607916633223926</c:v>
                </c:pt>
                <c:pt idx="26254">
                  <c:v>19.19407173711069</c:v>
                </c:pt>
                <c:pt idx="26255">
                  <c:v>29.349001531247843</c:v>
                </c:pt>
                <c:pt idx="26256">
                  <c:v>53.339748789867343</c:v>
                </c:pt>
                <c:pt idx="26257">
                  <c:v>20.03539989628808</c:v>
                </c:pt>
                <c:pt idx="26258">
                  <c:v>28.876341526843238</c:v>
                </c:pt>
                <c:pt idx="26259">
                  <c:v>34.902989830886995</c:v>
                </c:pt>
                <c:pt idx="26260">
                  <c:v>26.823901450115727</c:v>
                </c:pt>
                <c:pt idx="26261">
                  <c:v>29.221794895616974</c:v>
                </c:pt>
                <c:pt idx="26262">
                  <c:v>29.249642748782666</c:v>
                </c:pt>
                <c:pt idx="26263">
                  <c:v>23.86908445388082</c:v>
                </c:pt>
                <c:pt idx="26264">
                  <c:v>40.706176415233415</c:v>
                </c:pt>
                <c:pt idx="26265">
                  <c:v>41.702840542949097</c:v>
                </c:pt>
                <c:pt idx="26266">
                  <c:v>30.158176110668265</c:v>
                </c:pt>
                <c:pt idx="26267">
                  <c:v>32.367977204420413</c:v>
                </c:pt>
                <c:pt idx="26268">
                  <c:v>19.114260379365383</c:v>
                </c:pt>
                <c:pt idx="26269">
                  <c:v>31.482781591561071</c:v>
                </c:pt>
                <c:pt idx="26270">
                  <c:v>44.948326805386841</c:v>
                </c:pt>
                <c:pt idx="26271">
                  <c:v>21.219522489900662</c:v>
                </c:pt>
                <c:pt idx="26272">
                  <c:v>29.712271823490369</c:v>
                </c:pt>
                <c:pt idx="26273">
                  <c:v>26.404610676860678</c:v>
                </c:pt>
                <c:pt idx="26274">
                  <c:v>40.895740348751474</c:v>
                </c:pt>
                <c:pt idx="26275">
                  <c:v>29.957423711066248</c:v>
                </c:pt>
                <c:pt idx="26276">
                  <c:v>19.776083558233324</c:v>
                </c:pt>
                <c:pt idx="26277">
                  <c:v>29.045200920350361</c:v>
                </c:pt>
                <c:pt idx="26278">
                  <c:v>24.896839758533645</c:v>
                </c:pt>
                <c:pt idx="26279">
                  <c:v>25.741997365955193</c:v>
                </c:pt>
                <c:pt idx="26280">
                  <c:v>27.678704522846378</c:v>
                </c:pt>
                <c:pt idx="26281">
                  <c:v>30.38423719118099</c:v>
                </c:pt>
                <c:pt idx="26282">
                  <c:v>29.458787008447089</c:v>
                </c:pt>
                <c:pt idx="26283">
                  <c:v>41.869636344535508</c:v>
                </c:pt>
                <c:pt idx="26284">
                  <c:v>47.501378861000951</c:v>
                </c:pt>
                <c:pt idx="26285">
                  <c:v>51.762676415964741</c:v>
                </c:pt>
                <c:pt idx="26286">
                  <c:v>30.029167202604221</c:v>
                </c:pt>
                <c:pt idx="26287">
                  <c:v>28.300305354118994</c:v>
                </c:pt>
                <c:pt idx="26288">
                  <c:v>44.572174053867954</c:v>
                </c:pt>
                <c:pt idx="26289">
                  <c:v>46.351149480406043</c:v>
                </c:pt>
                <c:pt idx="26290">
                  <c:v>27.038473895973286</c:v>
                </c:pt>
                <c:pt idx="26291">
                  <c:v>22.847859709076474</c:v>
                </c:pt>
                <c:pt idx="26292">
                  <c:v>28.266552579669181</c:v>
                </c:pt>
                <c:pt idx="26293">
                  <c:v>24.107273319163468</c:v>
                </c:pt>
                <c:pt idx="26294">
                  <c:v>25.457125216131473</c:v>
                </c:pt>
                <c:pt idx="26295">
                  <c:v>27.245623827856502</c:v>
                </c:pt>
                <c:pt idx="26296">
                  <c:v>53.628938171963384</c:v>
                </c:pt>
                <c:pt idx="26297">
                  <c:v>38.530404642941448</c:v>
                </c:pt>
                <c:pt idx="26298">
                  <c:v>50.612125595599863</c:v>
                </c:pt>
                <c:pt idx="26299">
                  <c:v>24.115569119991747</c:v>
                </c:pt>
                <c:pt idx="26300">
                  <c:v>43.172402606754552</c:v>
                </c:pt>
                <c:pt idx="26301">
                  <c:v>29.030363395037497</c:v>
                </c:pt>
                <c:pt idx="26302">
                  <c:v>48.147109309076995</c:v>
                </c:pt>
                <c:pt idx="26303">
                  <c:v>20.660017671254245</c:v>
                </c:pt>
                <c:pt idx="26304">
                  <c:v>31.352996475837415</c:v>
                </c:pt>
                <c:pt idx="26305">
                  <c:v>28.238490846532219</c:v>
                </c:pt>
                <c:pt idx="26306">
                  <c:v>53.877225288218355</c:v>
                </c:pt>
                <c:pt idx="26307">
                  <c:v>18.209985493410354</c:v>
                </c:pt>
                <c:pt idx="26308">
                  <c:v>25.293247767178972</c:v>
                </c:pt>
                <c:pt idx="26309">
                  <c:v>25.430546793828668</c:v>
                </c:pt>
                <c:pt idx="26310">
                  <c:v>21.221725590953945</c:v>
                </c:pt>
                <c:pt idx="26311">
                  <c:v>25.535747124163422</c:v>
                </c:pt>
                <c:pt idx="26312">
                  <c:v>23.948131782549005</c:v>
                </c:pt>
                <c:pt idx="26313">
                  <c:v>45.697543298350524</c:v>
                </c:pt>
                <c:pt idx="26314">
                  <c:v>19.438612714553102</c:v>
                </c:pt>
                <c:pt idx="26315">
                  <c:v>32.999181927475881</c:v>
                </c:pt>
                <c:pt idx="26316">
                  <c:v>32.847091610335092</c:v>
                </c:pt>
                <c:pt idx="26317">
                  <c:v>29.705876472788166</c:v>
                </c:pt>
                <c:pt idx="26318">
                  <c:v>29.331208322566539</c:v>
                </c:pt>
                <c:pt idx="26319">
                  <c:v>23.840560726736179</c:v>
                </c:pt>
                <c:pt idx="26320">
                  <c:v>32.813090356797488</c:v>
                </c:pt>
                <c:pt idx="26321">
                  <c:v>30.54737496434738</c:v>
                </c:pt>
                <c:pt idx="26322">
                  <c:v>24.239045865233244</c:v>
                </c:pt>
                <c:pt idx="26323">
                  <c:v>23.37998823683758</c:v>
                </c:pt>
                <c:pt idx="26324">
                  <c:v>18.801568102447035</c:v>
                </c:pt>
                <c:pt idx="26325">
                  <c:v>30.402925838307119</c:v>
                </c:pt>
                <c:pt idx="26326">
                  <c:v>22.231728113298644</c:v>
                </c:pt>
                <c:pt idx="26327">
                  <c:v>19.36718193417958</c:v>
                </c:pt>
                <c:pt idx="26328">
                  <c:v>33.97680512198685</c:v>
                </c:pt>
                <c:pt idx="26329">
                  <c:v>47.903845830287658</c:v>
                </c:pt>
                <c:pt idx="26330">
                  <c:v>20.528041546464785</c:v>
                </c:pt>
                <c:pt idx="26331">
                  <c:v>24.591333542925867</c:v>
                </c:pt>
                <c:pt idx="26332">
                  <c:v>28.449526411351133</c:v>
                </c:pt>
                <c:pt idx="26333">
                  <c:v>24.710675136264879</c:v>
                </c:pt>
                <c:pt idx="26334">
                  <c:v>29.480629069575723</c:v>
                </c:pt>
                <c:pt idx="26335">
                  <c:v>32.372562843543307</c:v>
                </c:pt>
                <c:pt idx="26336">
                  <c:v>60.790332196580302</c:v>
                </c:pt>
                <c:pt idx="26337">
                  <c:v>34.767061906977858</c:v>
                </c:pt>
                <c:pt idx="26338">
                  <c:v>34.657467352274658</c:v>
                </c:pt>
                <c:pt idx="26339">
                  <c:v>23.180485049363831</c:v>
                </c:pt>
                <c:pt idx="26340">
                  <c:v>36.831556770471579</c:v>
                </c:pt>
                <c:pt idx="26341">
                  <c:v>29.00245704635514</c:v>
                </c:pt>
                <c:pt idx="26342">
                  <c:v>24.558323759219626</c:v>
                </c:pt>
                <c:pt idx="26343">
                  <c:v>29.277140345154532</c:v>
                </c:pt>
                <c:pt idx="26344">
                  <c:v>21.311753555960291</c:v>
                </c:pt>
                <c:pt idx="26345">
                  <c:v>27.20719673729554</c:v>
                </c:pt>
                <c:pt idx="26346">
                  <c:v>45.281370513994659</c:v>
                </c:pt>
                <c:pt idx="26347">
                  <c:v>22.487433980418373</c:v>
                </c:pt>
                <c:pt idx="26348">
                  <c:v>34.839852322413343</c:v>
                </c:pt>
                <c:pt idx="26349">
                  <c:v>32.748861178997622</c:v>
                </c:pt>
                <c:pt idx="26350">
                  <c:v>27.711276052080557</c:v>
                </c:pt>
                <c:pt idx="26351">
                  <c:v>28.076549435807681</c:v>
                </c:pt>
                <c:pt idx="26352">
                  <c:v>21.978016503986698</c:v>
                </c:pt>
                <c:pt idx="26353">
                  <c:v>29.464106628547356</c:v>
                </c:pt>
                <c:pt idx="26354">
                  <c:v>53.168137930088484</c:v>
                </c:pt>
                <c:pt idx="26355">
                  <c:v>41.407145294935326</c:v>
                </c:pt>
                <c:pt idx="26356">
                  <c:v>31.009414496804204</c:v>
                </c:pt>
                <c:pt idx="26357">
                  <c:v>24.058308683483936</c:v>
                </c:pt>
                <c:pt idx="26358">
                  <c:v>51.343250475297509</c:v>
                </c:pt>
                <c:pt idx="26359">
                  <c:v>26.625369238318463</c:v>
                </c:pt>
                <c:pt idx="26360">
                  <c:v>51.060954612263984</c:v>
                </c:pt>
                <c:pt idx="26361">
                  <c:v>25.472190043564623</c:v>
                </c:pt>
                <c:pt idx="26362">
                  <c:v>26.198087611601981</c:v>
                </c:pt>
                <c:pt idx="26363">
                  <c:v>28.816537422824375</c:v>
                </c:pt>
                <c:pt idx="26364">
                  <c:v>32.295409854356706</c:v>
                </c:pt>
                <c:pt idx="26365">
                  <c:v>27.775951234290186</c:v>
                </c:pt>
                <c:pt idx="26366">
                  <c:v>58.422782583811639</c:v>
                </c:pt>
                <c:pt idx="26367">
                  <c:v>24.252526622454877</c:v>
                </c:pt>
                <c:pt idx="26368">
                  <c:v>22.772636928736052</c:v>
                </c:pt>
                <c:pt idx="26369">
                  <c:v>15.81163954414553</c:v>
                </c:pt>
                <c:pt idx="26370">
                  <c:v>41.093617705049098</c:v>
                </c:pt>
                <c:pt idx="26371">
                  <c:v>24.114662471045591</c:v>
                </c:pt>
                <c:pt idx="26372">
                  <c:v>46.745611588671643</c:v>
                </c:pt>
                <c:pt idx="26373">
                  <c:v>27.494972678427217</c:v>
                </c:pt>
                <c:pt idx="26374">
                  <c:v>29.221248836515777</c:v>
                </c:pt>
                <c:pt idx="26375">
                  <c:v>28.203053158783678</c:v>
                </c:pt>
                <c:pt idx="26376">
                  <c:v>33.384762747249063</c:v>
                </c:pt>
                <c:pt idx="26377">
                  <c:v>28.875862512286997</c:v>
                </c:pt>
                <c:pt idx="26378">
                  <c:v>43.500131556392304</c:v>
                </c:pt>
                <c:pt idx="26379">
                  <c:v>30.488038080732039</c:v>
                </c:pt>
                <c:pt idx="26380">
                  <c:v>25.494587225557073</c:v>
                </c:pt>
                <c:pt idx="26381">
                  <c:v>26.651007492832605</c:v>
                </c:pt>
                <c:pt idx="26382">
                  <c:v>30.262477743272783</c:v>
                </c:pt>
                <c:pt idx="26383">
                  <c:v>18.543797685026846</c:v>
                </c:pt>
                <c:pt idx="26384">
                  <c:v>18.198684736190984</c:v>
                </c:pt>
                <c:pt idx="26385">
                  <c:v>21.746740844017221</c:v>
                </c:pt>
                <c:pt idx="26386">
                  <c:v>19.678953348303192</c:v>
                </c:pt>
                <c:pt idx="26387">
                  <c:v>22.324651851555736</c:v>
                </c:pt>
                <c:pt idx="26388">
                  <c:v>55.253555910557836</c:v>
                </c:pt>
                <c:pt idx="26389">
                  <c:v>65.638671730153902</c:v>
                </c:pt>
                <c:pt idx="26390">
                  <c:v>27.119553297400202</c:v>
                </c:pt>
                <c:pt idx="26391">
                  <c:v>20.304988446969766</c:v>
                </c:pt>
                <c:pt idx="26392">
                  <c:v>25.023118594108421</c:v>
                </c:pt>
                <c:pt idx="26393">
                  <c:v>29.569560750876725</c:v>
                </c:pt>
                <c:pt idx="26394">
                  <c:v>31.367671758392138</c:v>
                </c:pt>
                <c:pt idx="26395">
                  <c:v>30.527508923831018</c:v>
                </c:pt>
                <c:pt idx="26396">
                  <c:v>49.36761944293329</c:v>
                </c:pt>
                <c:pt idx="26397">
                  <c:v>26.32694315891878</c:v>
                </c:pt>
                <c:pt idx="26398">
                  <c:v>28.072742546367031</c:v>
                </c:pt>
                <c:pt idx="26399">
                  <c:v>35.557585155477739</c:v>
                </c:pt>
                <c:pt idx="26400">
                  <c:v>30.830049387716123</c:v>
                </c:pt>
                <c:pt idx="26401">
                  <c:v>33.331648345538014</c:v>
                </c:pt>
                <c:pt idx="26402">
                  <c:v>38.099388360087723</c:v>
                </c:pt>
                <c:pt idx="26403">
                  <c:v>26.982065890158921</c:v>
                </c:pt>
                <c:pt idx="26404">
                  <c:v>51.195805330060331</c:v>
                </c:pt>
                <c:pt idx="26405">
                  <c:v>45.142902382412991</c:v>
                </c:pt>
                <c:pt idx="26406">
                  <c:v>44.430125268610496</c:v>
                </c:pt>
                <c:pt idx="26407">
                  <c:v>31.888316426963851</c:v>
                </c:pt>
                <c:pt idx="26408">
                  <c:v>34.531692335503529</c:v>
                </c:pt>
                <c:pt idx="26409">
                  <c:v>32.848289205582034</c:v>
                </c:pt>
                <c:pt idx="26410">
                  <c:v>51.225733304910477</c:v>
                </c:pt>
                <c:pt idx="26411">
                  <c:v>34.054299444241238</c:v>
                </c:pt>
                <c:pt idx="26412">
                  <c:v>24.091720610804735</c:v>
                </c:pt>
                <c:pt idx="26413">
                  <c:v>49.269926123367213</c:v>
                </c:pt>
                <c:pt idx="26414">
                  <c:v>25.515590260563997</c:v>
                </c:pt>
                <c:pt idx="26415">
                  <c:v>25.074319169912766</c:v>
                </c:pt>
                <c:pt idx="26416">
                  <c:v>27.754148624127478</c:v>
                </c:pt>
                <c:pt idx="26417">
                  <c:v>27.089324410297877</c:v>
                </c:pt>
                <c:pt idx="26418">
                  <c:v>28.752385355974795</c:v>
                </c:pt>
                <c:pt idx="26419">
                  <c:v>39.342181502435125</c:v>
                </c:pt>
                <c:pt idx="26420">
                  <c:v>45.280683329718947</c:v>
                </c:pt>
                <c:pt idx="26421">
                  <c:v>25.906306383225903</c:v>
                </c:pt>
                <c:pt idx="26422">
                  <c:v>26.231770825483988</c:v>
                </c:pt>
                <c:pt idx="26423">
                  <c:v>28.259349261943562</c:v>
                </c:pt>
                <c:pt idx="26424">
                  <c:v>31.454994063469965</c:v>
                </c:pt>
                <c:pt idx="26425">
                  <c:v>19.123406736356319</c:v>
                </c:pt>
                <c:pt idx="26426">
                  <c:v>18.298528290847116</c:v>
                </c:pt>
                <c:pt idx="26427">
                  <c:v>28.348318398458144</c:v>
                </c:pt>
                <c:pt idx="26428">
                  <c:v>22.423727597091187</c:v>
                </c:pt>
                <c:pt idx="26429">
                  <c:v>27.792742814449905</c:v>
                </c:pt>
                <c:pt idx="26430">
                  <c:v>22.66052847749301</c:v>
                </c:pt>
                <c:pt idx="26431">
                  <c:v>26.683688118560077</c:v>
                </c:pt>
                <c:pt idx="26432">
                  <c:v>14.79117010102183</c:v>
                </c:pt>
                <c:pt idx="26433">
                  <c:v>39.43513439204628</c:v>
                </c:pt>
                <c:pt idx="26434">
                  <c:v>58.437924005866144</c:v>
                </c:pt>
                <c:pt idx="26435">
                  <c:v>31.164307717591281</c:v>
                </c:pt>
                <c:pt idx="26436">
                  <c:v>26.609932877098245</c:v>
                </c:pt>
                <c:pt idx="26437">
                  <c:v>37.710742295314326</c:v>
                </c:pt>
                <c:pt idx="26438">
                  <c:v>26.439139451382395</c:v>
                </c:pt>
                <c:pt idx="26439">
                  <c:v>27.408793586441959</c:v>
                </c:pt>
                <c:pt idx="26440">
                  <c:v>20.026761415201239</c:v>
                </c:pt>
                <c:pt idx="26441">
                  <c:v>32.393235008686823</c:v>
                </c:pt>
                <c:pt idx="26442">
                  <c:v>50.066739157032465</c:v>
                </c:pt>
                <c:pt idx="26443">
                  <c:v>25.395715246222053</c:v>
                </c:pt>
                <c:pt idx="26444">
                  <c:v>23.223088986013487</c:v>
                </c:pt>
                <c:pt idx="26445">
                  <c:v>20.424705594469629</c:v>
                </c:pt>
                <c:pt idx="26446">
                  <c:v>43.883630464524209</c:v>
                </c:pt>
                <c:pt idx="26447">
                  <c:v>24.459947958017693</c:v>
                </c:pt>
                <c:pt idx="26448">
                  <c:v>33.227297825851004</c:v>
                </c:pt>
                <c:pt idx="26449">
                  <c:v>24.057587465137381</c:v>
                </c:pt>
                <c:pt idx="26450">
                  <c:v>28.127512408272899</c:v>
                </c:pt>
                <c:pt idx="26451">
                  <c:v>30.529694228522182</c:v>
                </c:pt>
                <c:pt idx="26452">
                  <c:v>22.04182348971139</c:v>
                </c:pt>
                <c:pt idx="26453">
                  <c:v>40.05060919232448</c:v>
                </c:pt>
                <c:pt idx="26454">
                  <c:v>36.274951237928747</c:v>
                </c:pt>
                <c:pt idx="26455">
                  <c:v>24.956968980867476</c:v>
                </c:pt>
                <c:pt idx="26456">
                  <c:v>42.810445372669797</c:v>
                </c:pt>
                <c:pt idx="26457">
                  <c:v>37.56410723120964</c:v>
                </c:pt>
                <c:pt idx="26458">
                  <c:v>23.691502473696939</c:v>
                </c:pt>
                <c:pt idx="26459">
                  <c:v>28.784684933591549</c:v>
                </c:pt>
                <c:pt idx="26460">
                  <c:v>31.324589929665084</c:v>
                </c:pt>
                <c:pt idx="26461">
                  <c:v>25.881867329783649</c:v>
                </c:pt>
                <c:pt idx="26462">
                  <c:v>19.549112309521131</c:v>
                </c:pt>
                <c:pt idx="26463">
                  <c:v>31.840631606831746</c:v>
                </c:pt>
                <c:pt idx="26464">
                  <c:v>36.180129748657279</c:v>
                </c:pt>
                <c:pt idx="26465">
                  <c:v>26.184019111779975</c:v>
                </c:pt>
                <c:pt idx="26466">
                  <c:v>21.270266876412574</c:v>
                </c:pt>
                <c:pt idx="26467">
                  <c:v>25.945318612309535</c:v>
                </c:pt>
                <c:pt idx="26468">
                  <c:v>22.356508368969791</c:v>
                </c:pt>
                <c:pt idx="26469">
                  <c:v>30.757668175542467</c:v>
                </c:pt>
                <c:pt idx="26470">
                  <c:v>21.818263317271484</c:v>
                </c:pt>
                <c:pt idx="26471">
                  <c:v>41.938302194163292</c:v>
                </c:pt>
                <c:pt idx="26472">
                  <c:v>34.572553920022763</c:v>
                </c:pt>
                <c:pt idx="26473">
                  <c:v>33.627471599055347</c:v>
                </c:pt>
                <c:pt idx="26474">
                  <c:v>31.836792070705314</c:v>
                </c:pt>
                <c:pt idx="26475">
                  <c:v>35.391589451271187</c:v>
                </c:pt>
                <c:pt idx="26476">
                  <c:v>43.826390601760629</c:v>
                </c:pt>
                <c:pt idx="26477">
                  <c:v>45.795561140736979</c:v>
                </c:pt>
                <c:pt idx="26478">
                  <c:v>31.042013271608305</c:v>
                </c:pt>
                <c:pt idx="26479">
                  <c:v>23.252830419307969</c:v>
                </c:pt>
                <c:pt idx="26480">
                  <c:v>23.144739570884241</c:v>
                </c:pt>
                <c:pt idx="26481">
                  <c:v>28.796907846836309</c:v>
                </c:pt>
                <c:pt idx="26482">
                  <c:v>28.565750170334905</c:v>
                </c:pt>
                <c:pt idx="26483">
                  <c:v>27.514079674773342</c:v>
                </c:pt>
                <c:pt idx="26484">
                  <c:v>29.95117401898543</c:v>
                </c:pt>
                <c:pt idx="26485">
                  <c:v>30.723571568098592</c:v>
                </c:pt>
                <c:pt idx="26486">
                  <c:v>30.335007139134312</c:v>
                </c:pt>
                <c:pt idx="26487">
                  <c:v>23.930958081060098</c:v>
                </c:pt>
                <c:pt idx="26488">
                  <c:v>23.548383758764295</c:v>
                </c:pt>
                <c:pt idx="26489">
                  <c:v>20.855867944393161</c:v>
                </c:pt>
                <c:pt idx="26490">
                  <c:v>27.872293054281904</c:v>
                </c:pt>
                <c:pt idx="26491">
                  <c:v>35.269487307901628</c:v>
                </c:pt>
                <c:pt idx="26492">
                  <c:v>27.980970474325911</c:v>
                </c:pt>
                <c:pt idx="26493">
                  <c:v>46.948189168319466</c:v>
                </c:pt>
                <c:pt idx="26494">
                  <c:v>32.158622949200009</c:v>
                </c:pt>
                <c:pt idx="26495">
                  <c:v>25.361270451668545</c:v>
                </c:pt>
                <c:pt idx="26496">
                  <c:v>23.61483953691134</c:v>
                </c:pt>
                <c:pt idx="26497">
                  <c:v>28.309870342741817</c:v>
                </c:pt>
                <c:pt idx="26498">
                  <c:v>20.180120070553489</c:v>
                </c:pt>
                <c:pt idx="26499">
                  <c:v>28.160321222696744</c:v>
                </c:pt>
                <c:pt idx="26500">
                  <c:v>36.853250657899196</c:v>
                </c:pt>
                <c:pt idx="26501">
                  <c:v>25.528714050869326</c:v>
                </c:pt>
                <c:pt idx="26502">
                  <c:v>32.276917776736589</c:v>
                </c:pt>
                <c:pt idx="26503">
                  <c:v>21.612003183627632</c:v>
                </c:pt>
                <c:pt idx="26504">
                  <c:v>43.929012396389155</c:v>
                </c:pt>
                <c:pt idx="26505">
                  <c:v>32.849963005287684</c:v>
                </c:pt>
                <c:pt idx="26506">
                  <c:v>24.918442505376689</c:v>
                </c:pt>
                <c:pt idx="26507">
                  <c:v>32.887778962408099</c:v>
                </c:pt>
                <c:pt idx="26508">
                  <c:v>27.363303277581736</c:v>
                </c:pt>
                <c:pt idx="26509">
                  <c:v>45.324486881439135</c:v>
                </c:pt>
                <c:pt idx="26510">
                  <c:v>22.63135614134741</c:v>
                </c:pt>
                <c:pt idx="26511">
                  <c:v>31.803487002048172</c:v>
                </c:pt>
                <c:pt idx="26512">
                  <c:v>31.481181527547093</c:v>
                </c:pt>
                <c:pt idx="26513">
                  <c:v>57.057179738570575</c:v>
                </c:pt>
                <c:pt idx="26514">
                  <c:v>21.188571865105409</c:v>
                </c:pt>
                <c:pt idx="26515">
                  <c:v>23.064381324376605</c:v>
                </c:pt>
                <c:pt idx="26516">
                  <c:v>50.919307472837907</c:v>
                </c:pt>
                <c:pt idx="26517">
                  <c:v>21.103712121205884</c:v>
                </c:pt>
                <c:pt idx="26518">
                  <c:v>27.883745789162599</c:v>
                </c:pt>
                <c:pt idx="26519">
                  <c:v>38.381934675341746</c:v>
                </c:pt>
                <c:pt idx="26520">
                  <c:v>47.462970766203256</c:v>
                </c:pt>
                <c:pt idx="26521">
                  <c:v>25.558807370215632</c:v>
                </c:pt>
                <c:pt idx="26522">
                  <c:v>26.217542309752982</c:v>
                </c:pt>
                <c:pt idx="26523">
                  <c:v>41.414627406247099</c:v>
                </c:pt>
                <c:pt idx="26524">
                  <c:v>27.236425988352227</c:v>
                </c:pt>
                <c:pt idx="26525">
                  <c:v>26.123640979087618</c:v>
                </c:pt>
                <c:pt idx="26526">
                  <c:v>33.911063544462095</c:v>
                </c:pt>
                <c:pt idx="26527">
                  <c:v>33.899563831364837</c:v>
                </c:pt>
                <c:pt idx="26528">
                  <c:v>26.134393089979216</c:v>
                </c:pt>
                <c:pt idx="26529">
                  <c:v>31.866119653377453</c:v>
                </c:pt>
                <c:pt idx="26530">
                  <c:v>27.335475090785568</c:v>
                </c:pt>
                <c:pt idx="26531">
                  <c:v>22.68624041817991</c:v>
                </c:pt>
                <c:pt idx="26532">
                  <c:v>42.205104701560245</c:v>
                </c:pt>
                <c:pt idx="26533">
                  <c:v>32.220539010814299</c:v>
                </c:pt>
                <c:pt idx="26534">
                  <c:v>24.353111065984798</c:v>
                </c:pt>
                <c:pt idx="26535">
                  <c:v>28.621809943048316</c:v>
                </c:pt>
                <c:pt idx="26536">
                  <c:v>32.743150291849794</c:v>
                </c:pt>
                <c:pt idx="26537">
                  <c:v>32.375162231331032</c:v>
                </c:pt>
                <c:pt idx="26538">
                  <c:v>44.94456124741248</c:v>
                </c:pt>
                <c:pt idx="26539">
                  <c:v>32.858608469367965</c:v>
                </c:pt>
                <c:pt idx="26540">
                  <c:v>62.34162084410972</c:v>
                </c:pt>
                <c:pt idx="26541">
                  <c:v>47.805423345495285</c:v>
                </c:pt>
                <c:pt idx="26542">
                  <c:v>26.961381097306813</c:v>
                </c:pt>
                <c:pt idx="26543">
                  <c:v>31.364147647550762</c:v>
                </c:pt>
                <c:pt idx="26544">
                  <c:v>25.801183935922634</c:v>
                </c:pt>
                <c:pt idx="26545">
                  <c:v>16.466272541987067</c:v>
                </c:pt>
                <c:pt idx="26546">
                  <c:v>32.797660742708466</c:v>
                </c:pt>
                <c:pt idx="26547">
                  <c:v>50.013761875281389</c:v>
                </c:pt>
                <c:pt idx="26548">
                  <c:v>24.986349583146087</c:v>
                </c:pt>
                <c:pt idx="26549">
                  <c:v>34.476168210125017</c:v>
                </c:pt>
                <c:pt idx="26550">
                  <c:v>47.287075279059458</c:v>
                </c:pt>
                <c:pt idx="26551">
                  <c:v>49.411077685147333</c:v>
                </c:pt>
                <c:pt idx="26552">
                  <c:v>37.535119533115285</c:v>
                </c:pt>
                <c:pt idx="26553">
                  <c:v>26.353629362992447</c:v>
                </c:pt>
                <c:pt idx="26554">
                  <c:v>38.566242697405727</c:v>
                </c:pt>
                <c:pt idx="26555">
                  <c:v>53.434556737964328</c:v>
                </c:pt>
                <c:pt idx="26556">
                  <c:v>37.550140795127923</c:v>
                </c:pt>
                <c:pt idx="26557">
                  <c:v>25.29500986351912</c:v>
                </c:pt>
                <c:pt idx="26558">
                  <c:v>28.120669233380227</c:v>
                </c:pt>
                <c:pt idx="26559">
                  <c:v>20.947487360934751</c:v>
                </c:pt>
                <c:pt idx="26560">
                  <c:v>27.095976610288908</c:v>
                </c:pt>
                <c:pt idx="26561">
                  <c:v>21.037513005451217</c:v>
                </c:pt>
                <c:pt idx="26562">
                  <c:v>25.968347383717383</c:v>
                </c:pt>
                <c:pt idx="26563">
                  <c:v>30.10268185613343</c:v>
                </c:pt>
                <c:pt idx="26564">
                  <c:v>25.983200435833538</c:v>
                </c:pt>
                <c:pt idx="26565">
                  <c:v>35.061860187095419</c:v>
                </c:pt>
                <c:pt idx="26566">
                  <c:v>26.773942045689683</c:v>
                </c:pt>
                <c:pt idx="26567">
                  <c:v>49.086778898782029</c:v>
                </c:pt>
                <c:pt idx="26568">
                  <c:v>20.956492842840515</c:v>
                </c:pt>
                <c:pt idx="26569">
                  <c:v>27.528425105911907</c:v>
                </c:pt>
                <c:pt idx="26570">
                  <c:v>40.147068876529893</c:v>
                </c:pt>
                <c:pt idx="26571">
                  <c:v>28.084285032646868</c:v>
                </c:pt>
                <c:pt idx="26572">
                  <c:v>30.461750725513028</c:v>
                </c:pt>
                <c:pt idx="26573">
                  <c:v>60.580913335008027</c:v>
                </c:pt>
                <c:pt idx="26574">
                  <c:v>26.251098648918504</c:v>
                </c:pt>
                <c:pt idx="26575">
                  <c:v>31.763643131599856</c:v>
                </c:pt>
                <c:pt idx="26576">
                  <c:v>24.585978516407515</c:v>
                </c:pt>
                <c:pt idx="26577">
                  <c:v>22.892214488233407</c:v>
                </c:pt>
                <c:pt idx="26578">
                  <c:v>50.608027397254595</c:v>
                </c:pt>
                <c:pt idx="26579">
                  <c:v>27.230499967643485</c:v>
                </c:pt>
                <c:pt idx="26580">
                  <c:v>41.062804942179369</c:v>
                </c:pt>
                <c:pt idx="26581">
                  <c:v>30.61150905686603</c:v>
                </c:pt>
                <c:pt idx="26582">
                  <c:v>27.402540143680582</c:v>
                </c:pt>
                <c:pt idx="26583">
                  <c:v>22.019900576212777</c:v>
                </c:pt>
                <c:pt idx="26584">
                  <c:v>62.024462881766652</c:v>
                </c:pt>
                <c:pt idx="26585">
                  <c:v>28.378589170849342</c:v>
                </c:pt>
                <c:pt idx="26586">
                  <c:v>24.279729926179606</c:v>
                </c:pt>
                <c:pt idx="26587">
                  <c:v>46.765741571034482</c:v>
                </c:pt>
                <c:pt idx="26588">
                  <c:v>30.727060349556773</c:v>
                </c:pt>
                <c:pt idx="26589">
                  <c:v>27.948644074969604</c:v>
                </c:pt>
                <c:pt idx="26590">
                  <c:v>27.778942500027505</c:v>
                </c:pt>
                <c:pt idx="26591">
                  <c:v>23.838279534213754</c:v>
                </c:pt>
                <c:pt idx="26592">
                  <c:v>28.258689755255681</c:v>
                </c:pt>
                <c:pt idx="26593">
                  <c:v>22.939869653844589</c:v>
                </c:pt>
                <c:pt idx="26594">
                  <c:v>25.459210513611197</c:v>
                </c:pt>
                <c:pt idx="26595">
                  <c:v>34.251917963225033</c:v>
                </c:pt>
                <c:pt idx="26596">
                  <c:v>18.722068904613835</c:v>
                </c:pt>
                <c:pt idx="26597">
                  <c:v>52.893040321342355</c:v>
                </c:pt>
                <c:pt idx="26598">
                  <c:v>22.753687932326848</c:v>
                </c:pt>
                <c:pt idx="26599">
                  <c:v>27.311687411292205</c:v>
                </c:pt>
                <c:pt idx="26600">
                  <c:v>24.769034870819198</c:v>
                </c:pt>
                <c:pt idx="26601">
                  <c:v>43.02595393211503</c:v>
                </c:pt>
                <c:pt idx="26602">
                  <c:v>25.261154174271201</c:v>
                </c:pt>
                <c:pt idx="26603">
                  <c:v>43.805571353060522</c:v>
                </c:pt>
                <c:pt idx="26604">
                  <c:v>24.877986890917899</c:v>
                </c:pt>
                <c:pt idx="26605">
                  <c:v>25.193685217437018</c:v>
                </c:pt>
                <c:pt idx="26606">
                  <c:v>27.531655629499376</c:v>
                </c:pt>
                <c:pt idx="26607">
                  <c:v>27.495370983041902</c:v>
                </c:pt>
                <c:pt idx="26608">
                  <c:v>21.014425525692431</c:v>
                </c:pt>
                <c:pt idx="26609">
                  <c:v>28.531192367658029</c:v>
                </c:pt>
                <c:pt idx="26610">
                  <c:v>27.93390662916789</c:v>
                </c:pt>
                <c:pt idx="26611">
                  <c:v>23.35425902386352</c:v>
                </c:pt>
                <c:pt idx="26612">
                  <c:v>32.619572335780397</c:v>
                </c:pt>
                <c:pt idx="26613">
                  <c:v>31.135317343070199</c:v>
                </c:pt>
                <c:pt idx="26614">
                  <c:v>65.584379581545548</c:v>
                </c:pt>
                <c:pt idx="26615">
                  <c:v>29.258560179976222</c:v>
                </c:pt>
                <c:pt idx="26616">
                  <c:v>56.96265896346749</c:v>
                </c:pt>
                <c:pt idx="26617">
                  <c:v>34.431840594764736</c:v>
                </c:pt>
                <c:pt idx="26618">
                  <c:v>41.282111348182184</c:v>
                </c:pt>
                <c:pt idx="26619">
                  <c:v>24.744122063056565</c:v>
                </c:pt>
                <c:pt idx="26620">
                  <c:v>37.549251836758053</c:v>
                </c:pt>
                <c:pt idx="26621">
                  <c:v>19.73953108101237</c:v>
                </c:pt>
                <c:pt idx="26622">
                  <c:v>22.384448265832546</c:v>
                </c:pt>
                <c:pt idx="26623">
                  <c:v>18.167259530267884</c:v>
                </c:pt>
                <c:pt idx="26624">
                  <c:v>30.377694896542188</c:v>
                </c:pt>
                <c:pt idx="26625">
                  <c:v>40.835965460902422</c:v>
                </c:pt>
                <c:pt idx="26626">
                  <c:v>21.885439892499594</c:v>
                </c:pt>
                <c:pt idx="26627">
                  <c:v>25.693066171590189</c:v>
                </c:pt>
                <c:pt idx="26628">
                  <c:v>47.38644221893496</c:v>
                </c:pt>
                <c:pt idx="26629">
                  <c:v>31.752818369266247</c:v>
                </c:pt>
                <c:pt idx="26630">
                  <c:v>53.329785368080337</c:v>
                </c:pt>
                <c:pt idx="26631">
                  <c:v>50.377940860478141</c:v>
                </c:pt>
                <c:pt idx="26632">
                  <c:v>23.380759577235771</c:v>
                </c:pt>
                <c:pt idx="26633">
                  <c:v>23.201278679314115</c:v>
                </c:pt>
                <c:pt idx="26634">
                  <c:v>37.190489503719689</c:v>
                </c:pt>
                <c:pt idx="26635">
                  <c:v>38.505283035201536</c:v>
                </c:pt>
                <c:pt idx="26636">
                  <c:v>30.717917511112109</c:v>
                </c:pt>
                <c:pt idx="26637">
                  <c:v>17.536803705015942</c:v>
                </c:pt>
                <c:pt idx="26638">
                  <c:v>33.302819475306343</c:v>
                </c:pt>
                <c:pt idx="26639">
                  <c:v>23.807206221100856</c:v>
                </c:pt>
                <c:pt idx="26640">
                  <c:v>27.463376195650476</c:v>
                </c:pt>
                <c:pt idx="26641">
                  <c:v>27.971461625222528</c:v>
                </c:pt>
                <c:pt idx="26642">
                  <c:v>32.022913830203066</c:v>
                </c:pt>
                <c:pt idx="26643">
                  <c:v>29.625030298408255</c:v>
                </c:pt>
                <c:pt idx="26644">
                  <c:v>43.426657239787382</c:v>
                </c:pt>
                <c:pt idx="26645">
                  <c:v>23.247370473669349</c:v>
                </c:pt>
                <c:pt idx="26646">
                  <c:v>31.698611972330259</c:v>
                </c:pt>
                <c:pt idx="26647">
                  <c:v>23.395994079608755</c:v>
                </c:pt>
                <c:pt idx="26648">
                  <c:v>34.935618860686347</c:v>
                </c:pt>
                <c:pt idx="26649">
                  <c:v>22.609141529329619</c:v>
                </c:pt>
                <c:pt idx="26650">
                  <c:v>19.131051729911025</c:v>
                </c:pt>
                <c:pt idx="26651">
                  <c:v>29.424965826735232</c:v>
                </c:pt>
                <c:pt idx="26652">
                  <c:v>53.795758286500103</c:v>
                </c:pt>
                <c:pt idx="26653">
                  <c:v>44.734110030152266</c:v>
                </c:pt>
                <c:pt idx="26654">
                  <c:v>27.188983387420073</c:v>
                </c:pt>
                <c:pt idx="26655">
                  <c:v>24.979259598830222</c:v>
                </c:pt>
                <c:pt idx="26656">
                  <c:v>28.186291507308987</c:v>
                </c:pt>
                <c:pt idx="26657">
                  <c:v>25.600570658268314</c:v>
                </c:pt>
                <c:pt idx="26658">
                  <c:v>29.315973540300437</c:v>
                </c:pt>
                <c:pt idx="26659">
                  <c:v>51.776935946228171</c:v>
                </c:pt>
                <c:pt idx="26660">
                  <c:v>25.412867610705533</c:v>
                </c:pt>
                <c:pt idx="26661">
                  <c:v>33.795304619147217</c:v>
                </c:pt>
                <c:pt idx="26662">
                  <c:v>27.461845168619824</c:v>
                </c:pt>
                <c:pt idx="26663">
                  <c:v>25.940105160326056</c:v>
                </c:pt>
                <c:pt idx="26664">
                  <c:v>24.822829054211688</c:v>
                </c:pt>
                <c:pt idx="26665">
                  <c:v>28.288633807425306</c:v>
                </c:pt>
                <c:pt idx="26666">
                  <c:v>31.416304427780151</c:v>
                </c:pt>
                <c:pt idx="26667">
                  <c:v>17.633741122355346</c:v>
                </c:pt>
                <c:pt idx="26668">
                  <c:v>31.912283465560492</c:v>
                </c:pt>
                <c:pt idx="26669">
                  <c:v>37.41516833887821</c:v>
                </c:pt>
                <c:pt idx="26670">
                  <c:v>40.910764096018639</c:v>
                </c:pt>
                <c:pt idx="26671">
                  <c:v>30.407201896479609</c:v>
                </c:pt>
                <c:pt idx="26672">
                  <c:v>29.650040150124408</c:v>
                </c:pt>
                <c:pt idx="26673">
                  <c:v>33.422158845109223</c:v>
                </c:pt>
                <c:pt idx="26674">
                  <c:v>26.80119606103348</c:v>
                </c:pt>
                <c:pt idx="26675">
                  <c:v>27.35363971251072</c:v>
                </c:pt>
                <c:pt idx="26676">
                  <c:v>38.709444714863182</c:v>
                </c:pt>
                <c:pt idx="26677">
                  <c:v>27.123315549064902</c:v>
                </c:pt>
                <c:pt idx="26678">
                  <c:v>32.021837302077493</c:v>
                </c:pt>
                <c:pt idx="26679">
                  <c:v>42.789534238434307</c:v>
                </c:pt>
                <c:pt idx="26680">
                  <c:v>50.645841594714106</c:v>
                </c:pt>
                <c:pt idx="26681">
                  <c:v>50.37112613394531</c:v>
                </c:pt>
                <c:pt idx="26682">
                  <c:v>24.028330890072308</c:v>
                </c:pt>
                <c:pt idx="26683">
                  <c:v>25.547607954441666</c:v>
                </c:pt>
                <c:pt idx="26684">
                  <c:v>36.841104474177797</c:v>
                </c:pt>
                <c:pt idx="26685">
                  <c:v>22.320148143950441</c:v>
                </c:pt>
                <c:pt idx="26686">
                  <c:v>28.979499274087431</c:v>
                </c:pt>
                <c:pt idx="26687">
                  <c:v>29.043165342203018</c:v>
                </c:pt>
                <c:pt idx="26688">
                  <c:v>16.435432209609445</c:v>
                </c:pt>
                <c:pt idx="26689">
                  <c:v>31.887971741806044</c:v>
                </c:pt>
                <c:pt idx="26690">
                  <c:v>55.05370412283574</c:v>
                </c:pt>
                <c:pt idx="26691">
                  <c:v>28.797420555540345</c:v>
                </c:pt>
                <c:pt idx="26692">
                  <c:v>27.161373119669264</c:v>
                </c:pt>
                <c:pt idx="26693">
                  <c:v>24.62764173103788</c:v>
                </c:pt>
                <c:pt idx="26694">
                  <c:v>25.457461315301511</c:v>
                </c:pt>
                <c:pt idx="26695">
                  <c:v>22.3182630771189</c:v>
                </c:pt>
                <c:pt idx="26696">
                  <c:v>27.183080539851506</c:v>
                </c:pt>
                <c:pt idx="26697">
                  <c:v>32.180670001039005</c:v>
                </c:pt>
                <c:pt idx="26698">
                  <c:v>32.724113696699355</c:v>
                </c:pt>
                <c:pt idx="26699">
                  <c:v>33.801816225154852</c:v>
                </c:pt>
                <c:pt idx="26700">
                  <c:v>21.157786858306611</c:v>
                </c:pt>
                <c:pt idx="26701">
                  <c:v>25.989974220715823</c:v>
                </c:pt>
                <c:pt idx="26702">
                  <c:v>21.3047778920307</c:v>
                </c:pt>
                <c:pt idx="26703">
                  <c:v>19.329299827923972</c:v>
                </c:pt>
                <c:pt idx="26704">
                  <c:v>21.894977987501612</c:v>
                </c:pt>
                <c:pt idx="26705">
                  <c:v>35.425362524786088</c:v>
                </c:pt>
                <c:pt idx="26706">
                  <c:v>33.811764990819817</c:v>
                </c:pt>
                <c:pt idx="26707">
                  <c:v>40.112229346431171</c:v>
                </c:pt>
                <c:pt idx="26708">
                  <c:v>37.673835417330018</c:v>
                </c:pt>
                <c:pt idx="26709">
                  <c:v>47.912808073501097</c:v>
                </c:pt>
                <c:pt idx="26710">
                  <c:v>30.612545832893325</c:v>
                </c:pt>
                <c:pt idx="26711">
                  <c:v>38.44633771309072</c:v>
                </c:pt>
                <c:pt idx="26712">
                  <c:v>21.417862859100605</c:v>
                </c:pt>
                <c:pt idx="26713">
                  <c:v>26.036265684632149</c:v>
                </c:pt>
                <c:pt idx="26714">
                  <c:v>16.718090093465637</c:v>
                </c:pt>
                <c:pt idx="26715">
                  <c:v>49.75549206131803</c:v>
                </c:pt>
                <c:pt idx="26716">
                  <c:v>26.840180780809114</c:v>
                </c:pt>
                <c:pt idx="26717">
                  <c:v>29.647074760044791</c:v>
                </c:pt>
                <c:pt idx="26718">
                  <c:v>59.5094079766071</c:v>
                </c:pt>
                <c:pt idx="26719">
                  <c:v>49.566535794946795</c:v>
                </c:pt>
                <c:pt idx="26720">
                  <c:v>27.110542055471104</c:v>
                </c:pt>
                <c:pt idx="26721">
                  <c:v>43.516217286399417</c:v>
                </c:pt>
                <c:pt idx="26722">
                  <c:v>26.040647663543439</c:v>
                </c:pt>
                <c:pt idx="26723">
                  <c:v>28.04089714089346</c:v>
                </c:pt>
                <c:pt idx="26724">
                  <c:v>36.330166878581998</c:v>
                </c:pt>
                <c:pt idx="26725">
                  <c:v>45.285647968890537</c:v>
                </c:pt>
                <c:pt idx="26726">
                  <c:v>29.305183044938328</c:v>
                </c:pt>
                <c:pt idx="26727">
                  <c:v>21.26516152397069</c:v>
                </c:pt>
                <c:pt idx="26728">
                  <c:v>31.718917599251903</c:v>
                </c:pt>
                <c:pt idx="26729">
                  <c:v>24.975956025838304</c:v>
                </c:pt>
                <c:pt idx="26730">
                  <c:v>32.477143212713209</c:v>
                </c:pt>
                <c:pt idx="26731">
                  <c:v>36.156264109417371</c:v>
                </c:pt>
                <c:pt idx="26732">
                  <c:v>48.745870680080323</c:v>
                </c:pt>
                <c:pt idx="26733">
                  <c:v>31.423083316432546</c:v>
                </c:pt>
                <c:pt idx="26734">
                  <c:v>21.86692994164509</c:v>
                </c:pt>
                <c:pt idx="26735">
                  <c:v>33.699403926241885</c:v>
                </c:pt>
                <c:pt idx="26736">
                  <c:v>21.415448624976385</c:v>
                </c:pt>
                <c:pt idx="26737">
                  <c:v>28.339439780105511</c:v>
                </c:pt>
                <c:pt idx="26738">
                  <c:v>44.968530510282164</c:v>
                </c:pt>
                <c:pt idx="26739">
                  <c:v>20.858436044570333</c:v>
                </c:pt>
                <c:pt idx="26740">
                  <c:v>36.469272053690531</c:v>
                </c:pt>
                <c:pt idx="26741">
                  <c:v>33.10383682258329</c:v>
                </c:pt>
                <c:pt idx="26742">
                  <c:v>33.088946952690712</c:v>
                </c:pt>
                <c:pt idx="26743">
                  <c:v>23.344994700611814</c:v>
                </c:pt>
                <c:pt idx="26744">
                  <c:v>26.037150170046207</c:v>
                </c:pt>
                <c:pt idx="26745">
                  <c:v>22.736407764282379</c:v>
                </c:pt>
                <c:pt idx="26746">
                  <c:v>19.117029364780208</c:v>
                </c:pt>
                <c:pt idx="26747">
                  <c:v>27.115247590193242</c:v>
                </c:pt>
                <c:pt idx="26748">
                  <c:v>25.914034142221958</c:v>
                </c:pt>
                <c:pt idx="26749">
                  <c:v>53.038367879025387</c:v>
                </c:pt>
                <c:pt idx="26750">
                  <c:v>25.682589429531163</c:v>
                </c:pt>
                <c:pt idx="26751">
                  <c:v>21.880500541219725</c:v>
                </c:pt>
                <c:pt idx="26752">
                  <c:v>15.694667234431764</c:v>
                </c:pt>
                <c:pt idx="26753">
                  <c:v>28.415579773588554</c:v>
                </c:pt>
                <c:pt idx="26754">
                  <c:v>25.33003375069292</c:v>
                </c:pt>
                <c:pt idx="26755">
                  <c:v>22.908756570066618</c:v>
                </c:pt>
                <c:pt idx="26756">
                  <c:v>29.651716662842603</c:v>
                </c:pt>
                <c:pt idx="26757">
                  <c:v>46.521603138103956</c:v>
                </c:pt>
                <c:pt idx="26758">
                  <c:v>30.251276126751275</c:v>
                </c:pt>
                <c:pt idx="26759">
                  <c:v>33.929261023799938</c:v>
                </c:pt>
                <c:pt idx="26760">
                  <c:v>27.651358697162472</c:v>
                </c:pt>
                <c:pt idx="26761">
                  <c:v>47.919414212247297</c:v>
                </c:pt>
                <c:pt idx="26762">
                  <c:v>31.100998007244986</c:v>
                </c:pt>
                <c:pt idx="26763">
                  <c:v>39.278490443283147</c:v>
                </c:pt>
                <c:pt idx="26764">
                  <c:v>30.107131951224048</c:v>
                </c:pt>
                <c:pt idx="26765">
                  <c:v>35.423021411505417</c:v>
                </c:pt>
                <c:pt idx="26766">
                  <c:v>26.591304756753086</c:v>
                </c:pt>
                <c:pt idx="26767">
                  <c:v>28.63238211191673</c:v>
                </c:pt>
                <c:pt idx="26768">
                  <c:v>26.675709574237032</c:v>
                </c:pt>
                <c:pt idx="26769">
                  <c:v>21.711704017600766</c:v>
                </c:pt>
                <c:pt idx="26770">
                  <c:v>31.331541815448411</c:v>
                </c:pt>
                <c:pt idx="26771">
                  <c:v>35.982748176840801</c:v>
                </c:pt>
                <c:pt idx="26772">
                  <c:v>52.01791254357201</c:v>
                </c:pt>
                <c:pt idx="26773">
                  <c:v>53.438903560055081</c:v>
                </c:pt>
                <c:pt idx="26774">
                  <c:v>51.583006753983611</c:v>
                </c:pt>
                <c:pt idx="26775">
                  <c:v>33.504875742692768</c:v>
                </c:pt>
                <c:pt idx="26776">
                  <c:v>32.978002850041726</c:v>
                </c:pt>
                <c:pt idx="26777">
                  <c:v>22.384728227912966</c:v>
                </c:pt>
                <c:pt idx="26778">
                  <c:v>21.740706253585262</c:v>
                </c:pt>
                <c:pt idx="26779">
                  <c:v>19.220191179915528</c:v>
                </c:pt>
                <c:pt idx="26780">
                  <c:v>33.914178489164726</c:v>
                </c:pt>
                <c:pt idx="26781">
                  <c:v>46.564268777559633</c:v>
                </c:pt>
                <c:pt idx="26782">
                  <c:v>41.033613730140175</c:v>
                </c:pt>
                <c:pt idx="26783">
                  <c:v>52.795686027878233</c:v>
                </c:pt>
                <c:pt idx="26784">
                  <c:v>23.436910651800368</c:v>
                </c:pt>
                <c:pt idx="26785">
                  <c:v>35.14174076217374</c:v>
                </c:pt>
                <c:pt idx="26786">
                  <c:v>19.318515961733233</c:v>
                </c:pt>
                <c:pt idx="26787">
                  <c:v>39.421471665199689</c:v>
                </c:pt>
                <c:pt idx="26788">
                  <c:v>41.717221235128761</c:v>
                </c:pt>
                <c:pt idx="26789">
                  <c:v>25.939843654580759</c:v>
                </c:pt>
                <c:pt idx="26790">
                  <c:v>24.468368546189215</c:v>
                </c:pt>
                <c:pt idx="26791">
                  <c:v>28.152507027049126</c:v>
                </c:pt>
                <c:pt idx="26792">
                  <c:v>43.278931617704011</c:v>
                </c:pt>
                <c:pt idx="26793">
                  <c:v>27.158109251031391</c:v>
                </c:pt>
                <c:pt idx="26794">
                  <c:v>21.909997594169326</c:v>
                </c:pt>
                <c:pt idx="26795">
                  <c:v>25.370004698823649</c:v>
                </c:pt>
                <c:pt idx="26796">
                  <c:v>31.219069847659753</c:v>
                </c:pt>
                <c:pt idx="26797">
                  <c:v>18.910634908422232</c:v>
                </c:pt>
                <c:pt idx="26798">
                  <c:v>15.954978176001772</c:v>
                </c:pt>
                <c:pt idx="26799">
                  <c:v>55.237178347044456</c:v>
                </c:pt>
                <c:pt idx="26800">
                  <c:v>26.084709973383539</c:v>
                </c:pt>
                <c:pt idx="26801">
                  <c:v>24.784657297944406</c:v>
                </c:pt>
                <c:pt idx="26802">
                  <c:v>27.568206979428943</c:v>
                </c:pt>
                <c:pt idx="26803">
                  <c:v>33.786096369841786</c:v>
                </c:pt>
                <c:pt idx="26804">
                  <c:v>52.161305073511265</c:v>
                </c:pt>
                <c:pt idx="26805">
                  <c:v>26.480719641332136</c:v>
                </c:pt>
                <c:pt idx="26806">
                  <c:v>28.040708247906569</c:v>
                </c:pt>
                <c:pt idx="26807">
                  <c:v>37.003352384805595</c:v>
                </c:pt>
                <c:pt idx="26808">
                  <c:v>48.214100021700794</c:v>
                </c:pt>
                <c:pt idx="26809">
                  <c:v>33.31269926901372</c:v>
                </c:pt>
                <c:pt idx="26810">
                  <c:v>41.835360588218123</c:v>
                </c:pt>
                <c:pt idx="26811">
                  <c:v>22.35170651802796</c:v>
                </c:pt>
                <c:pt idx="26812">
                  <c:v>23.026195526748179</c:v>
                </c:pt>
                <c:pt idx="26813">
                  <c:v>49.646268115296699</c:v>
                </c:pt>
                <c:pt idx="26814">
                  <c:v>24.279623568343098</c:v>
                </c:pt>
                <c:pt idx="26815">
                  <c:v>31.114002314499849</c:v>
                </c:pt>
                <c:pt idx="26816">
                  <c:v>37.252681707854123</c:v>
                </c:pt>
                <c:pt idx="26817">
                  <c:v>40.226364868456606</c:v>
                </c:pt>
                <c:pt idx="26818">
                  <c:v>34.263844704550003</c:v>
                </c:pt>
                <c:pt idx="26819">
                  <c:v>35.865218777195416</c:v>
                </c:pt>
                <c:pt idx="26820">
                  <c:v>25.279852253821854</c:v>
                </c:pt>
                <c:pt idx="26821">
                  <c:v>23.889859743099414</c:v>
                </c:pt>
                <c:pt idx="26822">
                  <c:v>27.658594023066875</c:v>
                </c:pt>
                <c:pt idx="26823">
                  <c:v>45.07713465284592</c:v>
                </c:pt>
                <c:pt idx="26824">
                  <c:v>21.003923593507228</c:v>
                </c:pt>
                <c:pt idx="26825">
                  <c:v>49.504835611831219</c:v>
                </c:pt>
                <c:pt idx="26826">
                  <c:v>39.12719627681286</c:v>
                </c:pt>
                <c:pt idx="26827">
                  <c:v>18.006796233748865</c:v>
                </c:pt>
                <c:pt idx="26828">
                  <c:v>23.247260243963371</c:v>
                </c:pt>
                <c:pt idx="26829">
                  <c:v>34.882732195016551</c:v>
                </c:pt>
                <c:pt idx="26830">
                  <c:v>27.309433349470904</c:v>
                </c:pt>
                <c:pt idx="26831">
                  <c:v>19.580628025035693</c:v>
                </c:pt>
                <c:pt idx="26832">
                  <c:v>27.628680114956069</c:v>
                </c:pt>
                <c:pt idx="26833">
                  <c:v>39.184211832921605</c:v>
                </c:pt>
                <c:pt idx="26834">
                  <c:v>27.2262560086407</c:v>
                </c:pt>
                <c:pt idx="26835">
                  <c:v>40.856118539217917</c:v>
                </c:pt>
                <c:pt idx="26836">
                  <c:v>38.116322377689876</c:v>
                </c:pt>
                <c:pt idx="26837">
                  <c:v>52.774152843624236</c:v>
                </c:pt>
                <c:pt idx="26838">
                  <c:v>37.190786900773723</c:v>
                </c:pt>
                <c:pt idx="26839">
                  <c:v>23.021596720410297</c:v>
                </c:pt>
                <c:pt idx="26840">
                  <c:v>26.002495616116526</c:v>
                </c:pt>
                <c:pt idx="26841">
                  <c:v>23.747520514012116</c:v>
                </c:pt>
                <c:pt idx="26842">
                  <c:v>39.829685954447292</c:v>
                </c:pt>
                <c:pt idx="26843">
                  <c:v>41.597006876641437</c:v>
                </c:pt>
                <c:pt idx="26844">
                  <c:v>29.491019677081891</c:v>
                </c:pt>
                <c:pt idx="26845">
                  <c:v>28.38485773033322</c:v>
                </c:pt>
                <c:pt idx="26846">
                  <c:v>24.504816496862972</c:v>
                </c:pt>
                <c:pt idx="26847">
                  <c:v>28.839322321802285</c:v>
                </c:pt>
                <c:pt idx="26848">
                  <c:v>50.36411283017005</c:v>
                </c:pt>
                <c:pt idx="26849">
                  <c:v>32.34906339161062</c:v>
                </c:pt>
                <c:pt idx="26850">
                  <c:v>26.598356658104983</c:v>
                </c:pt>
                <c:pt idx="26851">
                  <c:v>34.785414002830294</c:v>
                </c:pt>
                <c:pt idx="26852">
                  <c:v>17.552854844086127</c:v>
                </c:pt>
                <c:pt idx="26853">
                  <c:v>28.543306280812729</c:v>
                </c:pt>
                <c:pt idx="26854">
                  <c:v>23.355362358221981</c:v>
                </c:pt>
                <c:pt idx="26855">
                  <c:v>45.537422613361763</c:v>
                </c:pt>
                <c:pt idx="26856">
                  <c:v>46.883009284778375</c:v>
                </c:pt>
                <c:pt idx="26857">
                  <c:v>35.377623961314612</c:v>
                </c:pt>
                <c:pt idx="26858">
                  <c:v>20.421889687295533</c:v>
                </c:pt>
                <c:pt idx="26859">
                  <c:v>27.155071191199699</c:v>
                </c:pt>
                <c:pt idx="26860">
                  <c:v>33.812440400960554</c:v>
                </c:pt>
                <c:pt idx="26861">
                  <c:v>40.046780779669412</c:v>
                </c:pt>
                <c:pt idx="26862">
                  <c:v>51.00715540787543</c:v>
                </c:pt>
                <c:pt idx="26863">
                  <c:v>25.777879909326387</c:v>
                </c:pt>
                <c:pt idx="26864">
                  <c:v>27.28106405737676</c:v>
                </c:pt>
                <c:pt idx="26865">
                  <c:v>17.924758207106461</c:v>
                </c:pt>
                <c:pt idx="26866">
                  <c:v>30.632646004588267</c:v>
                </c:pt>
                <c:pt idx="26867">
                  <c:v>48.020453969012117</c:v>
                </c:pt>
                <c:pt idx="26868">
                  <c:v>28.041737264530386</c:v>
                </c:pt>
                <c:pt idx="26869">
                  <c:v>40.609952114790502</c:v>
                </c:pt>
                <c:pt idx="26870">
                  <c:v>26.105748692316119</c:v>
                </c:pt>
                <c:pt idx="26871">
                  <c:v>34.292657589121347</c:v>
                </c:pt>
                <c:pt idx="26872">
                  <c:v>21.871155494403922</c:v>
                </c:pt>
                <c:pt idx="26873">
                  <c:v>46.960172326397348</c:v>
                </c:pt>
                <c:pt idx="26874">
                  <c:v>26.547971772301771</c:v>
                </c:pt>
                <c:pt idx="26875">
                  <c:v>40.814377742096838</c:v>
                </c:pt>
                <c:pt idx="26876">
                  <c:v>65.961917095177455</c:v>
                </c:pt>
                <c:pt idx="26877">
                  <c:v>40.476137738857368</c:v>
                </c:pt>
                <c:pt idx="26878">
                  <c:v>34.855251669928464</c:v>
                </c:pt>
                <c:pt idx="26879">
                  <c:v>37.986117031747519</c:v>
                </c:pt>
                <c:pt idx="26880">
                  <c:v>23.023230766708359</c:v>
                </c:pt>
                <c:pt idx="26881">
                  <c:v>24.992474132580814</c:v>
                </c:pt>
                <c:pt idx="26882">
                  <c:v>27.153708961337358</c:v>
                </c:pt>
                <c:pt idx="26883">
                  <c:v>35.078139862776368</c:v>
                </c:pt>
                <c:pt idx="26884">
                  <c:v>42.529055013382504</c:v>
                </c:pt>
                <c:pt idx="26885">
                  <c:v>38.855013692198909</c:v>
                </c:pt>
                <c:pt idx="26886">
                  <c:v>29.075052009173447</c:v>
                </c:pt>
                <c:pt idx="26887">
                  <c:v>29.517146883978416</c:v>
                </c:pt>
                <c:pt idx="26888">
                  <c:v>43.976027600466658</c:v>
                </c:pt>
                <c:pt idx="26889">
                  <c:v>26.155143530775536</c:v>
                </c:pt>
                <c:pt idx="26890">
                  <c:v>33.929960292085937</c:v>
                </c:pt>
                <c:pt idx="26891">
                  <c:v>28.534931121832244</c:v>
                </c:pt>
                <c:pt idx="26892">
                  <c:v>32.925271306349856</c:v>
                </c:pt>
                <c:pt idx="26893">
                  <c:v>23.509827124842435</c:v>
                </c:pt>
                <c:pt idx="26894">
                  <c:v>24.802225799981542</c:v>
                </c:pt>
                <c:pt idx="26895">
                  <c:v>23.521296347025711</c:v>
                </c:pt>
                <c:pt idx="26896">
                  <c:v>46.357757302356099</c:v>
                </c:pt>
                <c:pt idx="26897">
                  <c:v>34.860706762871565</c:v>
                </c:pt>
                <c:pt idx="26898">
                  <c:v>27.99393453686104</c:v>
                </c:pt>
                <c:pt idx="26899">
                  <c:v>31.848353645675573</c:v>
                </c:pt>
                <c:pt idx="26900">
                  <c:v>22.426717614557415</c:v>
                </c:pt>
                <c:pt idx="26901">
                  <c:v>35.564134469594833</c:v>
                </c:pt>
                <c:pt idx="26902">
                  <c:v>28.310982232581431</c:v>
                </c:pt>
                <c:pt idx="26903">
                  <c:v>28.970398460781038</c:v>
                </c:pt>
                <c:pt idx="26904">
                  <c:v>43.686151429166699</c:v>
                </c:pt>
                <c:pt idx="26905">
                  <c:v>30.142499576476673</c:v>
                </c:pt>
                <c:pt idx="26906">
                  <c:v>49.483790627979317</c:v>
                </c:pt>
                <c:pt idx="26907">
                  <c:v>16.768049336235517</c:v>
                </c:pt>
                <c:pt idx="26908">
                  <c:v>26.405101933104572</c:v>
                </c:pt>
                <c:pt idx="26909">
                  <c:v>23.279566581843135</c:v>
                </c:pt>
                <c:pt idx="26910">
                  <c:v>27.067185537057693</c:v>
                </c:pt>
                <c:pt idx="26911">
                  <c:v>30.761899704505645</c:v>
                </c:pt>
                <c:pt idx="26912">
                  <c:v>31.561947188151223</c:v>
                </c:pt>
                <c:pt idx="26913">
                  <c:v>29.007089538767595</c:v>
                </c:pt>
                <c:pt idx="26914">
                  <c:v>26.959299140040393</c:v>
                </c:pt>
                <c:pt idx="26915">
                  <c:v>44.755827090662443</c:v>
                </c:pt>
                <c:pt idx="26916">
                  <c:v>30.793096115858223</c:v>
                </c:pt>
                <c:pt idx="26917">
                  <c:v>26.324663478617932</c:v>
                </c:pt>
                <c:pt idx="26918">
                  <c:v>19.453437311452156</c:v>
                </c:pt>
                <c:pt idx="26919">
                  <c:v>20.57728440873985</c:v>
                </c:pt>
                <c:pt idx="26920">
                  <c:v>24.452578124420057</c:v>
                </c:pt>
                <c:pt idx="26921">
                  <c:v>50.403683876963512</c:v>
                </c:pt>
                <c:pt idx="26922">
                  <c:v>27.50717385150282</c:v>
                </c:pt>
                <c:pt idx="26923">
                  <c:v>54.512515518254986</c:v>
                </c:pt>
                <c:pt idx="26924">
                  <c:v>24.844109920143847</c:v>
                </c:pt>
                <c:pt idx="26925">
                  <c:v>43.050067050902342</c:v>
                </c:pt>
                <c:pt idx="26926">
                  <c:v>32.01357636083349</c:v>
                </c:pt>
                <c:pt idx="26927">
                  <c:v>36.75061677510778</c:v>
                </c:pt>
                <c:pt idx="26928">
                  <c:v>27.178442586224904</c:v>
                </c:pt>
                <c:pt idx="26929">
                  <c:v>35.759927662996972</c:v>
                </c:pt>
                <c:pt idx="26930">
                  <c:v>31.884297785996555</c:v>
                </c:pt>
                <c:pt idx="26931">
                  <c:v>27.969447755431634</c:v>
                </c:pt>
                <c:pt idx="26932">
                  <c:v>22.287065640558446</c:v>
                </c:pt>
                <c:pt idx="26933">
                  <c:v>27.048607169024532</c:v>
                </c:pt>
                <c:pt idx="26934">
                  <c:v>32.387806440582388</c:v>
                </c:pt>
                <c:pt idx="26935">
                  <c:v>30.541954977551448</c:v>
                </c:pt>
                <c:pt idx="26936">
                  <c:v>33.267744109493634</c:v>
                </c:pt>
                <c:pt idx="26937">
                  <c:v>23.036222439067338</c:v>
                </c:pt>
                <c:pt idx="26938">
                  <c:v>26.454212494459767</c:v>
                </c:pt>
                <c:pt idx="26939">
                  <c:v>26.073722057746647</c:v>
                </c:pt>
                <c:pt idx="26940">
                  <c:v>33.153995868357967</c:v>
                </c:pt>
                <c:pt idx="26941">
                  <c:v>29.485346842697737</c:v>
                </c:pt>
                <c:pt idx="26942">
                  <c:v>30.942013597191444</c:v>
                </c:pt>
                <c:pt idx="26943">
                  <c:v>29.200112544374186</c:v>
                </c:pt>
                <c:pt idx="26944">
                  <c:v>24.107328203885125</c:v>
                </c:pt>
                <c:pt idx="26945">
                  <c:v>49.130475232282166</c:v>
                </c:pt>
                <c:pt idx="26946">
                  <c:v>24.060076359536609</c:v>
                </c:pt>
                <c:pt idx="26947">
                  <c:v>23.071770686694883</c:v>
                </c:pt>
                <c:pt idx="26948">
                  <c:v>48.571880205855713</c:v>
                </c:pt>
                <c:pt idx="26949">
                  <c:v>24.720677562004894</c:v>
                </c:pt>
                <c:pt idx="26950">
                  <c:v>28.831506742599188</c:v>
                </c:pt>
                <c:pt idx="26951">
                  <c:v>26.426113036891572</c:v>
                </c:pt>
                <c:pt idx="26952">
                  <c:v>29.305962045577605</c:v>
                </c:pt>
                <c:pt idx="26953">
                  <c:v>25.969702072861995</c:v>
                </c:pt>
                <c:pt idx="26954">
                  <c:v>23.866378380145942</c:v>
                </c:pt>
                <c:pt idx="26955">
                  <c:v>35.609134381997386</c:v>
                </c:pt>
                <c:pt idx="26956">
                  <c:v>24.707491743595568</c:v>
                </c:pt>
                <c:pt idx="26957">
                  <c:v>33.019941149832235</c:v>
                </c:pt>
                <c:pt idx="26958">
                  <c:v>51.042390414013624</c:v>
                </c:pt>
                <c:pt idx="26959">
                  <c:v>19.186464571857794</c:v>
                </c:pt>
                <c:pt idx="26960">
                  <c:v>25.077370011414438</c:v>
                </c:pt>
                <c:pt idx="26961">
                  <c:v>27.020748923755413</c:v>
                </c:pt>
                <c:pt idx="26962">
                  <c:v>25.534556514259354</c:v>
                </c:pt>
                <c:pt idx="26963">
                  <c:v>47.286248709815148</c:v>
                </c:pt>
                <c:pt idx="26964">
                  <c:v>20.509075271111396</c:v>
                </c:pt>
                <c:pt idx="26965">
                  <c:v>44.443693630060913</c:v>
                </c:pt>
                <c:pt idx="26966">
                  <c:v>23.48176833215885</c:v>
                </c:pt>
                <c:pt idx="26967">
                  <c:v>31.714386979288143</c:v>
                </c:pt>
                <c:pt idx="26968">
                  <c:v>24.939571713022822</c:v>
                </c:pt>
                <c:pt idx="26969">
                  <c:v>47.142042694375391</c:v>
                </c:pt>
                <c:pt idx="26970">
                  <c:v>23.57117521981683</c:v>
                </c:pt>
                <c:pt idx="26971">
                  <c:v>40.616599234415261</c:v>
                </c:pt>
                <c:pt idx="26972">
                  <c:v>23.438331039041802</c:v>
                </c:pt>
                <c:pt idx="26973">
                  <c:v>41.002819631365242</c:v>
                </c:pt>
                <c:pt idx="26974">
                  <c:v>23.983220665344611</c:v>
                </c:pt>
                <c:pt idx="26975">
                  <c:v>38.80487295968873</c:v>
                </c:pt>
                <c:pt idx="26976">
                  <c:v>24.719005645276788</c:v>
                </c:pt>
                <c:pt idx="26977">
                  <c:v>34.114535797605384</c:v>
                </c:pt>
                <c:pt idx="26978">
                  <c:v>27.365711655180007</c:v>
                </c:pt>
                <c:pt idx="26979">
                  <c:v>39.009607430118159</c:v>
                </c:pt>
                <c:pt idx="26980">
                  <c:v>30.012842050998714</c:v>
                </c:pt>
                <c:pt idx="26981">
                  <c:v>36.219562729561247</c:v>
                </c:pt>
                <c:pt idx="26982">
                  <c:v>29.251345950211341</c:v>
                </c:pt>
                <c:pt idx="26983">
                  <c:v>27.57508445645416</c:v>
                </c:pt>
                <c:pt idx="26984">
                  <c:v>22.840352497812766</c:v>
                </c:pt>
                <c:pt idx="26985">
                  <c:v>18.020399060605026</c:v>
                </c:pt>
                <c:pt idx="26986">
                  <c:v>46.175870473422137</c:v>
                </c:pt>
                <c:pt idx="26987">
                  <c:v>29.249916613235296</c:v>
                </c:pt>
                <c:pt idx="26988">
                  <c:v>34.356247833308686</c:v>
                </c:pt>
                <c:pt idx="26989">
                  <c:v>25.173923186009219</c:v>
                </c:pt>
                <c:pt idx="26990">
                  <c:v>47.667707666018828</c:v>
                </c:pt>
                <c:pt idx="26991">
                  <c:v>22.265583224503249</c:v>
                </c:pt>
                <c:pt idx="26992">
                  <c:v>24.545732033094922</c:v>
                </c:pt>
                <c:pt idx="26993">
                  <c:v>27.284144104487638</c:v>
                </c:pt>
                <c:pt idx="26994">
                  <c:v>59.032308374762145</c:v>
                </c:pt>
                <c:pt idx="26995">
                  <c:v>31.492955606359473</c:v>
                </c:pt>
                <c:pt idx="26996">
                  <c:v>25.064665748317331</c:v>
                </c:pt>
                <c:pt idx="26997">
                  <c:v>26.114632843121576</c:v>
                </c:pt>
                <c:pt idx="26998">
                  <c:v>50.256807228371649</c:v>
                </c:pt>
                <c:pt idx="26999">
                  <c:v>51.398961241982313</c:v>
                </c:pt>
                <c:pt idx="27000">
                  <c:v>45.491710830225976</c:v>
                </c:pt>
                <c:pt idx="27001">
                  <c:v>25.870690255988407</c:v>
                </c:pt>
                <c:pt idx="27002">
                  <c:v>39.513562597716898</c:v>
                </c:pt>
                <c:pt idx="27003">
                  <c:v>15.233952757593034</c:v>
                </c:pt>
                <c:pt idx="27004">
                  <c:v>15.779428017527799</c:v>
                </c:pt>
                <c:pt idx="27005">
                  <c:v>28.09897344462405</c:v>
                </c:pt>
                <c:pt idx="27006">
                  <c:v>31.869847015874011</c:v>
                </c:pt>
                <c:pt idx="27007">
                  <c:v>20.323878524873162</c:v>
                </c:pt>
                <c:pt idx="27008">
                  <c:v>27.566365795363996</c:v>
                </c:pt>
                <c:pt idx="27009">
                  <c:v>20.920101720222529</c:v>
                </c:pt>
                <c:pt idx="27010">
                  <c:v>26.578177513908393</c:v>
                </c:pt>
                <c:pt idx="27011">
                  <c:v>21.436346359961107</c:v>
                </c:pt>
                <c:pt idx="27012">
                  <c:v>28.835027087218609</c:v>
                </c:pt>
                <c:pt idx="27013">
                  <c:v>53.446220284644305</c:v>
                </c:pt>
                <c:pt idx="27014">
                  <c:v>47.12797728304286</c:v>
                </c:pt>
                <c:pt idx="27015">
                  <c:v>30.306883099966264</c:v>
                </c:pt>
                <c:pt idx="27016">
                  <c:v>33.533136087601157</c:v>
                </c:pt>
                <c:pt idx="27017">
                  <c:v>29.854755509315616</c:v>
                </c:pt>
                <c:pt idx="27018">
                  <c:v>22.518858261157376</c:v>
                </c:pt>
                <c:pt idx="27019">
                  <c:v>41.651582222194428</c:v>
                </c:pt>
                <c:pt idx="27020">
                  <c:v>32.849644047868487</c:v>
                </c:pt>
                <c:pt idx="27021">
                  <c:v>30.516358139494965</c:v>
                </c:pt>
                <c:pt idx="27022">
                  <c:v>22.846119575154205</c:v>
                </c:pt>
                <c:pt idx="27023">
                  <c:v>41.43954681705263</c:v>
                </c:pt>
                <c:pt idx="27024">
                  <c:v>32.322710155023962</c:v>
                </c:pt>
                <c:pt idx="27025">
                  <c:v>44.800215913493474</c:v>
                </c:pt>
                <c:pt idx="27026">
                  <c:v>19.136822102009305</c:v>
                </c:pt>
                <c:pt idx="27027">
                  <c:v>45.003986208246936</c:v>
                </c:pt>
                <c:pt idx="27028">
                  <c:v>27.084609332490068</c:v>
                </c:pt>
                <c:pt idx="27029">
                  <c:v>32.202422937179676</c:v>
                </c:pt>
                <c:pt idx="27030">
                  <c:v>24.194063298581685</c:v>
                </c:pt>
                <c:pt idx="27031">
                  <c:v>16.269808913893804</c:v>
                </c:pt>
                <c:pt idx="27032">
                  <c:v>29.389651140782071</c:v>
                </c:pt>
                <c:pt idx="27033">
                  <c:v>20.234136655641841</c:v>
                </c:pt>
                <c:pt idx="27034">
                  <c:v>17.901051572975081</c:v>
                </c:pt>
                <c:pt idx="27035">
                  <c:v>38.493678079830779</c:v>
                </c:pt>
                <c:pt idx="27036">
                  <c:v>41.00811702539152</c:v>
                </c:pt>
                <c:pt idx="27037">
                  <c:v>63.946438209068987</c:v>
                </c:pt>
                <c:pt idx="27038">
                  <c:v>25.952195252581618</c:v>
                </c:pt>
                <c:pt idx="27039">
                  <c:v>26.805781234491327</c:v>
                </c:pt>
                <c:pt idx="27040">
                  <c:v>32.502841935828286</c:v>
                </c:pt>
                <c:pt idx="27041">
                  <c:v>52.590025448261521</c:v>
                </c:pt>
                <c:pt idx="27042">
                  <c:v>29.09864115953242</c:v>
                </c:pt>
                <c:pt idx="27043">
                  <c:v>23.140302942752875</c:v>
                </c:pt>
                <c:pt idx="27044">
                  <c:v>30.96068154430165</c:v>
                </c:pt>
                <c:pt idx="27045">
                  <c:v>45.553250485869384</c:v>
                </c:pt>
                <c:pt idx="27046">
                  <c:v>39.10358138548181</c:v>
                </c:pt>
                <c:pt idx="27047">
                  <c:v>30.302594062081837</c:v>
                </c:pt>
                <c:pt idx="27048">
                  <c:v>26.088782186448743</c:v>
                </c:pt>
                <c:pt idx="27049">
                  <c:v>26.927389380513787</c:v>
                </c:pt>
                <c:pt idx="27050">
                  <c:v>24.50531815277078</c:v>
                </c:pt>
                <c:pt idx="27051">
                  <c:v>25.365318494583033</c:v>
                </c:pt>
                <c:pt idx="27052">
                  <c:v>17.563324429799323</c:v>
                </c:pt>
                <c:pt idx="27053">
                  <c:v>43.810414056047946</c:v>
                </c:pt>
                <c:pt idx="27054">
                  <c:v>34.099679113172925</c:v>
                </c:pt>
                <c:pt idx="27055">
                  <c:v>26.44776709176363</c:v>
                </c:pt>
                <c:pt idx="27056">
                  <c:v>41.654737567042353</c:v>
                </c:pt>
                <c:pt idx="27057">
                  <c:v>21.836006469827566</c:v>
                </c:pt>
                <c:pt idx="27058">
                  <c:v>22.430861927404663</c:v>
                </c:pt>
                <c:pt idx="27059">
                  <c:v>46.984758393827917</c:v>
                </c:pt>
                <c:pt idx="27060">
                  <c:v>28.806033057109225</c:v>
                </c:pt>
                <c:pt idx="27061">
                  <c:v>32.479619559052239</c:v>
                </c:pt>
                <c:pt idx="27062">
                  <c:v>26.000001800302034</c:v>
                </c:pt>
                <c:pt idx="27063">
                  <c:v>24.178056320075378</c:v>
                </c:pt>
                <c:pt idx="27064">
                  <c:v>24.542440956751893</c:v>
                </c:pt>
                <c:pt idx="27065">
                  <c:v>21.110154689990601</c:v>
                </c:pt>
                <c:pt idx="27066">
                  <c:v>26.39856829051018</c:v>
                </c:pt>
                <c:pt idx="27067">
                  <c:v>29.484090284217004</c:v>
                </c:pt>
                <c:pt idx="27068">
                  <c:v>21.931222424365128</c:v>
                </c:pt>
                <c:pt idx="27069">
                  <c:v>24.144570916697042</c:v>
                </c:pt>
                <c:pt idx="27070">
                  <c:v>48.439474553157375</c:v>
                </c:pt>
                <c:pt idx="27071">
                  <c:v>27.447976343282885</c:v>
                </c:pt>
                <c:pt idx="27072">
                  <c:v>31.286313213889962</c:v>
                </c:pt>
                <c:pt idx="27073">
                  <c:v>26.600925660545222</c:v>
                </c:pt>
                <c:pt idx="27074">
                  <c:v>33.418029119902549</c:v>
                </c:pt>
                <c:pt idx="27075">
                  <c:v>27.006672199215966</c:v>
                </c:pt>
                <c:pt idx="27076">
                  <c:v>28.541831774948211</c:v>
                </c:pt>
                <c:pt idx="27077">
                  <c:v>26.321330869922498</c:v>
                </c:pt>
                <c:pt idx="27078">
                  <c:v>20.146081658725688</c:v>
                </c:pt>
                <c:pt idx="27079">
                  <c:v>19.336409266789421</c:v>
                </c:pt>
                <c:pt idx="27080">
                  <c:v>47.12045369325871</c:v>
                </c:pt>
                <c:pt idx="27081">
                  <c:v>28.338173979893504</c:v>
                </c:pt>
                <c:pt idx="27082">
                  <c:v>26.845735256728872</c:v>
                </c:pt>
                <c:pt idx="27083">
                  <c:v>29.874168162729536</c:v>
                </c:pt>
                <c:pt idx="27084">
                  <c:v>29.622007481549936</c:v>
                </c:pt>
                <c:pt idx="27085">
                  <c:v>21.490574466008585</c:v>
                </c:pt>
                <c:pt idx="27086">
                  <c:v>20.495387433946227</c:v>
                </c:pt>
                <c:pt idx="27087">
                  <c:v>31.669234817622755</c:v>
                </c:pt>
                <c:pt idx="27088">
                  <c:v>27.322133230504186</c:v>
                </c:pt>
                <c:pt idx="27089">
                  <c:v>24.163222893554785</c:v>
                </c:pt>
                <c:pt idx="27090">
                  <c:v>22.763443067973547</c:v>
                </c:pt>
                <c:pt idx="27091">
                  <c:v>42.799723986882469</c:v>
                </c:pt>
                <c:pt idx="27092">
                  <c:v>19.073938880481766</c:v>
                </c:pt>
                <c:pt idx="27093">
                  <c:v>27.162236727659234</c:v>
                </c:pt>
                <c:pt idx="27094">
                  <c:v>23.843014117268954</c:v>
                </c:pt>
                <c:pt idx="27095">
                  <c:v>14.469913681878243</c:v>
                </c:pt>
                <c:pt idx="27096">
                  <c:v>29.591041150527474</c:v>
                </c:pt>
                <c:pt idx="27097">
                  <c:v>33.983984160578544</c:v>
                </c:pt>
                <c:pt idx="27098">
                  <c:v>20.351000250193259</c:v>
                </c:pt>
                <c:pt idx="27099">
                  <c:v>58.587156449074897</c:v>
                </c:pt>
                <c:pt idx="27100">
                  <c:v>30.423067519420719</c:v>
                </c:pt>
                <c:pt idx="27101">
                  <c:v>39.112579833990885</c:v>
                </c:pt>
                <c:pt idx="27102">
                  <c:v>29.552034386364767</c:v>
                </c:pt>
                <c:pt idx="27103">
                  <c:v>27.181980921754366</c:v>
                </c:pt>
                <c:pt idx="27104">
                  <c:v>34.797797526719442</c:v>
                </c:pt>
                <c:pt idx="27105">
                  <c:v>23.068337548927293</c:v>
                </c:pt>
                <c:pt idx="27106">
                  <c:v>40.370540239686427</c:v>
                </c:pt>
                <c:pt idx="27107">
                  <c:v>29.343362220605993</c:v>
                </c:pt>
                <c:pt idx="27108">
                  <c:v>27.472957916708772</c:v>
                </c:pt>
                <c:pt idx="27109">
                  <c:v>23.62217239216691</c:v>
                </c:pt>
                <c:pt idx="27110">
                  <c:v>19.556146879221942</c:v>
                </c:pt>
                <c:pt idx="27111">
                  <c:v>27.484292077626222</c:v>
                </c:pt>
                <c:pt idx="27112">
                  <c:v>26.420077763107933</c:v>
                </c:pt>
                <c:pt idx="27113">
                  <c:v>22.823409831824428</c:v>
                </c:pt>
                <c:pt idx="27114">
                  <c:v>49.446880002578098</c:v>
                </c:pt>
                <c:pt idx="27115">
                  <c:v>33.015781666471064</c:v>
                </c:pt>
                <c:pt idx="27116">
                  <c:v>29.748217326076293</c:v>
                </c:pt>
                <c:pt idx="27117">
                  <c:v>22.146618659281458</c:v>
                </c:pt>
                <c:pt idx="27118">
                  <c:v>36.919967194121632</c:v>
                </c:pt>
                <c:pt idx="27119">
                  <c:v>28.920812276325659</c:v>
                </c:pt>
                <c:pt idx="27120">
                  <c:v>25.698885486840776</c:v>
                </c:pt>
                <c:pt idx="27121">
                  <c:v>33.646866267259576</c:v>
                </c:pt>
                <c:pt idx="27122">
                  <c:v>36.53791208854436</c:v>
                </c:pt>
                <c:pt idx="27123">
                  <c:v>20.230173381873509</c:v>
                </c:pt>
                <c:pt idx="27124">
                  <c:v>28.607630617612585</c:v>
                </c:pt>
                <c:pt idx="27125">
                  <c:v>26.560397836033314</c:v>
                </c:pt>
                <c:pt idx="27126">
                  <c:v>26.587410596608954</c:v>
                </c:pt>
                <c:pt idx="27127">
                  <c:v>28.415839472536977</c:v>
                </c:pt>
                <c:pt idx="27128">
                  <c:v>29.632707551814697</c:v>
                </c:pt>
                <c:pt idx="27129">
                  <c:v>30.320968397218962</c:v>
                </c:pt>
                <c:pt idx="27130">
                  <c:v>50.064085539862916</c:v>
                </c:pt>
                <c:pt idx="27131">
                  <c:v>26.264525838203916</c:v>
                </c:pt>
                <c:pt idx="27132">
                  <c:v>29.659632519045111</c:v>
                </c:pt>
                <c:pt idx="27133">
                  <c:v>23.229431308375787</c:v>
                </c:pt>
                <c:pt idx="27134">
                  <c:v>47.643962491603233</c:v>
                </c:pt>
                <c:pt idx="27135">
                  <c:v>33.190835019317547</c:v>
                </c:pt>
                <c:pt idx="27136">
                  <c:v>25.841576257045425</c:v>
                </c:pt>
                <c:pt idx="27137">
                  <c:v>38.545016528956531</c:v>
                </c:pt>
                <c:pt idx="27138">
                  <c:v>63.036520026867173</c:v>
                </c:pt>
                <c:pt idx="27139">
                  <c:v>28.985294254862389</c:v>
                </c:pt>
                <c:pt idx="27140">
                  <c:v>27.017736478156369</c:v>
                </c:pt>
                <c:pt idx="27141">
                  <c:v>32.222816080501865</c:v>
                </c:pt>
                <c:pt idx="27142">
                  <c:v>32.625726266951517</c:v>
                </c:pt>
                <c:pt idx="27143">
                  <c:v>25.062858980838676</c:v>
                </c:pt>
                <c:pt idx="27144">
                  <c:v>41.650819033745904</c:v>
                </c:pt>
                <c:pt idx="27145">
                  <c:v>31.43266960655269</c:v>
                </c:pt>
                <c:pt idx="27146">
                  <c:v>31.982332459239181</c:v>
                </c:pt>
                <c:pt idx="27147">
                  <c:v>24.640374008872577</c:v>
                </c:pt>
                <c:pt idx="27148">
                  <c:v>27.802683889674896</c:v>
                </c:pt>
                <c:pt idx="27149">
                  <c:v>50.11201462669208</c:v>
                </c:pt>
                <c:pt idx="27150">
                  <c:v>30.478051659709067</c:v>
                </c:pt>
                <c:pt idx="27151">
                  <c:v>35.274418624798585</c:v>
                </c:pt>
                <c:pt idx="27152">
                  <c:v>24.810379549702205</c:v>
                </c:pt>
                <c:pt idx="27153">
                  <c:v>31.356333646040664</c:v>
                </c:pt>
                <c:pt idx="27154">
                  <c:v>31.79349998671676</c:v>
                </c:pt>
                <c:pt idx="27155">
                  <c:v>55.077164326821169</c:v>
                </c:pt>
                <c:pt idx="27156">
                  <c:v>49.516260950370111</c:v>
                </c:pt>
                <c:pt idx="27157">
                  <c:v>51.438468866477791</c:v>
                </c:pt>
                <c:pt idx="27158">
                  <c:v>24.221972659466338</c:v>
                </c:pt>
                <c:pt idx="27159">
                  <c:v>28.658280363991775</c:v>
                </c:pt>
                <c:pt idx="27160">
                  <c:v>50.586934774033885</c:v>
                </c:pt>
                <c:pt idx="27161">
                  <c:v>34.400860934133803</c:v>
                </c:pt>
                <c:pt idx="27162">
                  <c:v>17.252679672103117</c:v>
                </c:pt>
                <c:pt idx="27163">
                  <c:v>37.026421226316572</c:v>
                </c:pt>
                <c:pt idx="27164">
                  <c:v>29.202339406404139</c:v>
                </c:pt>
                <c:pt idx="27165">
                  <c:v>50.793022681994529</c:v>
                </c:pt>
                <c:pt idx="27166">
                  <c:v>20.738828889026639</c:v>
                </c:pt>
                <c:pt idx="27167">
                  <c:v>30.777330408706739</c:v>
                </c:pt>
                <c:pt idx="27168">
                  <c:v>49.299802402231975</c:v>
                </c:pt>
                <c:pt idx="27169">
                  <c:v>29.718997966674394</c:v>
                </c:pt>
                <c:pt idx="27170">
                  <c:v>33.692422542454622</c:v>
                </c:pt>
                <c:pt idx="27171">
                  <c:v>28.897139666320435</c:v>
                </c:pt>
                <c:pt idx="27172">
                  <c:v>19.301068129448101</c:v>
                </c:pt>
                <c:pt idx="27173">
                  <c:v>20.365668948324199</c:v>
                </c:pt>
                <c:pt idx="27174">
                  <c:v>33.194137006157263</c:v>
                </c:pt>
                <c:pt idx="27175">
                  <c:v>22.052530385479201</c:v>
                </c:pt>
                <c:pt idx="27176">
                  <c:v>28.713945355290033</c:v>
                </c:pt>
                <c:pt idx="27177">
                  <c:v>28.356950121384621</c:v>
                </c:pt>
                <c:pt idx="27178">
                  <c:v>42.918304587175854</c:v>
                </c:pt>
                <c:pt idx="27179">
                  <c:v>29.739264805631183</c:v>
                </c:pt>
                <c:pt idx="27180">
                  <c:v>42.355133469918393</c:v>
                </c:pt>
                <c:pt idx="27181">
                  <c:v>28.82469240333457</c:v>
                </c:pt>
                <c:pt idx="27182">
                  <c:v>33.230322099757942</c:v>
                </c:pt>
                <c:pt idx="27183">
                  <c:v>42.5828623927694</c:v>
                </c:pt>
                <c:pt idx="27184">
                  <c:v>23.869082103138688</c:v>
                </c:pt>
                <c:pt idx="27185">
                  <c:v>24.97597111983255</c:v>
                </c:pt>
                <c:pt idx="27186">
                  <c:v>19.88426407177192</c:v>
                </c:pt>
                <c:pt idx="27187">
                  <c:v>18.943715719205251</c:v>
                </c:pt>
                <c:pt idx="27188">
                  <c:v>29.887097471502095</c:v>
                </c:pt>
                <c:pt idx="27189">
                  <c:v>44.667669796503709</c:v>
                </c:pt>
                <c:pt idx="27190">
                  <c:v>31.96763263203669</c:v>
                </c:pt>
                <c:pt idx="27191">
                  <c:v>55.061494976940423</c:v>
                </c:pt>
                <c:pt idx="27192">
                  <c:v>55.172697589296241</c:v>
                </c:pt>
                <c:pt idx="27193">
                  <c:v>50.829182798230903</c:v>
                </c:pt>
                <c:pt idx="27194">
                  <c:v>21.53637424474115</c:v>
                </c:pt>
                <c:pt idx="27195">
                  <c:v>26.950718246043614</c:v>
                </c:pt>
                <c:pt idx="27196">
                  <c:v>46.189835004373094</c:v>
                </c:pt>
                <c:pt idx="27197">
                  <c:v>38.668147422627243</c:v>
                </c:pt>
                <c:pt idx="27198">
                  <c:v>52.151598269867677</c:v>
                </c:pt>
                <c:pt idx="27199">
                  <c:v>28.501936173417292</c:v>
                </c:pt>
                <c:pt idx="27200">
                  <c:v>30.860560461734401</c:v>
                </c:pt>
                <c:pt idx="27201">
                  <c:v>53.820588727647504</c:v>
                </c:pt>
                <c:pt idx="27202">
                  <c:v>25.927650553656704</c:v>
                </c:pt>
                <c:pt idx="27203">
                  <c:v>23.679313049152867</c:v>
                </c:pt>
                <c:pt idx="27204">
                  <c:v>49.504954769298017</c:v>
                </c:pt>
                <c:pt idx="27205">
                  <c:v>25.914133516290725</c:v>
                </c:pt>
                <c:pt idx="27206">
                  <c:v>44.623722104506136</c:v>
                </c:pt>
                <c:pt idx="27207">
                  <c:v>22.879576322453413</c:v>
                </c:pt>
                <c:pt idx="27208">
                  <c:v>29.190981577964742</c:v>
                </c:pt>
                <c:pt idx="27209">
                  <c:v>40.332771985179001</c:v>
                </c:pt>
                <c:pt idx="27210">
                  <c:v>24.145798074228683</c:v>
                </c:pt>
                <c:pt idx="27211">
                  <c:v>25.236618893968142</c:v>
                </c:pt>
                <c:pt idx="27212">
                  <c:v>49.508603934689326</c:v>
                </c:pt>
                <c:pt idx="27213">
                  <c:v>31.711319563538282</c:v>
                </c:pt>
                <c:pt idx="27214">
                  <c:v>24.284224396639154</c:v>
                </c:pt>
                <c:pt idx="27215">
                  <c:v>46.990730644153949</c:v>
                </c:pt>
                <c:pt idx="27216">
                  <c:v>34.433964984488753</c:v>
                </c:pt>
                <c:pt idx="27217">
                  <c:v>29.19713651828301</c:v>
                </c:pt>
                <c:pt idx="27218">
                  <c:v>48.946194895612081</c:v>
                </c:pt>
                <c:pt idx="27219">
                  <c:v>50.977212382781225</c:v>
                </c:pt>
                <c:pt idx="27220">
                  <c:v>45.827491985135723</c:v>
                </c:pt>
                <c:pt idx="27221">
                  <c:v>20.697275115521926</c:v>
                </c:pt>
                <c:pt idx="27222">
                  <c:v>22.566852658800936</c:v>
                </c:pt>
                <c:pt idx="27223">
                  <c:v>25.294785267099869</c:v>
                </c:pt>
                <c:pt idx="27224">
                  <c:v>45.147038068169202</c:v>
                </c:pt>
                <c:pt idx="27225">
                  <c:v>22.101735339017473</c:v>
                </c:pt>
                <c:pt idx="27226">
                  <c:v>22.376280466969433</c:v>
                </c:pt>
                <c:pt idx="27227">
                  <c:v>36.676012343572516</c:v>
                </c:pt>
                <c:pt idx="27228">
                  <c:v>62.280586588495495</c:v>
                </c:pt>
                <c:pt idx="27229">
                  <c:v>51.421432801915259</c:v>
                </c:pt>
                <c:pt idx="27230">
                  <c:v>34.190452755722312</c:v>
                </c:pt>
                <c:pt idx="27231">
                  <c:v>32.236084569911363</c:v>
                </c:pt>
                <c:pt idx="27232">
                  <c:v>28.685871462758755</c:v>
                </c:pt>
                <c:pt idx="27233">
                  <c:v>32.989238194927971</c:v>
                </c:pt>
                <c:pt idx="27234">
                  <c:v>51.895021119217411</c:v>
                </c:pt>
                <c:pt idx="27235">
                  <c:v>42.335145043970222</c:v>
                </c:pt>
                <c:pt idx="27236">
                  <c:v>21.76108136135074</c:v>
                </c:pt>
                <c:pt idx="27237">
                  <c:v>30.946215968484807</c:v>
                </c:pt>
                <c:pt idx="27238">
                  <c:v>27.117713360669789</c:v>
                </c:pt>
                <c:pt idx="27239">
                  <c:v>53.663650107903791</c:v>
                </c:pt>
                <c:pt idx="27240">
                  <c:v>36.434410689041101</c:v>
                </c:pt>
                <c:pt idx="27241">
                  <c:v>28.299067025597683</c:v>
                </c:pt>
                <c:pt idx="27242">
                  <c:v>35.914024658407641</c:v>
                </c:pt>
                <c:pt idx="27243">
                  <c:v>28.019017213259705</c:v>
                </c:pt>
                <c:pt idx="27244">
                  <c:v>34.74608012099219</c:v>
                </c:pt>
                <c:pt idx="27245">
                  <c:v>30.227778148469135</c:v>
                </c:pt>
                <c:pt idx="27246">
                  <c:v>16.075523055852393</c:v>
                </c:pt>
                <c:pt idx="27247">
                  <c:v>34.594175271278324</c:v>
                </c:pt>
                <c:pt idx="27248">
                  <c:v>15.091675280334943</c:v>
                </c:pt>
                <c:pt idx="27249">
                  <c:v>34.892301476703302</c:v>
                </c:pt>
                <c:pt idx="27250">
                  <c:v>20.347363299414226</c:v>
                </c:pt>
                <c:pt idx="27251">
                  <c:v>26.537773292538262</c:v>
                </c:pt>
                <c:pt idx="27252">
                  <c:v>31.713098060439069</c:v>
                </c:pt>
                <c:pt idx="27253">
                  <c:v>46.749449341531424</c:v>
                </c:pt>
                <c:pt idx="27254">
                  <c:v>44.503397737645457</c:v>
                </c:pt>
                <c:pt idx="27255">
                  <c:v>30.822823489971348</c:v>
                </c:pt>
                <c:pt idx="27256">
                  <c:v>33.249912989246788</c:v>
                </c:pt>
                <c:pt idx="27257">
                  <c:v>51.284169795136606</c:v>
                </c:pt>
                <c:pt idx="27258">
                  <c:v>26.98248647270621</c:v>
                </c:pt>
                <c:pt idx="27259">
                  <c:v>59.458602058412332</c:v>
                </c:pt>
                <c:pt idx="27260">
                  <c:v>33.556435626652558</c:v>
                </c:pt>
                <c:pt idx="27261">
                  <c:v>45.459508694784134</c:v>
                </c:pt>
                <c:pt idx="27262">
                  <c:v>27.212898661641528</c:v>
                </c:pt>
                <c:pt idx="27263">
                  <c:v>47.68341450484904</c:v>
                </c:pt>
                <c:pt idx="27264">
                  <c:v>31.817760741887909</c:v>
                </c:pt>
                <c:pt idx="27265">
                  <c:v>26.449776848875079</c:v>
                </c:pt>
                <c:pt idx="27266">
                  <c:v>32.032878408522649</c:v>
                </c:pt>
                <c:pt idx="27267">
                  <c:v>30.653675292521438</c:v>
                </c:pt>
                <c:pt idx="27268">
                  <c:v>25.208355278223728</c:v>
                </c:pt>
                <c:pt idx="27269">
                  <c:v>34.063551501581991</c:v>
                </c:pt>
                <c:pt idx="27270">
                  <c:v>46.785317424204834</c:v>
                </c:pt>
                <c:pt idx="27271">
                  <c:v>23.540200921025384</c:v>
                </c:pt>
                <c:pt idx="27272">
                  <c:v>32.846700000874328</c:v>
                </c:pt>
                <c:pt idx="27273">
                  <c:v>21.39380945281933</c:v>
                </c:pt>
                <c:pt idx="27274">
                  <c:v>19.04031508713889</c:v>
                </c:pt>
                <c:pt idx="27275">
                  <c:v>49.927344413814438</c:v>
                </c:pt>
                <c:pt idx="27276">
                  <c:v>31.337404314099835</c:v>
                </c:pt>
                <c:pt idx="27277">
                  <c:v>30.713323943738175</c:v>
                </c:pt>
                <c:pt idx="27278">
                  <c:v>25.073644858484915</c:v>
                </c:pt>
                <c:pt idx="27279">
                  <c:v>44.416064638522407</c:v>
                </c:pt>
                <c:pt idx="27280">
                  <c:v>28.547835531746674</c:v>
                </c:pt>
                <c:pt idx="27281">
                  <c:v>29.011426245960969</c:v>
                </c:pt>
                <c:pt idx="27282">
                  <c:v>20.461429088875416</c:v>
                </c:pt>
                <c:pt idx="27283">
                  <c:v>16.216743744140764</c:v>
                </c:pt>
                <c:pt idx="27284">
                  <c:v>27.635631873734795</c:v>
                </c:pt>
                <c:pt idx="27285">
                  <c:v>32.581652585498105</c:v>
                </c:pt>
                <c:pt idx="27286">
                  <c:v>22.238244584061803</c:v>
                </c:pt>
                <c:pt idx="27287">
                  <c:v>40.739671326915101</c:v>
                </c:pt>
                <c:pt idx="27288">
                  <c:v>23.326294722918433</c:v>
                </c:pt>
                <c:pt idx="27289">
                  <c:v>27.117325802507001</c:v>
                </c:pt>
                <c:pt idx="27290">
                  <c:v>26.229333641961141</c:v>
                </c:pt>
                <c:pt idx="27291">
                  <c:v>32.89492899257629</c:v>
                </c:pt>
                <c:pt idx="27292">
                  <c:v>33.873034575045068</c:v>
                </c:pt>
                <c:pt idx="27293">
                  <c:v>21.495735038433097</c:v>
                </c:pt>
                <c:pt idx="27294">
                  <c:v>24.758387405594689</c:v>
                </c:pt>
                <c:pt idx="27295">
                  <c:v>16.977663942726799</c:v>
                </c:pt>
                <c:pt idx="27296">
                  <c:v>36.897321212254504</c:v>
                </c:pt>
                <c:pt idx="27297">
                  <c:v>30.600745337916329</c:v>
                </c:pt>
                <c:pt idx="27298">
                  <c:v>53.751922529396921</c:v>
                </c:pt>
                <c:pt idx="27299">
                  <c:v>41.219108193394973</c:v>
                </c:pt>
                <c:pt idx="27300">
                  <c:v>35.08707859624036</c:v>
                </c:pt>
                <c:pt idx="27301">
                  <c:v>23.833254606090776</c:v>
                </c:pt>
                <c:pt idx="27302">
                  <c:v>31.737029824789804</c:v>
                </c:pt>
                <c:pt idx="27303">
                  <c:v>18.698135375600266</c:v>
                </c:pt>
                <c:pt idx="27304">
                  <c:v>23.542636417033222</c:v>
                </c:pt>
                <c:pt idx="27305">
                  <c:v>29.419514773848039</c:v>
                </c:pt>
                <c:pt idx="27306">
                  <c:v>28.675093490641366</c:v>
                </c:pt>
                <c:pt idx="27307">
                  <c:v>32.640776581230462</c:v>
                </c:pt>
                <c:pt idx="27308">
                  <c:v>28.163033523581984</c:v>
                </c:pt>
                <c:pt idx="27309">
                  <c:v>40.393326887919542</c:v>
                </c:pt>
                <c:pt idx="27310">
                  <c:v>22.638885796552771</c:v>
                </c:pt>
                <c:pt idx="27311">
                  <c:v>47.693844185354706</c:v>
                </c:pt>
                <c:pt idx="27312">
                  <c:v>34.534949258779577</c:v>
                </c:pt>
                <c:pt idx="27313">
                  <c:v>37.674795925940643</c:v>
                </c:pt>
                <c:pt idx="27314">
                  <c:v>22.541199363021775</c:v>
                </c:pt>
                <c:pt idx="27315">
                  <c:v>26.22482788592291</c:v>
                </c:pt>
                <c:pt idx="27316">
                  <c:v>27.578631214168169</c:v>
                </c:pt>
                <c:pt idx="27317">
                  <c:v>32.812794858320842</c:v>
                </c:pt>
                <c:pt idx="27318">
                  <c:v>22.340972245090306</c:v>
                </c:pt>
                <c:pt idx="27319">
                  <c:v>21.293073498227717</c:v>
                </c:pt>
                <c:pt idx="27320">
                  <c:v>52.95109205695374</c:v>
                </c:pt>
                <c:pt idx="27321">
                  <c:v>17.820832107202332</c:v>
                </c:pt>
                <c:pt idx="27322">
                  <c:v>20.309911004577263</c:v>
                </c:pt>
                <c:pt idx="27323">
                  <c:v>44.858461414977775</c:v>
                </c:pt>
                <c:pt idx="27324">
                  <c:v>50.957047215066616</c:v>
                </c:pt>
                <c:pt idx="27325">
                  <c:v>47.182782091518163</c:v>
                </c:pt>
                <c:pt idx="27326">
                  <c:v>22.152167179994464</c:v>
                </c:pt>
                <c:pt idx="27327">
                  <c:v>26.127692017126549</c:v>
                </c:pt>
                <c:pt idx="27328">
                  <c:v>42.826300502439416</c:v>
                </c:pt>
                <c:pt idx="27329">
                  <c:v>20.46974873419645</c:v>
                </c:pt>
                <c:pt idx="27330">
                  <c:v>24.844200542281349</c:v>
                </c:pt>
                <c:pt idx="27331">
                  <c:v>61.001700696361986</c:v>
                </c:pt>
                <c:pt idx="27332">
                  <c:v>25.125605421089155</c:v>
                </c:pt>
                <c:pt idx="27333">
                  <c:v>23.029387219225171</c:v>
                </c:pt>
                <c:pt idx="27334">
                  <c:v>31.965072696970559</c:v>
                </c:pt>
                <c:pt idx="27335">
                  <c:v>27.196197297300444</c:v>
                </c:pt>
                <c:pt idx="27336">
                  <c:v>15.819134058551278</c:v>
                </c:pt>
                <c:pt idx="27337">
                  <c:v>53.412304518066541</c:v>
                </c:pt>
                <c:pt idx="27338">
                  <c:v>40.061073550130459</c:v>
                </c:pt>
                <c:pt idx="27339">
                  <c:v>18.049317390240493</c:v>
                </c:pt>
                <c:pt idx="27340">
                  <c:v>29.327718348612606</c:v>
                </c:pt>
                <c:pt idx="27341">
                  <c:v>26.051964248420244</c:v>
                </c:pt>
                <c:pt idx="27342">
                  <c:v>25.548316457436183</c:v>
                </c:pt>
                <c:pt idx="27343">
                  <c:v>25.774823315523744</c:v>
                </c:pt>
                <c:pt idx="27344">
                  <c:v>21.218348071902778</c:v>
                </c:pt>
                <c:pt idx="27345">
                  <c:v>26.07137190110393</c:v>
                </c:pt>
                <c:pt idx="27346">
                  <c:v>32.636699186603231</c:v>
                </c:pt>
                <c:pt idx="27347">
                  <c:v>46.829594961229887</c:v>
                </c:pt>
                <c:pt idx="27348">
                  <c:v>28.512320380124354</c:v>
                </c:pt>
                <c:pt idx="27349">
                  <c:v>19.577531806927528</c:v>
                </c:pt>
                <c:pt idx="27350">
                  <c:v>26.809952388131421</c:v>
                </c:pt>
                <c:pt idx="27351">
                  <c:v>28.86136965638886</c:v>
                </c:pt>
                <c:pt idx="27352">
                  <c:v>30.255584539053508</c:v>
                </c:pt>
                <c:pt idx="27353">
                  <c:v>30.752337603699992</c:v>
                </c:pt>
                <c:pt idx="27354">
                  <c:v>18.289170944025372</c:v>
                </c:pt>
                <c:pt idx="27355">
                  <c:v>32.758495014121344</c:v>
                </c:pt>
                <c:pt idx="27356">
                  <c:v>20.277350075065659</c:v>
                </c:pt>
                <c:pt idx="27357">
                  <c:v>44.741186809266061</c:v>
                </c:pt>
                <c:pt idx="27358">
                  <c:v>30.914855277963113</c:v>
                </c:pt>
                <c:pt idx="27359">
                  <c:v>29.275184194488325</c:v>
                </c:pt>
                <c:pt idx="27360">
                  <c:v>23.771772031201948</c:v>
                </c:pt>
                <c:pt idx="27361">
                  <c:v>32.290169730618686</c:v>
                </c:pt>
                <c:pt idx="27362">
                  <c:v>26.82847448165391</c:v>
                </c:pt>
                <c:pt idx="27363">
                  <c:v>46.47126341074992</c:v>
                </c:pt>
                <c:pt idx="27364">
                  <c:v>26.464640484558167</c:v>
                </c:pt>
                <c:pt idx="27365">
                  <c:v>26.935478604369095</c:v>
                </c:pt>
                <c:pt idx="27366">
                  <c:v>54.335991159037164</c:v>
                </c:pt>
                <c:pt idx="27367">
                  <c:v>28.739143567986815</c:v>
                </c:pt>
                <c:pt idx="27368">
                  <c:v>26.913680989420897</c:v>
                </c:pt>
                <c:pt idx="27369">
                  <c:v>20.604032602908802</c:v>
                </c:pt>
                <c:pt idx="27370">
                  <c:v>29.037690719689458</c:v>
                </c:pt>
                <c:pt idx="27371">
                  <c:v>20.392290624031983</c:v>
                </c:pt>
                <c:pt idx="27372">
                  <c:v>27.281734217844921</c:v>
                </c:pt>
                <c:pt idx="27373">
                  <c:v>25.448031905775828</c:v>
                </c:pt>
                <c:pt idx="27374">
                  <c:v>30.14911463333193</c:v>
                </c:pt>
                <c:pt idx="27375">
                  <c:v>25.656927184162683</c:v>
                </c:pt>
                <c:pt idx="27376">
                  <c:v>47.678083550522878</c:v>
                </c:pt>
                <c:pt idx="27377">
                  <c:v>45.60298541966678</c:v>
                </c:pt>
                <c:pt idx="27378">
                  <c:v>32.350304862248059</c:v>
                </c:pt>
                <c:pt idx="27379">
                  <c:v>13.138611170222696</c:v>
                </c:pt>
                <c:pt idx="27380">
                  <c:v>51.63872146725334</c:v>
                </c:pt>
                <c:pt idx="27381">
                  <c:v>20.126120028637864</c:v>
                </c:pt>
                <c:pt idx="27382">
                  <c:v>23.580624157444209</c:v>
                </c:pt>
                <c:pt idx="27383">
                  <c:v>28.64600311911137</c:v>
                </c:pt>
                <c:pt idx="27384">
                  <c:v>52.073227401311023</c:v>
                </c:pt>
                <c:pt idx="27385">
                  <c:v>37.508911326206444</c:v>
                </c:pt>
                <c:pt idx="27386">
                  <c:v>59.858215694785351</c:v>
                </c:pt>
                <c:pt idx="27387">
                  <c:v>27.720128300811709</c:v>
                </c:pt>
                <c:pt idx="27388">
                  <c:v>22.039180980232896</c:v>
                </c:pt>
                <c:pt idx="27389">
                  <c:v>29.394788367963613</c:v>
                </c:pt>
                <c:pt idx="27390">
                  <c:v>47.843357208601518</c:v>
                </c:pt>
                <c:pt idx="27391">
                  <c:v>37.579860632594993</c:v>
                </c:pt>
                <c:pt idx="27392">
                  <c:v>46.071088875239617</c:v>
                </c:pt>
                <c:pt idx="27393">
                  <c:v>18.340741177778199</c:v>
                </c:pt>
                <c:pt idx="27394">
                  <c:v>23.541988548136025</c:v>
                </c:pt>
                <c:pt idx="27395">
                  <c:v>31.411595707725077</c:v>
                </c:pt>
                <c:pt idx="27396">
                  <c:v>30.774984377275871</c:v>
                </c:pt>
                <c:pt idx="27397">
                  <c:v>22.233496865995836</c:v>
                </c:pt>
                <c:pt idx="27398">
                  <c:v>26.077086026186922</c:v>
                </c:pt>
                <c:pt idx="27399">
                  <c:v>24.509399108156519</c:v>
                </c:pt>
                <c:pt idx="27400">
                  <c:v>26.286727666117947</c:v>
                </c:pt>
                <c:pt idx="27401">
                  <c:v>23.795337294400852</c:v>
                </c:pt>
                <c:pt idx="27402">
                  <c:v>20.833234593828628</c:v>
                </c:pt>
                <c:pt idx="27403">
                  <c:v>24.522087925245078</c:v>
                </c:pt>
                <c:pt idx="27404">
                  <c:v>26.559361324662532</c:v>
                </c:pt>
                <c:pt idx="27405">
                  <c:v>26.358684894064972</c:v>
                </c:pt>
                <c:pt idx="27406">
                  <c:v>18.332756304983015</c:v>
                </c:pt>
                <c:pt idx="27407">
                  <c:v>43.283626536406437</c:v>
                </c:pt>
                <c:pt idx="27408">
                  <c:v>31.026456999627328</c:v>
                </c:pt>
                <c:pt idx="27409">
                  <c:v>26.175108747687503</c:v>
                </c:pt>
                <c:pt idx="27410">
                  <c:v>27.650012450861446</c:v>
                </c:pt>
                <c:pt idx="27411">
                  <c:v>19.31039188658518</c:v>
                </c:pt>
                <c:pt idx="27412">
                  <c:v>26.873449495210103</c:v>
                </c:pt>
                <c:pt idx="27413">
                  <c:v>23.953306368425388</c:v>
                </c:pt>
                <c:pt idx="27414">
                  <c:v>44.385939109109849</c:v>
                </c:pt>
                <c:pt idx="27415">
                  <c:v>50.118488752953184</c:v>
                </c:pt>
                <c:pt idx="27416">
                  <c:v>38.527667442428807</c:v>
                </c:pt>
                <c:pt idx="27417">
                  <c:v>39.300704842196694</c:v>
                </c:pt>
                <c:pt idx="27418">
                  <c:v>23.601585575783211</c:v>
                </c:pt>
                <c:pt idx="27419">
                  <c:v>52.082388288645248</c:v>
                </c:pt>
                <c:pt idx="27420">
                  <c:v>28.776477997905179</c:v>
                </c:pt>
                <c:pt idx="27421">
                  <c:v>24.862364844238741</c:v>
                </c:pt>
                <c:pt idx="27422">
                  <c:v>42.884538628198762</c:v>
                </c:pt>
                <c:pt idx="27423">
                  <c:v>29.39368066876558</c:v>
                </c:pt>
                <c:pt idx="27424">
                  <c:v>26.146792738599572</c:v>
                </c:pt>
                <c:pt idx="27425">
                  <c:v>29.702505966080807</c:v>
                </c:pt>
                <c:pt idx="27426">
                  <c:v>25.751273119504631</c:v>
                </c:pt>
                <c:pt idx="27427">
                  <c:v>23.856991733490844</c:v>
                </c:pt>
                <c:pt idx="27428">
                  <c:v>24.870279064853776</c:v>
                </c:pt>
                <c:pt idx="27429">
                  <c:v>16.14678476636827</c:v>
                </c:pt>
                <c:pt idx="27430">
                  <c:v>26.089834084021177</c:v>
                </c:pt>
                <c:pt idx="27431">
                  <c:v>40.192635947070592</c:v>
                </c:pt>
                <c:pt idx="27432">
                  <c:v>28.770788859827444</c:v>
                </c:pt>
                <c:pt idx="27433">
                  <c:v>52.233333614960209</c:v>
                </c:pt>
                <c:pt idx="27434">
                  <c:v>27.693630503165721</c:v>
                </c:pt>
                <c:pt idx="27435">
                  <c:v>30.603431727857437</c:v>
                </c:pt>
                <c:pt idx="27436">
                  <c:v>28.570854596389751</c:v>
                </c:pt>
                <c:pt idx="27437">
                  <c:v>34.688218142043361</c:v>
                </c:pt>
                <c:pt idx="27438">
                  <c:v>22.731276774541591</c:v>
                </c:pt>
                <c:pt idx="27439">
                  <c:v>35.2208821234086</c:v>
                </c:pt>
                <c:pt idx="27440">
                  <c:v>33.990434953890258</c:v>
                </c:pt>
                <c:pt idx="27441">
                  <c:v>38.734529670431485</c:v>
                </c:pt>
                <c:pt idx="27442">
                  <c:v>36.107563203663815</c:v>
                </c:pt>
                <c:pt idx="27443">
                  <c:v>17.731970846285833</c:v>
                </c:pt>
                <c:pt idx="27444">
                  <c:v>29.988974753867975</c:v>
                </c:pt>
                <c:pt idx="27445">
                  <c:v>26.173978337681977</c:v>
                </c:pt>
                <c:pt idx="27446">
                  <c:v>22.779411305878817</c:v>
                </c:pt>
                <c:pt idx="27447">
                  <c:v>28.61926899088872</c:v>
                </c:pt>
                <c:pt idx="27448">
                  <c:v>20.824676731509985</c:v>
                </c:pt>
                <c:pt idx="27449">
                  <c:v>26.806059336493227</c:v>
                </c:pt>
                <c:pt idx="27450">
                  <c:v>34.72629822967312</c:v>
                </c:pt>
                <c:pt idx="27451">
                  <c:v>27.605750885781703</c:v>
                </c:pt>
                <c:pt idx="27452">
                  <c:v>34.167742121525215</c:v>
                </c:pt>
                <c:pt idx="27453">
                  <c:v>25.801006154883755</c:v>
                </c:pt>
                <c:pt idx="27454">
                  <c:v>23.160355631950654</c:v>
                </c:pt>
                <c:pt idx="27455">
                  <c:v>28.003047700584773</c:v>
                </c:pt>
                <c:pt idx="27456">
                  <c:v>29.699725718749974</c:v>
                </c:pt>
                <c:pt idx="27457">
                  <c:v>33.287767447965933</c:v>
                </c:pt>
                <c:pt idx="27458">
                  <c:v>28.866878559713328</c:v>
                </c:pt>
                <c:pt idx="27459">
                  <c:v>15.262426177023951</c:v>
                </c:pt>
                <c:pt idx="27460">
                  <c:v>26.991711117340948</c:v>
                </c:pt>
                <c:pt idx="27461">
                  <c:v>24.797924290838402</c:v>
                </c:pt>
                <c:pt idx="27462">
                  <c:v>25.434744882202679</c:v>
                </c:pt>
                <c:pt idx="27463">
                  <c:v>21.883238695144666</c:v>
                </c:pt>
                <c:pt idx="27464">
                  <c:v>26.110927334776832</c:v>
                </c:pt>
                <c:pt idx="27465">
                  <c:v>22.623393312683916</c:v>
                </c:pt>
                <c:pt idx="27466">
                  <c:v>33.758759166617168</c:v>
                </c:pt>
                <c:pt idx="27467">
                  <c:v>18.905601254635535</c:v>
                </c:pt>
                <c:pt idx="27468">
                  <c:v>19.885329628340937</c:v>
                </c:pt>
                <c:pt idx="27469">
                  <c:v>52.995003478304106</c:v>
                </c:pt>
                <c:pt idx="27470">
                  <c:v>31.600251704508324</c:v>
                </c:pt>
                <c:pt idx="27471">
                  <c:v>52.441350843088351</c:v>
                </c:pt>
                <c:pt idx="27472">
                  <c:v>29.922149840563812</c:v>
                </c:pt>
                <c:pt idx="27473">
                  <c:v>24.68899958678875</c:v>
                </c:pt>
                <c:pt idx="27474">
                  <c:v>23.856869906565514</c:v>
                </c:pt>
                <c:pt idx="27475">
                  <c:v>32.889839483698154</c:v>
                </c:pt>
                <c:pt idx="27476">
                  <c:v>32.626369191963356</c:v>
                </c:pt>
                <c:pt idx="27477">
                  <c:v>20.031804736924371</c:v>
                </c:pt>
                <c:pt idx="27478">
                  <c:v>23.498616264049492</c:v>
                </c:pt>
                <c:pt idx="27479">
                  <c:v>30.663625549665181</c:v>
                </c:pt>
                <c:pt idx="27480">
                  <c:v>26.781488283561039</c:v>
                </c:pt>
                <c:pt idx="27481">
                  <c:v>22.622779714650271</c:v>
                </c:pt>
                <c:pt idx="27482">
                  <c:v>33.216966997989161</c:v>
                </c:pt>
                <c:pt idx="27483">
                  <c:v>26.218896056937147</c:v>
                </c:pt>
                <c:pt idx="27484">
                  <c:v>24.504482362922843</c:v>
                </c:pt>
                <c:pt idx="27485">
                  <c:v>22.728921381519157</c:v>
                </c:pt>
                <c:pt idx="27486">
                  <c:v>43.25244066509444</c:v>
                </c:pt>
                <c:pt idx="27487">
                  <c:v>45.310686965150374</c:v>
                </c:pt>
                <c:pt idx="27488">
                  <c:v>42.05700128084095</c:v>
                </c:pt>
                <c:pt idx="27489">
                  <c:v>40.60550526354001</c:v>
                </c:pt>
                <c:pt idx="27490">
                  <c:v>31.803370792668925</c:v>
                </c:pt>
                <c:pt idx="27491">
                  <c:v>43.417947865087235</c:v>
                </c:pt>
                <c:pt idx="27492">
                  <c:v>39.919190002908628</c:v>
                </c:pt>
                <c:pt idx="27493">
                  <c:v>36.922388388643313</c:v>
                </c:pt>
                <c:pt idx="27494">
                  <c:v>22.360455413078192</c:v>
                </c:pt>
                <c:pt idx="27495">
                  <c:v>30.290089738619503</c:v>
                </c:pt>
                <c:pt idx="27496">
                  <c:v>32.535483126094825</c:v>
                </c:pt>
                <c:pt idx="27497">
                  <c:v>22.524956336765541</c:v>
                </c:pt>
                <c:pt idx="27498">
                  <c:v>27.136178841108674</c:v>
                </c:pt>
                <c:pt idx="27499">
                  <c:v>21.915074578601978</c:v>
                </c:pt>
                <c:pt idx="27500">
                  <c:v>30.509103344927301</c:v>
                </c:pt>
                <c:pt idx="27501">
                  <c:v>55.810904918496526</c:v>
                </c:pt>
                <c:pt idx="27502">
                  <c:v>37.660809963680514</c:v>
                </c:pt>
                <c:pt idx="27503">
                  <c:v>30.152540615860616</c:v>
                </c:pt>
                <c:pt idx="27504">
                  <c:v>23.275225844956168</c:v>
                </c:pt>
                <c:pt idx="27505">
                  <c:v>31.030600177196572</c:v>
                </c:pt>
                <c:pt idx="27506">
                  <c:v>41.832663263708142</c:v>
                </c:pt>
                <c:pt idx="27507">
                  <c:v>28.981581496773909</c:v>
                </c:pt>
                <c:pt idx="27508">
                  <c:v>22.585529334018609</c:v>
                </c:pt>
                <c:pt idx="27509">
                  <c:v>21.554235710828287</c:v>
                </c:pt>
                <c:pt idx="27510">
                  <c:v>22.533014729788796</c:v>
                </c:pt>
                <c:pt idx="27511">
                  <c:v>23.75786076085566</c:v>
                </c:pt>
                <c:pt idx="27512">
                  <c:v>53.766654793847621</c:v>
                </c:pt>
                <c:pt idx="27513">
                  <c:v>21.564288471053381</c:v>
                </c:pt>
                <c:pt idx="27514">
                  <c:v>23.96931451146655</c:v>
                </c:pt>
                <c:pt idx="27515">
                  <c:v>29.933103364159543</c:v>
                </c:pt>
                <c:pt idx="27516">
                  <c:v>48.843041611987523</c:v>
                </c:pt>
                <c:pt idx="27517">
                  <c:v>28.897534939509264</c:v>
                </c:pt>
                <c:pt idx="27518">
                  <c:v>25.689235067870211</c:v>
                </c:pt>
                <c:pt idx="27519">
                  <c:v>20.932408765727139</c:v>
                </c:pt>
                <c:pt idx="27520">
                  <c:v>51.668899600135397</c:v>
                </c:pt>
                <c:pt idx="27521">
                  <c:v>26.102140637992445</c:v>
                </c:pt>
                <c:pt idx="27522">
                  <c:v>23.400469467462639</c:v>
                </c:pt>
                <c:pt idx="27523">
                  <c:v>37.366520681703648</c:v>
                </c:pt>
                <c:pt idx="27524">
                  <c:v>28.527037437564054</c:v>
                </c:pt>
                <c:pt idx="27525">
                  <c:v>32.156416021499716</c:v>
                </c:pt>
                <c:pt idx="27526">
                  <c:v>31.206888576758274</c:v>
                </c:pt>
                <c:pt idx="27527">
                  <c:v>31.593734218907439</c:v>
                </c:pt>
                <c:pt idx="27528">
                  <c:v>26.036308804880655</c:v>
                </c:pt>
                <c:pt idx="27529">
                  <c:v>43.931008183095479</c:v>
                </c:pt>
                <c:pt idx="27530">
                  <c:v>42.855716111555751</c:v>
                </c:pt>
                <c:pt idx="27531">
                  <c:v>33.547674462784286</c:v>
                </c:pt>
                <c:pt idx="27532">
                  <c:v>24.120436767399916</c:v>
                </c:pt>
                <c:pt idx="27533">
                  <c:v>43.325873727232604</c:v>
                </c:pt>
                <c:pt idx="27534">
                  <c:v>49.419589352664474</c:v>
                </c:pt>
                <c:pt idx="27535">
                  <c:v>22.624395268427506</c:v>
                </c:pt>
                <c:pt idx="27536">
                  <c:v>27.736574584252001</c:v>
                </c:pt>
                <c:pt idx="27537">
                  <c:v>26.954251010602892</c:v>
                </c:pt>
                <c:pt idx="27538">
                  <c:v>29.427496640774788</c:v>
                </c:pt>
                <c:pt idx="27539">
                  <c:v>35.129657527573293</c:v>
                </c:pt>
                <c:pt idx="27540">
                  <c:v>41.557795837346468</c:v>
                </c:pt>
                <c:pt idx="27541">
                  <c:v>57.697207224030933</c:v>
                </c:pt>
                <c:pt idx="27542">
                  <c:v>24.241274872178145</c:v>
                </c:pt>
                <c:pt idx="27543">
                  <c:v>25.466373050098735</c:v>
                </c:pt>
                <c:pt idx="27544">
                  <c:v>40.313506660767509</c:v>
                </c:pt>
                <c:pt idx="27545">
                  <c:v>30.118051127500454</c:v>
                </c:pt>
                <c:pt idx="27546">
                  <c:v>24.327011125389344</c:v>
                </c:pt>
                <c:pt idx="27547">
                  <c:v>26.656709897219521</c:v>
                </c:pt>
                <c:pt idx="27548">
                  <c:v>23.407533031070738</c:v>
                </c:pt>
                <c:pt idx="27549">
                  <c:v>29.648828109773678</c:v>
                </c:pt>
                <c:pt idx="27550">
                  <c:v>22.304168369690544</c:v>
                </c:pt>
                <c:pt idx="27551">
                  <c:v>33.453369589150164</c:v>
                </c:pt>
                <c:pt idx="27552">
                  <c:v>41.490865426048465</c:v>
                </c:pt>
                <c:pt idx="27553">
                  <c:v>42.951666657103964</c:v>
                </c:pt>
                <c:pt idx="27554">
                  <c:v>32.395809339272077</c:v>
                </c:pt>
                <c:pt idx="27555">
                  <c:v>53.886067578555235</c:v>
                </c:pt>
                <c:pt idx="27556">
                  <c:v>34.888838140052755</c:v>
                </c:pt>
                <c:pt idx="27557">
                  <c:v>22.439478883257483</c:v>
                </c:pt>
                <c:pt idx="27558">
                  <c:v>46.090889275665411</c:v>
                </c:pt>
                <c:pt idx="27559">
                  <c:v>29.211370233379625</c:v>
                </c:pt>
                <c:pt idx="27560">
                  <c:v>43.980132012191653</c:v>
                </c:pt>
                <c:pt idx="27561">
                  <c:v>52.450493436113604</c:v>
                </c:pt>
                <c:pt idx="27562">
                  <c:v>23.394399511359076</c:v>
                </c:pt>
                <c:pt idx="27563">
                  <c:v>28.188404074230597</c:v>
                </c:pt>
                <c:pt idx="27564">
                  <c:v>29.017696834637814</c:v>
                </c:pt>
                <c:pt idx="27565">
                  <c:v>44.77959934484393</c:v>
                </c:pt>
                <c:pt idx="27566">
                  <c:v>51.309218366872756</c:v>
                </c:pt>
                <c:pt idx="27567">
                  <c:v>30.93363816864802</c:v>
                </c:pt>
                <c:pt idx="27568">
                  <c:v>23.014760103237681</c:v>
                </c:pt>
                <c:pt idx="27569">
                  <c:v>25.638805861841423</c:v>
                </c:pt>
                <c:pt idx="27570">
                  <c:v>21.123943785754285</c:v>
                </c:pt>
                <c:pt idx="27571">
                  <c:v>23.377211826091127</c:v>
                </c:pt>
                <c:pt idx="27572">
                  <c:v>33.071729353888578</c:v>
                </c:pt>
                <c:pt idx="27573">
                  <c:v>23.58369605965753</c:v>
                </c:pt>
                <c:pt idx="27574">
                  <c:v>38.138184467049513</c:v>
                </c:pt>
                <c:pt idx="27575">
                  <c:v>29.470067389913542</c:v>
                </c:pt>
                <c:pt idx="27576">
                  <c:v>46.707601261395396</c:v>
                </c:pt>
                <c:pt idx="27577">
                  <c:v>19.392736561663874</c:v>
                </c:pt>
                <c:pt idx="27578">
                  <c:v>25.527506989728622</c:v>
                </c:pt>
                <c:pt idx="27579">
                  <c:v>29.792136326116577</c:v>
                </c:pt>
                <c:pt idx="27580">
                  <c:v>30.83204719986831</c:v>
                </c:pt>
                <c:pt idx="27581">
                  <c:v>23.413777381369837</c:v>
                </c:pt>
                <c:pt idx="27582">
                  <c:v>29.073482377652354</c:v>
                </c:pt>
                <c:pt idx="27583">
                  <c:v>33.357802128892196</c:v>
                </c:pt>
                <c:pt idx="27584">
                  <c:v>21.507814143473929</c:v>
                </c:pt>
                <c:pt idx="27585">
                  <c:v>23.056131579289069</c:v>
                </c:pt>
                <c:pt idx="27586">
                  <c:v>21.029431906131158</c:v>
                </c:pt>
                <c:pt idx="27587">
                  <c:v>46.883840314086697</c:v>
                </c:pt>
                <c:pt idx="27588">
                  <c:v>33.99374091960108</c:v>
                </c:pt>
                <c:pt idx="27589">
                  <c:v>46.347127916174912</c:v>
                </c:pt>
                <c:pt idx="27590">
                  <c:v>26.193272770348614</c:v>
                </c:pt>
                <c:pt idx="27591">
                  <c:v>45.372837205870773</c:v>
                </c:pt>
                <c:pt idx="27592">
                  <c:v>39.327909175117505</c:v>
                </c:pt>
                <c:pt idx="27593">
                  <c:v>48.717924925751525</c:v>
                </c:pt>
                <c:pt idx="27594">
                  <c:v>22.938057187544644</c:v>
                </c:pt>
                <c:pt idx="27595">
                  <c:v>28.657477392829588</c:v>
                </c:pt>
                <c:pt idx="27596">
                  <c:v>21.531428180873768</c:v>
                </c:pt>
                <c:pt idx="27597">
                  <c:v>48.637500776247741</c:v>
                </c:pt>
                <c:pt idx="27598">
                  <c:v>34.303938725757</c:v>
                </c:pt>
                <c:pt idx="27599">
                  <c:v>24.864765888672025</c:v>
                </c:pt>
                <c:pt idx="27600">
                  <c:v>36.919797291327392</c:v>
                </c:pt>
                <c:pt idx="27601">
                  <c:v>25.722086056513213</c:v>
                </c:pt>
                <c:pt idx="27602">
                  <c:v>27.01533387565873</c:v>
                </c:pt>
                <c:pt idx="27603">
                  <c:v>23.980611633668602</c:v>
                </c:pt>
                <c:pt idx="27604">
                  <c:v>30.813252216175965</c:v>
                </c:pt>
                <c:pt idx="27605">
                  <c:v>24.997518539887388</c:v>
                </c:pt>
                <c:pt idx="27606">
                  <c:v>52.225025332786366</c:v>
                </c:pt>
                <c:pt idx="27607">
                  <c:v>13.608973951057189</c:v>
                </c:pt>
                <c:pt idx="27608">
                  <c:v>26.386955023529488</c:v>
                </c:pt>
                <c:pt idx="27609">
                  <c:v>27.8683986683276</c:v>
                </c:pt>
                <c:pt idx="27610">
                  <c:v>24.939649139602828</c:v>
                </c:pt>
                <c:pt idx="27611">
                  <c:v>52.796570592827671</c:v>
                </c:pt>
                <c:pt idx="27612">
                  <c:v>28.084100733925233</c:v>
                </c:pt>
                <c:pt idx="27613">
                  <c:v>25.255488797505564</c:v>
                </c:pt>
                <c:pt idx="27614">
                  <c:v>23.479002822363061</c:v>
                </c:pt>
                <c:pt idx="27615">
                  <c:v>45.745169453381592</c:v>
                </c:pt>
                <c:pt idx="27616">
                  <c:v>18.597565524421768</c:v>
                </c:pt>
                <c:pt idx="27617">
                  <c:v>26.36399849472258</c:v>
                </c:pt>
                <c:pt idx="27618">
                  <c:v>28.818867862378095</c:v>
                </c:pt>
                <c:pt idx="27619">
                  <c:v>51.340250917653719</c:v>
                </c:pt>
                <c:pt idx="27620">
                  <c:v>28.131225161068866</c:v>
                </c:pt>
                <c:pt idx="27621">
                  <c:v>33.746432423607402</c:v>
                </c:pt>
                <c:pt idx="27622">
                  <c:v>30.833237406044567</c:v>
                </c:pt>
                <c:pt idx="27623">
                  <c:v>31.191240477753166</c:v>
                </c:pt>
                <c:pt idx="27624">
                  <c:v>25.367399918797908</c:v>
                </c:pt>
                <c:pt idx="27625">
                  <c:v>23.947544715884177</c:v>
                </c:pt>
                <c:pt idx="27626">
                  <c:v>37.243302823107697</c:v>
                </c:pt>
                <c:pt idx="27627">
                  <c:v>39.05381448944226</c:v>
                </c:pt>
                <c:pt idx="27628">
                  <c:v>24.719817598049147</c:v>
                </c:pt>
                <c:pt idx="27629">
                  <c:v>32.463672019936425</c:v>
                </c:pt>
                <c:pt idx="27630">
                  <c:v>24.457696344910282</c:v>
                </c:pt>
                <c:pt idx="27631">
                  <c:v>22.233992523150878</c:v>
                </c:pt>
                <c:pt idx="27632">
                  <c:v>65.143527201579744</c:v>
                </c:pt>
                <c:pt idx="27633">
                  <c:v>30.843217248224931</c:v>
                </c:pt>
                <c:pt idx="27634">
                  <c:v>36.331415431826606</c:v>
                </c:pt>
                <c:pt idx="27635">
                  <c:v>26.444590337746405</c:v>
                </c:pt>
                <c:pt idx="27636">
                  <c:v>24.563324790632983</c:v>
                </c:pt>
                <c:pt idx="27637">
                  <c:v>26.765116231910724</c:v>
                </c:pt>
                <c:pt idx="27638">
                  <c:v>31.439349096873087</c:v>
                </c:pt>
                <c:pt idx="27639">
                  <c:v>28.868880568556904</c:v>
                </c:pt>
                <c:pt idx="27640">
                  <c:v>35.980555210766681</c:v>
                </c:pt>
                <c:pt idx="27641">
                  <c:v>33.962462582585481</c:v>
                </c:pt>
                <c:pt idx="27642">
                  <c:v>48.305022366658562</c:v>
                </c:pt>
                <c:pt idx="27643">
                  <c:v>23.293327693838826</c:v>
                </c:pt>
                <c:pt idx="27644">
                  <c:v>26.516171356420159</c:v>
                </c:pt>
                <c:pt idx="27645">
                  <c:v>47.694565450800127</c:v>
                </c:pt>
                <c:pt idx="27646">
                  <c:v>20.72681803674374</c:v>
                </c:pt>
                <c:pt idx="27647">
                  <c:v>33.569729359656876</c:v>
                </c:pt>
                <c:pt idx="27648">
                  <c:v>51.159286300530511</c:v>
                </c:pt>
                <c:pt idx="27649">
                  <c:v>33.555680730175723</c:v>
                </c:pt>
                <c:pt idx="27650">
                  <c:v>45.291351783206935</c:v>
                </c:pt>
                <c:pt idx="27651">
                  <c:v>43.054709853345173</c:v>
                </c:pt>
                <c:pt idx="27652">
                  <c:v>22.422807531228145</c:v>
                </c:pt>
                <c:pt idx="27653">
                  <c:v>20.771777132615725</c:v>
                </c:pt>
                <c:pt idx="27654">
                  <c:v>20.107631977269339</c:v>
                </c:pt>
                <c:pt idx="27655">
                  <c:v>30.117420533279237</c:v>
                </c:pt>
                <c:pt idx="27656">
                  <c:v>24.424742280262478</c:v>
                </c:pt>
                <c:pt idx="27657">
                  <c:v>20.347425088986625</c:v>
                </c:pt>
                <c:pt idx="27658">
                  <c:v>31.316057886319008</c:v>
                </c:pt>
                <c:pt idx="27659">
                  <c:v>53.817278364568082</c:v>
                </c:pt>
                <c:pt idx="27660">
                  <c:v>35.681659153520741</c:v>
                </c:pt>
                <c:pt idx="27661">
                  <c:v>40.242031715734043</c:v>
                </c:pt>
                <c:pt idx="27662">
                  <c:v>30.321095886911465</c:v>
                </c:pt>
                <c:pt idx="27663">
                  <c:v>26.505052879268739</c:v>
                </c:pt>
                <c:pt idx="27664">
                  <c:v>22.953327619457557</c:v>
                </c:pt>
                <c:pt idx="27665">
                  <c:v>28.079924817796378</c:v>
                </c:pt>
                <c:pt idx="27666">
                  <c:v>17.305632074087445</c:v>
                </c:pt>
                <c:pt idx="27667">
                  <c:v>25.006865716030948</c:v>
                </c:pt>
                <c:pt idx="27668">
                  <c:v>36.324461757561579</c:v>
                </c:pt>
                <c:pt idx="27669">
                  <c:v>23.730810276657216</c:v>
                </c:pt>
                <c:pt idx="27670">
                  <c:v>46.636530958774863</c:v>
                </c:pt>
                <c:pt idx="27671">
                  <c:v>32.400610736934581</c:v>
                </c:pt>
                <c:pt idx="27672">
                  <c:v>28.169925494411441</c:v>
                </c:pt>
                <c:pt idx="27673">
                  <c:v>22.870319244738994</c:v>
                </c:pt>
                <c:pt idx="27674">
                  <c:v>24.735293928941051</c:v>
                </c:pt>
                <c:pt idx="27675">
                  <c:v>31.107457948492002</c:v>
                </c:pt>
                <c:pt idx="27676">
                  <c:v>25.004364181491692</c:v>
                </c:pt>
                <c:pt idx="27677">
                  <c:v>24.833164381496335</c:v>
                </c:pt>
                <c:pt idx="27678">
                  <c:v>33.910732972652092</c:v>
                </c:pt>
                <c:pt idx="27679">
                  <c:v>46.304068904830025</c:v>
                </c:pt>
                <c:pt idx="27680">
                  <c:v>28.89202016370206</c:v>
                </c:pt>
                <c:pt idx="27681">
                  <c:v>19.163587064033493</c:v>
                </c:pt>
                <c:pt idx="27682">
                  <c:v>24.453311804548548</c:v>
                </c:pt>
                <c:pt idx="27683">
                  <c:v>26.0354892332928</c:v>
                </c:pt>
                <c:pt idx="27684">
                  <c:v>25.328130486765566</c:v>
                </c:pt>
                <c:pt idx="27685">
                  <c:v>45.439458482601836</c:v>
                </c:pt>
                <c:pt idx="27686">
                  <c:v>40.72868707316195</c:v>
                </c:pt>
                <c:pt idx="27687">
                  <c:v>46.018440889706696</c:v>
                </c:pt>
                <c:pt idx="27688">
                  <c:v>29.487688499622649</c:v>
                </c:pt>
                <c:pt idx="27689">
                  <c:v>24.803083198771489</c:v>
                </c:pt>
                <c:pt idx="27690">
                  <c:v>32.461776897859394</c:v>
                </c:pt>
                <c:pt idx="27691">
                  <c:v>48.001579490257583</c:v>
                </c:pt>
                <c:pt idx="27692">
                  <c:v>46.794897336484951</c:v>
                </c:pt>
                <c:pt idx="27693">
                  <c:v>16.651476387858061</c:v>
                </c:pt>
                <c:pt idx="27694">
                  <c:v>22.997968312851832</c:v>
                </c:pt>
                <c:pt idx="27695">
                  <c:v>21.655359512043553</c:v>
                </c:pt>
                <c:pt idx="27696">
                  <c:v>26.262180892773944</c:v>
                </c:pt>
                <c:pt idx="27697">
                  <c:v>19.600066860712936</c:v>
                </c:pt>
                <c:pt idx="27698">
                  <c:v>23.642728821279871</c:v>
                </c:pt>
                <c:pt idx="27699">
                  <c:v>33.42375820577476</c:v>
                </c:pt>
                <c:pt idx="27700">
                  <c:v>40.557727640525457</c:v>
                </c:pt>
                <c:pt idx="27701">
                  <c:v>27.329945876247315</c:v>
                </c:pt>
                <c:pt idx="27702">
                  <c:v>43.314124991034788</c:v>
                </c:pt>
                <c:pt idx="27703">
                  <c:v>26.243852835805701</c:v>
                </c:pt>
                <c:pt idx="27704">
                  <c:v>53.808819713831923</c:v>
                </c:pt>
                <c:pt idx="27705">
                  <c:v>21.778473243152877</c:v>
                </c:pt>
                <c:pt idx="27706">
                  <c:v>28.968253518175057</c:v>
                </c:pt>
                <c:pt idx="27707">
                  <c:v>51.88239058636821</c:v>
                </c:pt>
                <c:pt idx="27708">
                  <c:v>17.470190236406907</c:v>
                </c:pt>
                <c:pt idx="27709">
                  <c:v>23.443928785393226</c:v>
                </c:pt>
                <c:pt idx="27710">
                  <c:v>26.691482940122505</c:v>
                </c:pt>
                <c:pt idx="27711">
                  <c:v>20.578983253495352</c:v>
                </c:pt>
                <c:pt idx="27712">
                  <c:v>25.680454676940165</c:v>
                </c:pt>
                <c:pt idx="27713">
                  <c:v>21.648600525936857</c:v>
                </c:pt>
                <c:pt idx="27714">
                  <c:v>30.48432688496996</c:v>
                </c:pt>
                <c:pt idx="27715">
                  <c:v>20.774453521351962</c:v>
                </c:pt>
                <c:pt idx="27716">
                  <c:v>22.563581446477368</c:v>
                </c:pt>
                <c:pt idx="27717">
                  <c:v>40.533236659124853</c:v>
                </c:pt>
                <c:pt idx="27718">
                  <c:v>53.901166033987892</c:v>
                </c:pt>
                <c:pt idx="27719">
                  <c:v>23.806935836365014</c:v>
                </c:pt>
                <c:pt idx="27720">
                  <c:v>25.860860625929654</c:v>
                </c:pt>
                <c:pt idx="27721">
                  <c:v>19.579643307686936</c:v>
                </c:pt>
                <c:pt idx="27722">
                  <c:v>27.395761670551519</c:v>
                </c:pt>
                <c:pt idx="27723">
                  <c:v>23.596700073382362</c:v>
                </c:pt>
                <c:pt idx="27724">
                  <c:v>27.461293713439908</c:v>
                </c:pt>
                <c:pt idx="27725">
                  <c:v>27.775024431096135</c:v>
                </c:pt>
                <c:pt idx="27726">
                  <c:v>15.412999078483924</c:v>
                </c:pt>
                <c:pt idx="27727">
                  <c:v>22.626961478197902</c:v>
                </c:pt>
                <c:pt idx="27728">
                  <c:v>25.849215612961864</c:v>
                </c:pt>
                <c:pt idx="27729">
                  <c:v>26.542224162326992</c:v>
                </c:pt>
                <c:pt idx="27730">
                  <c:v>30.737728297642946</c:v>
                </c:pt>
                <c:pt idx="27731">
                  <c:v>34.384873700091681</c:v>
                </c:pt>
                <c:pt idx="27732">
                  <c:v>29.182254374584311</c:v>
                </c:pt>
                <c:pt idx="27733">
                  <c:v>17.75491919509345</c:v>
                </c:pt>
                <c:pt idx="27734">
                  <c:v>15.668385740743577</c:v>
                </c:pt>
                <c:pt idx="27735">
                  <c:v>25.746810485164772</c:v>
                </c:pt>
                <c:pt idx="27736">
                  <c:v>28.445243129160374</c:v>
                </c:pt>
                <c:pt idx="27737">
                  <c:v>45.174890594051703</c:v>
                </c:pt>
                <c:pt idx="27738">
                  <c:v>40.2927959059095</c:v>
                </c:pt>
                <c:pt idx="27739">
                  <c:v>39.775012277035344</c:v>
                </c:pt>
                <c:pt idx="27740">
                  <c:v>21.851568483999955</c:v>
                </c:pt>
                <c:pt idx="27741">
                  <c:v>47.966766262250793</c:v>
                </c:pt>
                <c:pt idx="27742">
                  <c:v>23.157988401484804</c:v>
                </c:pt>
                <c:pt idx="27743">
                  <c:v>46.681921813150375</c:v>
                </c:pt>
                <c:pt idx="27744">
                  <c:v>37.686834707012096</c:v>
                </c:pt>
                <c:pt idx="27745">
                  <c:v>21.488890170874438</c:v>
                </c:pt>
                <c:pt idx="27746">
                  <c:v>34.449463657949515</c:v>
                </c:pt>
                <c:pt idx="27747">
                  <c:v>26.728277974090439</c:v>
                </c:pt>
                <c:pt idx="27748">
                  <c:v>28.363891077085533</c:v>
                </c:pt>
                <c:pt idx="27749">
                  <c:v>21.771444643917725</c:v>
                </c:pt>
                <c:pt idx="27750">
                  <c:v>42.326804825716486</c:v>
                </c:pt>
                <c:pt idx="27751">
                  <c:v>28.168918758470774</c:v>
                </c:pt>
                <c:pt idx="27752">
                  <c:v>29.51773771328563</c:v>
                </c:pt>
                <c:pt idx="27753">
                  <c:v>23.872712518800626</c:v>
                </c:pt>
                <c:pt idx="27754">
                  <c:v>33.317475776106825</c:v>
                </c:pt>
                <c:pt idx="27755">
                  <c:v>33.326737972228159</c:v>
                </c:pt>
                <c:pt idx="27756">
                  <c:v>29.010014575781021</c:v>
                </c:pt>
                <c:pt idx="27757">
                  <c:v>27.873329763140969</c:v>
                </c:pt>
                <c:pt idx="27758">
                  <c:v>25.537513939727116</c:v>
                </c:pt>
                <c:pt idx="27759">
                  <c:v>23.310467574830916</c:v>
                </c:pt>
                <c:pt idx="27760">
                  <c:v>25.645645375363209</c:v>
                </c:pt>
                <c:pt idx="27761">
                  <c:v>24.427686318414683</c:v>
                </c:pt>
                <c:pt idx="27762">
                  <c:v>15.182857360650576</c:v>
                </c:pt>
                <c:pt idx="27763">
                  <c:v>23.477699226181983</c:v>
                </c:pt>
                <c:pt idx="27764">
                  <c:v>18.898016176966529</c:v>
                </c:pt>
                <c:pt idx="27765">
                  <c:v>19.809623528980524</c:v>
                </c:pt>
                <c:pt idx="27766">
                  <c:v>26.994321442654716</c:v>
                </c:pt>
                <c:pt idx="27767">
                  <c:v>34.861079074129286</c:v>
                </c:pt>
                <c:pt idx="27768">
                  <c:v>28.301388780346777</c:v>
                </c:pt>
                <c:pt idx="27769">
                  <c:v>24.603498266040461</c:v>
                </c:pt>
                <c:pt idx="27770">
                  <c:v>38.929183937216862</c:v>
                </c:pt>
                <c:pt idx="27771">
                  <c:v>40.046366215277374</c:v>
                </c:pt>
                <c:pt idx="27772">
                  <c:v>20.802823878211683</c:v>
                </c:pt>
                <c:pt idx="27773">
                  <c:v>31.339004671649356</c:v>
                </c:pt>
                <c:pt idx="27774">
                  <c:v>29.569914175969377</c:v>
                </c:pt>
                <c:pt idx="27775">
                  <c:v>25.736860338636397</c:v>
                </c:pt>
                <c:pt idx="27776">
                  <c:v>26.832886825246874</c:v>
                </c:pt>
                <c:pt idx="27777">
                  <c:v>38.376279617831294</c:v>
                </c:pt>
                <c:pt idx="27778">
                  <c:v>28.458090208960265</c:v>
                </c:pt>
                <c:pt idx="27779">
                  <c:v>27.197722322651565</c:v>
                </c:pt>
                <c:pt idx="27780">
                  <c:v>28.436639969314818</c:v>
                </c:pt>
                <c:pt idx="27781">
                  <c:v>42.439591146046368</c:v>
                </c:pt>
                <c:pt idx="27782">
                  <c:v>16.772314383150086</c:v>
                </c:pt>
                <c:pt idx="27783">
                  <c:v>46.440863418795644</c:v>
                </c:pt>
                <c:pt idx="27784">
                  <c:v>27.24553164665808</c:v>
                </c:pt>
                <c:pt idx="27785">
                  <c:v>32.500261777790527</c:v>
                </c:pt>
                <c:pt idx="27786">
                  <c:v>25.60309714081562</c:v>
                </c:pt>
                <c:pt idx="27787">
                  <c:v>39.295631230868111</c:v>
                </c:pt>
                <c:pt idx="27788">
                  <c:v>39.893896762839972</c:v>
                </c:pt>
                <c:pt idx="27789">
                  <c:v>45.240590775008179</c:v>
                </c:pt>
                <c:pt idx="27790">
                  <c:v>50.790014527578762</c:v>
                </c:pt>
                <c:pt idx="27791">
                  <c:v>31.594775943740402</c:v>
                </c:pt>
                <c:pt idx="27792">
                  <c:v>56.690387903826711</c:v>
                </c:pt>
                <c:pt idx="27793">
                  <c:v>29.771854257670118</c:v>
                </c:pt>
                <c:pt idx="27794">
                  <c:v>21.612027299732397</c:v>
                </c:pt>
                <c:pt idx="27795">
                  <c:v>43.950113521754368</c:v>
                </c:pt>
                <c:pt idx="27796">
                  <c:v>22.752113839821178</c:v>
                </c:pt>
                <c:pt idx="27797">
                  <c:v>29.789894515272646</c:v>
                </c:pt>
                <c:pt idx="27798">
                  <c:v>64.720673060178754</c:v>
                </c:pt>
                <c:pt idx="27799">
                  <c:v>42.46467724458239</c:v>
                </c:pt>
                <c:pt idx="27800">
                  <c:v>41.077211558770045</c:v>
                </c:pt>
                <c:pt idx="27801">
                  <c:v>39.695794417565331</c:v>
                </c:pt>
                <c:pt idx="27802">
                  <c:v>25.299117323550956</c:v>
                </c:pt>
                <c:pt idx="27803">
                  <c:v>31.003742633725391</c:v>
                </c:pt>
                <c:pt idx="27804">
                  <c:v>51.916994355928239</c:v>
                </c:pt>
                <c:pt idx="27805">
                  <c:v>29.882936145078506</c:v>
                </c:pt>
                <c:pt idx="27806">
                  <c:v>36.610270761433583</c:v>
                </c:pt>
                <c:pt idx="27807">
                  <c:v>30.305724390411505</c:v>
                </c:pt>
                <c:pt idx="27808">
                  <c:v>24.48593385966397</c:v>
                </c:pt>
                <c:pt idx="27809">
                  <c:v>21.48197879432692</c:v>
                </c:pt>
                <c:pt idx="27810">
                  <c:v>56.449510047630532</c:v>
                </c:pt>
                <c:pt idx="27811">
                  <c:v>26.981726722132304</c:v>
                </c:pt>
                <c:pt idx="27812">
                  <c:v>45.109221417957258</c:v>
                </c:pt>
                <c:pt idx="27813">
                  <c:v>32.354048152796516</c:v>
                </c:pt>
                <c:pt idx="27814">
                  <c:v>22.677302715785761</c:v>
                </c:pt>
                <c:pt idx="27815">
                  <c:v>21.204447586953457</c:v>
                </c:pt>
                <c:pt idx="27816">
                  <c:v>27.649682782574288</c:v>
                </c:pt>
                <c:pt idx="27817">
                  <c:v>21.706941513319492</c:v>
                </c:pt>
                <c:pt idx="27818">
                  <c:v>30.060616188607511</c:v>
                </c:pt>
                <c:pt idx="27819">
                  <c:v>29.233708451756968</c:v>
                </c:pt>
                <c:pt idx="27820">
                  <c:v>33.972301503289536</c:v>
                </c:pt>
                <c:pt idx="27821">
                  <c:v>42.970104106365014</c:v>
                </c:pt>
                <c:pt idx="27822">
                  <c:v>35.877296844334097</c:v>
                </c:pt>
                <c:pt idx="27823">
                  <c:v>21.563826276205109</c:v>
                </c:pt>
                <c:pt idx="27824">
                  <c:v>25.274050403497387</c:v>
                </c:pt>
                <c:pt idx="27825">
                  <c:v>26.869414192639628</c:v>
                </c:pt>
                <c:pt idx="27826">
                  <c:v>33.412318934223585</c:v>
                </c:pt>
                <c:pt idx="27827">
                  <c:v>27.301344440358491</c:v>
                </c:pt>
                <c:pt idx="27828">
                  <c:v>26.569146496199515</c:v>
                </c:pt>
                <c:pt idx="27829">
                  <c:v>28.898518477948933</c:v>
                </c:pt>
                <c:pt idx="27830">
                  <c:v>38.723545852929405</c:v>
                </c:pt>
                <c:pt idx="27831">
                  <c:v>33.444468120045315</c:v>
                </c:pt>
                <c:pt idx="27832">
                  <c:v>48.031892424269074</c:v>
                </c:pt>
                <c:pt idx="27833">
                  <c:v>33.651653339520323</c:v>
                </c:pt>
                <c:pt idx="27834">
                  <c:v>34.629129771788477</c:v>
                </c:pt>
                <c:pt idx="27835">
                  <c:v>30.275420019568198</c:v>
                </c:pt>
                <c:pt idx="27836">
                  <c:v>34.972635952248403</c:v>
                </c:pt>
                <c:pt idx="27837">
                  <c:v>46.016657703059778</c:v>
                </c:pt>
                <c:pt idx="27838">
                  <c:v>20.01895481487815</c:v>
                </c:pt>
                <c:pt idx="27839">
                  <c:v>18.301436725545873</c:v>
                </c:pt>
                <c:pt idx="27840">
                  <c:v>18.050301062192847</c:v>
                </c:pt>
                <c:pt idx="27841">
                  <c:v>21.871149782031232</c:v>
                </c:pt>
                <c:pt idx="27842">
                  <c:v>41.74144223556852</c:v>
                </c:pt>
                <c:pt idx="27843">
                  <c:v>22.736430945127033</c:v>
                </c:pt>
                <c:pt idx="27844">
                  <c:v>40.566421773812117</c:v>
                </c:pt>
                <c:pt idx="27845">
                  <c:v>25.878059664519281</c:v>
                </c:pt>
                <c:pt idx="27846">
                  <c:v>50.177850513417063</c:v>
                </c:pt>
                <c:pt idx="27847">
                  <c:v>24.292461024442414</c:v>
                </c:pt>
                <c:pt idx="27848">
                  <c:v>27.91967649102639</c:v>
                </c:pt>
                <c:pt idx="27849">
                  <c:v>21.40441056905679</c:v>
                </c:pt>
                <c:pt idx="27850">
                  <c:v>23.990204820256057</c:v>
                </c:pt>
                <c:pt idx="27851">
                  <c:v>23.123065231385098</c:v>
                </c:pt>
                <c:pt idx="27852">
                  <c:v>23.340941713306616</c:v>
                </c:pt>
                <c:pt idx="27853">
                  <c:v>37.100960907171981</c:v>
                </c:pt>
                <c:pt idx="27854">
                  <c:v>55.328654216133906</c:v>
                </c:pt>
                <c:pt idx="27855">
                  <c:v>26.225974571279362</c:v>
                </c:pt>
                <c:pt idx="27856">
                  <c:v>51.142655475925849</c:v>
                </c:pt>
                <c:pt idx="27857">
                  <c:v>49.578795798237486</c:v>
                </c:pt>
                <c:pt idx="27858">
                  <c:v>20.405011367430269</c:v>
                </c:pt>
                <c:pt idx="27859">
                  <c:v>36.608081366952632</c:v>
                </c:pt>
                <c:pt idx="27860">
                  <c:v>26.264608237912896</c:v>
                </c:pt>
                <c:pt idx="27861">
                  <c:v>49.631193648871005</c:v>
                </c:pt>
                <c:pt idx="27862">
                  <c:v>22.006580111280861</c:v>
                </c:pt>
                <c:pt idx="27863">
                  <c:v>23.399396017984486</c:v>
                </c:pt>
                <c:pt idx="27864">
                  <c:v>28.022131313938313</c:v>
                </c:pt>
                <c:pt idx="27865">
                  <c:v>50.029663924622817</c:v>
                </c:pt>
                <c:pt idx="27866">
                  <c:v>34.281342065586514</c:v>
                </c:pt>
                <c:pt idx="27867">
                  <c:v>31.388084438618439</c:v>
                </c:pt>
                <c:pt idx="27868">
                  <c:v>35.072273855218945</c:v>
                </c:pt>
                <c:pt idx="27869">
                  <c:v>23.587149391343566</c:v>
                </c:pt>
                <c:pt idx="27870">
                  <c:v>15.573933161637644</c:v>
                </c:pt>
                <c:pt idx="27871">
                  <c:v>25.003855406661536</c:v>
                </c:pt>
                <c:pt idx="27872">
                  <c:v>27.742592953306158</c:v>
                </c:pt>
                <c:pt idx="27873">
                  <c:v>20.615637829960193</c:v>
                </c:pt>
                <c:pt idx="27874">
                  <c:v>29.431167824235665</c:v>
                </c:pt>
                <c:pt idx="27875">
                  <c:v>35.781955313085852</c:v>
                </c:pt>
                <c:pt idx="27876">
                  <c:v>25.141595777482323</c:v>
                </c:pt>
                <c:pt idx="27877">
                  <c:v>23.20345071006637</c:v>
                </c:pt>
                <c:pt idx="27878">
                  <c:v>20.081528851417634</c:v>
                </c:pt>
                <c:pt idx="27879">
                  <c:v>26.458784103613699</c:v>
                </c:pt>
                <c:pt idx="27880">
                  <c:v>26.190231703398219</c:v>
                </c:pt>
                <c:pt idx="27881">
                  <c:v>47.038128646218389</c:v>
                </c:pt>
                <c:pt idx="27882">
                  <c:v>24.801447452626942</c:v>
                </c:pt>
                <c:pt idx="27883">
                  <c:v>19.362808106923236</c:v>
                </c:pt>
                <c:pt idx="27884">
                  <c:v>23.057306864432647</c:v>
                </c:pt>
                <c:pt idx="27885">
                  <c:v>29.706134276292037</c:v>
                </c:pt>
                <c:pt idx="27886">
                  <c:v>21.801896745885099</c:v>
                </c:pt>
                <c:pt idx="27887">
                  <c:v>50.0836605286691</c:v>
                </c:pt>
                <c:pt idx="27888">
                  <c:v>29.026650596284561</c:v>
                </c:pt>
                <c:pt idx="27889">
                  <c:v>23.463079365326394</c:v>
                </c:pt>
                <c:pt idx="27890">
                  <c:v>50.008949898841593</c:v>
                </c:pt>
                <c:pt idx="27891">
                  <c:v>28.184445106399288</c:v>
                </c:pt>
                <c:pt idx="27892">
                  <c:v>42.19675965908619</c:v>
                </c:pt>
                <c:pt idx="27893">
                  <c:v>33.012370460155992</c:v>
                </c:pt>
                <c:pt idx="27894">
                  <c:v>23.716230996589232</c:v>
                </c:pt>
                <c:pt idx="27895">
                  <c:v>26.614497275083618</c:v>
                </c:pt>
                <c:pt idx="27896">
                  <c:v>25.596478949026395</c:v>
                </c:pt>
                <c:pt idx="27897">
                  <c:v>27.342200960366668</c:v>
                </c:pt>
                <c:pt idx="27898">
                  <c:v>21.43345373937197</c:v>
                </c:pt>
                <c:pt idx="27899">
                  <c:v>20.937107353485988</c:v>
                </c:pt>
                <c:pt idx="27900">
                  <c:v>34.701421616661527</c:v>
                </c:pt>
                <c:pt idx="27901">
                  <c:v>36.109387682110416</c:v>
                </c:pt>
                <c:pt idx="27902">
                  <c:v>31.93737427411412</c:v>
                </c:pt>
                <c:pt idx="27903">
                  <c:v>25.380308627522243</c:v>
                </c:pt>
                <c:pt idx="27904">
                  <c:v>32.394276471183957</c:v>
                </c:pt>
                <c:pt idx="27905">
                  <c:v>22.587794905377329</c:v>
                </c:pt>
                <c:pt idx="27906">
                  <c:v>22.041110621995642</c:v>
                </c:pt>
                <c:pt idx="27907">
                  <c:v>45.952550263325847</c:v>
                </c:pt>
                <c:pt idx="27908">
                  <c:v>48.631856389424605</c:v>
                </c:pt>
                <c:pt idx="27909">
                  <c:v>27.332630623407763</c:v>
                </c:pt>
                <c:pt idx="27910">
                  <c:v>43.77782671937883</c:v>
                </c:pt>
                <c:pt idx="27911">
                  <c:v>50.664097532931578</c:v>
                </c:pt>
                <c:pt idx="27912">
                  <c:v>41.382192795475973</c:v>
                </c:pt>
                <c:pt idx="27913">
                  <c:v>20.298657691388954</c:v>
                </c:pt>
                <c:pt idx="27914">
                  <c:v>29.37361694668467</c:v>
                </c:pt>
                <c:pt idx="27915">
                  <c:v>29.937493641165251</c:v>
                </c:pt>
                <c:pt idx="27916">
                  <c:v>55.166632465670197</c:v>
                </c:pt>
                <c:pt idx="27917">
                  <c:v>24.829874692404832</c:v>
                </c:pt>
                <c:pt idx="27918">
                  <c:v>23.648315836721704</c:v>
                </c:pt>
                <c:pt idx="27919">
                  <c:v>32.623752140783878</c:v>
                </c:pt>
                <c:pt idx="27920">
                  <c:v>22.401458556825919</c:v>
                </c:pt>
                <c:pt idx="27921">
                  <c:v>44.464417134567768</c:v>
                </c:pt>
                <c:pt idx="27922">
                  <c:v>38.199814994254417</c:v>
                </c:pt>
                <c:pt idx="27923">
                  <c:v>22.975847785081783</c:v>
                </c:pt>
                <c:pt idx="27924">
                  <c:v>40.596407522483588</c:v>
                </c:pt>
                <c:pt idx="27925">
                  <c:v>23.631698135391435</c:v>
                </c:pt>
                <c:pt idx="27926">
                  <c:v>43.118531972068332</c:v>
                </c:pt>
                <c:pt idx="27927">
                  <c:v>46.124724526798154</c:v>
                </c:pt>
                <c:pt idx="27928">
                  <c:v>31.245819006255164</c:v>
                </c:pt>
                <c:pt idx="27929">
                  <c:v>17.841895083751769</c:v>
                </c:pt>
                <c:pt idx="27930">
                  <c:v>48.05271578356929</c:v>
                </c:pt>
                <c:pt idx="27931">
                  <c:v>31.13709853440524</c:v>
                </c:pt>
                <c:pt idx="27932">
                  <c:v>29.214703894257894</c:v>
                </c:pt>
                <c:pt idx="27933">
                  <c:v>57.266561577343658</c:v>
                </c:pt>
                <c:pt idx="27934">
                  <c:v>20.320331144778528</c:v>
                </c:pt>
                <c:pt idx="27935">
                  <c:v>42.747426180507325</c:v>
                </c:pt>
                <c:pt idx="27936">
                  <c:v>26.940829617224693</c:v>
                </c:pt>
                <c:pt idx="27937">
                  <c:v>23.56717073703112</c:v>
                </c:pt>
                <c:pt idx="27938">
                  <c:v>28.610699409136643</c:v>
                </c:pt>
                <c:pt idx="27939">
                  <c:v>34.373077956821206</c:v>
                </c:pt>
                <c:pt idx="27940">
                  <c:v>40.663716783999405</c:v>
                </c:pt>
                <c:pt idx="27941">
                  <c:v>34.940303319357881</c:v>
                </c:pt>
                <c:pt idx="27942">
                  <c:v>19.783268450132752</c:v>
                </c:pt>
                <c:pt idx="27943">
                  <c:v>23.131818041289474</c:v>
                </c:pt>
                <c:pt idx="27944">
                  <c:v>35.467308842633891</c:v>
                </c:pt>
                <c:pt idx="27945">
                  <c:v>40.516059836697266</c:v>
                </c:pt>
                <c:pt idx="27946">
                  <c:v>48.608892852785935</c:v>
                </c:pt>
                <c:pt idx="27947">
                  <c:v>49.64777947770888</c:v>
                </c:pt>
                <c:pt idx="27948">
                  <c:v>30.966854993814046</c:v>
                </c:pt>
                <c:pt idx="27949">
                  <c:v>25.331758908966222</c:v>
                </c:pt>
                <c:pt idx="27950">
                  <c:v>24.116275782798297</c:v>
                </c:pt>
                <c:pt idx="27951">
                  <c:v>24.46228929475383</c:v>
                </c:pt>
                <c:pt idx="27952">
                  <c:v>51.846772112029498</c:v>
                </c:pt>
                <c:pt idx="27953">
                  <c:v>21.209008694241632</c:v>
                </c:pt>
                <c:pt idx="27954">
                  <c:v>48.849194249575497</c:v>
                </c:pt>
                <c:pt idx="27955">
                  <c:v>32.848353983149096</c:v>
                </c:pt>
                <c:pt idx="27956">
                  <c:v>30.823226352063298</c:v>
                </c:pt>
                <c:pt idx="27957">
                  <c:v>27.325567106789364</c:v>
                </c:pt>
                <c:pt idx="27958">
                  <c:v>35.757334694615238</c:v>
                </c:pt>
                <c:pt idx="27959">
                  <c:v>39.328671394192696</c:v>
                </c:pt>
                <c:pt idx="27960">
                  <c:v>44.700076976082883</c:v>
                </c:pt>
                <c:pt idx="27961">
                  <c:v>38.585604574855005</c:v>
                </c:pt>
                <c:pt idx="27962">
                  <c:v>23.038655490166171</c:v>
                </c:pt>
                <c:pt idx="27963">
                  <c:v>36.296099334973555</c:v>
                </c:pt>
                <c:pt idx="27964">
                  <c:v>18.143226322370317</c:v>
                </c:pt>
                <c:pt idx="27965">
                  <c:v>26.391052501159926</c:v>
                </c:pt>
                <c:pt idx="27966">
                  <c:v>26.239934377803774</c:v>
                </c:pt>
                <c:pt idx="27967">
                  <c:v>23.392138118537702</c:v>
                </c:pt>
                <c:pt idx="27968">
                  <c:v>47.513367145420581</c:v>
                </c:pt>
                <c:pt idx="27969">
                  <c:v>24.441001826673489</c:v>
                </c:pt>
                <c:pt idx="27970">
                  <c:v>26.285018723260624</c:v>
                </c:pt>
                <c:pt idx="27971">
                  <c:v>28.592754770130949</c:v>
                </c:pt>
                <c:pt idx="27972">
                  <c:v>26.58128419704628</c:v>
                </c:pt>
                <c:pt idx="27973">
                  <c:v>19.640257590009831</c:v>
                </c:pt>
                <c:pt idx="27974">
                  <c:v>31.203985488779853</c:v>
                </c:pt>
                <c:pt idx="27975">
                  <c:v>25.671511601795434</c:v>
                </c:pt>
                <c:pt idx="27976">
                  <c:v>21.709663109150782</c:v>
                </c:pt>
                <c:pt idx="27977">
                  <c:v>49.432067065156836</c:v>
                </c:pt>
                <c:pt idx="27978">
                  <c:v>27.875623888628908</c:v>
                </c:pt>
                <c:pt idx="27979">
                  <c:v>27.251174977026665</c:v>
                </c:pt>
                <c:pt idx="27980">
                  <c:v>26.104693896949069</c:v>
                </c:pt>
                <c:pt idx="27981">
                  <c:v>34.279745211575793</c:v>
                </c:pt>
                <c:pt idx="27982">
                  <c:v>19.975290259305986</c:v>
                </c:pt>
                <c:pt idx="27983">
                  <c:v>41.429141505968822</c:v>
                </c:pt>
                <c:pt idx="27984">
                  <c:v>23.378873059497561</c:v>
                </c:pt>
                <c:pt idx="27985">
                  <c:v>24.040515240136159</c:v>
                </c:pt>
                <c:pt idx="27986">
                  <c:v>26.689405554449309</c:v>
                </c:pt>
                <c:pt idx="27987">
                  <c:v>23.832264607902317</c:v>
                </c:pt>
                <c:pt idx="27988">
                  <c:v>22.152665646462541</c:v>
                </c:pt>
                <c:pt idx="27989">
                  <c:v>21.763604205702649</c:v>
                </c:pt>
                <c:pt idx="27990">
                  <c:v>25.74048822048573</c:v>
                </c:pt>
                <c:pt idx="27991">
                  <c:v>34.833064286742186</c:v>
                </c:pt>
                <c:pt idx="27992">
                  <c:v>24.213353542372307</c:v>
                </c:pt>
                <c:pt idx="27993">
                  <c:v>46.483119261662566</c:v>
                </c:pt>
                <c:pt idx="27994">
                  <c:v>24.893022250670068</c:v>
                </c:pt>
                <c:pt idx="27995">
                  <c:v>46.377488487285746</c:v>
                </c:pt>
                <c:pt idx="27996">
                  <c:v>25.295926128435838</c:v>
                </c:pt>
                <c:pt idx="27997">
                  <c:v>20.643854757236507</c:v>
                </c:pt>
                <c:pt idx="27998">
                  <c:v>37.17355927741783</c:v>
                </c:pt>
                <c:pt idx="27999">
                  <c:v>31.391711001017928</c:v>
                </c:pt>
                <c:pt idx="28000">
                  <c:v>44.945545688763858</c:v>
                </c:pt>
                <c:pt idx="28001">
                  <c:v>28.916289652297259</c:v>
                </c:pt>
                <c:pt idx="28002">
                  <c:v>57.482723493838044</c:v>
                </c:pt>
                <c:pt idx="28003">
                  <c:v>57.548782630895644</c:v>
                </c:pt>
                <c:pt idx="28004">
                  <c:v>32.239102837438935</c:v>
                </c:pt>
                <c:pt idx="28005">
                  <c:v>21.985748199689084</c:v>
                </c:pt>
                <c:pt idx="28006">
                  <c:v>23.683037826563449</c:v>
                </c:pt>
                <c:pt idx="28007">
                  <c:v>31.216425966811983</c:v>
                </c:pt>
                <c:pt idx="28008">
                  <c:v>22.914452111424438</c:v>
                </c:pt>
                <c:pt idx="28009">
                  <c:v>29.455258075140335</c:v>
                </c:pt>
                <c:pt idx="28010">
                  <c:v>21.609424705467674</c:v>
                </c:pt>
                <c:pt idx="28011">
                  <c:v>27.23115680995237</c:v>
                </c:pt>
                <c:pt idx="28012">
                  <c:v>21.45571376348434</c:v>
                </c:pt>
                <c:pt idx="28013">
                  <c:v>27.258791695345337</c:v>
                </c:pt>
                <c:pt idx="28014">
                  <c:v>27.454901218467281</c:v>
                </c:pt>
                <c:pt idx="28015">
                  <c:v>31.891349957244056</c:v>
                </c:pt>
                <c:pt idx="28016">
                  <c:v>29.941844080699539</c:v>
                </c:pt>
                <c:pt idx="28017">
                  <c:v>36.146456321507095</c:v>
                </c:pt>
                <c:pt idx="28018">
                  <c:v>30.266373923653695</c:v>
                </c:pt>
                <c:pt idx="28019">
                  <c:v>27.464035702492119</c:v>
                </c:pt>
                <c:pt idx="28020">
                  <c:v>31.235719236221559</c:v>
                </c:pt>
                <c:pt idx="28021">
                  <c:v>40.600115247037607</c:v>
                </c:pt>
                <c:pt idx="28022">
                  <c:v>34.671050990555273</c:v>
                </c:pt>
                <c:pt idx="28023">
                  <c:v>24.614063715758125</c:v>
                </c:pt>
                <c:pt idx="28024">
                  <c:v>27.118748127314934</c:v>
                </c:pt>
                <c:pt idx="28025">
                  <c:v>21.450982987135635</c:v>
                </c:pt>
                <c:pt idx="28026">
                  <c:v>24.67198604739869</c:v>
                </c:pt>
                <c:pt idx="28027">
                  <c:v>29.563582929861358</c:v>
                </c:pt>
                <c:pt idx="28028">
                  <c:v>27.755275695399423</c:v>
                </c:pt>
                <c:pt idx="28029">
                  <c:v>39.372392389424618</c:v>
                </c:pt>
                <c:pt idx="28030">
                  <c:v>33.958067184272856</c:v>
                </c:pt>
                <c:pt idx="28031">
                  <c:v>24.763490105526156</c:v>
                </c:pt>
                <c:pt idx="28032">
                  <c:v>23.257258170371035</c:v>
                </c:pt>
                <c:pt idx="28033">
                  <c:v>55.428222782415723</c:v>
                </c:pt>
                <c:pt idx="28034">
                  <c:v>56.918911607887544</c:v>
                </c:pt>
                <c:pt idx="28035">
                  <c:v>22.244827149234101</c:v>
                </c:pt>
                <c:pt idx="28036">
                  <c:v>34.95581462343187</c:v>
                </c:pt>
                <c:pt idx="28037">
                  <c:v>24.485168563987052</c:v>
                </c:pt>
                <c:pt idx="28038">
                  <c:v>27.017974660430056</c:v>
                </c:pt>
                <c:pt idx="28039">
                  <c:v>21.450772250183643</c:v>
                </c:pt>
                <c:pt idx="28040">
                  <c:v>24.991684785652367</c:v>
                </c:pt>
                <c:pt idx="28041">
                  <c:v>25.969539278468343</c:v>
                </c:pt>
                <c:pt idx="28042">
                  <c:v>34.861390634195217</c:v>
                </c:pt>
                <c:pt idx="28043">
                  <c:v>23.01599126989824</c:v>
                </c:pt>
                <c:pt idx="28044">
                  <c:v>32.963298308635899</c:v>
                </c:pt>
                <c:pt idx="28045">
                  <c:v>23.236203579933676</c:v>
                </c:pt>
                <c:pt idx="28046">
                  <c:v>22.68471196729357</c:v>
                </c:pt>
                <c:pt idx="28047">
                  <c:v>54.438132656296872</c:v>
                </c:pt>
                <c:pt idx="28048">
                  <c:v>18.540508884736845</c:v>
                </c:pt>
                <c:pt idx="28049">
                  <c:v>43.00111164391906</c:v>
                </c:pt>
                <c:pt idx="28050">
                  <c:v>24.622757314027481</c:v>
                </c:pt>
                <c:pt idx="28051">
                  <c:v>46.48992185842831</c:v>
                </c:pt>
                <c:pt idx="28052">
                  <c:v>23.803132342643714</c:v>
                </c:pt>
                <c:pt idx="28053">
                  <c:v>38.032499651564052</c:v>
                </c:pt>
                <c:pt idx="28054">
                  <c:v>31.918174802574015</c:v>
                </c:pt>
                <c:pt idx="28055">
                  <c:v>50.443941000458807</c:v>
                </c:pt>
                <c:pt idx="28056">
                  <c:v>30.16130176852738</c:v>
                </c:pt>
                <c:pt idx="28057">
                  <c:v>22.670883647653266</c:v>
                </c:pt>
                <c:pt idx="28058">
                  <c:v>17.62545961127514</c:v>
                </c:pt>
                <c:pt idx="28059">
                  <c:v>27.561337491945103</c:v>
                </c:pt>
                <c:pt idx="28060">
                  <c:v>17.674015955535939</c:v>
                </c:pt>
                <c:pt idx="28061">
                  <c:v>50.971951379126345</c:v>
                </c:pt>
                <c:pt idx="28062">
                  <c:v>53.193841918671332</c:v>
                </c:pt>
                <c:pt idx="28063">
                  <c:v>22.229400053563793</c:v>
                </c:pt>
                <c:pt idx="28064">
                  <c:v>27.942159194223869</c:v>
                </c:pt>
                <c:pt idx="28065">
                  <c:v>22.918416958833287</c:v>
                </c:pt>
                <c:pt idx="28066">
                  <c:v>28.828427036363131</c:v>
                </c:pt>
                <c:pt idx="28067">
                  <c:v>27.535499208389343</c:v>
                </c:pt>
                <c:pt idx="28068">
                  <c:v>21.486502451946897</c:v>
                </c:pt>
                <c:pt idx="28069">
                  <c:v>29.364413377645413</c:v>
                </c:pt>
                <c:pt idx="28070">
                  <c:v>35.790672132298361</c:v>
                </c:pt>
                <c:pt idx="28071">
                  <c:v>23.864365030904459</c:v>
                </c:pt>
                <c:pt idx="28072">
                  <c:v>55.145985706067933</c:v>
                </c:pt>
                <c:pt idx="28073">
                  <c:v>26.887336628316227</c:v>
                </c:pt>
                <c:pt idx="28074">
                  <c:v>21.400898817749024</c:v>
                </c:pt>
                <c:pt idx="28075">
                  <c:v>23.168138501446986</c:v>
                </c:pt>
                <c:pt idx="28076">
                  <c:v>40.556609365642458</c:v>
                </c:pt>
                <c:pt idx="28077">
                  <c:v>26.495918027719625</c:v>
                </c:pt>
                <c:pt idx="28078">
                  <c:v>29.809467595214155</c:v>
                </c:pt>
                <c:pt idx="28079">
                  <c:v>26.09338266346472</c:v>
                </c:pt>
                <c:pt idx="28080">
                  <c:v>35.602749121215965</c:v>
                </c:pt>
                <c:pt idx="28081">
                  <c:v>25.372457063823511</c:v>
                </c:pt>
                <c:pt idx="28082">
                  <c:v>51.566727311704042</c:v>
                </c:pt>
                <c:pt idx="28083">
                  <c:v>18.716129652611954</c:v>
                </c:pt>
                <c:pt idx="28084">
                  <c:v>45.046741159397158</c:v>
                </c:pt>
                <c:pt idx="28085">
                  <c:v>40.986463412366014</c:v>
                </c:pt>
                <c:pt idx="28086">
                  <c:v>31.020313855994811</c:v>
                </c:pt>
                <c:pt idx="28087">
                  <c:v>19.351388556374364</c:v>
                </c:pt>
                <c:pt idx="28088">
                  <c:v>29.778847162946636</c:v>
                </c:pt>
                <c:pt idx="28089">
                  <c:v>44.969641222151282</c:v>
                </c:pt>
                <c:pt idx="28090">
                  <c:v>32.903049953037822</c:v>
                </c:pt>
                <c:pt idx="28091">
                  <c:v>44.570040415292603</c:v>
                </c:pt>
                <c:pt idx="28092">
                  <c:v>33.15608719243253</c:v>
                </c:pt>
                <c:pt idx="28093">
                  <c:v>24.791147143223114</c:v>
                </c:pt>
                <c:pt idx="28094">
                  <c:v>41.24759941046841</c:v>
                </c:pt>
                <c:pt idx="28095">
                  <c:v>25.713881537483932</c:v>
                </c:pt>
                <c:pt idx="28096">
                  <c:v>26.81780684131569</c:v>
                </c:pt>
                <c:pt idx="28097">
                  <c:v>20.460661591380269</c:v>
                </c:pt>
                <c:pt idx="28098">
                  <c:v>41.068339023314792</c:v>
                </c:pt>
                <c:pt idx="28099">
                  <c:v>23.240879711110789</c:v>
                </c:pt>
                <c:pt idx="28100">
                  <c:v>21.538748348049104</c:v>
                </c:pt>
                <c:pt idx="28101">
                  <c:v>42.954351915594863</c:v>
                </c:pt>
                <c:pt idx="28102">
                  <c:v>31.279244561310609</c:v>
                </c:pt>
                <c:pt idx="28103">
                  <c:v>26.347069638060976</c:v>
                </c:pt>
                <c:pt idx="28104">
                  <c:v>27.056678684487391</c:v>
                </c:pt>
                <c:pt idx="28105">
                  <c:v>27.817794482799499</c:v>
                </c:pt>
                <c:pt idx="28106">
                  <c:v>27.336922704411869</c:v>
                </c:pt>
                <c:pt idx="28107">
                  <c:v>57.901526123285322</c:v>
                </c:pt>
                <c:pt idx="28108">
                  <c:v>30.742931090823348</c:v>
                </c:pt>
                <c:pt idx="28109">
                  <c:v>19.223103780601214</c:v>
                </c:pt>
                <c:pt idx="28110">
                  <c:v>21.643560840486391</c:v>
                </c:pt>
                <c:pt idx="28111">
                  <c:v>24.673696579448531</c:v>
                </c:pt>
                <c:pt idx="28112">
                  <c:v>51.040658085272781</c:v>
                </c:pt>
                <c:pt idx="28113">
                  <c:v>43.151930006740322</c:v>
                </c:pt>
                <c:pt idx="28114">
                  <c:v>33.721016345138281</c:v>
                </c:pt>
                <c:pt idx="28115">
                  <c:v>19.235661423092257</c:v>
                </c:pt>
                <c:pt idx="28116">
                  <c:v>20.270899775753872</c:v>
                </c:pt>
                <c:pt idx="28117">
                  <c:v>29.62479643006213</c:v>
                </c:pt>
                <c:pt idx="28118">
                  <c:v>35.96573810861414</c:v>
                </c:pt>
                <c:pt idx="28119">
                  <c:v>33.579511611529725</c:v>
                </c:pt>
                <c:pt idx="28120">
                  <c:v>34.495950069556287</c:v>
                </c:pt>
                <c:pt idx="28121">
                  <c:v>23.437576054773452</c:v>
                </c:pt>
                <c:pt idx="28122">
                  <c:v>28.543994099458466</c:v>
                </c:pt>
                <c:pt idx="28123">
                  <c:v>21.182581990763939</c:v>
                </c:pt>
                <c:pt idx="28124">
                  <c:v>24.227954292073591</c:v>
                </c:pt>
                <c:pt idx="28125">
                  <c:v>21.333952600294513</c:v>
                </c:pt>
                <c:pt idx="28126">
                  <c:v>20.967801645149549</c:v>
                </c:pt>
                <c:pt idx="28127">
                  <c:v>39.441906825059498</c:v>
                </c:pt>
                <c:pt idx="28128">
                  <c:v>23.405109903590485</c:v>
                </c:pt>
                <c:pt idx="28129">
                  <c:v>54.963498436262562</c:v>
                </c:pt>
                <c:pt idx="28130">
                  <c:v>29.770097764577333</c:v>
                </c:pt>
                <c:pt idx="28131">
                  <c:v>46.884806852987467</c:v>
                </c:pt>
                <c:pt idx="28132">
                  <c:v>28.757475330027169</c:v>
                </c:pt>
                <c:pt idx="28133">
                  <c:v>22.120488860476708</c:v>
                </c:pt>
                <c:pt idx="28134">
                  <c:v>27.42903814526413</c:v>
                </c:pt>
                <c:pt idx="28135">
                  <c:v>35.791289525637666</c:v>
                </c:pt>
                <c:pt idx="28136">
                  <c:v>22.521328489466494</c:v>
                </c:pt>
                <c:pt idx="28137">
                  <c:v>23.655855524820527</c:v>
                </c:pt>
                <c:pt idx="28138">
                  <c:v>46.521781785575556</c:v>
                </c:pt>
                <c:pt idx="28139">
                  <c:v>37.153967248438043</c:v>
                </c:pt>
                <c:pt idx="28140">
                  <c:v>27.330836978069726</c:v>
                </c:pt>
                <c:pt idx="28141">
                  <c:v>39.401042367504232</c:v>
                </c:pt>
                <c:pt idx="28142">
                  <c:v>31.076120885853136</c:v>
                </c:pt>
                <c:pt idx="28143">
                  <c:v>53.52410386261721</c:v>
                </c:pt>
                <c:pt idx="28144">
                  <c:v>24.10739932035392</c:v>
                </c:pt>
                <c:pt idx="28145">
                  <c:v>34.941472572841285</c:v>
                </c:pt>
                <c:pt idx="28146">
                  <c:v>24.054274287728585</c:v>
                </c:pt>
                <c:pt idx="28147">
                  <c:v>34.476552799447042</c:v>
                </c:pt>
                <c:pt idx="28148">
                  <c:v>33.447593826573758</c:v>
                </c:pt>
                <c:pt idx="28149">
                  <c:v>47.584994920681915</c:v>
                </c:pt>
                <c:pt idx="28150">
                  <c:v>28.665495949619071</c:v>
                </c:pt>
                <c:pt idx="28151">
                  <c:v>26.240110336689394</c:v>
                </c:pt>
                <c:pt idx="28152">
                  <c:v>22.539321687180273</c:v>
                </c:pt>
                <c:pt idx="28153">
                  <c:v>27.204022531296857</c:v>
                </c:pt>
                <c:pt idx="28154">
                  <c:v>24.376390609786171</c:v>
                </c:pt>
                <c:pt idx="28155">
                  <c:v>33.156914682714849</c:v>
                </c:pt>
                <c:pt idx="28156">
                  <c:v>26.715976576607467</c:v>
                </c:pt>
                <c:pt idx="28157">
                  <c:v>20.48269984140439</c:v>
                </c:pt>
                <c:pt idx="28158">
                  <c:v>22.300691270057733</c:v>
                </c:pt>
                <c:pt idx="28159">
                  <c:v>27.878379739105277</c:v>
                </c:pt>
                <c:pt idx="28160">
                  <c:v>27.998850379245752</c:v>
                </c:pt>
                <c:pt idx="28161">
                  <c:v>21.432776326299475</c:v>
                </c:pt>
                <c:pt idx="28162">
                  <c:v>24.311559738948091</c:v>
                </c:pt>
                <c:pt idx="28163">
                  <c:v>21.707323227073694</c:v>
                </c:pt>
                <c:pt idx="28164">
                  <c:v>36.410375448824297</c:v>
                </c:pt>
                <c:pt idx="28165">
                  <c:v>18.412301033577403</c:v>
                </c:pt>
                <c:pt idx="28166">
                  <c:v>21.165288895368622</c:v>
                </c:pt>
                <c:pt idx="28167">
                  <c:v>54.717046095713677</c:v>
                </c:pt>
                <c:pt idx="28168">
                  <c:v>25.725001868585444</c:v>
                </c:pt>
                <c:pt idx="28169">
                  <c:v>38.578340354053211</c:v>
                </c:pt>
                <c:pt idx="28170">
                  <c:v>36.53153968367522</c:v>
                </c:pt>
                <c:pt idx="28171">
                  <c:v>55.729499408737944</c:v>
                </c:pt>
                <c:pt idx="28172">
                  <c:v>33.879150172348382</c:v>
                </c:pt>
                <c:pt idx="28173">
                  <c:v>29.302684532629218</c:v>
                </c:pt>
                <c:pt idx="28174">
                  <c:v>26.715861535011367</c:v>
                </c:pt>
                <c:pt idx="28175">
                  <c:v>22.557013346084354</c:v>
                </c:pt>
                <c:pt idx="28176">
                  <c:v>22.111902645096738</c:v>
                </c:pt>
                <c:pt idx="28177">
                  <c:v>25.175834124393393</c:v>
                </c:pt>
                <c:pt idx="28178">
                  <c:v>35.056293721956649</c:v>
                </c:pt>
                <c:pt idx="28179">
                  <c:v>15.658130283322919</c:v>
                </c:pt>
                <c:pt idx="28180">
                  <c:v>30.792659159232613</c:v>
                </c:pt>
                <c:pt idx="28181">
                  <c:v>23.267530274646443</c:v>
                </c:pt>
                <c:pt idx="28182">
                  <c:v>21.855303321484765</c:v>
                </c:pt>
                <c:pt idx="28183">
                  <c:v>41.050872446229768</c:v>
                </c:pt>
                <c:pt idx="28184">
                  <c:v>28.2810689603653</c:v>
                </c:pt>
                <c:pt idx="28185">
                  <c:v>25.671870380098564</c:v>
                </c:pt>
                <c:pt idx="28186">
                  <c:v>28.889435268162831</c:v>
                </c:pt>
                <c:pt idx="28187">
                  <c:v>23.002771147908341</c:v>
                </c:pt>
                <c:pt idx="28188">
                  <c:v>29.066264468025473</c:v>
                </c:pt>
                <c:pt idx="28189">
                  <c:v>33.400497792604469</c:v>
                </c:pt>
                <c:pt idx="28190">
                  <c:v>42.667653891340535</c:v>
                </c:pt>
                <c:pt idx="28191">
                  <c:v>30.083187193825506</c:v>
                </c:pt>
                <c:pt idx="28192">
                  <c:v>32.061199919703895</c:v>
                </c:pt>
                <c:pt idx="28193">
                  <c:v>32.794964210134239</c:v>
                </c:pt>
                <c:pt idx="28194">
                  <c:v>25.929980746650998</c:v>
                </c:pt>
                <c:pt idx="28195">
                  <c:v>26.083726133021656</c:v>
                </c:pt>
                <c:pt idx="28196">
                  <c:v>21.609498200582223</c:v>
                </c:pt>
                <c:pt idx="28197">
                  <c:v>26.473524012388321</c:v>
                </c:pt>
                <c:pt idx="28198">
                  <c:v>57.463858504523664</c:v>
                </c:pt>
                <c:pt idx="28199">
                  <c:v>38.117322924740378</c:v>
                </c:pt>
                <c:pt idx="28200">
                  <c:v>20.065563950644524</c:v>
                </c:pt>
                <c:pt idx="28201">
                  <c:v>35.319449892510043</c:v>
                </c:pt>
                <c:pt idx="28202">
                  <c:v>37.763945847399079</c:v>
                </c:pt>
                <c:pt idx="28203">
                  <c:v>52.486681053448073</c:v>
                </c:pt>
                <c:pt idx="28204">
                  <c:v>32.806446921723577</c:v>
                </c:pt>
                <c:pt idx="28205">
                  <c:v>49.811504197341272</c:v>
                </c:pt>
                <c:pt idx="28206">
                  <c:v>22.592507428359255</c:v>
                </c:pt>
                <c:pt idx="28207">
                  <c:v>22.739578849248819</c:v>
                </c:pt>
                <c:pt idx="28208">
                  <c:v>25.451851113320942</c:v>
                </c:pt>
                <c:pt idx="28209">
                  <c:v>29.116691557443374</c:v>
                </c:pt>
                <c:pt idx="28210">
                  <c:v>30.6776519826638</c:v>
                </c:pt>
                <c:pt idx="28211">
                  <c:v>24.063048757536226</c:v>
                </c:pt>
                <c:pt idx="28212">
                  <c:v>30.78619433256139</c:v>
                </c:pt>
                <c:pt idx="28213">
                  <c:v>27.383465587740865</c:v>
                </c:pt>
                <c:pt idx="28214">
                  <c:v>21.755507758868141</c:v>
                </c:pt>
                <c:pt idx="28215">
                  <c:v>19.324395915868998</c:v>
                </c:pt>
                <c:pt idx="28216">
                  <c:v>25.904969084937722</c:v>
                </c:pt>
                <c:pt idx="28217">
                  <c:v>36.377467098827253</c:v>
                </c:pt>
                <c:pt idx="28218">
                  <c:v>23.653027125931629</c:v>
                </c:pt>
                <c:pt idx="28219">
                  <c:v>23.340654936259625</c:v>
                </c:pt>
                <c:pt idx="28220">
                  <c:v>47.759476885314633</c:v>
                </c:pt>
                <c:pt idx="28221">
                  <c:v>36.729782586292082</c:v>
                </c:pt>
                <c:pt idx="28222">
                  <c:v>25.567394950184262</c:v>
                </c:pt>
                <c:pt idx="28223">
                  <c:v>24.130741596539586</c:v>
                </c:pt>
                <c:pt idx="28224">
                  <c:v>22.216719376388419</c:v>
                </c:pt>
                <c:pt idx="28225">
                  <c:v>29.824194678835838</c:v>
                </c:pt>
                <c:pt idx="28226">
                  <c:v>53.441521382097953</c:v>
                </c:pt>
                <c:pt idx="28227">
                  <c:v>29.865891096412508</c:v>
                </c:pt>
                <c:pt idx="28228">
                  <c:v>21.892384202366646</c:v>
                </c:pt>
                <c:pt idx="28229">
                  <c:v>27.665295562551272</c:v>
                </c:pt>
                <c:pt idx="28230">
                  <c:v>19.863247350670548</c:v>
                </c:pt>
                <c:pt idx="28231">
                  <c:v>39.361255951488864</c:v>
                </c:pt>
                <c:pt idx="28232">
                  <c:v>23.839914474512703</c:v>
                </c:pt>
                <c:pt idx="28233">
                  <c:v>32.487256562800013</c:v>
                </c:pt>
                <c:pt idx="28234">
                  <c:v>28.553145900242026</c:v>
                </c:pt>
                <c:pt idx="28235">
                  <c:v>48.761256816637868</c:v>
                </c:pt>
                <c:pt idx="28236">
                  <c:v>34.441833543960001</c:v>
                </c:pt>
                <c:pt idx="28237">
                  <c:v>23.46812401034768</c:v>
                </c:pt>
                <c:pt idx="28238">
                  <c:v>24.084445834616936</c:v>
                </c:pt>
                <c:pt idx="28239">
                  <c:v>22.624878872730022</c:v>
                </c:pt>
                <c:pt idx="28240">
                  <c:v>35.260824058032334</c:v>
                </c:pt>
                <c:pt idx="28241">
                  <c:v>31.704804253840756</c:v>
                </c:pt>
                <c:pt idx="28242">
                  <c:v>50.373959928555756</c:v>
                </c:pt>
                <c:pt idx="28243">
                  <c:v>50.742326483803957</c:v>
                </c:pt>
                <c:pt idx="28244">
                  <c:v>54.030611334348372</c:v>
                </c:pt>
                <c:pt idx="28245">
                  <c:v>41.328909898049616</c:v>
                </c:pt>
                <c:pt idx="28246">
                  <c:v>40.028058969927841</c:v>
                </c:pt>
                <c:pt idx="28247">
                  <c:v>40.872210982860906</c:v>
                </c:pt>
                <c:pt idx="28248">
                  <c:v>23.88159085654954</c:v>
                </c:pt>
                <c:pt idx="28249">
                  <c:v>44.851726318008104</c:v>
                </c:pt>
                <c:pt idx="28250">
                  <c:v>23.718571598999791</c:v>
                </c:pt>
                <c:pt idx="28251">
                  <c:v>28.399171448668856</c:v>
                </c:pt>
                <c:pt idx="28252">
                  <c:v>40.881843189995251</c:v>
                </c:pt>
                <c:pt idx="28253">
                  <c:v>30.750626164740321</c:v>
                </c:pt>
                <c:pt idx="28254">
                  <c:v>26.202993937801477</c:v>
                </c:pt>
                <c:pt idx="28255">
                  <c:v>48.487614606941108</c:v>
                </c:pt>
                <c:pt idx="28256">
                  <c:v>15.313309770563198</c:v>
                </c:pt>
                <c:pt idx="28257">
                  <c:v>26.284403329821409</c:v>
                </c:pt>
                <c:pt idx="28258">
                  <c:v>17.846130941060565</c:v>
                </c:pt>
                <c:pt idx="28259">
                  <c:v>21.435705645208731</c:v>
                </c:pt>
                <c:pt idx="28260">
                  <c:v>35.35890358480183</c:v>
                </c:pt>
                <c:pt idx="28261">
                  <c:v>28.939925144273076</c:v>
                </c:pt>
                <c:pt idx="28262">
                  <c:v>17.979566716521077</c:v>
                </c:pt>
                <c:pt idx="28263">
                  <c:v>29.331814697695879</c:v>
                </c:pt>
                <c:pt idx="28264">
                  <c:v>21.621285786120637</c:v>
                </c:pt>
                <c:pt idx="28265">
                  <c:v>22.463484514905225</c:v>
                </c:pt>
                <c:pt idx="28266">
                  <c:v>55.279978269871599</c:v>
                </c:pt>
                <c:pt idx="28267">
                  <c:v>17.617355249146456</c:v>
                </c:pt>
                <c:pt idx="28268">
                  <c:v>28.093972188798219</c:v>
                </c:pt>
                <c:pt idx="28269">
                  <c:v>26.03809737437512</c:v>
                </c:pt>
                <c:pt idx="28270">
                  <c:v>28.37531066323205</c:v>
                </c:pt>
                <c:pt idx="28271">
                  <c:v>23.264780786255283</c:v>
                </c:pt>
                <c:pt idx="28272">
                  <c:v>26.522561755108708</c:v>
                </c:pt>
                <c:pt idx="28273">
                  <c:v>29.357118814464844</c:v>
                </c:pt>
                <c:pt idx="28274">
                  <c:v>24.350324718514031</c:v>
                </c:pt>
                <c:pt idx="28275">
                  <c:v>25.035453208347953</c:v>
                </c:pt>
                <c:pt idx="28276">
                  <c:v>29.367992386972727</c:v>
                </c:pt>
                <c:pt idx="28277">
                  <c:v>29.787693315734003</c:v>
                </c:pt>
                <c:pt idx="28278">
                  <c:v>30.451596336338245</c:v>
                </c:pt>
                <c:pt idx="28279">
                  <c:v>21.611787737419338</c:v>
                </c:pt>
                <c:pt idx="28280">
                  <c:v>28.051059489759471</c:v>
                </c:pt>
                <c:pt idx="28281">
                  <c:v>25.524156620854221</c:v>
                </c:pt>
                <c:pt idx="28282">
                  <c:v>35.948826286773453</c:v>
                </c:pt>
                <c:pt idx="28283">
                  <c:v>21.721638295262373</c:v>
                </c:pt>
                <c:pt idx="28284">
                  <c:v>36.614078903815141</c:v>
                </c:pt>
                <c:pt idx="28285">
                  <c:v>32.734175987233655</c:v>
                </c:pt>
                <c:pt idx="28286">
                  <c:v>32.481734676377442</c:v>
                </c:pt>
                <c:pt idx="28287">
                  <c:v>48.099713155953012</c:v>
                </c:pt>
                <c:pt idx="28288">
                  <c:v>27.338389494175772</c:v>
                </c:pt>
                <c:pt idx="28289">
                  <c:v>41.660193151367359</c:v>
                </c:pt>
                <c:pt idx="28290">
                  <c:v>34.58684188778215</c:v>
                </c:pt>
                <c:pt idx="28291">
                  <c:v>27.183410172062548</c:v>
                </c:pt>
                <c:pt idx="28292">
                  <c:v>24.068123196366045</c:v>
                </c:pt>
                <c:pt idx="28293">
                  <c:v>49.315363588602317</c:v>
                </c:pt>
                <c:pt idx="28294">
                  <c:v>12.330348234991604</c:v>
                </c:pt>
                <c:pt idx="28295">
                  <c:v>29.631382604439928</c:v>
                </c:pt>
                <c:pt idx="28296">
                  <c:v>30.318780217556537</c:v>
                </c:pt>
                <c:pt idx="28297">
                  <c:v>38.831833989557978</c:v>
                </c:pt>
                <c:pt idx="28298">
                  <c:v>31.756506188355544</c:v>
                </c:pt>
                <c:pt idx="28299">
                  <c:v>21.690870576950346</c:v>
                </c:pt>
                <c:pt idx="28300">
                  <c:v>23.071835809082618</c:v>
                </c:pt>
                <c:pt idx="28301">
                  <c:v>27.629355297051106</c:v>
                </c:pt>
                <c:pt idx="28302">
                  <c:v>46.37095615741768</c:v>
                </c:pt>
                <c:pt idx="28303">
                  <c:v>23.05816617184751</c:v>
                </c:pt>
                <c:pt idx="28304">
                  <c:v>24.341039332517898</c:v>
                </c:pt>
                <c:pt idx="28305">
                  <c:v>27.489338359990658</c:v>
                </c:pt>
                <c:pt idx="28306">
                  <c:v>24.59961508470322</c:v>
                </c:pt>
                <c:pt idx="28307">
                  <c:v>34.080118250482286</c:v>
                </c:pt>
                <c:pt idx="28308">
                  <c:v>28.980519886921268</c:v>
                </c:pt>
                <c:pt idx="28309">
                  <c:v>28.952441378275154</c:v>
                </c:pt>
                <c:pt idx="28310">
                  <c:v>19.246336571755414</c:v>
                </c:pt>
                <c:pt idx="28311">
                  <c:v>49.376192300035441</c:v>
                </c:pt>
                <c:pt idx="28312">
                  <c:v>30.056645985004216</c:v>
                </c:pt>
                <c:pt idx="28313">
                  <c:v>29.399419631923912</c:v>
                </c:pt>
                <c:pt idx="28314">
                  <c:v>27.579957422611827</c:v>
                </c:pt>
                <c:pt idx="28315">
                  <c:v>19.572786948968592</c:v>
                </c:pt>
                <c:pt idx="28316">
                  <c:v>16.767050545866024</c:v>
                </c:pt>
                <c:pt idx="28317">
                  <c:v>28.45483965012868</c:v>
                </c:pt>
                <c:pt idx="28318">
                  <c:v>32.004657430825034</c:v>
                </c:pt>
                <c:pt idx="28319">
                  <c:v>46.007348757466005</c:v>
                </c:pt>
                <c:pt idx="28320">
                  <c:v>24.036243695312674</c:v>
                </c:pt>
                <c:pt idx="28321">
                  <c:v>42.42008846750101</c:v>
                </c:pt>
                <c:pt idx="28322">
                  <c:v>33.212381438316058</c:v>
                </c:pt>
                <c:pt idx="28323">
                  <c:v>57.142527611861581</c:v>
                </c:pt>
                <c:pt idx="28324">
                  <c:v>31.861242172414364</c:v>
                </c:pt>
                <c:pt idx="28325">
                  <c:v>22.932084962266444</c:v>
                </c:pt>
                <c:pt idx="28326">
                  <c:v>29.620731750117223</c:v>
                </c:pt>
                <c:pt idx="28327">
                  <c:v>34.658702786109572</c:v>
                </c:pt>
                <c:pt idx="28328">
                  <c:v>52.611712624526426</c:v>
                </c:pt>
                <c:pt idx="28329">
                  <c:v>29.982065744093376</c:v>
                </c:pt>
                <c:pt idx="28330">
                  <c:v>41.756886804804076</c:v>
                </c:pt>
                <c:pt idx="28331">
                  <c:v>27.012763899158063</c:v>
                </c:pt>
                <c:pt idx="28332">
                  <c:v>27.108400342620111</c:v>
                </c:pt>
                <c:pt idx="28333">
                  <c:v>31.287119716763314</c:v>
                </c:pt>
                <c:pt idx="28334">
                  <c:v>31.028689169070059</c:v>
                </c:pt>
                <c:pt idx="28335">
                  <c:v>22.501297104383475</c:v>
                </c:pt>
                <c:pt idx="28336">
                  <c:v>25.443712424196605</c:v>
                </c:pt>
                <c:pt idx="28337">
                  <c:v>23.414565195950836</c:v>
                </c:pt>
                <c:pt idx="28338">
                  <c:v>24.959999787400719</c:v>
                </c:pt>
                <c:pt idx="28339">
                  <c:v>24.085790871720612</c:v>
                </c:pt>
                <c:pt idx="28340">
                  <c:v>26.520269544784448</c:v>
                </c:pt>
                <c:pt idx="28341">
                  <c:v>19.88400918722072</c:v>
                </c:pt>
                <c:pt idx="28342">
                  <c:v>30.075926934092699</c:v>
                </c:pt>
                <c:pt idx="28343">
                  <c:v>29.000224499362989</c:v>
                </c:pt>
                <c:pt idx="28344">
                  <c:v>20.238617740242937</c:v>
                </c:pt>
                <c:pt idx="28345">
                  <c:v>30.425178760155138</c:v>
                </c:pt>
                <c:pt idx="28346">
                  <c:v>33.775996129891617</c:v>
                </c:pt>
                <c:pt idx="28347">
                  <c:v>44.697554176098407</c:v>
                </c:pt>
                <c:pt idx="28348">
                  <c:v>50.550327171739291</c:v>
                </c:pt>
                <c:pt idx="28349">
                  <c:v>20.625655976651714</c:v>
                </c:pt>
                <c:pt idx="28350">
                  <c:v>21.110630356641021</c:v>
                </c:pt>
                <c:pt idx="28351">
                  <c:v>24.499400792327748</c:v>
                </c:pt>
                <c:pt idx="28352">
                  <c:v>28.240318759213871</c:v>
                </c:pt>
                <c:pt idx="28353">
                  <c:v>26.495219227403044</c:v>
                </c:pt>
                <c:pt idx="28354">
                  <c:v>30.117704556486757</c:v>
                </c:pt>
                <c:pt idx="28355">
                  <c:v>45.762343425085177</c:v>
                </c:pt>
                <c:pt idx="28356">
                  <c:v>38.140200011787144</c:v>
                </c:pt>
                <c:pt idx="28357">
                  <c:v>30.237802257071159</c:v>
                </c:pt>
                <c:pt idx="28358">
                  <c:v>32.431419373947101</c:v>
                </c:pt>
                <c:pt idx="28359">
                  <c:v>29.496017312171158</c:v>
                </c:pt>
                <c:pt idx="28360">
                  <c:v>20.670356294126751</c:v>
                </c:pt>
                <c:pt idx="28361">
                  <c:v>22.214923460502629</c:v>
                </c:pt>
                <c:pt idx="28362">
                  <c:v>46.394610658100909</c:v>
                </c:pt>
                <c:pt idx="28363">
                  <c:v>29.06803550389202</c:v>
                </c:pt>
                <c:pt idx="28364">
                  <c:v>27.472972035252301</c:v>
                </c:pt>
                <c:pt idx="28365">
                  <c:v>17.675322438010227</c:v>
                </c:pt>
                <c:pt idx="28366">
                  <c:v>42.557287121331065</c:v>
                </c:pt>
                <c:pt idx="28367">
                  <c:v>37.583993234885398</c:v>
                </c:pt>
                <c:pt idx="28368">
                  <c:v>27.01491057842448</c:v>
                </c:pt>
                <c:pt idx="28369">
                  <c:v>34.786232907678745</c:v>
                </c:pt>
                <c:pt idx="28370">
                  <c:v>33.751286301989154</c:v>
                </c:pt>
                <c:pt idx="28371">
                  <c:v>53.965952776904487</c:v>
                </c:pt>
                <c:pt idx="28372">
                  <c:v>21.29410710052078</c:v>
                </c:pt>
                <c:pt idx="28373">
                  <c:v>47.051203361288259</c:v>
                </c:pt>
                <c:pt idx="28374">
                  <c:v>46.866236994912832</c:v>
                </c:pt>
                <c:pt idx="28375">
                  <c:v>27.862092166345569</c:v>
                </c:pt>
                <c:pt idx="28376">
                  <c:v>36.179430556883524</c:v>
                </c:pt>
                <c:pt idx="28377">
                  <c:v>28.906259569237736</c:v>
                </c:pt>
                <c:pt idx="28378">
                  <c:v>31.102261758900202</c:v>
                </c:pt>
                <c:pt idx="28379">
                  <c:v>25.800833365524575</c:v>
                </c:pt>
                <c:pt idx="28380">
                  <c:v>25.583069696094881</c:v>
                </c:pt>
                <c:pt idx="28381">
                  <c:v>21.371623061034459</c:v>
                </c:pt>
                <c:pt idx="28382">
                  <c:v>31.211080665935402</c:v>
                </c:pt>
                <c:pt idx="28383">
                  <c:v>26.398550425724324</c:v>
                </c:pt>
                <c:pt idx="28384">
                  <c:v>22.682934576491757</c:v>
                </c:pt>
                <c:pt idx="28385">
                  <c:v>29.516585290218323</c:v>
                </c:pt>
                <c:pt idx="28386">
                  <c:v>23.65937530128225</c:v>
                </c:pt>
                <c:pt idx="28387">
                  <c:v>31.964676261978788</c:v>
                </c:pt>
                <c:pt idx="28388">
                  <c:v>26.16665118374581</c:v>
                </c:pt>
                <c:pt idx="28389">
                  <c:v>26.367217648838718</c:v>
                </c:pt>
                <c:pt idx="28390">
                  <c:v>24.946193396899581</c:v>
                </c:pt>
                <c:pt idx="28391">
                  <c:v>28.478837896158488</c:v>
                </c:pt>
                <c:pt idx="28392">
                  <c:v>21.783322913664108</c:v>
                </c:pt>
                <c:pt idx="28393">
                  <c:v>29.638168887476262</c:v>
                </c:pt>
                <c:pt idx="28394">
                  <c:v>52.994106242662639</c:v>
                </c:pt>
                <c:pt idx="28395">
                  <c:v>25.428451477477722</c:v>
                </c:pt>
                <c:pt idx="28396">
                  <c:v>26.877006331674128</c:v>
                </c:pt>
                <c:pt idx="28397">
                  <c:v>26.87981639167695</c:v>
                </c:pt>
                <c:pt idx="28398">
                  <c:v>33.060401797367454</c:v>
                </c:pt>
                <c:pt idx="28399">
                  <c:v>36.989088596332479</c:v>
                </c:pt>
                <c:pt idx="28400">
                  <c:v>18.760156306634311</c:v>
                </c:pt>
                <c:pt idx="28401">
                  <c:v>26.388722947610525</c:v>
                </c:pt>
                <c:pt idx="28402">
                  <c:v>37.687088838615743</c:v>
                </c:pt>
                <c:pt idx="28403">
                  <c:v>27.741277782151553</c:v>
                </c:pt>
                <c:pt idx="28404">
                  <c:v>26.552023258821634</c:v>
                </c:pt>
                <c:pt idx="28405">
                  <c:v>61.052589751759946</c:v>
                </c:pt>
                <c:pt idx="28406">
                  <c:v>37.395232559559858</c:v>
                </c:pt>
                <c:pt idx="28407">
                  <c:v>27.603078627523224</c:v>
                </c:pt>
                <c:pt idx="28408">
                  <c:v>23.798727444505264</c:v>
                </c:pt>
                <c:pt idx="28409">
                  <c:v>28.156401883995063</c:v>
                </c:pt>
                <c:pt idx="28410">
                  <c:v>32.069882579608567</c:v>
                </c:pt>
                <c:pt idx="28411">
                  <c:v>39.970797442947251</c:v>
                </c:pt>
                <c:pt idx="28412">
                  <c:v>29.233922624640698</c:v>
                </c:pt>
                <c:pt idx="28413">
                  <c:v>40.440247632468918</c:v>
                </c:pt>
                <c:pt idx="28414">
                  <c:v>37.86835152898923</c:v>
                </c:pt>
                <c:pt idx="28415">
                  <c:v>36.557165640908785</c:v>
                </c:pt>
                <c:pt idx="28416">
                  <c:v>29.296947905811365</c:v>
                </c:pt>
                <c:pt idx="28417">
                  <c:v>52.146118741495677</c:v>
                </c:pt>
                <c:pt idx="28418">
                  <c:v>34.565620861759967</c:v>
                </c:pt>
                <c:pt idx="28419">
                  <c:v>20.03505025444538</c:v>
                </c:pt>
                <c:pt idx="28420">
                  <c:v>43.594857020199846</c:v>
                </c:pt>
                <c:pt idx="28421">
                  <c:v>44.03446140918075</c:v>
                </c:pt>
                <c:pt idx="28422">
                  <c:v>25.941784144303352</c:v>
                </c:pt>
                <c:pt idx="28423">
                  <c:v>26.656900970525744</c:v>
                </c:pt>
                <c:pt idx="28424">
                  <c:v>52.20094154019889</c:v>
                </c:pt>
                <c:pt idx="28425">
                  <c:v>31.059997525615241</c:v>
                </c:pt>
                <c:pt idx="28426">
                  <c:v>22.698040238295235</c:v>
                </c:pt>
                <c:pt idx="28427">
                  <c:v>47.424588166799921</c:v>
                </c:pt>
                <c:pt idx="28428">
                  <c:v>27.271012338463937</c:v>
                </c:pt>
                <c:pt idx="28429">
                  <c:v>24.969800934484155</c:v>
                </c:pt>
                <c:pt idx="28430">
                  <c:v>21.543789409521672</c:v>
                </c:pt>
                <c:pt idx="28431">
                  <c:v>20.985784319429534</c:v>
                </c:pt>
                <c:pt idx="28432">
                  <c:v>33.778058982944096</c:v>
                </c:pt>
                <c:pt idx="28433">
                  <c:v>22.545010579020499</c:v>
                </c:pt>
                <c:pt idx="28434">
                  <c:v>29.572742695278279</c:v>
                </c:pt>
                <c:pt idx="28435">
                  <c:v>47.108719451627422</c:v>
                </c:pt>
                <c:pt idx="28436">
                  <c:v>25.841526932015434</c:v>
                </c:pt>
                <c:pt idx="28437">
                  <c:v>34.484102488423432</c:v>
                </c:pt>
                <c:pt idx="28438">
                  <c:v>26.410208735221378</c:v>
                </c:pt>
                <c:pt idx="28439">
                  <c:v>30.239057008020524</c:v>
                </c:pt>
                <c:pt idx="28440">
                  <c:v>52.47694036836667</c:v>
                </c:pt>
                <c:pt idx="28441">
                  <c:v>25.004459104925132</c:v>
                </c:pt>
                <c:pt idx="28442">
                  <c:v>19.892988358843748</c:v>
                </c:pt>
                <c:pt idx="28443">
                  <c:v>19.868282045231823</c:v>
                </c:pt>
                <c:pt idx="28444">
                  <c:v>29.581447103142509</c:v>
                </c:pt>
                <c:pt idx="28445">
                  <c:v>30.433796308328724</c:v>
                </c:pt>
                <c:pt idx="28446">
                  <c:v>25.671721276244629</c:v>
                </c:pt>
                <c:pt idx="28447">
                  <c:v>43.089418246230466</c:v>
                </c:pt>
                <c:pt idx="28448">
                  <c:v>35.246210131045949</c:v>
                </c:pt>
                <c:pt idx="28449">
                  <c:v>36.681914546620064</c:v>
                </c:pt>
                <c:pt idx="28450">
                  <c:v>30.618590319473036</c:v>
                </c:pt>
                <c:pt idx="28451">
                  <c:v>24.766224993894085</c:v>
                </c:pt>
                <c:pt idx="28452">
                  <c:v>30.572276115581914</c:v>
                </c:pt>
                <c:pt idx="28453">
                  <c:v>25.152273504721727</c:v>
                </c:pt>
                <c:pt idx="28454">
                  <c:v>22.803838285776109</c:v>
                </c:pt>
                <c:pt idx="28455">
                  <c:v>25.159249692284092</c:v>
                </c:pt>
                <c:pt idx="28456">
                  <c:v>41.972390140811719</c:v>
                </c:pt>
                <c:pt idx="28457">
                  <c:v>31.005231247775559</c:v>
                </c:pt>
                <c:pt idx="28458">
                  <c:v>14.453244078392508</c:v>
                </c:pt>
                <c:pt idx="28459">
                  <c:v>28.625770622812745</c:v>
                </c:pt>
                <c:pt idx="28460">
                  <c:v>39.206510012753945</c:v>
                </c:pt>
                <c:pt idx="28461">
                  <c:v>33.682935364564926</c:v>
                </c:pt>
                <c:pt idx="28462">
                  <c:v>25.142115486684933</c:v>
                </c:pt>
                <c:pt idx="28463">
                  <c:v>38.824225926655473</c:v>
                </c:pt>
                <c:pt idx="28464">
                  <c:v>14.980343942024152</c:v>
                </c:pt>
                <c:pt idx="28465">
                  <c:v>31.267456183592376</c:v>
                </c:pt>
                <c:pt idx="28466">
                  <c:v>28.909292831851243</c:v>
                </c:pt>
                <c:pt idx="28467">
                  <c:v>32.035783477454181</c:v>
                </c:pt>
                <c:pt idx="28468">
                  <c:v>53.157407419342931</c:v>
                </c:pt>
                <c:pt idx="28469">
                  <c:v>24.666875656074133</c:v>
                </c:pt>
                <c:pt idx="28470">
                  <c:v>30.787163020991144</c:v>
                </c:pt>
                <c:pt idx="28471">
                  <c:v>33.311187896251674</c:v>
                </c:pt>
                <c:pt idx="28472">
                  <c:v>19.47435466015564</c:v>
                </c:pt>
                <c:pt idx="28473">
                  <c:v>40.994359378366823</c:v>
                </c:pt>
                <c:pt idx="28474">
                  <c:v>37.753286251281502</c:v>
                </c:pt>
                <c:pt idx="28475">
                  <c:v>47.890564345676097</c:v>
                </c:pt>
                <c:pt idx="28476">
                  <c:v>32.06338369716606</c:v>
                </c:pt>
                <c:pt idx="28477">
                  <c:v>38.991283040826666</c:v>
                </c:pt>
                <c:pt idx="28478">
                  <c:v>28.30087558508388</c:v>
                </c:pt>
                <c:pt idx="28479">
                  <c:v>26.738748885935589</c:v>
                </c:pt>
                <c:pt idx="28480">
                  <c:v>22.961503515586919</c:v>
                </c:pt>
                <c:pt idx="28481">
                  <c:v>55.643817030237386</c:v>
                </c:pt>
                <c:pt idx="28482">
                  <c:v>27.190617344102154</c:v>
                </c:pt>
                <c:pt idx="28483">
                  <c:v>26.642601212651336</c:v>
                </c:pt>
                <c:pt idx="28484">
                  <c:v>16.819520875851644</c:v>
                </c:pt>
                <c:pt idx="28485">
                  <c:v>30.630623061486901</c:v>
                </c:pt>
                <c:pt idx="28486">
                  <c:v>23.603585671021353</c:v>
                </c:pt>
                <c:pt idx="28487">
                  <c:v>34.187139530646654</c:v>
                </c:pt>
                <c:pt idx="28488">
                  <c:v>16.935008636206142</c:v>
                </c:pt>
                <c:pt idx="28489">
                  <c:v>20.686736702584437</c:v>
                </c:pt>
                <c:pt idx="28490">
                  <c:v>47.908435432886904</c:v>
                </c:pt>
                <c:pt idx="28491">
                  <c:v>33.665228072527583</c:v>
                </c:pt>
                <c:pt idx="28492">
                  <c:v>21.778832042676655</c:v>
                </c:pt>
                <c:pt idx="28493">
                  <c:v>27.133413292466759</c:v>
                </c:pt>
                <c:pt idx="28494">
                  <c:v>28.87936281788717</c:v>
                </c:pt>
                <c:pt idx="28495">
                  <c:v>22.109410575913387</c:v>
                </c:pt>
                <c:pt idx="28496">
                  <c:v>32.011809135651006</c:v>
                </c:pt>
                <c:pt idx="28497">
                  <c:v>42.819409160931542</c:v>
                </c:pt>
                <c:pt idx="28498">
                  <c:v>41.740952401439976</c:v>
                </c:pt>
                <c:pt idx="28499">
                  <c:v>25.518562626315081</c:v>
                </c:pt>
                <c:pt idx="28500">
                  <c:v>31.449153955860538</c:v>
                </c:pt>
                <c:pt idx="28501">
                  <c:v>20.478799167640393</c:v>
                </c:pt>
                <c:pt idx="28502">
                  <c:v>23.962485054747528</c:v>
                </c:pt>
                <c:pt idx="28503">
                  <c:v>43.440231920549763</c:v>
                </c:pt>
                <c:pt idx="28504">
                  <c:v>23.812956191877909</c:v>
                </c:pt>
                <c:pt idx="28505">
                  <c:v>37.342044930379501</c:v>
                </c:pt>
                <c:pt idx="28506">
                  <c:v>30.784582127320068</c:v>
                </c:pt>
                <c:pt idx="28507">
                  <c:v>26.846276475183593</c:v>
                </c:pt>
                <c:pt idx="28508">
                  <c:v>30.824038580542553</c:v>
                </c:pt>
                <c:pt idx="28509">
                  <c:v>30.558353703990267</c:v>
                </c:pt>
                <c:pt idx="28510">
                  <c:v>44.906217795845876</c:v>
                </c:pt>
                <c:pt idx="28511">
                  <c:v>26.944731454663284</c:v>
                </c:pt>
                <c:pt idx="28512">
                  <c:v>16.012525401343197</c:v>
                </c:pt>
                <c:pt idx="28513">
                  <c:v>49.894423784645959</c:v>
                </c:pt>
                <c:pt idx="28514">
                  <c:v>30.86603973182142</c:v>
                </c:pt>
                <c:pt idx="28515">
                  <c:v>28.0808946445032</c:v>
                </c:pt>
                <c:pt idx="28516">
                  <c:v>27.431798638406342</c:v>
                </c:pt>
                <c:pt idx="28517">
                  <c:v>24.814818599899478</c:v>
                </c:pt>
                <c:pt idx="28518">
                  <c:v>46.861520173090042</c:v>
                </c:pt>
                <c:pt idx="28519">
                  <c:v>20.881030104367699</c:v>
                </c:pt>
                <c:pt idx="28520">
                  <c:v>22.212861119646689</c:v>
                </c:pt>
                <c:pt idx="28521">
                  <c:v>24.305666393522586</c:v>
                </c:pt>
                <c:pt idx="28522">
                  <c:v>29.31800836856997</c:v>
                </c:pt>
                <c:pt idx="28523">
                  <c:v>35.982039874485224</c:v>
                </c:pt>
                <c:pt idx="28524">
                  <c:v>22.186786431153635</c:v>
                </c:pt>
                <c:pt idx="28525">
                  <c:v>24.264241740361857</c:v>
                </c:pt>
                <c:pt idx="28526">
                  <c:v>44.175651676707837</c:v>
                </c:pt>
                <c:pt idx="28527">
                  <c:v>32.375161662150816</c:v>
                </c:pt>
                <c:pt idx="28528">
                  <c:v>26.430719804886934</c:v>
                </c:pt>
                <c:pt idx="28529">
                  <c:v>24.864653961477806</c:v>
                </c:pt>
                <c:pt idx="28530">
                  <c:v>23.959950500507631</c:v>
                </c:pt>
                <c:pt idx="28531">
                  <c:v>38.717801937977264</c:v>
                </c:pt>
                <c:pt idx="28532">
                  <c:v>16.268944990674324</c:v>
                </c:pt>
                <c:pt idx="28533">
                  <c:v>18.862114866427319</c:v>
                </c:pt>
                <c:pt idx="28534">
                  <c:v>16.178710678152235</c:v>
                </c:pt>
                <c:pt idx="28535">
                  <c:v>25.391680599590366</c:v>
                </c:pt>
                <c:pt idx="28536">
                  <c:v>35.341244794235841</c:v>
                </c:pt>
                <c:pt idx="28537">
                  <c:v>19.036976141161826</c:v>
                </c:pt>
                <c:pt idx="28538">
                  <c:v>28.500765245716064</c:v>
                </c:pt>
                <c:pt idx="28539">
                  <c:v>19.945101553895203</c:v>
                </c:pt>
                <c:pt idx="28540">
                  <c:v>31.026448759403735</c:v>
                </c:pt>
                <c:pt idx="28541">
                  <c:v>22.396886202738724</c:v>
                </c:pt>
                <c:pt idx="28542">
                  <c:v>33.579486730586957</c:v>
                </c:pt>
                <c:pt idx="28543">
                  <c:v>23.55324847136405</c:v>
                </c:pt>
                <c:pt idx="28544">
                  <c:v>28.586308834734059</c:v>
                </c:pt>
                <c:pt idx="28545">
                  <c:v>35.734702859367552</c:v>
                </c:pt>
                <c:pt idx="28546">
                  <c:v>23.859393681951971</c:v>
                </c:pt>
                <c:pt idx="28547">
                  <c:v>30.306350398931347</c:v>
                </c:pt>
                <c:pt idx="28548">
                  <c:v>23.227818625922808</c:v>
                </c:pt>
                <c:pt idx="28549">
                  <c:v>64.834158575714014</c:v>
                </c:pt>
                <c:pt idx="28550">
                  <c:v>32.822820213913388</c:v>
                </c:pt>
                <c:pt idx="28551">
                  <c:v>30.841523465678492</c:v>
                </c:pt>
                <c:pt idx="28552">
                  <c:v>23.532265660929806</c:v>
                </c:pt>
                <c:pt idx="28553">
                  <c:v>45.600544495445554</c:v>
                </c:pt>
                <c:pt idx="28554">
                  <c:v>42.894651250000088</c:v>
                </c:pt>
                <c:pt idx="28555">
                  <c:v>45.937700742626603</c:v>
                </c:pt>
                <c:pt idx="28556">
                  <c:v>27.714138015746336</c:v>
                </c:pt>
                <c:pt idx="28557">
                  <c:v>33.314239397707645</c:v>
                </c:pt>
                <c:pt idx="28558">
                  <c:v>26.599952696678145</c:v>
                </c:pt>
                <c:pt idx="28559">
                  <c:v>33.152945159423808</c:v>
                </c:pt>
                <c:pt idx="28560">
                  <c:v>22.839195840599924</c:v>
                </c:pt>
                <c:pt idx="28561">
                  <c:v>19.829546420537426</c:v>
                </c:pt>
                <c:pt idx="28562">
                  <c:v>22.074071503172657</c:v>
                </c:pt>
                <c:pt idx="28563">
                  <c:v>49.72660448053675</c:v>
                </c:pt>
                <c:pt idx="28564">
                  <c:v>32.360278518206599</c:v>
                </c:pt>
                <c:pt idx="28565">
                  <c:v>45.400423909514956</c:v>
                </c:pt>
                <c:pt idx="28566">
                  <c:v>22.02483635634723</c:v>
                </c:pt>
                <c:pt idx="28567">
                  <c:v>23.953974233258933</c:v>
                </c:pt>
                <c:pt idx="28568">
                  <c:v>26.054617344811398</c:v>
                </c:pt>
                <c:pt idx="28569">
                  <c:v>31.929901355439142</c:v>
                </c:pt>
                <c:pt idx="28570">
                  <c:v>25.336429699367415</c:v>
                </c:pt>
                <c:pt idx="28571">
                  <c:v>23.665248169896721</c:v>
                </c:pt>
                <c:pt idx="28572">
                  <c:v>24.991904806415619</c:v>
                </c:pt>
                <c:pt idx="28573">
                  <c:v>42.691423627146456</c:v>
                </c:pt>
                <c:pt idx="28574">
                  <c:v>33.440118620963069</c:v>
                </c:pt>
                <c:pt idx="28575">
                  <c:v>41.394254551363261</c:v>
                </c:pt>
                <c:pt idx="28576">
                  <c:v>25.88502729140836</c:v>
                </c:pt>
                <c:pt idx="28577">
                  <c:v>21.034506834454817</c:v>
                </c:pt>
                <c:pt idx="28578">
                  <c:v>33.476686805370264</c:v>
                </c:pt>
                <c:pt idx="28579">
                  <c:v>40.460653925476535</c:v>
                </c:pt>
                <c:pt idx="28580">
                  <c:v>24.709715584626128</c:v>
                </c:pt>
                <c:pt idx="28581">
                  <c:v>27.315955233293423</c:v>
                </c:pt>
                <c:pt idx="28582">
                  <c:v>39.890890909238223</c:v>
                </c:pt>
                <c:pt idx="28583">
                  <c:v>45.064302732934401</c:v>
                </c:pt>
                <c:pt idx="28584">
                  <c:v>51.94107098547984</c:v>
                </c:pt>
                <c:pt idx="28585">
                  <c:v>44.691686500534097</c:v>
                </c:pt>
                <c:pt idx="28586">
                  <c:v>19.992477908105482</c:v>
                </c:pt>
                <c:pt idx="28587">
                  <c:v>25.788182895299208</c:v>
                </c:pt>
                <c:pt idx="28588">
                  <c:v>48.879784661427678</c:v>
                </c:pt>
                <c:pt idx="28589">
                  <c:v>35.958638314916307</c:v>
                </c:pt>
                <c:pt idx="28590">
                  <c:v>31.050611618987958</c:v>
                </c:pt>
                <c:pt idx="28591">
                  <c:v>28.81268279231967</c:v>
                </c:pt>
                <c:pt idx="28592">
                  <c:v>26.273796211072984</c:v>
                </c:pt>
                <c:pt idx="28593">
                  <c:v>21.690890348710997</c:v>
                </c:pt>
                <c:pt idx="28594">
                  <c:v>38.818462182609309</c:v>
                </c:pt>
                <c:pt idx="28595">
                  <c:v>26.36334261945289</c:v>
                </c:pt>
                <c:pt idx="28596">
                  <c:v>25.113795352398629</c:v>
                </c:pt>
                <c:pt idx="28597">
                  <c:v>33.708396252252371</c:v>
                </c:pt>
                <c:pt idx="28598">
                  <c:v>48.924364517782251</c:v>
                </c:pt>
                <c:pt idx="28599">
                  <c:v>27.049926236333146</c:v>
                </c:pt>
                <c:pt idx="28600">
                  <c:v>38.286222416487455</c:v>
                </c:pt>
                <c:pt idx="28601">
                  <c:v>30.342462769226508</c:v>
                </c:pt>
                <c:pt idx="28602">
                  <c:v>28.200614952563665</c:v>
                </c:pt>
                <c:pt idx="28603">
                  <c:v>20.681779648721086</c:v>
                </c:pt>
                <c:pt idx="28604">
                  <c:v>38.258668447935726</c:v>
                </c:pt>
                <c:pt idx="28605">
                  <c:v>18.774849980900814</c:v>
                </c:pt>
                <c:pt idx="28606">
                  <c:v>47.207887006048857</c:v>
                </c:pt>
                <c:pt idx="28607">
                  <c:v>28.059217822220376</c:v>
                </c:pt>
                <c:pt idx="28608">
                  <c:v>48.605679817413687</c:v>
                </c:pt>
                <c:pt idx="28609">
                  <c:v>39.65848932318832</c:v>
                </c:pt>
                <c:pt idx="28610">
                  <c:v>22.666827941318054</c:v>
                </c:pt>
                <c:pt idx="28611">
                  <c:v>32.742393970911429</c:v>
                </c:pt>
                <c:pt idx="28612">
                  <c:v>44.742772384950918</c:v>
                </c:pt>
                <c:pt idx="28613">
                  <c:v>47.574261138335444</c:v>
                </c:pt>
                <c:pt idx="28614">
                  <c:v>43.913987584283205</c:v>
                </c:pt>
                <c:pt idx="28615">
                  <c:v>21.917668403872852</c:v>
                </c:pt>
                <c:pt idx="28616">
                  <c:v>44.004265547542026</c:v>
                </c:pt>
                <c:pt idx="28617">
                  <c:v>20.790158166843383</c:v>
                </c:pt>
                <c:pt idx="28618">
                  <c:v>28.063931611000498</c:v>
                </c:pt>
                <c:pt idx="28619">
                  <c:v>18.401080616530262</c:v>
                </c:pt>
                <c:pt idx="28620">
                  <c:v>26.997829009451596</c:v>
                </c:pt>
                <c:pt idx="28621">
                  <c:v>43.0007262511119</c:v>
                </c:pt>
                <c:pt idx="28622">
                  <c:v>27.333155524756503</c:v>
                </c:pt>
                <c:pt idx="28623">
                  <c:v>27.64016429853686</c:v>
                </c:pt>
                <c:pt idx="28624">
                  <c:v>47.14091150171069</c:v>
                </c:pt>
                <c:pt idx="28625">
                  <c:v>36.331206398039505</c:v>
                </c:pt>
                <c:pt idx="28626">
                  <c:v>32.003348350738818</c:v>
                </c:pt>
                <c:pt idx="28627">
                  <c:v>58.140153612843172</c:v>
                </c:pt>
                <c:pt idx="28628">
                  <c:v>42.809434121740978</c:v>
                </c:pt>
                <c:pt idx="28629">
                  <c:v>27.209776075225392</c:v>
                </c:pt>
                <c:pt idx="28630">
                  <c:v>49.542821728092356</c:v>
                </c:pt>
                <c:pt idx="28631">
                  <c:v>32.395048369160342</c:v>
                </c:pt>
                <c:pt idx="28632">
                  <c:v>27.686122562748441</c:v>
                </c:pt>
                <c:pt idx="28633">
                  <c:v>21.499093333633301</c:v>
                </c:pt>
                <c:pt idx="28634">
                  <c:v>22.80544846989859</c:v>
                </c:pt>
                <c:pt idx="28635">
                  <c:v>23.072129777995926</c:v>
                </c:pt>
                <c:pt idx="28636">
                  <c:v>28.57501231307219</c:v>
                </c:pt>
                <c:pt idx="28637">
                  <c:v>30.130480825630514</c:v>
                </c:pt>
                <c:pt idx="28638">
                  <c:v>29.069821090020447</c:v>
                </c:pt>
                <c:pt idx="28639">
                  <c:v>29.113434529676248</c:v>
                </c:pt>
                <c:pt idx="28640">
                  <c:v>52.960495635190242</c:v>
                </c:pt>
                <c:pt idx="28641">
                  <c:v>28.03771410272671</c:v>
                </c:pt>
                <c:pt idx="28642">
                  <c:v>24.367184027535195</c:v>
                </c:pt>
                <c:pt idx="28643">
                  <c:v>26.068033264213668</c:v>
                </c:pt>
                <c:pt idx="28644">
                  <c:v>44.39057506373927</c:v>
                </c:pt>
                <c:pt idx="28645">
                  <c:v>27.875034667343463</c:v>
                </c:pt>
                <c:pt idx="28646">
                  <c:v>24.344205294487903</c:v>
                </c:pt>
                <c:pt idx="28647">
                  <c:v>32.939046470936297</c:v>
                </c:pt>
                <c:pt idx="28648">
                  <c:v>32.320996660320695</c:v>
                </c:pt>
                <c:pt idx="28649">
                  <c:v>22.542146204378213</c:v>
                </c:pt>
                <c:pt idx="28650">
                  <c:v>25.859091756903496</c:v>
                </c:pt>
                <c:pt idx="28651">
                  <c:v>45.745839110586807</c:v>
                </c:pt>
                <c:pt idx="28652">
                  <c:v>23.632684593913801</c:v>
                </c:pt>
                <c:pt idx="28653">
                  <c:v>34.770706169532033</c:v>
                </c:pt>
                <c:pt idx="28654">
                  <c:v>30.895126249273268</c:v>
                </c:pt>
                <c:pt idx="28655">
                  <c:v>51.933985046209145</c:v>
                </c:pt>
                <c:pt idx="28656">
                  <c:v>27.161468349781121</c:v>
                </c:pt>
                <c:pt idx="28657">
                  <c:v>43.666505409187593</c:v>
                </c:pt>
                <c:pt idx="28658">
                  <c:v>18.243296951719419</c:v>
                </c:pt>
                <c:pt idx="28659">
                  <c:v>28.247808681928888</c:v>
                </c:pt>
                <c:pt idx="28660">
                  <c:v>26.726872993052332</c:v>
                </c:pt>
                <c:pt idx="28661">
                  <c:v>24.867760011348945</c:v>
                </c:pt>
                <c:pt idx="28662">
                  <c:v>30.968585319571407</c:v>
                </c:pt>
                <c:pt idx="28663">
                  <c:v>24.551487603467354</c:v>
                </c:pt>
                <c:pt idx="28664">
                  <c:v>19.236311871929292</c:v>
                </c:pt>
                <c:pt idx="28665">
                  <c:v>20.933699021337276</c:v>
                </c:pt>
                <c:pt idx="28666">
                  <c:v>19.241232234370184</c:v>
                </c:pt>
                <c:pt idx="28667">
                  <c:v>26.433479619069793</c:v>
                </c:pt>
                <c:pt idx="28668">
                  <c:v>24.154826254579881</c:v>
                </c:pt>
                <c:pt idx="28669">
                  <c:v>31.903054861602136</c:v>
                </c:pt>
                <c:pt idx="28670">
                  <c:v>19.292859545300033</c:v>
                </c:pt>
                <c:pt idx="28671">
                  <c:v>29.933672106566917</c:v>
                </c:pt>
                <c:pt idx="28672">
                  <c:v>36.028472477169522</c:v>
                </c:pt>
                <c:pt idx="28673">
                  <c:v>32.317967937809378</c:v>
                </c:pt>
                <c:pt idx="28674">
                  <c:v>44.633891133534995</c:v>
                </c:pt>
                <c:pt idx="28675">
                  <c:v>46.108514493415186</c:v>
                </c:pt>
                <c:pt idx="28676">
                  <c:v>23.720832013422378</c:v>
                </c:pt>
                <c:pt idx="28677">
                  <c:v>30.036148041067058</c:v>
                </c:pt>
                <c:pt idx="28678">
                  <c:v>32.215507996323907</c:v>
                </c:pt>
                <c:pt idx="28679">
                  <c:v>40.536798620823646</c:v>
                </c:pt>
                <c:pt idx="28680">
                  <c:v>32.609534114736718</c:v>
                </c:pt>
                <c:pt idx="28681">
                  <c:v>31.203836130096342</c:v>
                </c:pt>
                <c:pt idx="28682">
                  <c:v>31.005425524015884</c:v>
                </c:pt>
                <c:pt idx="28683">
                  <c:v>20.289167877892051</c:v>
                </c:pt>
                <c:pt idx="28684">
                  <c:v>24.685759374369958</c:v>
                </c:pt>
                <c:pt idx="28685">
                  <c:v>34.179275929144289</c:v>
                </c:pt>
                <c:pt idx="28686">
                  <c:v>29.456479875937607</c:v>
                </c:pt>
                <c:pt idx="28687">
                  <c:v>47.243075622322337</c:v>
                </c:pt>
                <c:pt idx="28688">
                  <c:v>30.981075802765265</c:v>
                </c:pt>
                <c:pt idx="28689">
                  <c:v>41.410783474117842</c:v>
                </c:pt>
                <c:pt idx="28690">
                  <c:v>36.082966797929835</c:v>
                </c:pt>
                <c:pt idx="28691">
                  <c:v>16.623040246099908</c:v>
                </c:pt>
                <c:pt idx="28692">
                  <c:v>45.807426413523281</c:v>
                </c:pt>
                <c:pt idx="28693">
                  <c:v>32.094018565423539</c:v>
                </c:pt>
                <c:pt idx="28694">
                  <c:v>28.173872272915773</c:v>
                </c:pt>
                <c:pt idx="28695">
                  <c:v>52.205420631129869</c:v>
                </c:pt>
                <c:pt idx="28696">
                  <c:v>45.727158223205102</c:v>
                </c:pt>
                <c:pt idx="28697">
                  <c:v>26.703216315806557</c:v>
                </c:pt>
                <c:pt idx="28698">
                  <c:v>27.153388943203176</c:v>
                </c:pt>
                <c:pt idx="28699">
                  <c:v>25.092257063679618</c:v>
                </c:pt>
                <c:pt idx="28700">
                  <c:v>23.42328677901823</c:v>
                </c:pt>
                <c:pt idx="28701">
                  <c:v>32.64866418967793</c:v>
                </c:pt>
                <c:pt idx="28702">
                  <c:v>29.049014991644114</c:v>
                </c:pt>
                <c:pt idx="28703">
                  <c:v>27.432645768683642</c:v>
                </c:pt>
                <c:pt idx="28704">
                  <c:v>36.696606017378613</c:v>
                </c:pt>
                <c:pt idx="28705">
                  <c:v>30.300966024032739</c:v>
                </c:pt>
                <c:pt idx="28706">
                  <c:v>18.024361854275206</c:v>
                </c:pt>
                <c:pt idx="28707">
                  <c:v>40.522299618341393</c:v>
                </c:pt>
                <c:pt idx="28708">
                  <c:v>52.005067553054751</c:v>
                </c:pt>
                <c:pt idx="28709">
                  <c:v>28.460783361635244</c:v>
                </c:pt>
                <c:pt idx="28710">
                  <c:v>22.224426775181531</c:v>
                </c:pt>
                <c:pt idx="28711">
                  <c:v>29.196581662891937</c:v>
                </c:pt>
                <c:pt idx="28712">
                  <c:v>41.112110381147616</c:v>
                </c:pt>
                <c:pt idx="28713">
                  <c:v>23.880860039767242</c:v>
                </c:pt>
                <c:pt idx="28714">
                  <c:v>22.361735402243838</c:v>
                </c:pt>
                <c:pt idx="28715">
                  <c:v>39.182728542129638</c:v>
                </c:pt>
                <c:pt idx="28716">
                  <c:v>32.357339149114871</c:v>
                </c:pt>
                <c:pt idx="28717">
                  <c:v>36.806191998590791</c:v>
                </c:pt>
                <c:pt idx="28718">
                  <c:v>22.380010043906058</c:v>
                </c:pt>
                <c:pt idx="28719">
                  <c:v>26.588100253757656</c:v>
                </c:pt>
                <c:pt idx="28720">
                  <c:v>24.094497599998874</c:v>
                </c:pt>
                <c:pt idx="28721">
                  <c:v>29.373297479398975</c:v>
                </c:pt>
                <c:pt idx="28722">
                  <c:v>40.898861268462525</c:v>
                </c:pt>
                <c:pt idx="28723">
                  <c:v>30.725117674113498</c:v>
                </c:pt>
                <c:pt idx="28724">
                  <c:v>27.385040714667731</c:v>
                </c:pt>
                <c:pt idx="28725">
                  <c:v>24.016654917341761</c:v>
                </c:pt>
                <c:pt idx="28726">
                  <c:v>25.386364932836621</c:v>
                </c:pt>
                <c:pt idx="28727">
                  <c:v>15.298831200470683</c:v>
                </c:pt>
                <c:pt idx="28728">
                  <c:v>26.777467153607567</c:v>
                </c:pt>
                <c:pt idx="28729">
                  <c:v>21.17558245805678</c:v>
                </c:pt>
                <c:pt idx="28730">
                  <c:v>51.35015922920887</c:v>
                </c:pt>
                <c:pt idx="28731">
                  <c:v>32.923576912231432</c:v>
                </c:pt>
                <c:pt idx="28732">
                  <c:v>23.580779506038844</c:v>
                </c:pt>
                <c:pt idx="28733">
                  <c:v>27.885673861581068</c:v>
                </c:pt>
                <c:pt idx="28734">
                  <c:v>51.083778116332496</c:v>
                </c:pt>
                <c:pt idx="28735">
                  <c:v>19.750017601728523</c:v>
                </c:pt>
                <c:pt idx="28736">
                  <c:v>29.327164161539425</c:v>
                </c:pt>
                <c:pt idx="28737">
                  <c:v>40.482781606500112</c:v>
                </c:pt>
                <c:pt idx="28738">
                  <c:v>23.475538354890318</c:v>
                </c:pt>
                <c:pt idx="28739">
                  <c:v>27.629613724406418</c:v>
                </c:pt>
                <c:pt idx="28740">
                  <c:v>21.725326300636979</c:v>
                </c:pt>
                <c:pt idx="28741">
                  <c:v>49.733212180058224</c:v>
                </c:pt>
                <c:pt idx="28742">
                  <c:v>23.862397501519347</c:v>
                </c:pt>
                <c:pt idx="28743">
                  <c:v>25.604665678509821</c:v>
                </c:pt>
                <c:pt idx="28744">
                  <c:v>21.338927972351716</c:v>
                </c:pt>
                <c:pt idx="28745">
                  <c:v>27.122427847829009</c:v>
                </c:pt>
                <c:pt idx="28746">
                  <c:v>17.80410289401684</c:v>
                </c:pt>
                <c:pt idx="28747">
                  <c:v>43.077528923937436</c:v>
                </c:pt>
                <c:pt idx="28748">
                  <c:v>47.348730938811848</c:v>
                </c:pt>
                <c:pt idx="28749">
                  <c:v>28.821172049511524</c:v>
                </c:pt>
                <c:pt idx="28750">
                  <c:v>57.364045193741049</c:v>
                </c:pt>
                <c:pt idx="28751">
                  <c:v>31.327926156165674</c:v>
                </c:pt>
                <c:pt idx="28752">
                  <c:v>40.978481897901169</c:v>
                </c:pt>
                <c:pt idx="28753">
                  <c:v>27.440409266398078</c:v>
                </c:pt>
                <c:pt idx="28754">
                  <c:v>25.714635542862183</c:v>
                </c:pt>
                <c:pt idx="28755">
                  <c:v>42.144454775368388</c:v>
                </c:pt>
                <c:pt idx="28756">
                  <c:v>28.237928211016445</c:v>
                </c:pt>
                <c:pt idx="28757">
                  <c:v>24.2840993831208</c:v>
                </c:pt>
                <c:pt idx="28758">
                  <c:v>45.621534858575323</c:v>
                </c:pt>
                <c:pt idx="28759">
                  <c:v>25.368092746366418</c:v>
                </c:pt>
                <c:pt idx="28760">
                  <c:v>28.686238011459693</c:v>
                </c:pt>
                <c:pt idx="28761">
                  <c:v>32.388015773027121</c:v>
                </c:pt>
                <c:pt idx="28762">
                  <c:v>24.042433474271078</c:v>
                </c:pt>
                <c:pt idx="28763">
                  <c:v>23.081190181559503</c:v>
                </c:pt>
                <c:pt idx="28764">
                  <c:v>31.902482169678812</c:v>
                </c:pt>
                <c:pt idx="28765">
                  <c:v>31.776026106083844</c:v>
                </c:pt>
                <c:pt idx="28766">
                  <c:v>20.740883886110787</c:v>
                </c:pt>
                <c:pt idx="28767">
                  <c:v>21.0349685401928</c:v>
                </c:pt>
                <c:pt idx="28768">
                  <c:v>48.789421146529165</c:v>
                </c:pt>
                <c:pt idx="28769">
                  <c:v>46.299216796150368</c:v>
                </c:pt>
                <c:pt idx="28770">
                  <c:v>25.14794281398618</c:v>
                </c:pt>
                <c:pt idx="28771">
                  <c:v>31.710530702997094</c:v>
                </c:pt>
                <c:pt idx="28772">
                  <c:v>30.00024251305738</c:v>
                </c:pt>
                <c:pt idx="28773">
                  <c:v>48.85640890831278</c:v>
                </c:pt>
                <c:pt idx="28774">
                  <c:v>26.348722083118158</c:v>
                </c:pt>
                <c:pt idx="28775">
                  <c:v>23.464317545692456</c:v>
                </c:pt>
                <c:pt idx="28776">
                  <c:v>26.291831735505468</c:v>
                </c:pt>
                <c:pt idx="28777">
                  <c:v>24.276481097646574</c:v>
                </c:pt>
                <c:pt idx="28778">
                  <c:v>45.111244793993464</c:v>
                </c:pt>
                <c:pt idx="28779">
                  <c:v>19.899257512667035</c:v>
                </c:pt>
                <c:pt idx="28780">
                  <c:v>22.839747552663301</c:v>
                </c:pt>
                <c:pt idx="28781">
                  <c:v>44.516392851791267</c:v>
                </c:pt>
                <c:pt idx="28782">
                  <c:v>28.977571997118645</c:v>
                </c:pt>
                <c:pt idx="28783">
                  <c:v>21.172639253476842</c:v>
                </c:pt>
                <c:pt idx="28784">
                  <c:v>43.277543737976217</c:v>
                </c:pt>
                <c:pt idx="28785">
                  <c:v>27.225667056777951</c:v>
                </c:pt>
                <c:pt idx="28786">
                  <c:v>21.048241771230948</c:v>
                </c:pt>
                <c:pt idx="28787">
                  <c:v>31.828596440377385</c:v>
                </c:pt>
                <c:pt idx="28788">
                  <c:v>23.479104202797934</c:v>
                </c:pt>
                <c:pt idx="28789">
                  <c:v>54.808349606796561</c:v>
                </c:pt>
                <c:pt idx="28790">
                  <c:v>24.745797732403723</c:v>
                </c:pt>
                <c:pt idx="28791">
                  <c:v>35.485934026131034</c:v>
                </c:pt>
                <c:pt idx="28792">
                  <c:v>23.234812695619379</c:v>
                </c:pt>
                <c:pt idx="28793">
                  <c:v>32.454868810768183</c:v>
                </c:pt>
                <c:pt idx="28794">
                  <c:v>44.711719592531772</c:v>
                </c:pt>
                <c:pt idx="28795">
                  <c:v>23.098624084055654</c:v>
                </c:pt>
                <c:pt idx="28796">
                  <c:v>24.663491630274294</c:v>
                </c:pt>
                <c:pt idx="28797">
                  <c:v>24.912055787331894</c:v>
                </c:pt>
                <c:pt idx="28798">
                  <c:v>46.374230883095159</c:v>
                </c:pt>
                <c:pt idx="28799">
                  <c:v>21.70748326254752</c:v>
                </c:pt>
                <c:pt idx="28800">
                  <c:v>34.596818467265031</c:v>
                </c:pt>
                <c:pt idx="28801">
                  <c:v>25.258832156974968</c:v>
                </c:pt>
                <c:pt idx="28802">
                  <c:v>25.211301690581386</c:v>
                </c:pt>
                <c:pt idx="28803">
                  <c:v>31.947304735704495</c:v>
                </c:pt>
                <c:pt idx="28804">
                  <c:v>24.513302932811925</c:v>
                </c:pt>
                <c:pt idx="28805">
                  <c:v>38.174259868106823</c:v>
                </c:pt>
                <c:pt idx="28806">
                  <c:v>29.920712554370816</c:v>
                </c:pt>
                <c:pt idx="28807">
                  <c:v>30.876987548491869</c:v>
                </c:pt>
                <c:pt idx="28808">
                  <c:v>28.732591564694026</c:v>
                </c:pt>
                <c:pt idx="28809">
                  <c:v>20.894124775423073</c:v>
                </c:pt>
                <c:pt idx="28810">
                  <c:v>39.529890143259436</c:v>
                </c:pt>
                <c:pt idx="28811">
                  <c:v>23.32872868994189</c:v>
                </c:pt>
                <c:pt idx="28812">
                  <c:v>41.082848443281527</c:v>
                </c:pt>
                <c:pt idx="28813">
                  <c:v>27.263855188009693</c:v>
                </c:pt>
                <c:pt idx="28814">
                  <c:v>54.242719961860828</c:v>
                </c:pt>
                <c:pt idx="28815">
                  <c:v>32.312248942497696</c:v>
                </c:pt>
                <c:pt idx="28816">
                  <c:v>31.599911142182627</c:v>
                </c:pt>
                <c:pt idx="28817">
                  <c:v>20.557631530063862</c:v>
                </c:pt>
                <c:pt idx="28818">
                  <c:v>34.26047166176086</c:v>
                </c:pt>
                <c:pt idx="28819">
                  <c:v>23.754615509688474</c:v>
                </c:pt>
                <c:pt idx="28820">
                  <c:v>24.605236754599606</c:v>
                </c:pt>
                <c:pt idx="28821">
                  <c:v>44.523821060368313</c:v>
                </c:pt>
                <c:pt idx="28822">
                  <c:v>20.778550615378396</c:v>
                </c:pt>
                <c:pt idx="28823">
                  <c:v>30.851893476010328</c:v>
                </c:pt>
                <c:pt idx="28824">
                  <c:v>30.241553292954073</c:v>
                </c:pt>
                <c:pt idx="28825">
                  <c:v>24.914433877773792</c:v>
                </c:pt>
                <c:pt idx="28826">
                  <c:v>57.339307363143625</c:v>
                </c:pt>
                <c:pt idx="28827">
                  <c:v>43.931868033480882</c:v>
                </c:pt>
                <c:pt idx="28828">
                  <c:v>18.889186182093741</c:v>
                </c:pt>
                <c:pt idx="28829">
                  <c:v>33.291428701142351</c:v>
                </c:pt>
                <c:pt idx="28830">
                  <c:v>21.358780695459455</c:v>
                </c:pt>
                <c:pt idx="28831">
                  <c:v>35.562215408487596</c:v>
                </c:pt>
                <c:pt idx="28832">
                  <c:v>24.447308705580834</c:v>
                </c:pt>
                <c:pt idx="28833">
                  <c:v>32.007519269763264</c:v>
                </c:pt>
                <c:pt idx="28834">
                  <c:v>25.122544419363301</c:v>
                </c:pt>
                <c:pt idx="28835">
                  <c:v>30.572821415991413</c:v>
                </c:pt>
                <c:pt idx="28836">
                  <c:v>32.373380478905773</c:v>
                </c:pt>
                <c:pt idx="28837">
                  <c:v>29.385000763697484</c:v>
                </c:pt>
                <c:pt idx="28838">
                  <c:v>20.843452077837476</c:v>
                </c:pt>
                <c:pt idx="28839">
                  <c:v>46.047124901943015</c:v>
                </c:pt>
                <c:pt idx="28840">
                  <c:v>33.356925960195881</c:v>
                </c:pt>
                <c:pt idx="28841">
                  <c:v>24.941317326585743</c:v>
                </c:pt>
                <c:pt idx="28842">
                  <c:v>28.901909901654477</c:v>
                </c:pt>
                <c:pt idx="28843">
                  <c:v>19.969270662688999</c:v>
                </c:pt>
                <c:pt idx="28844">
                  <c:v>25.331783410451898</c:v>
                </c:pt>
                <c:pt idx="28845">
                  <c:v>26.337193060230355</c:v>
                </c:pt>
                <c:pt idx="28846">
                  <c:v>50.541364573512475</c:v>
                </c:pt>
                <c:pt idx="28847">
                  <c:v>48.83693195491287</c:v>
                </c:pt>
                <c:pt idx="28848">
                  <c:v>25.439316780336839</c:v>
                </c:pt>
                <c:pt idx="28849">
                  <c:v>21.596342013847675</c:v>
                </c:pt>
                <c:pt idx="28850">
                  <c:v>60.431911212199395</c:v>
                </c:pt>
                <c:pt idx="28851">
                  <c:v>48.069636475680191</c:v>
                </c:pt>
                <c:pt idx="28852">
                  <c:v>22.97434267711904</c:v>
                </c:pt>
                <c:pt idx="28853">
                  <c:v>17.325753874014662</c:v>
                </c:pt>
                <c:pt idx="28854">
                  <c:v>54.468444543743161</c:v>
                </c:pt>
                <c:pt idx="28855">
                  <c:v>43.008595116273455</c:v>
                </c:pt>
                <c:pt idx="28856">
                  <c:v>28.938835326344439</c:v>
                </c:pt>
                <c:pt idx="28857">
                  <c:v>29.601138787958234</c:v>
                </c:pt>
                <c:pt idx="28858">
                  <c:v>29.728117723510358</c:v>
                </c:pt>
                <c:pt idx="28859">
                  <c:v>27.513151856094424</c:v>
                </c:pt>
                <c:pt idx="28860">
                  <c:v>31.824545749886681</c:v>
                </c:pt>
                <c:pt idx="28861">
                  <c:v>26.973530205484803</c:v>
                </c:pt>
                <c:pt idx="28862">
                  <c:v>19.811212275788026</c:v>
                </c:pt>
                <c:pt idx="28863">
                  <c:v>40.431485554584349</c:v>
                </c:pt>
                <c:pt idx="28864">
                  <c:v>25.270410691444262</c:v>
                </c:pt>
                <c:pt idx="28865">
                  <c:v>32.007094891411597</c:v>
                </c:pt>
                <c:pt idx="28866">
                  <c:v>23.746929845899743</c:v>
                </c:pt>
                <c:pt idx="28867">
                  <c:v>29.794457741377851</c:v>
                </c:pt>
                <c:pt idx="28868">
                  <c:v>32.3615810975869</c:v>
                </c:pt>
                <c:pt idx="28869">
                  <c:v>39.738209414070276</c:v>
                </c:pt>
                <c:pt idx="28870">
                  <c:v>23.531145375817918</c:v>
                </c:pt>
                <c:pt idx="28871">
                  <c:v>44.308428436935813</c:v>
                </c:pt>
                <c:pt idx="28872">
                  <c:v>30.450315461606341</c:v>
                </c:pt>
                <c:pt idx="28873">
                  <c:v>20.593557837876485</c:v>
                </c:pt>
                <c:pt idx="28874">
                  <c:v>27.18469911156247</c:v>
                </c:pt>
                <c:pt idx="28875">
                  <c:v>26.71297465451169</c:v>
                </c:pt>
                <c:pt idx="28876">
                  <c:v>30.401290541134202</c:v>
                </c:pt>
                <c:pt idx="28877">
                  <c:v>21.590531024473204</c:v>
                </c:pt>
                <c:pt idx="28878">
                  <c:v>26.475147514514227</c:v>
                </c:pt>
                <c:pt idx="28879">
                  <c:v>26.958099525686478</c:v>
                </c:pt>
                <c:pt idx="28880">
                  <c:v>31.37825014686986</c:v>
                </c:pt>
                <c:pt idx="28881">
                  <c:v>26.519069614785607</c:v>
                </c:pt>
                <c:pt idx="28882">
                  <c:v>16.445263193404895</c:v>
                </c:pt>
                <c:pt idx="28883">
                  <c:v>25.555942137906161</c:v>
                </c:pt>
                <c:pt idx="28884">
                  <c:v>21.648208103451754</c:v>
                </c:pt>
                <c:pt idx="28885">
                  <c:v>26.693703460519821</c:v>
                </c:pt>
                <c:pt idx="28886">
                  <c:v>25.227148741069357</c:v>
                </c:pt>
                <c:pt idx="28887">
                  <c:v>35.628804485698005</c:v>
                </c:pt>
                <c:pt idx="28888">
                  <c:v>28.569275798241755</c:v>
                </c:pt>
                <c:pt idx="28889">
                  <c:v>31.502898694528497</c:v>
                </c:pt>
                <c:pt idx="28890">
                  <c:v>38.368137511508721</c:v>
                </c:pt>
                <c:pt idx="28891">
                  <c:v>30.458269490018274</c:v>
                </c:pt>
                <c:pt idx="28892">
                  <c:v>16.962863273183778</c:v>
                </c:pt>
                <c:pt idx="28893">
                  <c:v>27.66636794567755</c:v>
                </c:pt>
                <c:pt idx="28894">
                  <c:v>17.110741769373028</c:v>
                </c:pt>
                <c:pt idx="28895">
                  <c:v>56.092377942773041</c:v>
                </c:pt>
                <c:pt idx="28896">
                  <c:v>30.8586392505083</c:v>
                </c:pt>
                <c:pt idx="28897">
                  <c:v>29.974733268528325</c:v>
                </c:pt>
                <c:pt idx="28898">
                  <c:v>22.250174967128807</c:v>
                </c:pt>
                <c:pt idx="28899">
                  <c:v>26.659209815161972</c:v>
                </c:pt>
                <c:pt idx="28900">
                  <c:v>46.756260698292138</c:v>
                </c:pt>
                <c:pt idx="28901">
                  <c:v>42.067810766377995</c:v>
                </c:pt>
                <c:pt idx="28902">
                  <c:v>29.274028729299395</c:v>
                </c:pt>
                <c:pt idx="28903">
                  <c:v>24.788536955084925</c:v>
                </c:pt>
                <c:pt idx="28904">
                  <c:v>26.875823717541806</c:v>
                </c:pt>
                <c:pt idx="28905">
                  <c:v>27.493330433578677</c:v>
                </c:pt>
                <c:pt idx="28906">
                  <c:v>42.357286839934851</c:v>
                </c:pt>
                <c:pt idx="28907">
                  <c:v>31.639665413906478</c:v>
                </c:pt>
                <c:pt idx="28908">
                  <c:v>17.391589225831062</c:v>
                </c:pt>
                <c:pt idx="28909">
                  <c:v>19.411498313245566</c:v>
                </c:pt>
                <c:pt idx="28910">
                  <c:v>20.904541303679679</c:v>
                </c:pt>
                <c:pt idx="28911">
                  <c:v>25.55717719560927</c:v>
                </c:pt>
                <c:pt idx="28912">
                  <c:v>62.106082959422807</c:v>
                </c:pt>
                <c:pt idx="28913">
                  <c:v>34.952526796734297</c:v>
                </c:pt>
                <c:pt idx="28914">
                  <c:v>21.901154605864654</c:v>
                </c:pt>
                <c:pt idx="28915">
                  <c:v>26.801758591764759</c:v>
                </c:pt>
                <c:pt idx="28916">
                  <c:v>20.020861081382499</c:v>
                </c:pt>
                <c:pt idx="28917">
                  <c:v>51.480395544049586</c:v>
                </c:pt>
                <c:pt idx="28918">
                  <c:v>30.812065857250182</c:v>
                </c:pt>
                <c:pt idx="28919">
                  <c:v>47.491946595996232</c:v>
                </c:pt>
                <c:pt idx="28920">
                  <c:v>15.81334246769309</c:v>
                </c:pt>
                <c:pt idx="28921">
                  <c:v>26.694098948052112</c:v>
                </c:pt>
                <c:pt idx="28922">
                  <c:v>51.138191507589113</c:v>
                </c:pt>
                <c:pt idx="28923">
                  <c:v>22.88614618592986</c:v>
                </c:pt>
                <c:pt idx="28924">
                  <c:v>19.532490872883898</c:v>
                </c:pt>
                <c:pt idx="28925">
                  <c:v>53.66156895578424</c:v>
                </c:pt>
                <c:pt idx="28926">
                  <c:v>28.105669373142089</c:v>
                </c:pt>
                <c:pt idx="28927">
                  <c:v>22.224243045078307</c:v>
                </c:pt>
                <c:pt idx="28928">
                  <c:v>43.6497740143896</c:v>
                </c:pt>
                <c:pt idx="28929">
                  <c:v>21.634700654280294</c:v>
                </c:pt>
                <c:pt idx="28930">
                  <c:v>27.255822815028239</c:v>
                </c:pt>
                <c:pt idx="28931">
                  <c:v>19.014671834632786</c:v>
                </c:pt>
                <c:pt idx="28932">
                  <c:v>47.856444313202303</c:v>
                </c:pt>
                <c:pt idx="28933">
                  <c:v>19.654879866914207</c:v>
                </c:pt>
                <c:pt idx="28934">
                  <c:v>27.027393561722711</c:v>
                </c:pt>
                <c:pt idx="28935">
                  <c:v>48.799776906770745</c:v>
                </c:pt>
                <c:pt idx="28936">
                  <c:v>26.339949360839249</c:v>
                </c:pt>
                <c:pt idx="28937">
                  <c:v>41.148793127280634</c:v>
                </c:pt>
                <c:pt idx="28938">
                  <c:v>24.810914912698877</c:v>
                </c:pt>
                <c:pt idx="28939">
                  <c:v>24.973610265974916</c:v>
                </c:pt>
                <c:pt idx="28940">
                  <c:v>26.383384841192022</c:v>
                </c:pt>
                <c:pt idx="28941">
                  <c:v>36.613357947409675</c:v>
                </c:pt>
                <c:pt idx="28942">
                  <c:v>30.170199318022867</c:v>
                </c:pt>
                <c:pt idx="28943">
                  <c:v>47.853463130784981</c:v>
                </c:pt>
                <c:pt idx="28944">
                  <c:v>20.365717290847567</c:v>
                </c:pt>
                <c:pt idx="28945">
                  <c:v>49.449430405192224</c:v>
                </c:pt>
                <c:pt idx="28946">
                  <c:v>25.030528541068502</c:v>
                </c:pt>
                <c:pt idx="28947">
                  <c:v>31.017091350402751</c:v>
                </c:pt>
                <c:pt idx="28948">
                  <c:v>26.181037975072382</c:v>
                </c:pt>
                <c:pt idx="28949">
                  <c:v>42.459082056624133</c:v>
                </c:pt>
                <c:pt idx="28950">
                  <c:v>30.007629473203821</c:v>
                </c:pt>
                <c:pt idx="28951">
                  <c:v>26.379411725670131</c:v>
                </c:pt>
                <c:pt idx="28952">
                  <c:v>48.89337843132575</c:v>
                </c:pt>
                <c:pt idx="28953">
                  <c:v>30.756034055911115</c:v>
                </c:pt>
                <c:pt idx="28954">
                  <c:v>28.306201213861655</c:v>
                </c:pt>
                <c:pt idx="28955">
                  <c:v>29.082416856641679</c:v>
                </c:pt>
                <c:pt idx="28956">
                  <c:v>18.769720748357209</c:v>
                </c:pt>
                <c:pt idx="28957">
                  <c:v>28.046236900560796</c:v>
                </c:pt>
                <c:pt idx="28958">
                  <c:v>34.699553236042014</c:v>
                </c:pt>
                <c:pt idx="28959">
                  <c:v>34.50691255846953</c:v>
                </c:pt>
                <c:pt idx="28960">
                  <c:v>17.266015529935629</c:v>
                </c:pt>
                <c:pt idx="28961">
                  <c:v>28.467292009692567</c:v>
                </c:pt>
                <c:pt idx="28962">
                  <c:v>28.600191005819354</c:v>
                </c:pt>
                <c:pt idx="28963">
                  <c:v>21.818345618855986</c:v>
                </c:pt>
                <c:pt idx="28964">
                  <c:v>29.235291808814665</c:v>
                </c:pt>
                <c:pt idx="28965">
                  <c:v>39.173209443599198</c:v>
                </c:pt>
                <c:pt idx="28966">
                  <c:v>25.546402462969802</c:v>
                </c:pt>
                <c:pt idx="28967">
                  <c:v>37.0563399857826</c:v>
                </c:pt>
                <c:pt idx="28968">
                  <c:v>16.984438065346207</c:v>
                </c:pt>
                <c:pt idx="28969">
                  <c:v>24.860222000624347</c:v>
                </c:pt>
                <c:pt idx="28970">
                  <c:v>26.638013690069197</c:v>
                </c:pt>
                <c:pt idx="28971">
                  <c:v>28.529155120244102</c:v>
                </c:pt>
                <c:pt idx="28972">
                  <c:v>32.601536729892125</c:v>
                </c:pt>
                <c:pt idx="28973">
                  <c:v>48.477344379569807</c:v>
                </c:pt>
                <c:pt idx="28974">
                  <c:v>37.65283535692317</c:v>
                </c:pt>
                <c:pt idx="28975">
                  <c:v>25.516396397398953</c:v>
                </c:pt>
                <c:pt idx="28976">
                  <c:v>22.942379337003771</c:v>
                </c:pt>
                <c:pt idx="28977">
                  <c:v>26.709170413971982</c:v>
                </c:pt>
                <c:pt idx="28978">
                  <c:v>30.003367077264215</c:v>
                </c:pt>
                <c:pt idx="28979">
                  <c:v>28.888638847600934</c:v>
                </c:pt>
                <c:pt idx="28980">
                  <c:v>23.83433799460337</c:v>
                </c:pt>
                <c:pt idx="28981">
                  <c:v>38.049894934106902</c:v>
                </c:pt>
                <c:pt idx="28982">
                  <c:v>29.212336644621328</c:v>
                </c:pt>
                <c:pt idx="28983">
                  <c:v>46.226476599762059</c:v>
                </c:pt>
                <c:pt idx="28984">
                  <c:v>40.492744880079805</c:v>
                </c:pt>
                <c:pt idx="28985">
                  <c:v>25.779248214785177</c:v>
                </c:pt>
                <c:pt idx="28986">
                  <c:v>27.557643341207928</c:v>
                </c:pt>
                <c:pt idx="28987">
                  <c:v>49.072519771629054</c:v>
                </c:pt>
                <c:pt idx="28988">
                  <c:v>46.742521884379663</c:v>
                </c:pt>
                <c:pt idx="28989">
                  <c:v>24.811201703340441</c:v>
                </c:pt>
                <c:pt idx="28990">
                  <c:v>19.747899622670502</c:v>
                </c:pt>
                <c:pt idx="28991">
                  <c:v>18.695017755346214</c:v>
                </c:pt>
                <c:pt idx="28992">
                  <c:v>55.809941014172452</c:v>
                </c:pt>
                <c:pt idx="28993">
                  <c:v>29.54242141994548</c:v>
                </c:pt>
                <c:pt idx="28994">
                  <c:v>45.965340511251782</c:v>
                </c:pt>
                <c:pt idx="28995">
                  <c:v>60.696961452715527</c:v>
                </c:pt>
                <c:pt idx="28996">
                  <c:v>29.458792434976303</c:v>
                </c:pt>
                <c:pt idx="28997">
                  <c:v>25.451384107460346</c:v>
                </c:pt>
                <c:pt idx="28998">
                  <c:v>31.979201043020588</c:v>
                </c:pt>
                <c:pt idx="28999">
                  <c:v>40.879955981528248</c:v>
                </c:pt>
                <c:pt idx="29000">
                  <c:v>36.666799128289966</c:v>
                </c:pt>
                <c:pt idx="29001">
                  <c:v>27.621997807229519</c:v>
                </c:pt>
                <c:pt idx="29002">
                  <c:v>20.92621966356711</c:v>
                </c:pt>
                <c:pt idx="29003">
                  <c:v>46.009796953437785</c:v>
                </c:pt>
                <c:pt idx="29004">
                  <c:v>22.152260792031615</c:v>
                </c:pt>
                <c:pt idx="29005">
                  <c:v>33.766019932595796</c:v>
                </c:pt>
                <c:pt idx="29006">
                  <c:v>45.928868974637325</c:v>
                </c:pt>
                <c:pt idx="29007">
                  <c:v>38.360677538446375</c:v>
                </c:pt>
                <c:pt idx="29008">
                  <c:v>21.759887834397809</c:v>
                </c:pt>
                <c:pt idx="29009">
                  <c:v>33.000040778396489</c:v>
                </c:pt>
                <c:pt idx="29010">
                  <c:v>21.731511508247305</c:v>
                </c:pt>
                <c:pt idx="29011">
                  <c:v>27.940279658403249</c:v>
                </c:pt>
                <c:pt idx="29012">
                  <c:v>49.200743872192746</c:v>
                </c:pt>
                <c:pt idx="29013">
                  <c:v>27.167565971073532</c:v>
                </c:pt>
                <c:pt idx="29014">
                  <c:v>23.745045708749025</c:v>
                </c:pt>
                <c:pt idx="29015">
                  <c:v>41.381901803944885</c:v>
                </c:pt>
                <c:pt idx="29016">
                  <c:v>25.513004631680996</c:v>
                </c:pt>
                <c:pt idx="29017">
                  <c:v>24.556948516098611</c:v>
                </c:pt>
                <c:pt idx="29018">
                  <c:v>20.629281692897383</c:v>
                </c:pt>
                <c:pt idx="29019">
                  <c:v>27.300215016799331</c:v>
                </c:pt>
                <c:pt idx="29020">
                  <c:v>20.712605295101547</c:v>
                </c:pt>
                <c:pt idx="29021">
                  <c:v>19.186147542426685</c:v>
                </c:pt>
                <c:pt idx="29022">
                  <c:v>31.964465984750284</c:v>
                </c:pt>
                <c:pt idx="29023">
                  <c:v>55.309576217226464</c:v>
                </c:pt>
                <c:pt idx="29024">
                  <c:v>22.637737096159501</c:v>
                </c:pt>
                <c:pt idx="29025">
                  <c:v>17.689534096744179</c:v>
                </c:pt>
                <c:pt idx="29026">
                  <c:v>29.081725999731002</c:v>
                </c:pt>
                <c:pt idx="29027">
                  <c:v>32.428069535552936</c:v>
                </c:pt>
                <c:pt idx="29028">
                  <c:v>27.026331842803803</c:v>
                </c:pt>
                <c:pt idx="29029">
                  <c:v>38.972427618111844</c:v>
                </c:pt>
                <c:pt idx="29030">
                  <c:v>56.135438204785615</c:v>
                </c:pt>
                <c:pt idx="29031">
                  <c:v>35.848718805456038</c:v>
                </c:pt>
                <c:pt idx="29032">
                  <c:v>48.934538127935085</c:v>
                </c:pt>
                <c:pt idx="29033">
                  <c:v>27.024269244527915</c:v>
                </c:pt>
                <c:pt idx="29034">
                  <c:v>25.107429384224826</c:v>
                </c:pt>
                <c:pt idx="29035">
                  <c:v>25.397017352287968</c:v>
                </c:pt>
                <c:pt idx="29036">
                  <c:v>20.721188934118125</c:v>
                </c:pt>
                <c:pt idx="29037">
                  <c:v>31.695318218801035</c:v>
                </c:pt>
                <c:pt idx="29038">
                  <c:v>26.942238830160317</c:v>
                </c:pt>
                <c:pt idx="29039">
                  <c:v>29.404135361693346</c:v>
                </c:pt>
                <c:pt idx="29040">
                  <c:v>22.876719552290819</c:v>
                </c:pt>
                <c:pt idx="29041">
                  <c:v>34.184656666233778</c:v>
                </c:pt>
                <c:pt idx="29042">
                  <c:v>29.31834935244532</c:v>
                </c:pt>
                <c:pt idx="29043">
                  <c:v>30.719937309135865</c:v>
                </c:pt>
                <c:pt idx="29044">
                  <c:v>22.757210306166858</c:v>
                </c:pt>
                <c:pt idx="29045">
                  <c:v>26.95646377457328</c:v>
                </c:pt>
                <c:pt idx="29046">
                  <c:v>19.774206437545896</c:v>
                </c:pt>
                <c:pt idx="29047">
                  <c:v>38.499189362089723</c:v>
                </c:pt>
                <c:pt idx="29048">
                  <c:v>47.593234652317335</c:v>
                </c:pt>
                <c:pt idx="29049">
                  <c:v>48.262009986494562</c:v>
                </c:pt>
                <c:pt idx="29050">
                  <c:v>48.283523941395075</c:v>
                </c:pt>
                <c:pt idx="29051">
                  <c:v>27.560279478070587</c:v>
                </c:pt>
                <c:pt idx="29052">
                  <c:v>27.50423157364115</c:v>
                </c:pt>
                <c:pt idx="29053">
                  <c:v>24.018550764021064</c:v>
                </c:pt>
                <c:pt idx="29054">
                  <c:v>29.143652350238348</c:v>
                </c:pt>
                <c:pt idx="29055">
                  <c:v>19.19601442497919</c:v>
                </c:pt>
                <c:pt idx="29056">
                  <c:v>23.386316456822705</c:v>
                </c:pt>
                <c:pt idx="29057">
                  <c:v>21.636300752707619</c:v>
                </c:pt>
                <c:pt idx="29058">
                  <c:v>21.241532445420649</c:v>
                </c:pt>
                <c:pt idx="29059">
                  <c:v>35.069865807447812</c:v>
                </c:pt>
                <c:pt idx="29060">
                  <c:v>41.522531780434313</c:v>
                </c:pt>
                <c:pt idx="29061">
                  <c:v>34.21250847955293</c:v>
                </c:pt>
                <c:pt idx="29062">
                  <c:v>25.823481772818422</c:v>
                </c:pt>
                <c:pt idx="29063">
                  <c:v>36.358854190353533</c:v>
                </c:pt>
                <c:pt idx="29064">
                  <c:v>27.443721815067136</c:v>
                </c:pt>
                <c:pt idx="29065">
                  <c:v>36.129476598176304</c:v>
                </c:pt>
                <c:pt idx="29066">
                  <c:v>26.479238261096409</c:v>
                </c:pt>
                <c:pt idx="29067">
                  <c:v>23.517654413073902</c:v>
                </c:pt>
                <c:pt idx="29068">
                  <c:v>27.972167987559992</c:v>
                </c:pt>
                <c:pt idx="29069">
                  <c:v>29.678851884188539</c:v>
                </c:pt>
                <c:pt idx="29070">
                  <c:v>23.073043419087831</c:v>
                </c:pt>
                <c:pt idx="29071">
                  <c:v>37.676459569697379</c:v>
                </c:pt>
                <c:pt idx="29072">
                  <c:v>21.983992830847562</c:v>
                </c:pt>
                <c:pt idx="29073">
                  <c:v>54.952873450517053</c:v>
                </c:pt>
                <c:pt idx="29074">
                  <c:v>20.990547019184646</c:v>
                </c:pt>
                <c:pt idx="29075">
                  <c:v>35.834049394672583</c:v>
                </c:pt>
                <c:pt idx="29076">
                  <c:v>21.619918982480808</c:v>
                </c:pt>
                <c:pt idx="29077">
                  <c:v>41.668315977957022</c:v>
                </c:pt>
                <c:pt idx="29078">
                  <c:v>24.806172249373247</c:v>
                </c:pt>
                <c:pt idx="29079">
                  <c:v>45.160544570817848</c:v>
                </c:pt>
                <c:pt idx="29080">
                  <c:v>25.061030916616581</c:v>
                </c:pt>
                <c:pt idx="29081">
                  <c:v>26.454861924900669</c:v>
                </c:pt>
                <c:pt idx="29082">
                  <c:v>20.924198928043538</c:v>
                </c:pt>
                <c:pt idx="29083">
                  <c:v>55.443392393656509</c:v>
                </c:pt>
                <c:pt idx="29084">
                  <c:v>23.621528172457694</c:v>
                </c:pt>
                <c:pt idx="29085">
                  <c:v>31.812194484144765</c:v>
                </c:pt>
                <c:pt idx="29086">
                  <c:v>33.805258068988586</c:v>
                </c:pt>
                <c:pt idx="29087">
                  <c:v>31.210428240064086</c:v>
                </c:pt>
                <c:pt idx="29088">
                  <c:v>40.863678345355304</c:v>
                </c:pt>
                <c:pt idx="29089">
                  <c:v>69.548039573256574</c:v>
                </c:pt>
                <c:pt idx="29090">
                  <c:v>20.173504996189685</c:v>
                </c:pt>
                <c:pt idx="29091">
                  <c:v>39.769827514190688</c:v>
                </c:pt>
                <c:pt idx="29092">
                  <c:v>19.142357870158143</c:v>
                </c:pt>
                <c:pt idx="29093">
                  <c:v>28.968459420206909</c:v>
                </c:pt>
                <c:pt idx="29094">
                  <c:v>37.654158568109835</c:v>
                </c:pt>
                <c:pt idx="29095">
                  <c:v>35.574054868877404</c:v>
                </c:pt>
                <c:pt idx="29096">
                  <c:v>30.05123712408443</c:v>
                </c:pt>
                <c:pt idx="29097">
                  <c:v>26.539949983739319</c:v>
                </c:pt>
                <c:pt idx="29098">
                  <c:v>44.30180128237923</c:v>
                </c:pt>
                <c:pt idx="29099">
                  <c:v>27.347415398543696</c:v>
                </c:pt>
                <c:pt idx="29100">
                  <c:v>53.897258777698077</c:v>
                </c:pt>
                <c:pt idx="29101">
                  <c:v>19.410142296273456</c:v>
                </c:pt>
                <c:pt idx="29102">
                  <c:v>33.748590021855975</c:v>
                </c:pt>
                <c:pt idx="29103">
                  <c:v>33.755576865311902</c:v>
                </c:pt>
                <c:pt idx="29104">
                  <c:v>32.658669084911843</c:v>
                </c:pt>
                <c:pt idx="29105">
                  <c:v>36.099494639118944</c:v>
                </c:pt>
                <c:pt idx="29106">
                  <c:v>24.729197686481207</c:v>
                </c:pt>
                <c:pt idx="29107">
                  <c:v>37.87552064911489</c:v>
                </c:pt>
                <c:pt idx="29108">
                  <c:v>38.152269123805986</c:v>
                </c:pt>
                <c:pt idx="29109">
                  <c:v>46.376244093565496</c:v>
                </c:pt>
                <c:pt idx="29110">
                  <c:v>45.625948498545554</c:v>
                </c:pt>
                <c:pt idx="29111">
                  <c:v>24.285094687699313</c:v>
                </c:pt>
                <c:pt idx="29112">
                  <c:v>49.59636821348969</c:v>
                </c:pt>
                <c:pt idx="29113">
                  <c:v>20.589313449110946</c:v>
                </c:pt>
                <c:pt idx="29114">
                  <c:v>30.95795483108861</c:v>
                </c:pt>
                <c:pt idx="29115">
                  <c:v>50.164472416310581</c:v>
                </c:pt>
                <c:pt idx="29116">
                  <c:v>26.280731166153188</c:v>
                </c:pt>
                <c:pt idx="29117">
                  <c:v>21.584842062122146</c:v>
                </c:pt>
                <c:pt idx="29118">
                  <c:v>33.116185487082468</c:v>
                </c:pt>
                <c:pt idx="29119">
                  <c:v>57.444006490926753</c:v>
                </c:pt>
                <c:pt idx="29120">
                  <c:v>27.21438690651577</c:v>
                </c:pt>
                <c:pt idx="29121">
                  <c:v>30.120303371235643</c:v>
                </c:pt>
                <c:pt idx="29122">
                  <c:v>55.845199009301162</c:v>
                </c:pt>
                <c:pt idx="29123">
                  <c:v>31.312900639424836</c:v>
                </c:pt>
                <c:pt idx="29124">
                  <c:v>28.568421614026271</c:v>
                </c:pt>
                <c:pt idx="29125">
                  <c:v>59.575389460803208</c:v>
                </c:pt>
                <c:pt idx="29126">
                  <c:v>20.042421258794874</c:v>
                </c:pt>
                <c:pt idx="29127">
                  <c:v>25.380955199804287</c:v>
                </c:pt>
                <c:pt idx="29128">
                  <c:v>34.486067787769372</c:v>
                </c:pt>
                <c:pt idx="29129">
                  <c:v>48.598840437289155</c:v>
                </c:pt>
                <c:pt idx="29130">
                  <c:v>31.699698473932251</c:v>
                </c:pt>
                <c:pt idx="29131">
                  <c:v>27.378334075882133</c:v>
                </c:pt>
                <c:pt idx="29132">
                  <c:v>26.479839479076418</c:v>
                </c:pt>
                <c:pt idx="29133">
                  <c:v>47.693915758169069</c:v>
                </c:pt>
                <c:pt idx="29134">
                  <c:v>27.230836232721948</c:v>
                </c:pt>
                <c:pt idx="29135">
                  <c:v>25.509202488801684</c:v>
                </c:pt>
                <c:pt idx="29136">
                  <c:v>31.140394214963315</c:v>
                </c:pt>
                <c:pt idx="29137">
                  <c:v>22.901734616185696</c:v>
                </c:pt>
                <c:pt idx="29138">
                  <c:v>26.702985563183741</c:v>
                </c:pt>
                <c:pt idx="29139">
                  <c:v>26.627001037719577</c:v>
                </c:pt>
                <c:pt idx="29140">
                  <c:v>27.951370044348966</c:v>
                </c:pt>
                <c:pt idx="29141">
                  <c:v>26.511914613616337</c:v>
                </c:pt>
                <c:pt idx="29142">
                  <c:v>32.663303412427901</c:v>
                </c:pt>
                <c:pt idx="29143">
                  <c:v>51.29103130958589</c:v>
                </c:pt>
                <c:pt idx="29144">
                  <c:v>29.294173941211071</c:v>
                </c:pt>
                <c:pt idx="29145">
                  <c:v>33.512314459484465</c:v>
                </c:pt>
                <c:pt idx="29146">
                  <c:v>47.058738549669073</c:v>
                </c:pt>
                <c:pt idx="29147">
                  <c:v>20.497449386293418</c:v>
                </c:pt>
                <c:pt idx="29148">
                  <c:v>43.658788716020716</c:v>
                </c:pt>
                <c:pt idx="29149">
                  <c:v>22.759380908489845</c:v>
                </c:pt>
                <c:pt idx="29150">
                  <c:v>20.934319216616021</c:v>
                </c:pt>
                <c:pt idx="29151">
                  <c:v>36.174800022898438</c:v>
                </c:pt>
                <c:pt idx="29152">
                  <c:v>39.130415929323888</c:v>
                </c:pt>
                <c:pt idx="29153">
                  <c:v>29.16896541608455</c:v>
                </c:pt>
                <c:pt idx="29154">
                  <c:v>21.073645440459057</c:v>
                </c:pt>
                <c:pt idx="29155">
                  <c:v>43.140311813441699</c:v>
                </c:pt>
                <c:pt idx="29156">
                  <c:v>20.722104318406821</c:v>
                </c:pt>
                <c:pt idx="29157">
                  <c:v>54.891435991726794</c:v>
                </c:pt>
                <c:pt idx="29158">
                  <c:v>27.833263319066582</c:v>
                </c:pt>
                <c:pt idx="29159">
                  <c:v>30.456673024047436</c:v>
                </c:pt>
                <c:pt idx="29160">
                  <c:v>33.512713554104963</c:v>
                </c:pt>
                <c:pt idx="29161">
                  <c:v>36.019091729707171</c:v>
                </c:pt>
                <c:pt idx="29162">
                  <c:v>54.668882989171379</c:v>
                </c:pt>
                <c:pt idx="29163">
                  <c:v>41.412910386014232</c:v>
                </c:pt>
                <c:pt idx="29164">
                  <c:v>18.610243400477867</c:v>
                </c:pt>
                <c:pt idx="29165">
                  <c:v>44.726392555442324</c:v>
                </c:pt>
                <c:pt idx="29166">
                  <c:v>27.307776561393897</c:v>
                </c:pt>
                <c:pt idx="29167">
                  <c:v>37.60263498658508</c:v>
                </c:pt>
                <c:pt idx="29168">
                  <c:v>28.287911314587205</c:v>
                </c:pt>
                <c:pt idx="29169">
                  <c:v>34.136421576765201</c:v>
                </c:pt>
                <c:pt idx="29170">
                  <c:v>34.9732350545709</c:v>
                </c:pt>
                <c:pt idx="29171">
                  <c:v>39.813181774988493</c:v>
                </c:pt>
                <c:pt idx="29172">
                  <c:v>28.872204236768368</c:v>
                </c:pt>
                <c:pt idx="29173">
                  <c:v>27.732752743601683</c:v>
                </c:pt>
                <c:pt idx="29174">
                  <c:v>44.218022228576558</c:v>
                </c:pt>
                <c:pt idx="29175">
                  <c:v>48.680778537671166</c:v>
                </c:pt>
                <c:pt idx="29176">
                  <c:v>22.863092471464316</c:v>
                </c:pt>
                <c:pt idx="29177">
                  <c:v>26.794828120979258</c:v>
                </c:pt>
                <c:pt idx="29178">
                  <c:v>18.919445749691906</c:v>
                </c:pt>
                <c:pt idx="29179">
                  <c:v>30.847269364903127</c:v>
                </c:pt>
                <c:pt idx="29180">
                  <c:v>36.86041949130103</c:v>
                </c:pt>
                <c:pt idx="29181">
                  <c:v>29.065606591094408</c:v>
                </c:pt>
                <c:pt idx="29182">
                  <c:v>42.039882942260832</c:v>
                </c:pt>
                <c:pt idx="29183">
                  <c:v>24.77873558484935</c:v>
                </c:pt>
                <c:pt idx="29184">
                  <c:v>20.426676870980462</c:v>
                </c:pt>
                <c:pt idx="29185">
                  <c:v>25.32416094506344</c:v>
                </c:pt>
                <c:pt idx="29186">
                  <c:v>29.33737397743694</c:v>
                </c:pt>
                <c:pt idx="29187">
                  <c:v>34.951440685455225</c:v>
                </c:pt>
                <c:pt idx="29188">
                  <c:v>41.581216302941897</c:v>
                </c:pt>
                <c:pt idx="29189">
                  <c:v>18.274930389749585</c:v>
                </c:pt>
                <c:pt idx="29190">
                  <c:v>24.527914716961828</c:v>
                </c:pt>
                <c:pt idx="29191">
                  <c:v>24.685483807400093</c:v>
                </c:pt>
                <c:pt idx="29192">
                  <c:v>42.750079980523395</c:v>
                </c:pt>
                <c:pt idx="29193">
                  <c:v>35.810952824640879</c:v>
                </c:pt>
                <c:pt idx="29194">
                  <c:v>18.208232728326795</c:v>
                </c:pt>
                <c:pt idx="29195">
                  <c:v>27.142307505655477</c:v>
                </c:pt>
                <c:pt idx="29196">
                  <c:v>34.278472988097633</c:v>
                </c:pt>
                <c:pt idx="29197">
                  <c:v>28.109837068723699</c:v>
                </c:pt>
                <c:pt idx="29198">
                  <c:v>51.052845060525868</c:v>
                </c:pt>
                <c:pt idx="29199">
                  <c:v>48.007990516820875</c:v>
                </c:pt>
                <c:pt idx="29200">
                  <c:v>25.408631133828862</c:v>
                </c:pt>
                <c:pt idx="29201">
                  <c:v>44.540872211044302</c:v>
                </c:pt>
                <c:pt idx="29202">
                  <c:v>27.149408461483794</c:v>
                </c:pt>
                <c:pt idx="29203">
                  <c:v>30.64482210514393</c:v>
                </c:pt>
                <c:pt idx="29204">
                  <c:v>32.929005594672233</c:v>
                </c:pt>
                <c:pt idx="29205">
                  <c:v>51.312620369851658</c:v>
                </c:pt>
                <c:pt idx="29206">
                  <c:v>32.073395717607262</c:v>
                </c:pt>
                <c:pt idx="29207">
                  <c:v>37.264048948700719</c:v>
                </c:pt>
                <c:pt idx="29208">
                  <c:v>30.249858477445642</c:v>
                </c:pt>
                <c:pt idx="29209">
                  <c:v>47.906193715348316</c:v>
                </c:pt>
                <c:pt idx="29210">
                  <c:v>30.695911651192574</c:v>
                </c:pt>
                <c:pt idx="29211">
                  <c:v>28.300996653377112</c:v>
                </c:pt>
                <c:pt idx="29212">
                  <c:v>43.120225366388652</c:v>
                </c:pt>
                <c:pt idx="29213">
                  <c:v>27.098684597679839</c:v>
                </c:pt>
                <c:pt idx="29214">
                  <c:v>43.022483280477417</c:v>
                </c:pt>
                <c:pt idx="29215">
                  <c:v>38.237012152995867</c:v>
                </c:pt>
                <c:pt idx="29216">
                  <c:v>23.612168367035242</c:v>
                </c:pt>
                <c:pt idx="29217">
                  <c:v>28.967001248514272</c:v>
                </c:pt>
                <c:pt idx="29218">
                  <c:v>29.098727549767997</c:v>
                </c:pt>
                <c:pt idx="29219">
                  <c:v>27.46265444090519</c:v>
                </c:pt>
                <c:pt idx="29220">
                  <c:v>33.260841117606319</c:v>
                </c:pt>
                <c:pt idx="29221">
                  <c:v>27.446889295401796</c:v>
                </c:pt>
                <c:pt idx="29222">
                  <c:v>51.356880666947625</c:v>
                </c:pt>
                <c:pt idx="29223">
                  <c:v>24.48562383474578</c:v>
                </c:pt>
                <c:pt idx="29224">
                  <c:v>28.097159887180059</c:v>
                </c:pt>
                <c:pt idx="29225">
                  <c:v>45.097817307690264</c:v>
                </c:pt>
                <c:pt idx="29226">
                  <c:v>26.136225467802408</c:v>
                </c:pt>
                <c:pt idx="29227">
                  <c:v>31.082351993529716</c:v>
                </c:pt>
                <c:pt idx="29228">
                  <c:v>23.135992707228709</c:v>
                </c:pt>
                <c:pt idx="29229">
                  <c:v>49.15182476220582</c:v>
                </c:pt>
                <c:pt idx="29230">
                  <c:v>35.526342715806713</c:v>
                </c:pt>
                <c:pt idx="29231">
                  <c:v>40.443447277398221</c:v>
                </c:pt>
                <c:pt idx="29232">
                  <c:v>24.307538156134314</c:v>
                </c:pt>
                <c:pt idx="29233">
                  <c:v>25.040288192382302</c:v>
                </c:pt>
                <c:pt idx="29234">
                  <c:v>26.85254021268381</c:v>
                </c:pt>
                <c:pt idx="29235">
                  <c:v>25.525211062288658</c:v>
                </c:pt>
                <c:pt idx="29236">
                  <c:v>30.645370522164381</c:v>
                </c:pt>
                <c:pt idx="29237">
                  <c:v>15.544635796955451</c:v>
                </c:pt>
                <c:pt idx="29238">
                  <c:v>25.0345302399449</c:v>
                </c:pt>
                <c:pt idx="29239">
                  <c:v>44.032803056271561</c:v>
                </c:pt>
                <c:pt idx="29240">
                  <c:v>51.961996351149651</c:v>
                </c:pt>
                <c:pt idx="29241">
                  <c:v>40.914142670807387</c:v>
                </c:pt>
                <c:pt idx="29242">
                  <c:v>25.426493456610096</c:v>
                </c:pt>
                <c:pt idx="29243">
                  <c:v>28.910271239648548</c:v>
                </c:pt>
                <c:pt idx="29244">
                  <c:v>33.40248903401767</c:v>
                </c:pt>
                <c:pt idx="29245">
                  <c:v>47.615259723380142</c:v>
                </c:pt>
                <c:pt idx="29246">
                  <c:v>24.039902769965806</c:v>
                </c:pt>
                <c:pt idx="29247">
                  <c:v>32.731356941626352</c:v>
                </c:pt>
                <c:pt idx="29248">
                  <c:v>21.585339060343031</c:v>
                </c:pt>
                <c:pt idx="29249">
                  <c:v>20.560714120482569</c:v>
                </c:pt>
                <c:pt idx="29250">
                  <c:v>31.199921139296229</c:v>
                </c:pt>
                <c:pt idx="29251">
                  <c:v>26.1081067237686</c:v>
                </c:pt>
                <c:pt idx="29252">
                  <c:v>29.336284229975465</c:v>
                </c:pt>
                <c:pt idx="29253">
                  <c:v>25.409703547434781</c:v>
                </c:pt>
                <c:pt idx="29254">
                  <c:v>28.380693009040137</c:v>
                </c:pt>
                <c:pt idx="29255">
                  <c:v>38.826828192035734</c:v>
                </c:pt>
                <c:pt idx="29256">
                  <c:v>22.815459295315051</c:v>
                </c:pt>
                <c:pt idx="29257">
                  <c:v>20.225341511081968</c:v>
                </c:pt>
                <c:pt idx="29258">
                  <c:v>20.717381908840451</c:v>
                </c:pt>
                <c:pt idx="29259">
                  <c:v>39.121624692689274</c:v>
                </c:pt>
                <c:pt idx="29260">
                  <c:v>24.478455923984409</c:v>
                </c:pt>
                <c:pt idx="29261">
                  <c:v>26.724361323716593</c:v>
                </c:pt>
                <c:pt idx="29262">
                  <c:v>32.136377139309268</c:v>
                </c:pt>
                <c:pt idx="29263">
                  <c:v>30.924427516446443</c:v>
                </c:pt>
                <c:pt idx="29264">
                  <c:v>42.501964118008921</c:v>
                </c:pt>
                <c:pt idx="29265">
                  <c:v>23.844578435737834</c:v>
                </c:pt>
                <c:pt idx="29266">
                  <c:v>25.137811396496968</c:v>
                </c:pt>
                <c:pt idx="29267">
                  <c:v>34.373907303199189</c:v>
                </c:pt>
                <c:pt idx="29268">
                  <c:v>27.882196667906413</c:v>
                </c:pt>
                <c:pt idx="29269">
                  <c:v>25.222046030823925</c:v>
                </c:pt>
                <c:pt idx="29270">
                  <c:v>18.970808955844561</c:v>
                </c:pt>
                <c:pt idx="29271">
                  <c:v>28.279908529615753</c:v>
                </c:pt>
                <c:pt idx="29272">
                  <c:v>26.186460422685574</c:v>
                </c:pt>
                <c:pt idx="29273">
                  <c:v>20.793245021146092</c:v>
                </c:pt>
                <c:pt idx="29274">
                  <c:v>45.429260639658345</c:v>
                </c:pt>
                <c:pt idx="29275">
                  <c:v>29.301658037997164</c:v>
                </c:pt>
                <c:pt idx="29276">
                  <c:v>34.861205038713749</c:v>
                </c:pt>
                <c:pt idx="29277">
                  <c:v>24.708797017307813</c:v>
                </c:pt>
                <c:pt idx="29278">
                  <c:v>30.143372457063094</c:v>
                </c:pt>
                <c:pt idx="29279">
                  <c:v>23.617839743697065</c:v>
                </c:pt>
                <c:pt idx="29280">
                  <c:v>40.921853744303355</c:v>
                </c:pt>
                <c:pt idx="29281">
                  <c:v>27.834193790179484</c:v>
                </c:pt>
                <c:pt idx="29282">
                  <c:v>53.254292504374277</c:v>
                </c:pt>
                <c:pt idx="29283">
                  <c:v>26.136607416235847</c:v>
                </c:pt>
                <c:pt idx="29284">
                  <c:v>28.172557788236809</c:v>
                </c:pt>
                <c:pt idx="29285">
                  <c:v>25.538477912077454</c:v>
                </c:pt>
                <c:pt idx="29286">
                  <c:v>29.643788284575649</c:v>
                </c:pt>
                <c:pt idx="29287">
                  <c:v>20.70378510114675</c:v>
                </c:pt>
                <c:pt idx="29288">
                  <c:v>39.539601610318101</c:v>
                </c:pt>
                <c:pt idx="29289">
                  <c:v>26.894037056505489</c:v>
                </c:pt>
                <c:pt idx="29290">
                  <c:v>20.045634233630484</c:v>
                </c:pt>
                <c:pt idx="29291">
                  <c:v>24.998071390579931</c:v>
                </c:pt>
                <c:pt idx="29292">
                  <c:v>28.547952480444359</c:v>
                </c:pt>
                <c:pt idx="29293">
                  <c:v>52.08589077508897</c:v>
                </c:pt>
                <c:pt idx="29294">
                  <c:v>17.880827598141845</c:v>
                </c:pt>
                <c:pt idx="29295">
                  <c:v>36.039757983959824</c:v>
                </c:pt>
                <c:pt idx="29296">
                  <c:v>26.255797445958521</c:v>
                </c:pt>
                <c:pt idx="29297">
                  <c:v>45.62720603092481</c:v>
                </c:pt>
                <c:pt idx="29298">
                  <c:v>12.941311941178675</c:v>
                </c:pt>
                <c:pt idx="29299">
                  <c:v>57.06737569023916</c:v>
                </c:pt>
                <c:pt idx="29300">
                  <c:v>29.674847012157642</c:v>
                </c:pt>
                <c:pt idx="29301">
                  <c:v>37.955647914102038</c:v>
                </c:pt>
                <c:pt idx="29302">
                  <c:v>38.04116505811659</c:v>
                </c:pt>
                <c:pt idx="29303">
                  <c:v>22.374350669356417</c:v>
                </c:pt>
                <c:pt idx="29304">
                  <c:v>40.378190272444201</c:v>
                </c:pt>
                <c:pt idx="29305">
                  <c:v>35.807082122270991</c:v>
                </c:pt>
                <c:pt idx="29306">
                  <c:v>36.183697331953226</c:v>
                </c:pt>
                <c:pt idx="29307">
                  <c:v>29.786113321414181</c:v>
                </c:pt>
                <c:pt idx="29308">
                  <c:v>26.652504098038605</c:v>
                </c:pt>
                <c:pt idx="29309">
                  <c:v>25.955161116852238</c:v>
                </c:pt>
                <c:pt idx="29310">
                  <c:v>47.305699140476577</c:v>
                </c:pt>
                <c:pt idx="29311">
                  <c:v>23.897239305851269</c:v>
                </c:pt>
                <c:pt idx="29312">
                  <c:v>22.66609708536042</c:v>
                </c:pt>
                <c:pt idx="29313">
                  <c:v>29.287545680165003</c:v>
                </c:pt>
                <c:pt idx="29314">
                  <c:v>37.116584690387683</c:v>
                </c:pt>
                <c:pt idx="29315">
                  <c:v>27.671252346412054</c:v>
                </c:pt>
                <c:pt idx="29316">
                  <c:v>41.231971423750146</c:v>
                </c:pt>
                <c:pt idx="29317">
                  <c:v>23.321004399167368</c:v>
                </c:pt>
                <c:pt idx="29318">
                  <c:v>45.986015317488643</c:v>
                </c:pt>
                <c:pt idx="29319">
                  <c:v>17.520793560206428</c:v>
                </c:pt>
                <c:pt idx="29320">
                  <c:v>19.799834002728357</c:v>
                </c:pt>
                <c:pt idx="29321">
                  <c:v>46.868829172396623</c:v>
                </c:pt>
                <c:pt idx="29322">
                  <c:v>19.239435187955706</c:v>
                </c:pt>
                <c:pt idx="29323">
                  <c:v>46.930366952590219</c:v>
                </c:pt>
                <c:pt idx="29324">
                  <c:v>28.696759164989761</c:v>
                </c:pt>
                <c:pt idx="29325">
                  <c:v>27.177245282793081</c:v>
                </c:pt>
                <c:pt idx="29326">
                  <c:v>34.043987018279239</c:v>
                </c:pt>
                <c:pt idx="29327">
                  <c:v>22.353786391430205</c:v>
                </c:pt>
                <c:pt idx="29328">
                  <c:v>17.897083301705067</c:v>
                </c:pt>
                <c:pt idx="29329">
                  <c:v>32.547398942310437</c:v>
                </c:pt>
                <c:pt idx="29330">
                  <c:v>20.633078042794914</c:v>
                </c:pt>
                <c:pt idx="29331">
                  <c:v>38.26792463469188</c:v>
                </c:pt>
                <c:pt idx="29332">
                  <c:v>22.939174117522484</c:v>
                </c:pt>
                <c:pt idx="29333">
                  <c:v>48.742676881168613</c:v>
                </c:pt>
                <c:pt idx="29334">
                  <c:v>19.600666702682098</c:v>
                </c:pt>
                <c:pt idx="29335">
                  <c:v>22.076201851831268</c:v>
                </c:pt>
                <c:pt idx="29336">
                  <c:v>29.176061925464566</c:v>
                </c:pt>
                <c:pt idx="29337">
                  <c:v>43.51473046151493</c:v>
                </c:pt>
                <c:pt idx="29338">
                  <c:v>45.294543269952392</c:v>
                </c:pt>
                <c:pt idx="29339">
                  <c:v>44.756415172052833</c:v>
                </c:pt>
                <c:pt idx="29340">
                  <c:v>19.561794390142644</c:v>
                </c:pt>
                <c:pt idx="29341">
                  <c:v>25.567613253394725</c:v>
                </c:pt>
                <c:pt idx="29342">
                  <c:v>28.9856349116356</c:v>
                </c:pt>
                <c:pt idx="29343">
                  <c:v>31.578770597962738</c:v>
                </c:pt>
                <c:pt idx="29344">
                  <c:v>18.656248614359171</c:v>
                </c:pt>
                <c:pt idx="29345">
                  <c:v>28.693975367831637</c:v>
                </c:pt>
                <c:pt idx="29346">
                  <c:v>17.979989269307485</c:v>
                </c:pt>
                <c:pt idx="29347">
                  <c:v>47.682978483144154</c:v>
                </c:pt>
                <c:pt idx="29348">
                  <c:v>24.843679307817098</c:v>
                </c:pt>
                <c:pt idx="29349">
                  <c:v>41.337813665736462</c:v>
                </c:pt>
                <c:pt idx="29350">
                  <c:v>34.145311935054359</c:v>
                </c:pt>
                <c:pt idx="29351">
                  <c:v>34.428992871749543</c:v>
                </c:pt>
                <c:pt idx="29352">
                  <c:v>57.086541120378591</c:v>
                </c:pt>
                <c:pt idx="29353">
                  <c:v>33.183776842265985</c:v>
                </c:pt>
                <c:pt idx="29354">
                  <c:v>25.625713445785806</c:v>
                </c:pt>
                <c:pt idx="29355">
                  <c:v>25.554239415361067</c:v>
                </c:pt>
                <c:pt idx="29356">
                  <c:v>30.5271388742898</c:v>
                </c:pt>
                <c:pt idx="29357">
                  <c:v>28.01974383299013</c:v>
                </c:pt>
                <c:pt idx="29358">
                  <c:v>27.870521112703372</c:v>
                </c:pt>
                <c:pt idx="29359">
                  <c:v>34.835813855751496</c:v>
                </c:pt>
                <c:pt idx="29360">
                  <c:v>54.259655398126391</c:v>
                </c:pt>
                <c:pt idx="29361">
                  <c:v>28.343677728110759</c:v>
                </c:pt>
                <c:pt idx="29362">
                  <c:v>33.730681800833217</c:v>
                </c:pt>
                <c:pt idx="29363">
                  <c:v>50.535971973167364</c:v>
                </c:pt>
                <c:pt idx="29364">
                  <c:v>36.254101454675876</c:v>
                </c:pt>
                <c:pt idx="29365">
                  <c:v>32.895338439941604</c:v>
                </c:pt>
                <c:pt idx="29366">
                  <c:v>32.695947381378922</c:v>
                </c:pt>
                <c:pt idx="29367">
                  <c:v>20.335650753096701</c:v>
                </c:pt>
                <c:pt idx="29368">
                  <c:v>33.321996737511448</c:v>
                </c:pt>
                <c:pt idx="29369">
                  <c:v>24.05708735591838</c:v>
                </c:pt>
                <c:pt idx="29370">
                  <c:v>41.620490453022846</c:v>
                </c:pt>
                <c:pt idx="29371">
                  <c:v>13.800362181274856</c:v>
                </c:pt>
                <c:pt idx="29372">
                  <c:v>24.143114466803436</c:v>
                </c:pt>
                <c:pt idx="29373">
                  <c:v>36.439914964433328</c:v>
                </c:pt>
                <c:pt idx="29374">
                  <c:v>30.324661981188108</c:v>
                </c:pt>
                <c:pt idx="29375">
                  <c:v>22.543729786339963</c:v>
                </c:pt>
                <c:pt idx="29376">
                  <c:v>26.690266511549225</c:v>
                </c:pt>
                <c:pt idx="29377">
                  <c:v>21.789290619416917</c:v>
                </c:pt>
                <c:pt idx="29378">
                  <c:v>29.436604774254636</c:v>
                </c:pt>
                <c:pt idx="29379">
                  <c:v>32.42651156480337</c:v>
                </c:pt>
                <c:pt idx="29380">
                  <c:v>55.204574618463241</c:v>
                </c:pt>
                <c:pt idx="29381">
                  <c:v>50.890410117176188</c:v>
                </c:pt>
                <c:pt idx="29382">
                  <c:v>42.208401202820681</c:v>
                </c:pt>
                <c:pt idx="29383">
                  <c:v>24.848644131012552</c:v>
                </c:pt>
                <c:pt idx="29384">
                  <c:v>21.081838257259204</c:v>
                </c:pt>
                <c:pt idx="29385">
                  <c:v>46.848979322597003</c:v>
                </c:pt>
                <c:pt idx="29386">
                  <c:v>20.410278823586481</c:v>
                </c:pt>
                <c:pt idx="29387">
                  <c:v>54.332435352484744</c:v>
                </c:pt>
                <c:pt idx="29388">
                  <c:v>32.402920007025905</c:v>
                </c:pt>
                <c:pt idx="29389">
                  <c:v>41.434404371017592</c:v>
                </c:pt>
                <c:pt idx="29390">
                  <c:v>27.422642343195577</c:v>
                </c:pt>
                <c:pt idx="29391">
                  <c:v>39.278273546612496</c:v>
                </c:pt>
                <c:pt idx="29392">
                  <c:v>72.790992833455533</c:v>
                </c:pt>
                <c:pt idx="29393">
                  <c:v>27.517875423500477</c:v>
                </c:pt>
                <c:pt idx="29394">
                  <c:v>24.435444290790937</c:v>
                </c:pt>
                <c:pt idx="29395">
                  <c:v>21.15889272945682</c:v>
                </c:pt>
                <c:pt idx="29396">
                  <c:v>30.378760508079928</c:v>
                </c:pt>
                <c:pt idx="29397">
                  <c:v>52.747638867381141</c:v>
                </c:pt>
                <c:pt idx="29398">
                  <c:v>27.307484539159315</c:v>
                </c:pt>
                <c:pt idx="29399">
                  <c:v>20.00854991587202</c:v>
                </c:pt>
                <c:pt idx="29400">
                  <c:v>31.805049952175992</c:v>
                </c:pt>
                <c:pt idx="29401">
                  <c:v>22.640278670894944</c:v>
                </c:pt>
                <c:pt idx="29402">
                  <c:v>23.305192429824359</c:v>
                </c:pt>
                <c:pt idx="29403">
                  <c:v>52.377083620461676</c:v>
                </c:pt>
                <c:pt idx="29404">
                  <c:v>35.063486763835748</c:v>
                </c:pt>
                <c:pt idx="29405">
                  <c:v>24.425681983972705</c:v>
                </c:pt>
                <c:pt idx="29406">
                  <c:v>22.158232736447815</c:v>
                </c:pt>
                <c:pt idx="29407">
                  <c:v>31.553090110055496</c:v>
                </c:pt>
                <c:pt idx="29408">
                  <c:v>24.466080207431894</c:v>
                </c:pt>
                <c:pt idx="29409">
                  <c:v>21.491272063823153</c:v>
                </c:pt>
                <c:pt idx="29410">
                  <c:v>20.570859409945726</c:v>
                </c:pt>
                <c:pt idx="29411">
                  <c:v>38.343650931111554</c:v>
                </c:pt>
                <c:pt idx="29412">
                  <c:v>40.192782741426171</c:v>
                </c:pt>
                <c:pt idx="29413">
                  <c:v>30.406856915567957</c:v>
                </c:pt>
                <c:pt idx="29414">
                  <c:v>21.840367995235496</c:v>
                </c:pt>
                <c:pt idx="29415">
                  <c:v>29.173580242515822</c:v>
                </c:pt>
                <c:pt idx="29416">
                  <c:v>26.050975642271787</c:v>
                </c:pt>
                <c:pt idx="29417">
                  <c:v>22.355445394544898</c:v>
                </c:pt>
                <c:pt idx="29418">
                  <c:v>42.234214579609215</c:v>
                </c:pt>
                <c:pt idx="29419">
                  <c:v>34.541768442158286</c:v>
                </c:pt>
                <c:pt idx="29420">
                  <c:v>20.256764463562781</c:v>
                </c:pt>
                <c:pt idx="29421">
                  <c:v>26.961802720784178</c:v>
                </c:pt>
                <c:pt idx="29422">
                  <c:v>35.135014119317468</c:v>
                </c:pt>
                <c:pt idx="29423">
                  <c:v>30.843683245545147</c:v>
                </c:pt>
                <c:pt idx="29424">
                  <c:v>31.798222675939151</c:v>
                </c:pt>
                <c:pt idx="29425">
                  <c:v>25.941102463667985</c:v>
                </c:pt>
                <c:pt idx="29426">
                  <c:v>25.454997296081764</c:v>
                </c:pt>
                <c:pt idx="29427">
                  <c:v>34.811525032919342</c:v>
                </c:pt>
                <c:pt idx="29428">
                  <c:v>46.127244419893614</c:v>
                </c:pt>
                <c:pt idx="29429">
                  <c:v>29.982081142149632</c:v>
                </c:pt>
                <c:pt idx="29430">
                  <c:v>35.041989466712991</c:v>
                </c:pt>
                <c:pt idx="29431">
                  <c:v>25.46272249756667</c:v>
                </c:pt>
                <c:pt idx="29432">
                  <c:v>25.266438356665859</c:v>
                </c:pt>
                <c:pt idx="29433">
                  <c:v>46.339694725118065</c:v>
                </c:pt>
                <c:pt idx="29434">
                  <c:v>25.894936483813282</c:v>
                </c:pt>
                <c:pt idx="29435">
                  <c:v>25.469328566849388</c:v>
                </c:pt>
                <c:pt idx="29436">
                  <c:v>29.750974530508255</c:v>
                </c:pt>
                <c:pt idx="29437">
                  <c:v>45.581835671727966</c:v>
                </c:pt>
                <c:pt idx="29438">
                  <c:v>31.008073642275789</c:v>
                </c:pt>
                <c:pt idx="29439">
                  <c:v>24.922356192410998</c:v>
                </c:pt>
                <c:pt idx="29440">
                  <c:v>21.784444991576368</c:v>
                </c:pt>
                <c:pt idx="29441">
                  <c:v>21.794037696686122</c:v>
                </c:pt>
                <c:pt idx="29442">
                  <c:v>36.063450560553406</c:v>
                </c:pt>
                <c:pt idx="29443">
                  <c:v>44.689851611220483</c:v>
                </c:pt>
                <c:pt idx="29444">
                  <c:v>35.988835427472893</c:v>
                </c:pt>
                <c:pt idx="29445">
                  <c:v>26.375207821927219</c:v>
                </c:pt>
                <c:pt idx="29446">
                  <c:v>46.557940844252599</c:v>
                </c:pt>
                <c:pt idx="29447">
                  <c:v>25.619128039315203</c:v>
                </c:pt>
                <c:pt idx="29448">
                  <c:v>27.868443184953477</c:v>
                </c:pt>
                <c:pt idx="29449">
                  <c:v>46.130040091564609</c:v>
                </c:pt>
                <c:pt idx="29450">
                  <c:v>25.025251318063034</c:v>
                </c:pt>
                <c:pt idx="29451">
                  <c:v>35.083544380059166</c:v>
                </c:pt>
                <c:pt idx="29452">
                  <c:v>23.413712802229714</c:v>
                </c:pt>
                <c:pt idx="29453">
                  <c:v>32.54175255981778</c:v>
                </c:pt>
                <c:pt idx="29454">
                  <c:v>28.042516129573031</c:v>
                </c:pt>
                <c:pt idx="29455">
                  <c:v>25.703690177127196</c:v>
                </c:pt>
                <c:pt idx="29456">
                  <c:v>31.301401959496964</c:v>
                </c:pt>
                <c:pt idx="29457">
                  <c:v>26.702064779037123</c:v>
                </c:pt>
                <c:pt idx="29458">
                  <c:v>34.943535285278308</c:v>
                </c:pt>
                <c:pt idx="29459">
                  <c:v>28.393230155231752</c:v>
                </c:pt>
                <c:pt idx="29460">
                  <c:v>45.318289387807937</c:v>
                </c:pt>
                <c:pt idx="29461">
                  <c:v>23.747457642897071</c:v>
                </c:pt>
                <c:pt idx="29462">
                  <c:v>24.19477669900872</c:v>
                </c:pt>
                <c:pt idx="29463">
                  <c:v>37.958511183265969</c:v>
                </c:pt>
                <c:pt idx="29464">
                  <c:v>28.067715911199322</c:v>
                </c:pt>
                <c:pt idx="29465">
                  <c:v>37.630107540388103</c:v>
                </c:pt>
                <c:pt idx="29466">
                  <c:v>32.338895442693413</c:v>
                </c:pt>
                <c:pt idx="29467">
                  <c:v>26.189571687063488</c:v>
                </c:pt>
                <c:pt idx="29468">
                  <c:v>18.652699206943709</c:v>
                </c:pt>
                <c:pt idx="29469">
                  <c:v>28.644563294393492</c:v>
                </c:pt>
                <c:pt idx="29470">
                  <c:v>20.582195621132456</c:v>
                </c:pt>
                <c:pt idx="29471">
                  <c:v>21.366189991321498</c:v>
                </c:pt>
                <c:pt idx="29472">
                  <c:v>30.601955195030094</c:v>
                </c:pt>
                <c:pt idx="29473">
                  <c:v>26.363251101615724</c:v>
                </c:pt>
                <c:pt idx="29474">
                  <c:v>38.519690073583931</c:v>
                </c:pt>
                <c:pt idx="29475">
                  <c:v>20.558045087477165</c:v>
                </c:pt>
                <c:pt idx="29476">
                  <c:v>26.34861156893939</c:v>
                </c:pt>
                <c:pt idx="29477">
                  <c:v>24.709540583462882</c:v>
                </c:pt>
                <c:pt idx="29478">
                  <c:v>28.869415833423641</c:v>
                </c:pt>
                <c:pt idx="29479">
                  <c:v>32.846535390594305</c:v>
                </c:pt>
                <c:pt idx="29480">
                  <c:v>26.49075028600738</c:v>
                </c:pt>
                <c:pt idx="29481">
                  <c:v>21.04482747720008</c:v>
                </c:pt>
                <c:pt idx="29482">
                  <c:v>49.183477221693231</c:v>
                </c:pt>
                <c:pt idx="29483">
                  <c:v>25.620989016785934</c:v>
                </c:pt>
                <c:pt idx="29484">
                  <c:v>26.542081169722298</c:v>
                </c:pt>
                <c:pt idx="29485">
                  <c:v>55.577005750522815</c:v>
                </c:pt>
                <c:pt idx="29486">
                  <c:v>23.51953902369528</c:v>
                </c:pt>
                <c:pt idx="29487">
                  <c:v>28.245818876813974</c:v>
                </c:pt>
                <c:pt idx="29488">
                  <c:v>35.24364891283205</c:v>
                </c:pt>
                <c:pt idx="29489">
                  <c:v>31.704220683231661</c:v>
                </c:pt>
                <c:pt idx="29490">
                  <c:v>23.969303828526819</c:v>
                </c:pt>
                <c:pt idx="29491">
                  <c:v>31.55710487026683</c:v>
                </c:pt>
                <c:pt idx="29492">
                  <c:v>47.82329070125791</c:v>
                </c:pt>
                <c:pt idx="29493">
                  <c:v>24.131648182410089</c:v>
                </c:pt>
                <c:pt idx="29494">
                  <c:v>44.879684705417581</c:v>
                </c:pt>
                <c:pt idx="29495">
                  <c:v>27.221441519848739</c:v>
                </c:pt>
                <c:pt idx="29496">
                  <c:v>32.254730928905843</c:v>
                </c:pt>
                <c:pt idx="29497">
                  <c:v>54.111696209587244</c:v>
                </c:pt>
                <c:pt idx="29498">
                  <c:v>46.794382077044474</c:v>
                </c:pt>
                <c:pt idx="29499">
                  <c:v>29.809455505875931</c:v>
                </c:pt>
                <c:pt idx="29500">
                  <c:v>32.542051854297654</c:v>
                </c:pt>
                <c:pt idx="29501">
                  <c:v>38.294950343865516</c:v>
                </c:pt>
                <c:pt idx="29502">
                  <c:v>31.546149463383685</c:v>
                </c:pt>
                <c:pt idx="29503">
                  <c:v>48.374967812097594</c:v>
                </c:pt>
                <c:pt idx="29504">
                  <c:v>30.799161534848267</c:v>
                </c:pt>
                <c:pt idx="29505">
                  <c:v>24.003517803246449</c:v>
                </c:pt>
                <c:pt idx="29506">
                  <c:v>17.852791042155893</c:v>
                </c:pt>
                <c:pt idx="29507">
                  <c:v>17.065905847819689</c:v>
                </c:pt>
                <c:pt idx="29508">
                  <c:v>18.632051720142183</c:v>
                </c:pt>
                <c:pt idx="29509">
                  <c:v>37.150436328463314</c:v>
                </c:pt>
                <c:pt idx="29510">
                  <c:v>20.312617714210308</c:v>
                </c:pt>
                <c:pt idx="29511">
                  <c:v>21.189960466687943</c:v>
                </c:pt>
                <c:pt idx="29512">
                  <c:v>28.399128702552325</c:v>
                </c:pt>
                <c:pt idx="29513">
                  <c:v>24.773513429059843</c:v>
                </c:pt>
                <c:pt idx="29514">
                  <c:v>28.68004067742374</c:v>
                </c:pt>
                <c:pt idx="29515">
                  <c:v>27.880321224444408</c:v>
                </c:pt>
                <c:pt idx="29516">
                  <c:v>45.625394439954981</c:v>
                </c:pt>
                <c:pt idx="29517">
                  <c:v>24.161202346462467</c:v>
                </c:pt>
                <c:pt idx="29518">
                  <c:v>49.747460642486672</c:v>
                </c:pt>
                <c:pt idx="29519">
                  <c:v>37.043280285001131</c:v>
                </c:pt>
                <c:pt idx="29520">
                  <c:v>20.573179686774438</c:v>
                </c:pt>
                <c:pt idx="29521">
                  <c:v>25.568993633008859</c:v>
                </c:pt>
                <c:pt idx="29522">
                  <c:v>29.727117230252883</c:v>
                </c:pt>
                <c:pt idx="29523">
                  <c:v>24.123072905482992</c:v>
                </c:pt>
                <c:pt idx="29524">
                  <c:v>38.096908332608308</c:v>
                </c:pt>
                <c:pt idx="29525">
                  <c:v>28.76793289905175</c:v>
                </c:pt>
                <c:pt idx="29526">
                  <c:v>31.362007176415542</c:v>
                </c:pt>
                <c:pt idx="29527">
                  <c:v>52.539722374614954</c:v>
                </c:pt>
                <c:pt idx="29528">
                  <c:v>19.778674511686337</c:v>
                </c:pt>
                <c:pt idx="29529">
                  <c:v>30.631811989843857</c:v>
                </c:pt>
                <c:pt idx="29530">
                  <c:v>25.048129738737479</c:v>
                </c:pt>
                <c:pt idx="29531">
                  <c:v>44.848414741136196</c:v>
                </c:pt>
                <c:pt idx="29532">
                  <c:v>28.784375142430505</c:v>
                </c:pt>
                <c:pt idx="29533">
                  <c:v>31.331878271315325</c:v>
                </c:pt>
                <c:pt idx="29534">
                  <c:v>20.244012958542445</c:v>
                </c:pt>
                <c:pt idx="29535">
                  <c:v>38.862658725781472</c:v>
                </c:pt>
                <c:pt idx="29536">
                  <c:v>29.898462321992625</c:v>
                </c:pt>
                <c:pt idx="29537">
                  <c:v>24.082899908240403</c:v>
                </c:pt>
                <c:pt idx="29538">
                  <c:v>28.037858196941148</c:v>
                </c:pt>
                <c:pt idx="29539">
                  <c:v>26.637081569060108</c:v>
                </c:pt>
                <c:pt idx="29540">
                  <c:v>24.479635575930743</c:v>
                </c:pt>
                <c:pt idx="29541">
                  <c:v>23.7200535138976</c:v>
                </c:pt>
                <c:pt idx="29542">
                  <c:v>20.148987632738212</c:v>
                </c:pt>
                <c:pt idx="29543">
                  <c:v>32.256239933645872</c:v>
                </c:pt>
                <c:pt idx="29544">
                  <c:v>29.042047973746516</c:v>
                </c:pt>
                <c:pt idx="29545">
                  <c:v>22.962450751601867</c:v>
                </c:pt>
                <c:pt idx="29546">
                  <c:v>18.80478118782888</c:v>
                </c:pt>
                <c:pt idx="29547">
                  <c:v>27.67561663076253</c:v>
                </c:pt>
                <c:pt idx="29548">
                  <c:v>35.516939878109142</c:v>
                </c:pt>
                <c:pt idx="29549">
                  <c:v>34.258362196468994</c:v>
                </c:pt>
                <c:pt idx="29550">
                  <c:v>18.819696791187987</c:v>
                </c:pt>
                <c:pt idx="29551">
                  <c:v>24.100216988439726</c:v>
                </c:pt>
                <c:pt idx="29552">
                  <c:v>45.868423685510116</c:v>
                </c:pt>
                <c:pt idx="29553">
                  <c:v>25.925109769365889</c:v>
                </c:pt>
                <c:pt idx="29554">
                  <c:v>33.213933001925753</c:v>
                </c:pt>
                <c:pt idx="29555">
                  <c:v>31.131443347436349</c:v>
                </c:pt>
                <c:pt idx="29556">
                  <c:v>42.798118305427479</c:v>
                </c:pt>
                <c:pt idx="29557">
                  <c:v>37.659912117275013</c:v>
                </c:pt>
                <c:pt idx="29558">
                  <c:v>32.807838160183238</c:v>
                </c:pt>
                <c:pt idx="29559">
                  <c:v>28.142642394895013</c:v>
                </c:pt>
                <c:pt idx="29560">
                  <c:v>27.166540040483394</c:v>
                </c:pt>
                <c:pt idx="29561">
                  <c:v>25.017157178008368</c:v>
                </c:pt>
                <c:pt idx="29562">
                  <c:v>43.725697592069658</c:v>
                </c:pt>
                <c:pt idx="29563">
                  <c:v>26.368137169783132</c:v>
                </c:pt>
                <c:pt idx="29564">
                  <c:v>29.826021119694484</c:v>
                </c:pt>
                <c:pt idx="29565">
                  <c:v>22.941045031238545</c:v>
                </c:pt>
                <c:pt idx="29566">
                  <c:v>19.260572008404029</c:v>
                </c:pt>
                <c:pt idx="29567">
                  <c:v>24.006167491620506</c:v>
                </c:pt>
                <c:pt idx="29568">
                  <c:v>33.391742546691532</c:v>
                </c:pt>
                <c:pt idx="29569">
                  <c:v>25.554649855071865</c:v>
                </c:pt>
                <c:pt idx="29570">
                  <c:v>29.615003639284083</c:v>
                </c:pt>
                <c:pt idx="29571">
                  <c:v>25.438366593162403</c:v>
                </c:pt>
                <c:pt idx="29572">
                  <c:v>24.011665439094593</c:v>
                </c:pt>
                <c:pt idx="29573">
                  <c:v>24.15541938020899</c:v>
                </c:pt>
                <c:pt idx="29574">
                  <c:v>24.028827144651675</c:v>
                </c:pt>
                <c:pt idx="29575">
                  <c:v>27.184470473683604</c:v>
                </c:pt>
                <c:pt idx="29576">
                  <c:v>28.951368968798644</c:v>
                </c:pt>
                <c:pt idx="29577">
                  <c:v>43.529486347579592</c:v>
                </c:pt>
                <c:pt idx="29578">
                  <c:v>31.404624477404568</c:v>
                </c:pt>
                <c:pt idx="29579">
                  <c:v>21.863891490674312</c:v>
                </c:pt>
                <c:pt idx="29580">
                  <c:v>27.028429987169119</c:v>
                </c:pt>
                <c:pt idx="29581">
                  <c:v>25.064534180725893</c:v>
                </c:pt>
                <c:pt idx="29582">
                  <c:v>42.927117639599608</c:v>
                </c:pt>
                <c:pt idx="29583">
                  <c:v>26.934495630393435</c:v>
                </c:pt>
                <c:pt idx="29584">
                  <c:v>28.53583435555533</c:v>
                </c:pt>
                <c:pt idx="29585">
                  <c:v>31.824669466866748</c:v>
                </c:pt>
                <c:pt idx="29586">
                  <c:v>31.786448051217448</c:v>
                </c:pt>
                <c:pt idx="29587">
                  <c:v>50.482960433771431</c:v>
                </c:pt>
                <c:pt idx="29588">
                  <c:v>23.49408830490249</c:v>
                </c:pt>
                <c:pt idx="29589">
                  <c:v>23.788440776239092</c:v>
                </c:pt>
                <c:pt idx="29590">
                  <c:v>16.964683914080304</c:v>
                </c:pt>
                <c:pt idx="29591">
                  <c:v>21.628780618280206</c:v>
                </c:pt>
                <c:pt idx="29592">
                  <c:v>53.92263265201106</c:v>
                </c:pt>
                <c:pt idx="29593">
                  <c:v>32.791209558943514</c:v>
                </c:pt>
                <c:pt idx="29594">
                  <c:v>23.255057001130751</c:v>
                </c:pt>
                <c:pt idx="29595">
                  <c:v>28.772216546890238</c:v>
                </c:pt>
                <c:pt idx="29596">
                  <c:v>30.583971233823945</c:v>
                </c:pt>
                <c:pt idx="29597">
                  <c:v>55.436569848998751</c:v>
                </c:pt>
                <c:pt idx="29598">
                  <c:v>22.685483547919112</c:v>
                </c:pt>
                <c:pt idx="29599">
                  <c:v>27.521788510905445</c:v>
                </c:pt>
                <c:pt idx="29600">
                  <c:v>23.011410368981466</c:v>
                </c:pt>
                <c:pt idx="29601">
                  <c:v>42.844154446482975</c:v>
                </c:pt>
                <c:pt idx="29602">
                  <c:v>50.30362977162001</c:v>
                </c:pt>
                <c:pt idx="29603">
                  <c:v>39.07265206991633</c:v>
                </c:pt>
                <c:pt idx="29604">
                  <c:v>28.539968385576472</c:v>
                </c:pt>
                <c:pt idx="29605">
                  <c:v>47.159149987969585</c:v>
                </c:pt>
                <c:pt idx="29606">
                  <c:v>24.952200263184434</c:v>
                </c:pt>
                <c:pt idx="29607">
                  <c:v>23.604620404799853</c:v>
                </c:pt>
                <c:pt idx="29608">
                  <c:v>24.3770238087459</c:v>
                </c:pt>
                <c:pt idx="29609">
                  <c:v>40.373519279997709</c:v>
                </c:pt>
                <c:pt idx="29610">
                  <c:v>29.893589171913192</c:v>
                </c:pt>
                <c:pt idx="29611">
                  <c:v>25.117509737985067</c:v>
                </c:pt>
                <c:pt idx="29612">
                  <c:v>27.036933972054285</c:v>
                </c:pt>
                <c:pt idx="29613">
                  <c:v>24.581515706699371</c:v>
                </c:pt>
                <c:pt idx="29614">
                  <c:v>37.14325104931229</c:v>
                </c:pt>
                <c:pt idx="29615">
                  <c:v>19.995980523873087</c:v>
                </c:pt>
                <c:pt idx="29616">
                  <c:v>31.383089119968741</c:v>
                </c:pt>
                <c:pt idx="29617">
                  <c:v>30.03965416594037</c:v>
                </c:pt>
                <c:pt idx="29618">
                  <c:v>16.628141301482795</c:v>
                </c:pt>
                <c:pt idx="29619">
                  <c:v>18.131814968896549</c:v>
                </c:pt>
                <c:pt idx="29620">
                  <c:v>23.313910532802296</c:v>
                </c:pt>
                <c:pt idx="29621">
                  <c:v>53.400910963094539</c:v>
                </c:pt>
                <c:pt idx="29622">
                  <c:v>30.081021419689577</c:v>
                </c:pt>
                <c:pt idx="29623">
                  <c:v>26.649708468756383</c:v>
                </c:pt>
                <c:pt idx="29624">
                  <c:v>28.444668057992843</c:v>
                </c:pt>
                <c:pt idx="29625">
                  <c:v>22.498044740885767</c:v>
                </c:pt>
                <c:pt idx="29626">
                  <c:v>22.176794499152912</c:v>
                </c:pt>
                <c:pt idx="29627">
                  <c:v>26.99434106784669</c:v>
                </c:pt>
                <c:pt idx="29628">
                  <c:v>32.68445276962769</c:v>
                </c:pt>
                <c:pt idx="29629">
                  <c:v>41.840608268640374</c:v>
                </c:pt>
                <c:pt idx="29630">
                  <c:v>29.839894574637682</c:v>
                </c:pt>
                <c:pt idx="29631">
                  <c:v>40.674302088507027</c:v>
                </c:pt>
                <c:pt idx="29632">
                  <c:v>48.820756725769378</c:v>
                </c:pt>
                <c:pt idx="29633">
                  <c:v>27.452870420879698</c:v>
                </c:pt>
                <c:pt idx="29634">
                  <c:v>23.85747842987498</c:v>
                </c:pt>
                <c:pt idx="29635">
                  <c:v>53.089768543418636</c:v>
                </c:pt>
                <c:pt idx="29636">
                  <c:v>28.208925858004772</c:v>
                </c:pt>
                <c:pt idx="29637">
                  <c:v>48.048497556873258</c:v>
                </c:pt>
                <c:pt idx="29638">
                  <c:v>31.450808854646379</c:v>
                </c:pt>
                <c:pt idx="29639">
                  <c:v>18.237128396273594</c:v>
                </c:pt>
                <c:pt idx="29640">
                  <c:v>20.100298883397912</c:v>
                </c:pt>
                <c:pt idx="29641">
                  <c:v>22.07006709046362</c:v>
                </c:pt>
                <c:pt idx="29642">
                  <c:v>28.554854743453689</c:v>
                </c:pt>
                <c:pt idx="29643">
                  <c:v>49.015404740535814</c:v>
                </c:pt>
                <c:pt idx="29644">
                  <c:v>21.254655627210884</c:v>
                </c:pt>
                <c:pt idx="29645">
                  <c:v>25.02540990636184</c:v>
                </c:pt>
                <c:pt idx="29646">
                  <c:v>50.088034003473489</c:v>
                </c:pt>
                <c:pt idx="29647">
                  <c:v>31.511121635457556</c:v>
                </c:pt>
                <c:pt idx="29648">
                  <c:v>23.840116600830932</c:v>
                </c:pt>
                <c:pt idx="29649">
                  <c:v>52.003978328450259</c:v>
                </c:pt>
                <c:pt idx="29650">
                  <c:v>27.10767708775855</c:v>
                </c:pt>
                <c:pt idx="29651">
                  <c:v>47.855291632838302</c:v>
                </c:pt>
                <c:pt idx="29652">
                  <c:v>24.927446558653614</c:v>
                </c:pt>
                <c:pt idx="29653">
                  <c:v>44.560650684992481</c:v>
                </c:pt>
                <c:pt idx="29654">
                  <c:v>15.964044348541419</c:v>
                </c:pt>
                <c:pt idx="29655">
                  <c:v>28.727872550292346</c:v>
                </c:pt>
                <c:pt idx="29656">
                  <c:v>26.56355015792699</c:v>
                </c:pt>
                <c:pt idx="29657">
                  <c:v>44.687246999012672</c:v>
                </c:pt>
                <c:pt idx="29658">
                  <c:v>26.088415748158457</c:v>
                </c:pt>
                <c:pt idx="29659">
                  <c:v>32.062388241215615</c:v>
                </c:pt>
                <c:pt idx="29660">
                  <c:v>46.181276086961596</c:v>
                </c:pt>
                <c:pt idx="29661">
                  <c:v>50.927372565958834</c:v>
                </c:pt>
                <c:pt idx="29662">
                  <c:v>24.050901378688572</c:v>
                </c:pt>
                <c:pt idx="29663">
                  <c:v>34.264787594113301</c:v>
                </c:pt>
                <c:pt idx="29664">
                  <c:v>27.339519670525036</c:v>
                </c:pt>
                <c:pt idx="29665">
                  <c:v>30.873729488916304</c:v>
                </c:pt>
                <c:pt idx="29666">
                  <c:v>40.905749671495812</c:v>
                </c:pt>
                <c:pt idx="29667">
                  <c:v>25.374354334411628</c:v>
                </c:pt>
                <c:pt idx="29668">
                  <c:v>28.51726426026255</c:v>
                </c:pt>
                <c:pt idx="29669">
                  <c:v>30.662205666621357</c:v>
                </c:pt>
                <c:pt idx="29670">
                  <c:v>29.293356598943678</c:v>
                </c:pt>
                <c:pt idx="29671">
                  <c:v>27.0117197448985</c:v>
                </c:pt>
                <c:pt idx="29672">
                  <c:v>47.756596671972588</c:v>
                </c:pt>
                <c:pt idx="29673">
                  <c:v>27.537129304813668</c:v>
                </c:pt>
                <c:pt idx="29674">
                  <c:v>27.259836675628996</c:v>
                </c:pt>
                <c:pt idx="29675">
                  <c:v>16.311798117735787</c:v>
                </c:pt>
                <c:pt idx="29676">
                  <c:v>29.850108035773335</c:v>
                </c:pt>
                <c:pt idx="29677">
                  <c:v>38.608526941550885</c:v>
                </c:pt>
                <c:pt idx="29678">
                  <c:v>16.891526962428934</c:v>
                </c:pt>
                <c:pt idx="29679">
                  <c:v>50.528136215984226</c:v>
                </c:pt>
                <c:pt idx="29680">
                  <c:v>24.200432060934041</c:v>
                </c:pt>
                <c:pt idx="29681">
                  <c:v>31.656930809663425</c:v>
                </c:pt>
                <c:pt idx="29682">
                  <c:v>37.06309919468562</c:v>
                </c:pt>
                <c:pt idx="29683">
                  <c:v>33.649815044232561</c:v>
                </c:pt>
                <c:pt idx="29684">
                  <c:v>27.497153870337243</c:v>
                </c:pt>
                <c:pt idx="29685">
                  <c:v>55.48220487886649</c:v>
                </c:pt>
                <c:pt idx="29686">
                  <c:v>36.553298761275428</c:v>
                </c:pt>
                <c:pt idx="29687">
                  <c:v>27.038779366535202</c:v>
                </c:pt>
                <c:pt idx="29688">
                  <c:v>19.245423661193232</c:v>
                </c:pt>
                <c:pt idx="29689">
                  <c:v>23.359234908562122</c:v>
                </c:pt>
                <c:pt idx="29690">
                  <c:v>35.728786957708863</c:v>
                </c:pt>
                <c:pt idx="29691">
                  <c:v>25.487642740748662</c:v>
                </c:pt>
                <c:pt idx="29692">
                  <c:v>24.742501974467082</c:v>
                </c:pt>
                <c:pt idx="29693">
                  <c:v>31.884507384637722</c:v>
                </c:pt>
                <c:pt idx="29694">
                  <c:v>50.51981147179314</c:v>
                </c:pt>
                <c:pt idx="29695">
                  <c:v>34.902819553559134</c:v>
                </c:pt>
                <c:pt idx="29696">
                  <c:v>54.204367515982547</c:v>
                </c:pt>
                <c:pt idx="29697">
                  <c:v>21.727648906806742</c:v>
                </c:pt>
                <c:pt idx="29698">
                  <c:v>25.0974378403386</c:v>
                </c:pt>
                <c:pt idx="29699">
                  <c:v>30.889424461404715</c:v>
                </c:pt>
                <c:pt idx="29700">
                  <c:v>27.066295322782533</c:v>
                </c:pt>
                <c:pt idx="29701">
                  <c:v>33.589005770766221</c:v>
                </c:pt>
                <c:pt idx="29702">
                  <c:v>26.52018626072822</c:v>
                </c:pt>
                <c:pt idx="29703">
                  <c:v>22.261937965047409</c:v>
                </c:pt>
                <c:pt idx="29704">
                  <c:v>57.793699974863998</c:v>
                </c:pt>
                <c:pt idx="29705">
                  <c:v>25.94514281357181</c:v>
                </c:pt>
                <c:pt idx="29706">
                  <c:v>17.259985777266465</c:v>
                </c:pt>
                <c:pt idx="29707">
                  <c:v>20.055899523220582</c:v>
                </c:pt>
                <c:pt idx="29708">
                  <c:v>26.443025577736432</c:v>
                </c:pt>
                <c:pt idx="29709">
                  <c:v>25.052732411075134</c:v>
                </c:pt>
                <c:pt idx="29710">
                  <c:v>28.443355295585683</c:v>
                </c:pt>
                <c:pt idx="29711">
                  <c:v>32.063420235767055</c:v>
                </c:pt>
                <c:pt idx="29712">
                  <c:v>31.928808649265775</c:v>
                </c:pt>
                <c:pt idx="29713">
                  <c:v>26.401775696127594</c:v>
                </c:pt>
                <c:pt idx="29714">
                  <c:v>27.675448150504891</c:v>
                </c:pt>
                <c:pt idx="29715">
                  <c:v>28.842673102734782</c:v>
                </c:pt>
                <c:pt idx="29716">
                  <c:v>39.705973084900982</c:v>
                </c:pt>
                <c:pt idx="29717">
                  <c:v>24.072360102632409</c:v>
                </c:pt>
                <c:pt idx="29718">
                  <c:v>35.09948574943008</c:v>
                </c:pt>
                <c:pt idx="29719">
                  <c:v>18.243140718615159</c:v>
                </c:pt>
                <c:pt idx="29720">
                  <c:v>22.008131464803501</c:v>
                </c:pt>
                <c:pt idx="29721">
                  <c:v>31.860532272938723</c:v>
                </c:pt>
                <c:pt idx="29722">
                  <c:v>34.597162057906814</c:v>
                </c:pt>
                <c:pt idx="29723">
                  <c:v>31.477195200729891</c:v>
                </c:pt>
                <c:pt idx="29724">
                  <c:v>30.367065023768742</c:v>
                </c:pt>
                <c:pt idx="29725">
                  <c:v>24.204297983584283</c:v>
                </c:pt>
                <c:pt idx="29726">
                  <c:v>17.41211052591752</c:v>
                </c:pt>
                <c:pt idx="29727">
                  <c:v>53.594593101110142</c:v>
                </c:pt>
                <c:pt idx="29728">
                  <c:v>30.007767260379207</c:v>
                </c:pt>
                <c:pt idx="29729">
                  <c:v>55.389945488219261</c:v>
                </c:pt>
                <c:pt idx="29730">
                  <c:v>31.432673601019065</c:v>
                </c:pt>
                <c:pt idx="29731">
                  <c:v>22.534812029744231</c:v>
                </c:pt>
                <c:pt idx="29732">
                  <c:v>27.962684472973152</c:v>
                </c:pt>
                <c:pt idx="29733">
                  <c:v>26.678654710122352</c:v>
                </c:pt>
                <c:pt idx="29734">
                  <c:v>25.069271057750711</c:v>
                </c:pt>
                <c:pt idx="29735">
                  <c:v>28.264601665637681</c:v>
                </c:pt>
                <c:pt idx="29736">
                  <c:v>25.521223603691219</c:v>
                </c:pt>
                <c:pt idx="29737">
                  <c:v>23.823769704552095</c:v>
                </c:pt>
                <c:pt idx="29738">
                  <c:v>23.768771950471908</c:v>
                </c:pt>
                <c:pt idx="29739">
                  <c:v>37.938573684311734</c:v>
                </c:pt>
                <c:pt idx="29740">
                  <c:v>33.576869034262579</c:v>
                </c:pt>
                <c:pt idx="29741">
                  <c:v>44.264425454404261</c:v>
                </c:pt>
                <c:pt idx="29742">
                  <c:v>31.738058791765038</c:v>
                </c:pt>
                <c:pt idx="29743">
                  <c:v>27.925873242112534</c:v>
                </c:pt>
                <c:pt idx="29744">
                  <c:v>33.096262217437477</c:v>
                </c:pt>
                <c:pt idx="29745">
                  <c:v>40.310316930620175</c:v>
                </c:pt>
                <c:pt idx="29746">
                  <c:v>24.999741286242461</c:v>
                </c:pt>
                <c:pt idx="29747">
                  <c:v>41.191345694960567</c:v>
                </c:pt>
                <c:pt idx="29748">
                  <c:v>34.548430012520541</c:v>
                </c:pt>
                <c:pt idx="29749">
                  <c:v>26.053805936623089</c:v>
                </c:pt>
                <c:pt idx="29750">
                  <c:v>29.056450083576763</c:v>
                </c:pt>
                <c:pt idx="29751">
                  <c:v>29.976175469943911</c:v>
                </c:pt>
                <c:pt idx="29752">
                  <c:v>31.160165638019393</c:v>
                </c:pt>
                <c:pt idx="29753">
                  <c:v>22.402660512179544</c:v>
                </c:pt>
                <c:pt idx="29754">
                  <c:v>20.618193256719316</c:v>
                </c:pt>
                <c:pt idx="29755">
                  <c:v>19.88364998050486</c:v>
                </c:pt>
                <c:pt idx="29756">
                  <c:v>25.882326271605933</c:v>
                </c:pt>
                <c:pt idx="29757">
                  <c:v>28.95258961502546</c:v>
                </c:pt>
                <c:pt idx="29758">
                  <c:v>26.053808690550696</c:v>
                </c:pt>
                <c:pt idx="29759">
                  <c:v>25.630332357603308</c:v>
                </c:pt>
                <c:pt idx="29760">
                  <c:v>26.305429023185102</c:v>
                </c:pt>
                <c:pt idx="29761">
                  <c:v>22.683861091311396</c:v>
                </c:pt>
                <c:pt idx="29762">
                  <c:v>42.278787058430112</c:v>
                </c:pt>
                <c:pt idx="29763">
                  <c:v>20.2600756064687</c:v>
                </c:pt>
                <c:pt idx="29764">
                  <c:v>31.041157288313052</c:v>
                </c:pt>
                <c:pt idx="29765">
                  <c:v>21.930792293295649</c:v>
                </c:pt>
                <c:pt idx="29766">
                  <c:v>23.979086554865777</c:v>
                </c:pt>
                <c:pt idx="29767">
                  <c:v>21.747002613262552</c:v>
                </c:pt>
                <c:pt idx="29768">
                  <c:v>24.783300345419612</c:v>
                </c:pt>
                <c:pt idx="29769">
                  <c:v>29.877816081280603</c:v>
                </c:pt>
                <c:pt idx="29770">
                  <c:v>24.122968696849494</c:v>
                </c:pt>
                <c:pt idx="29771">
                  <c:v>27.408754074407547</c:v>
                </c:pt>
                <c:pt idx="29772">
                  <c:v>24.462145539420771</c:v>
                </c:pt>
                <c:pt idx="29773">
                  <c:v>20.648209472296546</c:v>
                </c:pt>
                <c:pt idx="29774">
                  <c:v>29.347451509671174</c:v>
                </c:pt>
                <c:pt idx="29775">
                  <c:v>29.209773220352972</c:v>
                </c:pt>
                <c:pt idx="29776">
                  <c:v>27.137770162963761</c:v>
                </c:pt>
                <c:pt idx="29777">
                  <c:v>29.357879759852445</c:v>
                </c:pt>
                <c:pt idx="29778">
                  <c:v>29.07674136912734</c:v>
                </c:pt>
                <c:pt idx="29779">
                  <c:v>22.036093243987338</c:v>
                </c:pt>
                <c:pt idx="29780">
                  <c:v>26.507598448338491</c:v>
                </c:pt>
                <c:pt idx="29781">
                  <c:v>45.261691508860643</c:v>
                </c:pt>
                <c:pt idx="29782">
                  <c:v>26.823568179008266</c:v>
                </c:pt>
                <c:pt idx="29783">
                  <c:v>26.920620958077031</c:v>
                </c:pt>
                <c:pt idx="29784">
                  <c:v>49.729003675815434</c:v>
                </c:pt>
                <c:pt idx="29785">
                  <c:v>21.358535635656434</c:v>
                </c:pt>
                <c:pt idx="29786">
                  <c:v>26.482886180638705</c:v>
                </c:pt>
                <c:pt idx="29787">
                  <c:v>24.26905243592952</c:v>
                </c:pt>
                <c:pt idx="29788">
                  <c:v>37.136586811501786</c:v>
                </c:pt>
                <c:pt idx="29789">
                  <c:v>52.415046589779323</c:v>
                </c:pt>
                <c:pt idx="29790">
                  <c:v>25.813007994945671</c:v>
                </c:pt>
                <c:pt idx="29791">
                  <c:v>44.793174608365725</c:v>
                </c:pt>
                <c:pt idx="29792">
                  <c:v>51.723733552907959</c:v>
                </c:pt>
                <c:pt idx="29793">
                  <c:v>49.624257310622099</c:v>
                </c:pt>
                <c:pt idx="29794">
                  <c:v>35.180709377932523</c:v>
                </c:pt>
                <c:pt idx="29795">
                  <c:v>24.480819586417862</c:v>
                </c:pt>
                <c:pt idx="29796">
                  <c:v>30.180132165204355</c:v>
                </c:pt>
                <c:pt idx="29797">
                  <c:v>43.87548749394378</c:v>
                </c:pt>
                <c:pt idx="29798">
                  <c:v>23.903670718094279</c:v>
                </c:pt>
                <c:pt idx="29799">
                  <c:v>23.909591036618558</c:v>
                </c:pt>
                <c:pt idx="29800">
                  <c:v>26.681804895682671</c:v>
                </c:pt>
                <c:pt idx="29801">
                  <c:v>32.463952222082106</c:v>
                </c:pt>
                <c:pt idx="29802">
                  <c:v>38.162727989548237</c:v>
                </c:pt>
                <c:pt idx="29803">
                  <c:v>35.383378146782348</c:v>
                </c:pt>
                <c:pt idx="29804">
                  <c:v>22.455093607533449</c:v>
                </c:pt>
                <c:pt idx="29805">
                  <c:v>54.576737731191898</c:v>
                </c:pt>
                <c:pt idx="29806">
                  <c:v>47.18927491384072</c:v>
                </c:pt>
                <c:pt idx="29807">
                  <c:v>27.918272931229232</c:v>
                </c:pt>
                <c:pt idx="29808">
                  <c:v>49.387131733154639</c:v>
                </c:pt>
                <c:pt idx="29809">
                  <c:v>48.941527818684726</c:v>
                </c:pt>
                <c:pt idx="29810">
                  <c:v>25.262123275721436</c:v>
                </c:pt>
                <c:pt idx="29811">
                  <c:v>34.915662190139031</c:v>
                </c:pt>
                <c:pt idx="29812">
                  <c:v>22.757213843525456</c:v>
                </c:pt>
                <c:pt idx="29813">
                  <c:v>25.980745652621433</c:v>
                </c:pt>
                <c:pt idx="29814">
                  <c:v>20.670502410178052</c:v>
                </c:pt>
                <c:pt idx="29815">
                  <c:v>22.226016469068494</c:v>
                </c:pt>
                <c:pt idx="29816">
                  <c:v>33.758441820527757</c:v>
                </c:pt>
                <c:pt idx="29817">
                  <c:v>44.614808136332428</c:v>
                </c:pt>
                <c:pt idx="29818">
                  <c:v>26.773012871481413</c:v>
                </c:pt>
                <c:pt idx="29819">
                  <c:v>56.9505177440317</c:v>
                </c:pt>
                <c:pt idx="29820">
                  <c:v>33.764702028510513</c:v>
                </c:pt>
                <c:pt idx="29821">
                  <c:v>30.593088545153396</c:v>
                </c:pt>
                <c:pt idx="29822">
                  <c:v>30.118698889820521</c:v>
                </c:pt>
                <c:pt idx="29823">
                  <c:v>23.292031174069493</c:v>
                </c:pt>
                <c:pt idx="29824">
                  <c:v>49.852171869119182</c:v>
                </c:pt>
                <c:pt idx="29825">
                  <c:v>37.905027286818445</c:v>
                </c:pt>
                <c:pt idx="29826">
                  <c:v>31.132334142105403</c:v>
                </c:pt>
                <c:pt idx="29827">
                  <c:v>60.525587592833709</c:v>
                </c:pt>
                <c:pt idx="29828">
                  <c:v>30.406367535896443</c:v>
                </c:pt>
                <c:pt idx="29829">
                  <c:v>50.972220400422607</c:v>
                </c:pt>
                <c:pt idx="29830">
                  <c:v>25.213985372422833</c:v>
                </c:pt>
                <c:pt idx="29831">
                  <c:v>47.425980325900817</c:v>
                </c:pt>
                <c:pt idx="29832">
                  <c:v>28.220505921553325</c:v>
                </c:pt>
                <c:pt idx="29833">
                  <c:v>37.017809544814305</c:v>
                </c:pt>
                <c:pt idx="29834">
                  <c:v>24.837533492935002</c:v>
                </c:pt>
                <c:pt idx="29835">
                  <c:v>19.691691580271474</c:v>
                </c:pt>
                <c:pt idx="29836">
                  <c:v>17.977265225025199</c:v>
                </c:pt>
                <c:pt idx="29837">
                  <c:v>28.047563352604552</c:v>
                </c:pt>
                <c:pt idx="29838">
                  <c:v>25.192548789625064</c:v>
                </c:pt>
                <c:pt idx="29839">
                  <c:v>23.627572494743077</c:v>
                </c:pt>
                <c:pt idx="29840">
                  <c:v>24.276450449697986</c:v>
                </c:pt>
                <c:pt idx="29841">
                  <c:v>43.953177296762235</c:v>
                </c:pt>
                <c:pt idx="29842">
                  <c:v>25.801770180789557</c:v>
                </c:pt>
                <c:pt idx="29843">
                  <c:v>27.307026889311228</c:v>
                </c:pt>
                <c:pt idx="29844">
                  <c:v>25.747648420586799</c:v>
                </c:pt>
                <c:pt idx="29845">
                  <c:v>26.037271393394935</c:v>
                </c:pt>
                <c:pt idx="29846">
                  <c:v>45.160732357013394</c:v>
                </c:pt>
                <c:pt idx="29847">
                  <c:v>46.88209450901725</c:v>
                </c:pt>
                <c:pt idx="29848">
                  <c:v>30.459063499992642</c:v>
                </c:pt>
                <c:pt idx="29849">
                  <c:v>42.438317660050899</c:v>
                </c:pt>
                <c:pt idx="29850">
                  <c:v>28.765347169092159</c:v>
                </c:pt>
                <c:pt idx="29851">
                  <c:v>26.399957742926773</c:v>
                </c:pt>
                <c:pt idx="29852">
                  <c:v>27.488415346890484</c:v>
                </c:pt>
                <c:pt idx="29853">
                  <c:v>20.200239242179286</c:v>
                </c:pt>
                <c:pt idx="29854">
                  <c:v>26.643346045425147</c:v>
                </c:pt>
                <c:pt idx="29855">
                  <c:v>28.391532239481492</c:v>
                </c:pt>
                <c:pt idx="29856">
                  <c:v>26.63746886509675</c:v>
                </c:pt>
                <c:pt idx="29857">
                  <c:v>52.718625805972778</c:v>
                </c:pt>
                <c:pt idx="29858">
                  <c:v>34.885133126871978</c:v>
                </c:pt>
                <c:pt idx="29859">
                  <c:v>22.686093340975237</c:v>
                </c:pt>
                <c:pt idx="29860">
                  <c:v>25.59907456924406</c:v>
                </c:pt>
                <c:pt idx="29861">
                  <c:v>48.728312665254059</c:v>
                </c:pt>
                <c:pt idx="29862">
                  <c:v>32.7973348805711</c:v>
                </c:pt>
                <c:pt idx="29863">
                  <c:v>23.996844175429665</c:v>
                </c:pt>
                <c:pt idx="29864">
                  <c:v>42.596933174014751</c:v>
                </c:pt>
                <c:pt idx="29865">
                  <c:v>23.257410066778203</c:v>
                </c:pt>
                <c:pt idx="29866">
                  <c:v>25.119763709968851</c:v>
                </c:pt>
                <c:pt idx="29867">
                  <c:v>30.730441050412772</c:v>
                </c:pt>
                <c:pt idx="29868">
                  <c:v>44.502463339877835</c:v>
                </c:pt>
                <c:pt idx="29869">
                  <c:v>23.276645507112988</c:v>
                </c:pt>
                <c:pt idx="29870">
                  <c:v>26.546059195578401</c:v>
                </c:pt>
                <c:pt idx="29871">
                  <c:v>19.461845226223758</c:v>
                </c:pt>
                <c:pt idx="29872">
                  <c:v>23.144726816627735</c:v>
                </c:pt>
                <c:pt idx="29873">
                  <c:v>26.811207574629982</c:v>
                </c:pt>
                <c:pt idx="29874">
                  <c:v>28.994309137433795</c:v>
                </c:pt>
                <c:pt idx="29875">
                  <c:v>35.404267518727103</c:v>
                </c:pt>
                <c:pt idx="29876">
                  <c:v>24.897334491591643</c:v>
                </c:pt>
                <c:pt idx="29877">
                  <c:v>33.037525731706857</c:v>
                </c:pt>
                <c:pt idx="29878">
                  <c:v>26.958251767352053</c:v>
                </c:pt>
                <c:pt idx="29879">
                  <c:v>37.401570807389319</c:v>
                </c:pt>
                <c:pt idx="29880">
                  <c:v>24.486189294924245</c:v>
                </c:pt>
                <c:pt idx="29881">
                  <c:v>23.281153507143912</c:v>
                </c:pt>
                <c:pt idx="29882">
                  <c:v>79.414323190372627</c:v>
                </c:pt>
                <c:pt idx="29883">
                  <c:v>35.836052500304071</c:v>
                </c:pt>
                <c:pt idx="29884">
                  <c:v>25.495222292570617</c:v>
                </c:pt>
                <c:pt idx="29885">
                  <c:v>29.080413536857044</c:v>
                </c:pt>
                <c:pt idx="29886">
                  <c:v>22.735031774726124</c:v>
                </c:pt>
                <c:pt idx="29887">
                  <c:v>29.728541639037704</c:v>
                </c:pt>
                <c:pt idx="29888">
                  <c:v>29.926548486475298</c:v>
                </c:pt>
                <c:pt idx="29889">
                  <c:v>46.995930514391105</c:v>
                </c:pt>
                <c:pt idx="29890">
                  <c:v>24.71459062416173</c:v>
                </c:pt>
                <c:pt idx="29891">
                  <c:v>54.288345004671172</c:v>
                </c:pt>
                <c:pt idx="29892">
                  <c:v>39.119451746645296</c:v>
                </c:pt>
                <c:pt idx="29893">
                  <c:v>26.27535118898053</c:v>
                </c:pt>
                <c:pt idx="29894">
                  <c:v>23.388131273772235</c:v>
                </c:pt>
                <c:pt idx="29895">
                  <c:v>31.539707612136517</c:v>
                </c:pt>
                <c:pt idx="29896">
                  <c:v>22.09757316509749</c:v>
                </c:pt>
                <c:pt idx="29897">
                  <c:v>25.328311748575615</c:v>
                </c:pt>
                <c:pt idx="29898">
                  <c:v>19.768032105477218</c:v>
                </c:pt>
                <c:pt idx="29899">
                  <c:v>29.639227678417583</c:v>
                </c:pt>
                <c:pt idx="29900">
                  <c:v>24.137255958035226</c:v>
                </c:pt>
                <c:pt idx="29901">
                  <c:v>25.319772674456281</c:v>
                </c:pt>
                <c:pt idx="29902">
                  <c:v>21.522456165839657</c:v>
                </c:pt>
                <c:pt idx="29903">
                  <c:v>27.923411740860562</c:v>
                </c:pt>
                <c:pt idx="29904">
                  <c:v>31.719493806963044</c:v>
                </c:pt>
                <c:pt idx="29905">
                  <c:v>23.604531664161442</c:v>
                </c:pt>
                <c:pt idx="29906">
                  <c:v>29.976397232604789</c:v>
                </c:pt>
                <c:pt idx="29907">
                  <c:v>26.275760607865237</c:v>
                </c:pt>
                <c:pt idx="29908">
                  <c:v>21.033139580993371</c:v>
                </c:pt>
                <c:pt idx="29909">
                  <c:v>28.008976292437637</c:v>
                </c:pt>
                <c:pt idx="29910">
                  <c:v>56.708079009704477</c:v>
                </c:pt>
                <c:pt idx="29911">
                  <c:v>19.97559774981411</c:v>
                </c:pt>
                <c:pt idx="29912">
                  <c:v>34.440054718860303</c:v>
                </c:pt>
                <c:pt idx="29913">
                  <c:v>25.467163262131145</c:v>
                </c:pt>
                <c:pt idx="29914">
                  <c:v>27.119079020808986</c:v>
                </c:pt>
                <c:pt idx="29915">
                  <c:v>44.152219391963975</c:v>
                </c:pt>
                <c:pt idx="29916">
                  <c:v>27.996165360009257</c:v>
                </c:pt>
                <c:pt idx="29917">
                  <c:v>26.443056755614904</c:v>
                </c:pt>
                <c:pt idx="29918">
                  <c:v>28.494861473044992</c:v>
                </c:pt>
                <c:pt idx="29919">
                  <c:v>29.94252089944586</c:v>
                </c:pt>
                <c:pt idx="29920">
                  <c:v>32.634532372098818</c:v>
                </c:pt>
                <c:pt idx="29921">
                  <c:v>26.180993339385239</c:v>
                </c:pt>
                <c:pt idx="29922">
                  <c:v>21.47343417063783</c:v>
                </c:pt>
                <c:pt idx="29923">
                  <c:v>52.368146278490563</c:v>
                </c:pt>
                <c:pt idx="29924">
                  <c:v>29.42800055855443</c:v>
                </c:pt>
                <c:pt idx="29925">
                  <c:v>46.875327169034271</c:v>
                </c:pt>
                <c:pt idx="29926">
                  <c:v>27.221978260254438</c:v>
                </c:pt>
                <c:pt idx="29927">
                  <c:v>21.050560617529698</c:v>
                </c:pt>
                <c:pt idx="29928">
                  <c:v>28.152136083227042</c:v>
                </c:pt>
                <c:pt idx="29929">
                  <c:v>39.795275489924286</c:v>
                </c:pt>
                <c:pt idx="29930">
                  <c:v>29.907366172797417</c:v>
                </c:pt>
                <c:pt idx="29931">
                  <c:v>25.776440917472002</c:v>
                </c:pt>
                <c:pt idx="29932">
                  <c:v>39.85230229036847</c:v>
                </c:pt>
                <c:pt idx="29933">
                  <c:v>23.802521894739215</c:v>
                </c:pt>
                <c:pt idx="29934">
                  <c:v>56.232332736786873</c:v>
                </c:pt>
                <c:pt idx="29935">
                  <c:v>30.833612572225316</c:v>
                </c:pt>
                <c:pt idx="29936">
                  <c:v>25.447283544611395</c:v>
                </c:pt>
                <c:pt idx="29937">
                  <c:v>41.365623351612811</c:v>
                </c:pt>
                <c:pt idx="29938">
                  <c:v>32.641764094841882</c:v>
                </c:pt>
                <c:pt idx="29939">
                  <c:v>30.287895917143871</c:v>
                </c:pt>
                <c:pt idx="29940">
                  <c:v>33.21695407605953</c:v>
                </c:pt>
                <c:pt idx="29941">
                  <c:v>33.32145925529862</c:v>
                </c:pt>
                <c:pt idx="29942">
                  <c:v>41.543402633406451</c:v>
                </c:pt>
                <c:pt idx="29943">
                  <c:v>35.33822640802677</c:v>
                </c:pt>
                <c:pt idx="29944">
                  <c:v>27.850305640887168</c:v>
                </c:pt>
                <c:pt idx="29945">
                  <c:v>20.519754641047047</c:v>
                </c:pt>
                <c:pt idx="29946">
                  <c:v>31.650349446050477</c:v>
                </c:pt>
                <c:pt idx="29947">
                  <c:v>23.944845196029608</c:v>
                </c:pt>
                <c:pt idx="29948">
                  <c:v>34.292542213205998</c:v>
                </c:pt>
                <c:pt idx="29949">
                  <c:v>26.644170775036248</c:v>
                </c:pt>
                <c:pt idx="29950">
                  <c:v>28.576925296996642</c:v>
                </c:pt>
                <c:pt idx="29951">
                  <c:v>26.772393285729784</c:v>
                </c:pt>
                <c:pt idx="29952">
                  <c:v>24.512863895889183</c:v>
                </c:pt>
                <c:pt idx="29953">
                  <c:v>26.694639748543395</c:v>
                </c:pt>
                <c:pt idx="29954">
                  <c:v>31.974741236769638</c:v>
                </c:pt>
                <c:pt idx="29955">
                  <c:v>24.720852452912645</c:v>
                </c:pt>
                <c:pt idx="29956">
                  <c:v>50.629971172607945</c:v>
                </c:pt>
                <c:pt idx="29957">
                  <c:v>43.391954893942305</c:v>
                </c:pt>
                <c:pt idx="29958">
                  <c:v>26.929395810399036</c:v>
                </c:pt>
                <c:pt idx="29959">
                  <c:v>26.189257041751816</c:v>
                </c:pt>
                <c:pt idx="29960">
                  <c:v>25.995981877333424</c:v>
                </c:pt>
                <c:pt idx="29961">
                  <c:v>24.790389713787224</c:v>
                </c:pt>
                <c:pt idx="29962">
                  <c:v>32.386313842901316</c:v>
                </c:pt>
                <c:pt idx="29963">
                  <c:v>26.095949046429283</c:v>
                </c:pt>
                <c:pt idx="29964">
                  <c:v>54.070995850180438</c:v>
                </c:pt>
                <c:pt idx="29965">
                  <c:v>30.917161202405481</c:v>
                </c:pt>
                <c:pt idx="29966">
                  <c:v>27.108967159866449</c:v>
                </c:pt>
                <c:pt idx="29967">
                  <c:v>22.595805811751024</c:v>
                </c:pt>
                <c:pt idx="29968">
                  <c:v>19.177368685625112</c:v>
                </c:pt>
                <c:pt idx="29969">
                  <c:v>42.921557547038631</c:v>
                </c:pt>
                <c:pt idx="29970">
                  <c:v>50.982930499924024</c:v>
                </c:pt>
                <c:pt idx="29971">
                  <c:v>27.583112912337107</c:v>
                </c:pt>
                <c:pt idx="29972">
                  <c:v>27.333183892854336</c:v>
                </c:pt>
                <c:pt idx="29973">
                  <c:v>25.818588235762096</c:v>
                </c:pt>
                <c:pt idx="29974">
                  <c:v>34.361052885295386</c:v>
                </c:pt>
                <c:pt idx="29975">
                  <c:v>27.212076534519422</c:v>
                </c:pt>
                <c:pt idx="29976">
                  <c:v>27.500408167328285</c:v>
                </c:pt>
                <c:pt idx="29977">
                  <c:v>28.826272230686087</c:v>
                </c:pt>
                <c:pt idx="29978">
                  <c:v>25.77183108265821</c:v>
                </c:pt>
                <c:pt idx="29979">
                  <c:v>35.733879509332098</c:v>
                </c:pt>
                <c:pt idx="29980">
                  <c:v>49.125163695002627</c:v>
                </c:pt>
                <c:pt idx="29981">
                  <c:v>32.781578866311762</c:v>
                </c:pt>
                <c:pt idx="29982">
                  <c:v>16.638548232520943</c:v>
                </c:pt>
                <c:pt idx="29983">
                  <c:v>23.675308875980758</c:v>
                </c:pt>
                <c:pt idx="29984">
                  <c:v>22.40288925932002</c:v>
                </c:pt>
                <c:pt idx="29985">
                  <c:v>31.406915928631079</c:v>
                </c:pt>
                <c:pt idx="29986">
                  <c:v>53.16273733763979</c:v>
                </c:pt>
                <c:pt idx="29987">
                  <c:v>50.763217132309563</c:v>
                </c:pt>
                <c:pt idx="29988">
                  <c:v>30.10994496977802</c:v>
                </c:pt>
                <c:pt idx="29989">
                  <c:v>47.702312067920708</c:v>
                </c:pt>
                <c:pt idx="29990">
                  <c:v>36.301035146770388</c:v>
                </c:pt>
                <c:pt idx="29991">
                  <c:v>23.8572179605085</c:v>
                </c:pt>
                <c:pt idx="29992">
                  <c:v>26.555123590458827</c:v>
                </c:pt>
                <c:pt idx="29993">
                  <c:v>26.421131701463135</c:v>
                </c:pt>
                <c:pt idx="29994">
                  <c:v>23.03035290960548</c:v>
                </c:pt>
                <c:pt idx="29995">
                  <c:v>24.832572587493342</c:v>
                </c:pt>
                <c:pt idx="29996">
                  <c:v>32.858135109030414</c:v>
                </c:pt>
                <c:pt idx="29997">
                  <c:v>61.73244988448036</c:v>
                </c:pt>
                <c:pt idx="29998">
                  <c:v>37.58856531777792</c:v>
                </c:pt>
                <c:pt idx="29999">
                  <c:v>35.361978514804051</c:v>
                </c:pt>
                <c:pt idx="30000">
                  <c:v>21.96448876158869</c:v>
                </c:pt>
                <c:pt idx="30001">
                  <c:v>28.948583078232275</c:v>
                </c:pt>
                <c:pt idx="30002">
                  <c:v>38.513735882311281</c:v>
                </c:pt>
                <c:pt idx="30003">
                  <c:v>30.338031818704259</c:v>
                </c:pt>
                <c:pt idx="30004">
                  <c:v>29.450909484933906</c:v>
                </c:pt>
                <c:pt idx="30005">
                  <c:v>27.958699266191484</c:v>
                </c:pt>
                <c:pt idx="30006">
                  <c:v>26.106823131906879</c:v>
                </c:pt>
                <c:pt idx="30007">
                  <c:v>41.136495965897652</c:v>
                </c:pt>
                <c:pt idx="30008">
                  <c:v>19.997762977646897</c:v>
                </c:pt>
                <c:pt idx="30009">
                  <c:v>22.784865072041107</c:v>
                </c:pt>
                <c:pt idx="30010">
                  <c:v>22.306865390090806</c:v>
                </c:pt>
                <c:pt idx="30011">
                  <c:v>23.741129128548121</c:v>
                </c:pt>
                <c:pt idx="30012">
                  <c:v>54.562811911866426</c:v>
                </c:pt>
                <c:pt idx="30013">
                  <c:v>40.446237769509494</c:v>
                </c:pt>
                <c:pt idx="30014">
                  <c:v>28.806148468816808</c:v>
                </c:pt>
                <c:pt idx="30015">
                  <c:v>22.938888799924513</c:v>
                </c:pt>
                <c:pt idx="30016">
                  <c:v>21.993498051481083</c:v>
                </c:pt>
                <c:pt idx="30017">
                  <c:v>50.493360223561076</c:v>
                </c:pt>
                <c:pt idx="30018">
                  <c:v>25.378067171270139</c:v>
                </c:pt>
                <c:pt idx="30019">
                  <c:v>52.813483259792811</c:v>
                </c:pt>
                <c:pt idx="30020">
                  <c:v>42.068388349721644</c:v>
                </c:pt>
                <c:pt idx="30021">
                  <c:v>53.008185099915529</c:v>
                </c:pt>
                <c:pt idx="30022">
                  <c:v>22.978398621709136</c:v>
                </c:pt>
                <c:pt idx="30023">
                  <c:v>27.346537435749859</c:v>
                </c:pt>
                <c:pt idx="30024">
                  <c:v>28.321474208213331</c:v>
                </c:pt>
                <c:pt idx="30025">
                  <c:v>28.397893121697457</c:v>
                </c:pt>
                <c:pt idx="30026">
                  <c:v>45.197683779078282</c:v>
                </c:pt>
                <c:pt idx="30027">
                  <c:v>22.336746280306329</c:v>
                </c:pt>
                <c:pt idx="30028">
                  <c:v>57.137723358347039</c:v>
                </c:pt>
                <c:pt idx="30029">
                  <c:v>27.610320876052239</c:v>
                </c:pt>
                <c:pt idx="30030">
                  <c:v>44.996395896983636</c:v>
                </c:pt>
                <c:pt idx="30031">
                  <c:v>26.086688328152526</c:v>
                </c:pt>
                <c:pt idx="30032">
                  <c:v>31.013738464303589</c:v>
                </c:pt>
                <c:pt idx="30033">
                  <c:v>27.680305830540824</c:v>
                </c:pt>
                <c:pt idx="30034">
                  <c:v>20.315380183406148</c:v>
                </c:pt>
                <c:pt idx="30035">
                  <c:v>23.107368997913799</c:v>
                </c:pt>
                <c:pt idx="30036">
                  <c:v>32.914427397996533</c:v>
                </c:pt>
                <c:pt idx="30037">
                  <c:v>34.362684191450555</c:v>
                </c:pt>
                <c:pt idx="30038">
                  <c:v>23.432864391093482</c:v>
                </c:pt>
                <c:pt idx="30039">
                  <c:v>24.037476819253094</c:v>
                </c:pt>
                <c:pt idx="30040">
                  <c:v>22.407451538603866</c:v>
                </c:pt>
                <c:pt idx="30041">
                  <c:v>49.271037765520958</c:v>
                </c:pt>
                <c:pt idx="30042">
                  <c:v>24.498804669215879</c:v>
                </c:pt>
                <c:pt idx="30043">
                  <c:v>24.112605227690192</c:v>
                </c:pt>
                <c:pt idx="30044">
                  <c:v>27.81022797719336</c:v>
                </c:pt>
                <c:pt idx="30045">
                  <c:v>38.663720515991116</c:v>
                </c:pt>
                <c:pt idx="30046">
                  <c:v>61.936431224067285</c:v>
                </c:pt>
                <c:pt idx="30047">
                  <c:v>21.845502528011604</c:v>
                </c:pt>
                <c:pt idx="30048">
                  <c:v>25.709263883293154</c:v>
                </c:pt>
                <c:pt idx="30049">
                  <c:v>35.463982447113814</c:v>
                </c:pt>
                <c:pt idx="30050">
                  <c:v>49.272426671474868</c:v>
                </c:pt>
                <c:pt idx="30051">
                  <c:v>18.801664491979274</c:v>
                </c:pt>
                <c:pt idx="30052">
                  <c:v>23.232600885527386</c:v>
                </c:pt>
                <c:pt idx="30053">
                  <c:v>20.756378991400521</c:v>
                </c:pt>
                <c:pt idx="30054">
                  <c:v>44.79306452344813</c:v>
                </c:pt>
                <c:pt idx="30055">
                  <c:v>34.009260495671825</c:v>
                </c:pt>
                <c:pt idx="30056">
                  <c:v>31.787072336877326</c:v>
                </c:pt>
                <c:pt idx="30057">
                  <c:v>27.728959825522161</c:v>
                </c:pt>
                <c:pt idx="30058">
                  <c:v>38.265095913622162</c:v>
                </c:pt>
                <c:pt idx="30059">
                  <c:v>50.869525805385052</c:v>
                </c:pt>
                <c:pt idx="30060">
                  <c:v>44.059892992523942</c:v>
                </c:pt>
                <c:pt idx="30061">
                  <c:v>26.879553263242872</c:v>
                </c:pt>
                <c:pt idx="30062">
                  <c:v>33.001573901371046</c:v>
                </c:pt>
                <c:pt idx="30063">
                  <c:v>36.576538949361947</c:v>
                </c:pt>
                <c:pt idx="30064">
                  <c:v>36.22525791485613</c:v>
                </c:pt>
                <c:pt idx="30065">
                  <c:v>34.706266852622235</c:v>
                </c:pt>
                <c:pt idx="30066">
                  <c:v>29.287613556419974</c:v>
                </c:pt>
                <c:pt idx="30067">
                  <c:v>50.827641313866799</c:v>
                </c:pt>
                <c:pt idx="30068">
                  <c:v>16.788581565893519</c:v>
                </c:pt>
                <c:pt idx="30069">
                  <c:v>32.641537091557609</c:v>
                </c:pt>
                <c:pt idx="30070">
                  <c:v>25.278867616250182</c:v>
                </c:pt>
                <c:pt idx="30071">
                  <c:v>25.196044752737301</c:v>
                </c:pt>
                <c:pt idx="30072">
                  <c:v>39.722625329421291</c:v>
                </c:pt>
                <c:pt idx="30073">
                  <c:v>32.010846100758201</c:v>
                </c:pt>
                <c:pt idx="30074">
                  <c:v>21.551508427706281</c:v>
                </c:pt>
                <c:pt idx="30075">
                  <c:v>24.934338531592388</c:v>
                </c:pt>
                <c:pt idx="30076">
                  <c:v>16.628918108442171</c:v>
                </c:pt>
                <c:pt idx="30077">
                  <c:v>26.8935608551459</c:v>
                </c:pt>
                <c:pt idx="30078">
                  <c:v>45.180651830137592</c:v>
                </c:pt>
                <c:pt idx="30079">
                  <c:v>26.168679088988327</c:v>
                </c:pt>
                <c:pt idx="30080">
                  <c:v>22.495852090737966</c:v>
                </c:pt>
                <c:pt idx="30081">
                  <c:v>23.389004421989636</c:v>
                </c:pt>
                <c:pt idx="30082">
                  <c:v>30.806910687686599</c:v>
                </c:pt>
                <c:pt idx="30083">
                  <c:v>26.896329461076881</c:v>
                </c:pt>
                <c:pt idx="30084">
                  <c:v>29.135109068443715</c:v>
                </c:pt>
                <c:pt idx="30085">
                  <c:v>27.021051800152385</c:v>
                </c:pt>
                <c:pt idx="30086">
                  <c:v>27.655325053511124</c:v>
                </c:pt>
                <c:pt idx="30087">
                  <c:v>25.090369534943214</c:v>
                </c:pt>
                <c:pt idx="30088">
                  <c:v>21.076279083113032</c:v>
                </c:pt>
                <c:pt idx="30089">
                  <c:v>27.354104874928485</c:v>
                </c:pt>
                <c:pt idx="30090">
                  <c:v>34.666849651419227</c:v>
                </c:pt>
                <c:pt idx="30091">
                  <c:v>25.893450945446016</c:v>
                </c:pt>
                <c:pt idx="30092">
                  <c:v>32.48103144928492</c:v>
                </c:pt>
                <c:pt idx="30093">
                  <c:v>25.736477528907439</c:v>
                </c:pt>
                <c:pt idx="30094">
                  <c:v>25.608639036612381</c:v>
                </c:pt>
                <c:pt idx="30095">
                  <c:v>27.774342887774949</c:v>
                </c:pt>
                <c:pt idx="30096">
                  <c:v>24.79319478595724</c:v>
                </c:pt>
                <c:pt idx="30097">
                  <c:v>29.959472383656049</c:v>
                </c:pt>
                <c:pt idx="30098">
                  <c:v>49.356126330955689</c:v>
                </c:pt>
                <c:pt idx="30099">
                  <c:v>24.780391286401809</c:v>
                </c:pt>
                <c:pt idx="30100">
                  <c:v>45.441237238920181</c:v>
                </c:pt>
                <c:pt idx="30101">
                  <c:v>14.427854878639256</c:v>
                </c:pt>
                <c:pt idx="30102">
                  <c:v>20.470716143954267</c:v>
                </c:pt>
                <c:pt idx="30103">
                  <c:v>21.525008459563296</c:v>
                </c:pt>
                <c:pt idx="30104">
                  <c:v>32.121786236203647</c:v>
                </c:pt>
                <c:pt idx="30105">
                  <c:v>25.773008348958417</c:v>
                </c:pt>
                <c:pt idx="30106">
                  <c:v>23.775468672762258</c:v>
                </c:pt>
                <c:pt idx="30107">
                  <c:v>26.244990309228381</c:v>
                </c:pt>
                <c:pt idx="30108">
                  <c:v>33.19115854785769</c:v>
                </c:pt>
                <c:pt idx="30109">
                  <c:v>46.160506528939223</c:v>
                </c:pt>
                <c:pt idx="30110">
                  <c:v>47.507464795748774</c:v>
                </c:pt>
                <c:pt idx="30111">
                  <c:v>40.764552726374184</c:v>
                </c:pt>
                <c:pt idx="30112">
                  <c:v>31.667167383331307</c:v>
                </c:pt>
                <c:pt idx="30113">
                  <c:v>21.143294733567163</c:v>
                </c:pt>
                <c:pt idx="30114">
                  <c:v>27.298805579248707</c:v>
                </c:pt>
                <c:pt idx="30115">
                  <c:v>39.133946056846618</c:v>
                </c:pt>
                <c:pt idx="30116">
                  <c:v>26.879103001888694</c:v>
                </c:pt>
                <c:pt idx="30117">
                  <c:v>27.709329461247165</c:v>
                </c:pt>
                <c:pt idx="30118">
                  <c:v>45.151328939391462</c:v>
                </c:pt>
                <c:pt idx="30119">
                  <c:v>22.826329046614443</c:v>
                </c:pt>
                <c:pt idx="30120">
                  <c:v>32.82632063013552</c:v>
                </c:pt>
                <c:pt idx="30121">
                  <c:v>27.743167060125984</c:v>
                </c:pt>
                <c:pt idx="30122">
                  <c:v>25.53742089454391</c:v>
                </c:pt>
                <c:pt idx="30123">
                  <c:v>29.188780939117031</c:v>
                </c:pt>
                <c:pt idx="30124">
                  <c:v>32.522567566054349</c:v>
                </c:pt>
                <c:pt idx="30125">
                  <c:v>21.654872708208273</c:v>
                </c:pt>
                <c:pt idx="30126">
                  <c:v>40.375506896809767</c:v>
                </c:pt>
                <c:pt idx="30127">
                  <c:v>45.325738497614125</c:v>
                </c:pt>
                <c:pt idx="30128">
                  <c:v>15.486419722747586</c:v>
                </c:pt>
                <c:pt idx="30129">
                  <c:v>37.618531045977207</c:v>
                </c:pt>
                <c:pt idx="30130">
                  <c:v>17.127185588506116</c:v>
                </c:pt>
                <c:pt idx="30131">
                  <c:v>24.713087584807472</c:v>
                </c:pt>
                <c:pt idx="30132">
                  <c:v>24.688376610321473</c:v>
                </c:pt>
                <c:pt idx="30133">
                  <c:v>18.623018045880116</c:v>
                </c:pt>
                <c:pt idx="30134">
                  <c:v>22.469786351121282</c:v>
                </c:pt>
                <c:pt idx="30135">
                  <c:v>31.528514018864499</c:v>
                </c:pt>
                <c:pt idx="30136">
                  <c:v>22.805924072809084</c:v>
                </c:pt>
                <c:pt idx="30137">
                  <c:v>24.81443898381692</c:v>
                </c:pt>
                <c:pt idx="30138">
                  <c:v>28.481884899340905</c:v>
                </c:pt>
                <c:pt idx="30139">
                  <c:v>24.761944026938608</c:v>
                </c:pt>
                <c:pt idx="30140">
                  <c:v>37.406997271902327</c:v>
                </c:pt>
                <c:pt idx="30141">
                  <c:v>26.672848563496341</c:v>
                </c:pt>
                <c:pt idx="30142">
                  <c:v>48.68847446474485</c:v>
                </c:pt>
                <c:pt idx="30143">
                  <c:v>23.281472540789132</c:v>
                </c:pt>
                <c:pt idx="30144">
                  <c:v>39.064799372993761</c:v>
                </c:pt>
                <c:pt idx="30145">
                  <c:v>27.423256766262977</c:v>
                </c:pt>
                <c:pt idx="30146">
                  <c:v>56.209289996782616</c:v>
                </c:pt>
                <c:pt idx="30147">
                  <c:v>25.918054668673118</c:v>
                </c:pt>
                <c:pt idx="30148">
                  <c:v>22.314440385413448</c:v>
                </c:pt>
                <c:pt idx="30149">
                  <c:v>22.403917598852665</c:v>
                </c:pt>
                <c:pt idx="30150">
                  <c:v>44.033301630788479</c:v>
                </c:pt>
                <c:pt idx="30151">
                  <c:v>26.723583784616146</c:v>
                </c:pt>
                <c:pt idx="30152">
                  <c:v>31.100337800340807</c:v>
                </c:pt>
                <c:pt idx="30153">
                  <c:v>23.770481846623973</c:v>
                </c:pt>
                <c:pt idx="30154">
                  <c:v>25.251882698938871</c:v>
                </c:pt>
                <c:pt idx="30155">
                  <c:v>26.834119262662281</c:v>
                </c:pt>
                <c:pt idx="30156">
                  <c:v>39.914144670286483</c:v>
                </c:pt>
                <c:pt idx="30157">
                  <c:v>21.947951944004046</c:v>
                </c:pt>
                <c:pt idx="30158">
                  <c:v>43.012545071790491</c:v>
                </c:pt>
                <c:pt idx="30159">
                  <c:v>26.540508920301669</c:v>
                </c:pt>
                <c:pt idx="30160">
                  <c:v>59.011770291544096</c:v>
                </c:pt>
                <c:pt idx="30161">
                  <c:v>42.866793463276466</c:v>
                </c:pt>
                <c:pt idx="30162">
                  <c:v>24.269798090100483</c:v>
                </c:pt>
                <c:pt idx="30163">
                  <c:v>28.724992217521645</c:v>
                </c:pt>
                <c:pt idx="30164">
                  <c:v>29.853543859709308</c:v>
                </c:pt>
                <c:pt idx="30165">
                  <c:v>26.586374278595219</c:v>
                </c:pt>
                <c:pt idx="30166">
                  <c:v>43.301318925181079</c:v>
                </c:pt>
                <c:pt idx="30167">
                  <c:v>27.859741681224392</c:v>
                </c:pt>
                <c:pt idx="30168">
                  <c:v>26.69663076489293</c:v>
                </c:pt>
                <c:pt idx="30169">
                  <c:v>31.415500610256537</c:v>
                </c:pt>
                <c:pt idx="30170">
                  <c:v>27.785713772763316</c:v>
                </c:pt>
                <c:pt idx="30171">
                  <c:v>22.389974807511038</c:v>
                </c:pt>
                <c:pt idx="30172">
                  <c:v>23.471957268832526</c:v>
                </c:pt>
                <c:pt idx="30173">
                  <c:v>29.072379032703601</c:v>
                </c:pt>
                <c:pt idx="30174">
                  <c:v>22.257528026685755</c:v>
                </c:pt>
                <c:pt idx="30175">
                  <c:v>28.560722415080683</c:v>
                </c:pt>
                <c:pt idx="30176">
                  <c:v>38.013041724900773</c:v>
                </c:pt>
                <c:pt idx="30177">
                  <c:v>20.055631075655825</c:v>
                </c:pt>
                <c:pt idx="30178">
                  <c:v>64.588813315457145</c:v>
                </c:pt>
                <c:pt idx="30179">
                  <c:v>25.994033969189857</c:v>
                </c:pt>
                <c:pt idx="30180">
                  <c:v>23.452278026732344</c:v>
                </c:pt>
                <c:pt idx="30181">
                  <c:v>28.866874076793199</c:v>
                </c:pt>
                <c:pt idx="30182">
                  <c:v>26.779244733930689</c:v>
                </c:pt>
                <c:pt idx="30183">
                  <c:v>15.64559791659546</c:v>
                </c:pt>
                <c:pt idx="30184">
                  <c:v>27.254147975293922</c:v>
                </c:pt>
                <c:pt idx="30185">
                  <c:v>29.947146108532387</c:v>
                </c:pt>
                <c:pt idx="30186">
                  <c:v>30.842443290599867</c:v>
                </c:pt>
                <c:pt idx="30187">
                  <c:v>24.78087235329874</c:v>
                </c:pt>
                <c:pt idx="30188">
                  <c:v>22.223835253547144</c:v>
                </c:pt>
                <c:pt idx="30189">
                  <c:v>26.459369302916002</c:v>
                </c:pt>
                <c:pt idx="30190">
                  <c:v>22.698279915169703</c:v>
                </c:pt>
                <c:pt idx="30191">
                  <c:v>22.836443315053273</c:v>
                </c:pt>
                <c:pt idx="30192">
                  <c:v>45.86456433311934</c:v>
                </c:pt>
                <c:pt idx="30193">
                  <c:v>30.914365837738721</c:v>
                </c:pt>
                <c:pt idx="30194">
                  <c:v>42.705341151603534</c:v>
                </c:pt>
                <c:pt idx="30195">
                  <c:v>33.308842620694797</c:v>
                </c:pt>
                <c:pt idx="30196">
                  <c:v>36.814967184610481</c:v>
                </c:pt>
                <c:pt idx="30197">
                  <c:v>26.998797229473318</c:v>
                </c:pt>
                <c:pt idx="30198">
                  <c:v>22.561558187718731</c:v>
                </c:pt>
                <c:pt idx="30199">
                  <c:v>25.993109127113883</c:v>
                </c:pt>
                <c:pt idx="30200">
                  <c:v>47.208143389911776</c:v>
                </c:pt>
                <c:pt idx="30201">
                  <c:v>25.752975371445388</c:v>
                </c:pt>
                <c:pt idx="30202">
                  <c:v>23.006403887415264</c:v>
                </c:pt>
                <c:pt idx="30203">
                  <c:v>32.617166743413783</c:v>
                </c:pt>
                <c:pt idx="30204">
                  <c:v>55.051967827811367</c:v>
                </c:pt>
                <c:pt idx="30205">
                  <c:v>30.773368301280897</c:v>
                </c:pt>
                <c:pt idx="30206">
                  <c:v>25.470769964330422</c:v>
                </c:pt>
                <c:pt idx="30207">
                  <c:v>23.969623548523654</c:v>
                </c:pt>
                <c:pt idx="30208">
                  <c:v>22.136240052913472</c:v>
                </c:pt>
                <c:pt idx="30209">
                  <c:v>23.58704395155539</c:v>
                </c:pt>
                <c:pt idx="30210">
                  <c:v>37.7339762247206</c:v>
                </c:pt>
                <c:pt idx="30211">
                  <c:v>61.96834397105782</c:v>
                </c:pt>
                <c:pt idx="30212">
                  <c:v>55.60599595032361</c:v>
                </c:pt>
                <c:pt idx="30213">
                  <c:v>23.720156260210601</c:v>
                </c:pt>
                <c:pt idx="30214">
                  <c:v>30.734414712305025</c:v>
                </c:pt>
                <c:pt idx="30215">
                  <c:v>31.699254575250876</c:v>
                </c:pt>
                <c:pt idx="30216">
                  <c:v>22.559098588570571</c:v>
                </c:pt>
                <c:pt idx="30217">
                  <c:v>23.905090074385463</c:v>
                </c:pt>
                <c:pt idx="30218">
                  <c:v>49.949557951968877</c:v>
                </c:pt>
                <c:pt idx="30219">
                  <c:v>38.22528538030906</c:v>
                </c:pt>
                <c:pt idx="30220">
                  <c:v>28.86353966450045</c:v>
                </c:pt>
                <c:pt idx="30221">
                  <c:v>32.069654466625579</c:v>
                </c:pt>
                <c:pt idx="30222">
                  <c:v>44.602217569503338</c:v>
                </c:pt>
                <c:pt idx="30223">
                  <c:v>21.5383997092211</c:v>
                </c:pt>
                <c:pt idx="30224">
                  <c:v>28.374019640323191</c:v>
                </c:pt>
                <c:pt idx="30225">
                  <c:v>24.995795276646007</c:v>
                </c:pt>
                <c:pt idx="30226">
                  <c:v>29.768768995286365</c:v>
                </c:pt>
                <c:pt idx="30227">
                  <c:v>22.991462336950566</c:v>
                </c:pt>
                <c:pt idx="30228">
                  <c:v>24.23493699873201</c:v>
                </c:pt>
                <c:pt idx="30229">
                  <c:v>29.205807930855588</c:v>
                </c:pt>
                <c:pt idx="30230">
                  <c:v>21.068818881504399</c:v>
                </c:pt>
                <c:pt idx="30231">
                  <c:v>27.273028850041946</c:v>
                </c:pt>
                <c:pt idx="30232">
                  <c:v>50.962638170324453</c:v>
                </c:pt>
                <c:pt idx="30233">
                  <c:v>17.632670313064807</c:v>
                </c:pt>
                <c:pt idx="30234">
                  <c:v>33.759148447599529</c:v>
                </c:pt>
                <c:pt idx="30235">
                  <c:v>29.958586348823598</c:v>
                </c:pt>
                <c:pt idx="30236">
                  <c:v>24.881565685101673</c:v>
                </c:pt>
                <c:pt idx="30237">
                  <c:v>25.448214390250783</c:v>
                </c:pt>
                <c:pt idx="30238">
                  <c:v>21.637194956927782</c:v>
                </c:pt>
                <c:pt idx="30239">
                  <c:v>28.074998002185001</c:v>
                </c:pt>
                <c:pt idx="30240">
                  <c:v>55.175527228511648</c:v>
                </c:pt>
                <c:pt idx="30241">
                  <c:v>28.722148653890734</c:v>
                </c:pt>
                <c:pt idx="30242">
                  <c:v>29.038271465818756</c:v>
                </c:pt>
                <c:pt idx="30243">
                  <c:v>29.693640609280791</c:v>
                </c:pt>
                <c:pt idx="30244">
                  <c:v>27.78315220697219</c:v>
                </c:pt>
                <c:pt idx="30245">
                  <c:v>28.248750878858942</c:v>
                </c:pt>
                <c:pt idx="30246">
                  <c:v>27.918090862610661</c:v>
                </c:pt>
                <c:pt idx="30247">
                  <c:v>26.388510021316279</c:v>
                </c:pt>
                <c:pt idx="30248">
                  <c:v>32.941257424021643</c:v>
                </c:pt>
                <c:pt idx="30249">
                  <c:v>41.498639716727332</c:v>
                </c:pt>
                <c:pt idx="30250">
                  <c:v>31.823647641034764</c:v>
                </c:pt>
                <c:pt idx="30251">
                  <c:v>26.826865483360663</c:v>
                </c:pt>
                <c:pt idx="30252">
                  <c:v>23.425212671539267</c:v>
                </c:pt>
                <c:pt idx="30253">
                  <c:v>21.746500644199298</c:v>
                </c:pt>
                <c:pt idx="30254">
                  <c:v>47.131773280768634</c:v>
                </c:pt>
                <c:pt idx="30255">
                  <c:v>20.491179114361248</c:v>
                </c:pt>
                <c:pt idx="30256">
                  <c:v>31.83544961811441</c:v>
                </c:pt>
                <c:pt idx="30257">
                  <c:v>30.492719125560939</c:v>
                </c:pt>
                <c:pt idx="30258">
                  <c:v>47.182364280328095</c:v>
                </c:pt>
                <c:pt idx="30259">
                  <c:v>38.857481497195771</c:v>
                </c:pt>
                <c:pt idx="30260">
                  <c:v>23.261090719107671</c:v>
                </c:pt>
                <c:pt idx="30261">
                  <c:v>47.51023619789926</c:v>
                </c:pt>
                <c:pt idx="30262">
                  <c:v>30.971611773654761</c:v>
                </c:pt>
                <c:pt idx="30263">
                  <c:v>27.070561902004449</c:v>
                </c:pt>
                <c:pt idx="30264">
                  <c:v>22.691381382451922</c:v>
                </c:pt>
                <c:pt idx="30265">
                  <c:v>32.879109070974422</c:v>
                </c:pt>
                <c:pt idx="30266">
                  <c:v>37.964479314228299</c:v>
                </c:pt>
                <c:pt idx="30267">
                  <c:v>22.963229791598863</c:v>
                </c:pt>
                <c:pt idx="30268">
                  <c:v>39.776925519263671</c:v>
                </c:pt>
                <c:pt idx="30269">
                  <c:v>26.546344227908708</c:v>
                </c:pt>
                <c:pt idx="30270">
                  <c:v>17.253061997349924</c:v>
                </c:pt>
                <c:pt idx="30271">
                  <c:v>34.430050353690667</c:v>
                </c:pt>
                <c:pt idx="30272">
                  <c:v>26.235914000633755</c:v>
                </c:pt>
                <c:pt idx="30273">
                  <c:v>24.65983364909706</c:v>
                </c:pt>
                <c:pt idx="30274">
                  <c:v>36.900634916802495</c:v>
                </c:pt>
                <c:pt idx="30275">
                  <c:v>29.457664153519183</c:v>
                </c:pt>
                <c:pt idx="30276">
                  <c:v>39.941368946160381</c:v>
                </c:pt>
                <c:pt idx="30277">
                  <c:v>15.800193128848365</c:v>
                </c:pt>
                <c:pt idx="30278">
                  <c:v>25.324109532336742</c:v>
                </c:pt>
                <c:pt idx="30279">
                  <c:v>32.010310001381889</c:v>
                </c:pt>
                <c:pt idx="30280">
                  <c:v>28.865817506426865</c:v>
                </c:pt>
                <c:pt idx="30281">
                  <c:v>27.151073041365116</c:v>
                </c:pt>
                <c:pt idx="30282">
                  <c:v>34.444629310664602</c:v>
                </c:pt>
                <c:pt idx="30283">
                  <c:v>38.167693413221386</c:v>
                </c:pt>
                <c:pt idx="30284">
                  <c:v>30.118488201841263</c:v>
                </c:pt>
                <c:pt idx="30285">
                  <c:v>22.950084968633107</c:v>
                </c:pt>
                <c:pt idx="30286">
                  <c:v>14.177547714753096</c:v>
                </c:pt>
                <c:pt idx="30287">
                  <c:v>27.711317923349878</c:v>
                </c:pt>
                <c:pt idx="30288">
                  <c:v>34.094014174543261</c:v>
                </c:pt>
                <c:pt idx="30289">
                  <c:v>32.265396169489073</c:v>
                </c:pt>
                <c:pt idx="30290">
                  <c:v>30.749102053124016</c:v>
                </c:pt>
                <c:pt idx="30291">
                  <c:v>25.019407250829538</c:v>
                </c:pt>
                <c:pt idx="30292">
                  <c:v>32.720837382081207</c:v>
                </c:pt>
                <c:pt idx="30293">
                  <c:v>26.437703899935386</c:v>
                </c:pt>
                <c:pt idx="30294">
                  <c:v>29.437556401199995</c:v>
                </c:pt>
                <c:pt idx="30295">
                  <c:v>32.179313915559952</c:v>
                </c:pt>
                <c:pt idx="30296">
                  <c:v>25.575703059218668</c:v>
                </c:pt>
                <c:pt idx="30297">
                  <c:v>21.473231583571341</c:v>
                </c:pt>
                <c:pt idx="30298">
                  <c:v>30.693121692585652</c:v>
                </c:pt>
                <c:pt idx="30299">
                  <c:v>54.449050210698722</c:v>
                </c:pt>
                <c:pt idx="30300">
                  <c:v>18.649532726236931</c:v>
                </c:pt>
                <c:pt idx="30301">
                  <c:v>17.08622720058775</c:v>
                </c:pt>
                <c:pt idx="30302">
                  <c:v>22.498905101671784</c:v>
                </c:pt>
                <c:pt idx="30303">
                  <c:v>28.849384791899883</c:v>
                </c:pt>
                <c:pt idx="30304">
                  <c:v>26.565250026765497</c:v>
                </c:pt>
                <c:pt idx="30305">
                  <c:v>26.340490234137171</c:v>
                </c:pt>
                <c:pt idx="30306">
                  <c:v>23.471325091538155</c:v>
                </c:pt>
                <c:pt idx="30307">
                  <c:v>22.361322823377584</c:v>
                </c:pt>
                <c:pt idx="30308">
                  <c:v>34.397127985579274</c:v>
                </c:pt>
                <c:pt idx="30309">
                  <c:v>20.357723985923432</c:v>
                </c:pt>
                <c:pt idx="30310">
                  <c:v>24.782608353854862</c:v>
                </c:pt>
                <c:pt idx="30311">
                  <c:v>43.526283255720017</c:v>
                </c:pt>
                <c:pt idx="30312">
                  <c:v>19.857828660038976</c:v>
                </c:pt>
                <c:pt idx="30313">
                  <c:v>29.942915334334135</c:v>
                </c:pt>
                <c:pt idx="30314">
                  <c:v>41.218618205655801</c:v>
                </c:pt>
                <c:pt idx="30315">
                  <c:v>22.925380767256335</c:v>
                </c:pt>
                <c:pt idx="30316">
                  <c:v>24.950841281870158</c:v>
                </c:pt>
                <c:pt idx="30317">
                  <c:v>29.500359716978569</c:v>
                </c:pt>
                <c:pt idx="30318">
                  <c:v>24.497452814507128</c:v>
                </c:pt>
                <c:pt idx="30319">
                  <c:v>23.278580833451063</c:v>
                </c:pt>
                <c:pt idx="30320">
                  <c:v>42.043801534808843</c:v>
                </c:pt>
                <c:pt idx="30321">
                  <c:v>24.459972675896214</c:v>
                </c:pt>
                <c:pt idx="30322">
                  <c:v>23.416039009343997</c:v>
                </c:pt>
                <c:pt idx="30323">
                  <c:v>27.442295516247455</c:v>
                </c:pt>
                <c:pt idx="30324">
                  <c:v>50.433207276071165</c:v>
                </c:pt>
                <c:pt idx="30325">
                  <c:v>43.683117376568887</c:v>
                </c:pt>
                <c:pt idx="30326">
                  <c:v>53.227596257524603</c:v>
                </c:pt>
                <c:pt idx="30327">
                  <c:v>23.778124421420294</c:v>
                </c:pt>
                <c:pt idx="30328">
                  <c:v>33.720104657423512</c:v>
                </c:pt>
                <c:pt idx="30329">
                  <c:v>28.968469649460754</c:v>
                </c:pt>
                <c:pt idx="30330">
                  <c:v>53.66199620989002</c:v>
                </c:pt>
                <c:pt idx="30331">
                  <c:v>33.288497896688</c:v>
                </c:pt>
                <c:pt idx="30332">
                  <c:v>20.182907980057436</c:v>
                </c:pt>
                <c:pt idx="30333">
                  <c:v>26.065607164753125</c:v>
                </c:pt>
                <c:pt idx="30334">
                  <c:v>31.551270331974095</c:v>
                </c:pt>
                <c:pt idx="30335">
                  <c:v>25.666887424573709</c:v>
                </c:pt>
                <c:pt idx="30336">
                  <c:v>61.789708109367943</c:v>
                </c:pt>
                <c:pt idx="30337">
                  <c:v>27.471717690144501</c:v>
                </c:pt>
                <c:pt idx="30338">
                  <c:v>42.347195580663417</c:v>
                </c:pt>
                <c:pt idx="30339">
                  <c:v>21.298647393919104</c:v>
                </c:pt>
                <c:pt idx="30340">
                  <c:v>40.576628792585183</c:v>
                </c:pt>
                <c:pt idx="30341">
                  <c:v>20.473373693313356</c:v>
                </c:pt>
                <c:pt idx="30342">
                  <c:v>21.748441893385362</c:v>
                </c:pt>
                <c:pt idx="30343">
                  <c:v>57.282123365674344</c:v>
                </c:pt>
                <c:pt idx="30344">
                  <c:v>23.077047977902343</c:v>
                </c:pt>
                <c:pt idx="30345">
                  <c:v>27.651832540111592</c:v>
                </c:pt>
                <c:pt idx="30346">
                  <c:v>31.978717491656553</c:v>
                </c:pt>
                <c:pt idx="30347">
                  <c:v>21.80306723860658</c:v>
                </c:pt>
                <c:pt idx="30348">
                  <c:v>25.540972979072784</c:v>
                </c:pt>
                <c:pt idx="30349">
                  <c:v>32.232252213024829</c:v>
                </c:pt>
                <c:pt idx="30350">
                  <c:v>39.035754820482495</c:v>
                </c:pt>
                <c:pt idx="30351">
                  <c:v>18.682193095875473</c:v>
                </c:pt>
                <c:pt idx="30352">
                  <c:v>25.817309295698053</c:v>
                </c:pt>
                <c:pt idx="30353">
                  <c:v>24.080656977584383</c:v>
                </c:pt>
                <c:pt idx="30354">
                  <c:v>47.153029167782776</c:v>
                </c:pt>
                <c:pt idx="30355">
                  <c:v>30.097488284112927</c:v>
                </c:pt>
                <c:pt idx="30356">
                  <c:v>30.851500595408133</c:v>
                </c:pt>
                <c:pt idx="30357">
                  <c:v>44.189835137174981</c:v>
                </c:pt>
                <c:pt idx="30358">
                  <c:v>22.600080286349471</c:v>
                </c:pt>
                <c:pt idx="30359">
                  <c:v>35.960838631999209</c:v>
                </c:pt>
                <c:pt idx="30360">
                  <c:v>39.012233412130833</c:v>
                </c:pt>
                <c:pt idx="30361">
                  <c:v>30.105967394922335</c:v>
                </c:pt>
                <c:pt idx="30362">
                  <c:v>37.653783294245265</c:v>
                </c:pt>
                <c:pt idx="30363">
                  <c:v>24.164635943572023</c:v>
                </c:pt>
                <c:pt idx="30364">
                  <c:v>22.512473083030862</c:v>
                </c:pt>
                <c:pt idx="30365">
                  <c:v>33.766214331264607</c:v>
                </c:pt>
                <c:pt idx="30366">
                  <c:v>20.882249816516058</c:v>
                </c:pt>
                <c:pt idx="30367">
                  <c:v>24.514278460278483</c:v>
                </c:pt>
                <c:pt idx="30368">
                  <c:v>21.708912315257109</c:v>
                </c:pt>
                <c:pt idx="30369">
                  <c:v>35.186022733265787</c:v>
                </c:pt>
                <c:pt idx="30370">
                  <c:v>39.67961684879748</c:v>
                </c:pt>
                <c:pt idx="30371">
                  <c:v>30.543223463161659</c:v>
                </c:pt>
                <c:pt idx="30372">
                  <c:v>28.609505972751993</c:v>
                </c:pt>
                <c:pt idx="30373">
                  <c:v>27.830768580459754</c:v>
                </c:pt>
                <c:pt idx="30374">
                  <c:v>31.280501708514887</c:v>
                </c:pt>
                <c:pt idx="30375">
                  <c:v>26.288966341898799</c:v>
                </c:pt>
                <c:pt idx="30376">
                  <c:v>31.594548914723873</c:v>
                </c:pt>
                <c:pt idx="30377">
                  <c:v>29.962097384356028</c:v>
                </c:pt>
                <c:pt idx="30378">
                  <c:v>23.650793738442562</c:v>
                </c:pt>
                <c:pt idx="30379">
                  <c:v>43.871532275329145</c:v>
                </c:pt>
                <c:pt idx="30380">
                  <c:v>26.988614518568607</c:v>
                </c:pt>
                <c:pt idx="30381">
                  <c:v>34.763462213302489</c:v>
                </c:pt>
                <c:pt idx="30382">
                  <c:v>28.534280233046999</c:v>
                </c:pt>
                <c:pt idx="30383">
                  <c:v>25.799337345340859</c:v>
                </c:pt>
                <c:pt idx="30384">
                  <c:v>27.637858689118787</c:v>
                </c:pt>
                <c:pt idx="30385">
                  <c:v>43.037519487085575</c:v>
                </c:pt>
                <c:pt idx="30386">
                  <c:v>30.757510239259979</c:v>
                </c:pt>
                <c:pt idx="30387">
                  <c:v>33.883627102495723</c:v>
                </c:pt>
                <c:pt idx="30388">
                  <c:v>45.841672262892104</c:v>
                </c:pt>
                <c:pt idx="30389">
                  <c:v>28.592127893462514</c:v>
                </c:pt>
                <c:pt idx="30390">
                  <c:v>22.442182434239015</c:v>
                </c:pt>
                <c:pt idx="30391">
                  <c:v>46.530804864966733</c:v>
                </c:pt>
                <c:pt idx="30392">
                  <c:v>44.230331700129284</c:v>
                </c:pt>
                <c:pt idx="30393">
                  <c:v>24.837493629344749</c:v>
                </c:pt>
                <c:pt idx="30394">
                  <c:v>48.946437433699636</c:v>
                </c:pt>
                <c:pt idx="30395">
                  <c:v>24.64275634309875</c:v>
                </c:pt>
                <c:pt idx="30396">
                  <c:v>36.308087991149151</c:v>
                </c:pt>
                <c:pt idx="30397">
                  <c:v>34.060714946239592</c:v>
                </c:pt>
                <c:pt idx="30398">
                  <c:v>26.279589653687893</c:v>
                </c:pt>
                <c:pt idx="30399">
                  <c:v>31.117061658198701</c:v>
                </c:pt>
                <c:pt idx="30400">
                  <c:v>24.415236334030698</c:v>
                </c:pt>
                <c:pt idx="30401">
                  <c:v>20.466934254353596</c:v>
                </c:pt>
                <c:pt idx="30402">
                  <c:v>24.619778597317648</c:v>
                </c:pt>
                <c:pt idx="30403">
                  <c:v>24.859168770784901</c:v>
                </c:pt>
                <c:pt idx="30404">
                  <c:v>22.047111773570556</c:v>
                </c:pt>
                <c:pt idx="30405">
                  <c:v>30.775339856754456</c:v>
                </c:pt>
                <c:pt idx="30406">
                  <c:v>22.430105974933657</c:v>
                </c:pt>
                <c:pt idx="30407">
                  <c:v>33.956624107791924</c:v>
                </c:pt>
                <c:pt idx="30408">
                  <c:v>31.422365197574997</c:v>
                </c:pt>
                <c:pt idx="30409">
                  <c:v>20.870127318626739</c:v>
                </c:pt>
                <c:pt idx="30410">
                  <c:v>22.838513401916074</c:v>
                </c:pt>
                <c:pt idx="30411">
                  <c:v>24.259148445197244</c:v>
                </c:pt>
                <c:pt idx="30412">
                  <c:v>25.843814199453</c:v>
                </c:pt>
                <c:pt idx="30413">
                  <c:v>29.547141561923482</c:v>
                </c:pt>
                <c:pt idx="30414">
                  <c:v>29.530231278330024</c:v>
                </c:pt>
                <c:pt idx="30415">
                  <c:v>35.947350814926921</c:v>
                </c:pt>
                <c:pt idx="30416">
                  <c:v>42.841856359086393</c:v>
                </c:pt>
                <c:pt idx="30417">
                  <c:v>24.49646414210952</c:v>
                </c:pt>
                <c:pt idx="30418">
                  <c:v>38.947161615452387</c:v>
                </c:pt>
                <c:pt idx="30419">
                  <c:v>28.004870278318261</c:v>
                </c:pt>
                <c:pt idx="30420">
                  <c:v>53.161339451477559</c:v>
                </c:pt>
                <c:pt idx="30421">
                  <c:v>39.461931509942254</c:v>
                </c:pt>
                <c:pt idx="30422">
                  <c:v>27.11657574684121</c:v>
                </c:pt>
                <c:pt idx="30423">
                  <c:v>20.120999586831033</c:v>
                </c:pt>
                <c:pt idx="30424">
                  <c:v>30.893982400284976</c:v>
                </c:pt>
                <c:pt idx="30425">
                  <c:v>24.941849690830374</c:v>
                </c:pt>
                <c:pt idx="30426">
                  <c:v>30.334842845951123</c:v>
                </c:pt>
                <c:pt idx="30427">
                  <c:v>28.324486043811163</c:v>
                </c:pt>
                <c:pt idx="30428">
                  <c:v>22.921261453192372</c:v>
                </c:pt>
                <c:pt idx="30429">
                  <c:v>25.692717021680821</c:v>
                </c:pt>
                <c:pt idx="30430">
                  <c:v>26.707801924818263</c:v>
                </c:pt>
                <c:pt idx="30431">
                  <c:v>26.288906957184977</c:v>
                </c:pt>
                <c:pt idx="30432">
                  <c:v>28.167210337486189</c:v>
                </c:pt>
                <c:pt idx="30433">
                  <c:v>39.909605780848153</c:v>
                </c:pt>
                <c:pt idx="30434">
                  <c:v>44.399290631544304</c:v>
                </c:pt>
                <c:pt idx="30435">
                  <c:v>32.552985628946011</c:v>
                </c:pt>
                <c:pt idx="30436">
                  <c:v>52.418963580492793</c:v>
                </c:pt>
                <c:pt idx="30437">
                  <c:v>25.708785606241342</c:v>
                </c:pt>
                <c:pt idx="30438">
                  <c:v>47.210787500418249</c:v>
                </c:pt>
                <c:pt idx="30439">
                  <c:v>21.820752129808952</c:v>
                </c:pt>
                <c:pt idx="30440">
                  <c:v>32.339789556850349</c:v>
                </c:pt>
                <c:pt idx="30441">
                  <c:v>41.500833759569915</c:v>
                </c:pt>
                <c:pt idx="30442">
                  <c:v>30.176145250060397</c:v>
                </c:pt>
                <c:pt idx="30443">
                  <c:v>24.957226545068355</c:v>
                </c:pt>
                <c:pt idx="30444">
                  <c:v>25.410369292417457</c:v>
                </c:pt>
                <c:pt idx="30445">
                  <c:v>24.194985579129476</c:v>
                </c:pt>
                <c:pt idx="30446">
                  <c:v>39.847611894953012</c:v>
                </c:pt>
                <c:pt idx="30447">
                  <c:v>22.013247534432374</c:v>
                </c:pt>
                <c:pt idx="30448">
                  <c:v>26.352669392235992</c:v>
                </c:pt>
                <c:pt idx="30449">
                  <c:v>24.472456439285367</c:v>
                </c:pt>
                <c:pt idx="30450">
                  <c:v>45.821528959123171</c:v>
                </c:pt>
                <c:pt idx="30451">
                  <c:v>21.555999664796513</c:v>
                </c:pt>
                <c:pt idx="30452">
                  <c:v>15.640758654701711</c:v>
                </c:pt>
                <c:pt idx="30453">
                  <c:v>25.117118738657261</c:v>
                </c:pt>
                <c:pt idx="30454">
                  <c:v>25.060891560421908</c:v>
                </c:pt>
                <c:pt idx="30455">
                  <c:v>51.517838657658309</c:v>
                </c:pt>
                <c:pt idx="30456">
                  <c:v>22.283626419738887</c:v>
                </c:pt>
                <c:pt idx="30457">
                  <c:v>24.665157107841033</c:v>
                </c:pt>
                <c:pt idx="30458">
                  <c:v>32.069753845304874</c:v>
                </c:pt>
                <c:pt idx="30459">
                  <c:v>49.921387650353381</c:v>
                </c:pt>
                <c:pt idx="30460">
                  <c:v>19.171001708699563</c:v>
                </c:pt>
                <c:pt idx="30461">
                  <c:v>25.145717530412984</c:v>
                </c:pt>
                <c:pt idx="30462">
                  <c:v>33.502114985274204</c:v>
                </c:pt>
                <c:pt idx="30463">
                  <c:v>24.079833084334943</c:v>
                </c:pt>
                <c:pt idx="30464">
                  <c:v>28.239997796720644</c:v>
                </c:pt>
                <c:pt idx="30465">
                  <c:v>25.160522305237329</c:v>
                </c:pt>
                <c:pt idx="30466">
                  <c:v>19.585691053479358</c:v>
                </c:pt>
                <c:pt idx="30467">
                  <c:v>27.228130162884376</c:v>
                </c:pt>
                <c:pt idx="30468">
                  <c:v>27.929181613838225</c:v>
                </c:pt>
                <c:pt idx="30469">
                  <c:v>29.948308091820969</c:v>
                </c:pt>
                <c:pt idx="30470">
                  <c:v>49.445096115759654</c:v>
                </c:pt>
                <c:pt idx="30471">
                  <c:v>29.355056077266742</c:v>
                </c:pt>
                <c:pt idx="30472">
                  <c:v>38.668299439386566</c:v>
                </c:pt>
                <c:pt idx="30473">
                  <c:v>48.543385474101321</c:v>
                </c:pt>
                <c:pt idx="30474">
                  <c:v>23.859455334272337</c:v>
                </c:pt>
                <c:pt idx="30475">
                  <c:v>32.82676980799625</c:v>
                </c:pt>
                <c:pt idx="30476">
                  <c:v>33.184005954344578</c:v>
                </c:pt>
                <c:pt idx="30477">
                  <c:v>24.51254042924473</c:v>
                </c:pt>
                <c:pt idx="30478">
                  <c:v>53.7327698376372</c:v>
                </c:pt>
                <c:pt idx="30479">
                  <c:v>19.864104007654884</c:v>
                </c:pt>
                <c:pt idx="30480">
                  <c:v>43.946599398781643</c:v>
                </c:pt>
                <c:pt idx="30481">
                  <c:v>29.035473578343478</c:v>
                </c:pt>
                <c:pt idx="30482">
                  <c:v>22.834956526807105</c:v>
                </c:pt>
                <c:pt idx="30483">
                  <c:v>27.101302823960804</c:v>
                </c:pt>
                <c:pt idx="30484">
                  <c:v>23.681767799374366</c:v>
                </c:pt>
                <c:pt idx="30485">
                  <c:v>26.554738971764142</c:v>
                </c:pt>
                <c:pt idx="30486">
                  <c:v>23.454184146352983</c:v>
                </c:pt>
                <c:pt idx="30487">
                  <c:v>24.956646056272746</c:v>
                </c:pt>
                <c:pt idx="30488">
                  <c:v>26.741698732314532</c:v>
                </c:pt>
                <c:pt idx="30489">
                  <c:v>15.522453937786429</c:v>
                </c:pt>
                <c:pt idx="30490">
                  <c:v>26.159622402040554</c:v>
                </c:pt>
                <c:pt idx="30491">
                  <c:v>36.562928828973618</c:v>
                </c:pt>
                <c:pt idx="30492">
                  <c:v>21.636993545247766</c:v>
                </c:pt>
                <c:pt idx="30493">
                  <c:v>23.91525705924191</c:v>
                </c:pt>
                <c:pt idx="30494">
                  <c:v>14.521305527359534</c:v>
                </c:pt>
                <c:pt idx="30495">
                  <c:v>24.762029617300822</c:v>
                </c:pt>
                <c:pt idx="30496">
                  <c:v>27.681498777408571</c:v>
                </c:pt>
                <c:pt idx="30497">
                  <c:v>24.518260127517024</c:v>
                </c:pt>
                <c:pt idx="30498">
                  <c:v>31.023329602024152</c:v>
                </c:pt>
                <c:pt idx="30499">
                  <c:v>30.030999166130208</c:v>
                </c:pt>
                <c:pt idx="30500">
                  <c:v>24.932898040369292</c:v>
                </c:pt>
                <c:pt idx="30501">
                  <c:v>27.707320409623165</c:v>
                </c:pt>
                <c:pt idx="30502">
                  <c:v>26.598573790985085</c:v>
                </c:pt>
                <c:pt idx="30503">
                  <c:v>36.806789444774921</c:v>
                </c:pt>
                <c:pt idx="30504">
                  <c:v>40.720798551192161</c:v>
                </c:pt>
                <c:pt idx="30505">
                  <c:v>30.896324789573438</c:v>
                </c:pt>
                <c:pt idx="30506">
                  <c:v>35.733920264814046</c:v>
                </c:pt>
                <c:pt idx="30507">
                  <c:v>26.331230810438953</c:v>
                </c:pt>
                <c:pt idx="30508">
                  <c:v>22.196805155189054</c:v>
                </c:pt>
                <c:pt idx="30509">
                  <c:v>23.972882618688168</c:v>
                </c:pt>
                <c:pt idx="30510">
                  <c:v>25.823724640873316</c:v>
                </c:pt>
                <c:pt idx="30511">
                  <c:v>48.806495294838385</c:v>
                </c:pt>
                <c:pt idx="30512">
                  <c:v>28.138423286688329</c:v>
                </c:pt>
                <c:pt idx="30513">
                  <c:v>28.031269709313861</c:v>
                </c:pt>
                <c:pt idx="30514">
                  <c:v>25.369601785489579</c:v>
                </c:pt>
                <c:pt idx="30515">
                  <c:v>35.134852609178509</c:v>
                </c:pt>
                <c:pt idx="30516">
                  <c:v>26.987778970378173</c:v>
                </c:pt>
                <c:pt idx="30517">
                  <c:v>44.659144372825381</c:v>
                </c:pt>
                <c:pt idx="30518">
                  <c:v>24.243998171652969</c:v>
                </c:pt>
                <c:pt idx="30519">
                  <c:v>27.178724713587904</c:v>
                </c:pt>
                <c:pt idx="30520">
                  <c:v>30.634047032789383</c:v>
                </c:pt>
                <c:pt idx="30521">
                  <c:v>37.607191826346934</c:v>
                </c:pt>
                <c:pt idx="30522">
                  <c:v>24.127637715738821</c:v>
                </c:pt>
                <c:pt idx="30523">
                  <c:v>29.705770077078249</c:v>
                </c:pt>
                <c:pt idx="30524">
                  <c:v>33.364722504869931</c:v>
                </c:pt>
                <c:pt idx="30525">
                  <c:v>33.541523601215566</c:v>
                </c:pt>
                <c:pt idx="30526">
                  <c:v>17.585988623397235</c:v>
                </c:pt>
                <c:pt idx="30527">
                  <c:v>20.601930379118503</c:v>
                </c:pt>
                <c:pt idx="30528">
                  <c:v>19.163790842860081</c:v>
                </c:pt>
                <c:pt idx="30529">
                  <c:v>21.946649024475533</c:v>
                </c:pt>
                <c:pt idx="30530">
                  <c:v>26.210075711406034</c:v>
                </c:pt>
                <c:pt idx="30531">
                  <c:v>21.587051476297219</c:v>
                </c:pt>
                <c:pt idx="30532">
                  <c:v>25.604632414476825</c:v>
                </c:pt>
                <c:pt idx="30533">
                  <c:v>30.084692705297439</c:v>
                </c:pt>
                <c:pt idx="30534">
                  <c:v>20.528763574088543</c:v>
                </c:pt>
                <c:pt idx="30535">
                  <c:v>30.964846835310176</c:v>
                </c:pt>
                <c:pt idx="30536">
                  <c:v>31.509704563854495</c:v>
                </c:pt>
                <c:pt idx="30537">
                  <c:v>48.258057587270486</c:v>
                </c:pt>
                <c:pt idx="30538">
                  <c:v>18.12046520936385</c:v>
                </c:pt>
                <c:pt idx="30539">
                  <c:v>22.028235423424565</c:v>
                </c:pt>
                <c:pt idx="30540">
                  <c:v>35.314240383520136</c:v>
                </c:pt>
                <c:pt idx="30541">
                  <c:v>23.31929839367082</c:v>
                </c:pt>
                <c:pt idx="30542">
                  <c:v>30.382017511590625</c:v>
                </c:pt>
                <c:pt idx="30543">
                  <c:v>38.506097078984062</c:v>
                </c:pt>
                <c:pt idx="30544">
                  <c:v>22.86679880320516</c:v>
                </c:pt>
                <c:pt idx="30545">
                  <c:v>42.846815614394671</c:v>
                </c:pt>
                <c:pt idx="30546">
                  <c:v>20.679090988312211</c:v>
                </c:pt>
                <c:pt idx="30547">
                  <c:v>31.231158724206075</c:v>
                </c:pt>
                <c:pt idx="30548">
                  <c:v>27.158471224440287</c:v>
                </c:pt>
                <c:pt idx="30549">
                  <c:v>30.183903617120087</c:v>
                </c:pt>
                <c:pt idx="30550">
                  <c:v>31.760393713340108</c:v>
                </c:pt>
                <c:pt idx="30551">
                  <c:v>29.410913496765662</c:v>
                </c:pt>
                <c:pt idx="30552">
                  <c:v>25.756018910679888</c:v>
                </c:pt>
                <c:pt idx="30553">
                  <c:v>24.471908619607582</c:v>
                </c:pt>
                <c:pt idx="30554">
                  <c:v>17.888967679815945</c:v>
                </c:pt>
                <c:pt idx="30555">
                  <c:v>28.852661309992683</c:v>
                </c:pt>
                <c:pt idx="30556">
                  <c:v>21.018760974239264</c:v>
                </c:pt>
                <c:pt idx="30557">
                  <c:v>17.428766980357416</c:v>
                </c:pt>
                <c:pt idx="30558">
                  <c:v>27.24745945015016</c:v>
                </c:pt>
                <c:pt idx="30559">
                  <c:v>35.506956390953789</c:v>
                </c:pt>
                <c:pt idx="30560">
                  <c:v>47.396063443017866</c:v>
                </c:pt>
                <c:pt idx="30561">
                  <c:v>24.017164505717915</c:v>
                </c:pt>
                <c:pt idx="30562">
                  <c:v>50.577675577211281</c:v>
                </c:pt>
                <c:pt idx="30563">
                  <c:v>21.120330516373166</c:v>
                </c:pt>
                <c:pt idx="30564">
                  <c:v>13.959256114041063</c:v>
                </c:pt>
                <c:pt idx="30565">
                  <c:v>26.790475692359667</c:v>
                </c:pt>
                <c:pt idx="30566">
                  <c:v>28.309022192170055</c:v>
                </c:pt>
                <c:pt idx="30567">
                  <c:v>41.80127760912584</c:v>
                </c:pt>
                <c:pt idx="30568">
                  <c:v>30.222232045971381</c:v>
                </c:pt>
                <c:pt idx="30569">
                  <c:v>24.965745573378733</c:v>
                </c:pt>
                <c:pt idx="30570">
                  <c:v>27.861464637769398</c:v>
                </c:pt>
                <c:pt idx="30571">
                  <c:v>33.25015418602991</c:v>
                </c:pt>
                <c:pt idx="30572">
                  <c:v>30.804661754734155</c:v>
                </c:pt>
                <c:pt idx="30573">
                  <c:v>22.510249242483859</c:v>
                </c:pt>
                <c:pt idx="30574">
                  <c:v>27.584338933640751</c:v>
                </c:pt>
                <c:pt idx="30575">
                  <c:v>41.93456451689498</c:v>
                </c:pt>
                <c:pt idx="30576">
                  <c:v>27.325322258148134</c:v>
                </c:pt>
                <c:pt idx="30577">
                  <c:v>30.095234480807218</c:v>
                </c:pt>
                <c:pt idx="30578">
                  <c:v>22.872719485194143</c:v>
                </c:pt>
                <c:pt idx="30579">
                  <c:v>26.317224850139581</c:v>
                </c:pt>
                <c:pt idx="30580">
                  <c:v>42.885139857547742</c:v>
                </c:pt>
                <c:pt idx="30581">
                  <c:v>28.948873543618717</c:v>
                </c:pt>
                <c:pt idx="30582">
                  <c:v>25.496507248781803</c:v>
                </c:pt>
                <c:pt idx="30583">
                  <c:v>39.535863796631489</c:v>
                </c:pt>
                <c:pt idx="30584">
                  <c:v>18.902398078134919</c:v>
                </c:pt>
                <c:pt idx="30585">
                  <c:v>28.360074812312618</c:v>
                </c:pt>
                <c:pt idx="30586">
                  <c:v>26.754604815341995</c:v>
                </c:pt>
                <c:pt idx="30587">
                  <c:v>21.371023391621222</c:v>
                </c:pt>
                <c:pt idx="30588">
                  <c:v>46.794162995117247</c:v>
                </c:pt>
                <c:pt idx="30589">
                  <c:v>33.225774567440737</c:v>
                </c:pt>
                <c:pt idx="30590">
                  <c:v>24.217489164701597</c:v>
                </c:pt>
                <c:pt idx="30591">
                  <c:v>24.033021268445573</c:v>
                </c:pt>
                <c:pt idx="30592">
                  <c:v>52.100714100199056</c:v>
                </c:pt>
                <c:pt idx="30593">
                  <c:v>27.556870644641783</c:v>
                </c:pt>
                <c:pt idx="30594">
                  <c:v>29.467886186243373</c:v>
                </c:pt>
                <c:pt idx="30595">
                  <c:v>24.533861282701547</c:v>
                </c:pt>
                <c:pt idx="30596">
                  <c:v>29.788159473047781</c:v>
                </c:pt>
                <c:pt idx="30597">
                  <c:v>46.942455768596759</c:v>
                </c:pt>
                <c:pt idx="30598">
                  <c:v>22.326780278893171</c:v>
                </c:pt>
                <c:pt idx="30599">
                  <c:v>23.20378047322551</c:v>
                </c:pt>
                <c:pt idx="30600">
                  <c:v>27.815277800855242</c:v>
                </c:pt>
                <c:pt idx="30601">
                  <c:v>37.492411821177377</c:v>
                </c:pt>
                <c:pt idx="30602">
                  <c:v>19.452367996564515</c:v>
                </c:pt>
                <c:pt idx="30603">
                  <c:v>36.639677771196538</c:v>
                </c:pt>
                <c:pt idx="30604">
                  <c:v>31.416721873464247</c:v>
                </c:pt>
                <c:pt idx="30605">
                  <c:v>20.789953048849334</c:v>
                </c:pt>
                <c:pt idx="30606">
                  <c:v>21.487097350881307</c:v>
                </c:pt>
                <c:pt idx="30607">
                  <c:v>35.454280082564331</c:v>
                </c:pt>
                <c:pt idx="30608">
                  <c:v>23.78843014821927</c:v>
                </c:pt>
                <c:pt idx="30609">
                  <c:v>48.017039376654395</c:v>
                </c:pt>
                <c:pt idx="30610">
                  <c:v>20.010415834544347</c:v>
                </c:pt>
                <c:pt idx="30611">
                  <c:v>35.942744187807897</c:v>
                </c:pt>
                <c:pt idx="30612">
                  <c:v>29.101702262849209</c:v>
                </c:pt>
                <c:pt idx="30613">
                  <c:v>23.757898550452442</c:v>
                </c:pt>
                <c:pt idx="30614">
                  <c:v>20.909654422089659</c:v>
                </c:pt>
                <c:pt idx="30615">
                  <c:v>30.439315694011754</c:v>
                </c:pt>
                <c:pt idx="30616">
                  <c:v>25.049176391580076</c:v>
                </c:pt>
                <c:pt idx="30617">
                  <c:v>21.697018496994424</c:v>
                </c:pt>
                <c:pt idx="30618">
                  <c:v>47.171504684438631</c:v>
                </c:pt>
                <c:pt idx="30619">
                  <c:v>25.934087007816984</c:v>
                </c:pt>
                <c:pt idx="30620">
                  <c:v>36.176737729102257</c:v>
                </c:pt>
                <c:pt idx="30621">
                  <c:v>22.817596771362911</c:v>
                </c:pt>
                <c:pt idx="30622">
                  <c:v>24.227274136848617</c:v>
                </c:pt>
                <c:pt idx="30623">
                  <c:v>39.225394704300108</c:v>
                </c:pt>
                <c:pt idx="30624">
                  <c:v>23.771833471633755</c:v>
                </c:pt>
                <c:pt idx="30625">
                  <c:v>27.186619820437762</c:v>
                </c:pt>
                <c:pt idx="30626">
                  <c:v>20.859416376733517</c:v>
                </c:pt>
                <c:pt idx="30627">
                  <c:v>30.263864964025441</c:v>
                </c:pt>
                <c:pt idx="30628">
                  <c:v>30.707925580056425</c:v>
                </c:pt>
                <c:pt idx="30629">
                  <c:v>37.74844123841315</c:v>
                </c:pt>
                <c:pt idx="30630">
                  <c:v>42.916485247770574</c:v>
                </c:pt>
                <c:pt idx="30631">
                  <c:v>34.3520533455874</c:v>
                </c:pt>
                <c:pt idx="30632">
                  <c:v>24.856202441333352</c:v>
                </c:pt>
                <c:pt idx="30633">
                  <c:v>28.687332806277016</c:v>
                </c:pt>
                <c:pt idx="30634">
                  <c:v>27.780638888680492</c:v>
                </c:pt>
                <c:pt idx="30635">
                  <c:v>27.273377764240998</c:v>
                </c:pt>
                <c:pt idx="30636">
                  <c:v>50.850305919232561</c:v>
                </c:pt>
                <c:pt idx="30637">
                  <c:v>28.262556053678725</c:v>
                </c:pt>
                <c:pt idx="30638">
                  <c:v>39.356957941215619</c:v>
                </c:pt>
                <c:pt idx="30639">
                  <c:v>53.58254076948522</c:v>
                </c:pt>
                <c:pt idx="30640">
                  <c:v>31.772550077780764</c:v>
                </c:pt>
                <c:pt idx="30641">
                  <c:v>25.047193561820755</c:v>
                </c:pt>
                <c:pt idx="30642">
                  <c:v>22.392614397290188</c:v>
                </c:pt>
                <c:pt idx="30643">
                  <c:v>25.435375864742134</c:v>
                </c:pt>
                <c:pt idx="30644">
                  <c:v>44.367271318356195</c:v>
                </c:pt>
                <c:pt idx="30645">
                  <c:v>22.894465198650966</c:v>
                </c:pt>
                <c:pt idx="30646">
                  <c:v>28.839967858137953</c:v>
                </c:pt>
                <c:pt idx="30647">
                  <c:v>12.960061909025509</c:v>
                </c:pt>
                <c:pt idx="30648">
                  <c:v>41.414431170652072</c:v>
                </c:pt>
                <c:pt idx="30649">
                  <c:v>19.314140487116262</c:v>
                </c:pt>
                <c:pt idx="30650">
                  <c:v>43.28181459132869</c:v>
                </c:pt>
                <c:pt idx="30651">
                  <c:v>28.653623058925483</c:v>
                </c:pt>
                <c:pt idx="30652">
                  <c:v>47.762814997429423</c:v>
                </c:pt>
                <c:pt idx="30653">
                  <c:v>43.492026897912602</c:v>
                </c:pt>
                <c:pt idx="30654">
                  <c:v>32.757764038696294</c:v>
                </c:pt>
                <c:pt idx="30655">
                  <c:v>44.864513110219207</c:v>
                </c:pt>
                <c:pt idx="30656">
                  <c:v>26.175112395191579</c:v>
                </c:pt>
                <c:pt idx="30657">
                  <c:v>26.851133199567542</c:v>
                </c:pt>
                <c:pt idx="30658">
                  <c:v>34.524284625932822</c:v>
                </c:pt>
                <c:pt idx="30659">
                  <c:v>23.719685143912788</c:v>
                </c:pt>
                <c:pt idx="30660">
                  <c:v>47.879262875517419</c:v>
                </c:pt>
                <c:pt idx="30661">
                  <c:v>61.066880467138638</c:v>
                </c:pt>
                <c:pt idx="30662">
                  <c:v>38.2852970617529</c:v>
                </c:pt>
                <c:pt idx="30663">
                  <c:v>33.672177890983882</c:v>
                </c:pt>
                <c:pt idx="30664">
                  <c:v>36.652513447942361</c:v>
                </c:pt>
                <c:pt idx="30665">
                  <c:v>28.645422213232724</c:v>
                </c:pt>
                <c:pt idx="30666">
                  <c:v>26.267137844620176</c:v>
                </c:pt>
                <c:pt idx="30667">
                  <c:v>14.821119218842496</c:v>
                </c:pt>
                <c:pt idx="30668">
                  <c:v>24.537189848534183</c:v>
                </c:pt>
                <c:pt idx="30669">
                  <c:v>43.15826729144203</c:v>
                </c:pt>
                <c:pt idx="30670">
                  <c:v>26.770361365357715</c:v>
                </c:pt>
                <c:pt idx="30671">
                  <c:v>34.461315343807911</c:v>
                </c:pt>
                <c:pt idx="30672">
                  <c:v>25.156498731559108</c:v>
                </c:pt>
                <c:pt idx="30673">
                  <c:v>20.235948545224602</c:v>
                </c:pt>
                <c:pt idx="30674">
                  <c:v>24.505853930593137</c:v>
                </c:pt>
                <c:pt idx="30675">
                  <c:v>30.610484344234806</c:v>
                </c:pt>
                <c:pt idx="30676">
                  <c:v>23.090091280617628</c:v>
                </c:pt>
                <c:pt idx="30677">
                  <c:v>26.179195231451175</c:v>
                </c:pt>
                <c:pt idx="30678">
                  <c:v>52.35466787011601</c:v>
                </c:pt>
                <c:pt idx="30679">
                  <c:v>26.78518099732462</c:v>
                </c:pt>
                <c:pt idx="30680">
                  <c:v>18.748255789470633</c:v>
                </c:pt>
                <c:pt idx="30681">
                  <c:v>18.089965732856999</c:v>
                </c:pt>
                <c:pt idx="30682">
                  <c:v>25.712150254569501</c:v>
                </c:pt>
                <c:pt idx="30683">
                  <c:v>19.596307345574381</c:v>
                </c:pt>
                <c:pt idx="30684">
                  <c:v>45.776643673243456</c:v>
                </c:pt>
                <c:pt idx="30685">
                  <c:v>21.09707713636838</c:v>
                </c:pt>
                <c:pt idx="30686">
                  <c:v>42.418388811751868</c:v>
                </c:pt>
                <c:pt idx="30687">
                  <c:v>26.042211348278016</c:v>
                </c:pt>
                <c:pt idx="30688">
                  <c:v>30.508384043833395</c:v>
                </c:pt>
                <c:pt idx="30689">
                  <c:v>36.755788905040681</c:v>
                </c:pt>
                <c:pt idx="30690">
                  <c:v>43.612806938972412</c:v>
                </c:pt>
                <c:pt idx="30691">
                  <c:v>30.019647936813282</c:v>
                </c:pt>
                <c:pt idx="30692">
                  <c:v>28.94724559098114</c:v>
                </c:pt>
                <c:pt idx="30693">
                  <c:v>41.84912867617107</c:v>
                </c:pt>
                <c:pt idx="30694">
                  <c:v>23.192404430522963</c:v>
                </c:pt>
                <c:pt idx="30695">
                  <c:v>21.217603216105672</c:v>
                </c:pt>
                <c:pt idx="30696">
                  <c:v>22.696828443869641</c:v>
                </c:pt>
                <c:pt idx="30697">
                  <c:v>28.125992258676526</c:v>
                </c:pt>
                <c:pt idx="30698">
                  <c:v>22.040818857896877</c:v>
                </c:pt>
                <c:pt idx="30699">
                  <c:v>49.537112724625516</c:v>
                </c:pt>
                <c:pt idx="30700">
                  <c:v>30.286485497841465</c:v>
                </c:pt>
                <c:pt idx="30701">
                  <c:v>33.479606181890595</c:v>
                </c:pt>
                <c:pt idx="30702">
                  <c:v>25.833895848839646</c:v>
                </c:pt>
                <c:pt idx="30703">
                  <c:v>30.847871800785921</c:v>
                </c:pt>
                <c:pt idx="30704">
                  <c:v>29.28604309084405</c:v>
                </c:pt>
                <c:pt idx="30705">
                  <c:v>29.146082962761696</c:v>
                </c:pt>
                <c:pt idx="30706">
                  <c:v>34.112392309360906</c:v>
                </c:pt>
                <c:pt idx="30707">
                  <c:v>30.046671185438047</c:v>
                </c:pt>
                <c:pt idx="30708">
                  <c:v>42.370507189185012</c:v>
                </c:pt>
                <c:pt idx="30709">
                  <c:v>17.346050144951935</c:v>
                </c:pt>
                <c:pt idx="30710">
                  <c:v>35.383714196235886</c:v>
                </c:pt>
                <c:pt idx="30711">
                  <c:v>30.027262605924562</c:v>
                </c:pt>
                <c:pt idx="30712">
                  <c:v>57.844777745878901</c:v>
                </c:pt>
                <c:pt idx="30713">
                  <c:v>26.822662776261243</c:v>
                </c:pt>
                <c:pt idx="30714">
                  <c:v>41.360734401109852</c:v>
                </c:pt>
                <c:pt idx="30715">
                  <c:v>26.072049660482399</c:v>
                </c:pt>
                <c:pt idx="30716">
                  <c:v>19.893952926704277</c:v>
                </c:pt>
                <c:pt idx="30717">
                  <c:v>45.918955732107499</c:v>
                </c:pt>
                <c:pt idx="30718">
                  <c:v>15.245354292150862</c:v>
                </c:pt>
                <c:pt idx="30719">
                  <c:v>34.822589438597412</c:v>
                </c:pt>
                <c:pt idx="30720">
                  <c:v>23.582862824113953</c:v>
                </c:pt>
                <c:pt idx="30721">
                  <c:v>22.478086832596052</c:v>
                </c:pt>
                <c:pt idx="30722">
                  <c:v>39.366539533176073</c:v>
                </c:pt>
                <c:pt idx="30723">
                  <c:v>25.852088454478583</c:v>
                </c:pt>
                <c:pt idx="30724">
                  <c:v>28.129812284404096</c:v>
                </c:pt>
                <c:pt idx="30725">
                  <c:v>34.537005532111145</c:v>
                </c:pt>
                <c:pt idx="30726">
                  <c:v>19.588809388125231</c:v>
                </c:pt>
                <c:pt idx="30727">
                  <c:v>23.565402910760181</c:v>
                </c:pt>
                <c:pt idx="30728">
                  <c:v>35.658894514790752</c:v>
                </c:pt>
                <c:pt idx="30729">
                  <c:v>55.181445269877919</c:v>
                </c:pt>
                <c:pt idx="30730">
                  <c:v>20.971281729571547</c:v>
                </c:pt>
                <c:pt idx="30731">
                  <c:v>31.124215394687702</c:v>
                </c:pt>
                <c:pt idx="30732">
                  <c:v>30.92313222183639</c:v>
                </c:pt>
                <c:pt idx="30733">
                  <c:v>27.668920724957342</c:v>
                </c:pt>
                <c:pt idx="30734">
                  <c:v>21.134736406611989</c:v>
                </c:pt>
                <c:pt idx="30735">
                  <c:v>25.194903663167914</c:v>
                </c:pt>
                <c:pt idx="30736">
                  <c:v>22.100140978821262</c:v>
                </c:pt>
                <c:pt idx="30737">
                  <c:v>43.876928321121419</c:v>
                </c:pt>
                <c:pt idx="30738">
                  <c:v>24.785940122711505</c:v>
                </c:pt>
                <c:pt idx="30739">
                  <c:v>27.163558057879413</c:v>
                </c:pt>
                <c:pt idx="30740">
                  <c:v>21.519791523163153</c:v>
                </c:pt>
                <c:pt idx="30741">
                  <c:v>16.14037819128886</c:v>
                </c:pt>
                <c:pt idx="30742">
                  <c:v>45.987658906574488</c:v>
                </c:pt>
                <c:pt idx="30743">
                  <c:v>34.428132896769753</c:v>
                </c:pt>
                <c:pt idx="30744">
                  <c:v>21.528168090526989</c:v>
                </c:pt>
                <c:pt idx="30745">
                  <c:v>20.448044696090317</c:v>
                </c:pt>
                <c:pt idx="30746">
                  <c:v>25.008984087790171</c:v>
                </c:pt>
                <c:pt idx="30747">
                  <c:v>38.937589648920124</c:v>
                </c:pt>
                <c:pt idx="30748">
                  <c:v>33.68107006316491</c:v>
                </c:pt>
                <c:pt idx="30749">
                  <c:v>21.004185506141745</c:v>
                </c:pt>
                <c:pt idx="30750">
                  <c:v>31.826031633863259</c:v>
                </c:pt>
                <c:pt idx="30751">
                  <c:v>23.50183415081386</c:v>
                </c:pt>
                <c:pt idx="30752">
                  <c:v>24.613863708594955</c:v>
                </c:pt>
                <c:pt idx="30753">
                  <c:v>55.652392933823819</c:v>
                </c:pt>
                <c:pt idx="30754">
                  <c:v>32.914611306532429</c:v>
                </c:pt>
                <c:pt idx="30755">
                  <c:v>25.027863643968416</c:v>
                </c:pt>
                <c:pt idx="30756">
                  <c:v>27.271709167714505</c:v>
                </c:pt>
                <c:pt idx="30757">
                  <c:v>35.672438259477275</c:v>
                </c:pt>
                <c:pt idx="30758">
                  <c:v>25.278198218864851</c:v>
                </c:pt>
                <c:pt idx="30759">
                  <c:v>27.126515422034416</c:v>
                </c:pt>
                <c:pt idx="30760">
                  <c:v>43.488675870447985</c:v>
                </c:pt>
                <c:pt idx="30761">
                  <c:v>33.444231845297153</c:v>
                </c:pt>
                <c:pt idx="30762">
                  <c:v>42.497580844380415</c:v>
                </c:pt>
                <c:pt idx="30763">
                  <c:v>32.341434294650149</c:v>
                </c:pt>
                <c:pt idx="30764">
                  <c:v>43.250836512987426</c:v>
                </c:pt>
                <c:pt idx="30765">
                  <c:v>22.651741040325266</c:v>
                </c:pt>
                <c:pt idx="30766">
                  <c:v>18.907837456469572</c:v>
                </c:pt>
                <c:pt idx="30767">
                  <c:v>26.585502528403385</c:v>
                </c:pt>
                <c:pt idx="30768">
                  <c:v>26.200947509616707</c:v>
                </c:pt>
                <c:pt idx="30769">
                  <c:v>26.185296677156234</c:v>
                </c:pt>
                <c:pt idx="30770">
                  <c:v>24.962260969936175</c:v>
                </c:pt>
                <c:pt idx="30771">
                  <c:v>28.202084304895777</c:v>
                </c:pt>
                <c:pt idx="30772">
                  <c:v>32.954251949179202</c:v>
                </c:pt>
                <c:pt idx="30773">
                  <c:v>30.691950564300793</c:v>
                </c:pt>
                <c:pt idx="30774">
                  <c:v>23.088049106366242</c:v>
                </c:pt>
                <c:pt idx="30775">
                  <c:v>20.758016052272694</c:v>
                </c:pt>
                <c:pt idx="30776">
                  <c:v>24.048568288901766</c:v>
                </c:pt>
                <c:pt idx="30777">
                  <c:v>22.97542769709996</c:v>
                </c:pt>
                <c:pt idx="30778">
                  <c:v>43.403476963409645</c:v>
                </c:pt>
                <c:pt idx="30779">
                  <c:v>32.822447434419637</c:v>
                </c:pt>
                <c:pt idx="30780">
                  <c:v>23.91246143717493</c:v>
                </c:pt>
                <c:pt idx="30781">
                  <c:v>40.124774920165017</c:v>
                </c:pt>
                <c:pt idx="30782">
                  <c:v>32.072013353741035</c:v>
                </c:pt>
                <c:pt idx="30783">
                  <c:v>30.723091346782198</c:v>
                </c:pt>
                <c:pt idx="30784">
                  <c:v>22.235914743907504</c:v>
                </c:pt>
                <c:pt idx="30785">
                  <c:v>46.247998611685006</c:v>
                </c:pt>
                <c:pt idx="30786">
                  <c:v>21.009525281893158</c:v>
                </c:pt>
                <c:pt idx="30787">
                  <c:v>24.264631258118524</c:v>
                </c:pt>
                <c:pt idx="30788">
                  <c:v>36.672424776296765</c:v>
                </c:pt>
                <c:pt idx="30789">
                  <c:v>37.590669079534869</c:v>
                </c:pt>
                <c:pt idx="30790">
                  <c:v>27.787168246220581</c:v>
                </c:pt>
                <c:pt idx="30791">
                  <c:v>28.936351358046011</c:v>
                </c:pt>
                <c:pt idx="30792">
                  <c:v>30.173100830280564</c:v>
                </c:pt>
                <c:pt idx="30793">
                  <c:v>24.421049887667561</c:v>
                </c:pt>
                <c:pt idx="30794">
                  <c:v>29.283676046002231</c:v>
                </c:pt>
                <c:pt idx="30795">
                  <c:v>25.213215501594064</c:v>
                </c:pt>
                <c:pt idx="30796">
                  <c:v>27.32941838531184</c:v>
                </c:pt>
                <c:pt idx="30797">
                  <c:v>26.356835599235762</c:v>
                </c:pt>
                <c:pt idx="30798">
                  <c:v>21.508740505890827</c:v>
                </c:pt>
                <c:pt idx="30799">
                  <c:v>34.140669145510742</c:v>
                </c:pt>
                <c:pt idx="30800">
                  <c:v>45.570290287716468</c:v>
                </c:pt>
                <c:pt idx="30801">
                  <c:v>24.972312780069934</c:v>
                </c:pt>
                <c:pt idx="30802">
                  <c:v>36.590930539916563</c:v>
                </c:pt>
                <c:pt idx="30803">
                  <c:v>43.767318369028736</c:v>
                </c:pt>
                <c:pt idx="30804">
                  <c:v>47.678796899315891</c:v>
                </c:pt>
                <c:pt idx="30805">
                  <c:v>27.506679174385443</c:v>
                </c:pt>
                <c:pt idx="30806">
                  <c:v>23.223054929251099</c:v>
                </c:pt>
                <c:pt idx="30807">
                  <c:v>29.169289839831457</c:v>
                </c:pt>
                <c:pt idx="30808">
                  <c:v>29.300466200576295</c:v>
                </c:pt>
                <c:pt idx="30809">
                  <c:v>23.209003102722136</c:v>
                </c:pt>
                <c:pt idx="30810">
                  <c:v>26.829306794833386</c:v>
                </c:pt>
                <c:pt idx="30811">
                  <c:v>28.858537272793669</c:v>
                </c:pt>
                <c:pt idx="30812">
                  <c:v>28.43166786931301</c:v>
                </c:pt>
                <c:pt idx="30813">
                  <c:v>31.49653797420509</c:v>
                </c:pt>
                <c:pt idx="30814">
                  <c:v>28.50411001648428</c:v>
                </c:pt>
                <c:pt idx="30815">
                  <c:v>47.334234746825565</c:v>
                </c:pt>
                <c:pt idx="30816">
                  <c:v>22.056242271328152</c:v>
                </c:pt>
                <c:pt idx="30817">
                  <c:v>30.17691835281834</c:v>
                </c:pt>
                <c:pt idx="30818">
                  <c:v>49.840101424377025</c:v>
                </c:pt>
                <c:pt idx="30819">
                  <c:v>40.075221331465833</c:v>
                </c:pt>
                <c:pt idx="30820">
                  <c:v>46.539808111067785</c:v>
                </c:pt>
                <c:pt idx="30821">
                  <c:v>60.742436901087522</c:v>
                </c:pt>
                <c:pt idx="30822">
                  <c:v>29.739163992651715</c:v>
                </c:pt>
                <c:pt idx="30823">
                  <c:v>35.003306622819544</c:v>
                </c:pt>
                <c:pt idx="30824">
                  <c:v>24.030187351719704</c:v>
                </c:pt>
                <c:pt idx="30825">
                  <c:v>23.19680556994502</c:v>
                </c:pt>
                <c:pt idx="30826">
                  <c:v>56.2302337151744</c:v>
                </c:pt>
                <c:pt idx="30827">
                  <c:v>22.574528255921887</c:v>
                </c:pt>
                <c:pt idx="30828">
                  <c:v>26.052753537200779</c:v>
                </c:pt>
                <c:pt idx="30829">
                  <c:v>38.214250016565757</c:v>
                </c:pt>
                <c:pt idx="30830">
                  <c:v>26.163146047611352</c:v>
                </c:pt>
                <c:pt idx="30831">
                  <c:v>29.191766182725832</c:v>
                </c:pt>
                <c:pt idx="30832">
                  <c:v>29.583515911877768</c:v>
                </c:pt>
                <c:pt idx="30833">
                  <c:v>29.179232424224086</c:v>
                </c:pt>
                <c:pt idx="30834">
                  <c:v>39.757235455265182</c:v>
                </c:pt>
                <c:pt idx="30835">
                  <c:v>22.123753438868818</c:v>
                </c:pt>
                <c:pt idx="30836">
                  <c:v>32.903750773066491</c:v>
                </c:pt>
                <c:pt idx="30837">
                  <c:v>28.0135710258463</c:v>
                </c:pt>
                <c:pt idx="30838">
                  <c:v>39.642700005093545</c:v>
                </c:pt>
                <c:pt idx="30839">
                  <c:v>31.997625149043785</c:v>
                </c:pt>
                <c:pt idx="30840">
                  <c:v>58.107945429079024</c:v>
                </c:pt>
                <c:pt idx="30841">
                  <c:v>17.876193417493617</c:v>
                </c:pt>
                <c:pt idx="30842">
                  <c:v>35.231296357415772</c:v>
                </c:pt>
                <c:pt idx="30843">
                  <c:v>29.007878848455402</c:v>
                </c:pt>
                <c:pt idx="30844">
                  <c:v>27.838528500743887</c:v>
                </c:pt>
                <c:pt idx="30845">
                  <c:v>34.144235953364436</c:v>
                </c:pt>
                <c:pt idx="30846">
                  <c:v>33.627748023841093</c:v>
                </c:pt>
                <c:pt idx="30847">
                  <c:v>38.510627578849885</c:v>
                </c:pt>
                <c:pt idx="30848">
                  <c:v>52.843497202071951</c:v>
                </c:pt>
                <c:pt idx="30849">
                  <c:v>41.261071232359981</c:v>
                </c:pt>
                <c:pt idx="30850">
                  <c:v>30.113192726903936</c:v>
                </c:pt>
                <c:pt idx="30851">
                  <c:v>51.123496402952561</c:v>
                </c:pt>
                <c:pt idx="30852">
                  <c:v>22.175325092874882</c:v>
                </c:pt>
                <c:pt idx="30853">
                  <c:v>25.451297257746237</c:v>
                </c:pt>
                <c:pt idx="30854">
                  <c:v>26.752881144744606</c:v>
                </c:pt>
                <c:pt idx="30855">
                  <c:v>39.568936063104509</c:v>
                </c:pt>
                <c:pt idx="30856">
                  <c:v>31.510005135902706</c:v>
                </c:pt>
                <c:pt idx="30857">
                  <c:v>21.114564561460025</c:v>
                </c:pt>
                <c:pt idx="30858">
                  <c:v>21.69262476010103</c:v>
                </c:pt>
                <c:pt idx="30859">
                  <c:v>37.117246966607411</c:v>
                </c:pt>
                <c:pt idx="30860">
                  <c:v>23.1000568138058</c:v>
                </c:pt>
                <c:pt idx="30861">
                  <c:v>47.254892505028209</c:v>
                </c:pt>
                <c:pt idx="30862">
                  <c:v>28.473716386547551</c:v>
                </c:pt>
                <c:pt idx="30863">
                  <c:v>26.339983888675516</c:v>
                </c:pt>
                <c:pt idx="30864">
                  <c:v>42.663857515515254</c:v>
                </c:pt>
                <c:pt idx="30865">
                  <c:v>18.306320491943406</c:v>
                </c:pt>
                <c:pt idx="30866">
                  <c:v>46.009980939748637</c:v>
                </c:pt>
                <c:pt idx="30867">
                  <c:v>28.857850121091971</c:v>
                </c:pt>
                <c:pt idx="30868">
                  <c:v>43.417362179310409</c:v>
                </c:pt>
                <c:pt idx="30869">
                  <c:v>32.188540509769936</c:v>
                </c:pt>
                <c:pt idx="30870">
                  <c:v>18.413785303995276</c:v>
                </c:pt>
                <c:pt idx="30871">
                  <c:v>28.014832525995725</c:v>
                </c:pt>
                <c:pt idx="30872">
                  <c:v>25.392523315962386</c:v>
                </c:pt>
                <c:pt idx="30873">
                  <c:v>25.990512384143152</c:v>
                </c:pt>
                <c:pt idx="30874">
                  <c:v>44.416516783445502</c:v>
                </c:pt>
                <c:pt idx="30875">
                  <c:v>27.686481244735685</c:v>
                </c:pt>
                <c:pt idx="30876">
                  <c:v>50.161125650050792</c:v>
                </c:pt>
                <c:pt idx="30877">
                  <c:v>20.411207189207136</c:v>
                </c:pt>
                <c:pt idx="30878">
                  <c:v>32.117639951281788</c:v>
                </c:pt>
                <c:pt idx="30879">
                  <c:v>53.626943951915628</c:v>
                </c:pt>
                <c:pt idx="30880">
                  <c:v>40.273650685827015</c:v>
                </c:pt>
                <c:pt idx="30881">
                  <c:v>35.665823990617312</c:v>
                </c:pt>
                <c:pt idx="30882">
                  <c:v>33.624975804417467</c:v>
                </c:pt>
                <c:pt idx="30883">
                  <c:v>34.618274700563731</c:v>
                </c:pt>
                <c:pt idx="30884">
                  <c:v>56.199574337031251</c:v>
                </c:pt>
                <c:pt idx="30885">
                  <c:v>53.284325928996459</c:v>
                </c:pt>
                <c:pt idx="30886">
                  <c:v>40.357465800359307</c:v>
                </c:pt>
                <c:pt idx="30887">
                  <c:v>33.989713528128767</c:v>
                </c:pt>
                <c:pt idx="30888">
                  <c:v>23.623880970257606</c:v>
                </c:pt>
                <c:pt idx="30889">
                  <c:v>32.323567902925888</c:v>
                </c:pt>
                <c:pt idx="30890">
                  <c:v>27.209744828631241</c:v>
                </c:pt>
                <c:pt idx="30891">
                  <c:v>29.851897282719953</c:v>
                </c:pt>
                <c:pt idx="30892">
                  <c:v>24.441878733300836</c:v>
                </c:pt>
                <c:pt idx="30893">
                  <c:v>25.239666617425019</c:v>
                </c:pt>
                <c:pt idx="30894">
                  <c:v>56.259760750606098</c:v>
                </c:pt>
                <c:pt idx="30895">
                  <c:v>34.078292658267195</c:v>
                </c:pt>
                <c:pt idx="30896">
                  <c:v>28.812545438190536</c:v>
                </c:pt>
                <c:pt idx="30897">
                  <c:v>35.492890683720496</c:v>
                </c:pt>
                <c:pt idx="30898">
                  <c:v>30.554007013272916</c:v>
                </c:pt>
                <c:pt idx="30899">
                  <c:v>31.349515296230063</c:v>
                </c:pt>
                <c:pt idx="30900">
                  <c:v>26.108396969980582</c:v>
                </c:pt>
                <c:pt idx="30901">
                  <c:v>29.794869219358343</c:v>
                </c:pt>
                <c:pt idx="30902">
                  <c:v>23.946522201579086</c:v>
                </c:pt>
                <c:pt idx="30903">
                  <c:v>20.484607243438738</c:v>
                </c:pt>
                <c:pt idx="30904">
                  <c:v>50.981908101867525</c:v>
                </c:pt>
                <c:pt idx="30905">
                  <c:v>24.331912613316138</c:v>
                </c:pt>
                <c:pt idx="30906">
                  <c:v>27.585336375944198</c:v>
                </c:pt>
                <c:pt idx="30907">
                  <c:v>54.897815857482556</c:v>
                </c:pt>
                <c:pt idx="30908">
                  <c:v>24.772306361575005</c:v>
                </c:pt>
                <c:pt idx="30909">
                  <c:v>26.380886969141308</c:v>
                </c:pt>
                <c:pt idx="30910">
                  <c:v>45.250209963347416</c:v>
                </c:pt>
                <c:pt idx="30911">
                  <c:v>39.608106386212974</c:v>
                </c:pt>
                <c:pt idx="30912">
                  <c:v>20.614908537740199</c:v>
                </c:pt>
                <c:pt idx="30913">
                  <c:v>48.121848273197578</c:v>
                </c:pt>
                <c:pt idx="30914">
                  <c:v>22.289021151847912</c:v>
                </c:pt>
                <c:pt idx="30915">
                  <c:v>39.076072076359615</c:v>
                </c:pt>
                <c:pt idx="30916">
                  <c:v>30.543920694437229</c:v>
                </c:pt>
                <c:pt idx="30917">
                  <c:v>46.634063908571584</c:v>
                </c:pt>
                <c:pt idx="30918">
                  <c:v>23.596459825789946</c:v>
                </c:pt>
                <c:pt idx="30919">
                  <c:v>28.642827230092387</c:v>
                </c:pt>
                <c:pt idx="30920">
                  <c:v>29.686942676091434</c:v>
                </c:pt>
                <c:pt idx="30921">
                  <c:v>20.869968980019511</c:v>
                </c:pt>
                <c:pt idx="30922">
                  <c:v>25.63117038783988</c:v>
                </c:pt>
                <c:pt idx="30923">
                  <c:v>49.900965558157161</c:v>
                </c:pt>
                <c:pt idx="30924">
                  <c:v>18.918405396980514</c:v>
                </c:pt>
                <c:pt idx="30925">
                  <c:v>27.983316680994001</c:v>
                </c:pt>
                <c:pt idx="30926">
                  <c:v>24.832967983138058</c:v>
                </c:pt>
                <c:pt idx="30927">
                  <c:v>55.449198940431558</c:v>
                </c:pt>
                <c:pt idx="30928">
                  <c:v>32.214759495095905</c:v>
                </c:pt>
                <c:pt idx="30929">
                  <c:v>27.624204154623037</c:v>
                </c:pt>
                <c:pt idx="30930">
                  <c:v>32.062237418337389</c:v>
                </c:pt>
                <c:pt idx="30931">
                  <c:v>42.53089673996984</c:v>
                </c:pt>
                <c:pt idx="30932">
                  <c:v>54.097820393886749</c:v>
                </c:pt>
                <c:pt idx="30933">
                  <c:v>26.406009207011738</c:v>
                </c:pt>
                <c:pt idx="30934">
                  <c:v>20.523565485233259</c:v>
                </c:pt>
                <c:pt idx="30935">
                  <c:v>32.627273439864837</c:v>
                </c:pt>
                <c:pt idx="30936">
                  <c:v>26.252462176298284</c:v>
                </c:pt>
                <c:pt idx="30937">
                  <c:v>30.531946605444737</c:v>
                </c:pt>
                <c:pt idx="30938">
                  <c:v>23.78287504819226</c:v>
                </c:pt>
                <c:pt idx="30939">
                  <c:v>56.626005565760082</c:v>
                </c:pt>
                <c:pt idx="30940">
                  <c:v>23.016226674848784</c:v>
                </c:pt>
                <c:pt idx="30941">
                  <c:v>27.959183804706058</c:v>
                </c:pt>
                <c:pt idx="30942">
                  <c:v>23.978243079423741</c:v>
                </c:pt>
                <c:pt idx="30943">
                  <c:v>25.350439490699827</c:v>
                </c:pt>
                <c:pt idx="30944">
                  <c:v>49.768548370257506</c:v>
                </c:pt>
                <c:pt idx="30945">
                  <c:v>53.818167485831481</c:v>
                </c:pt>
                <c:pt idx="30946">
                  <c:v>26.266950429518783</c:v>
                </c:pt>
                <c:pt idx="30947">
                  <c:v>26.24180823703793</c:v>
                </c:pt>
                <c:pt idx="30948">
                  <c:v>35.134898549862115</c:v>
                </c:pt>
                <c:pt idx="30949">
                  <c:v>50.21589832493315</c:v>
                </c:pt>
                <c:pt idx="30950">
                  <c:v>55.149833148651581</c:v>
                </c:pt>
                <c:pt idx="30951">
                  <c:v>27.45565237162776</c:v>
                </c:pt>
                <c:pt idx="30952">
                  <c:v>27.401181533554411</c:v>
                </c:pt>
                <c:pt idx="30953">
                  <c:v>28.001853810617853</c:v>
                </c:pt>
                <c:pt idx="30954">
                  <c:v>29.573968681255884</c:v>
                </c:pt>
                <c:pt idx="30955">
                  <c:v>33.91662091015143</c:v>
                </c:pt>
                <c:pt idx="30956">
                  <c:v>25.470152118021531</c:v>
                </c:pt>
                <c:pt idx="30957">
                  <c:v>29.714893447419929</c:v>
                </c:pt>
                <c:pt idx="30958">
                  <c:v>25.604112371444398</c:v>
                </c:pt>
                <c:pt idx="30959">
                  <c:v>28.111620942677522</c:v>
                </c:pt>
                <c:pt idx="30960">
                  <c:v>18.139647527936724</c:v>
                </c:pt>
                <c:pt idx="30961">
                  <c:v>29.436794246594687</c:v>
                </c:pt>
                <c:pt idx="30962">
                  <c:v>29.45929240355785</c:v>
                </c:pt>
                <c:pt idx="30963">
                  <c:v>44.324665785789129</c:v>
                </c:pt>
                <c:pt idx="30964">
                  <c:v>26.210577048008055</c:v>
                </c:pt>
                <c:pt idx="30965">
                  <c:v>35.386988527846221</c:v>
                </c:pt>
                <c:pt idx="30966">
                  <c:v>32.696136519643943</c:v>
                </c:pt>
                <c:pt idx="30967">
                  <c:v>24.863466447855274</c:v>
                </c:pt>
                <c:pt idx="30968">
                  <c:v>28.545632949989621</c:v>
                </c:pt>
                <c:pt idx="30969">
                  <c:v>22.401455608044088</c:v>
                </c:pt>
                <c:pt idx="30970">
                  <c:v>30.432915296396992</c:v>
                </c:pt>
                <c:pt idx="30971">
                  <c:v>16.61306544963227</c:v>
                </c:pt>
                <c:pt idx="30972">
                  <c:v>33.452962108111024</c:v>
                </c:pt>
                <c:pt idx="30973">
                  <c:v>21.956292198105857</c:v>
                </c:pt>
                <c:pt idx="30974">
                  <c:v>24.423855484301992</c:v>
                </c:pt>
                <c:pt idx="30975">
                  <c:v>25.248120612583861</c:v>
                </c:pt>
                <c:pt idx="30976">
                  <c:v>45.41059037019842</c:v>
                </c:pt>
                <c:pt idx="30977">
                  <c:v>28.874718672943079</c:v>
                </c:pt>
                <c:pt idx="30978">
                  <c:v>24.979834394075542</c:v>
                </c:pt>
                <c:pt idx="30979">
                  <c:v>29.822248234403325</c:v>
                </c:pt>
                <c:pt idx="30980">
                  <c:v>31.320419484952065</c:v>
                </c:pt>
                <c:pt idx="30981">
                  <c:v>23.184487833039299</c:v>
                </c:pt>
                <c:pt idx="30982">
                  <c:v>38.570588739362776</c:v>
                </c:pt>
                <c:pt idx="30983">
                  <c:v>24.84049767272456</c:v>
                </c:pt>
                <c:pt idx="30984">
                  <c:v>21.184475937027734</c:v>
                </c:pt>
                <c:pt idx="30985">
                  <c:v>57.591004925449795</c:v>
                </c:pt>
                <c:pt idx="30986">
                  <c:v>22.496057940446573</c:v>
                </c:pt>
                <c:pt idx="30987">
                  <c:v>30.95987649029054</c:v>
                </c:pt>
                <c:pt idx="30988">
                  <c:v>20.802229904907385</c:v>
                </c:pt>
                <c:pt idx="30989">
                  <c:v>28.815049018366906</c:v>
                </c:pt>
                <c:pt idx="30990">
                  <c:v>26.472512910428811</c:v>
                </c:pt>
                <c:pt idx="30991">
                  <c:v>49.926843856852166</c:v>
                </c:pt>
                <c:pt idx="30992">
                  <c:v>31.311423357568739</c:v>
                </c:pt>
                <c:pt idx="30993">
                  <c:v>32.989932450651111</c:v>
                </c:pt>
                <c:pt idx="30994">
                  <c:v>20.192168241367284</c:v>
                </c:pt>
                <c:pt idx="30995">
                  <c:v>31.490248993141734</c:v>
                </c:pt>
                <c:pt idx="30996">
                  <c:v>30.043436328614181</c:v>
                </c:pt>
                <c:pt idx="30997">
                  <c:v>24.473239007074618</c:v>
                </c:pt>
                <c:pt idx="30998">
                  <c:v>33.817467416479403</c:v>
                </c:pt>
                <c:pt idx="30999">
                  <c:v>21.716290418371027</c:v>
                </c:pt>
                <c:pt idx="31000">
                  <c:v>21.875316031691291</c:v>
                </c:pt>
                <c:pt idx="31001">
                  <c:v>37.685800906126865</c:v>
                </c:pt>
                <c:pt idx="31002">
                  <c:v>41.236936046667708</c:v>
                </c:pt>
                <c:pt idx="31003">
                  <c:v>27.930875861822397</c:v>
                </c:pt>
                <c:pt idx="31004">
                  <c:v>23.552360384986141</c:v>
                </c:pt>
                <c:pt idx="31005">
                  <c:v>27.54785111739886</c:v>
                </c:pt>
                <c:pt idx="31006">
                  <c:v>41.862591981753042</c:v>
                </c:pt>
                <c:pt idx="31007">
                  <c:v>24.973629516363008</c:v>
                </c:pt>
                <c:pt idx="31008">
                  <c:v>27.233426613120404</c:v>
                </c:pt>
                <c:pt idx="31009">
                  <c:v>23.884216218831419</c:v>
                </c:pt>
                <c:pt idx="31010">
                  <c:v>24.958082298464983</c:v>
                </c:pt>
                <c:pt idx="31011">
                  <c:v>34.553056452305512</c:v>
                </c:pt>
                <c:pt idx="31012">
                  <c:v>23.605865358100989</c:v>
                </c:pt>
                <c:pt idx="31013">
                  <c:v>34.937652584696593</c:v>
                </c:pt>
                <c:pt idx="31014">
                  <c:v>44.813758606493224</c:v>
                </c:pt>
                <c:pt idx="31015">
                  <c:v>26.226720648099324</c:v>
                </c:pt>
                <c:pt idx="31016">
                  <c:v>22.816827423053351</c:v>
                </c:pt>
                <c:pt idx="31017">
                  <c:v>28.823970318813188</c:v>
                </c:pt>
                <c:pt idx="31018">
                  <c:v>19.199970244420612</c:v>
                </c:pt>
                <c:pt idx="31019">
                  <c:v>39.548205823932463</c:v>
                </c:pt>
                <c:pt idx="31020">
                  <c:v>25.107115824541783</c:v>
                </c:pt>
                <c:pt idx="31021">
                  <c:v>28.489281577796675</c:v>
                </c:pt>
                <c:pt idx="31022">
                  <c:v>29.966949896883555</c:v>
                </c:pt>
                <c:pt idx="31023">
                  <c:v>18.678673318823297</c:v>
                </c:pt>
                <c:pt idx="31024">
                  <c:v>32.378139985831915</c:v>
                </c:pt>
                <c:pt idx="31025">
                  <c:v>27.338619175425329</c:v>
                </c:pt>
                <c:pt idx="31026">
                  <c:v>21.645312655716808</c:v>
                </c:pt>
                <c:pt idx="31027">
                  <c:v>44.267670720755831</c:v>
                </c:pt>
                <c:pt idx="31028">
                  <c:v>25.034776310368699</c:v>
                </c:pt>
                <c:pt idx="31029">
                  <c:v>26.025657670531491</c:v>
                </c:pt>
                <c:pt idx="31030">
                  <c:v>18.331576310993306</c:v>
                </c:pt>
                <c:pt idx="31031">
                  <c:v>24.654448372395812</c:v>
                </c:pt>
                <c:pt idx="31032">
                  <c:v>29.225140499560958</c:v>
                </c:pt>
                <c:pt idx="31033">
                  <c:v>29.270735486174825</c:v>
                </c:pt>
                <c:pt idx="31034">
                  <c:v>29.161053307760405</c:v>
                </c:pt>
                <c:pt idx="31035">
                  <c:v>40.417276797188492</c:v>
                </c:pt>
                <c:pt idx="31036">
                  <c:v>19.517026432118211</c:v>
                </c:pt>
                <c:pt idx="31037">
                  <c:v>22.95628721229123</c:v>
                </c:pt>
                <c:pt idx="31038">
                  <c:v>37.221856606281307</c:v>
                </c:pt>
                <c:pt idx="31039">
                  <c:v>45.20808093448224</c:v>
                </c:pt>
                <c:pt idx="31040">
                  <c:v>21.883693183351514</c:v>
                </c:pt>
                <c:pt idx="31041">
                  <c:v>26.800120985488505</c:v>
                </c:pt>
                <c:pt idx="31042">
                  <c:v>35.449179232518972</c:v>
                </c:pt>
                <c:pt idx="31043">
                  <c:v>30.494045708165821</c:v>
                </c:pt>
                <c:pt idx="31044">
                  <c:v>37.563832706115896</c:v>
                </c:pt>
                <c:pt idx="31045">
                  <c:v>22.467352511000335</c:v>
                </c:pt>
                <c:pt idx="31046">
                  <c:v>25.443306923753291</c:v>
                </c:pt>
                <c:pt idx="31047">
                  <c:v>25.316100123459051</c:v>
                </c:pt>
                <c:pt idx="31048">
                  <c:v>47.691695444627548</c:v>
                </c:pt>
                <c:pt idx="31049">
                  <c:v>17.446266762563326</c:v>
                </c:pt>
                <c:pt idx="31050">
                  <c:v>58.90358950685706</c:v>
                </c:pt>
                <c:pt idx="31051">
                  <c:v>51.301789368489096</c:v>
                </c:pt>
                <c:pt idx="31052">
                  <c:v>20.09866792803156</c:v>
                </c:pt>
                <c:pt idx="31053">
                  <c:v>19.233838606969442</c:v>
                </c:pt>
                <c:pt idx="31054">
                  <c:v>27.633037654490803</c:v>
                </c:pt>
                <c:pt idx="31055">
                  <c:v>50.40712019891653</c:v>
                </c:pt>
                <c:pt idx="31056">
                  <c:v>26.778872747643739</c:v>
                </c:pt>
                <c:pt idx="31057">
                  <c:v>41.272754559916038</c:v>
                </c:pt>
                <c:pt idx="31058">
                  <c:v>29.992516260677643</c:v>
                </c:pt>
                <c:pt idx="31059">
                  <c:v>22.167462678884387</c:v>
                </c:pt>
                <c:pt idx="31060">
                  <c:v>23.932911498654533</c:v>
                </c:pt>
                <c:pt idx="31061">
                  <c:v>20.121034182498111</c:v>
                </c:pt>
                <c:pt idx="31062">
                  <c:v>27.108757822144643</c:v>
                </c:pt>
                <c:pt idx="31063">
                  <c:v>21.779878081761339</c:v>
                </c:pt>
                <c:pt idx="31064">
                  <c:v>24.706997247431417</c:v>
                </c:pt>
                <c:pt idx="31065">
                  <c:v>25.56680043365909</c:v>
                </c:pt>
                <c:pt idx="31066">
                  <c:v>28.432698587909979</c:v>
                </c:pt>
                <c:pt idx="31067">
                  <c:v>36.845989753450517</c:v>
                </c:pt>
                <c:pt idx="31068">
                  <c:v>35.656963695324933</c:v>
                </c:pt>
                <c:pt idx="31069">
                  <c:v>33.100749664882088</c:v>
                </c:pt>
                <c:pt idx="31070">
                  <c:v>42.093213279354707</c:v>
                </c:pt>
                <c:pt idx="31071">
                  <c:v>26.517989153593462</c:v>
                </c:pt>
                <c:pt idx="31072">
                  <c:v>21.50273512180507</c:v>
                </c:pt>
                <c:pt idx="31073">
                  <c:v>31.523012709008974</c:v>
                </c:pt>
                <c:pt idx="31074">
                  <c:v>27.712686923384286</c:v>
                </c:pt>
                <c:pt idx="31075">
                  <c:v>23.43877095288849</c:v>
                </c:pt>
                <c:pt idx="31076">
                  <c:v>22.565611671635729</c:v>
                </c:pt>
                <c:pt idx="31077">
                  <c:v>53.75290302931716</c:v>
                </c:pt>
                <c:pt idx="31078">
                  <c:v>23.627532116148995</c:v>
                </c:pt>
                <c:pt idx="31079">
                  <c:v>24.564114699977239</c:v>
                </c:pt>
                <c:pt idx="31080">
                  <c:v>26.899746070520692</c:v>
                </c:pt>
                <c:pt idx="31081">
                  <c:v>42.799902998155957</c:v>
                </c:pt>
                <c:pt idx="31082">
                  <c:v>24.529435191292041</c:v>
                </c:pt>
                <c:pt idx="31083">
                  <c:v>43.329870097589229</c:v>
                </c:pt>
                <c:pt idx="31084">
                  <c:v>21.178944721517734</c:v>
                </c:pt>
                <c:pt idx="31085">
                  <c:v>58.866187623047487</c:v>
                </c:pt>
                <c:pt idx="31086">
                  <c:v>25.452534913899296</c:v>
                </c:pt>
                <c:pt idx="31087">
                  <c:v>17.351170156524343</c:v>
                </c:pt>
                <c:pt idx="31088">
                  <c:v>57.435953305510189</c:v>
                </c:pt>
                <c:pt idx="31089">
                  <c:v>48.099280505093567</c:v>
                </c:pt>
                <c:pt idx="31090">
                  <c:v>24.901699284452985</c:v>
                </c:pt>
                <c:pt idx="31091">
                  <c:v>47.234796382629959</c:v>
                </c:pt>
                <c:pt idx="31092">
                  <c:v>48.957037671904743</c:v>
                </c:pt>
                <c:pt idx="31093">
                  <c:v>28.702813436494434</c:v>
                </c:pt>
                <c:pt idx="31094">
                  <c:v>36.902072961796954</c:v>
                </c:pt>
                <c:pt idx="31095">
                  <c:v>49.98803319414732</c:v>
                </c:pt>
                <c:pt idx="31096">
                  <c:v>50.926440798810553</c:v>
                </c:pt>
                <c:pt idx="31097">
                  <c:v>37.017068247085625</c:v>
                </c:pt>
                <c:pt idx="31098">
                  <c:v>25.380722243529316</c:v>
                </c:pt>
                <c:pt idx="31099">
                  <c:v>23.436120641524042</c:v>
                </c:pt>
                <c:pt idx="31100">
                  <c:v>52.089289502861064</c:v>
                </c:pt>
                <c:pt idx="31101">
                  <c:v>21.212733566483443</c:v>
                </c:pt>
                <c:pt idx="31102">
                  <c:v>32.49795336173937</c:v>
                </c:pt>
                <c:pt idx="31103">
                  <c:v>37.574023020577229</c:v>
                </c:pt>
                <c:pt idx="31104">
                  <c:v>45.253583558438471</c:v>
                </c:pt>
                <c:pt idx="31105">
                  <c:v>52.682319242929736</c:v>
                </c:pt>
                <c:pt idx="31106">
                  <c:v>23.02740140869831</c:v>
                </c:pt>
                <c:pt idx="31107">
                  <c:v>28.093972761545597</c:v>
                </c:pt>
                <c:pt idx="31108">
                  <c:v>29.492788023226879</c:v>
                </c:pt>
                <c:pt idx="31109">
                  <c:v>35.122436466510088</c:v>
                </c:pt>
                <c:pt idx="31110">
                  <c:v>28.463829681042089</c:v>
                </c:pt>
                <c:pt idx="31111">
                  <c:v>25.074869607519858</c:v>
                </c:pt>
                <c:pt idx="31112">
                  <c:v>53.793286858428154</c:v>
                </c:pt>
                <c:pt idx="31113">
                  <c:v>31.249252504224835</c:v>
                </c:pt>
                <c:pt idx="31114">
                  <c:v>18.593442089922227</c:v>
                </c:pt>
                <c:pt idx="31115">
                  <c:v>41.239032604568422</c:v>
                </c:pt>
                <c:pt idx="31116">
                  <c:v>28.857056498152225</c:v>
                </c:pt>
                <c:pt idx="31117">
                  <c:v>42.070330440186616</c:v>
                </c:pt>
                <c:pt idx="31118">
                  <c:v>29.43536406986177</c:v>
                </c:pt>
                <c:pt idx="31119">
                  <c:v>19.751183141739865</c:v>
                </c:pt>
                <c:pt idx="31120">
                  <c:v>36.798607042329529</c:v>
                </c:pt>
                <c:pt idx="31121">
                  <c:v>36.992847859148384</c:v>
                </c:pt>
                <c:pt idx="31122">
                  <c:v>20.908216809597306</c:v>
                </c:pt>
                <c:pt idx="31123">
                  <c:v>28.933629225802889</c:v>
                </c:pt>
                <c:pt idx="31124">
                  <c:v>53.543086391446842</c:v>
                </c:pt>
                <c:pt idx="31125">
                  <c:v>50.237795322201293</c:v>
                </c:pt>
                <c:pt idx="31126">
                  <c:v>21.264585917706132</c:v>
                </c:pt>
                <c:pt idx="31127">
                  <c:v>23.511380758116488</c:v>
                </c:pt>
                <c:pt idx="31128">
                  <c:v>27.442043879580385</c:v>
                </c:pt>
                <c:pt idx="31129">
                  <c:v>24.393705307396441</c:v>
                </c:pt>
                <c:pt idx="31130">
                  <c:v>25.920462261392238</c:v>
                </c:pt>
                <c:pt idx="31131">
                  <c:v>23.2783319545285</c:v>
                </c:pt>
                <c:pt idx="31132">
                  <c:v>32.59357669283348</c:v>
                </c:pt>
                <c:pt idx="31133">
                  <c:v>26.071735009082524</c:v>
                </c:pt>
                <c:pt idx="31134">
                  <c:v>22.433230139135507</c:v>
                </c:pt>
                <c:pt idx="31135">
                  <c:v>31.079403597805584</c:v>
                </c:pt>
                <c:pt idx="31136">
                  <c:v>24.583193298535015</c:v>
                </c:pt>
                <c:pt idx="31137">
                  <c:v>26.863044850125405</c:v>
                </c:pt>
                <c:pt idx="31138">
                  <c:v>32.962538525488227</c:v>
                </c:pt>
                <c:pt idx="31139">
                  <c:v>29.579190508497447</c:v>
                </c:pt>
                <c:pt idx="31140">
                  <c:v>29.087488524968823</c:v>
                </c:pt>
                <c:pt idx="31141">
                  <c:v>63.616161583521091</c:v>
                </c:pt>
                <c:pt idx="31142">
                  <c:v>31.288745883943253</c:v>
                </c:pt>
                <c:pt idx="31143">
                  <c:v>28.790933526888519</c:v>
                </c:pt>
                <c:pt idx="31144">
                  <c:v>44.0687971353913</c:v>
                </c:pt>
                <c:pt idx="31145">
                  <c:v>31.545272729674231</c:v>
                </c:pt>
                <c:pt idx="31146">
                  <c:v>25.987198086699269</c:v>
                </c:pt>
                <c:pt idx="31147">
                  <c:v>33.955055681103147</c:v>
                </c:pt>
                <c:pt idx="31148">
                  <c:v>30.738043263784036</c:v>
                </c:pt>
                <c:pt idx="31149">
                  <c:v>26.54055517111177</c:v>
                </c:pt>
                <c:pt idx="31150">
                  <c:v>30.276494182125948</c:v>
                </c:pt>
                <c:pt idx="31151">
                  <c:v>24.895866124191976</c:v>
                </c:pt>
                <c:pt idx="31152">
                  <c:v>25.755198990148713</c:v>
                </c:pt>
                <c:pt idx="31153">
                  <c:v>34.347146240509318</c:v>
                </c:pt>
                <c:pt idx="31154">
                  <c:v>22.774536907929491</c:v>
                </c:pt>
                <c:pt idx="31155">
                  <c:v>29.868160331203388</c:v>
                </c:pt>
                <c:pt idx="31156">
                  <c:v>28.927890456994874</c:v>
                </c:pt>
                <c:pt idx="31157">
                  <c:v>29.149572547119657</c:v>
                </c:pt>
                <c:pt idx="31158">
                  <c:v>30.365948466173059</c:v>
                </c:pt>
                <c:pt idx="31159">
                  <c:v>22.938455809036334</c:v>
                </c:pt>
                <c:pt idx="31160">
                  <c:v>31.590263616340266</c:v>
                </c:pt>
                <c:pt idx="31161">
                  <c:v>47.993798265003974</c:v>
                </c:pt>
                <c:pt idx="31162">
                  <c:v>29.627471071653599</c:v>
                </c:pt>
                <c:pt idx="31163">
                  <c:v>24.625408694246424</c:v>
                </c:pt>
                <c:pt idx="31164">
                  <c:v>23.617131259097096</c:v>
                </c:pt>
                <c:pt idx="31165">
                  <c:v>32.16622596156239</c:v>
                </c:pt>
                <c:pt idx="31166">
                  <c:v>24.840742988198269</c:v>
                </c:pt>
                <c:pt idx="31167">
                  <c:v>23.381234424784239</c:v>
                </c:pt>
                <c:pt idx="31168">
                  <c:v>25.547277337122317</c:v>
                </c:pt>
                <c:pt idx="31169">
                  <c:v>27.551426901688878</c:v>
                </c:pt>
                <c:pt idx="31170">
                  <c:v>36.21599302098025</c:v>
                </c:pt>
                <c:pt idx="31171">
                  <c:v>27.913986134245174</c:v>
                </c:pt>
                <c:pt idx="31172">
                  <c:v>21.58273957664397</c:v>
                </c:pt>
                <c:pt idx="31173">
                  <c:v>23.390175754312793</c:v>
                </c:pt>
                <c:pt idx="31174">
                  <c:v>34.226555575605921</c:v>
                </c:pt>
                <c:pt idx="31175">
                  <c:v>27.196181433336715</c:v>
                </c:pt>
                <c:pt idx="31176">
                  <c:v>40.632239767347556</c:v>
                </c:pt>
                <c:pt idx="31177">
                  <c:v>25.645342175790962</c:v>
                </c:pt>
                <c:pt idx="31178">
                  <c:v>33.016228915290675</c:v>
                </c:pt>
                <c:pt idx="31179">
                  <c:v>30.170007779877409</c:v>
                </c:pt>
                <c:pt idx="31180">
                  <c:v>27.579319198308987</c:v>
                </c:pt>
                <c:pt idx="31181">
                  <c:v>23.787663760028593</c:v>
                </c:pt>
                <c:pt idx="31182">
                  <c:v>35.383112168032696</c:v>
                </c:pt>
                <c:pt idx="31183">
                  <c:v>27.53255100447792</c:v>
                </c:pt>
                <c:pt idx="31184">
                  <c:v>28.29429565219332</c:v>
                </c:pt>
                <c:pt idx="31185">
                  <c:v>31.431222731503031</c:v>
                </c:pt>
                <c:pt idx="31186">
                  <c:v>30.495798990182561</c:v>
                </c:pt>
                <c:pt idx="31187">
                  <c:v>53.711458140994587</c:v>
                </c:pt>
                <c:pt idx="31188">
                  <c:v>21.186731909707664</c:v>
                </c:pt>
                <c:pt idx="31189">
                  <c:v>31.436793185721928</c:v>
                </c:pt>
                <c:pt idx="31190">
                  <c:v>27.656837672653474</c:v>
                </c:pt>
                <c:pt idx="31191">
                  <c:v>32.408783655168826</c:v>
                </c:pt>
                <c:pt idx="31192">
                  <c:v>31.882159961654967</c:v>
                </c:pt>
                <c:pt idx="31193">
                  <c:v>38.988560350104343</c:v>
                </c:pt>
                <c:pt idx="31194">
                  <c:v>22.705429396444703</c:v>
                </c:pt>
                <c:pt idx="31195">
                  <c:v>22.438106303917564</c:v>
                </c:pt>
                <c:pt idx="31196">
                  <c:v>18.625261981219495</c:v>
                </c:pt>
                <c:pt idx="31197">
                  <c:v>67.580154474905683</c:v>
                </c:pt>
                <c:pt idx="31198">
                  <c:v>23.779397244843114</c:v>
                </c:pt>
                <c:pt idx="31199">
                  <c:v>34.903515498465055</c:v>
                </c:pt>
                <c:pt idx="31200">
                  <c:v>17.778820375577226</c:v>
                </c:pt>
                <c:pt idx="31201">
                  <c:v>25.662678358976731</c:v>
                </c:pt>
                <c:pt idx="31202">
                  <c:v>27.101253523165017</c:v>
                </c:pt>
                <c:pt idx="31203">
                  <c:v>49.643288906964358</c:v>
                </c:pt>
                <c:pt idx="31204">
                  <c:v>30.959879842118852</c:v>
                </c:pt>
                <c:pt idx="31205">
                  <c:v>22.565030512471537</c:v>
                </c:pt>
                <c:pt idx="31206">
                  <c:v>34.799017695049734</c:v>
                </c:pt>
                <c:pt idx="31207">
                  <c:v>46.809104048264004</c:v>
                </c:pt>
                <c:pt idx="31208">
                  <c:v>45.356554927669642</c:v>
                </c:pt>
                <c:pt idx="31209">
                  <c:v>28.600474705631758</c:v>
                </c:pt>
                <c:pt idx="31210">
                  <c:v>30.258438277191114</c:v>
                </c:pt>
                <c:pt idx="31211">
                  <c:v>29.62761046757025</c:v>
                </c:pt>
                <c:pt idx="31212">
                  <c:v>25.321326053335302</c:v>
                </c:pt>
                <c:pt idx="31213">
                  <c:v>26.137175944128202</c:v>
                </c:pt>
                <c:pt idx="31214">
                  <c:v>41.41264611456198</c:v>
                </c:pt>
                <c:pt idx="31215">
                  <c:v>29.910024487394747</c:v>
                </c:pt>
                <c:pt idx="31216">
                  <c:v>32.282997419596768</c:v>
                </c:pt>
                <c:pt idx="31217">
                  <c:v>27.74644607011966</c:v>
                </c:pt>
                <c:pt idx="31218">
                  <c:v>36.433223006578778</c:v>
                </c:pt>
                <c:pt idx="31219">
                  <c:v>48.928795131904351</c:v>
                </c:pt>
                <c:pt idx="31220">
                  <c:v>20.572710599799287</c:v>
                </c:pt>
                <c:pt idx="31221">
                  <c:v>39.123710204495211</c:v>
                </c:pt>
                <c:pt idx="31222">
                  <c:v>29.350551404173821</c:v>
                </c:pt>
                <c:pt idx="31223">
                  <c:v>24.338005263922053</c:v>
                </c:pt>
                <c:pt idx="31224">
                  <c:v>31.937307535215098</c:v>
                </c:pt>
                <c:pt idx="31225">
                  <c:v>27.584804495817394</c:v>
                </c:pt>
                <c:pt idx="31226">
                  <c:v>44.332770057485178</c:v>
                </c:pt>
                <c:pt idx="31227">
                  <c:v>47.603505066759858</c:v>
                </c:pt>
                <c:pt idx="31228">
                  <c:v>30.069111451550768</c:v>
                </c:pt>
                <c:pt idx="31229">
                  <c:v>30.456178235778172</c:v>
                </c:pt>
                <c:pt idx="31230">
                  <c:v>50.845192265972017</c:v>
                </c:pt>
                <c:pt idx="31231">
                  <c:v>24.442246514425481</c:v>
                </c:pt>
                <c:pt idx="31232">
                  <c:v>45.847069078107943</c:v>
                </c:pt>
                <c:pt idx="31233">
                  <c:v>34.125389044234531</c:v>
                </c:pt>
                <c:pt idx="31234">
                  <c:v>28.309279856537078</c:v>
                </c:pt>
                <c:pt idx="31235">
                  <c:v>25.310137486979663</c:v>
                </c:pt>
                <c:pt idx="31236">
                  <c:v>27.750736154267571</c:v>
                </c:pt>
                <c:pt idx="31237">
                  <c:v>23.184398166801479</c:v>
                </c:pt>
                <c:pt idx="31238">
                  <c:v>30.766526664342372</c:v>
                </c:pt>
                <c:pt idx="31239">
                  <c:v>24.249982940511437</c:v>
                </c:pt>
                <c:pt idx="31240">
                  <c:v>32.645317223521445</c:v>
                </c:pt>
                <c:pt idx="31241">
                  <c:v>23.744751479791312</c:v>
                </c:pt>
                <c:pt idx="31242">
                  <c:v>31.927702409472452</c:v>
                </c:pt>
                <c:pt idx="31243">
                  <c:v>28.149181270233562</c:v>
                </c:pt>
                <c:pt idx="31244">
                  <c:v>29.533194404390585</c:v>
                </c:pt>
                <c:pt idx="31245">
                  <c:v>20.840357865811139</c:v>
                </c:pt>
                <c:pt idx="31246">
                  <c:v>23.426575196366446</c:v>
                </c:pt>
                <c:pt idx="31247">
                  <c:v>25.862721030870258</c:v>
                </c:pt>
                <c:pt idx="31248">
                  <c:v>39.723248779555483</c:v>
                </c:pt>
                <c:pt idx="31249">
                  <c:v>41.544582042691673</c:v>
                </c:pt>
                <c:pt idx="31250">
                  <c:v>32.02868918657159</c:v>
                </c:pt>
                <c:pt idx="31251">
                  <c:v>29.830973587951526</c:v>
                </c:pt>
                <c:pt idx="31252">
                  <c:v>20.546975780546802</c:v>
                </c:pt>
                <c:pt idx="31253">
                  <c:v>27.15703757916009</c:v>
                </c:pt>
                <c:pt idx="31254">
                  <c:v>31.001821098091707</c:v>
                </c:pt>
                <c:pt idx="31255">
                  <c:v>42.83070514768815</c:v>
                </c:pt>
                <c:pt idx="31256">
                  <c:v>21.735110755252627</c:v>
                </c:pt>
                <c:pt idx="31257">
                  <c:v>15.28399988468002</c:v>
                </c:pt>
                <c:pt idx="31258">
                  <c:v>19.722875331086129</c:v>
                </c:pt>
                <c:pt idx="31259">
                  <c:v>32.727646286897276</c:v>
                </c:pt>
                <c:pt idx="31260">
                  <c:v>25.813905917006419</c:v>
                </c:pt>
                <c:pt idx="31261">
                  <c:v>32.410983081251707</c:v>
                </c:pt>
                <c:pt idx="31262">
                  <c:v>48.717578872107858</c:v>
                </c:pt>
                <c:pt idx="31263">
                  <c:v>25.682774141849304</c:v>
                </c:pt>
                <c:pt idx="31264">
                  <c:v>43.576095133227433</c:v>
                </c:pt>
                <c:pt idx="31265">
                  <c:v>28.400358419635058</c:v>
                </c:pt>
                <c:pt idx="31266">
                  <c:v>50.311929514624843</c:v>
                </c:pt>
                <c:pt idx="31267">
                  <c:v>43.741452214021955</c:v>
                </c:pt>
                <c:pt idx="31268">
                  <c:v>39.077549888023761</c:v>
                </c:pt>
                <c:pt idx="31269">
                  <c:v>28.058290842840705</c:v>
                </c:pt>
                <c:pt idx="31270">
                  <c:v>35.081204322129793</c:v>
                </c:pt>
                <c:pt idx="31271">
                  <c:v>22.963539059471788</c:v>
                </c:pt>
                <c:pt idx="31272">
                  <c:v>21.820353171616397</c:v>
                </c:pt>
                <c:pt idx="31273">
                  <c:v>24.283327625922141</c:v>
                </c:pt>
                <c:pt idx="31274">
                  <c:v>44.360680471314396</c:v>
                </c:pt>
                <c:pt idx="31275">
                  <c:v>40.715599576800088</c:v>
                </c:pt>
                <c:pt idx="31276">
                  <c:v>49.180672306736952</c:v>
                </c:pt>
                <c:pt idx="31277">
                  <c:v>25.41793451565983</c:v>
                </c:pt>
                <c:pt idx="31278">
                  <c:v>28.814493230782716</c:v>
                </c:pt>
                <c:pt idx="31279">
                  <c:v>21.002312428301952</c:v>
                </c:pt>
                <c:pt idx="31280">
                  <c:v>43.038656898798919</c:v>
                </c:pt>
                <c:pt idx="31281">
                  <c:v>24.758911695727605</c:v>
                </c:pt>
                <c:pt idx="31282">
                  <c:v>27.22326314638142</c:v>
                </c:pt>
                <c:pt idx="31283">
                  <c:v>34.747338745610151</c:v>
                </c:pt>
                <c:pt idx="31284">
                  <c:v>26.394131102890057</c:v>
                </c:pt>
                <c:pt idx="31285">
                  <c:v>26.244407429073384</c:v>
                </c:pt>
                <c:pt idx="31286">
                  <c:v>34.227094863935719</c:v>
                </c:pt>
                <c:pt idx="31287">
                  <c:v>33.173754288026913</c:v>
                </c:pt>
                <c:pt idx="31288">
                  <c:v>26.826840118027697</c:v>
                </c:pt>
                <c:pt idx="31289">
                  <c:v>18.535956722413999</c:v>
                </c:pt>
                <c:pt idx="31290">
                  <c:v>34.189386280523991</c:v>
                </c:pt>
                <c:pt idx="31291">
                  <c:v>47.075075808969331</c:v>
                </c:pt>
                <c:pt idx="31292">
                  <c:v>26.615356108641294</c:v>
                </c:pt>
                <c:pt idx="31293">
                  <c:v>28.280642794842244</c:v>
                </c:pt>
                <c:pt idx="31294">
                  <c:v>29.136514259186495</c:v>
                </c:pt>
                <c:pt idx="31295">
                  <c:v>41.710049422141303</c:v>
                </c:pt>
                <c:pt idx="31296">
                  <c:v>31.04800002672139</c:v>
                </c:pt>
                <c:pt idx="31297">
                  <c:v>18.835686915255522</c:v>
                </c:pt>
                <c:pt idx="31298">
                  <c:v>32.934330861607236</c:v>
                </c:pt>
                <c:pt idx="31299">
                  <c:v>34.112437964939772</c:v>
                </c:pt>
                <c:pt idx="31300">
                  <c:v>13.002826999787652</c:v>
                </c:pt>
                <c:pt idx="31301">
                  <c:v>23.361313788838778</c:v>
                </c:pt>
                <c:pt idx="31302">
                  <c:v>23.25430341200709</c:v>
                </c:pt>
                <c:pt idx="31303">
                  <c:v>25.019633363166012</c:v>
                </c:pt>
                <c:pt idx="31304">
                  <c:v>33.721921078463183</c:v>
                </c:pt>
                <c:pt idx="31305">
                  <c:v>30.499966679942553</c:v>
                </c:pt>
                <c:pt idx="31306">
                  <c:v>50.12886580646223</c:v>
                </c:pt>
                <c:pt idx="31307">
                  <c:v>28.463376515808584</c:v>
                </c:pt>
                <c:pt idx="31308">
                  <c:v>37.837034120535996</c:v>
                </c:pt>
                <c:pt idx="31309">
                  <c:v>45.241277433508543</c:v>
                </c:pt>
                <c:pt idx="31310">
                  <c:v>48.055142298464254</c:v>
                </c:pt>
                <c:pt idx="31311">
                  <c:v>56.902857233137738</c:v>
                </c:pt>
                <c:pt idx="31312">
                  <c:v>49.6786019622146</c:v>
                </c:pt>
                <c:pt idx="31313">
                  <c:v>29.265539873007125</c:v>
                </c:pt>
                <c:pt idx="31314">
                  <c:v>32.085736585305575</c:v>
                </c:pt>
                <c:pt idx="31315">
                  <c:v>25.447036327022058</c:v>
                </c:pt>
                <c:pt idx="31316">
                  <c:v>27.761485991819516</c:v>
                </c:pt>
                <c:pt idx="31317">
                  <c:v>53.102787576344298</c:v>
                </c:pt>
                <c:pt idx="31318">
                  <c:v>44.585213726430275</c:v>
                </c:pt>
                <c:pt idx="31319">
                  <c:v>38.245523683944597</c:v>
                </c:pt>
                <c:pt idx="31320">
                  <c:v>44.707630947042631</c:v>
                </c:pt>
                <c:pt idx="31321">
                  <c:v>32.646643036061491</c:v>
                </c:pt>
                <c:pt idx="31322">
                  <c:v>47.216314199462744</c:v>
                </c:pt>
                <c:pt idx="31323">
                  <c:v>23.432765220357517</c:v>
                </c:pt>
                <c:pt idx="31324">
                  <c:v>61.638726066729213</c:v>
                </c:pt>
                <c:pt idx="31325">
                  <c:v>25.628863306109114</c:v>
                </c:pt>
                <c:pt idx="31326">
                  <c:v>26.708558900185437</c:v>
                </c:pt>
                <c:pt idx="31327">
                  <c:v>34.563047520876118</c:v>
                </c:pt>
                <c:pt idx="31328">
                  <c:v>23.287073140279414</c:v>
                </c:pt>
                <c:pt idx="31329">
                  <c:v>53.11278284776337</c:v>
                </c:pt>
                <c:pt idx="31330">
                  <c:v>26.051469078474209</c:v>
                </c:pt>
                <c:pt idx="31331">
                  <c:v>27.377364774931664</c:v>
                </c:pt>
                <c:pt idx="31332">
                  <c:v>26.626150335094469</c:v>
                </c:pt>
                <c:pt idx="31333">
                  <c:v>26.979452645388129</c:v>
                </c:pt>
                <c:pt idx="31334">
                  <c:v>20.84055330508464</c:v>
                </c:pt>
                <c:pt idx="31335">
                  <c:v>29.615135368648399</c:v>
                </c:pt>
                <c:pt idx="31336">
                  <c:v>24.109150970095314</c:v>
                </c:pt>
                <c:pt idx="31337">
                  <c:v>43.727254568919342</c:v>
                </c:pt>
                <c:pt idx="31338">
                  <c:v>39.1803126463182</c:v>
                </c:pt>
                <c:pt idx="31339">
                  <c:v>25.650188438261452</c:v>
                </c:pt>
                <c:pt idx="31340">
                  <c:v>14.856251188905187</c:v>
                </c:pt>
                <c:pt idx="31341">
                  <c:v>27.349034554247282</c:v>
                </c:pt>
                <c:pt idx="31342">
                  <c:v>27.263057251644334</c:v>
                </c:pt>
                <c:pt idx="31343">
                  <c:v>36.223943604508797</c:v>
                </c:pt>
                <c:pt idx="31344">
                  <c:v>42.486726134152207</c:v>
                </c:pt>
                <c:pt idx="31345">
                  <c:v>31.530657248867893</c:v>
                </c:pt>
                <c:pt idx="31346">
                  <c:v>25.765843721624815</c:v>
                </c:pt>
                <c:pt idx="31347">
                  <c:v>28.058118368260768</c:v>
                </c:pt>
                <c:pt idx="31348">
                  <c:v>31.792076863156524</c:v>
                </c:pt>
                <c:pt idx="31349">
                  <c:v>27.403386011761949</c:v>
                </c:pt>
                <c:pt idx="31350">
                  <c:v>29.225597212597034</c:v>
                </c:pt>
                <c:pt idx="31351">
                  <c:v>36.321160192254503</c:v>
                </c:pt>
                <c:pt idx="31352">
                  <c:v>19.273800231413503</c:v>
                </c:pt>
                <c:pt idx="31353">
                  <c:v>28.499153375596535</c:v>
                </c:pt>
                <c:pt idx="31354">
                  <c:v>31.479674563946844</c:v>
                </c:pt>
                <c:pt idx="31355">
                  <c:v>36.646302917224823</c:v>
                </c:pt>
                <c:pt idx="31356">
                  <c:v>31.128604940394197</c:v>
                </c:pt>
                <c:pt idx="31357">
                  <c:v>26.272621518560548</c:v>
                </c:pt>
                <c:pt idx="31358">
                  <c:v>20.918216890936076</c:v>
                </c:pt>
                <c:pt idx="31359">
                  <c:v>27.442709619788943</c:v>
                </c:pt>
                <c:pt idx="31360">
                  <c:v>36.231292564672856</c:v>
                </c:pt>
                <c:pt idx="31361">
                  <c:v>27.627903198419855</c:v>
                </c:pt>
                <c:pt idx="31362">
                  <c:v>26.245657794942026</c:v>
                </c:pt>
                <c:pt idx="31363">
                  <c:v>47.942952486836205</c:v>
                </c:pt>
                <c:pt idx="31364">
                  <c:v>26.635158713528075</c:v>
                </c:pt>
                <c:pt idx="31365">
                  <c:v>47.604137243852897</c:v>
                </c:pt>
                <c:pt idx="31366">
                  <c:v>49.65018083461112</c:v>
                </c:pt>
                <c:pt idx="31367">
                  <c:v>30.377140093146238</c:v>
                </c:pt>
                <c:pt idx="31368">
                  <c:v>25.102555615150166</c:v>
                </c:pt>
                <c:pt idx="31369">
                  <c:v>40.386676932840764</c:v>
                </c:pt>
                <c:pt idx="31370">
                  <c:v>28.483765482329915</c:v>
                </c:pt>
                <c:pt idx="31371">
                  <c:v>43.934112409004733</c:v>
                </c:pt>
                <c:pt idx="31372">
                  <c:v>35.779481689940575</c:v>
                </c:pt>
                <c:pt idx="31373">
                  <c:v>22.121245688941009</c:v>
                </c:pt>
                <c:pt idx="31374">
                  <c:v>33.087059331549696</c:v>
                </c:pt>
                <c:pt idx="31375">
                  <c:v>33.519925797640809</c:v>
                </c:pt>
                <c:pt idx="31376">
                  <c:v>32.091736572472882</c:v>
                </c:pt>
                <c:pt idx="31377">
                  <c:v>18.398279262344793</c:v>
                </c:pt>
                <c:pt idx="31378">
                  <c:v>22.031564359376983</c:v>
                </c:pt>
                <c:pt idx="31379">
                  <c:v>18.145960883848755</c:v>
                </c:pt>
                <c:pt idx="31380">
                  <c:v>20.436453857580094</c:v>
                </c:pt>
                <c:pt idx="31381">
                  <c:v>31.748293279240983</c:v>
                </c:pt>
                <c:pt idx="31382">
                  <c:v>28.190236211540132</c:v>
                </c:pt>
                <c:pt idx="31383">
                  <c:v>26.260210372906709</c:v>
                </c:pt>
                <c:pt idx="31384">
                  <c:v>37.125965735698706</c:v>
                </c:pt>
                <c:pt idx="31385">
                  <c:v>22.948479363234522</c:v>
                </c:pt>
                <c:pt idx="31386">
                  <c:v>29.151071972966985</c:v>
                </c:pt>
                <c:pt idx="31387">
                  <c:v>29.714681347358788</c:v>
                </c:pt>
                <c:pt idx="31388">
                  <c:v>25.099942309731833</c:v>
                </c:pt>
                <c:pt idx="31389">
                  <c:v>49.240938383187341</c:v>
                </c:pt>
                <c:pt idx="31390">
                  <c:v>46.808867052850395</c:v>
                </c:pt>
                <c:pt idx="31391">
                  <c:v>24.013965840929668</c:v>
                </c:pt>
                <c:pt idx="31392">
                  <c:v>18.410271476479252</c:v>
                </c:pt>
                <c:pt idx="31393">
                  <c:v>20.788350484062356</c:v>
                </c:pt>
                <c:pt idx="31394">
                  <c:v>20.100243171610153</c:v>
                </c:pt>
                <c:pt idx="31395">
                  <c:v>51.2862201765438</c:v>
                </c:pt>
                <c:pt idx="31396">
                  <c:v>35.125127255547589</c:v>
                </c:pt>
                <c:pt idx="31397">
                  <c:v>48.980070700071316</c:v>
                </c:pt>
                <c:pt idx="31398">
                  <c:v>17.555356418166152</c:v>
                </c:pt>
                <c:pt idx="31399">
                  <c:v>41.034616501138778</c:v>
                </c:pt>
                <c:pt idx="31400">
                  <c:v>22.30635165226947</c:v>
                </c:pt>
                <c:pt idx="31401">
                  <c:v>37.976361405925381</c:v>
                </c:pt>
                <c:pt idx="31402">
                  <c:v>25.217604317219958</c:v>
                </c:pt>
                <c:pt idx="31403">
                  <c:v>27.072627718424243</c:v>
                </c:pt>
                <c:pt idx="31404">
                  <c:v>27.408069335179189</c:v>
                </c:pt>
                <c:pt idx="31405">
                  <c:v>26.94326640818889</c:v>
                </c:pt>
                <c:pt idx="31406">
                  <c:v>26.7368438588198</c:v>
                </c:pt>
                <c:pt idx="31407">
                  <c:v>36.280657527039267</c:v>
                </c:pt>
                <c:pt idx="31408">
                  <c:v>24.605697278431848</c:v>
                </c:pt>
                <c:pt idx="31409">
                  <c:v>24.826776935522865</c:v>
                </c:pt>
                <c:pt idx="31410">
                  <c:v>25.69264297521244</c:v>
                </c:pt>
                <c:pt idx="31411">
                  <c:v>28.309234826070252</c:v>
                </c:pt>
                <c:pt idx="31412">
                  <c:v>28.844731597949387</c:v>
                </c:pt>
                <c:pt idx="31413">
                  <c:v>29.969869407282236</c:v>
                </c:pt>
                <c:pt idx="31414">
                  <c:v>27.48170282138836</c:v>
                </c:pt>
                <c:pt idx="31415">
                  <c:v>25.02251252938018</c:v>
                </c:pt>
                <c:pt idx="31416">
                  <c:v>24.550805277381912</c:v>
                </c:pt>
                <c:pt idx="31417">
                  <c:v>20.247119397779464</c:v>
                </c:pt>
                <c:pt idx="31418">
                  <c:v>20.659206909375563</c:v>
                </c:pt>
                <c:pt idx="31419">
                  <c:v>28.935418409357737</c:v>
                </c:pt>
                <c:pt idx="31420">
                  <c:v>24.239105743037268</c:v>
                </c:pt>
                <c:pt idx="31421">
                  <c:v>25.826029045370355</c:v>
                </c:pt>
                <c:pt idx="31422">
                  <c:v>25.045158525293392</c:v>
                </c:pt>
                <c:pt idx="31423">
                  <c:v>24.530395674821047</c:v>
                </c:pt>
                <c:pt idx="31424">
                  <c:v>24.377312211370523</c:v>
                </c:pt>
                <c:pt idx="31425">
                  <c:v>39.051297382205789</c:v>
                </c:pt>
                <c:pt idx="31426">
                  <c:v>35.808383895133161</c:v>
                </c:pt>
                <c:pt idx="31427">
                  <c:v>28.772891589740059</c:v>
                </c:pt>
                <c:pt idx="31428">
                  <c:v>53.559602221900576</c:v>
                </c:pt>
                <c:pt idx="31429">
                  <c:v>27.50493612916317</c:v>
                </c:pt>
                <c:pt idx="31430">
                  <c:v>19.730060362216641</c:v>
                </c:pt>
                <c:pt idx="31431">
                  <c:v>26.814938090370269</c:v>
                </c:pt>
                <c:pt idx="31432">
                  <c:v>30.218214078298161</c:v>
                </c:pt>
                <c:pt idx="31433">
                  <c:v>25.119552833684438</c:v>
                </c:pt>
                <c:pt idx="31434">
                  <c:v>25.766985339921572</c:v>
                </c:pt>
                <c:pt idx="31435">
                  <c:v>36.99715462858709</c:v>
                </c:pt>
                <c:pt idx="31436">
                  <c:v>51.626273949783474</c:v>
                </c:pt>
                <c:pt idx="31437">
                  <c:v>27.551254177930325</c:v>
                </c:pt>
                <c:pt idx="31438">
                  <c:v>27.435854659774179</c:v>
                </c:pt>
                <c:pt idx="31439">
                  <c:v>55.744443333987128</c:v>
                </c:pt>
                <c:pt idx="31440">
                  <c:v>38.702486451893485</c:v>
                </c:pt>
                <c:pt idx="31441">
                  <c:v>38.832850871380856</c:v>
                </c:pt>
                <c:pt idx="31442">
                  <c:v>27.069797249047632</c:v>
                </c:pt>
                <c:pt idx="31443">
                  <c:v>38.027015377799785</c:v>
                </c:pt>
                <c:pt idx="31444">
                  <c:v>27.047412779065805</c:v>
                </c:pt>
                <c:pt idx="31445">
                  <c:v>23.262428422295766</c:v>
                </c:pt>
                <c:pt idx="31446">
                  <c:v>40.669821070289615</c:v>
                </c:pt>
                <c:pt idx="31447">
                  <c:v>46.09769000318466</c:v>
                </c:pt>
                <c:pt idx="31448">
                  <c:v>26.349424553769229</c:v>
                </c:pt>
                <c:pt idx="31449">
                  <c:v>24.399553295879912</c:v>
                </c:pt>
                <c:pt idx="31450">
                  <c:v>44.503740893064318</c:v>
                </c:pt>
                <c:pt idx="31451">
                  <c:v>23.140387875956591</c:v>
                </c:pt>
                <c:pt idx="31452">
                  <c:v>26.942874189034711</c:v>
                </c:pt>
                <c:pt idx="31453">
                  <c:v>28.214835100666189</c:v>
                </c:pt>
                <c:pt idx="31454">
                  <c:v>28.127871998132125</c:v>
                </c:pt>
                <c:pt idx="31455">
                  <c:v>30.771972630950749</c:v>
                </c:pt>
                <c:pt idx="31456">
                  <c:v>58.730593581717599</c:v>
                </c:pt>
                <c:pt idx="31457">
                  <c:v>25.781372440228992</c:v>
                </c:pt>
                <c:pt idx="31458">
                  <c:v>28.072110113464351</c:v>
                </c:pt>
                <c:pt idx="31459">
                  <c:v>27.576194060793455</c:v>
                </c:pt>
                <c:pt idx="31460">
                  <c:v>25.243426485480246</c:v>
                </c:pt>
                <c:pt idx="31461">
                  <c:v>36.317221691935657</c:v>
                </c:pt>
                <c:pt idx="31462">
                  <c:v>24.554518187906762</c:v>
                </c:pt>
                <c:pt idx="31463">
                  <c:v>21.097996861763395</c:v>
                </c:pt>
                <c:pt idx="31464">
                  <c:v>28.537154012866644</c:v>
                </c:pt>
                <c:pt idx="31465">
                  <c:v>36.762306630107524</c:v>
                </c:pt>
                <c:pt idx="31466">
                  <c:v>25.231393551830312</c:v>
                </c:pt>
                <c:pt idx="31467">
                  <c:v>19.679491285961962</c:v>
                </c:pt>
                <c:pt idx="31468">
                  <c:v>29.263020707271675</c:v>
                </c:pt>
                <c:pt idx="31469">
                  <c:v>33.704509559264523</c:v>
                </c:pt>
                <c:pt idx="31470">
                  <c:v>31.017767236010435</c:v>
                </c:pt>
                <c:pt idx="31471">
                  <c:v>25.374380148860396</c:v>
                </c:pt>
                <c:pt idx="31472">
                  <c:v>22.144620625344437</c:v>
                </c:pt>
                <c:pt idx="31473">
                  <c:v>25.086043249482309</c:v>
                </c:pt>
                <c:pt idx="31474">
                  <c:v>27.297779482406462</c:v>
                </c:pt>
                <c:pt idx="31475">
                  <c:v>24.751422739589362</c:v>
                </c:pt>
                <c:pt idx="31476">
                  <c:v>30.718392874392684</c:v>
                </c:pt>
                <c:pt idx="31477">
                  <c:v>23.635242206966172</c:v>
                </c:pt>
                <c:pt idx="31478">
                  <c:v>26.256057812933861</c:v>
                </c:pt>
                <c:pt idx="31479">
                  <c:v>52.053932954933273</c:v>
                </c:pt>
                <c:pt idx="31480">
                  <c:v>24.261534631706375</c:v>
                </c:pt>
                <c:pt idx="31481">
                  <c:v>51.982322244151874</c:v>
                </c:pt>
                <c:pt idx="31482">
                  <c:v>20.537102157134534</c:v>
                </c:pt>
                <c:pt idx="31483">
                  <c:v>24.274935885811985</c:v>
                </c:pt>
                <c:pt idx="31484">
                  <c:v>27.855459597847293</c:v>
                </c:pt>
                <c:pt idx="31485">
                  <c:v>18.945023732671942</c:v>
                </c:pt>
                <c:pt idx="31486">
                  <c:v>23.75562912614544</c:v>
                </c:pt>
                <c:pt idx="31487">
                  <c:v>61.690491347901066</c:v>
                </c:pt>
                <c:pt idx="31488">
                  <c:v>26.205365404195568</c:v>
                </c:pt>
                <c:pt idx="31489">
                  <c:v>21.394822215473766</c:v>
                </c:pt>
                <c:pt idx="31490">
                  <c:v>24.887382947719818</c:v>
                </c:pt>
                <c:pt idx="31491">
                  <c:v>53.285248667224892</c:v>
                </c:pt>
                <c:pt idx="31492">
                  <c:v>21.607648218854461</c:v>
                </c:pt>
                <c:pt idx="31493">
                  <c:v>37.3553136008465</c:v>
                </c:pt>
                <c:pt idx="31494">
                  <c:v>49.653333330366131</c:v>
                </c:pt>
                <c:pt idx="31495">
                  <c:v>31.129748377059126</c:v>
                </c:pt>
                <c:pt idx="31496">
                  <c:v>27.777162504037562</c:v>
                </c:pt>
                <c:pt idx="31497">
                  <c:v>28.55634453089317</c:v>
                </c:pt>
                <c:pt idx="31498">
                  <c:v>27.386802760369541</c:v>
                </c:pt>
                <c:pt idx="31499">
                  <c:v>26.17783521076894</c:v>
                </c:pt>
                <c:pt idx="31500">
                  <c:v>41.522940183845769</c:v>
                </c:pt>
                <c:pt idx="31501">
                  <c:v>30.654234921365685</c:v>
                </c:pt>
                <c:pt idx="31502">
                  <c:v>33.971370114956834</c:v>
                </c:pt>
                <c:pt idx="31503">
                  <c:v>19.148348165409892</c:v>
                </c:pt>
                <c:pt idx="31504">
                  <c:v>20.322222575821677</c:v>
                </c:pt>
                <c:pt idx="31505">
                  <c:v>51.904366239671347</c:v>
                </c:pt>
                <c:pt idx="31506">
                  <c:v>27.611297523777807</c:v>
                </c:pt>
                <c:pt idx="31507">
                  <c:v>26.557737268183008</c:v>
                </c:pt>
                <c:pt idx="31508">
                  <c:v>25.911999688379485</c:v>
                </c:pt>
                <c:pt idx="31509">
                  <c:v>28.762768695595653</c:v>
                </c:pt>
                <c:pt idx="31510">
                  <c:v>29.684058933873313</c:v>
                </c:pt>
                <c:pt idx="31511">
                  <c:v>24.555774400312124</c:v>
                </c:pt>
                <c:pt idx="31512">
                  <c:v>46.410841170957028</c:v>
                </c:pt>
                <c:pt idx="31513">
                  <c:v>29.186590654335845</c:v>
                </c:pt>
                <c:pt idx="31514">
                  <c:v>26.794420146257984</c:v>
                </c:pt>
                <c:pt idx="31515">
                  <c:v>25.392779318334252</c:v>
                </c:pt>
                <c:pt idx="31516">
                  <c:v>26.486064649450235</c:v>
                </c:pt>
                <c:pt idx="31517">
                  <c:v>45.98829821321074</c:v>
                </c:pt>
                <c:pt idx="31518">
                  <c:v>20.322004318898788</c:v>
                </c:pt>
                <c:pt idx="31519">
                  <c:v>32.05800311132689</c:v>
                </c:pt>
                <c:pt idx="31520">
                  <c:v>27.445699534066346</c:v>
                </c:pt>
                <c:pt idx="31521">
                  <c:v>45.44926225118364</c:v>
                </c:pt>
                <c:pt idx="31522">
                  <c:v>18.157460379131695</c:v>
                </c:pt>
                <c:pt idx="31523">
                  <c:v>26.350671929706831</c:v>
                </c:pt>
                <c:pt idx="31524">
                  <c:v>56.945308421556724</c:v>
                </c:pt>
                <c:pt idx="31525">
                  <c:v>21.409370986107309</c:v>
                </c:pt>
                <c:pt idx="31526">
                  <c:v>47.31568463277479</c:v>
                </c:pt>
                <c:pt idx="31527">
                  <c:v>22.514882524163305</c:v>
                </c:pt>
                <c:pt idx="31528">
                  <c:v>21.675410945826961</c:v>
                </c:pt>
                <c:pt idx="31529">
                  <c:v>32.13756305429623</c:v>
                </c:pt>
                <c:pt idx="31530">
                  <c:v>45.262828084313952</c:v>
                </c:pt>
                <c:pt idx="31531">
                  <c:v>21.926143385299326</c:v>
                </c:pt>
                <c:pt idx="31532">
                  <c:v>29.681985120325901</c:v>
                </c:pt>
                <c:pt idx="31533">
                  <c:v>28.464964104332772</c:v>
                </c:pt>
                <c:pt idx="31534">
                  <c:v>21.504254114477682</c:v>
                </c:pt>
                <c:pt idx="31535">
                  <c:v>56.676114132854536</c:v>
                </c:pt>
                <c:pt idx="31536">
                  <c:v>29.568927711672664</c:v>
                </c:pt>
                <c:pt idx="31537">
                  <c:v>50.069282929627889</c:v>
                </c:pt>
                <c:pt idx="31538">
                  <c:v>32.398074671346535</c:v>
                </c:pt>
                <c:pt idx="31539">
                  <c:v>24.526352847003913</c:v>
                </c:pt>
                <c:pt idx="31540">
                  <c:v>20.485184141549823</c:v>
                </c:pt>
                <c:pt idx="31541">
                  <c:v>18.475231150796667</c:v>
                </c:pt>
                <c:pt idx="31542">
                  <c:v>24.376453404365787</c:v>
                </c:pt>
                <c:pt idx="31543">
                  <c:v>18.698770017823833</c:v>
                </c:pt>
                <c:pt idx="31544">
                  <c:v>32.262445037297162</c:v>
                </c:pt>
                <c:pt idx="31545">
                  <c:v>40.194869143318819</c:v>
                </c:pt>
                <c:pt idx="31546">
                  <c:v>47.262504552432397</c:v>
                </c:pt>
                <c:pt idx="31547">
                  <c:v>38.760289679112262</c:v>
                </c:pt>
                <c:pt idx="31548">
                  <c:v>45.055519883848952</c:v>
                </c:pt>
                <c:pt idx="31549">
                  <c:v>49.950556653224389</c:v>
                </c:pt>
                <c:pt idx="31550">
                  <c:v>20.703492599922118</c:v>
                </c:pt>
                <c:pt idx="31551">
                  <c:v>64.287848149532124</c:v>
                </c:pt>
                <c:pt idx="31552">
                  <c:v>30.115874412307207</c:v>
                </c:pt>
                <c:pt idx="31553">
                  <c:v>25.488016235919513</c:v>
                </c:pt>
                <c:pt idx="31554">
                  <c:v>45.452399081213521</c:v>
                </c:pt>
                <c:pt idx="31555">
                  <c:v>26.713093586387537</c:v>
                </c:pt>
                <c:pt idx="31556">
                  <c:v>64.921486493585121</c:v>
                </c:pt>
                <c:pt idx="31557">
                  <c:v>17.747254074761308</c:v>
                </c:pt>
                <c:pt idx="31558">
                  <c:v>49.106387511003639</c:v>
                </c:pt>
                <c:pt idx="31559">
                  <c:v>23.431032704410505</c:v>
                </c:pt>
                <c:pt idx="31560">
                  <c:v>46.346319816700323</c:v>
                </c:pt>
                <c:pt idx="31561">
                  <c:v>26.098560211915007</c:v>
                </c:pt>
                <c:pt idx="31562">
                  <c:v>26.752645461122256</c:v>
                </c:pt>
                <c:pt idx="31563">
                  <c:v>24.553268658159869</c:v>
                </c:pt>
                <c:pt idx="31564">
                  <c:v>29.241341795629253</c:v>
                </c:pt>
                <c:pt idx="31565">
                  <c:v>21.238160760322856</c:v>
                </c:pt>
                <c:pt idx="31566">
                  <c:v>27.351337536293222</c:v>
                </c:pt>
                <c:pt idx="31567">
                  <c:v>24.904718659511541</c:v>
                </c:pt>
                <c:pt idx="31568">
                  <c:v>30.090775328029931</c:v>
                </c:pt>
                <c:pt idx="31569">
                  <c:v>21.833606118491474</c:v>
                </c:pt>
                <c:pt idx="31570">
                  <c:v>25.489748999628471</c:v>
                </c:pt>
                <c:pt idx="31571">
                  <c:v>12.278423212278334</c:v>
                </c:pt>
                <c:pt idx="31572">
                  <c:v>31.522466046867894</c:v>
                </c:pt>
                <c:pt idx="31573">
                  <c:v>25.58155485950499</c:v>
                </c:pt>
                <c:pt idx="31574">
                  <c:v>22.829956071154026</c:v>
                </c:pt>
                <c:pt idx="31575">
                  <c:v>28.132316900388716</c:v>
                </c:pt>
                <c:pt idx="31576">
                  <c:v>41.880535889485373</c:v>
                </c:pt>
                <c:pt idx="31577">
                  <c:v>47.583409441578681</c:v>
                </c:pt>
                <c:pt idx="31578">
                  <c:v>36.971842015282725</c:v>
                </c:pt>
                <c:pt idx="31579">
                  <c:v>26.749854991131262</c:v>
                </c:pt>
                <c:pt idx="31580">
                  <c:v>27.225345068834145</c:v>
                </c:pt>
                <c:pt idx="31581">
                  <c:v>17.436027737091873</c:v>
                </c:pt>
                <c:pt idx="31582">
                  <c:v>24.803396834744717</c:v>
                </c:pt>
                <c:pt idx="31583">
                  <c:v>18.946344407644069</c:v>
                </c:pt>
                <c:pt idx="31584">
                  <c:v>24.777161092084999</c:v>
                </c:pt>
                <c:pt idx="31585">
                  <c:v>28.915023547503147</c:v>
                </c:pt>
                <c:pt idx="31586">
                  <c:v>55.977272756159401</c:v>
                </c:pt>
                <c:pt idx="31587">
                  <c:v>27.113857918419242</c:v>
                </c:pt>
                <c:pt idx="31588">
                  <c:v>40.672729441220746</c:v>
                </c:pt>
                <c:pt idx="31589">
                  <c:v>25.137148039907668</c:v>
                </c:pt>
                <c:pt idx="31590">
                  <c:v>39.034023162893895</c:v>
                </c:pt>
                <c:pt idx="31591">
                  <c:v>42.407692852821739</c:v>
                </c:pt>
                <c:pt idx="31592">
                  <c:v>40.318663059351998</c:v>
                </c:pt>
                <c:pt idx="31593">
                  <c:v>26.573299122552438</c:v>
                </c:pt>
                <c:pt idx="31594">
                  <c:v>23.708279380031797</c:v>
                </c:pt>
                <c:pt idx="31595">
                  <c:v>30.495062535985582</c:v>
                </c:pt>
                <c:pt idx="31596">
                  <c:v>35.968369597681303</c:v>
                </c:pt>
                <c:pt idx="31597">
                  <c:v>27.085840930699646</c:v>
                </c:pt>
                <c:pt idx="31598">
                  <c:v>23.945370298207578</c:v>
                </c:pt>
                <c:pt idx="31599">
                  <c:v>33.00966925230982</c:v>
                </c:pt>
                <c:pt idx="31600">
                  <c:v>31.206904500642743</c:v>
                </c:pt>
                <c:pt idx="31601">
                  <c:v>26.579346016326049</c:v>
                </c:pt>
                <c:pt idx="31602">
                  <c:v>26.614203899258669</c:v>
                </c:pt>
                <c:pt idx="31603">
                  <c:v>32.175658564764291</c:v>
                </c:pt>
                <c:pt idx="31604">
                  <c:v>35.590205197864144</c:v>
                </c:pt>
                <c:pt idx="31605">
                  <c:v>28.615482153197135</c:v>
                </c:pt>
                <c:pt idx="31606">
                  <c:v>46.311913906172435</c:v>
                </c:pt>
                <c:pt idx="31607">
                  <c:v>46.182300517427635</c:v>
                </c:pt>
                <c:pt idx="31608">
                  <c:v>47.289949509386332</c:v>
                </c:pt>
                <c:pt idx="31609">
                  <c:v>25.659048692161491</c:v>
                </c:pt>
                <c:pt idx="31610">
                  <c:v>30.685854795987701</c:v>
                </c:pt>
                <c:pt idx="31611">
                  <c:v>27.661134585784879</c:v>
                </c:pt>
                <c:pt idx="31612">
                  <c:v>24.487256875235097</c:v>
                </c:pt>
                <c:pt idx="31613">
                  <c:v>31.800704888909515</c:v>
                </c:pt>
                <c:pt idx="31614">
                  <c:v>21.842499335727112</c:v>
                </c:pt>
                <c:pt idx="31615">
                  <c:v>25.301921755803484</c:v>
                </c:pt>
                <c:pt idx="31616">
                  <c:v>28.199259315393839</c:v>
                </c:pt>
                <c:pt idx="31617">
                  <c:v>26.310043780435777</c:v>
                </c:pt>
                <c:pt idx="31618">
                  <c:v>30.43386425302042</c:v>
                </c:pt>
                <c:pt idx="31619">
                  <c:v>28.092710141154846</c:v>
                </c:pt>
                <c:pt idx="31620">
                  <c:v>22.517559887023545</c:v>
                </c:pt>
                <c:pt idx="31621">
                  <c:v>21.171934520010755</c:v>
                </c:pt>
                <c:pt idx="31622">
                  <c:v>26.720092242621245</c:v>
                </c:pt>
                <c:pt idx="31623">
                  <c:v>35.780799963893152</c:v>
                </c:pt>
                <c:pt idx="31624">
                  <c:v>26.124318383246685</c:v>
                </c:pt>
                <c:pt idx="31625">
                  <c:v>35.011096730508292</c:v>
                </c:pt>
                <c:pt idx="31626">
                  <c:v>39.636978783506798</c:v>
                </c:pt>
                <c:pt idx="31627">
                  <c:v>37.041792231538629</c:v>
                </c:pt>
                <c:pt idx="31628">
                  <c:v>36.888627730348588</c:v>
                </c:pt>
                <c:pt idx="31629">
                  <c:v>20.074797247415454</c:v>
                </c:pt>
                <c:pt idx="31630">
                  <c:v>22.893079988674177</c:v>
                </c:pt>
                <c:pt idx="31631">
                  <c:v>19.639258586616428</c:v>
                </c:pt>
                <c:pt idx="31632">
                  <c:v>25.117996517368571</c:v>
                </c:pt>
                <c:pt idx="31633">
                  <c:v>44.617960932131822</c:v>
                </c:pt>
                <c:pt idx="31634">
                  <c:v>43.344269096364997</c:v>
                </c:pt>
                <c:pt idx="31635">
                  <c:v>26.03393328773841</c:v>
                </c:pt>
                <c:pt idx="31636">
                  <c:v>32.054799561904495</c:v>
                </c:pt>
                <c:pt idx="31637">
                  <c:v>32.954645727341401</c:v>
                </c:pt>
                <c:pt idx="31638">
                  <c:v>20.491973148831818</c:v>
                </c:pt>
                <c:pt idx="31639">
                  <c:v>22.464684405161886</c:v>
                </c:pt>
                <c:pt idx="31640">
                  <c:v>29.803677085169845</c:v>
                </c:pt>
                <c:pt idx="31641">
                  <c:v>29.521732143031219</c:v>
                </c:pt>
                <c:pt idx="31642">
                  <c:v>33.65155685092904</c:v>
                </c:pt>
                <c:pt idx="31643">
                  <c:v>25.282112924427622</c:v>
                </c:pt>
                <c:pt idx="31644">
                  <c:v>25.234402502792523</c:v>
                </c:pt>
                <c:pt idx="31645">
                  <c:v>26.824931241303844</c:v>
                </c:pt>
                <c:pt idx="31646">
                  <c:v>38.576441715837007</c:v>
                </c:pt>
                <c:pt idx="31647">
                  <c:v>26.697845388888553</c:v>
                </c:pt>
                <c:pt idx="31648">
                  <c:v>32.297813152301359</c:v>
                </c:pt>
                <c:pt idx="31649">
                  <c:v>27.227473985393566</c:v>
                </c:pt>
                <c:pt idx="31650">
                  <c:v>23.69446349616106</c:v>
                </c:pt>
                <c:pt idx="31651">
                  <c:v>25.270395352648649</c:v>
                </c:pt>
                <c:pt idx="31652">
                  <c:v>21.151852661697919</c:v>
                </c:pt>
                <c:pt idx="31653">
                  <c:v>33.902819770415405</c:v>
                </c:pt>
                <c:pt idx="31654">
                  <c:v>39.961802549756229</c:v>
                </c:pt>
                <c:pt idx="31655">
                  <c:v>32.956942111872308</c:v>
                </c:pt>
                <c:pt idx="31656">
                  <c:v>45.303366094604002</c:v>
                </c:pt>
                <c:pt idx="31657">
                  <c:v>28.790310953337549</c:v>
                </c:pt>
                <c:pt idx="31658">
                  <c:v>55.025265294451891</c:v>
                </c:pt>
                <c:pt idx="31659">
                  <c:v>24.38385741991284</c:v>
                </c:pt>
                <c:pt idx="31660">
                  <c:v>44.177914831211694</c:v>
                </c:pt>
                <c:pt idx="31661">
                  <c:v>21.981644275541115</c:v>
                </c:pt>
                <c:pt idx="31662">
                  <c:v>30.920689299104975</c:v>
                </c:pt>
                <c:pt idx="31663">
                  <c:v>32.419924096519857</c:v>
                </c:pt>
                <c:pt idx="31664">
                  <c:v>20.430844349869524</c:v>
                </c:pt>
                <c:pt idx="31665">
                  <c:v>28.655263390752474</c:v>
                </c:pt>
                <c:pt idx="31666">
                  <c:v>41.893197908680904</c:v>
                </c:pt>
                <c:pt idx="31667">
                  <c:v>20.48339144928655</c:v>
                </c:pt>
                <c:pt idx="31668">
                  <c:v>32.275808965491834</c:v>
                </c:pt>
                <c:pt idx="31669">
                  <c:v>29.647684788182922</c:v>
                </c:pt>
                <c:pt idx="31670">
                  <c:v>33.795750314531013</c:v>
                </c:pt>
                <c:pt idx="31671">
                  <c:v>29.865011992996934</c:v>
                </c:pt>
                <c:pt idx="31672">
                  <c:v>35.884531397174754</c:v>
                </c:pt>
                <c:pt idx="31673">
                  <c:v>30.632123848623415</c:v>
                </c:pt>
                <c:pt idx="31674">
                  <c:v>27.93000815820761</c:v>
                </c:pt>
                <c:pt idx="31675">
                  <c:v>25.784373800479329</c:v>
                </c:pt>
                <c:pt idx="31676">
                  <c:v>25.540584519994329</c:v>
                </c:pt>
                <c:pt idx="31677">
                  <c:v>40.804522253217336</c:v>
                </c:pt>
                <c:pt idx="31678">
                  <c:v>24.490615990283047</c:v>
                </c:pt>
                <c:pt idx="31679">
                  <c:v>47.732936051806774</c:v>
                </c:pt>
                <c:pt idx="31680">
                  <c:v>26.386897702598002</c:v>
                </c:pt>
                <c:pt idx="31681">
                  <c:v>22.592732099536221</c:v>
                </c:pt>
                <c:pt idx="31682">
                  <c:v>40.983639932325687</c:v>
                </c:pt>
                <c:pt idx="31683">
                  <c:v>20.39594188374658</c:v>
                </c:pt>
                <c:pt idx="31684">
                  <c:v>28.924189437485936</c:v>
                </c:pt>
                <c:pt idx="31685">
                  <c:v>37.380750542579797</c:v>
                </c:pt>
                <c:pt idx="31686">
                  <c:v>29.742462311814798</c:v>
                </c:pt>
                <c:pt idx="31687">
                  <c:v>23.388973142908696</c:v>
                </c:pt>
                <c:pt idx="31688">
                  <c:v>20.608322503817838</c:v>
                </c:pt>
                <c:pt idx="31689">
                  <c:v>20.396898972917096</c:v>
                </c:pt>
                <c:pt idx="31690">
                  <c:v>24.636885528574165</c:v>
                </c:pt>
                <c:pt idx="31691">
                  <c:v>23.150787911201732</c:v>
                </c:pt>
                <c:pt idx="31692">
                  <c:v>49.196789719109965</c:v>
                </c:pt>
                <c:pt idx="31693">
                  <c:v>30.180002525584669</c:v>
                </c:pt>
                <c:pt idx="31694">
                  <c:v>28.922394150539198</c:v>
                </c:pt>
                <c:pt idx="31695">
                  <c:v>27.010814118414121</c:v>
                </c:pt>
                <c:pt idx="31696">
                  <c:v>32.832354970561546</c:v>
                </c:pt>
                <c:pt idx="31697">
                  <c:v>26.342529293177009</c:v>
                </c:pt>
                <c:pt idx="31698">
                  <c:v>31.809807361152245</c:v>
                </c:pt>
                <c:pt idx="31699">
                  <c:v>22.642982281631866</c:v>
                </c:pt>
                <c:pt idx="31700">
                  <c:v>56.737614334120003</c:v>
                </c:pt>
                <c:pt idx="31701">
                  <c:v>55.298256289163504</c:v>
                </c:pt>
                <c:pt idx="31702">
                  <c:v>34.287825761241237</c:v>
                </c:pt>
                <c:pt idx="31703">
                  <c:v>29.201209960662332</c:v>
                </c:pt>
                <c:pt idx="31704">
                  <c:v>30.404220749504624</c:v>
                </c:pt>
                <c:pt idx="31705">
                  <c:v>34.116984883386259</c:v>
                </c:pt>
                <c:pt idx="31706">
                  <c:v>21.158748859849034</c:v>
                </c:pt>
                <c:pt idx="31707">
                  <c:v>45.121192596225804</c:v>
                </c:pt>
                <c:pt idx="31708">
                  <c:v>22.439981258970246</c:v>
                </c:pt>
                <c:pt idx="31709">
                  <c:v>21.403873027589441</c:v>
                </c:pt>
                <c:pt idx="31710">
                  <c:v>36.722707915208616</c:v>
                </c:pt>
                <c:pt idx="31711">
                  <c:v>34.503356310426227</c:v>
                </c:pt>
                <c:pt idx="31712">
                  <c:v>28.618817688291902</c:v>
                </c:pt>
                <c:pt idx="31713">
                  <c:v>28.816556595376163</c:v>
                </c:pt>
                <c:pt idx="31714">
                  <c:v>31.29154873215483</c:v>
                </c:pt>
                <c:pt idx="31715">
                  <c:v>23.379843458425334</c:v>
                </c:pt>
                <c:pt idx="31716">
                  <c:v>27.449092051629041</c:v>
                </c:pt>
                <c:pt idx="31717">
                  <c:v>32.976429986325748</c:v>
                </c:pt>
                <c:pt idx="31718">
                  <c:v>46.897691909068556</c:v>
                </c:pt>
                <c:pt idx="31719">
                  <c:v>29.133285468375291</c:v>
                </c:pt>
                <c:pt idx="31720">
                  <c:v>48.030324925734838</c:v>
                </c:pt>
                <c:pt idx="31721">
                  <c:v>27.25292266870575</c:v>
                </c:pt>
                <c:pt idx="31722">
                  <c:v>22.249659131515166</c:v>
                </c:pt>
                <c:pt idx="31723">
                  <c:v>19.374116849268908</c:v>
                </c:pt>
                <c:pt idx="31724">
                  <c:v>51.103636478224892</c:v>
                </c:pt>
                <c:pt idx="31725">
                  <c:v>32.591858326495277</c:v>
                </c:pt>
                <c:pt idx="31726">
                  <c:v>25.707474651972539</c:v>
                </c:pt>
                <c:pt idx="31727">
                  <c:v>23.564548697806888</c:v>
                </c:pt>
                <c:pt idx="31728">
                  <c:v>38.235451921827547</c:v>
                </c:pt>
                <c:pt idx="31729">
                  <c:v>21.136304926255089</c:v>
                </c:pt>
                <c:pt idx="31730">
                  <c:v>36.709861777893742</c:v>
                </c:pt>
                <c:pt idx="31731">
                  <c:v>28.640564983571942</c:v>
                </c:pt>
                <c:pt idx="31732">
                  <c:v>34.190164731703995</c:v>
                </c:pt>
                <c:pt idx="31733">
                  <c:v>46.791079080098513</c:v>
                </c:pt>
                <c:pt idx="31734">
                  <c:v>23.105991628659446</c:v>
                </c:pt>
                <c:pt idx="31735">
                  <c:v>27.194639588244016</c:v>
                </c:pt>
                <c:pt idx="31736">
                  <c:v>30.716245465307399</c:v>
                </c:pt>
                <c:pt idx="31737">
                  <c:v>40.902842664550256</c:v>
                </c:pt>
                <c:pt idx="31738">
                  <c:v>28.361744352440525</c:v>
                </c:pt>
                <c:pt idx="31739">
                  <c:v>22.815670202673438</c:v>
                </c:pt>
                <c:pt idx="31740">
                  <c:v>53.783308930159521</c:v>
                </c:pt>
                <c:pt idx="31741">
                  <c:v>25.036038256716761</c:v>
                </c:pt>
                <c:pt idx="31742">
                  <c:v>55.104637266184497</c:v>
                </c:pt>
                <c:pt idx="31743">
                  <c:v>29.088711737794394</c:v>
                </c:pt>
                <c:pt idx="31744">
                  <c:v>22.182970728984586</c:v>
                </c:pt>
                <c:pt idx="31745">
                  <c:v>55.510987352270391</c:v>
                </c:pt>
                <c:pt idx="31746">
                  <c:v>48.673331642714373</c:v>
                </c:pt>
                <c:pt idx="31747">
                  <c:v>41.721331949095287</c:v>
                </c:pt>
                <c:pt idx="31748">
                  <c:v>44.757582251582555</c:v>
                </c:pt>
                <c:pt idx="31749">
                  <c:v>45.550584744357053</c:v>
                </c:pt>
                <c:pt idx="31750">
                  <c:v>31.200740779214357</c:v>
                </c:pt>
                <c:pt idx="31751">
                  <c:v>30.322865743534241</c:v>
                </c:pt>
                <c:pt idx="31752">
                  <c:v>23.530875232494786</c:v>
                </c:pt>
                <c:pt idx="31753">
                  <c:v>32.872449245880922</c:v>
                </c:pt>
                <c:pt idx="31754">
                  <c:v>46.279386884125465</c:v>
                </c:pt>
                <c:pt idx="31755">
                  <c:v>45.557569600452574</c:v>
                </c:pt>
                <c:pt idx="31756">
                  <c:v>49.693577552323575</c:v>
                </c:pt>
                <c:pt idx="31757">
                  <c:v>21.075025736830352</c:v>
                </c:pt>
                <c:pt idx="31758">
                  <c:v>27.519742641987222</c:v>
                </c:pt>
                <c:pt idx="31759">
                  <c:v>23.018495423116846</c:v>
                </c:pt>
                <c:pt idx="31760">
                  <c:v>54.878733546861142</c:v>
                </c:pt>
                <c:pt idx="31761">
                  <c:v>34.253653730866276</c:v>
                </c:pt>
                <c:pt idx="31762">
                  <c:v>41.395310994308872</c:v>
                </c:pt>
                <c:pt idx="31763">
                  <c:v>26.985478920525615</c:v>
                </c:pt>
                <c:pt idx="31764">
                  <c:v>24.298853542652704</c:v>
                </c:pt>
                <c:pt idx="31765">
                  <c:v>27.892490465417094</c:v>
                </c:pt>
                <c:pt idx="31766">
                  <c:v>29.983878404753252</c:v>
                </c:pt>
                <c:pt idx="31767">
                  <c:v>43.789203543611571</c:v>
                </c:pt>
                <c:pt idx="31768">
                  <c:v>30.10787124090356</c:v>
                </c:pt>
                <c:pt idx="31769">
                  <c:v>26.059074983517291</c:v>
                </c:pt>
                <c:pt idx="31770">
                  <c:v>21.445774278203</c:v>
                </c:pt>
                <c:pt idx="31771">
                  <c:v>22.102549046093188</c:v>
                </c:pt>
                <c:pt idx="31772">
                  <c:v>45.156303787647609</c:v>
                </c:pt>
                <c:pt idx="31773">
                  <c:v>26.982552551931533</c:v>
                </c:pt>
                <c:pt idx="31774">
                  <c:v>45.534144545420929</c:v>
                </c:pt>
                <c:pt idx="31775">
                  <c:v>20.935232049863611</c:v>
                </c:pt>
                <c:pt idx="31776">
                  <c:v>57.285174232867647</c:v>
                </c:pt>
                <c:pt idx="31777">
                  <c:v>30.83703985686931</c:v>
                </c:pt>
                <c:pt idx="31778">
                  <c:v>23.516905562686663</c:v>
                </c:pt>
                <c:pt idx="31779">
                  <c:v>22.890235190847562</c:v>
                </c:pt>
                <c:pt idx="31780">
                  <c:v>28.542759404799916</c:v>
                </c:pt>
                <c:pt idx="31781">
                  <c:v>15.592080068666952</c:v>
                </c:pt>
                <c:pt idx="31782">
                  <c:v>58.549493281542944</c:v>
                </c:pt>
                <c:pt idx="31783">
                  <c:v>36.416301601075958</c:v>
                </c:pt>
                <c:pt idx="31784">
                  <c:v>44.710509126935392</c:v>
                </c:pt>
                <c:pt idx="31785">
                  <c:v>57.064778828377037</c:v>
                </c:pt>
                <c:pt idx="31786">
                  <c:v>21.957514698528474</c:v>
                </c:pt>
                <c:pt idx="31787">
                  <c:v>26.900982414549787</c:v>
                </c:pt>
                <c:pt idx="31788">
                  <c:v>21.289521703990729</c:v>
                </c:pt>
                <c:pt idx="31789">
                  <c:v>23.785136666154983</c:v>
                </c:pt>
                <c:pt idx="31790">
                  <c:v>33.438454939581014</c:v>
                </c:pt>
                <c:pt idx="31791">
                  <c:v>45.622795343870322</c:v>
                </c:pt>
                <c:pt idx="31792">
                  <c:v>33.080641695518786</c:v>
                </c:pt>
                <c:pt idx="31793">
                  <c:v>21.818782830482363</c:v>
                </c:pt>
                <c:pt idx="31794">
                  <c:v>56.951970016070184</c:v>
                </c:pt>
                <c:pt idx="31795">
                  <c:v>20.298904515994934</c:v>
                </c:pt>
                <c:pt idx="31796">
                  <c:v>23.991839473956446</c:v>
                </c:pt>
                <c:pt idx="31797">
                  <c:v>27.200351209755762</c:v>
                </c:pt>
                <c:pt idx="31798">
                  <c:v>50.372332462224463</c:v>
                </c:pt>
                <c:pt idx="31799">
                  <c:v>22.531694009142253</c:v>
                </c:pt>
                <c:pt idx="31800">
                  <c:v>36.796332599289293</c:v>
                </c:pt>
                <c:pt idx="31801">
                  <c:v>40.154620344981836</c:v>
                </c:pt>
                <c:pt idx="31802">
                  <c:v>37.013238167790412</c:v>
                </c:pt>
                <c:pt idx="31803">
                  <c:v>24.652008879245351</c:v>
                </c:pt>
                <c:pt idx="31804">
                  <c:v>27.159258792580282</c:v>
                </c:pt>
                <c:pt idx="31805">
                  <c:v>19.090035338078334</c:v>
                </c:pt>
                <c:pt idx="31806">
                  <c:v>23.276909731867505</c:v>
                </c:pt>
                <c:pt idx="31807">
                  <c:v>27.812844790965105</c:v>
                </c:pt>
                <c:pt idx="31808">
                  <c:v>22.846193241200858</c:v>
                </c:pt>
                <c:pt idx="31809">
                  <c:v>32.762689246163234</c:v>
                </c:pt>
                <c:pt idx="31810">
                  <c:v>23.979224916126451</c:v>
                </c:pt>
                <c:pt idx="31811">
                  <c:v>19.93312494888027</c:v>
                </c:pt>
                <c:pt idx="31812">
                  <c:v>23.941029653350391</c:v>
                </c:pt>
                <c:pt idx="31813">
                  <c:v>22.280735765336228</c:v>
                </c:pt>
                <c:pt idx="31814">
                  <c:v>22.179728345103278</c:v>
                </c:pt>
                <c:pt idx="31815">
                  <c:v>26.521615789704565</c:v>
                </c:pt>
                <c:pt idx="31816">
                  <c:v>23.348900154861788</c:v>
                </c:pt>
                <c:pt idx="31817">
                  <c:v>27.329591654442954</c:v>
                </c:pt>
                <c:pt idx="31818">
                  <c:v>25.003728229036135</c:v>
                </c:pt>
                <c:pt idx="31819">
                  <c:v>24.417247672163619</c:v>
                </c:pt>
                <c:pt idx="31820">
                  <c:v>44.857414696331993</c:v>
                </c:pt>
                <c:pt idx="31821">
                  <c:v>20.56945750456584</c:v>
                </c:pt>
                <c:pt idx="31822">
                  <c:v>23.51871521534239</c:v>
                </c:pt>
                <c:pt idx="31823">
                  <c:v>44.217786676589796</c:v>
                </c:pt>
                <c:pt idx="31824">
                  <c:v>42.774449139860067</c:v>
                </c:pt>
                <c:pt idx="31825">
                  <c:v>47.053893784580453</c:v>
                </c:pt>
                <c:pt idx="31826">
                  <c:v>25.137618436742464</c:v>
                </c:pt>
                <c:pt idx="31827">
                  <c:v>34.610098196416956</c:v>
                </c:pt>
                <c:pt idx="31828">
                  <c:v>28.598027355524771</c:v>
                </c:pt>
                <c:pt idx="31829">
                  <c:v>29.881878006819235</c:v>
                </c:pt>
                <c:pt idx="31830">
                  <c:v>25.445556737134442</c:v>
                </c:pt>
                <c:pt idx="31831">
                  <c:v>42.036527756066782</c:v>
                </c:pt>
                <c:pt idx="31832">
                  <c:v>22.848766383460706</c:v>
                </c:pt>
                <c:pt idx="31833">
                  <c:v>45.094064532343566</c:v>
                </c:pt>
                <c:pt idx="31834">
                  <c:v>38.657501925190374</c:v>
                </c:pt>
                <c:pt idx="31835">
                  <c:v>25.412200536076924</c:v>
                </c:pt>
                <c:pt idx="31836">
                  <c:v>33.683201050967099</c:v>
                </c:pt>
                <c:pt idx="31837">
                  <c:v>21.147650891940973</c:v>
                </c:pt>
                <c:pt idx="31838">
                  <c:v>25.945942686349991</c:v>
                </c:pt>
                <c:pt idx="31839">
                  <c:v>24.126489117220913</c:v>
                </c:pt>
                <c:pt idx="31840">
                  <c:v>24.726012954912388</c:v>
                </c:pt>
                <c:pt idx="31841">
                  <c:v>29.006316234537756</c:v>
                </c:pt>
                <c:pt idx="31842">
                  <c:v>17.949671118074392</c:v>
                </c:pt>
                <c:pt idx="31843">
                  <c:v>30.62008854009229</c:v>
                </c:pt>
                <c:pt idx="31844">
                  <c:v>30.112441601393638</c:v>
                </c:pt>
                <c:pt idx="31845">
                  <c:v>26.579918098001961</c:v>
                </c:pt>
                <c:pt idx="31846">
                  <c:v>33.952503935530373</c:v>
                </c:pt>
                <c:pt idx="31847">
                  <c:v>26.216364158526915</c:v>
                </c:pt>
                <c:pt idx="31848">
                  <c:v>20.828524702807563</c:v>
                </c:pt>
                <c:pt idx="31849">
                  <c:v>32.013683904734464</c:v>
                </c:pt>
                <c:pt idx="31850">
                  <c:v>29.981836227660381</c:v>
                </c:pt>
                <c:pt idx="31851">
                  <c:v>31.057094433283435</c:v>
                </c:pt>
                <c:pt idx="31852">
                  <c:v>23.356308079621392</c:v>
                </c:pt>
                <c:pt idx="31853">
                  <c:v>33.155002911811934</c:v>
                </c:pt>
                <c:pt idx="31854">
                  <c:v>37.398845882516682</c:v>
                </c:pt>
                <c:pt idx="31855">
                  <c:v>25.637495005986882</c:v>
                </c:pt>
                <c:pt idx="31856">
                  <c:v>27.833689371590452</c:v>
                </c:pt>
                <c:pt idx="31857">
                  <c:v>25.859167389965773</c:v>
                </c:pt>
                <c:pt idx="31858">
                  <c:v>34.316240940985629</c:v>
                </c:pt>
                <c:pt idx="31859">
                  <c:v>30.053883399093309</c:v>
                </c:pt>
                <c:pt idx="31860">
                  <c:v>50.899055827657882</c:v>
                </c:pt>
                <c:pt idx="31861">
                  <c:v>51.766060329814835</c:v>
                </c:pt>
                <c:pt idx="31862">
                  <c:v>25.305428642118475</c:v>
                </c:pt>
                <c:pt idx="31863">
                  <c:v>22.002217841760427</c:v>
                </c:pt>
                <c:pt idx="31864">
                  <c:v>29.362302180451447</c:v>
                </c:pt>
                <c:pt idx="31865">
                  <c:v>20.087262118778821</c:v>
                </c:pt>
                <c:pt idx="31866">
                  <c:v>23.491701649215575</c:v>
                </c:pt>
                <c:pt idx="31867">
                  <c:v>29.326006241498412</c:v>
                </c:pt>
                <c:pt idx="31868">
                  <c:v>30.22410441832254</c:v>
                </c:pt>
                <c:pt idx="31869">
                  <c:v>23.092609031469358</c:v>
                </c:pt>
                <c:pt idx="31870">
                  <c:v>29.152615458149203</c:v>
                </c:pt>
                <c:pt idx="31871">
                  <c:v>28.91292743687514</c:v>
                </c:pt>
                <c:pt idx="31872">
                  <c:v>27.270829450189982</c:v>
                </c:pt>
                <c:pt idx="31873">
                  <c:v>55.048212483910554</c:v>
                </c:pt>
                <c:pt idx="31874">
                  <c:v>30.466969814658967</c:v>
                </c:pt>
                <c:pt idx="31875">
                  <c:v>22.86089471746973</c:v>
                </c:pt>
                <c:pt idx="31876">
                  <c:v>24.86043454680021</c:v>
                </c:pt>
                <c:pt idx="31877">
                  <c:v>27.746537716505621</c:v>
                </c:pt>
                <c:pt idx="31878">
                  <c:v>29.182125492141761</c:v>
                </c:pt>
                <c:pt idx="31879">
                  <c:v>35.181084793079862</c:v>
                </c:pt>
                <c:pt idx="31880">
                  <c:v>32.119232883761406</c:v>
                </c:pt>
                <c:pt idx="31881">
                  <c:v>32.25644198055398</c:v>
                </c:pt>
                <c:pt idx="31882">
                  <c:v>25.735075766663424</c:v>
                </c:pt>
                <c:pt idx="31883">
                  <c:v>25.108849309413085</c:v>
                </c:pt>
                <c:pt idx="31884">
                  <c:v>26.70811965381095</c:v>
                </c:pt>
                <c:pt idx="31885">
                  <c:v>28.219986948053883</c:v>
                </c:pt>
                <c:pt idx="31886">
                  <c:v>25.327972090069522</c:v>
                </c:pt>
                <c:pt idx="31887">
                  <c:v>44.009311662918762</c:v>
                </c:pt>
                <c:pt idx="31888">
                  <c:v>19.027413405863612</c:v>
                </c:pt>
                <c:pt idx="31889">
                  <c:v>20.659757467734128</c:v>
                </c:pt>
                <c:pt idx="31890">
                  <c:v>24.72502147380159</c:v>
                </c:pt>
                <c:pt idx="31891">
                  <c:v>21.506658944637682</c:v>
                </c:pt>
                <c:pt idx="31892">
                  <c:v>22.367863593578111</c:v>
                </c:pt>
                <c:pt idx="31893">
                  <c:v>23.740868023827925</c:v>
                </c:pt>
                <c:pt idx="31894">
                  <c:v>33.999429918947435</c:v>
                </c:pt>
                <c:pt idx="31895">
                  <c:v>36.084977649903038</c:v>
                </c:pt>
                <c:pt idx="31896">
                  <c:v>31.424464140960175</c:v>
                </c:pt>
                <c:pt idx="31897">
                  <c:v>40.490821465901149</c:v>
                </c:pt>
                <c:pt idx="31898">
                  <c:v>25.631892008428697</c:v>
                </c:pt>
                <c:pt idx="31899">
                  <c:v>54.260857910842127</c:v>
                </c:pt>
                <c:pt idx="31900">
                  <c:v>32.397575978901962</c:v>
                </c:pt>
                <c:pt idx="31901">
                  <c:v>25.601843161176745</c:v>
                </c:pt>
                <c:pt idx="31902">
                  <c:v>32.330413194272488</c:v>
                </c:pt>
                <c:pt idx="31903">
                  <c:v>29.988353769956724</c:v>
                </c:pt>
                <c:pt idx="31904">
                  <c:v>32.989257016693905</c:v>
                </c:pt>
                <c:pt idx="31905">
                  <c:v>27.693528779784828</c:v>
                </c:pt>
                <c:pt idx="31906">
                  <c:v>32.378258709083717</c:v>
                </c:pt>
                <c:pt idx="31907">
                  <c:v>31.448366144197117</c:v>
                </c:pt>
                <c:pt idx="31908">
                  <c:v>21.328324602807871</c:v>
                </c:pt>
                <c:pt idx="31909">
                  <c:v>25.119251039067166</c:v>
                </c:pt>
                <c:pt idx="31910">
                  <c:v>28.997395461214438</c:v>
                </c:pt>
                <c:pt idx="31911">
                  <c:v>35.92888362296636</c:v>
                </c:pt>
                <c:pt idx="31912">
                  <c:v>21.9001491693707</c:v>
                </c:pt>
                <c:pt idx="31913">
                  <c:v>27.670293792625305</c:v>
                </c:pt>
                <c:pt idx="31914">
                  <c:v>45.208562848360565</c:v>
                </c:pt>
                <c:pt idx="31915">
                  <c:v>26.247588251094321</c:v>
                </c:pt>
                <c:pt idx="31916">
                  <c:v>23.777356555143736</c:v>
                </c:pt>
                <c:pt idx="31917">
                  <c:v>26.2266493989558</c:v>
                </c:pt>
                <c:pt idx="31918">
                  <c:v>35.298096948651086</c:v>
                </c:pt>
                <c:pt idx="31919">
                  <c:v>37.601974786403638</c:v>
                </c:pt>
                <c:pt idx="31920">
                  <c:v>22.556534761342597</c:v>
                </c:pt>
                <c:pt idx="31921">
                  <c:v>27.164286274453602</c:v>
                </c:pt>
                <c:pt idx="31922">
                  <c:v>28.317925387945817</c:v>
                </c:pt>
                <c:pt idx="31923">
                  <c:v>27.389052006793811</c:v>
                </c:pt>
                <c:pt idx="31924">
                  <c:v>46.980118360792908</c:v>
                </c:pt>
                <c:pt idx="31925">
                  <c:v>33.714559276189703</c:v>
                </c:pt>
                <c:pt idx="31926">
                  <c:v>16.287202924733677</c:v>
                </c:pt>
                <c:pt idx="31927">
                  <c:v>44.95891848644294</c:v>
                </c:pt>
                <c:pt idx="31928">
                  <c:v>33.797787128204362</c:v>
                </c:pt>
                <c:pt idx="31929">
                  <c:v>30.929460228323784</c:v>
                </c:pt>
                <c:pt idx="31930">
                  <c:v>36.287513221571153</c:v>
                </c:pt>
                <c:pt idx="31931">
                  <c:v>39.350682195149915</c:v>
                </c:pt>
                <c:pt idx="31932">
                  <c:v>38.668550326782508</c:v>
                </c:pt>
                <c:pt idx="31933">
                  <c:v>43.752396786701397</c:v>
                </c:pt>
                <c:pt idx="31934">
                  <c:v>28.071301134768422</c:v>
                </c:pt>
                <c:pt idx="31935">
                  <c:v>25.572590376999123</c:v>
                </c:pt>
                <c:pt idx="31936">
                  <c:v>37.85789271800666</c:v>
                </c:pt>
                <c:pt idx="31937">
                  <c:v>44.513004895480094</c:v>
                </c:pt>
                <c:pt idx="31938">
                  <c:v>19.306413465222626</c:v>
                </c:pt>
                <c:pt idx="31939">
                  <c:v>28.201938032089942</c:v>
                </c:pt>
                <c:pt idx="31940">
                  <c:v>23.566768651077684</c:v>
                </c:pt>
                <c:pt idx="31941">
                  <c:v>52.715421142822841</c:v>
                </c:pt>
                <c:pt idx="31942">
                  <c:v>25.52152803264552</c:v>
                </c:pt>
                <c:pt idx="31943">
                  <c:v>30.359490359279288</c:v>
                </c:pt>
                <c:pt idx="31944">
                  <c:v>29.723302068698771</c:v>
                </c:pt>
                <c:pt idx="31945">
                  <c:v>31.830682407064415</c:v>
                </c:pt>
                <c:pt idx="31946">
                  <c:v>31.043192851780017</c:v>
                </c:pt>
                <c:pt idx="31947">
                  <c:v>31.437355670929659</c:v>
                </c:pt>
                <c:pt idx="31948">
                  <c:v>26.990461926121078</c:v>
                </c:pt>
                <c:pt idx="31949">
                  <c:v>30.975596703589197</c:v>
                </c:pt>
                <c:pt idx="31950">
                  <c:v>28.975201738074002</c:v>
                </c:pt>
                <c:pt idx="31951">
                  <c:v>34.032441460269347</c:v>
                </c:pt>
                <c:pt idx="31952">
                  <c:v>40.362826445000742</c:v>
                </c:pt>
                <c:pt idx="31953">
                  <c:v>35.932003229302225</c:v>
                </c:pt>
                <c:pt idx="31954">
                  <c:v>33.11919437574786</c:v>
                </c:pt>
                <c:pt idx="31955">
                  <c:v>44.730418630259337</c:v>
                </c:pt>
                <c:pt idx="31956">
                  <c:v>27.632322887453377</c:v>
                </c:pt>
                <c:pt idx="31957">
                  <c:v>30.634678727633755</c:v>
                </c:pt>
                <c:pt idx="31958">
                  <c:v>30.362791055790126</c:v>
                </c:pt>
                <c:pt idx="31959">
                  <c:v>30.754731891567914</c:v>
                </c:pt>
                <c:pt idx="31960">
                  <c:v>29.134894936148044</c:v>
                </c:pt>
                <c:pt idx="31961">
                  <c:v>21.840015262274068</c:v>
                </c:pt>
                <c:pt idx="31962">
                  <c:v>30.13895055446433</c:v>
                </c:pt>
                <c:pt idx="31963">
                  <c:v>37.258710695030537</c:v>
                </c:pt>
                <c:pt idx="31964">
                  <c:v>32.793873898024586</c:v>
                </c:pt>
                <c:pt idx="31965">
                  <c:v>23.721262394578876</c:v>
                </c:pt>
                <c:pt idx="31966">
                  <c:v>19.792770131179065</c:v>
                </c:pt>
                <c:pt idx="31967">
                  <c:v>31.782941140405896</c:v>
                </c:pt>
                <c:pt idx="31968">
                  <c:v>29.757641884536643</c:v>
                </c:pt>
                <c:pt idx="31969">
                  <c:v>25.295304014249272</c:v>
                </c:pt>
                <c:pt idx="31970">
                  <c:v>31.156185204355026</c:v>
                </c:pt>
                <c:pt idx="31971">
                  <c:v>42.409207541577665</c:v>
                </c:pt>
                <c:pt idx="31972">
                  <c:v>31.028508546268924</c:v>
                </c:pt>
                <c:pt idx="31973">
                  <c:v>24.825866434418213</c:v>
                </c:pt>
                <c:pt idx="31974">
                  <c:v>57.526608404002801</c:v>
                </c:pt>
                <c:pt idx="31975">
                  <c:v>31.841307254926917</c:v>
                </c:pt>
                <c:pt idx="31976">
                  <c:v>24.232740081898189</c:v>
                </c:pt>
                <c:pt idx="31977">
                  <c:v>50.291779050365001</c:v>
                </c:pt>
                <c:pt idx="31978">
                  <c:v>46.798330262883184</c:v>
                </c:pt>
                <c:pt idx="31979">
                  <c:v>51.812514931704079</c:v>
                </c:pt>
                <c:pt idx="31980">
                  <c:v>27.610494076723665</c:v>
                </c:pt>
                <c:pt idx="31981">
                  <c:v>29.442901524430486</c:v>
                </c:pt>
                <c:pt idx="31982">
                  <c:v>33.345669774810958</c:v>
                </c:pt>
                <c:pt idx="31983">
                  <c:v>27.968729216747523</c:v>
                </c:pt>
                <c:pt idx="31984">
                  <c:v>26.204084523786673</c:v>
                </c:pt>
                <c:pt idx="31985">
                  <c:v>48.973875917818617</c:v>
                </c:pt>
                <c:pt idx="31986">
                  <c:v>17.119874474537554</c:v>
                </c:pt>
                <c:pt idx="31987">
                  <c:v>31.103180410899782</c:v>
                </c:pt>
                <c:pt idx="31988">
                  <c:v>29.499391028851715</c:v>
                </c:pt>
                <c:pt idx="31989">
                  <c:v>30.870972841374737</c:v>
                </c:pt>
                <c:pt idx="31990">
                  <c:v>30.908369742708736</c:v>
                </c:pt>
                <c:pt idx="31991">
                  <c:v>57.092197053700716</c:v>
                </c:pt>
                <c:pt idx="31992">
                  <c:v>46.9643484531382</c:v>
                </c:pt>
                <c:pt idx="31993">
                  <c:v>20.116785191721743</c:v>
                </c:pt>
                <c:pt idx="31994">
                  <c:v>29.380129879644386</c:v>
                </c:pt>
                <c:pt idx="31995">
                  <c:v>25.514881811077935</c:v>
                </c:pt>
                <c:pt idx="31996">
                  <c:v>42.560715453092065</c:v>
                </c:pt>
                <c:pt idx="31997">
                  <c:v>24.648025072494963</c:v>
                </c:pt>
                <c:pt idx="31998">
                  <c:v>46.512452495869283</c:v>
                </c:pt>
                <c:pt idx="31999">
                  <c:v>23.489357294299381</c:v>
                </c:pt>
                <c:pt idx="32000">
                  <c:v>20.600646502602924</c:v>
                </c:pt>
                <c:pt idx="32001">
                  <c:v>21.805830491480329</c:v>
                </c:pt>
                <c:pt idx="32002">
                  <c:v>25.658806945929452</c:v>
                </c:pt>
                <c:pt idx="32003">
                  <c:v>45.909814299166314</c:v>
                </c:pt>
                <c:pt idx="32004">
                  <c:v>22.844999518234008</c:v>
                </c:pt>
                <c:pt idx="32005">
                  <c:v>26.590660444401998</c:v>
                </c:pt>
                <c:pt idx="32006">
                  <c:v>28.312110299574535</c:v>
                </c:pt>
                <c:pt idx="32007">
                  <c:v>27.182059534620798</c:v>
                </c:pt>
                <c:pt idx="32008">
                  <c:v>30.384845233096126</c:v>
                </c:pt>
                <c:pt idx="32009">
                  <c:v>22.721091548241887</c:v>
                </c:pt>
                <c:pt idx="32010">
                  <c:v>41.465620829607701</c:v>
                </c:pt>
                <c:pt idx="32011">
                  <c:v>18.731906310912247</c:v>
                </c:pt>
                <c:pt idx="32012">
                  <c:v>28.395487634028811</c:v>
                </c:pt>
                <c:pt idx="32013">
                  <c:v>29.630549963618648</c:v>
                </c:pt>
                <c:pt idx="32014">
                  <c:v>28.978112612310365</c:v>
                </c:pt>
                <c:pt idx="32015">
                  <c:v>29.826038325617088</c:v>
                </c:pt>
                <c:pt idx="32016">
                  <c:v>20.651874414862547</c:v>
                </c:pt>
                <c:pt idx="32017">
                  <c:v>21.833365629890345</c:v>
                </c:pt>
                <c:pt idx="32018">
                  <c:v>29.419846622704615</c:v>
                </c:pt>
                <c:pt idx="32019">
                  <c:v>30.720694399553985</c:v>
                </c:pt>
                <c:pt idx="32020">
                  <c:v>32.647453817623884</c:v>
                </c:pt>
                <c:pt idx="32021">
                  <c:v>44.708288409770006</c:v>
                </c:pt>
                <c:pt idx="32022">
                  <c:v>27.331222543043197</c:v>
                </c:pt>
                <c:pt idx="32023">
                  <c:v>40.230560591648945</c:v>
                </c:pt>
                <c:pt idx="32024">
                  <c:v>45.407346568388704</c:v>
                </c:pt>
                <c:pt idx="32025">
                  <c:v>26.311502219600126</c:v>
                </c:pt>
                <c:pt idx="32026">
                  <c:v>36.554902658606785</c:v>
                </c:pt>
                <c:pt idx="32027">
                  <c:v>31.343185674979495</c:v>
                </c:pt>
                <c:pt idx="32028">
                  <c:v>34.56042564935683</c:v>
                </c:pt>
                <c:pt idx="32029">
                  <c:v>23.765755787348354</c:v>
                </c:pt>
                <c:pt idx="32030">
                  <c:v>25.178405216408002</c:v>
                </c:pt>
                <c:pt idx="32031">
                  <c:v>22.784871718917888</c:v>
                </c:pt>
                <c:pt idx="32032">
                  <c:v>20.386566964883563</c:v>
                </c:pt>
                <c:pt idx="32033">
                  <c:v>31.208215044378665</c:v>
                </c:pt>
                <c:pt idx="32034">
                  <c:v>26.526898883686368</c:v>
                </c:pt>
                <c:pt idx="32035">
                  <c:v>34.504303975807062</c:v>
                </c:pt>
                <c:pt idx="32036">
                  <c:v>36.497554498802756</c:v>
                </c:pt>
                <c:pt idx="32037">
                  <c:v>42.953750017647714</c:v>
                </c:pt>
                <c:pt idx="32038">
                  <c:v>40.47680812953535</c:v>
                </c:pt>
                <c:pt idx="32039">
                  <c:v>27.752611564204695</c:v>
                </c:pt>
                <c:pt idx="32040">
                  <c:v>56.211474834445681</c:v>
                </c:pt>
                <c:pt idx="32041">
                  <c:v>25.338787531697392</c:v>
                </c:pt>
                <c:pt idx="32042">
                  <c:v>29.017146853494733</c:v>
                </c:pt>
                <c:pt idx="32043">
                  <c:v>18.536785765906384</c:v>
                </c:pt>
                <c:pt idx="32044">
                  <c:v>25.687693463600219</c:v>
                </c:pt>
                <c:pt idx="32045">
                  <c:v>42.483961261454382</c:v>
                </c:pt>
                <c:pt idx="32046">
                  <c:v>53.371444078724252</c:v>
                </c:pt>
                <c:pt idx="32047">
                  <c:v>29.256995146275347</c:v>
                </c:pt>
                <c:pt idx="32048">
                  <c:v>26.62008976856546</c:v>
                </c:pt>
                <c:pt idx="32049">
                  <c:v>42.772250941258989</c:v>
                </c:pt>
                <c:pt idx="32050">
                  <c:v>41.464530665056543</c:v>
                </c:pt>
                <c:pt idx="32051">
                  <c:v>25.344389602690413</c:v>
                </c:pt>
                <c:pt idx="32052">
                  <c:v>21.276780974461492</c:v>
                </c:pt>
                <c:pt idx="32053">
                  <c:v>49.189090709641256</c:v>
                </c:pt>
                <c:pt idx="32054">
                  <c:v>23.971553022925256</c:v>
                </c:pt>
                <c:pt idx="32055">
                  <c:v>19.155871787295411</c:v>
                </c:pt>
                <c:pt idx="32056">
                  <c:v>36.530128290786053</c:v>
                </c:pt>
                <c:pt idx="32057">
                  <c:v>30.555493359302474</c:v>
                </c:pt>
                <c:pt idx="32058">
                  <c:v>21.694466123349493</c:v>
                </c:pt>
                <c:pt idx="32059">
                  <c:v>25.599124492897445</c:v>
                </c:pt>
                <c:pt idx="32060">
                  <c:v>23.533074081514393</c:v>
                </c:pt>
                <c:pt idx="32061">
                  <c:v>26.829891495553451</c:v>
                </c:pt>
                <c:pt idx="32062">
                  <c:v>51.592106405301671</c:v>
                </c:pt>
                <c:pt idx="32063">
                  <c:v>33.214818807286861</c:v>
                </c:pt>
                <c:pt idx="32064">
                  <c:v>24.923124471560101</c:v>
                </c:pt>
                <c:pt idx="32065">
                  <c:v>22.582923679843788</c:v>
                </c:pt>
                <c:pt idx="32066">
                  <c:v>30.119036935306521</c:v>
                </c:pt>
                <c:pt idx="32067">
                  <c:v>23.290605835650158</c:v>
                </c:pt>
                <c:pt idx="32068">
                  <c:v>48.210345226638218</c:v>
                </c:pt>
                <c:pt idx="32069">
                  <c:v>48.585438974939258</c:v>
                </c:pt>
                <c:pt idx="32070">
                  <c:v>23.541806003759451</c:v>
                </c:pt>
                <c:pt idx="32071">
                  <c:v>29.655174219660125</c:v>
                </c:pt>
                <c:pt idx="32072">
                  <c:v>51.682195679929947</c:v>
                </c:pt>
                <c:pt idx="32073">
                  <c:v>28.407596960500324</c:v>
                </c:pt>
                <c:pt idx="32074">
                  <c:v>23.513310303764001</c:v>
                </c:pt>
                <c:pt idx="32075">
                  <c:v>23.570830034807216</c:v>
                </c:pt>
                <c:pt idx="32076">
                  <c:v>24.667084261986016</c:v>
                </c:pt>
                <c:pt idx="32077">
                  <c:v>56.872741141578508</c:v>
                </c:pt>
                <c:pt idx="32078">
                  <c:v>35.595349024183179</c:v>
                </c:pt>
                <c:pt idx="32079">
                  <c:v>22.619359574951662</c:v>
                </c:pt>
                <c:pt idx="32080">
                  <c:v>25.902375739498162</c:v>
                </c:pt>
                <c:pt idx="32081">
                  <c:v>20.892945590894037</c:v>
                </c:pt>
                <c:pt idx="32082">
                  <c:v>27.522693797972444</c:v>
                </c:pt>
                <c:pt idx="32083">
                  <c:v>33.543807814476224</c:v>
                </c:pt>
                <c:pt idx="32084">
                  <c:v>25.96572451090011</c:v>
                </c:pt>
                <c:pt idx="32085">
                  <c:v>24.433660191801593</c:v>
                </c:pt>
                <c:pt idx="32086">
                  <c:v>27.408860880094643</c:v>
                </c:pt>
                <c:pt idx="32087">
                  <c:v>27.420833149326086</c:v>
                </c:pt>
                <c:pt idx="32088">
                  <c:v>29.41524122824789</c:v>
                </c:pt>
                <c:pt idx="32089">
                  <c:v>26.728155552448879</c:v>
                </c:pt>
                <c:pt idx="32090">
                  <c:v>40.117366053323195</c:v>
                </c:pt>
                <c:pt idx="32091">
                  <c:v>27.658747301690592</c:v>
                </c:pt>
                <c:pt idx="32092">
                  <c:v>24.600050374436769</c:v>
                </c:pt>
                <c:pt idx="32093">
                  <c:v>30.723753618528839</c:v>
                </c:pt>
                <c:pt idx="32094">
                  <c:v>52.790987891322303</c:v>
                </c:pt>
                <c:pt idx="32095">
                  <c:v>21.049921777472335</c:v>
                </c:pt>
                <c:pt idx="32096">
                  <c:v>28.962989855018375</c:v>
                </c:pt>
                <c:pt idx="32097">
                  <c:v>23.674117522159634</c:v>
                </c:pt>
                <c:pt idx="32098">
                  <c:v>39.334081917617262</c:v>
                </c:pt>
                <c:pt idx="32099">
                  <c:v>33.873562119240773</c:v>
                </c:pt>
                <c:pt idx="32100">
                  <c:v>21.617208131412557</c:v>
                </c:pt>
                <c:pt idx="32101">
                  <c:v>33.69199725927983</c:v>
                </c:pt>
                <c:pt idx="32102">
                  <c:v>31.748127750642787</c:v>
                </c:pt>
                <c:pt idx="32103">
                  <c:v>17.332686077151294</c:v>
                </c:pt>
                <c:pt idx="32104">
                  <c:v>51.243097036849129</c:v>
                </c:pt>
                <c:pt idx="32105">
                  <c:v>28.459153588396507</c:v>
                </c:pt>
                <c:pt idx="32106">
                  <c:v>32.391981152335802</c:v>
                </c:pt>
                <c:pt idx="32107">
                  <c:v>26.346720724406723</c:v>
                </c:pt>
                <c:pt idx="32108">
                  <c:v>33.875096869089639</c:v>
                </c:pt>
                <c:pt idx="32109">
                  <c:v>52.71492914456033</c:v>
                </c:pt>
                <c:pt idx="32110">
                  <c:v>27.377511039827574</c:v>
                </c:pt>
                <c:pt idx="32111">
                  <c:v>43.36254209825713</c:v>
                </c:pt>
                <c:pt idx="32112">
                  <c:v>38.723531697343361</c:v>
                </c:pt>
                <c:pt idx="32113">
                  <c:v>29.256161574927763</c:v>
                </c:pt>
                <c:pt idx="32114">
                  <c:v>31.624131707469694</c:v>
                </c:pt>
                <c:pt idx="32115">
                  <c:v>21.293583889854588</c:v>
                </c:pt>
                <c:pt idx="32116">
                  <c:v>23.428901934001392</c:v>
                </c:pt>
                <c:pt idx="32117">
                  <c:v>44.735246372898892</c:v>
                </c:pt>
                <c:pt idx="32118">
                  <c:v>23.017549388138761</c:v>
                </c:pt>
                <c:pt idx="32119">
                  <c:v>32.488264955910942</c:v>
                </c:pt>
                <c:pt idx="32120">
                  <c:v>32.824061131821196</c:v>
                </c:pt>
                <c:pt idx="32121">
                  <c:v>36.730386274549815</c:v>
                </c:pt>
                <c:pt idx="32122">
                  <c:v>23.169635959386085</c:v>
                </c:pt>
                <c:pt idx="32123">
                  <c:v>51.989542927974774</c:v>
                </c:pt>
                <c:pt idx="32124">
                  <c:v>32.929172319182321</c:v>
                </c:pt>
                <c:pt idx="32125">
                  <c:v>40.636176590407025</c:v>
                </c:pt>
                <c:pt idx="32126">
                  <c:v>28.701030701897935</c:v>
                </c:pt>
                <c:pt idx="32127">
                  <c:v>22.527856326248482</c:v>
                </c:pt>
                <c:pt idx="32128">
                  <c:v>22.084403334283301</c:v>
                </c:pt>
                <c:pt idx="32129">
                  <c:v>34.77038000132373</c:v>
                </c:pt>
                <c:pt idx="32130">
                  <c:v>24.411163321903388</c:v>
                </c:pt>
                <c:pt idx="32131">
                  <c:v>30.5610293257864</c:v>
                </c:pt>
                <c:pt idx="32132">
                  <c:v>35.677514488024343</c:v>
                </c:pt>
                <c:pt idx="32133">
                  <c:v>29.449051795212544</c:v>
                </c:pt>
                <c:pt idx="32134">
                  <c:v>48.334592691346401</c:v>
                </c:pt>
                <c:pt idx="32135">
                  <c:v>28.903371513682082</c:v>
                </c:pt>
                <c:pt idx="32136">
                  <c:v>39.575403135816302</c:v>
                </c:pt>
                <c:pt idx="32137">
                  <c:v>27.180320407853028</c:v>
                </c:pt>
                <c:pt idx="32138">
                  <c:v>31.920243412801234</c:v>
                </c:pt>
                <c:pt idx="32139">
                  <c:v>38.449072675779583</c:v>
                </c:pt>
                <c:pt idx="32140">
                  <c:v>23.606320810155623</c:v>
                </c:pt>
                <c:pt idx="32141">
                  <c:v>30.735626492207498</c:v>
                </c:pt>
                <c:pt idx="32142">
                  <c:v>37.670928390220027</c:v>
                </c:pt>
                <c:pt idx="32143">
                  <c:v>44.914275514938858</c:v>
                </c:pt>
                <c:pt idx="32144">
                  <c:v>28.934756978025202</c:v>
                </c:pt>
                <c:pt idx="32145">
                  <c:v>38.536094512173399</c:v>
                </c:pt>
                <c:pt idx="32146">
                  <c:v>19.192292493079353</c:v>
                </c:pt>
                <c:pt idx="32147">
                  <c:v>27.672352676314773</c:v>
                </c:pt>
                <c:pt idx="32148">
                  <c:v>25.53218073854465</c:v>
                </c:pt>
                <c:pt idx="32149">
                  <c:v>51.177394768465824</c:v>
                </c:pt>
                <c:pt idx="32150">
                  <c:v>25.74659864200628</c:v>
                </c:pt>
                <c:pt idx="32151">
                  <c:v>27.246276465882929</c:v>
                </c:pt>
                <c:pt idx="32152">
                  <c:v>22.562458790887444</c:v>
                </c:pt>
                <c:pt idx="32153">
                  <c:v>19.136697181371147</c:v>
                </c:pt>
                <c:pt idx="32154">
                  <c:v>31.280949989519499</c:v>
                </c:pt>
                <c:pt idx="32155">
                  <c:v>25.702016697511702</c:v>
                </c:pt>
                <c:pt idx="32156">
                  <c:v>24.071538534958563</c:v>
                </c:pt>
                <c:pt idx="32157">
                  <c:v>26.538492087310399</c:v>
                </c:pt>
                <c:pt idx="32158">
                  <c:v>47.186230446030685</c:v>
                </c:pt>
                <c:pt idx="32159">
                  <c:v>39.589711677230817</c:v>
                </c:pt>
                <c:pt idx="32160">
                  <c:v>31.99848345247819</c:v>
                </c:pt>
                <c:pt idx="32161">
                  <c:v>51.531697005953667</c:v>
                </c:pt>
                <c:pt idx="32162">
                  <c:v>23.968354173277774</c:v>
                </c:pt>
                <c:pt idx="32163">
                  <c:v>44.096192774430804</c:v>
                </c:pt>
                <c:pt idx="32164">
                  <c:v>25.078215722958188</c:v>
                </c:pt>
                <c:pt idx="32165">
                  <c:v>26.161516678383251</c:v>
                </c:pt>
                <c:pt idx="32166">
                  <c:v>44.381739574812563</c:v>
                </c:pt>
                <c:pt idx="32167">
                  <c:v>23.604068930015991</c:v>
                </c:pt>
                <c:pt idx="32168">
                  <c:v>25.317846377516879</c:v>
                </c:pt>
                <c:pt idx="32169">
                  <c:v>25.611712484608656</c:v>
                </c:pt>
                <c:pt idx="32170">
                  <c:v>30.921251601199394</c:v>
                </c:pt>
                <c:pt idx="32171">
                  <c:v>33.400144336798846</c:v>
                </c:pt>
                <c:pt idx="32172">
                  <c:v>32.562704840901944</c:v>
                </c:pt>
                <c:pt idx="32173">
                  <c:v>46.662369434323011</c:v>
                </c:pt>
                <c:pt idx="32174">
                  <c:v>43.203553644631008</c:v>
                </c:pt>
                <c:pt idx="32175">
                  <c:v>35.132219604531478</c:v>
                </c:pt>
                <c:pt idx="32176">
                  <c:v>39.361613013391498</c:v>
                </c:pt>
                <c:pt idx="32177">
                  <c:v>44.588397241334299</c:v>
                </c:pt>
                <c:pt idx="32178">
                  <c:v>54.808786299406222</c:v>
                </c:pt>
                <c:pt idx="32179">
                  <c:v>27.767560729470532</c:v>
                </c:pt>
                <c:pt idx="32180">
                  <c:v>25.248373002537637</c:v>
                </c:pt>
                <c:pt idx="32181">
                  <c:v>19.076827395864054</c:v>
                </c:pt>
                <c:pt idx="32182">
                  <c:v>29.164950967015564</c:v>
                </c:pt>
                <c:pt idx="32183">
                  <c:v>35.332387022927172</c:v>
                </c:pt>
                <c:pt idx="32184">
                  <c:v>32.64049246536301</c:v>
                </c:pt>
                <c:pt idx="32185">
                  <c:v>35.012238687567425</c:v>
                </c:pt>
                <c:pt idx="32186">
                  <c:v>46.800226065022002</c:v>
                </c:pt>
                <c:pt idx="32187">
                  <c:v>34.614740972316227</c:v>
                </c:pt>
                <c:pt idx="32188">
                  <c:v>32.113385601421236</c:v>
                </c:pt>
                <c:pt idx="32189">
                  <c:v>31.093467712044117</c:v>
                </c:pt>
                <c:pt idx="32190">
                  <c:v>48.379315872505117</c:v>
                </c:pt>
                <c:pt idx="32191">
                  <c:v>20.349959892735473</c:v>
                </c:pt>
                <c:pt idx="32192">
                  <c:v>26.159203712719851</c:v>
                </c:pt>
                <c:pt idx="32193">
                  <c:v>46.761888813596464</c:v>
                </c:pt>
                <c:pt idx="32194">
                  <c:v>20.684263463866046</c:v>
                </c:pt>
                <c:pt idx="32195">
                  <c:v>26.274108020953079</c:v>
                </c:pt>
                <c:pt idx="32196">
                  <c:v>17.953927841155835</c:v>
                </c:pt>
                <c:pt idx="32197">
                  <c:v>21.499357609237968</c:v>
                </c:pt>
                <c:pt idx="32198">
                  <c:v>28.492175176012715</c:v>
                </c:pt>
                <c:pt idx="32199">
                  <c:v>48.120798430722814</c:v>
                </c:pt>
                <c:pt idx="32200">
                  <c:v>28.349907114587502</c:v>
                </c:pt>
                <c:pt idx="32201">
                  <c:v>31.653734918967423</c:v>
                </c:pt>
                <c:pt idx="32202">
                  <c:v>21.463410967021638</c:v>
                </c:pt>
                <c:pt idx="32203">
                  <c:v>29.474368054584531</c:v>
                </c:pt>
                <c:pt idx="32204">
                  <c:v>23.971708959423154</c:v>
                </c:pt>
                <c:pt idx="32205">
                  <c:v>26.41539926312209</c:v>
                </c:pt>
                <c:pt idx="32206">
                  <c:v>38.971097189294646</c:v>
                </c:pt>
                <c:pt idx="32207">
                  <c:v>25.264560466336555</c:v>
                </c:pt>
                <c:pt idx="32208">
                  <c:v>18.411799644015396</c:v>
                </c:pt>
                <c:pt idx="32209">
                  <c:v>44.988953240420599</c:v>
                </c:pt>
                <c:pt idx="32210">
                  <c:v>30.075372121119678</c:v>
                </c:pt>
                <c:pt idx="32211">
                  <c:v>20.197518794721361</c:v>
                </c:pt>
                <c:pt idx="32212">
                  <c:v>27.826380478367792</c:v>
                </c:pt>
                <c:pt idx="32213">
                  <c:v>47.205244778076384</c:v>
                </c:pt>
                <c:pt idx="32214">
                  <c:v>41.744767219372989</c:v>
                </c:pt>
                <c:pt idx="32215">
                  <c:v>34.079447788273995</c:v>
                </c:pt>
                <c:pt idx="32216">
                  <c:v>37.6732056909173</c:v>
                </c:pt>
                <c:pt idx="32217">
                  <c:v>17.813422114224942</c:v>
                </c:pt>
                <c:pt idx="32218">
                  <c:v>22.704514714772891</c:v>
                </c:pt>
                <c:pt idx="32219">
                  <c:v>42.795030849953186</c:v>
                </c:pt>
                <c:pt idx="32220">
                  <c:v>33.492066316076283</c:v>
                </c:pt>
                <c:pt idx="32221">
                  <c:v>29.581307215074126</c:v>
                </c:pt>
                <c:pt idx="32222">
                  <c:v>29.993338964367453</c:v>
                </c:pt>
                <c:pt idx="32223">
                  <c:v>30.032178248350515</c:v>
                </c:pt>
                <c:pt idx="32224">
                  <c:v>21.818326952535703</c:v>
                </c:pt>
                <c:pt idx="32225">
                  <c:v>52.739085340108822</c:v>
                </c:pt>
                <c:pt idx="32226">
                  <c:v>27.130203210048506</c:v>
                </c:pt>
                <c:pt idx="32227">
                  <c:v>27.559499959308759</c:v>
                </c:pt>
                <c:pt idx="32228">
                  <c:v>31.013246989016142</c:v>
                </c:pt>
                <c:pt idx="32229">
                  <c:v>29.736873131342556</c:v>
                </c:pt>
                <c:pt idx="32230">
                  <c:v>26.261460530933256</c:v>
                </c:pt>
                <c:pt idx="32231">
                  <c:v>26.2900953860293</c:v>
                </c:pt>
                <c:pt idx="32232">
                  <c:v>23.18663828046877</c:v>
                </c:pt>
                <c:pt idx="32233">
                  <c:v>18.08151842834538</c:v>
                </c:pt>
                <c:pt idx="32234">
                  <c:v>24.241745957794642</c:v>
                </c:pt>
                <c:pt idx="32235">
                  <c:v>34.422151425437242</c:v>
                </c:pt>
                <c:pt idx="32236">
                  <c:v>37.885727389220996</c:v>
                </c:pt>
                <c:pt idx="32237">
                  <c:v>32.43314244275922</c:v>
                </c:pt>
                <c:pt idx="32238">
                  <c:v>40.201357822696174</c:v>
                </c:pt>
                <c:pt idx="32239">
                  <c:v>22.836954323852702</c:v>
                </c:pt>
                <c:pt idx="32240">
                  <c:v>27.430896415267604</c:v>
                </c:pt>
                <c:pt idx="32241">
                  <c:v>27.261746614749711</c:v>
                </c:pt>
                <c:pt idx="32242">
                  <c:v>32.001368173695596</c:v>
                </c:pt>
                <c:pt idx="32243">
                  <c:v>69.279672219073774</c:v>
                </c:pt>
                <c:pt idx="32244">
                  <c:v>24.745378216583578</c:v>
                </c:pt>
                <c:pt idx="32245">
                  <c:v>23.372594067980156</c:v>
                </c:pt>
                <c:pt idx="32246">
                  <c:v>22.3892181524146</c:v>
                </c:pt>
                <c:pt idx="32247">
                  <c:v>30.345309106053726</c:v>
                </c:pt>
                <c:pt idx="32248">
                  <c:v>27.811588253106386</c:v>
                </c:pt>
                <c:pt idx="32249">
                  <c:v>19.79357585740523</c:v>
                </c:pt>
                <c:pt idx="32250">
                  <c:v>28.570420993137859</c:v>
                </c:pt>
                <c:pt idx="32251">
                  <c:v>31.282028542060772</c:v>
                </c:pt>
                <c:pt idx="32252">
                  <c:v>29.072774140741409</c:v>
                </c:pt>
                <c:pt idx="32253">
                  <c:v>30.196265372890004</c:v>
                </c:pt>
                <c:pt idx="32254">
                  <c:v>25.736293488061815</c:v>
                </c:pt>
                <c:pt idx="32255">
                  <c:v>29.175249263084844</c:v>
                </c:pt>
                <c:pt idx="32256">
                  <c:v>55.017421417435621</c:v>
                </c:pt>
                <c:pt idx="32257">
                  <c:v>41.312155615929143</c:v>
                </c:pt>
                <c:pt idx="32258">
                  <c:v>25.001574774149482</c:v>
                </c:pt>
                <c:pt idx="32259">
                  <c:v>59.193116328100885</c:v>
                </c:pt>
                <c:pt idx="32260">
                  <c:v>21.478994547854739</c:v>
                </c:pt>
                <c:pt idx="32261">
                  <c:v>21.783877217461239</c:v>
                </c:pt>
                <c:pt idx="32262">
                  <c:v>25.845504505914999</c:v>
                </c:pt>
                <c:pt idx="32263">
                  <c:v>31.315411583205353</c:v>
                </c:pt>
                <c:pt idx="32264">
                  <c:v>17.01251664935382</c:v>
                </c:pt>
                <c:pt idx="32265">
                  <c:v>45.17378481620532</c:v>
                </c:pt>
                <c:pt idx="32266">
                  <c:v>28.213074177154365</c:v>
                </c:pt>
                <c:pt idx="32267">
                  <c:v>21.42365310307688</c:v>
                </c:pt>
                <c:pt idx="32268">
                  <c:v>41.969155752752698</c:v>
                </c:pt>
                <c:pt idx="32269">
                  <c:v>22.122453512071182</c:v>
                </c:pt>
                <c:pt idx="32270">
                  <c:v>24.964711097485068</c:v>
                </c:pt>
                <c:pt idx="32271">
                  <c:v>18.013201139968245</c:v>
                </c:pt>
                <c:pt idx="32272">
                  <c:v>25.2312015020693</c:v>
                </c:pt>
                <c:pt idx="32273">
                  <c:v>26.133730791426</c:v>
                </c:pt>
                <c:pt idx="32274">
                  <c:v>43.083179882144961</c:v>
                </c:pt>
                <c:pt idx="32275">
                  <c:v>24.402302007110112</c:v>
                </c:pt>
                <c:pt idx="32276">
                  <c:v>27.795569119689503</c:v>
                </c:pt>
                <c:pt idx="32277">
                  <c:v>49.172230403853092</c:v>
                </c:pt>
                <c:pt idx="32278">
                  <c:v>23.507088719898867</c:v>
                </c:pt>
                <c:pt idx="32279">
                  <c:v>27.228869596924124</c:v>
                </c:pt>
                <c:pt idx="32280">
                  <c:v>22.983613083989908</c:v>
                </c:pt>
                <c:pt idx="32281">
                  <c:v>53.877094205731517</c:v>
                </c:pt>
                <c:pt idx="32282">
                  <c:v>28.94665506560732</c:v>
                </c:pt>
                <c:pt idx="32283">
                  <c:v>40.468320752585193</c:v>
                </c:pt>
                <c:pt idx="32284">
                  <c:v>21.667327107690614</c:v>
                </c:pt>
                <c:pt idx="32285">
                  <c:v>37.165967755443418</c:v>
                </c:pt>
                <c:pt idx="32286">
                  <c:v>47.138176621447798</c:v>
                </c:pt>
                <c:pt idx="32287">
                  <c:v>22.782635708847316</c:v>
                </c:pt>
                <c:pt idx="32288">
                  <c:v>26.97249095386357</c:v>
                </c:pt>
                <c:pt idx="32289">
                  <c:v>41.84157685663493</c:v>
                </c:pt>
                <c:pt idx="32290">
                  <c:v>26.33075810402261</c:v>
                </c:pt>
                <c:pt idx="32291">
                  <c:v>33.027667158239495</c:v>
                </c:pt>
                <c:pt idx="32292">
                  <c:v>30.669964520448577</c:v>
                </c:pt>
                <c:pt idx="32293">
                  <c:v>56.956717398284432</c:v>
                </c:pt>
                <c:pt idx="32294">
                  <c:v>51.374329837630995</c:v>
                </c:pt>
                <c:pt idx="32295">
                  <c:v>31.555651618346985</c:v>
                </c:pt>
                <c:pt idx="32296">
                  <c:v>26.854659404387572</c:v>
                </c:pt>
                <c:pt idx="32297">
                  <c:v>29.511056922126322</c:v>
                </c:pt>
                <c:pt idx="32298">
                  <c:v>38.116044629962886</c:v>
                </c:pt>
                <c:pt idx="32299">
                  <c:v>24.124981653105912</c:v>
                </c:pt>
                <c:pt idx="32300">
                  <c:v>35.411255803915239</c:v>
                </c:pt>
                <c:pt idx="32301">
                  <c:v>47.757960760084742</c:v>
                </c:pt>
                <c:pt idx="32302">
                  <c:v>56.58543702001613</c:v>
                </c:pt>
                <c:pt idx="32303">
                  <c:v>55.497336168954433</c:v>
                </c:pt>
                <c:pt idx="32304">
                  <c:v>31.828640178151481</c:v>
                </c:pt>
                <c:pt idx="32305">
                  <c:v>54.46601311005584</c:v>
                </c:pt>
                <c:pt idx="32306">
                  <c:v>23.616812520568132</c:v>
                </c:pt>
                <c:pt idx="32307">
                  <c:v>29.519075057209086</c:v>
                </c:pt>
                <c:pt idx="32308">
                  <c:v>23.402462750524577</c:v>
                </c:pt>
                <c:pt idx="32309">
                  <c:v>34.795415325570062</c:v>
                </c:pt>
                <c:pt idx="32310">
                  <c:v>27.228722386468007</c:v>
                </c:pt>
                <c:pt idx="32311">
                  <c:v>57.884407446489178</c:v>
                </c:pt>
                <c:pt idx="32312">
                  <c:v>19.373403373895478</c:v>
                </c:pt>
                <c:pt idx="32313">
                  <c:v>30.631407775767695</c:v>
                </c:pt>
                <c:pt idx="32314">
                  <c:v>40.01158471465412</c:v>
                </c:pt>
                <c:pt idx="32315">
                  <c:v>28.99131875725914</c:v>
                </c:pt>
                <c:pt idx="32316">
                  <c:v>25.473629895955426</c:v>
                </c:pt>
                <c:pt idx="32317">
                  <c:v>19.591735735194248</c:v>
                </c:pt>
                <c:pt idx="32318">
                  <c:v>19.674663874026646</c:v>
                </c:pt>
                <c:pt idx="32319">
                  <c:v>21.336881400687123</c:v>
                </c:pt>
                <c:pt idx="32320">
                  <c:v>46.150509826625608</c:v>
                </c:pt>
                <c:pt idx="32321">
                  <c:v>32.433910195228449</c:v>
                </c:pt>
                <c:pt idx="32322">
                  <c:v>27.888702692607119</c:v>
                </c:pt>
                <c:pt idx="32323">
                  <c:v>25.088333143829647</c:v>
                </c:pt>
                <c:pt idx="32324">
                  <c:v>35.4852294940249</c:v>
                </c:pt>
                <c:pt idx="32325">
                  <c:v>21.657978192779645</c:v>
                </c:pt>
                <c:pt idx="32326">
                  <c:v>28.397279103748531</c:v>
                </c:pt>
                <c:pt idx="32327">
                  <c:v>31.79033766155694</c:v>
                </c:pt>
                <c:pt idx="32328">
                  <c:v>45.705611267861492</c:v>
                </c:pt>
                <c:pt idx="32329">
                  <c:v>34.493462025737195</c:v>
                </c:pt>
                <c:pt idx="32330">
                  <c:v>46.01453084048125</c:v>
                </c:pt>
                <c:pt idx="32331">
                  <c:v>40.657508491613271</c:v>
                </c:pt>
                <c:pt idx="32332">
                  <c:v>26.004973093377714</c:v>
                </c:pt>
                <c:pt idx="32333">
                  <c:v>23.69664898105254</c:v>
                </c:pt>
                <c:pt idx="32334">
                  <c:v>27.80472928021512</c:v>
                </c:pt>
                <c:pt idx="32335">
                  <c:v>23.823977469107909</c:v>
                </c:pt>
                <c:pt idx="32336">
                  <c:v>45.349792503058239</c:v>
                </c:pt>
                <c:pt idx="32337">
                  <c:v>24.069853390689278</c:v>
                </c:pt>
                <c:pt idx="32338">
                  <c:v>34.401673245249576</c:v>
                </c:pt>
                <c:pt idx="32339">
                  <c:v>24.364175791019292</c:v>
                </c:pt>
                <c:pt idx="32340">
                  <c:v>34.351074148775012</c:v>
                </c:pt>
                <c:pt idx="32341">
                  <c:v>23.95028021939676</c:v>
                </c:pt>
                <c:pt idx="32342">
                  <c:v>30.148054834646999</c:v>
                </c:pt>
                <c:pt idx="32343">
                  <c:v>30.194255700777006</c:v>
                </c:pt>
                <c:pt idx="32344">
                  <c:v>50.501157010094673</c:v>
                </c:pt>
                <c:pt idx="32345">
                  <c:v>28.366214286155252</c:v>
                </c:pt>
                <c:pt idx="32346">
                  <c:v>32.973147614477369</c:v>
                </c:pt>
                <c:pt idx="32347">
                  <c:v>46.287661013387591</c:v>
                </c:pt>
                <c:pt idx="32348">
                  <c:v>23.151069534606577</c:v>
                </c:pt>
                <c:pt idx="32349">
                  <c:v>24.670363845944149</c:v>
                </c:pt>
                <c:pt idx="32350">
                  <c:v>27.139742040530226</c:v>
                </c:pt>
                <c:pt idx="32351">
                  <c:v>45.452011448016492</c:v>
                </c:pt>
                <c:pt idx="32352">
                  <c:v>22.770588984854882</c:v>
                </c:pt>
                <c:pt idx="32353">
                  <c:v>22.269491557094305</c:v>
                </c:pt>
                <c:pt idx="32354">
                  <c:v>29.779256338403705</c:v>
                </c:pt>
                <c:pt idx="32355">
                  <c:v>26.194905977828409</c:v>
                </c:pt>
                <c:pt idx="32356">
                  <c:v>20.466926713340843</c:v>
                </c:pt>
                <c:pt idx="32357">
                  <c:v>15.583705260045182</c:v>
                </c:pt>
                <c:pt idx="32358">
                  <c:v>36.830025210614551</c:v>
                </c:pt>
                <c:pt idx="32359">
                  <c:v>25.802558265107859</c:v>
                </c:pt>
                <c:pt idx="32360">
                  <c:v>36.025719049403087</c:v>
                </c:pt>
                <c:pt idx="32361">
                  <c:v>34.904479409218524</c:v>
                </c:pt>
                <c:pt idx="32362">
                  <c:v>32.678809672682355</c:v>
                </c:pt>
                <c:pt idx="32363">
                  <c:v>56.157664020933495</c:v>
                </c:pt>
                <c:pt idx="32364">
                  <c:v>22.446692855778743</c:v>
                </c:pt>
                <c:pt idx="32365">
                  <c:v>24.551385378775418</c:v>
                </c:pt>
                <c:pt idx="32366">
                  <c:v>31.298332490374229</c:v>
                </c:pt>
                <c:pt idx="32367">
                  <c:v>28.589648606568097</c:v>
                </c:pt>
                <c:pt idx="32368">
                  <c:v>30.267343700984362</c:v>
                </c:pt>
                <c:pt idx="32369">
                  <c:v>27.592399226636935</c:v>
                </c:pt>
                <c:pt idx="32370">
                  <c:v>30.096911282910987</c:v>
                </c:pt>
                <c:pt idx="32371">
                  <c:v>23.936827436419023</c:v>
                </c:pt>
                <c:pt idx="32372">
                  <c:v>26.483488935817775</c:v>
                </c:pt>
                <c:pt idx="32373">
                  <c:v>52.034368193662665</c:v>
                </c:pt>
                <c:pt idx="32374">
                  <c:v>24.878218495239331</c:v>
                </c:pt>
                <c:pt idx="32375">
                  <c:v>23.144174626178476</c:v>
                </c:pt>
                <c:pt idx="32376">
                  <c:v>30.996157784746849</c:v>
                </c:pt>
                <c:pt idx="32377">
                  <c:v>34.088872193916558</c:v>
                </c:pt>
                <c:pt idx="32378">
                  <c:v>32.743395736967578</c:v>
                </c:pt>
                <c:pt idx="32379">
                  <c:v>28.050894898251968</c:v>
                </c:pt>
                <c:pt idx="32380">
                  <c:v>23.67580602898699</c:v>
                </c:pt>
                <c:pt idx="32381">
                  <c:v>23.226588441420535</c:v>
                </c:pt>
                <c:pt idx="32382">
                  <c:v>25.813353623002342</c:v>
                </c:pt>
                <c:pt idx="32383">
                  <c:v>30.811758326684831</c:v>
                </c:pt>
                <c:pt idx="32384">
                  <c:v>23.87977883483773</c:v>
                </c:pt>
                <c:pt idx="32385">
                  <c:v>32.328428989583777</c:v>
                </c:pt>
                <c:pt idx="32386">
                  <c:v>30.944791886025328</c:v>
                </c:pt>
                <c:pt idx="32387">
                  <c:v>33.357258090314538</c:v>
                </c:pt>
                <c:pt idx="32388">
                  <c:v>46.032827697237138</c:v>
                </c:pt>
                <c:pt idx="32389">
                  <c:v>26.668561369052199</c:v>
                </c:pt>
                <c:pt idx="32390">
                  <c:v>29.569926376909397</c:v>
                </c:pt>
                <c:pt idx="32391">
                  <c:v>26.803391818892287</c:v>
                </c:pt>
                <c:pt idx="32392">
                  <c:v>27.616370131601066</c:v>
                </c:pt>
                <c:pt idx="32393">
                  <c:v>35.758063758246273</c:v>
                </c:pt>
                <c:pt idx="32394">
                  <c:v>33.590674509668858</c:v>
                </c:pt>
                <c:pt idx="32395">
                  <c:v>49.066731293079954</c:v>
                </c:pt>
                <c:pt idx="32396">
                  <c:v>34.342645365950169</c:v>
                </c:pt>
                <c:pt idx="32397">
                  <c:v>45.486667735662415</c:v>
                </c:pt>
                <c:pt idx="32398">
                  <c:v>22.880510348101698</c:v>
                </c:pt>
                <c:pt idx="32399">
                  <c:v>26.94415368263342</c:v>
                </c:pt>
                <c:pt idx="32400">
                  <c:v>25.097226058386482</c:v>
                </c:pt>
                <c:pt idx="32401">
                  <c:v>21.227200385087173</c:v>
                </c:pt>
                <c:pt idx="32402">
                  <c:v>18.118566540574534</c:v>
                </c:pt>
                <c:pt idx="32403">
                  <c:v>29.094575295584249</c:v>
                </c:pt>
                <c:pt idx="32404">
                  <c:v>34.656249254602642</c:v>
                </c:pt>
                <c:pt idx="32405">
                  <c:v>39.657912242790445</c:v>
                </c:pt>
                <c:pt idx="32406">
                  <c:v>45.226640846175449</c:v>
                </c:pt>
                <c:pt idx="32407">
                  <c:v>34.342611192533099</c:v>
                </c:pt>
                <c:pt idx="32408">
                  <c:v>58.293270007022372</c:v>
                </c:pt>
                <c:pt idx="32409">
                  <c:v>26.866320827659944</c:v>
                </c:pt>
                <c:pt idx="32410">
                  <c:v>27.082704553404852</c:v>
                </c:pt>
                <c:pt idx="32411">
                  <c:v>18.412674543454855</c:v>
                </c:pt>
                <c:pt idx="32412">
                  <c:v>40.628210174527091</c:v>
                </c:pt>
                <c:pt idx="32413">
                  <c:v>40.468802462061589</c:v>
                </c:pt>
                <c:pt idx="32414">
                  <c:v>28.837651446071614</c:v>
                </c:pt>
                <c:pt idx="32415">
                  <c:v>30.655301389316577</c:v>
                </c:pt>
                <c:pt idx="32416">
                  <c:v>44.929696467716873</c:v>
                </c:pt>
                <c:pt idx="32417">
                  <c:v>52.857122819895345</c:v>
                </c:pt>
                <c:pt idx="32418">
                  <c:v>38.719194556767086</c:v>
                </c:pt>
                <c:pt idx="32419">
                  <c:v>27.773026468517358</c:v>
                </c:pt>
                <c:pt idx="32420">
                  <c:v>33.449916676910391</c:v>
                </c:pt>
                <c:pt idx="32421">
                  <c:v>27.268411224488425</c:v>
                </c:pt>
                <c:pt idx="32422">
                  <c:v>25.48387821273511</c:v>
                </c:pt>
                <c:pt idx="32423">
                  <c:v>33.427529014361696</c:v>
                </c:pt>
                <c:pt idx="32424">
                  <c:v>24.00554426849282</c:v>
                </c:pt>
                <c:pt idx="32425">
                  <c:v>52.29070370987597</c:v>
                </c:pt>
                <c:pt idx="32426">
                  <c:v>29.683884977802141</c:v>
                </c:pt>
                <c:pt idx="32427">
                  <c:v>26.217648429254822</c:v>
                </c:pt>
                <c:pt idx="32428">
                  <c:v>24.532167238734061</c:v>
                </c:pt>
                <c:pt idx="32429">
                  <c:v>26.512753649677034</c:v>
                </c:pt>
                <c:pt idx="32430">
                  <c:v>34.141841807706918</c:v>
                </c:pt>
                <c:pt idx="32431">
                  <c:v>29.499067866227104</c:v>
                </c:pt>
                <c:pt idx="32432">
                  <c:v>22.680238350810122</c:v>
                </c:pt>
                <c:pt idx="32433">
                  <c:v>39.214916555715497</c:v>
                </c:pt>
                <c:pt idx="32434">
                  <c:v>43.304537238543489</c:v>
                </c:pt>
                <c:pt idx="32435">
                  <c:v>26.096658502641979</c:v>
                </c:pt>
                <c:pt idx="32436">
                  <c:v>38.463388821696356</c:v>
                </c:pt>
                <c:pt idx="32437">
                  <c:v>27.245790032682031</c:v>
                </c:pt>
                <c:pt idx="32438">
                  <c:v>25.937556231411758</c:v>
                </c:pt>
                <c:pt idx="32439">
                  <c:v>25.489004688743453</c:v>
                </c:pt>
                <c:pt idx="32440">
                  <c:v>21.816100977417722</c:v>
                </c:pt>
                <c:pt idx="32441">
                  <c:v>47.961269853115915</c:v>
                </c:pt>
                <c:pt idx="32442">
                  <c:v>25.728246601616299</c:v>
                </c:pt>
                <c:pt idx="32443">
                  <c:v>31.275849059324798</c:v>
                </c:pt>
                <c:pt idx="32444">
                  <c:v>25.869539390231004</c:v>
                </c:pt>
                <c:pt idx="32445">
                  <c:v>24.228184581240299</c:v>
                </c:pt>
                <c:pt idx="32446">
                  <c:v>31.891126900009162</c:v>
                </c:pt>
                <c:pt idx="32447">
                  <c:v>43.525378456147614</c:v>
                </c:pt>
                <c:pt idx="32448">
                  <c:v>26.730326757715659</c:v>
                </c:pt>
                <c:pt idx="32449">
                  <c:v>30.599789313336952</c:v>
                </c:pt>
                <c:pt idx="32450">
                  <c:v>44.635514776764978</c:v>
                </c:pt>
                <c:pt idx="32451">
                  <c:v>29.174711172951358</c:v>
                </c:pt>
                <c:pt idx="32452">
                  <c:v>20.028440575965028</c:v>
                </c:pt>
                <c:pt idx="32453">
                  <c:v>21.893816474888503</c:v>
                </c:pt>
                <c:pt idx="32454">
                  <c:v>60.536826646408947</c:v>
                </c:pt>
                <c:pt idx="32455">
                  <c:v>30.051013056441462</c:v>
                </c:pt>
                <c:pt idx="32456">
                  <c:v>22.917873150292387</c:v>
                </c:pt>
                <c:pt idx="32457">
                  <c:v>31.328684206067869</c:v>
                </c:pt>
                <c:pt idx="32458">
                  <c:v>28.719416452744994</c:v>
                </c:pt>
                <c:pt idx="32459">
                  <c:v>50.581568709440504</c:v>
                </c:pt>
                <c:pt idx="32460">
                  <c:v>25.553794654558168</c:v>
                </c:pt>
                <c:pt idx="32461">
                  <c:v>25.109974559330883</c:v>
                </c:pt>
                <c:pt idx="32462">
                  <c:v>20.7464216314354</c:v>
                </c:pt>
                <c:pt idx="32463">
                  <c:v>27.036463933508752</c:v>
                </c:pt>
                <c:pt idx="32464">
                  <c:v>26.954194912784381</c:v>
                </c:pt>
                <c:pt idx="32465">
                  <c:v>39.658875980059697</c:v>
                </c:pt>
                <c:pt idx="32466">
                  <c:v>26.953612140102564</c:v>
                </c:pt>
                <c:pt idx="32467">
                  <c:v>31.569061903521746</c:v>
                </c:pt>
                <c:pt idx="32468">
                  <c:v>33.873248313052493</c:v>
                </c:pt>
                <c:pt idx="32469">
                  <c:v>28.320931762668394</c:v>
                </c:pt>
                <c:pt idx="32470">
                  <c:v>30.032556076163743</c:v>
                </c:pt>
                <c:pt idx="32471">
                  <c:v>21.435147252900514</c:v>
                </c:pt>
                <c:pt idx="32472">
                  <c:v>21.879051939733078</c:v>
                </c:pt>
                <c:pt idx="32473">
                  <c:v>44.156567115586384</c:v>
                </c:pt>
                <c:pt idx="32474">
                  <c:v>27.967379572302743</c:v>
                </c:pt>
                <c:pt idx="32475">
                  <c:v>22.453608429391011</c:v>
                </c:pt>
                <c:pt idx="32476">
                  <c:v>21.557704822492052</c:v>
                </c:pt>
                <c:pt idx="32477">
                  <c:v>24.287802868347732</c:v>
                </c:pt>
                <c:pt idx="32478">
                  <c:v>28.508094940315754</c:v>
                </c:pt>
                <c:pt idx="32479">
                  <c:v>28.419755341326603</c:v>
                </c:pt>
                <c:pt idx="32480">
                  <c:v>22.708262687875251</c:v>
                </c:pt>
                <c:pt idx="32481">
                  <c:v>28.211295079474404</c:v>
                </c:pt>
                <c:pt idx="32482">
                  <c:v>38.242449396546924</c:v>
                </c:pt>
                <c:pt idx="32483">
                  <c:v>18.09232943846094</c:v>
                </c:pt>
                <c:pt idx="32484">
                  <c:v>54.84903848405029</c:v>
                </c:pt>
                <c:pt idx="32485">
                  <c:v>13.179503422499186</c:v>
                </c:pt>
                <c:pt idx="32486">
                  <c:v>27.694769838543468</c:v>
                </c:pt>
                <c:pt idx="32487">
                  <c:v>25.746311630453153</c:v>
                </c:pt>
                <c:pt idx="32488">
                  <c:v>24.563337557048737</c:v>
                </c:pt>
                <c:pt idx="32489">
                  <c:v>28.804649323838902</c:v>
                </c:pt>
                <c:pt idx="32490">
                  <c:v>31.621939818921287</c:v>
                </c:pt>
                <c:pt idx="32491">
                  <c:v>51.858630098171261</c:v>
                </c:pt>
                <c:pt idx="32492">
                  <c:v>29.725278699731646</c:v>
                </c:pt>
                <c:pt idx="32493">
                  <c:v>26.263821887766113</c:v>
                </c:pt>
                <c:pt idx="32494">
                  <c:v>24.814469982079697</c:v>
                </c:pt>
                <c:pt idx="32495">
                  <c:v>22.106745252324238</c:v>
                </c:pt>
                <c:pt idx="32496">
                  <c:v>21.427967132452345</c:v>
                </c:pt>
                <c:pt idx="32497">
                  <c:v>57.714347100556267</c:v>
                </c:pt>
                <c:pt idx="32498">
                  <c:v>50.464366938481227</c:v>
                </c:pt>
                <c:pt idx="32499">
                  <c:v>27.066477480785835</c:v>
                </c:pt>
                <c:pt idx="32500">
                  <c:v>43.688387769936938</c:v>
                </c:pt>
                <c:pt idx="32501">
                  <c:v>23.598071170292528</c:v>
                </c:pt>
                <c:pt idx="32502">
                  <c:v>23.043013372269357</c:v>
                </c:pt>
                <c:pt idx="32503">
                  <c:v>25.897130678356859</c:v>
                </c:pt>
                <c:pt idx="32504">
                  <c:v>24.118579387270614</c:v>
                </c:pt>
                <c:pt idx="32505">
                  <c:v>26.202808545777234</c:v>
                </c:pt>
                <c:pt idx="32506">
                  <c:v>18.026466398617327</c:v>
                </c:pt>
                <c:pt idx="32507">
                  <c:v>55.300282031565793</c:v>
                </c:pt>
                <c:pt idx="32508">
                  <c:v>27.956489629544265</c:v>
                </c:pt>
                <c:pt idx="32509">
                  <c:v>22.118456340865315</c:v>
                </c:pt>
                <c:pt idx="32510">
                  <c:v>30.53802105917536</c:v>
                </c:pt>
                <c:pt idx="32511">
                  <c:v>26.204624776488807</c:v>
                </c:pt>
                <c:pt idx="32512">
                  <c:v>32.109281028648056</c:v>
                </c:pt>
                <c:pt idx="32513">
                  <c:v>28.940249451428276</c:v>
                </c:pt>
                <c:pt idx="32514">
                  <c:v>55.07836985134562</c:v>
                </c:pt>
                <c:pt idx="32515">
                  <c:v>36.265747299398761</c:v>
                </c:pt>
                <c:pt idx="32516">
                  <c:v>24.972069555027467</c:v>
                </c:pt>
                <c:pt idx="32517">
                  <c:v>57.623257410530549</c:v>
                </c:pt>
                <c:pt idx="32518">
                  <c:v>23.234494249472828</c:v>
                </c:pt>
                <c:pt idx="32519">
                  <c:v>24.650894969284078</c:v>
                </c:pt>
                <c:pt idx="32520">
                  <c:v>24.764089300392325</c:v>
                </c:pt>
                <c:pt idx="32521">
                  <c:v>41.936294290382918</c:v>
                </c:pt>
                <c:pt idx="32522">
                  <c:v>40.723009300183072</c:v>
                </c:pt>
                <c:pt idx="32523">
                  <c:v>52.519162559322368</c:v>
                </c:pt>
                <c:pt idx="32524">
                  <c:v>25.28465265413427</c:v>
                </c:pt>
                <c:pt idx="32525">
                  <c:v>23.702758285143368</c:v>
                </c:pt>
                <c:pt idx="32526">
                  <c:v>38.697139618174191</c:v>
                </c:pt>
                <c:pt idx="32527">
                  <c:v>33.218893459686697</c:v>
                </c:pt>
                <c:pt idx="32528">
                  <c:v>31.837622100256077</c:v>
                </c:pt>
                <c:pt idx="32529">
                  <c:v>26.30997658510838</c:v>
                </c:pt>
                <c:pt idx="32530">
                  <c:v>32.878003295083865</c:v>
                </c:pt>
                <c:pt idx="32531">
                  <c:v>28.822760662067104</c:v>
                </c:pt>
                <c:pt idx="32532">
                  <c:v>32.609815721972254</c:v>
                </c:pt>
                <c:pt idx="32533">
                  <c:v>41.758816664533668</c:v>
                </c:pt>
                <c:pt idx="32534">
                  <c:v>55.331384612291842</c:v>
                </c:pt>
                <c:pt idx="32535">
                  <c:v>28.584218141772354</c:v>
                </c:pt>
                <c:pt idx="32536">
                  <c:v>27.397921683059117</c:v>
                </c:pt>
                <c:pt idx="32537">
                  <c:v>19.057650710815949</c:v>
                </c:pt>
                <c:pt idx="32538">
                  <c:v>22.111985359523082</c:v>
                </c:pt>
                <c:pt idx="32539">
                  <c:v>16.206745779337602</c:v>
                </c:pt>
                <c:pt idx="32540">
                  <c:v>16.003966168739314</c:v>
                </c:pt>
                <c:pt idx="32541">
                  <c:v>36.745783803925335</c:v>
                </c:pt>
                <c:pt idx="32542">
                  <c:v>25.248911909108919</c:v>
                </c:pt>
                <c:pt idx="32543">
                  <c:v>26.563515107452893</c:v>
                </c:pt>
                <c:pt idx="32544">
                  <c:v>24.074237233905055</c:v>
                </c:pt>
                <c:pt idx="32545">
                  <c:v>22.204843421053418</c:v>
                </c:pt>
                <c:pt idx="32546">
                  <c:v>45.754974936053237</c:v>
                </c:pt>
                <c:pt idx="32547">
                  <c:v>27.346178894820632</c:v>
                </c:pt>
                <c:pt idx="32548">
                  <c:v>19.648609656857577</c:v>
                </c:pt>
                <c:pt idx="32549">
                  <c:v>22.715087740378035</c:v>
                </c:pt>
                <c:pt idx="32550">
                  <c:v>21.862826839524359</c:v>
                </c:pt>
                <c:pt idx="32551">
                  <c:v>32.503274495603037</c:v>
                </c:pt>
                <c:pt idx="32552">
                  <c:v>26.010221735008692</c:v>
                </c:pt>
                <c:pt idx="32553">
                  <c:v>22.014155771969357</c:v>
                </c:pt>
                <c:pt idx="32554">
                  <c:v>46.434247745001784</c:v>
                </c:pt>
                <c:pt idx="32555">
                  <c:v>21.531859866022742</c:v>
                </c:pt>
                <c:pt idx="32556">
                  <c:v>32.902630759648183</c:v>
                </c:pt>
                <c:pt idx="32557">
                  <c:v>30.298932381372417</c:v>
                </c:pt>
                <c:pt idx="32558">
                  <c:v>30.138307167057647</c:v>
                </c:pt>
                <c:pt idx="32559">
                  <c:v>32.584048261108109</c:v>
                </c:pt>
                <c:pt idx="32560">
                  <c:v>25.989492754129039</c:v>
                </c:pt>
                <c:pt idx="32561">
                  <c:v>25.344569081627299</c:v>
                </c:pt>
                <c:pt idx="32562">
                  <c:v>27.568805785078649</c:v>
                </c:pt>
                <c:pt idx="32563">
                  <c:v>24.432007592139179</c:v>
                </c:pt>
                <c:pt idx="32564">
                  <c:v>24.171284794367399</c:v>
                </c:pt>
                <c:pt idx="32565">
                  <c:v>31.912369061037207</c:v>
                </c:pt>
                <c:pt idx="32566">
                  <c:v>20.523239959478502</c:v>
                </c:pt>
                <c:pt idx="32567">
                  <c:v>48.242983808695563</c:v>
                </c:pt>
                <c:pt idx="32568">
                  <c:v>24.576364699945913</c:v>
                </c:pt>
                <c:pt idx="32569">
                  <c:v>43.794367569294792</c:v>
                </c:pt>
                <c:pt idx="32570">
                  <c:v>24.287436478260027</c:v>
                </c:pt>
                <c:pt idx="32571">
                  <c:v>26.854465435874168</c:v>
                </c:pt>
                <c:pt idx="32572">
                  <c:v>46.462792619237277</c:v>
                </c:pt>
                <c:pt idx="32573">
                  <c:v>28.948600593152229</c:v>
                </c:pt>
                <c:pt idx="32574">
                  <c:v>28.497453030907252</c:v>
                </c:pt>
                <c:pt idx="32575">
                  <c:v>39.286456529725143</c:v>
                </c:pt>
                <c:pt idx="32576">
                  <c:v>22.411231921676812</c:v>
                </c:pt>
                <c:pt idx="32577">
                  <c:v>47.799302749610334</c:v>
                </c:pt>
                <c:pt idx="32578">
                  <c:v>22.717982831467715</c:v>
                </c:pt>
                <c:pt idx="32579">
                  <c:v>22.379800388023153</c:v>
                </c:pt>
                <c:pt idx="32580">
                  <c:v>42.438147365880603</c:v>
                </c:pt>
                <c:pt idx="32581">
                  <c:v>52.049653422537624</c:v>
                </c:pt>
                <c:pt idx="32582">
                  <c:v>26.040450367717064</c:v>
                </c:pt>
                <c:pt idx="32583">
                  <c:v>26.040944573060603</c:v>
                </c:pt>
                <c:pt idx="32584">
                  <c:v>39.815640100075093</c:v>
                </c:pt>
                <c:pt idx="32585">
                  <c:v>28.841259065312126</c:v>
                </c:pt>
                <c:pt idx="32586">
                  <c:v>29.227683023461104</c:v>
                </c:pt>
                <c:pt idx="32587">
                  <c:v>28.759043214978462</c:v>
                </c:pt>
                <c:pt idx="32588">
                  <c:v>23.072464958279927</c:v>
                </c:pt>
                <c:pt idx="32589">
                  <c:v>51.034798933058269</c:v>
                </c:pt>
                <c:pt idx="32590">
                  <c:v>35.466070175939464</c:v>
                </c:pt>
                <c:pt idx="32591">
                  <c:v>21.422517312861583</c:v>
                </c:pt>
                <c:pt idx="32592">
                  <c:v>28.555434256030637</c:v>
                </c:pt>
                <c:pt idx="32593">
                  <c:v>21.522338720314099</c:v>
                </c:pt>
                <c:pt idx="32594">
                  <c:v>24.536951808306711</c:v>
                </c:pt>
                <c:pt idx="32595">
                  <c:v>30.453187527381683</c:v>
                </c:pt>
                <c:pt idx="32596">
                  <c:v>45.038809142325292</c:v>
                </c:pt>
                <c:pt idx="32597">
                  <c:v>27.587692318272072</c:v>
                </c:pt>
                <c:pt idx="32598">
                  <c:v>20.698822523993954</c:v>
                </c:pt>
                <c:pt idx="32599">
                  <c:v>24.459142978645264</c:v>
                </c:pt>
                <c:pt idx="32600">
                  <c:v>27.712804104232784</c:v>
                </c:pt>
                <c:pt idx="32601">
                  <c:v>23.505756784542903</c:v>
                </c:pt>
                <c:pt idx="32602">
                  <c:v>29.658299676179361</c:v>
                </c:pt>
                <c:pt idx="32603">
                  <c:v>51.141249513423745</c:v>
                </c:pt>
                <c:pt idx="32604">
                  <c:v>21.138726823043243</c:v>
                </c:pt>
                <c:pt idx="32605">
                  <c:v>24.391212750754807</c:v>
                </c:pt>
                <c:pt idx="32606">
                  <c:v>29.736488759032799</c:v>
                </c:pt>
                <c:pt idx="32607">
                  <c:v>16.864043512642404</c:v>
                </c:pt>
                <c:pt idx="32608">
                  <c:v>33.186597838524342</c:v>
                </c:pt>
                <c:pt idx="32609">
                  <c:v>49.139999343342708</c:v>
                </c:pt>
                <c:pt idx="32610">
                  <c:v>45.811869067982592</c:v>
                </c:pt>
                <c:pt idx="32611">
                  <c:v>27.346370281704115</c:v>
                </c:pt>
                <c:pt idx="32612">
                  <c:v>27.963178305947608</c:v>
                </c:pt>
                <c:pt idx="32613">
                  <c:v>21.291489375860209</c:v>
                </c:pt>
                <c:pt idx="32614">
                  <c:v>24.290827752082834</c:v>
                </c:pt>
                <c:pt idx="32615">
                  <c:v>16.666019963138162</c:v>
                </c:pt>
                <c:pt idx="32616">
                  <c:v>25.335127430694371</c:v>
                </c:pt>
                <c:pt idx="32617">
                  <c:v>25.083397573119207</c:v>
                </c:pt>
                <c:pt idx="32618">
                  <c:v>22.79880887248472</c:v>
                </c:pt>
                <c:pt idx="32619">
                  <c:v>29.741442611610253</c:v>
                </c:pt>
                <c:pt idx="32620">
                  <c:v>23.569186630569298</c:v>
                </c:pt>
                <c:pt idx="32621">
                  <c:v>22.586380173343592</c:v>
                </c:pt>
                <c:pt idx="32622">
                  <c:v>32.653948450079731</c:v>
                </c:pt>
                <c:pt idx="32623">
                  <c:v>23.771629034778854</c:v>
                </c:pt>
                <c:pt idx="32624">
                  <c:v>23.137440197531223</c:v>
                </c:pt>
                <c:pt idx="32625">
                  <c:v>20.00589016880177</c:v>
                </c:pt>
                <c:pt idx="32626">
                  <c:v>32.843860844567459</c:v>
                </c:pt>
                <c:pt idx="32627">
                  <c:v>23.025739615742012</c:v>
                </c:pt>
                <c:pt idx="32628">
                  <c:v>36.450487503570564</c:v>
                </c:pt>
                <c:pt idx="32629">
                  <c:v>28.00777533278179</c:v>
                </c:pt>
                <c:pt idx="32630">
                  <c:v>27.061405171828291</c:v>
                </c:pt>
                <c:pt idx="32631">
                  <c:v>51.182277459170542</c:v>
                </c:pt>
                <c:pt idx="32632">
                  <c:v>30.192560253334044</c:v>
                </c:pt>
                <c:pt idx="32633">
                  <c:v>24.370586530827072</c:v>
                </c:pt>
                <c:pt idx="32634">
                  <c:v>22.754496257734658</c:v>
                </c:pt>
                <c:pt idx="32635">
                  <c:v>42.487075350992072</c:v>
                </c:pt>
                <c:pt idx="32636">
                  <c:v>25.088741498153791</c:v>
                </c:pt>
                <c:pt idx="32637">
                  <c:v>22.151485284819856</c:v>
                </c:pt>
                <c:pt idx="32638">
                  <c:v>32.511449609562469</c:v>
                </c:pt>
                <c:pt idx="32639">
                  <c:v>22.971252588153146</c:v>
                </c:pt>
                <c:pt idx="32640">
                  <c:v>16.34444771536571</c:v>
                </c:pt>
                <c:pt idx="32641">
                  <c:v>27.492959783979018</c:v>
                </c:pt>
                <c:pt idx="32642">
                  <c:v>18.504385326549745</c:v>
                </c:pt>
                <c:pt idx="32643">
                  <c:v>25.922267793509718</c:v>
                </c:pt>
                <c:pt idx="32644">
                  <c:v>33.592701854647444</c:v>
                </c:pt>
                <c:pt idx="32645">
                  <c:v>58.261301935323104</c:v>
                </c:pt>
                <c:pt idx="32646">
                  <c:v>20.575409707800421</c:v>
                </c:pt>
                <c:pt idx="32647">
                  <c:v>35.989578068703949</c:v>
                </c:pt>
                <c:pt idx="32648">
                  <c:v>35.329457488161133</c:v>
                </c:pt>
                <c:pt idx="32649">
                  <c:v>20.093415885522042</c:v>
                </c:pt>
                <c:pt idx="32650">
                  <c:v>28.514576405030994</c:v>
                </c:pt>
                <c:pt idx="32651">
                  <c:v>46.061254273584787</c:v>
                </c:pt>
                <c:pt idx="32652">
                  <c:v>32.905059332217363</c:v>
                </c:pt>
                <c:pt idx="32653">
                  <c:v>45.730054486424621</c:v>
                </c:pt>
                <c:pt idx="32654">
                  <c:v>28.051118192605163</c:v>
                </c:pt>
                <c:pt idx="32655">
                  <c:v>42.276707024080437</c:v>
                </c:pt>
                <c:pt idx="32656">
                  <c:v>33.750098402320923</c:v>
                </c:pt>
                <c:pt idx="32657">
                  <c:v>30.536470265806063</c:v>
                </c:pt>
                <c:pt idx="32658">
                  <c:v>30.115858027005682</c:v>
                </c:pt>
                <c:pt idx="32659">
                  <c:v>25.492622865173733</c:v>
                </c:pt>
                <c:pt idx="32660">
                  <c:v>23.785592280676447</c:v>
                </c:pt>
                <c:pt idx="32661">
                  <c:v>30.28302492480405</c:v>
                </c:pt>
                <c:pt idx="32662">
                  <c:v>30.099908770063251</c:v>
                </c:pt>
                <c:pt idx="32663">
                  <c:v>28.255611035789364</c:v>
                </c:pt>
                <c:pt idx="32664">
                  <c:v>38.531237228606621</c:v>
                </c:pt>
                <c:pt idx="32665">
                  <c:v>26.253815928740032</c:v>
                </c:pt>
                <c:pt idx="32666">
                  <c:v>20.709689168902312</c:v>
                </c:pt>
                <c:pt idx="32667">
                  <c:v>19.484308382030292</c:v>
                </c:pt>
                <c:pt idx="32668">
                  <c:v>27.792601089572653</c:v>
                </c:pt>
                <c:pt idx="32669">
                  <c:v>45.52322389702438</c:v>
                </c:pt>
                <c:pt idx="32670">
                  <c:v>24.423831274621023</c:v>
                </c:pt>
                <c:pt idx="32671">
                  <c:v>50.474629540697464</c:v>
                </c:pt>
                <c:pt idx="32672">
                  <c:v>27.404072448575423</c:v>
                </c:pt>
                <c:pt idx="32673">
                  <c:v>50.951672157139939</c:v>
                </c:pt>
                <c:pt idx="32674">
                  <c:v>33.735268042818653</c:v>
                </c:pt>
                <c:pt idx="32675">
                  <c:v>32.584470471760028</c:v>
                </c:pt>
                <c:pt idx="32676">
                  <c:v>51.30182653644367</c:v>
                </c:pt>
                <c:pt idx="32677">
                  <c:v>28.346990091215702</c:v>
                </c:pt>
                <c:pt idx="32678">
                  <c:v>22.982803109095578</c:v>
                </c:pt>
                <c:pt idx="32679">
                  <c:v>26.383677690973798</c:v>
                </c:pt>
                <c:pt idx="32680">
                  <c:v>33.896989371161581</c:v>
                </c:pt>
                <c:pt idx="32681">
                  <c:v>26.670927555631678</c:v>
                </c:pt>
                <c:pt idx="32682">
                  <c:v>29.964825277939077</c:v>
                </c:pt>
                <c:pt idx="32683">
                  <c:v>26.593084832816658</c:v>
                </c:pt>
                <c:pt idx="32684">
                  <c:v>33.190033187616294</c:v>
                </c:pt>
                <c:pt idx="32685">
                  <c:v>46.439927546159339</c:v>
                </c:pt>
                <c:pt idx="32686">
                  <c:v>29.587728756181534</c:v>
                </c:pt>
                <c:pt idx="32687">
                  <c:v>25.537144437019236</c:v>
                </c:pt>
                <c:pt idx="32688">
                  <c:v>28.742904547549546</c:v>
                </c:pt>
                <c:pt idx="32689">
                  <c:v>28.538459269898279</c:v>
                </c:pt>
                <c:pt idx="32690">
                  <c:v>37.214906827651575</c:v>
                </c:pt>
                <c:pt idx="32691">
                  <c:v>26.669065948746479</c:v>
                </c:pt>
                <c:pt idx="32692">
                  <c:v>51.498440656305391</c:v>
                </c:pt>
                <c:pt idx="32693">
                  <c:v>25.806373332678653</c:v>
                </c:pt>
                <c:pt idx="32694">
                  <c:v>28.703790972269935</c:v>
                </c:pt>
                <c:pt idx="32695">
                  <c:v>44.509673192693313</c:v>
                </c:pt>
                <c:pt idx="32696">
                  <c:v>32.126420508855531</c:v>
                </c:pt>
                <c:pt idx="32697">
                  <c:v>43.742902180408237</c:v>
                </c:pt>
                <c:pt idx="32698">
                  <c:v>39.726514596253665</c:v>
                </c:pt>
                <c:pt idx="32699">
                  <c:v>40.644219340047513</c:v>
                </c:pt>
                <c:pt idx="32700">
                  <c:v>31.378816797184729</c:v>
                </c:pt>
                <c:pt idx="32701">
                  <c:v>31.312682717825552</c:v>
                </c:pt>
                <c:pt idx="32702">
                  <c:v>27.490599249116915</c:v>
                </c:pt>
                <c:pt idx="32703">
                  <c:v>27.604781929733001</c:v>
                </c:pt>
                <c:pt idx="32704">
                  <c:v>40.792702401222272</c:v>
                </c:pt>
                <c:pt idx="32705">
                  <c:v>22.512725955458226</c:v>
                </c:pt>
                <c:pt idx="32706">
                  <c:v>34.630203849193343</c:v>
                </c:pt>
                <c:pt idx="32707">
                  <c:v>27.834953750320665</c:v>
                </c:pt>
                <c:pt idx="32708">
                  <c:v>38.194019360494195</c:v>
                </c:pt>
                <c:pt idx="32709">
                  <c:v>30.713034238021628</c:v>
                </c:pt>
                <c:pt idx="32710">
                  <c:v>31.816728223829976</c:v>
                </c:pt>
                <c:pt idx="32711">
                  <c:v>48.993325058211731</c:v>
                </c:pt>
                <c:pt idx="32712">
                  <c:v>25.710062005837607</c:v>
                </c:pt>
                <c:pt idx="32713">
                  <c:v>59.859450463917263</c:v>
                </c:pt>
                <c:pt idx="32714">
                  <c:v>20.917835438383374</c:v>
                </c:pt>
                <c:pt idx="32715">
                  <c:v>42.936046794461014</c:v>
                </c:pt>
                <c:pt idx="32716">
                  <c:v>28.767010405660102</c:v>
                </c:pt>
                <c:pt idx="32717">
                  <c:v>49.893237762261798</c:v>
                </c:pt>
                <c:pt idx="32718">
                  <c:v>48.812725004921013</c:v>
                </c:pt>
                <c:pt idx="32719">
                  <c:v>20.737162151684704</c:v>
                </c:pt>
                <c:pt idx="32720">
                  <c:v>38.949930835391356</c:v>
                </c:pt>
                <c:pt idx="32721">
                  <c:v>24.29842514038679</c:v>
                </c:pt>
                <c:pt idx="32722">
                  <c:v>29.136994795331457</c:v>
                </c:pt>
                <c:pt idx="32723">
                  <c:v>35.729216416101849</c:v>
                </c:pt>
                <c:pt idx="32724">
                  <c:v>23.113591718264058</c:v>
                </c:pt>
                <c:pt idx="32725">
                  <c:v>29.935889435268233</c:v>
                </c:pt>
                <c:pt idx="32726">
                  <c:v>28.619479663682611</c:v>
                </c:pt>
                <c:pt idx="32727">
                  <c:v>24.991879951958907</c:v>
                </c:pt>
                <c:pt idx="32728">
                  <c:v>48.999949426493373</c:v>
                </c:pt>
                <c:pt idx="32729">
                  <c:v>55.288516275225739</c:v>
                </c:pt>
                <c:pt idx="32730">
                  <c:v>29.012518526519919</c:v>
                </c:pt>
                <c:pt idx="32731">
                  <c:v>22.711189093502067</c:v>
                </c:pt>
                <c:pt idx="32732">
                  <c:v>28.065080603371086</c:v>
                </c:pt>
                <c:pt idx="32733">
                  <c:v>31.053755613660268</c:v>
                </c:pt>
                <c:pt idx="32734">
                  <c:v>35.334968740921774</c:v>
                </c:pt>
                <c:pt idx="32735">
                  <c:v>22.432744308755968</c:v>
                </c:pt>
                <c:pt idx="32736">
                  <c:v>19.712682005259552</c:v>
                </c:pt>
                <c:pt idx="32737">
                  <c:v>37.973991556362392</c:v>
                </c:pt>
                <c:pt idx="32738">
                  <c:v>21.977611695230415</c:v>
                </c:pt>
                <c:pt idx="32739">
                  <c:v>24.242778793197786</c:v>
                </c:pt>
                <c:pt idx="32740">
                  <c:v>31.056287365236933</c:v>
                </c:pt>
                <c:pt idx="32741">
                  <c:v>18.717099623229409</c:v>
                </c:pt>
                <c:pt idx="32742">
                  <c:v>53.548552321794041</c:v>
                </c:pt>
                <c:pt idx="32743">
                  <c:v>26.220616924451555</c:v>
                </c:pt>
                <c:pt idx="32744">
                  <c:v>34.071292647152482</c:v>
                </c:pt>
                <c:pt idx="32745">
                  <c:v>24.01192443581245</c:v>
                </c:pt>
                <c:pt idx="32746">
                  <c:v>27.741760576715432</c:v>
                </c:pt>
                <c:pt idx="32747">
                  <c:v>28.256363018381638</c:v>
                </c:pt>
                <c:pt idx="32748">
                  <c:v>41.035700589036374</c:v>
                </c:pt>
                <c:pt idx="32749">
                  <c:v>29.800839660427236</c:v>
                </c:pt>
                <c:pt idx="32750">
                  <c:v>22.077081575883138</c:v>
                </c:pt>
                <c:pt idx="32751">
                  <c:v>25.301357347409855</c:v>
                </c:pt>
                <c:pt idx="32752">
                  <c:v>34.487201386432396</c:v>
                </c:pt>
                <c:pt idx="32753">
                  <c:v>41.425912991656183</c:v>
                </c:pt>
                <c:pt idx="32754">
                  <c:v>51.180247383013118</c:v>
                </c:pt>
                <c:pt idx="32755">
                  <c:v>19.967455868920887</c:v>
                </c:pt>
                <c:pt idx="32756">
                  <c:v>29.603571718685114</c:v>
                </c:pt>
                <c:pt idx="32757">
                  <c:v>51.953011067681409</c:v>
                </c:pt>
                <c:pt idx="32758">
                  <c:v>20.216551220348983</c:v>
                </c:pt>
                <c:pt idx="32759">
                  <c:v>17.717917033061131</c:v>
                </c:pt>
                <c:pt idx="32760">
                  <c:v>31.370105075667933</c:v>
                </c:pt>
                <c:pt idx="32761">
                  <c:v>53.630737707242112</c:v>
                </c:pt>
                <c:pt idx="32762">
                  <c:v>24.852729746169157</c:v>
                </c:pt>
                <c:pt idx="32763">
                  <c:v>27.94795418963804</c:v>
                </c:pt>
                <c:pt idx="32764">
                  <c:v>30.888149331987904</c:v>
                </c:pt>
                <c:pt idx="32765">
                  <c:v>36.441931353670597</c:v>
                </c:pt>
                <c:pt idx="32766">
                  <c:v>31.134488323366849</c:v>
                </c:pt>
                <c:pt idx="32767">
                  <c:v>21.841055142285143</c:v>
                </c:pt>
                <c:pt idx="32768">
                  <c:v>28.622062406883927</c:v>
                </c:pt>
                <c:pt idx="32769">
                  <c:v>24.863610317329151</c:v>
                </c:pt>
                <c:pt idx="32770">
                  <c:v>29.442425993658748</c:v>
                </c:pt>
                <c:pt idx="32771">
                  <c:v>17.225854519456469</c:v>
                </c:pt>
                <c:pt idx="32772">
                  <c:v>41.538781741854415</c:v>
                </c:pt>
                <c:pt idx="32773">
                  <c:v>27.598472626808739</c:v>
                </c:pt>
                <c:pt idx="32774">
                  <c:v>20.179838517614666</c:v>
                </c:pt>
                <c:pt idx="32775">
                  <c:v>22.367548733040721</c:v>
                </c:pt>
                <c:pt idx="32776">
                  <c:v>45.217756631588905</c:v>
                </c:pt>
                <c:pt idx="32777">
                  <c:v>30.49237686376167</c:v>
                </c:pt>
                <c:pt idx="32778">
                  <c:v>18.955877320228979</c:v>
                </c:pt>
                <c:pt idx="32779">
                  <c:v>40.474800705308738</c:v>
                </c:pt>
                <c:pt idx="32780">
                  <c:v>22.251232275406114</c:v>
                </c:pt>
                <c:pt idx="32781">
                  <c:v>26.063932128570311</c:v>
                </c:pt>
                <c:pt idx="32782">
                  <c:v>26.279136317584726</c:v>
                </c:pt>
                <c:pt idx="32783">
                  <c:v>28.584803440530738</c:v>
                </c:pt>
                <c:pt idx="32784">
                  <c:v>25.40985466858012</c:v>
                </c:pt>
                <c:pt idx="32785">
                  <c:v>48.414822048148835</c:v>
                </c:pt>
                <c:pt idx="32786">
                  <c:v>23.598130122780219</c:v>
                </c:pt>
                <c:pt idx="32787">
                  <c:v>38.815232651675828</c:v>
                </c:pt>
                <c:pt idx="32788">
                  <c:v>24.514189266616626</c:v>
                </c:pt>
                <c:pt idx="32789">
                  <c:v>27.089465672623646</c:v>
                </c:pt>
                <c:pt idx="32790">
                  <c:v>34.985298037123044</c:v>
                </c:pt>
                <c:pt idx="32791">
                  <c:v>41.545249265889211</c:v>
                </c:pt>
                <c:pt idx="32792">
                  <c:v>26.429678131465614</c:v>
                </c:pt>
                <c:pt idx="32793">
                  <c:v>25.62133776172297</c:v>
                </c:pt>
                <c:pt idx="32794">
                  <c:v>24.078167026340235</c:v>
                </c:pt>
                <c:pt idx="32795">
                  <c:v>40.287535964278376</c:v>
                </c:pt>
                <c:pt idx="32796">
                  <c:v>44.953698492999933</c:v>
                </c:pt>
                <c:pt idx="32797">
                  <c:v>29.19103119426461</c:v>
                </c:pt>
                <c:pt idx="32798">
                  <c:v>25.384544695509479</c:v>
                </c:pt>
                <c:pt idx="32799">
                  <c:v>24.108076799795146</c:v>
                </c:pt>
                <c:pt idx="32800">
                  <c:v>24.913455394139255</c:v>
                </c:pt>
                <c:pt idx="32801">
                  <c:v>52.312261608384382</c:v>
                </c:pt>
                <c:pt idx="32802">
                  <c:v>27.922988966960684</c:v>
                </c:pt>
                <c:pt idx="32803">
                  <c:v>33.626827168460395</c:v>
                </c:pt>
                <c:pt idx="32804">
                  <c:v>30.763875015605763</c:v>
                </c:pt>
                <c:pt idx="32805">
                  <c:v>21.012839112580494</c:v>
                </c:pt>
                <c:pt idx="32806">
                  <c:v>29.17880181876178</c:v>
                </c:pt>
                <c:pt idx="32807">
                  <c:v>29.991608726778715</c:v>
                </c:pt>
                <c:pt idx="32808">
                  <c:v>49.774708762192951</c:v>
                </c:pt>
                <c:pt idx="32809">
                  <c:v>31.310463809074747</c:v>
                </c:pt>
                <c:pt idx="32810">
                  <c:v>21.218995669010468</c:v>
                </c:pt>
                <c:pt idx="32811">
                  <c:v>22.997196402394305</c:v>
                </c:pt>
                <c:pt idx="32812">
                  <c:v>32.764665549974637</c:v>
                </c:pt>
                <c:pt idx="32813">
                  <c:v>22.772355916091879</c:v>
                </c:pt>
                <c:pt idx="32814">
                  <c:v>29.200209752293844</c:v>
                </c:pt>
                <c:pt idx="32815">
                  <c:v>28.965904622791406</c:v>
                </c:pt>
                <c:pt idx="32816">
                  <c:v>26.172266488644844</c:v>
                </c:pt>
                <c:pt idx="32817">
                  <c:v>18.348148192429584</c:v>
                </c:pt>
                <c:pt idx="32818">
                  <c:v>35.489750252051479</c:v>
                </c:pt>
                <c:pt idx="32819">
                  <c:v>21.346860402421449</c:v>
                </c:pt>
                <c:pt idx="32820">
                  <c:v>44.576649176911531</c:v>
                </c:pt>
                <c:pt idx="32821">
                  <c:v>30.784834603339039</c:v>
                </c:pt>
                <c:pt idx="32822">
                  <c:v>31.686767856496907</c:v>
                </c:pt>
                <c:pt idx="32823">
                  <c:v>31.998122528481563</c:v>
                </c:pt>
                <c:pt idx="32824">
                  <c:v>25.803098975529153</c:v>
                </c:pt>
                <c:pt idx="32825">
                  <c:v>29.97786618947903</c:v>
                </c:pt>
                <c:pt idx="32826">
                  <c:v>26.782269301256765</c:v>
                </c:pt>
                <c:pt idx="32827">
                  <c:v>32.071608556465129</c:v>
                </c:pt>
                <c:pt idx="32828">
                  <c:v>23.832647071443091</c:v>
                </c:pt>
                <c:pt idx="32829">
                  <c:v>26.637077252923433</c:v>
                </c:pt>
                <c:pt idx="32830">
                  <c:v>23.990952749341673</c:v>
                </c:pt>
                <c:pt idx="32831">
                  <c:v>31.493231516320094</c:v>
                </c:pt>
                <c:pt idx="32832">
                  <c:v>30.559056375191002</c:v>
                </c:pt>
                <c:pt idx="32833">
                  <c:v>24.177634742897887</c:v>
                </c:pt>
                <c:pt idx="32834">
                  <c:v>39.185190949811101</c:v>
                </c:pt>
                <c:pt idx="32835">
                  <c:v>41.078913649042917</c:v>
                </c:pt>
                <c:pt idx="32836">
                  <c:v>34.998704087047592</c:v>
                </c:pt>
                <c:pt idx="32837">
                  <c:v>26.535042273247438</c:v>
                </c:pt>
                <c:pt idx="32838">
                  <c:v>23.629657048771328</c:v>
                </c:pt>
                <c:pt idx="32839">
                  <c:v>21.885873315880868</c:v>
                </c:pt>
                <c:pt idx="32840">
                  <c:v>31.211242174996613</c:v>
                </c:pt>
                <c:pt idx="32841">
                  <c:v>32.197958457977315</c:v>
                </c:pt>
                <c:pt idx="32842">
                  <c:v>24.788718961646445</c:v>
                </c:pt>
                <c:pt idx="32843">
                  <c:v>44.847711406491761</c:v>
                </c:pt>
                <c:pt idx="32844">
                  <c:v>19.518016998248079</c:v>
                </c:pt>
                <c:pt idx="32845">
                  <c:v>22.167821672570216</c:v>
                </c:pt>
                <c:pt idx="32846">
                  <c:v>41.327879615106809</c:v>
                </c:pt>
                <c:pt idx="32847">
                  <c:v>27.729345132627287</c:v>
                </c:pt>
                <c:pt idx="32848">
                  <c:v>29.369364819736226</c:v>
                </c:pt>
                <c:pt idx="32849">
                  <c:v>24.408057555090828</c:v>
                </c:pt>
                <c:pt idx="32850">
                  <c:v>24.254104423502241</c:v>
                </c:pt>
                <c:pt idx="32851">
                  <c:v>38.184339929568047</c:v>
                </c:pt>
                <c:pt idx="32852">
                  <c:v>21.536049630464206</c:v>
                </c:pt>
                <c:pt idx="32853">
                  <c:v>39.465159331230559</c:v>
                </c:pt>
                <c:pt idx="32854">
                  <c:v>24.975842082452584</c:v>
                </c:pt>
                <c:pt idx="32855">
                  <c:v>45.158010848677236</c:v>
                </c:pt>
                <c:pt idx="32856">
                  <c:v>36.019869576837564</c:v>
                </c:pt>
                <c:pt idx="32857">
                  <c:v>40.123825553245702</c:v>
                </c:pt>
                <c:pt idx="32858">
                  <c:v>34.420998895480096</c:v>
                </c:pt>
                <c:pt idx="32859">
                  <c:v>23.479338368484477</c:v>
                </c:pt>
                <c:pt idx="32860">
                  <c:v>22.49222851098342</c:v>
                </c:pt>
                <c:pt idx="32861">
                  <c:v>28.777572656390291</c:v>
                </c:pt>
                <c:pt idx="32862">
                  <c:v>25.621744134557332</c:v>
                </c:pt>
                <c:pt idx="32863">
                  <c:v>39.461314370816886</c:v>
                </c:pt>
                <c:pt idx="32864">
                  <c:v>47.382054448895296</c:v>
                </c:pt>
                <c:pt idx="32865">
                  <c:v>23.734627154686294</c:v>
                </c:pt>
                <c:pt idx="32866">
                  <c:v>39.734444178907822</c:v>
                </c:pt>
                <c:pt idx="32867">
                  <c:v>27.952681871021184</c:v>
                </c:pt>
                <c:pt idx="32868">
                  <c:v>26.241690282833961</c:v>
                </c:pt>
                <c:pt idx="32869">
                  <c:v>23.174481388268767</c:v>
                </c:pt>
                <c:pt idx="32870">
                  <c:v>25.470066109612588</c:v>
                </c:pt>
                <c:pt idx="32871">
                  <c:v>28.204966618324718</c:v>
                </c:pt>
                <c:pt idx="32872">
                  <c:v>21.058775830733829</c:v>
                </c:pt>
                <c:pt idx="32873">
                  <c:v>24.828699641446548</c:v>
                </c:pt>
                <c:pt idx="32874">
                  <c:v>29.097046097518991</c:v>
                </c:pt>
                <c:pt idx="32875">
                  <c:v>24.380209195564706</c:v>
                </c:pt>
                <c:pt idx="32876">
                  <c:v>16.546412808446107</c:v>
                </c:pt>
                <c:pt idx="32877">
                  <c:v>29.315636803476313</c:v>
                </c:pt>
                <c:pt idx="32878">
                  <c:v>26.081677246148821</c:v>
                </c:pt>
                <c:pt idx="32879">
                  <c:v>55.114824753059828</c:v>
                </c:pt>
                <c:pt idx="32880">
                  <c:v>29.512349313394939</c:v>
                </c:pt>
                <c:pt idx="32881">
                  <c:v>32.50005171012603</c:v>
                </c:pt>
                <c:pt idx="32882">
                  <c:v>18.903251389205899</c:v>
                </c:pt>
                <c:pt idx="32883">
                  <c:v>38.464107004211904</c:v>
                </c:pt>
                <c:pt idx="32884">
                  <c:v>45.514381638069132</c:v>
                </c:pt>
                <c:pt idx="32885">
                  <c:v>33.620159989938806</c:v>
                </c:pt>
                <c:pt idx="32886">
                  <c:v>18.282884706766254</c:v>
                </c:pt>
                <c:pt idx="32887">
                  <c:v>34.689235600245389</c:v>
                </c:pt>
                <c:pt idx="32888">
                  <c:v>44.041982389924144</c:v>
                </c:pt>
                <c:pt idx="32889">
                  <c:v>24.846673976203689</c:v>
                </c:pt>
                <c:pt idx="32890">
                  <c:v>21.300545502598567</c:v>
                </c:pt>
                <c:pt idx="32891">
                  <c:v>23.372154903292028</c:v>
                </c:pt>
                <c:pt idx="32892">
                  <c:v>29.957424239194616</c:v>
                </c:pt>
                <c:pt idx="32893">
                  <c:v>23.635707480059757</c:v>
                </c:pt>
                <c:pt idx="32894">
                  <c:v>17.495452955686879</c:v>
                </c:pt>
                <c:pt idx="32895">
                  <c:v>36.689449403598132</c:v>
                </c:pt>
                <c:pt idx="32896">
                  <c:v>31.42679708983546</c:v>
                </c:pt>
                <c:pt idx="32897">
                  <c:v>35.252383842733956</c:v>
                </c:pt>
                <c:pt idx="32898">
                  <c:v>25.288978706549745</c:v>
                </c:pt>
                <c:pt idx="32899">
                  <c:v>31.955856116215113</c:v>
                </c:pt>
                <c:pt idx="32900">
                  <c:v>28.181980442561368</c:v>
                </c:pt>
                <c:pt idx="32901">
                  <c:v>29.765745690277033</c:v>
                </c:pt>
                <c:pt idx="32902">
                  <c:v>23.374282807454705</c:v>
                </c:pt>
                <c:pt idx="32903">
                  <c:v>48.842469614135645</c:v>
                </c:pt>
                <c:pt idx="32904">
                  <c:v>24.852370527733751</c:v>
                </c:pt>
                <c:pt idx="32905">
                  <c:v>27.144268462810498</c:v>
                </c:pt>
                <c:pt idx="32906">
                  <c:v>52.067841889375643</c:v>
                </c:pt>
                <c:pt idx="32907">
                  <c:v>30.551274298188925</c:v>
                </c:pt>
                <c:pt idx="32908">
                  <c:v>26.124705741985025</c:v>
                </c:pt>
                <c:pt idx="32909">
                  <c:v>28.768504913588824</c:v>
                </c:pt>
                <c:pt idx="32910">
                  <c:v>31.964697686260095</c:v>
                </c:pt>
                <c:pt idx="32911">
                  <c:v>41.323949549581414</c:v>
                </c:pt>
                <c:pt idx="32912">
                  <c:v>32.723807707890828</c:v>
                </c:pt>
                <c:pt idx="32913">
                  <c:v>30.492156716389069</c:v>
                </c:pt>
                <c:pt idx="32914">
                  <c:v>30.162918689495161</c:v>
                </c:pt>
                <c:pt idx="32915">
                  <c:v>53.56794264559408</c:v>
                </c:pt>
                <c:pt idx="32916">
                  <c:v>29.447895911725603</c:v>
                </c:pt>
                <c:pt idx="32917">
                  <c:v>25.630924704881291</c:v>
                </c:pt>
                <c:pt idx="32918">
                  <c:v>41.443970065527864</c:v>
                </c:pt>
                <c:pt idx="32919">
                  <c:v>41.907254340731093</c:v>
                </c:pt>
                <c:pt idx="32920">
                  <c:v>30.012525529809437</c:v>
                </c:pt>
                <c:pt idx="32921">
                  <c:v>28.82611192460843</c:v>
                </c:pt>
                <c:pt idx="32922">
                  <c:v>30.137962766656649</c:v>
                </c:pt>
                <c:pt idx="32923">
                  <c:v>25.224105877681364</c:v>
                </c:pt>
                <c:pt idx="32924">
                  <c:v>54.513716289371324</c:v>
                </c:pt>
                <c:pt idx="32925">
                  <c:v>42.009298910537154</c:v>
                </c:pt>
                <c:pt idx="32926">
                  <c:v>37.968056904825019</c:v>
                </c:pt>
                <c:pt idx="32927">
                  <c:v>55.180113808467283</c:v>
                </c:pt>
                <c:pt idx="32928">
                  <c:v>47.79162981103179</c:v>
                </c:pt>
                <c:pt idx="32929">
                  <c:v>47.778469845160828</c:v>
                </c:pt>
                <c:pt idx="32930">
                  <c:v>47.181194778642499</c:v>
                </c:pt>
                <c:pt idx="32931">
                  <c:v>23.989689516292138</c:v>
                </c:pt>
                <c:pt idx="32932">
                  <c:v>20.338370869050539</c:v>
                </c:pt>
                <c:pt idx="32933">
                  <c:v>20.086781822515977</c:v>
                </c:pt>
                <c:pt idx="32934">
                  <c:v>25.628589592843216</c:v>
                </c:pt>
                <c:pt idx="32935">
                  <c:v>34.95110591896492</c:v>
                </c:pt>
                <c:pt idx="32936">
                  <c:v>25.807060207224396</c:v>
                </c:pt>
                <c:pt idx="32937">
                  <c:v>21.05753042513625</c:v>
                </c:pt>
                <c:pt idx="32938">
                  <c:v>33.702008508232304</c:v>
                </c:pt>
                <c:pt idx="32939">
                  <c:v>25.701660607169195</c:v>
                </c:pt>
                <c:pt idx="32940">
                  <c:v>31.496844069975666</c:v>
                </c:pt>
                <c:pt idx="32941">
                  <c:v>39.676848418961839</c:v>
                </c:pt>
                <c:pt idx="32942">
                  <c:v>48.554746945349166</c:v>
                </c:pt>
                <c:pt idx="32943">
                  <c:v>26.748271252011172</c:v>
                </c:pt>
                <c:pt idx="32944">
                  <c:v>20.438201320249895</c:v>
                </c:pt>
                <c:pt idx="32945">
                  <c:v>45.032510969887369</c:v>
                </c:pt>
                <c:pt idx="32946">
                  <c:v>48.581491478062439</c:v>
                </c:pt>
                <c:pt idx="32947">
                  <c:v>26.62246257965079</c:v>
                </c:pt>
                <c:pt idx="32948">
                  <c:v>41.596117129509913</c:v>
                </c:pt>
                <c:pt idx="32949">
                  <c:v>24.881020208103809</c:v>
                </c:pt>
                <c:pt idx="32950">
                  <c:v>27.438065953848831</c:v>
                </c:pt>
                <c:pt idx="32951">
                  <c:v>24.762786398731734</c:v>
                </c:pt>
                <c:pt idx="32952">
                  <c:v>31.212074011304583</c:v>
                </c:pt>
                <c:pt idx="32953">
                  <c:v>32.427694244980316</c:v>
                </c:pt>
                <c:pt idx="32954">
                  <c:v>33.373387369703231</c:v>
                </c:pt>
                <c:pt idx="32955">
                  <c:v>44.149073182880969</c:v>
                </c:pt>
                <c:pt idx="32956">
                  <c:v>22.987786975895613</c:v>
                </c:pt>
                <c:pt idx="32957">
                  <c:v>31.639329046197219</c:v>
                </c:pt>
                <c:pt idx="32958">
                  <c:v>26.234655459757818</c:v>
                </c:pt>
                <c:pt idx="32959">
                  <c:v>24.570756792583829</c:v>
                </c:pt>
                <c:pt idx="32960">
                  <c:v>33.156869492437899</c:v>
                </c:pt>
                <c:pt idx="32961">
                  <c:v>18.497435922022898</c:v>
                </c:pt>
                <c:pt idx="32962">
                  <c:v>19.492662477343071</c:v>
                </c:pt>
                <c:pt idx="32963">
                  <c:v>16.173551275937733</c:v>
                </c:pt>
                <c:pt idx="32964">
                  <c:v>39.283136405478096</c:v>
                </c:pt>
                <c:pt idx="32965">
                  <c:v>24.082172909032565</c:v>
                </c:pt>
                <c:pt idx="32966">
                  <c:v>26.898268377782898</c:v>
                </c:pt>
                <c:pt idx="32967">
                  <c:v>17.857727620338338</c:v>
                </c:pt>
                <c:pt idx="32968">
                  <c:v>33.940021178877487</c:v>
                </c:pt>
                <c:pt idx="32969">
                  <c:v>47.685157246883229</c:v>
                </c:pt>
                <c:pt idx="32970">
                  <c:v>33.233249491800301</c:v>
                </c:pt>
                <c:pt idx="32971">
                  <c:v>25.696256767900493</c:v>
                </c:pt>
                <c:pt idx="32972">
                  <c:v>29.617663991206093</c:v>
                </c:pt>
                <c:pt idx="32973">
                  <c:v>42.431274720236857</c:v>
                </c:pt>
                <c:pt idx="32974">
                  <c:v>25.797573242763512</c:v>
                </c:pt>
                <c:pt idx="32975">
                  <c:v>46.062628759729478</c:v>
                </c:pt>
                <c:pt idx="32976">
                  <c:v>36.504615844519506</c:v>
                </c:pt>
                <c:pt idx="32977">
                  <c:v>35.474138384423597</c:v>
                </c:pt>
                <c:pt idx="32978">
                  <c:v>27.441245835969994</c:v>
                </c:pt>
                <c:pt idx="32979">
                  <c:v>32.390817168831042</c:v>
                </c:pt>
                <c:pt idx="32980">
                  <c:v>32.475178206268609</c:v>
                </c:pt>
                <c:pt idx="32981">
                  <c:v>38.668748603646179</c:v>
                </c:pt>
                <c:pt idx="32982">
                  <c:v>32.433863830879233</c:v>
                </c:pt>
                <c:pt idx="32983">
                  <c:v>23.698757163226901</c:v>
                </c:pt>
                <c:pt idx="32984">
                  <c:v>26.357768315137989</c:v>
                </c:pt>
                <c:pt idx="32985">
                  <c:v>25.311153295667211</c:v>
                </c:pt>
                <c:pt idx="32986">
                  <c:v>44.7125223719462</c:v>
                </c:pt>
                <c:pt idx="32987">
                  <c:v>24.212758273526042</c:v>
                </c:pt>
                <c:pt idx="32988">
                  <c:v>41.422901187922037</c:v>
                </c:pt>
                <c:pt idx="32989">
                  <c:v>27.716195256866655</c:v>
                </c:pt>
                <c:pt idx="32990">
                  <c:v>45.41394106691893</c:v>
                </c:pt>
                <c:pt idx="32991">
                  <c:v>20.262208172377321</c:v>
                </c:pt>
                <c:pt idx="32992">
                  <c:v>38.680814311484355</c:v>
                </c:pt>
                <c:pt idx="32993">
                  <c:v>29.443859747934862</c:v>
                </c:pt>
                <c:pt idx="32994">
                  <c:v>38.994932646623241</c:v>
                </c:pt>
                <c:pt idx="32995">
                  <c:v>32.229035370172397</c:v>
                </c:pt>
                <c:pt idx="32996">
                  <c:v>18.082376346152476</c:v>
                </c:pt>
                <c:pt idx="32997">
                  <c:v>36.94658837071831</c:v>
                </c:pt>
                <c:pt idx="32998">
                  <c:v>31.984575430802025</c:v>
                </c:pt>
                <c:pt idx="32999">
                  <c:v>22.814429639895543</c:v>
                </c:pt>
                <c:pt idx="33000">
                  <c:v>33.920336086467138</c:v>
                </c:pt>
                <c:pt idx="33001">
                  <c:v>26.733994549237028</c:v>
                </c:pt>
                <c:pt idx="33002">
                  <c:v>23.432291225218034</c:v>
                </c:pt>
                <c:pt idx="33003">
                  <c:v>30.148591927141702</c:v>
                </c:pt>
                <c:pt idx="33004">
                  <c:v>24.811249743950086</c:v>
                </c:pt>
                <c:pt idx="33005">
                  <c:v>21.943647299775737</c:v>
                </c:pt>
                <c:pt idx="33006">
                  <c:v>34.950389073038707</c:v>
                </c:pt>
                <c:pt idx="33007">
                  <c:v>55.199328091993905</c:v>
                </c:pt>
                <c:pt idx="33008">
                  <c:v>41.83856933343634</c:v>
                </c:pt>
                <c:pt idx="33009">
                  <c:v>26.675154140097362</c:v>
                </c:pt>
                <c:pt idx="33010">
                  <c:v>31.291324216475704</c:v>
                </c:pt>
                <c:pt idx="33011">
                  <c:v>26.515760193519974</c:v>
                </c:pt>
                <c:pt idx="33012">
                  <c:v>23.297777369425738</c:v>
                </c:pt>
                <c:pt idx="33013">
                  <c:v>43.536544591652266</c:v>
                </c:pt>
                <c:pt idx="33014">
                  <c:v>42.102515713980928</c:v>
                </c:pt>
                <c:pt idx="33015">
                  <c:v>48.157295802089784</c:v>
                </c:pt>
                <c:pt idx="33016">
                  <c:v>45.684667151938775</c:v>
                </c:pt>
                <c:pt idx="33017">
                  <c:v>46.532205735789574</c:v>
                </c:pt>
                <c:pt idx="33018">
                  <c:v>22.57403638588125</c:v>
                </c:pt>
                <c:pt idx="33019">
                  <c:v>18.077032438565205</c:v>
                </c:pt>
                <c:pt idx="33020">
                  <c:v>29.881744362467092</c:v>
                </c:pt>
                <c:pt idx="33021">
                  <c:v>21.915400853597284</c:v>
                </c:pt>
                <c:pt idx="33022">
                  <c:v>25.202038226503767</c:v>
                </c:pt>
                <c:pt idx="33023">
                  <c:v>22.721055314327192</c:v>
                </c:pt>
                <c:pt idx="33024">
                  <c:v>20.336161301476938</c:v>
                </c:pt>
                <c:pt idx="33025">
                  <c:v>39.406069856072115</c:v>
                </c:pt>
                <c:pt idx="33026">
                  <c:v>50.322280620066962</c:v>
                </c:pt>
                <c:pt idx="33027">
                  <c:v>22.88141410855512</c:v>
                </c:pt>
                <c:pt idx="33028">
                  <c:v>33.610717270773847</c:v>
                </c:pt>
                <c:pt idx="33029">
                  <c:v>25.716757506461196</c:v>
                </c:pt>
                <c:pt idx="33030">
                  <c:v>31.635905848607102</c:v>
                </c:pt>
                <c:pt idx="33031">
                  <c:v>24.689424265962774</c:v>
                </c:pt>
                <c:pt idx="33032">
                  <c:v>31.558874233413093</c:v>
                </c:pt>
                <c:pt idx="33033">
                  <c:v>33.374391855209005</c:v>
                </c:pt>
                <c:pt idx="33034">
                  <c:v>50.439039703569811</c:v>
                </c:pt>
                <c:pt idx="33035">
                  <c:v>21.812524793563554</c:v>
                </c:pt>
                <c:pt idx="33036">
                  <c:v>20.998666912500905</c:v>
                </c:pt>
                <c:pt idx="33037">
                  <c:v>40.280611312939534</c:v>
                </c:pt>
                <c:pt idx="33038">
                  <c:v>31.038577916050031</c:v>
                </c:pt>
                <c:pt idx="33039">
                  <c:v>29.057158516953088</c:v>
                </c:pt>
                <c:pt idx="33040">
                  <c:v>20.141417813194959</c:v>
                </c:pt>
                <c:pt idx="33041">
                  <c:v>25.660604787333543</c:v>
                </c:pt>
                <c:pt idx="33042">
                  <c:v>44.32746740457582</c:v>
                </c:pt>
                <c:pt idx="33043">
                  <c:v>36.234253007477676</c:v>
                </c:pt>
                <c:pt idx="33044">
                  <c:v>30.32335054331276</c:v>
                </c:pt>
                <c:pt idx="33045">
                  <c:v>28.171326766006221</c:v>
                </c:pt>
                <c:pt idx="33046">
                  <c:v>29.526372291950903</c:v>
                </c:pt>
                <c:pt idx="33047">
                  <c:v>14.53105317523177</c:v>
                </c:pt>
                <c:pt idx="33048">
                  <c:v>28.815553236528839</c:v>
                </c:pt>
                <c:pt idx="33049">
                  <c:v>32.030772382175527</c:v>
                </c:pt>
                <c:pt idx="33050">
                  <c:v>27.671692600923336</c:v>
                </c:pt>
                <c:pt idx="33051">
                  <c:v>34.540707048958545</c:v>
                </c:pt>
                <c:pt idx="33052">
                  <c:v>25.994680187819917</c:v>
                </c:pt>
                <c:pt idx="33053">
                  <c:v>29.389059881489285</c:v>
                </c:pt>
                <c:pt idx="33054">
                  <c:v>30.060926392159878</c:v>
                </c:pt>
                <c:pt idx="33055">
                  <c:v>23.431859488703523</c:v>
                </c:pt>
                <c:pt idx="33056">
                  <c:v>24.542860443852732</c:v>
                </c:pt>
                <c:pt idx="33057">
                  <c:v>27.146230490263644</c:v>
                </c:pt>
                <c:pt idx="33058">
                  <c:v>54.19263518703336</c:v>
                </c:pt>
                <c:pt idx="33059">
                  <c:v>27.505463574076039</c:v>
                </c:pt>
                <c:pt idx="33060">
                  <c:v>41.672264258531577</c:v>
                </c:pt>
                <c:pt idx="33061">
                  <c:v>36.67772701654566</c:v>
                </c:pt>
                <c:pt idx="33062">
                  <c:v>22.492235727013966</c:v>
                </c:pt>
                <c:pt idx="33063">
                  <c:v>23.249673049165537</c:v>
                </c:pt>
                <c:pt idx="33064">
                  <c:v>19.824913915086693</c:v>
                </c:pt>
                <c:pt idx="33065">
                  <c:v>35.721993950661684</c:v>
                </c:pt>
                <c:pt idx="33066">
                  <c:v>34.579551759874548</c:v>
                </c:pt>
                <c:pt idx="33067">
                  <c:v>24.679741279207811</c:v>
                </c:pt>
                <c:pt idx="33068">
                  <c:v>29.426381617281521</c:v>
                </c:pt>
                <c:pt idx="33069">
                  <c:v>28.346338364422678</c:v>
                </c:pt>
                <c:pt idx="33070">
                  <c:v>36.909211286361568</c:v>
                </c:pt>
                <c:pt idx="33071">
                  <c:v>36.17154870872735</c:v>
                </c:pt>
                <c:pt idx="33072">
                  <c:v>30.550486357423129</c:v>
                </c:pt>
                <c:pt idx="33073">
                  <c:v>33.883315480800668</c:v>
                </c:pt>
                <c:pt idx="33074">
                  <c:v>15.176667307598525</c:v>
                </c:pt>
                <c:pt idx="33075">
                  <c:v>27.469080059070954</c:v>
                </c:pt>
                <c:pt idx="33076">
                  <c:v>24.73705565514738</c:v>
                </c:pt>
                <c:pt idx="33077">
                  <c:v>23.573095301871863</c:v>
                </c:pt>
                <c:pt idx="33078">
                  <c:v>25.186426038481699</c:v>
                </c:pt>
                <c:pt idx="33079">
                  <c:v>23.87380766967123</c:v>
                </c:pt>
                <c:pt idx="33080">
                  <c:v>30.578565971448835</c:v>
                </c:pt>
                <c:pt idx="33081">
                  <c:v>22.360730975970643</c:v>
                </c:pt>
                <c:pt idx="33082">
                  <c:v>27.953252358951641</c:v>
                </c:pt>
                <c:pt idx="33083">
                  <c:v>23.569722970980099</c:v>
                </c:pt>
                <c:pt idx="33084">
                  <c:v>31.370441164641139</c:v>
                </c:pt>
                <c:pt idx="33085">
                  <c:v>27.584825546364854</c:v>
                </c:pt>
                <c:pt idx="33086">
                  <c:v>63.405426850643309</c:v>
                </c:pt>
                <c:pt idx="33087">
                  <c:v>23.913865375338016</c:v>
                </c:pt>
                <c:pt idx="33088">
                  <c:v>26.023807052979674</c:v>
                </c:pt>
                <c:pt idx="33089">
                  <c:v>31.16850963729437</c:v>
                </c:pt>
                <c:pt idx="33090">
                  <c:v>21.519412947770888</c:v>
                </c:pt>
                <c:pt idx="33091">
                  <c:v>17.481389248677264</c:v>
                </c:pt>
                <c:pt idx="33092">
                  <c:v>40.771697112105798</c:v>
                </c:pt>
                <c:pt idx="33093">
                  <c:v>26.747038612455245</c:v>
                </c:pt>
                <c:pt idx="33094">
                  <c:v>24.380798939245246</c:v>
                </c:pt>
                <c:pt idx="33095">
                  <c:v>30.785521473695255</c:v>
                </c:pt>
                <c:pt idx="33096">
                  <c:v>20.551801829353874</c:v>
                </c:pt>
                <c:pt idx="33097">
                  <c:v>43.741945464557986</c:v>
                </c:pt>
                <c:pt idx="33098">
                  <c:v>30.227780216829306</c:v>
                </c:pt>
                <c:pt idx="33099">
                  <c:v>25.683647518655011</c:v>
                </c:pt>
                <c:pt idx="33100">
                  <c:v>23.077007428404013</c:v>
                </c:pt>
                <c:pt idx="33101">
                  <c:v>21.929967065356344</c:v>
                </c:pt>
                <c:pt idx="33102">
                  <c:v>21.442901112435059</c:v>
                </c:pt>
                <c:pt idx="33103">
                  <c:v>24.991700699648639</c:v>
                </c:pt>
                <c:pt idx="33104">
                  <c:v>38.869436824679802</c:v>
                </c:pt>
                <c:pt idx="33105">
                  <c:v>37.114355653631769</c:v>
                </c:pt>
                <c:pt idx="33106">
                  <c:v>27.869826571713656</c:v>
                </c:pt>
                <c:pt idx="33107">
                  <c:v>22.167101641822541</c:v>
                </c:pt>
                <c:pt idx="33108">
                  <c:v>32.194499458350208</c:v>
                </c:pt>
                <c:pt idx="33109">
                  <c:v>25.054915460242132</c:v>
                </c:pt>
                <c:pt idx="33110">
                  <c:v>22.687643318047844</c:v>
                </c:pt>
                <c:pt idx="33111">
                  <c:v>30.227882567232584</c:v>
                </c:pt>
                <c:pt idx="33112">
                  <c:v>25.734043748799458</c:v>
                </c:pt>
                <c:pt idx="33113">
                  <c:v>24.411009836645267</c:v>
                </c:pt>
                <c:pt idx="33114">
                  <c:v>31.886627205654555</c:v>
                </c:pt>
                <c:pt idx="33115">
                  <c:v>47.425396707106884</c:v>
                </c:pt>
                <c:pt idx="33116">
                  <c:v>18.379356559960954</c:v>
                </c:pt>
                <c:pt idx="33117">
                  <c:v>29.031482897634696</c:v>
                </c:pt>
                <c:pt idx="33118">
                  <c:v>41.179919830265305</c:v>
                </c:pt>
                <c:pt idx="33119">
                  <c:v>43.505707244410083</c:v>
                </c:pt>
                <c:pt idx="33120">
                  <c:v>37.948715513467015</c:v>
                </c:pt>
                <c:pt idx="33121">
                  <c:v>31.904247690883004</c:v>
                </c:pt>
                <c:pt idx="33122">
                  <c:v>25.722429995927008</c:v>
                </c:pt>
                <c:pt idx="33123">
                  <c:v>45.015481526397451</c:v>
                </c:pt>
                <c:pt idx="33124">
                  <c:v>20.697939506798964</c:v>
                </c:pt>
                <c:pt idx="33125">
                  <c:v>22.077184223200277</c:v>
                </c:pt>
                <c:pt idx="33126">
                  <c:v>41.074031773805885</c:v>
                </c:pt>
                <c:pt idx="33127">
                  <c:v>25.769140031924607</c:v>
                </c:pt>
                <c:pt idx="33128">
                  <c:v>28.775101331778316</c:v>
                </c:pt>
                <c:pt idx="33129">
                  <c:v>33.76024111489486</c:v>
                </c:pt>
                <c:pt idx="33130">
                  <c:v>43.226084192226054</c:v>
                </c:pt>
                <c:pt idx="33131">
                  <c:v>48.808823299020773</c:v>
                </c:pt>
                <c:pt idx="33132">
                  <c:v>23.097799708592643</c:v>
                </c:pt>
                <c:pt idx="33133">
                  <c:v>34.114170491658236</c:v>
                </c:pt>
                <c:pt idx="33134">
                  <c:v>34.331095515286876</c:v>
                </c:pt>
                <c:pt idx="33135">
                  <c:v>25.336475924455556</c:v>
                </c:pt>
                <c:pt idx="33136">
                  <c:v>23.735933474994933</c:v>
                </c:pt>
                <c:pt idx="33137">
                  <c:v>21.283416004723524</c:v>
                </c:pt>
                <c:pt idx="33138">
                  <c:v>30.034359875416662</c:v>
                </c:pt>
                <c:pt idx="33139">
                  <c:v>46.170890602122199</c:v>
                </c:pt>
                <c:pt idx="33140">
                  <c:v>29.917230755465184</c:v>
                </c:pt>
                <c:pt idx="33141">
                  <c:v>54.962136272489147</c:v>
                </c:pt>
                <c:pt idx="33142">
                  <c:v>34.925723037888893</c:v>
                </c:pt>
                <c:pt idx="33143">
                  <c:v>31.7186337985808</c:v>
                </c:pt>
                <c:pt idx="33144">
                  <c:v>22.436369616177778</c:v>
                </c:pt>
                <c:pt idx="33145">
                  <c:v>31.400805243374364</c:v>
                </c:pt>
                <c:pt idx="33146">
                  <c:v>27.214237983800565</c:v>
                </c:pt>
                <c:pt idx="33147">
                  <c:v>58.37039377461776</c:v>
                </c:pt>
                <c:pt idx="33148">
                  <c:v>47.054978914053606</c:v>
                </c:pt>
                <c:pt idx="33149">
                  <c:v>25.360550728234383</c:v>
                </c:pt>
                <c:pt idx="33150">
                  <c:v>25.060459961868425</c:v>
                </c:pt>
                <c:pt idx="33151">
                  <c:v>24.14111302072607</c:v>
                </c:pt>
                <c:pt idx="33152">
                  <c:v>49.334177008534112</c:v>
                </c:pt>
                <c:pt idx="33153">
                  <c:v>21.883665681393865</c:v>
                </c:pt>
                <c:pt idx="33154">
                  <c:v>28.786802335701502</c:v>
                </c:pt>
                <c:pt idx="33155">
                  <c:v>23.423271154867436</c:v>
                </c:pt>
                <c:pt idx="33156">
                  <c:v>29.713706257352364</c:v>
                </c:pt>
                <c:pt idx="33157">
                  <c:v>38.734614335425135</c:v>
                </c:pt>
                <c:pt idx="33158">
                  <c:v>20.949458093805916</c:v>
                </c:pt>
                <c:pt idx="33159">
                  <c:v>56.2528727380341</c:v>
                </c:pt>
                <c:pt idx="33160">
                  <c:v>40.217295903721741</c:v>
                </c:pt>
                <c:pt idx="33161">
                  <c:v>29.870649177644996</c:v>
                </c:pt>
                <c:pt idx="33162">
                  <c:v>37.856367347817638</c:v>
                </c:pt>
                <c:pt idx="33163">
                  <c:v>21.1965728521218</c:v>
                </c:pt>
                <c:pt idx="33164">
                  <c:v>32.916241323726247</c:v>
                </c:pt>
                <c:pt idx="33165">
                  <c:v>26.083696774563716</c:v>
                </c:pt>
                <c:pt idx="33166">
                  <c:v>27.895842531335738</c:v>
                </c:pt>
                <c:pt idx="33167">
                  <c:v>36.564567078317339</c:v>
                </c:pt>
                <c:pt idx="33168">
                  <c:v>26.291374318533716</c:v>
                </c:pt>
                <c:pt idx="33169">
                  <c:v>39.62419061744049</c:v>
                </c:pt>
                <c:pt idx="33170">
                  <c:v>25.284276788738232</c:v>
                </c:pt>
                <c:pt idx="33171">
                  <c:v>24.202952457543098</c:v>
                </c:pt>
                <c:pt idx="33172">
                  <c:v>49.7897732842479</c:v>
                </c:pt>
                <c:pt idx="33173">
                  <c:v>30.436746303559211</c:v>
                </c:pt>
                <c:pt idx="33174">
                  <c:v>21.258444487463766</c:v>
                </c:pt>
                <c:pt idx="33175">
                  <c:v>22.105896109367659</c:v>
                </c:pt>
                <c:pt idx="33176">
                  <c:v>31.558001304653196</c:v>
                </c:pt>
                <c:pt idx="33177">
                  <c:v>30.572300618846931</c:v>
                </c:pt>
                <c:pt idx="33178">
                  <c:v>29.97304339886891</c:v>
                </c:pt>
                <c:pt idx="33179">
                  <c:v>27.666091814928951</c:v>
                </c:pt>
                <c:pt idx="33180">
                  <c:v>23.74280497973691</c:v>
                </c:pt>
                <c:pt idx="33181">
                  <c:v>28.971552549295435</c:v>
                </c:pt>
                <c:pt idx="33182">
                  <c:v>37.407773959165439</c:v>
                </c:pt>
                <c:pt idx="33183">
                  <c:v>44.052854615215523</c:v>
                </c:pt>
                <c:pt idx="33184">
                  <c:v>27.50305018042036</c:v>
                </c:pt>
                <c:pt idx="33185">
                  <c:v>19.520874659480629</c:v>
                </c:pt>
                <c:pt idx="33186">
                  <c:v>50.108628607279897</c:v>
                </c:pt>
                <c:pt idx="33187">
                  <c:v>26.545761978925</c:v>
                </c:pt>
                <c:pt idx="33188">
                  <c:v>24.203020024954142</c:v>
                </c:pt>
                <c:pt idx="33189">
                  <c:v>24.06603626265106</c:v>
                </c:pt>
                <c:pt idx="33190">
                  <c:v>39.50409189879435</c:v>
                </c:pt>
                <c:pt idx="33191">
                  <c:v>16.808259014902269</c:v>
                </c:pt>
                <c:pt idx="33192">
                  <c:v>29.361863087339092</c:v>
                </c:pt>
                <c:pt idx="33193">
                  <c:v>28.643760086435041</c:v>
                </c:pt>
                <c:pt idx="33194">
                  <c:v>18.442517981969608</c:v>
                </c:pt>
                <c:pt idx="33195">
                  <c:v>27.233049030876927</c:v>
                </c:pt>
                <c:pt idx="33196">
                  <c:v>30.895542185003535</c:v>
                </c:pt>
                <c:pt idx="33197">
                  <c:v>24.158661578911104</c:v>
                </c:pt>
                <c:pt idx="33198">
                  <c:v>21.216888236863262</c:v>
                </c:pt>
                <c:pt idx="33199">
                  <c:v>22.257495654763218</c:v>
                </c:pt>
                <c:pt idx="33200">
                  <c:v>19.315754228299721</c:v>
                </c:pt>
                <c:pt idx="33201">
                  <c:v>32.376658539964218</c:v>
                </c:pt>
                <c:pt idx="33202">
                  <c:v>25.648437922989253</c:v>
                </c:pt>
                <c:pt idx="33203">
                  <c:v>23.851951933810088</c:v>
                </c:pt>
                <c:pt idx="33204">
                  <c:v>31.913682032900773</c:v>
                </c:pt>
                <c:pt idx="33205">
                  <c:v>33.860651704864367</c:v>
                </c:pt>
                <c:pt idx="33206">
                  <c:v>45.292894366398322</c:v>
                </c:pt>
                <c:pt idx="33207">
                  <c:v>42.376883570501597</c:v>
                </c:pt>
                <c:pt idx="33208">
                  <c:v>29.410311237215868</c:v>
                </c:pt>
                <c:pt idx="33209">
                  <c:v>51.414716941884002</c:v>
                </c:pt>
                <c:pt idx="33210">
                  <c:v>26.664695256580963</c:v>
                </c:pt>
                <c:pt idx="33211">
                  <c:v>43.382576038842672</c:v>
                </c:pt>
                <c:pt idx="33212">
                  <c:v>51.934177251346277</c:v>
                </c:pt>
                <c:pt idx="33213">
                  <c:v>58.284285563739843</c:v>
                </c:pt>
                <c:pt idx="33214">
                  <c:v>23.497392967977945</c:v>
                </c:pt>
                <c:pt idx="33215">
                  <c:v>24.369905956100329</c:v>
                </c:pt>
                <c:pt idx="33216">
                  <c:v>28.850803903484778</c:v>
                </c:pt>
                <c:pt idx="33217">
                  <c:v>31.093258451576911</c:v>
                </c:pt>
                <c:pt idx="33218">
                  <c:v>15.172165737070907</c:v>
                </c:pt>
                <c:pt idx="33219">
                  <c:v>25.534310876661767</c:v>
                </c:pt>
                <c:pt idx="33220">
                  <c:v>35.678244682094515</c:v>
                </c:pt>
                <c:pt idx="33221">
                  <c:v>26.758695765160653</c:v>
                </c:pt>
                <c:pt idx="33222">
                  <c:v>45.166172363605824</c:v>
                </c:pt>
                <c:pt idx="33223">
                  <c:v>19.437024420282828</c:v>
                </c:pt>
                <c:pt idx="33224">
                  <c:v>24.219097788987167</c:v>
                </c:pt>
                <c:pt idx="33225">
                  <c:v>46.869746040439367</c:v>
                </c:pt>
                <c:pt idx="33226">
                  <c:v>39.382951427898035</c:v>
                </c:pt>
                <c:pt idx="33227">
                  <c:v>27.182642064700815</c:v>
                </c:pt>
                <c:pt idx="33228">
                  <c:v>49.649995005563362</c:v>
                </c:pt>
                <c:pt idx="33229">
                  <c:v>24.908986824766675</c:v>
                </c:pt>
                <c:pt idx="33230">
                  <c:v>31.554884091536223</c:v>
                </c:pt>
                <c:pt idx="33231">
                  <c:v>23.073994415887423</c:v>
                </c:pt>
                <c:pt idx="33232">
                  <c:v>49.42891345545263</c:v>
                </c:pt>
                <c:pt idx="33233">
                  <c:v>50.777499178925488</c:v>
                </c:pt>
                <c:pt idx="33234">
                  <c:v>23.745502486196088</c:v>
                </c:pt>
                <c:pt idx="33235">
                  <c:v>45.614795566041437</c:v>
                </c:pt>
                <c:pt idx="33236">
                  <c:v>29.348632037175452</c:v>
                </c:pt>
                <c:pt idx="33237">
                  <c:v>43.347119220264119</c:v>
                </c:pt>
                <c:pt idx="33238">
                  <c:v>30.509930865173146</c:v>
                </c:pt>
                <c:pt idx="33239">
                  <c:v>32.943224583426066</c:v>
                </c:pt>
                <c:pt idx="33240">
                  <c:v>30.679815724784714</c:v>
                </c:pt>
                <c:pt idx="33241">
                  <c:v>20.947295517706593</c:v>
                </c:pt>
                <c:pt idx="33242">
                  <c:v>28.553183824883298</c:v>
                </c:pt>
                <c:pt idx="33243">
                  <c:v>25.996700015076215</c:v>
                </c:pt>
                <c:pt idx="33244">
                  <c:v>26.217825113160103</c:v>
                </c:pt>
                <c:pt idx="33245">
                  <c:v>31.030940110476138</c:v>
                </c:pt>
                <c:pt idx="33246">
                  <c:v>54.004956000319588</c:v>
                </c:pt>
                <c:pt idx="33247">
                  <c:v>26.313761441334162</c:v>
                </c:pt>
                <c:pt idx="33248">
                  <c:v>21.428590854513835</c:v>
                </c:pt>
                <c:pt idx="33249">
                  <c:v>24.311314879414262</c:v>
                </c:pt>
                <c:pt idx="33250">
                  <c:v>26.47940305366641</c:v>
                </c:pt>
                <c:pt idx="33251">
                  <c:v>20.583520520189623</c:v>
                </c:pt>
                <c:pt idx="33252">
                  <c:v>22.485365778115007</c:v>
                </c:pt>
                <c:pt idx="33253">
                  <c:v>20.329139932930573</c:v>
                </c:pt>
                <c:pt idx="33254">
                  <c:v>24.232601685747948</c:v>
                </c:pt>
                <c:pt idx="33255">
                  <c:v>20.526605290608128</c:v>
                </c:pt>
                <c:pt idx="33256">
                  <c:v>25.26293324904357</c:v>
                </c:pt>
                <c:pt idx="33257">
                  <c:v>27.399406635907809</c:v>
                </c:pt>
                <c:pt idx="33258">
                  <c:v>45.420335058364806</c:v>
                </c:pt>
                <c:pt idx="33259">
                  <c:v>51.393542638750667</c:v>
                </c:pt>
                <c:pt idx="33260">
                  <c:v>27.072373595800205</c:v>
                </c:pt>
                <c:pt idx="33261">
                  <c:v>25.697441803326207</c:v>
                </c:pt>
                <c:pt idx="33262">
                  <c:v>24.237500771716668</c:v>
                </c:pt>
                <c:pt idx="33263">
                  <c:v>35.467421390401341</c:v>
                </c:pt>
                <c:pt idx="33264">
                  <c:v>29.068360479525829</c:v>
                </c:pt>
                <c:pt idx="33265">
                  <c:v>33.025597043517799</c:v>
                </c:pt>
                <c:pt idx="33266">
                  <c:v>31.598960385056557</c:v>
                </c:pt>
                <c:pt idx="33267">
                  <c:v>24.717978432194283</c:v>
                </c:pt>
                <c:pt idx="33268">
                  <c:v>40.994666727971371</c:v>
                </c:pt>
                <c:pt idx="33269">
                  <c:v>43.643689411844569</c:v>
                </c:pt>
                <c:pt idx="33270">
                  <c:v>53.440026275818397</c:v>
                </c:pt>
                <c:pt idx="33271">
                  <c:v>37.081396811075194</c:v>
                </c:pt>
                <c:pt idx="33272">
                  <c:v>28.736376640648185</c:v>
                </c:pt>
                <c:pt idx="33273">
                  <c:v>33.165873432310143</c:v>
                </c:pt>
                <c:pt idx="33274">
                  <c:v>28.160446673940388</c:v>
                </c:pt>
                <c:pt idx="33275">
                  <c:v>22.408430317088467</c:v>
                </c:pt>
                <c:pt idx="33276">
                  <c:v>36.367362469459195</c:v>
                </c:pt>
                <c:pt idx="33277">
                  <c:v>31.853233235676971</c:v>
                </c:pt>
                <c:pt idx="33278">
                  <c:v>20.945029085151155</c:v>
                </c:pt>
                <c:pt idx="33279">
                  <c:v>23.2819432126756</c:v>
                </c:pt>
                <c:pt idx="33280">
                  <c:v>51.3398018042692</c:v>
                </c:pt>
                <c:pt idx="33281">
                  <c:v>42.691775362769356</c:v>
                </c:pt>
                <c:pt idx="33282">
                  <c:v>45.730005389868957</c:v>
                </c:pt>
                <c:pt idx="33283">
                  <c:v>30.814411122922323</c:v>
                </c:pt>
                <c:pt idx="33284">
                  <c:v>23.624224554034132</c:v>
                </c:pt>
                <c:pt idx="33285">
                  <c:v>31.277361772797491</c:v>
                </c:pt>
                <c:pt idx="33286">
                  <c:v>24.452601865233895</c:v>
                </c:pt>
                <c:pt idx="33287">
                  <c:v>22.338768587738258</c:v>
                </c:pt>
                <c:pt idx="33288">
                  <c:v>34.114089945511942</c:v>
                </c:pt>
                <c:pt idx="33289">
                  <c:v>27.566452498957339</c:v>
                </c:pt>
                <c:pt idx="33290">
                  <c:v>31.102750316971388</c:v>
                </c:pt>
                <c:pt idx="33291">
                  <c:v>20.133404038566681</c:v>
                </c:pt>
                <c:pt idx="33292">
                  <c:v>26.225028349218217</c:v>
                </c:pt>
                <c:pt idx="33293">
                  <c:v>29.782367362197313</c:v>
                </c:pt>
                <c:pt idx="33294">
                  <c:v>30.801526970933978</c:v>
                </c:pt>
                <c:pt idx="33295">
                  <c:v>24.824102003411227</c:v>
                </c:pt>
                <c:pt idx="33296">
                  <c:v>25.148726686945544</c:v>
                </c:pt>
                <c:pt idx="33297">
                  <c:v>28.437600398909648</c:v>
                </c:pt>
                <c:pt idx="33298">
                  <c:v>20.87084599902213</c:v>
                </c:pt>
                <c:pt idx="33299">
                  <c:v>51.757864166924442</c:v>
                </c:pt>
                <c:pt idx="33300">
                  <c:v>26.054713450897047</c:v>
                </c:pt>
                <c:pt idx="33301">
                  <c:v>19.205252337658653</c:v>
                </c:pt>
                <c:pt idx="33302">
                  <c:v>48.137274212803959</c:v>
                </c:pt>
                <c:pt idx="33303">
                  <c:v>44.513392304954706</c:v>
                </c:pt>
                <c:pt idx="33304">
                  <c:v>25.948782651004869</c:v>
                </c:pt>
                <c:pt idx="33305">
                  <c:v>23.231612964192891</c:v>
                </c:pt>
                <c:pt idx="33306">
                  <c:v>29.871366878124185</c:v>
                </c:pt>
                <c:pt idx="33307">
                  <c:v>26.772423959322484</c:v>
                </c:pt>
                <c:pt idx="33308">
                  <c:v>27.290262067338407</c:v>
                </c:pt>
                <c:pt idx="33309">
                  <c:v>23.511071695828424</c:v>
                </c:pt>
                <c:pt idx="33310">
                  <c:v>27.375013932750466</c:v>
                </c:pt>
                <c:pt idx="33311">
                  <c:v>26.148054440247087</c:v>
                </c:pt>
                <c:pt idx="33312">
                  <c:v>26.977796506414379</c:v>
                </c:pt>
                <c:pt idx="33313">
                  <c:v>32.753872309518329</c:v>
                </c:pt>
                <c:pt idx="33314">
                  <c:v>29.271197853819878</c:v>
                </c:pt>
                <c:pt idx="33315">
                  <c:v>47.317595975268119</c:v>
                </c:pt>
                <c:pt idx="33316">
                  <c:v>26.944215024466537</c:v>
                </c:pt>
                <c:pt idx="33317">
                  <c:v>22.928693198530361</c:v>
                </c:pt>
                <c:pt idx="33318">
                  <c:v>31.807827627826057</c:v>
                </c:pt>
                <c:pt idx="33319">
                  <c:v>55.931825572659463</c:v>
                </c:pt>
                <c:pt idx="33320">
                  <c:v>30.047578533819106</c:v>
                </c:pt>
                <c:pt idx="33321">
                  <c:v>22.54415509457862</c:v>
                </c:pt>
                <c:pt idx="33322">
                  <c:v>33.153827458766983</c:v>
                </c:pt>
                <c:pt idx="33323">
                  <c:v>39.362417510703438</c:v>
                </c:pt>
                <c:pt idx="33324">
                  <c:v>58.956766198266564</c:v>
                </c:pt>
                <c:pt idx="33325">
                  <c:v>26.367330074172713</c:v>
                </c:pt>
                <c:pt idx="33326">
                  <c:v>32.486664947624057</c:v>
                </c:pt>
                <c:pt idx="33327">
                  <c:v>30.831032124535831</c:v>
                </c:pt>
                <c:pt idx="33328">
                  <c:v>30.586476688943012</c:v>
                </c:pt>
                <c:pt idx="33329">
                  <c:v>27.941661176304748</c:v>
                </c:pt>
                <c:pt idx="33330">
                  <c:v>16.083547516152219</c:v>
                </c:pt>
                <c:pt idx="33331">
                  <c:v>21.161426775177105</c:v>
                </c:pt>
                <c:pt idx="33332">
                  <c:v>36.932267057012218</c:v>
                </c:pt>
                <c:pt idx="33333">
                  <c:v>42.180417973018066</c:v>
                </c:pt>
                <c:pt idx="33334">
                  <c:v>47.616817975469466</c:v>
                </c:pt>
                <c:pt idx="33335">
                  <c:v>38.108750251437797</c:v>
                </c:pt>
                <c:pt idx="33336">
                  <c:v>30.465046557332329</c:v>
                </c:pt>
                <c:pt idx="33337">
                  <c:v>30.62985286148286</c:v>
                </c:pt>
                <c:pt idx="33338">
                  <c:v>22.481878521131975</c:v>
                </c:pt>
                <c:pt idx="33339">
                  <c:v>29.65874627194858</c:v>
                </c:pt>
                <c:pt idx="33340">
                  <c:v>29.339248580149722</c:v>
                </c:pt>
                <c:pt idx="33341">
                  <c:v>30.926951872037627</c:v>
                </c:pt>
                <c:pt idx="33342">
                  <c:v>46.253712044611731</c:v>
                </c:pt>
                <c:pt idx="33343">
                  <c:v>28.165509236400872</c:v>
                </c:pt>
                <c:pt idx="33344">
                  <c:v>22.360253074639679</c:v>
                </c:pt>
                <c:pt idx="33345">
                  <c:v>57.06860126032602</c:v>
                </c:pt>
                <c:pt idx="33346">
                  <c:v>26.073393608877574</c:v>
                </c:pt>
                <c:pt idx="33347">
                  <c:v>22.084892984508389</c:v>
                </c:pt>
                <c:pt idx="33348">
                  <c:v>29.20934397175359</c:v>
                </c:pt>
                <c:pt idx="33349">
                  <c:v>27.278216192333755</c:v>
                </c:pt>
                <c:pt idx="33350">
                  <c:v>26.303680034258694</c:v>
                </c:pt>
                <c:pt idx="33351">
                  <c:v>25.039584304549287</c:v>
                </c:pt>
                <c:pt idx="33352">
                  <c:v>22.730611672398599</c:v>
                </c:pt>
                <c:pt idx="33353">
                  <c:v>30.712392096589273</c:v>
                </c:pt>
                <c:pt idx="33354">
                  <c:v>24.926506491221073</c:v>
                </c:pt>
                <c:pt idx="33355">
                  <c:v>30.787255970918846</c:v>
                </c:pt>
                <c:pt idx="33356">
                  <c:v>27.061793112454339</c:v>
                </c:pt>
                <c:pt idx="33357">
                  <c:v>18.948222506420841</c:v>
                </c:pt>
                <c:pt idx="33358">
                  <c:v>51.614162787708196</c:v>
                </c:pt>
                <c:pt idx="33359">
                  <c:v>23.412921051549173</c:v>
                </c:pt>
                <c:pt idx="33360">
                  <c:v>29.541956929371093</c:v>
                </c:pt>
                <c:pt idx="33361">
                  <c:v>27.075246487350547</c:v>
                </c:pt>
                <c:pt idx="33362">
                  <c:v>21.066225898801864</c:v>
                </c:pt>
                <c:pt idx="33363">
                  <c:v>35.639369439505138</c:v>
                </c:pt>
                <c:pt idx="33364">
                  <c:v>41.801749764591172</c:v>
                </c:pt>
                <c:pt idx="33365">
                  <c:v>33.02777418950641</c:v>
                </c:pt>
                <c:pt idx="33366">
                  <c:v>19.775533622109997</c:v>
                </c:pt>
                <c:pt idx="33367">
                  <c:v>31.802144560320283</c:v>
                </c:pt>
                <c:pt idx="33368">
                  <c:v>19.894899095439811</c:v>
                </c:pt>
                <c:pt idx="33369">
                  <c:v>53.415969038684153</c:v>
                </c:pt>
                <c:pt idx="33370">
                  <c:v>24.695488926446522</c:v>
                </c:pt>
                <c:pt idx="33371">
                  <c:v>17.69081753062212</c:v>
                </c:pt>
                <c:pt idx="33372">
                  <c:v>33.550265249434474</c:v>
                </c:pt>
                <c:pt idx="33373">
                  <c:v>25.271696639502018</c:v>
                </c:pt>
                <c:pt idx="33374">
                  <c:v>34.327540026409444</c:v>
                </c:pt>
                <c:pt idx="33375">
                  <c:v>26.161929545508386</c:v>
                </c:pt>
                <c:pt idx="33376">
                  <c:v>25.47517189100202</c:v>
                </c:pt>
                <c:pt idx="33377">
                  <c:v>24.618618379516619</c:v>
                </c:pt>
                <c:pt idx="33378">
                  <c:v>24.118378848669316</c:v>
                </c:pt>
                <c:pt idx="33379">
                  <c:v>68.368581290521703</c:v>
                </c:pt>
                <c:pt idx="33380">
                  <c:v>35.478529979094112</c:v>
                </c:pt>
                <c:pt idx="33381">
                  <c:v>35.784288420534544</c:v>
                </c:pt>
                <c:pt idx="33382">
                  <c:v>27.885927451325394</c:v>
                </c:pt>
                <c:pt idx="33383">
                  <c:v>19.063839969900389</c:v>
                </c:pt>
                <c:pt idx="33384">
                  <c:v>19.536223327170795</c:v>
                </c:pt>
                <c:pt idx="33385">
                  <c:v>48.551908051282894</c:v>
                </c:pt>
                <c:pt idx="33386">
                  <c:v>40.009588600124268</c:v>
                </c:pt>
                <c:pt idx="33387">
                  <c:v>23.646070319986912</c:v>
                </c:pt>
                <c:pt idx="33388">
                  <c:v>49.674017782462371</c:v>
                </c:pt>
                <c:pt idx="33389">
                  <c:v>53.25817241505618</c:v>
                </c:pt>
                <c:pt idx="33390">
                  <c:v>33.805168322604786</c:v>
                </c:pt>
                <c:pt idx="33391">
                  <c:v>27.113242260751498</c:v>
                </c:pt>
                <c:pt idx="33392">
                  <c:v>18.970167008147584</c:v>
                </c:pt>
                <c:pt idx="33393">
                  <c:v>31.813706612134666</c:v>
                </c:pt>
                <c:pt idx="33394">
                  <c:v>25.65285294116585</c:v>
                </c:pt>
                <c:pt idx="33395">
                  <c:v>24.958551173387345</c:v>
                </c:pt>
                <c:pt idx="33396">
                  <c:v>37.203006235227171</c:v>
                </c:pt>
                <c:pt idx="33397">
                  <c:v>17.092411604514233</c:v>
                </c:pt>
                <c:pt idx="33398">
                  <c:v>25.101473712225868</c:v>
                </c:pt>
                <c:pt idx="33399">
                  <c:v>26.602287609676221</c:v>
                </c:pt>
                <c:pt idx="33400">
                  <c:v>24.241549959306536</c:v>
                </c:pt>
                <c:pt idx="33401">
                  <c:v>22.187136165159501</c:v>
                </c:pt>
                <c:pt idx="33402">
                  <c:v>39.244680273176975</c:v>
                </c:pt>
                <c:pt idx="33403">
                  <c:v>40.714665600049216</c:v>
                </c:pt>
                <c:pt idx="33404">
                  <c:v>28.379796679361657</c:v>
                </c:pt>
                <c:pt idx="33405">
                  <c:v>31.067996874007985</c:v>
                </c:pt>
                <c:pt idx="33406">
                  <c:v>29.071427433413838</c:v>
                </c:pt>
                <c:pt idx="33407">
                  <c:v>24.225913363810974</c:v>
                </c:pt>
                <c:pt idx="33408">
                  <c:v>19.512604017787709</c:v>
                </c:pt>
                <c:pt idx="33409">
                  <c:v>30.754477659608657</c:v>
                </c:pt>
                <c:pt idx="33410">
                  <c:v>25.839995099979468</c:v>
                </c:pt>
                <c:pt idx="33411">
                  <c:v>45.383934426112646</c:v>
                </c:pt>
                <c:pt idx="33412">
                  <c:v>32.17743008334034</c:v>
                </c:pt>
                <c:pt idx="33413">
                  <c:v>23.318246660244029</c:v>
                </c:pt>
                <c:pt idx="33414">
                  <c:v>25.35000475652118</c:v>
                </c:pt>
                <c:pt idx="33415">
                  <c:v>26.714613744025918</c:v>
                </c:pt>
                <c:pt idx="33416">
                  <c:v>55.585697594938885</c:v>
                </c:pt>
                <c:pt idx="33417">
                  <c:v>26.983157491736346</c:v>
                </c:pt>
                <c:pt idx="33418">
                  <c:v>35.339526516386407</c:v>
                </c:pt>
                <c:pt idx="33419">
                  <c:v>45.492054329244709</c:v>
                </c:pt>
                <c:pt idx="33420">
                  <c:v>18.086505000890792</c:v>
                </c:pt>
                <c:pt idx="33421">
                  <c:v>27.866945899971931</c:v>
                </c:pt>
                <c:pt idx="33422">
                  <c:v>23.350639552379185</c:v>
                </c:pt>
                <c:pt idx="33423">
                  <c:v>22.298323843213375</c:v>
                </c:pt>
                <c:pt idx="33424">
                  <c:v>29.536972336489139</c:v>
                </c:pt>
                <c:pt idx="33425">
                  <c:v>27.016425304067017</c:v>
                </c:pt>
                <c:pt idx="33426">
                  <c:v>26.738811420675386</c:v>
                </c:pt>
                <c:pt idx="33427">
                  <c:v>36.813351500067931</c:v>
                </c:pt>
                <c:pt idx="33428">
                  <c:v>27.53535866817559</c:v>
                </c:pt>
                <c:pt idx="33429">
                  <c:v>22.023725046315786</c:v>
                </c:pt>
                <c:pt idx="33430">
                  <c:v>29.568555199932817</c:v>
                </c:pt>
                <c:pt idx="33431">
                  <c:v>44.280231035152305</c:v>
                </c:pt>
                <c:pt idx="33432">
                  <c:v>16.912188537273718</c:v>
                </c:pt>
                <c:pt idx="33433">
                  <c:v>32.599210454617804</c:v>
                </c:pt>
                <c:pt idx="33434">
                  <c:v>19.716270625651116</c:v>
                </c:pt>
                <c:pt idx="33435">
                  <c:v>26.357042938640461</c:v>
                </c:pt>
                <c:pt idx="33436">
                  <c:v>44.970446435817202</c:v>
                </c:pt>
                <c:pt idx="33437">
                  <c:v>21.208295255501746</c:v>
                </c:pt>
                <c:pt idx="33438">
                  <c:v>23.476741755185085</c:v>
                </c:pt>
                <c:pt idx="33439">
                  <c:v>37.722397251461096</c:v>
                </c:pt>
                <c:pt idx="33440">
                  <c:v>40.498329985408304</c:v>
                </c:pt>
                <c:pt idx="33441">
                  <c:v>32.80580991781644</c:v>
                </c:pt>
                <c:pt idx="33442">
                  <c:v>42.904633704249491</c:v>
                </c:pt>
                <c:pt idx="33443">
                  <c:v>20.36192427116471</c:v>
                </c:pt>
                <c:pt idx="33444">
                  <c:v>31.855293705313393</c:v>
                </c:pt>
                <c:pt idx="33445">
                  <c:v>22.377458300620134</c:v>
                </c:pt>
                <c:pt idx="33446">
                  <c:v>21.895182330126183</c:v>
                </c:pt>
                <c:pt idx="33447">
                  <c:v>28.568461314237375</c:v>
                </c:pt>
                <c:pt idx="33448">
                  <c:v>26.233022632948462</c:v>
                </c:pt>
                <c:pt idx="33449">
                  <c:v>48.517170176756139</c:v>
                </c:pt>
                <c:pt idx="33450">
                  <c:v>48.276764945204938</c:v>
                </c:pt>
                <c:pt idx="33451">
                  <c:v>29.750075928940856</c:v>
                </c:pt>
                <c:pt idx="33452">
                  <c:v>45.358256928707121</c:v>
                </c:pt>
                <c:pt idx="33453">
                  <c:v>20.487870425738599</c:v>
                </c:pt>
                <c:pt idx="33454">
                  <c:v>22.998627958224837</c:v>
                </c:pt>
                <c:pt idx="33455">
                  <c:v>23.450827149309582</c:v>
                </c:pt>
                <c:pt idx="33456">
                  <c:v>17.494028539533275</c:v>
                </c:pt>
                <c:pt idx="33457">
                  <c:v>28.583889287662238</c:v>
                </c:pt>
                <c:pt idx="33458">
                  <c:v>24.696231264166443</c:v>
                </c:pt>
                <c:pt idx="33459">
                  <c:v>23.340823204169183</c:v>
                </c:pt>
                <c:pt idx="33460">
                  <c:v>21.639594232349864</c:v>
                </c:pt>
                <c:pt idx="33461">
                  <c:v>22.314140998687733</c:v>
                </c:pt>
                <c:pt idx="33462">
                  <c:v>32.189782918528657</c:v>
                </c:pt>
                <c:pt idx="33463">
                  <c:v>53.233025421401493</c:v>
                </c:pt>
                <c:pt idx="33464">
                  <c:v>24.497721287932485</c:v>
                </c:pt>
                <c:pt idx="33465">
                  <c:v>23.978083433834961</c:v>
                </c:pt>
                <c:pt idx="33466">
                  <c:v>21.10517218921834</c:v>
                </c:pt>
                <c:pt idx="33467">
                  <c:v>16.621515641304562</c:v>
                </c:pt>
                <c:pt idx="33468">
                  <c:v>32.970814923034666</c:v>
                </c:pt>
                <c:pt idx="33469">
                  <c:v>24.712806651811746</c:v>
                </c:pt>
                <c:pt idx="33470">
                  <c:v>26.738004508320117</c:v>
                </c:pt>
                <c:pt idx="33471">
                  <c:v>38.856399578470572</c:v>
                </c:pt>
                <c:pt idx="33472">
                  <c:v>30.716352651025844</c:v>
                </c:pt>
                <c:pt idx="33473">
                  <c:v>28.698155512119477</c:v>
                </c:pt>
                <c:pt idx="33474">
                  <c:v>23.570712800343809</c:v>
                </c:pt>
                <c:pt idx="33475">
                  <c:v>22.432715376623271</c:v>
                </c:pt>
                <c:pt idx="33476">
                  <c:v>43.190034629837719</c:v>
                </c:pt>
                <c:pt idx="33477">
                  <c:v>30.282354289976112</c:v>
                </c:pt>
                <c:pt idx="33478">
                  <c:v>25.559207999704228</c:v>
                </c:pt>
                <c:pt idx="33479">
                  <c:v>20.880587944822846</c:v>
                </c:pt>
                <c:pt idx="33480">
                  <c:v>32.51393830829528</c:v>
                </c:pt>
                <c:pt idx="33481">
                  <c:v>38.336282433398637</c:v>
                </c:pt>
                <c:pt idx="33482">
                  <c:v>24.414694551396337</c:v>
                </c:pt>
                <c:pt idx="33483">
                  <c:v>46.939496326856272</c:v>
                </c:pt>
                <c:pt idx="33484">
                  <c:v>29.420034228083928</c:v>
                </c:pt>
                <c:pt idx="33485">
                  <c:v>33.381110594671497</c:v>
                </c:pt>
                <c:pt idx="33486">
                  <c:v>28.086602444624067</c:v>
                </c:pt>
                <c:pt idx="33487">
                  <c:v>25.837490494568602</c:v>
                </c:pt>
                <c:pt idx="33488">
                  <c:v>28.866600119693452</c:v>
                </c:pt>
                <c:pt idx="33489">
                  <c:v>32.343527756696574</c:v>
                </c:pt>
                <c:pt idx="33490">
                  <c:v>36.941659004611424</c:v>
                </c:pt>
                <c:pt idx="33491">
                  <c:v>29.97803238421394</c:v>
                </c:pt>
                <c:pt idx="33492">
                  <c:v>28.893137951946841</c:v>
                </c:pt>
                <c:pt idx="33493">
                  <c:v>33.917075449070481</c:v>
                </c:pt>
                <c:pt idx="33494">
                  <c:v>22.617598722492843</c:v>
                </c:pt>
                <c:pt idx="33495">
                  <c:v>27.070881495961149</c:v>
                </c:pt>
                <c:pt idx="33496">
                  <c:v>19.742386257654054</c:v>
                </c:pt>
                <c:pt idx="33497">
                  <c:v>30.022818111935791</c:v>
                </c:pt>
                <c:pt idx="33498">
                  <c:v>29.253906198346979</c:v>
                </c:pt>
                <c:pt idx="33499">
                  <c:v>40.03774320383738</c:v>
                </c:pt>
                <c:pt idx="33500">
                  <c:v>54.382579436517204</c:v>
                </c:pt>
                <c:pt idx="33501">
                  <c:v>52.081098493068808</c:v>
                </c:pt>
                <c:pt idx="33502">
                  <c:v>20.009812457492487</c:v>
                </c:pt>
                <c:pt idx="33503">
                  <c:v>30.921943511272371</c:v>
                </c:pt>
                <c:pt idx="33504">
                  <c:v>28.757829823316865</c:v>
                </c:pt>
                <c:pt idx="33505">
                  <c:v>24.016738221425598</c:v>
                </c:pt>
                <c:pt idx="33506">
                  <c:v>41.52503540602472</c:v>
                </c:pt>
                <c:pt idx="33507">
                  <c:v>24.861686737075953</c:v>
                </c:pt>
                <c:pt idx="33508">
                  <c:v>25.809708469160082</c:v>
                </c:pt>
                <c:pt idx="33509">
                  <c:v>32.006798990805308</c:v>
                </c:pt>
                <c:pt idx="33510">
                  <c:v>23.47553583351295</c:v>
                </c:pt>
                <c:pt idx="33511">
                  <c:v>33.099210546950715</c:v>
                </c:pt>
                <c:pt idx="33512">
                  <c:v>25.160211743385997</c:v>
                </c:pt>
                <c:pt idx="33513">
                  <c:v>27.935281826447365</c:v>
                </c:pt>
                <c:pt idx="33514">
                  <c:v>19.989998875328389</c:v>
                </c:pt>
                <c:pt idx="33515">
                  <c:v>26.742037196787194</c:v>
                </c:pt>
                <c:pt idx="33516">
                  <c:v>20.344037661056067</c:v>
                </c:pt>
                <c:pt idx="33517">
                  <c:v>30.367703331908359</c:v>
                </c:pt>
                <c:pt idx="33518">
                  <c:v>29.324916373097075</c:v>
                </c:pt>
                <c:pt idx="33519">
                  <c:v>49.14532810961088</c:v>
                </c:pt>
                <c:pt idx="33520">
                  <c:v>28.251662573588433</c:v>
                </c:pt>
                <c:pt idx="33521">
                  <c:v>30.219818313322598</c:v>
                </c:pt>
                <c:pt idx="33522">
                  <c:v>25.168761328172192</c:v>
                </c:pt>
                <c:pt idx="33523">
                  <c:v>45.51166334227505</c:v>
                </c:pt>
                <c:pt idx="33524">
                  <c:v>42.162714128478676</c:v>
                </c:pt>
                <c:pt idx="33525">
                  <c:v>20.280971764612516</c:v>
                </c:pt>
                <c:pt idx="33526">
                  <c:v>44.822942494059795</c:v>
                </c:pt>
                <c:pt idx="33527">
                  <c:v>38.883512963348736</c:v>
                </c:pt>
                <c:pt idx="33528">
                  <c:v>23.767212780336965</c:v>
                </c:pt>
                <c:pt idx="33529">
                  <c:v>18.539110696290507</c:v>
                </c:pt>
                <c:pt idx="33530">
                  <c:v>45.680415118341401</c:v>
                </c:pt>
                <c:pt idx="33531">
                  <c:v>25.591602915566082</c:v>
                </c:pt>
                <c:pt idx="33532">
                  <c:v>24.200868467006082</c:v>
                </c:pt>
                <c:pt idx="33533">
                  <c:v>20.53640504804277</c:v>
                </c:pt>
                <c:pt idx="33534">
                  <c:v>44.539608582134882</c:v>
                </c:pt>
                <c:pt idx="33535">
                  <c:v>27.929631120642544</c:v>
                </c:pt>
                <c:pt idx="33536">
                  <c:v>23.552962123611799</c:v>
                </c:pt>
                <c:pt idx="33537">
                  <c:v>43.410660482198843</c:v>
                </c:pt>
                <c:pt idx="33538">
                  <c:v>35.79133007044959</c:v>
                </c:pt>
                <c:pt idx="33539">
                  <c:v>20.935014341625752</c:v>
                </c:pt>
                <c:pt idx="33540">
                  <c:v>22.499788507395795</c:v>
                </c:pt>
                <c:pt idx="33541">
                  <c:v>22.028378362846066</c:v>
                </c:pt>
                <c:pt idx="33542">
                  <c:v>21.59044854427577</c:v>
                </c:pt>
                <c:pt idx="33543">
                  <c:v>30.944765595047997</c:v>
                </c:pt>
                <c:pt idx="33544">
                  <c:v>32.478970652021303</c:v>
                </c:pt>
                <c:pt idx="33545">
                  <c:v>28.909714582456758</c:v>
                </c:pt>
                <c:pt idx="33546">
                  <c:v>18.031324473757653</c:v>
                </c:pt>
                <c:pt idx="33547">
                  <c:v>25.324868152086481</c:v>
                </c:pt>
                <c:pt idx="33548">
                  <c:v>26.228735214467498</c:v>
                </c:pt>
                <c:pt idx="33549">
                  <c:v>20.533012898726376</c:v>
                </c:pt>
                <c:pt idx="33550">
                  <c:v>33.516040898907036</c:v>
                </c:pt>
                <c:pt idx="33551">
                  <c:v>26.087495553111147</c:v>
                </c:pt>
                <c:pt idx="33552">
                  <c:v>24.077480310899507</c:v>
                </c:pt>
                <c:pt idx="33553">
                  <c:v>28.596934381198505</c:v>
                </c:pt>
                <c:pt idx="33554">
                  <c:v>31.437826532575649</c:v>
                </c:pt>
                <c:pt idx="33555">
                  <c:v>22.437138400730348</c:v>
                </c:pt>
                <c:pt idx="33556">
                  <c:v>23.189524372700184</c:v>
                </c:pt>
                <c:pt idx="33557">
                  <c:v>34.803444580418301</c:v>
                </c:pt>
                <c:pt idx="33558">
                  <c:v>36.346298756159968</c:v>
                </c:pt>
                <c:pt idx="33559">
                  <c:v>30.42932013696808</c:v>
                </c:pt>
                <c:pt idx="33560">
                  <c:v>35.224593744413966</c:v>
                </c:pt>
                <c:pt idx="33561">
                  <c:v>31.491052321130013</c:v>
                </c:pt>
                <c:pt idx="33562">
                  <c:v>27.142039445879195</c:v>
                </c:pt>
                <c:pt idx="33563">
                  <c:v>21.703872176781193</c:v>
                </c:pt>
                <c:pt idx="33564">
                  <c:v>20.482868239449235</c:v>
                </c:pt>
                <c:pt idx="33565">
                  <c:v>42.882988647832377</c:v>
                </c:pt>
                <c:pt idx="33566">
                  <c:v>53.654201297573479</c:v>
                </c:pt>
                <c:pt idx="33567">
                  <c:v>23.887981689700858</c:v>
                </c:pt>
                <c:pt idx="33568">
                  <c:v>28.100681875608938</c:v>
                </c:pt>
                <c:pt idx="33569">
                  <c:v>23.789000494517602</c:v>
                </c:pt>
                <c:pt idx="33570">
                  <c:v>26.097343378057346</c:v>
                </c:pt>
                <c:pt idx="33571">
                  <c:v>24.107055749245927</c:v>
                </c:pt>
                <c:pt idx="33572">
                  <c:v>30.423611155201623</c:v>
                </c:pt>
                <c:pt idx="33573">
                  <c:v>21.300401974915342</c:v>
                </c:pt>
                <c:pt idx="33574">
                  <c:v>24.237666617392822</c:v>
                </c:pt>
                <c:pt idx="33575">
                  <c:v>36.510008006173621</c:v>
                </c:pt>
                <c:pt idx="33576">
                  <c:v>30.95842026657656</c:v>
                </c:pt>
                <c:pt idx="33577">
                  <c:v>33.602997998461696</c:v>
                </c:pt>
                <c:pt idx="33578">
                  <c:v>48.506443521499833</c:v>
                </c:pt>
                <c:pt idx="33579">
                  <c:v>27.439347394880919</c:v>
                </c:pt>
                <c:pt idx="33580">
                  <c:v>27.88979144000308</c:v>
                </c:pt>
                <c:pt idx="33581">
                  <c:v>53.671441490760344</c:v>
                </c:pt>
                <c:pt idx="33582">
                  <c:v>53.909220886652065</c:v>
                </c:pt>
                <c:pt idx="33583">
                  <c:v>22.783165835566166</c:v>
                </c:pt>
                <c:pt idx="33584">
                  <c:v>27.640021066652881</c:v>
                </c:pt>
                <c:pt idx="33585">
                  <c:v>44.320118779843952</c:v>
                </c:pt>
                <c:pt idx="33586">
                  <c:v>29.358246774124297</c:v>
                </c:pt>
                <c:pt idx="33587">
                  <c:v>11.698662013367848</c:v>
                </c:pt>
                <c:pt idx="33588">
                  <c:v>32.861126604254281</c:v>
                </c:pt>
                <c:pt idx="33589">
                  <c:v>26.324274038486593</c:v>
                </c:pt>
                <c:pt idx="33590">
                  <c:v>38.132275559983853</c:v>
                </c:pt>
                <c:pt idx="33591">
                  <c:v>26.264683631436512</c:v>
                </c:pt>
                <c:pt idx="33592">
                  <c:v>27.212854173522587</c:v>
                </c:pt>
                <c:pt idx="33593">
                  <c:v>32.253076272212823</c:v>
                </c:pt>
                <c:pt idx="33594">
                  <c:v>24.190499451114739</c:v>
                </c:pt>
                <c:pt idx="33595">
                  <c:v>48.654524020172971</c:v>
                </c:pt>
                <c:pt idx="33596">
                  <c:v>27.004075077723126</c:v>
                </c:pt>
                <c:pt idx="33597">
                  <c:v>18.504181759111425</c:v>
                </c:pt>
                <c:pt idx="33598">
                  <c:v>22.74478229775476</c:v>
                </c:pt>
                <c:pt idx="33599">
                  <c:v>31.105892573516449</c:v>
                </c:pt>
                <c:pt idx="33600">
                  <c:v>49.776001608111486</c:v>
                </c:pt>
                <c:pt idx="33601">
                  <c:v>50.809935996538215</c:v>
                </c:pt>
                <c:pt idx="33602">
                  <c:v>44.939686806144806</c:v>
                </c:pt>
                <c:pt idx="33603">
                  <c:v>31.746023981297032</c:v>
                </c:pt>
                <c:pt idx="33604">
                  <c:v>21.923918781901801</c:v>
                </c:pt>
                <c:pt idx="33605">
                  <c:v>28.811276795724815</c:v>
                </c:pt>
                <c:pt idx="33606">
                  <c:v>32.261953186714464</c:v>
                </c:pt>
                <c:pt idx="33607">
                  <c:v>58.441233658396904</c:v>
                </c:pt>
                <c:pt idx="33608">
                  <c:v>31.602912256586748</c:v>
                </c:pt>
                <c:pt idx="33609">
                  <c:v>23.775148638779065</c:v>
                </c:pt>
                <c:pt idx="33610">
                  <c:v>24.891871598546675</c:v>
                </c:pt>
                <c:pt idx="33611">
                  <c:v>36.026351695451645</c:v>
                </c:pt>
                <c:pt idx="33612">
                  <c:v>25.715583875770971</c:v>
                </c:pt>
                <c:pt idx="33613">
                  <c:v>29.057094557090466</c:v>
                </c:pt>
                <c:pt idx="33614">
                  <c:v>36.829255438415117</c:v>
                </c:pt>
                <c:pt idx="33615">
                  <c:v>41.118590626956575</c:v>
                </c:pt>
                <c:pt idx="33616">
                  <c:v>19.161884622130902</c:v>
                </c:pt>
                <c:pt idx="33617">
                  <c:v>24.74473302527543</c:v>
                </c:pt>
                <c:pt idx="33618">
                  <c:v>17.064001143282006</c:v>
                </c:pt>
                <c:pt idx="33619">
                  <c:v>22.951960450500046</c:v>
                </c:pt>
                <c:pt idx="33620">
                  <c:v>26.962562182457457</c:v>
                </c:pt>
                <c:pt idx="33621">
                  <c:v>32.90989564665643</c:v>
                </c:pt>
                <c:pt idx="33622">
                  <c:v>25.909168435399106</c:v>
                </c:pt>
                <c:pt idx="33623">
                  <c:v>20.187435375899671</c:v>
                </c:pt>
                <c:pt idx="33624">
                  <c:v>23.839348433064018</c:v>
                </c:pt>
                <c:pt idx="33625">
                  <c:v>18.547315856613597</c:v>
                </c:pt>
                <c:pt idx="33626">
                  <c:v>33.178572713563831</c:v>
                </c:pt>
                <c:pt idx="33627">
                  <c:v>32.8916373167553</c:v>
                </c:pt>
                <c:pt idx="33628">
                  <c:v>26.047199530149172</c:v>
                </c:pt>
                <c:pt idx="33629">
                  <c:v>51.82729772784144</c:v>
                </c:pt>
                <c:pt idx="33630">
                  <c:v>42.466284362091599</c:v>
                </c:pt>
                <c:pt idx="33631">
                  <c:v>53.794711241966482</c:v>
                </c:pt>
                <c:pt idx="33632">
                  <c:v>27.176130089403788</c:v>
                </c:pt>
                <c:pt idx="33633">
                  <c:v>20.81925481474164</c:v>
                </c:pt>
                <c:pt idx="33634">
                  <c:v>32.395059196909365</c:v>
                </c:pt>
                <c:pt idx="33635">
                  <c:v>29.633638352670637</c:v>
                </c:pt>
                <c:pt idx="33636">
                  <c:v>54.426228924256677</c:v>
                </c:pt>
                <c:pt idx="33637">
                  <c:v>29.07278832968376</c:v>
                </c:pt>
                <c:pt idx="33638">
                  <c:v>23.495419961255841</c:v>
                </c:pt>
                <c:pt idx="33639">
                  <c:v>23.043964625217672</c:v>
                </c:pt>
                <c:pt idx="33640">
                  <c:v>29.904632403754213</c:v>
                </c:pt>
                <c:pt idx="33641">
                  <c:v>39.311278672878494</c:v>
                </c:pt>
                <c:pt idx="33642">
                  <c:v>25.004988661509952</c:v>
                </c:pt>
                <c:pt idx="33643">
                  <c:v>52.966543631711559</c:v>
                </c:pt>
                <c:pt idx="33644">
                  <c:v>27.498475846814024</c:v>
                </c:pt>
                <c:pt idx="33645">
                  <c:v>30.826318893319861</c:v>
                </c:pt>
                <c:pt idx="33646">
                  <c:v>30.485560679446344</c:v>
                </c:pt>
                <c:pt idx="33647">
                  <c:v>26.802853603482479</c:v>
                </c:pt>
                <c:pt idx="33648">
                  <c:v>25.696376136383833</c:v>
                </c:pt>
                <c:pt idx="33649">
                  <c:v>21.632419298769708</c:v>
                </c:pt>
                <c:pt idx="33650">
                  <c:v>24.901596729518992</c:v>
                </c:pt>
                <c:pt idx="33651">
                  <c:v>29.450909639247122</c:v>
                </c:pt>
                <c:pt idx="33652">
                  <c:v>28.885970364639075</c:v>
                </c:pt>
                <c:pt idx="33653">
                  <c:v>37.041389941463947</c:v>
                </c:pt>
                <c:pt idx="33654">
                  <c:v>21.958029709283501</c:v>
                </c:pt>
                <c:pt idx="33655">
                  <c:v>24.993432571117662</c:v>
                </c:pt>
                <c:pt idx="33656">
                  <c:v>23.37505811301298</c:v>
                </c:pt>
                <c:pt idx="33657">
                  <c:v>13.526083534414267</c:v>
                </c:pt>
                <c:pt idx="33658">
                  <c:v>26.410547440240176</c:v>
                </c:pt>
                <c:pt idx="33659">
                  <c:v>45.972769445462411</c:v>
                </c:pt>
                <c:pt idx="33660">
                  <c:v>28.554548319038091</c:v>
                </c:pt>
                <c:pt idx="33661">
                  <c:v>30.955197943709919</c:v>
                </c:pt>
                <c:pt idx="33662">
                  <c:v>24.696164984968089</c:v>
                </c:pt>
                <c:pt idx="33663">
                  <c:v>25.408052569799416</c:v>
                </c:pt>
                <c:pt idx="33664">
                  <c:v>34.143005348568579</c:v>
                </c:pt>
                <c:pt idx="33665">
                  <c:v>19.456890547094709</c:v>
                </c:pt>
                <c:pt idx="33666">
                  <c:v>28.85972237426736</c:v>
                </c:pt>
                <c:pt idx="33667">
                  <c:v>24.939123192812755</c:v>
                </c:pt>
                <c:pt idx="33668">
                  <c:v>33.365692555750961</c:v>
                </c:pt>
                <c:pt idx="33669">
                  <c:v>38.338292573351794</c:v>
                </c:pt>
                <c:pt idx="33670">
                  <c:v>40.105297259579544</c:v>
                </c:pt>
                <c:pt idx="33671">
                  <c:v>20.319814643655285</c:v>
                </c:pt>
                <c:pt idx="33672">
                  <c:v>24.541932657773909</c:v>
                </c:pt>
                <c:pt idx="33673">
                  <c:v>35.040665752741653</c:v>
                </c:pt>
                <c:pt idx="33674">
                  <c:v>42.741522564132495</c:v>
                </c:pt>
                <c:pt idx="33675">
                  <c:v>25.888011349963463</c:v>
                </c:pt>
                <c:pt idx="33676">
                  <c:v>23.918909250724329</c:v>
                </c:pt>
                <c:pt idx="33677">
                  <c:v>22.923176254855935</c:v>
                </c:pt>
                <c:pt idx="33678">
                  <c:v>29.606741887585514</c:v>
                </c:pt>
                <c:pt idx="33679">
                  <c:v>28.695087210909112</c:v>
                </c:pt>
                <c:pt idx="33680">
                  <c:v>42.067618259460872</c:v>
                </c:pt>
                <c:pt idx="33681">
                  <c:v>28.097674248558885</c:v>
                </c:pt>
                <c:pt idx="33682">
                  <c:v>19.210986563524486</c:v>
                </c:pt>
                <c:pt idx="33683">
                  <c:v>26.182760520452689</c:v>
                </c:pt>
                <c:pt idx="33684">
                  <c:v>24.694247915827319</c:v>
                </c:pt>
                <c:pt idx="33685">
                  <c:v>25.221514342200276</c:v>
                </c:pt>
                <c:pt idx="33686">
                  <c:v>44.332927539049443</c:v>
                </c:pt>
                <c:pt idx="33687">
                  <c:v>23.057167460907326</c:v>
                </c:pt>
                <c:pt idx="33688">
                  <c:v>18.787626049426368</c:v>
                </c:pt>
                <c:pt idx="33689">
                  <c:v>27.365855963293246</c:v>
                </c:pt>
                <c:pt idx="33690">
                  <c:v>28.33244674118523</c:v>
                </c:pt>
                <c:pt idx="33691">
                  <c:v>49.573602224056586</c:v>
                </c:pt>
                <c:pt idx="33692">
                  <c:v>26.414057765069142</c:v>
                </c:pt>
                <c:pt idx="33693">
                  <c:v>31.83775447857278</c:v>
                </c:pt>
                <c:pt idx="33694">
                  <c:v>41.737967853401187</c:v>
                </c:pt>
                <c:pt idx="33695">
                  <c:v>31.470732215269091</c:v>
                </c:pt>
                <c:pt idx="33696">
                  <c:v>30.228952192430953</c:v>
                </c:pt>
                <c:pt idx="33697">
                  <c:v>23.792911726772886</c:v>
                </c:pt>
                <c:pt idx="33698">
                  <c:v>25.421799402690606</c:v>
                </c:pt>
                <c:pt idx="33699">
                  <c:v>25.821272920374621</c:v>
                </c:pt>
                <c:pt idx="33700">
                  <c:v>48.392879888635719</c:v>
                </c:pt>
                <c:pt idx="33701">
                  <c:v>43.321173745481538</c:v>
                </c:pt>
                <c:pt idx="33702">
                  <c:v>23.956278779389319</c:v>
                </c:pt>
                <c:pt idx="33703">
                  <c:v>22.883173557749732</c:v>
                </c:pt>
                <c:pt idx="33704">
                  <c:v>56.268043462803362</c:v>
                </c:pt>
                <c:pt idx="33705">
                  <c:v>28.61611032274952</c:v>
                </c:pt>
                <c:pt idx="33706">
                  <c:v>32.695656791384472</c:v>
                </c:pt>
                <c:pt idx="33707">
                  <c:v>22.027369468320195</c:v>
                </c:pt>
                <c:pt idx="33708">
                  <c:v>17.821444770852064</c:v>
                </c:pt>
                <c:pt idx="33709">
                  <c:v>29.878695557207877</c:v>
                </c:pt>
                <c:pt idx="33710">
                  <c:v>34.662062016191015</c:v>
                </c:pt>
                <c:pt idx="33711">
                  <c:v>20.295295434183753</c:v>
                </c:pt>
                <c:pt idx="33712">
                  <c:v>22.775427198661713</c:v>
                </c:pt>
                <c:pt idx="33713">
                  <c:v>31.271132190957115</c:v>
                </c:pt>
                <c:pt idx="33714">
                  <c:v>23.673932954084329</c:v>
                </c:pt>
                <c:pt idx="33715">
                  <c:v>20.638123785873599</c:v>
                </c:pt>
                <c:pt idx="33716">
                  <c:v>38.138957093278584</c:v>
                </c:pt>
                <c:pt idx="33717">
                  <c:v>24.390314044257853</c:v>
                </c:pt>
                <c:pt idx="33718">
                  <c:v>21.602555298600517</c:v>
                </c:pt>
                <c:pt idx="33719">
                  <c:v>25.447859212904866</c:v>
                </c:pt>
                <c:pt idx="33720">
                  <c:v>21.708456753645109</c:v>
                </c:pt>
                <c:pt idx="33721">
                  <c:v>29.59559796988091</c:v>
                </c:pt>
                <c:pt idx="33722">
                  <c:v>27.491520145159186</c:v>
                </c:pt>
                <c:pt idx="33723">
                  <c:v>53.529107245851492</c:v>
                </c:pt>
                <c:pt idx="33724">
                  <c:v>27.164070479017788</c:v>
                </c:pt>
                <c:pt idx="33725">
                  <c:v>32.767568339340023</c:v>
                </c:pt>
                <c:pt idx="33726">
                  <c:v>39.780092516349058</c:v>
                </c:pt>
                <c:pt idx="33727">
                  <c:v>18.119667440020578</c:v>
                </c:pt>
                <c:pt idx="33728">
                  <c:v>48.182633159420696</c:v>
                </c:pt>
                <c:pt idx="33729">
                  <c:v>31.663519784414206</c:v>
                </c:pt>
                <c:pt idx="33730">
                  <c:v>31.600210909520175</c:v>
                </c:pt>
                <c:pt idx="33731">
                  <c:v>26.536885711161531</c:v>
                </c:pt>
                <c:pt idx="33732">
                  <c:v>31.742092043298229</c:v>
                </c:pt>
                <c:pt idx="33733">
                  <c:v>19.174227917534296</c:v>
                </c:pt>
                <c:pt idx="33734">
                  <c:v>47.013250188681177</c:v>
                </c:pt>
                <c:pt idx="33735">
                  <c:v>29.352753276218486</c:v>
                </c:pt>
                <c:pt idx="33736">
                  <c:v>50.085699222297009</c:v>
                </c:pt>
                <c:pt idx="33737">
                  <c:v>30.957700282469286</c:v>
                </c:pt>
                <c:pt idx="33738">
                  <c:v>37.000543035951416</c:v>
                </c:pt>
                <c:pt idx="33739">
                  <c:v>38.776834510365312</c:v>
                </c:pt>
                <c:pt idx="33740">
                  <c:v>29.693116683324128</c:v>
                </c:pt>
                <c:pt idx="33741">
                  <c:v>29.520424535206246</c:v>
                </c:pt>
                <c:pt idx="33742">
                  <c:v>32.690160050556308</c:v>
                </c:pt>
                <c:pt idx="33743">
                  <c:v>27.962621413850194</c:v>
                </c:pt>
                <c:pt idx="33744">
                  <c:v>31.602724865224399</c:v>
                </c:pt>
                <c:pt idx="33745">
                  <c:v>25.478404817201</c:v>
                </c:pt>
                <c:pt idx="33746">
                  <c:v>49.1889159445941</c:v>
                </c:pt>
                <c:pt idx="33747">
                  <c:v>26.741572046134344</c:v>
                </c:pt>
                <c:pt idx="33748">
                  <c:v>33.913468005334231</c:v>
                </c:pt>
                <c:pt idx="33749">
                  <c:v>21.655235102024861</c:v>
                </c:pt>
                <c:pt idx="33750">
                  <c:v>15.367394889011551</c:v>
                </c:pt>
                <c:pt idx="33751">
                  <c:v>21.130268805325045</c:v>
                </c:pt>
                <c:pt idx="33752">
                  <c:v>23.466859408910949</c:v>
                </c:pt>
                <c:pt idx="33753">
                  <c:v>49.951195221874862</c:v>
                </c:pt>
                <c:pt idx="33754">
                  <c:v>23.404326322062328</c:v>
                </c:pt>
                <c:pt idx="33755">
                  <c:v>24.590580697565169</c:v>
                </c:pt>
                <c:pt idx="33756">
                  <c:v>26.045403179533711</c:v>
                </c:pt>
                <c:pt idx="33757">
                  <c:v>22.514693055504154</c:v>
                </c:pt>
                <c:pt idx="33758">
                  <c:v>36.788682683709872</c:v>
                </c:pt>
                <c:pt idx="33759">
                  <c:v>28.324876027303858</c:v>
                </c:pt>
                <c:pt idx="33760">
                  <c:v>30.395240210973753</c:v>
                </c:pt>
                <c:pt idx="33761">
                  <c:v>23.754851938203625</c:v>
                </c:pt>
                <c:pt idx="33762">
                  <c:v>30.864257799569604</c:v>
                </c:pt>
                <c:pt idx="33763">
                  <c:v>21.170122634868562</c:v>
                </c:pt>
                <c:pt idx="33764">
                  <c:v>32.69641457145412</c:v>
                </c:pt>
                <c:pt idx="33765">
                  <c:v>44.381509956000102</c:v>
                </c:pt>
                <c:pt idx="33766">
                  <c:v>23.597827389616832</c:v>
                </c:pt>
                <c:pt idx="33767">
                  <c:v>45.29096445841148</c:v>
                </c:pt>
                <c:pt idx="33768">
                  <c:v>24.848055138539131</c:v>
                </c:pt>
                <c:pt idx="33769">
                  <c:v>32.916086601604846</c:v>
                </c:pt>
                <c:pt idx="33770">
                  <c:v>31.04365246548813</c:v>
                </c:pt>
                <c:pt idx="33771">
                  <c:v>26.595573244525475</c:v>
                </c:pt>
                <c:pt idx="33772">
                  <c:v>32.919646074014629</c:v>
                </c:pt>
                <c:pt idx="33773">
                  <c:v>47.755639740239289</c:v>
                </c:pt>
                <c:pt idx="33774">
                  <c:v>34.89123786409553</c:v>
                </c:pt>
                <c:pt idx="33775">
                  <c:v>18.39765871107554</c:v>
                </c:pt>
                <c:pt idx="33776">
                  <c:v>41.032299415892908</c:v>
                </c:pt>
                <c:pt idx="33777">
                  <c:v>26.947246204628666</c:v>
                </c:pt>
                <c:pt idx="33778">
                  <c:v>23.865728634080533</c:v>
                </c:pt>
                <c:pt idx="33779">
                  <c:v>41.343178641394346</c:v>
                </c:pt>
                <c:pt idx="33780">
                  <c:v>29.633191970726802</c:v>
                </c:pt>
                <c:pt idx="33781">
                  <c:v>36.3465745069064</c:v>
                </c:pt>
                <c:pt idx="33782">
                  <c:v>27.707974947716885</c:v>
                </c:pt>
                <c:pt idx="33783">
                  <c:v>25.052217895450529</c:v>
                </c:pt>
                <c:pt idx="33784">
                  <c:v>35.546862635415096</c:v>
                </c:pt>
                <c:pt idx="33785">
                  <c:v>26.837515074225422</c:v>
                </c:pt>
                <c:pt idx="33786">
                  <c:v>21.943109294926515</c:v>
                </c:pt>
                <c:pt idx="33787">
                  <c:v>26.274141243481637</c:v>
                </c:pt>
                <c:pt idx="33788">
                  <c:v>24.947930860995953</c:v>
                </c:pt>
                <c:pt idx="33789">
                  <c:v>32.133456331210937</c:v>
                </c:pt>
                <c:pt idx="33790">
                  <c:v>24.561457837829721</c:v>
                </c:pt>
                <c:pt idx="33791">
                  <c:v>28.173999252552317</c:v>
                </c:pt>
                <c:pt idx="33792">
                  <c:v>26.832349598628696</c:v>
                </c:pt>
                <c:pt idx="33793">
                  <c:v>26.14007474435742</c:v>
                </c:pt>
                <c:pt idx="33794">
                  <c:v>22.810806146251316</c:v>
                </c:pt>
                <c:pt idx="33795">
                  <c:v>24.273188687922698</c:v>
                </c:pt>
                <c:pt idx="33796">
                  <c:v>38.360449193231851</c:v>
                </c:pt>
                <c:pt idx="33797">
                  <c:v>29.675694331802873</c:v>
                </c:pt>
                <c:pt idx="33798">
                  <c:v>38.532891367562428</c:v>
                </c:pt>
                <c:pt idx="33799">
                  <c:v>49.904007923406553</c:v>
                </c:pt>
                <c:pt idx="33800">
                  <c:v>40.645610580883044</c:v>
                </c:pt>
                <c:pt idx="33801">
                  <c:v>19.530308802393186</c:v>
                </c:pt>
                <c:pt idx="33802">
                  <c:v>35.360629677878279</c:v>
                </c:pt>
                <c:pt idx="33803">
                  <c:v>22.821654425938423</c:v>
                </c:pt>
                <c:pt idx="33804">
                  <c:v>27.423544700837816</c:v>
                </c:pt>
                <c:pt idx="33805">
                  <c:v>25.959616399245547</c:v>
                </c:pt>
                <c:pt idx="33806">
                  <c:v>25.053003840105742</c:v>
                </c:pt>
                <c:pt idx="33807">
                  <c:v>29.22671028986683</c:v>
                </c:pt>
                <c:pt idx="33808">
                  <c:v>26.826510117763441</c:v>
                </c:pt>
                <c:pt idx="33809">
                  <c:v>25.153175577828442</c:v>
                </c:pt>
                <c:pt idx="33810">
                  <c:v>37.646909747842685</c:v>
                </c:pt>
                <c:pt idx="33811">
                  <c:v>30.427051049641218</c:v>
                </c:pt>
                <c:pt idx="33812">
                  <c:v>38.858196475888718</c:v>
                </c:pt>
                <c:pt idx="33813">
                  <c:v>28.879509665412208</c:v>
                </c:pt>
                <c:pt idx="33814">
                  <c:v>41.8728391795051</c:v>
                </c:pt>
                <c:pt idx="33815">
                  <c:v>27.663663417620903</c:v>
                </c:pt>
                <c:pt idx="33816">
                  <c:v>42.426997147456348</c:v>
                </c:pt>
                <c:pt idx="33817">
                  <c:v>45.659559978528037</c:v>
                </c:pt>
                <c:pt idx="33818">
                  <c:v>17.463872458037272</c:v>
                </c:pt>
                <c:pt idx="33819">
                  <c:v>26.75563675373882</c:v>
                </c:pt>
                <c:pt idx="33820">
                  <c:v>20.013392606547356</c:v>
                </c:pt>
                <c:pt idx="33821">
                  <c:v>42.553382806577687</c:v>
                </c:pt>
                <c:pt idx="33822">
                  <c:v>23.797602508311165</c:v>
                </c:pt>
                <c:pt idx="33823">
                  <c:v>46.597360028048556</c:v>
                </c:pt>
                <c:pt idx="33824">
                  <c:v>35.010345359677956</c:v>
                </c:pt>
                <c:pt idx="33825">
                  <c:v>44.22897079040505</c:v>
                </c:pt>
                <c:pt idx="33826">
                  <c:v>26.70531467893565</c:v>
                </c:pt>
                <c:pt idx="33827">
                  <c:v>45.384881848066755</c:v>
                </c:pt>
                <c:pt idx="33828">
                  <c:v>34.973036489259158</c:v>
                </c:pt>
                <c:pt idx="33829">
                  <c:v>41.495373921006525</c:v>
                </c:pt>
                <c:pt idx="33830">
                  <c:v>36.440870064257759</c:v>
                </c:pt>
                <c:pt idx="33831">
                  <c:v>24.291636547652658</c:v>
                </c:pt>
                <c:pt idx="33832">
                  <c:v>24.7897071576676</c:v>
                </c:pt>
                <c:pt idx="33833">
                  <c:v>20.390788099519938</c:v>
                </c:pt>
                <c:pt idx="33834">
                  <c:v>28.234120905962268</c:v>
                </c:pt>
                <c:pt idx="33835">
                  <c:v>23.279959304851129</c:v>
                </c:pt>
                <c:pt idx="33836">
                  <c:v>35.011537625145223</c:v>
                </c:pt>
                <c:pt idx="33837">
                  <c:v>25.740939212131131</c:v>
                </c:pt>
                <c:pt idx="33838">
                  <c:v>33.425868722103779</c:v>
                </c:pt>
                <c:pt idx="33839">
                  <c:v>35.738466772703887</c:v>
                </c:pt>
                <c:pt idx="33840">
                  <c:v>29.366163068148239</c:v>
                </c:pt>
                <c:pt idx="33841">
                  <c:v>22.945467056483327</c:v>
                </c:pt>
                <c:pt idx="33842">
                  <c:v>29.968491701821396</c:v>
                </c:pt>
                <c:pt idx="33843">
                  <c:v>30.23439224602194</c:v>
                </c:pt>
                <c:pt idx="33844">
                  <c:v>48.854594355522899</c:v>
                </c:pt>
                <c:pt idx="33845">
                  <c:v>49.348742108420709</c:v>
                </c:pt>
                <c:pt idx="33846">
                  <c:v>18.947593137689676</c:v>
                </c:pt>
                <c:pt idx="33847">
                  <c:v>34.225225549806275</c:v>
                </c:pt>
                <c:pt idx="33848">
                  <c:v>40.207322650253943</c:v>
                </c:pt>
                <c:pt idx="33849">
                  <c:v>18.22008604196845</c:v>
                </c:pt>
                <c:pt idx="33850">
                  <c:v>41.467563875549772</c:v>
                </c:pt>
                <c:pt idx="33851">
                  <c:v>23.766662284247985</c:v>
                </c:pt>
                <c:pt idx="33852">
                  <c:v>33.074841664793709</c:v>
                </c:pt>
                <c:pt idx="33853">
                  <c:v>34.251233082659638</c:v>
                </c:pt>
                <c:pt idx="33854">
                  <c:v>28.138651244580863</c:v>
                </c:pt>
                <c:pt idx="33855">
                  <c:v>41.662119346877454</c:v>
                </c:pt>
                <c:pt idx="33856">
                  <c:v>34.215050251757653</c:v>
                </c:pt>
                <c:pt idx="33857">
                  <c:v>29.673272183046269</c:v>
                </c:pt>
                <c:pt idx="33858">
                  <c:v>37.733253602799536</c:v>
                </c:pt>
                <c:pt idx="33859">
                  <c:v>29.840592937058055</c:v>
                </c:pt>
                <c:pt idx="33860">
                  <c:v>33.985200105122509</c:v>
                </c:pt>
                <c:pt idx="33861">
                  <c:v>40.424989127060982</c:v>
                </c:pt>
                <c:pt idx="33862">
                  <c:v>17.460515025909203</c:v>
                </c:pt>
                <c:pt idx="33863">
                  <c:v>49.217178588150567</c:v>
                </c:pt>
                <c:pt idx="33864">
                  <c:v>23.317218915228771</c:v>
                </c:pt>
                <c:pt idx="33865">
                  <c:v>23.811498133921916</c:v>
                </c:pt>
                <c:pt idx="33866">
                  <c:v>23.593659487189154</c:v>
                </c:pt>
                <c:pt idx="33867">
                  <c:v>24.74855563715327</c:v>
                </c:pt>
                <c:pt idx="33868">
                  <c:v>26.280029561673519</c:v>
                </c:pt>
                <c:pt idx="33869">
                  <c:v>35.016661136511232</c:v>
                </c:pt>
                <c:pt idx="33870">
                  <c:v>23.926954821539987</c:v>
                </c:pt>
                <c:pt idx="33871">
                  <c:v>28.797366531606297</c:v>
                </c:pt>
                <c:pt idx="33872">
                  <c:v>22.130344337457679</c:v>
                </c:pt>
                <c:pt idx="33873">
                  <c:v>29.748070308627607</c:v>
                </c:pt>
                <c:pt idx="33874">
                  <c:v>29.872723582403982</c:v>
                </c:pt>
                <c:pt idx="33875">
                  <c:v>24.716376454536245</c:v>
                </c:pt>
                <c:pt idx="33876">
                  <c:v>33.692068663769753</c:v>
                </c:pt>
                <c:pt idx="33877">
                  <c:v>46.952611956006351</c:v>
                </c:pt>
                <c:pt idx="33878">
                  <c:v>27.590531904116965</c:v>
                </c:pt>
                <c:pt idx="33879">
                  <c:v>46.265206965895942</c:v>
                </c:pt>
                <c:pt idx="33880">
                  <c:v>40.137205051066388</c:v>
                </c:pt>
                <c:pt idx="33881">
                  <c:v>36.347870826775853</c:v>
                </c:pt>
                <c:pt idx="33882">
                  <c:v>25.559222217864207</c:v>
                </c:pt>
                <c:pt idx="33883">
                  <c:v>25.657840551472667</c:v>
                </c:pt>
                <c:pt idx="33884">
                  <c:v>49.710660595738489</c:v>
                </c:pt>
                <c:pt idx="33885">
                  <c:v>22.375086640257621</c:v>
                </c:pt>
                <c:pt idx="33886">
                  <c:v>43.478906234079098</c:v>
                </c:pt>
                <c:pt idx="33887">
                  <c:v>23.123694393179719</c:v>
                </c:pt>
                <c:pt idx="33888">
                  <c:v>28.865281814480689</c:v>
                </c:pt>
                <c:pt idx="33889">
                  <c:v>32.02196916238406</c:v>
                </c:pt>
                <c:pt idx="33890">
                  <c:v>45.512830965360642</c:v>
                </c:pt>
                <c:pt idx="33891">
                  <c:v>36.699208454629584</c:v>
                </c:pt>
                <c:pt idx="33892">
                  <c:v>24.874451678162444</c:v>
                </c:pt>
                <c:pt idx="33893">
                  <c:v>38.594404268569313</c:v>
                </c:pt>
                <c:pt idx="33894">
                  <c:v>27.035452412447583</c:v>
                </c:pt>
                <c:pt idx="33895">
                  <c:v>24.594931172822541</c:v>
                </c:pt>
                <c:pt idx="33896">
                  <c:v>46.782168805467684</c:v>
                </c:pt>
                <c:pt idx="33897">
                  <c:v>33.700049256734687</c:v>
                </c:pt>
                <c:pt idx="33898">
                  <c:v>34.396702867668367</c:v>
                </c:pt>
                <c:pt idx="33899">
                  <c:v>25.096579354360784</c:v>
                </c:pt>
                <c:pt idx="33900">
                  <c:v>25.295487332377171</c:v>
                </c:pt>
                <c:pt idx="33901">
                  <c:v>17.984982404245795</c:v>
                </c:pt>
                <c:pt idx="33902">
                  <c:v>22.460686177134793</c:v>
                </c:pt>
                <c:pt idx="33903">
                  <c:v>28.96751623488128</c:v>
                </c:pt>
                <c:pt idx="33904">
                  <c:v>23.70095624501705</c:v>
                </c:pt>
                <c:pt idx="33905">
                  <c:v>32.133789476931291</c:v>
                </c:pt>
                <c:pt idx="33906">
                  <c:v>31.244306096253691</c:v>
                </c:pt>
                <c:pt idx="33907">
                  <c:v>29.282170525701691</c:v>
                </c:pt>
                <c:pt idx="33908">
                  <c:v>23.804320072728007</c:v>
                </c:pt>
                <c:pt idx="33909">
                  <c:v>49.697809076578643</c:v>
                </c:pt>
                <c:pt idx="33910">
                  <c:v>32.003033184924426</c:v>
                </c:pt>
                <c:pt idx="33911">
                  <c:v>25.914175151942022</c:v>
                </c:pt>
                <c:pt idx="33912">
                  <c:v>33.83431504359308</c:v>
                </c:pt>
                <c:pt idx="33913">
                  <c:v>34.099550339585619</c:v>
                </c:pt>
                <c:pt idx="33914">
                  <c:v>40.410155698362367</c:v>
                </c:pt>
                <c:pt idx="33915">
                  <c:v>20.515851574999715</c:v>
                </c:pt>
                <c:pt idx="33916">
                  <c:v>38.707261162025809</c:v>
                </c:pt>
                <c:pt idx="33917">
                  <c:v>29.553248720710634</c:v>
                </c:pt>
                <c:pt idx="33918">
                  <c:v>25.639443847723708</c:v>
                </c:pt>
                <c:pt idx="33919">
                  <c:v>31.74761134206878</c:v>
                </c:pt>
                <c:pt idx="33920">
                  <c:v>25.30849711344591</c:v>
                </c:pt>
                <c:pt idx="33921">
                  <c:v>35.024625006172194</c:v>
                </c:pt>
                <c:pt idx="33922">
                  <c:v>17.892892461788982</c:v>
                </c:pt>
                <c:pt idx="33923">
                  <c:v>33.841309075816369</c:v>
                </c:pt>
                <c:pt idx="33924">
                  <c:v>28.817975587540293</c:v>
                </c:pt>
                <c:pt idx="33925">
                  <c:v>17.834105019748954</c:v>
                </c:pt>
                <c:pt idx="33926">
                  <c:v>35.813321657839843</c:v>
                </c:pt>
                <c:pt idx="33927">
                  <c:v>23.400929690358183</c:v>
                </c:pt>
                <c:pt idx="33928">
                  <c:v>28.942514825241755</c:v>
                </c:pt>
                <c:pt idx="33929">
                  <c:v>27.08628578263129</c:v>
                </c:pt>
                <c:pt idx="33930">
                  <c:v>21.154082676759742</c:v>
                </c:pt>
                <c:pt idx="33931">
                  <c:v>41.274014694060256</c:v>
                </c:pt>
                <c:pt idx="33932">
                  <c:v>25.990499062399635</c:v>
                </c:pt>
                <c:pt idx="33933">
                  <c:v>20.823535634068804</c:v>
                </c:pt>
                <c:pt idx="33934">
                  <c:v>24.489309295952804</c:v>
                </c:pt>
                <c:pt idx="33935">
                  <c:v>24.475463765963898</c:v>
                </c:pt>
                <c:pt idx="33936">
                  <c:v>19.894293669243844</c:v>
                </c:pt>
                <c:pt idx="33937">
                  <c:v>21.591061033533652</c:v>
                </c:pt>
                <c:pt idx="33938">
                  <c:v>21.074376889024492</c:v>
                </c:pt>
                <c:pt idx="33939">
                  <c:v>31.683874636018906</c:v>
                </c:pt>
                <c:pt idx="33940">
                  <c:v>42.856111475454696</c:v>
                </c:pt>
                <c:pt idx="33941">
                  <c:v>27.566820564351346</c:v>
                </c:pt>
                <c:pt idx="33942">
                  <c:v>28.874448931382876</c:v>
                </c:pt>
                <c:pt idx="33943">
                  <c:v>23.592558180855605</c:v>
                </c:pt>
                <c:pt idx="33944">
                  <c:v>28.288474943152465</c:v>
                </c:pt>
                <c:pt idx="33945">
                  <c:v>28.530413498141655</c:v>
                </c:pt>
                <c:pt idx="33946">
                  <c:v>22.938912507164911</c:v>
                </c:pt>
                <c:pt idx="33947">
                  <c:v>22.101301674780107</c:v>
                </c:pt>
                <c:pt idx="33948">
                  <c:v>22.700411221737795</c:v>
                </c:pt>
                <c:pt idx="33949">
                  <c:v>53.693412073560808</c:v>
                </c:pt>
                <c:pt idx="33950">
                  <c:v>27.882718969586282</c:v>
                </c:pt>
                <c:pt idx="33951">
                  <c:v>53.271069759191626</c:v>
                </c:pt>
                <c:pt idx="33952">
                  <c:v>38.279292263390239</c:v>
                </c:pt>
                <c:pt idx="33953">
                  <c:v>24.648139753710499</c:v>
                </c:pt>
                <c:pt idx="33954">
                  <c:v>48.377438340162435</c:v>
                </c:pt>
                <c:pt idx="33955">
                  <c:v>21.548005289598638</c:v>
                </c:pt>
                <c:pt idx="33956">
                  <c:v>42.835054952830447</c:v>
                </c:pt>
                <c:pt idx="33957">
                  <c:v>50.79510620281453</c:v>
                </c:pt>
                <c:pt idx="33958">
                  <c:v>31.163301075109263</c:v>
                </c:pt>
                <c:pt idx="33959">
                  <c:v>47.015683896191987</c:v>
                </c:pt>
                <c:pt idx="33960">
                  <c:v>20.769827518635502</c:v>
                </c:pt>
                <c:pt idx="33961">
                  <c:v>30.253102980564037</c:v>
                </c:pt>
                <c:pt idx="33962">
                  <c:v>19.20265367087168</c:v>
                </c:pt>
                <c:pt idx="33963">
                  <c:v>25.207816878008572</c:v>
                </c:pt>
                <c:pt idx="33964">
                  <c:v>26.238078709577323</c:v>
                </c:pt>
                <c:pt idx="33965">
                  <c:v>25.997096735230663</c:v>
                </c:pt>
                <c:pt idx="33966">
                  <c:v>20.478772120275107</c:v>
                </c:pt>
                <c:pt idx="33967">
                  <c:v>29.900618588192764</c:v>
                </c:pt>
                <c:pt idx="33968">
                  <c:v>23.75789696220891</c:v>
                </c:pt>
                <c:pt idx="33969">
                  <c:v>17.474750818776492</c:v>
                </c:pt>
                <c:pt idx="33970">
                  <c:v>27.046348565325026</c:v>
                </c:pt>
                <c:pt idx="33971">
                  <c:v>24.12528359672482</c:v>
                </c:pt>
                <c:pt idx="33972">
                  <c:v>19.177281743930692</c:v>
                </c:pt>
                <c:pt idx="33973">
                  <c:v>28.700974503881252</c:v>
                </c:pt>
                <c:pt idx="33974">
                  <c:v>27.254493745869709</c:v>
                </c:pt>
                <c:pt idx="33975">
                  <c:v>30.533304408762508</c:v>
                </c:pt>
                <c:pt idx="33976">
                  <c:v>41.560327711847357</c:v>
                </c:pt>
                <c:pt idx="33977">
                  <c:v>25.657817936592629</c:v>
                </c:pt>
                <c:pt idx="33978">
                  <c:v>36.597599707074927</c:v>
                </c:pt>
                <c:pt idx="33979">
                  <c:v>54.099884772232649</c:v>
                </c:pt>
                <c:pt idx="33980">
                  <c:v>18.973252012811063</c:v>
                </c:pt>
                <c:pt idx="33981">
                  <c:v>31.574448380803599</c:v>
                </c:pt>
                <c:pt idx="33982">
                  <c:v>49.818601057691609</c:v>
                </c:pt>
                <c:pt idx="33983">
                  <c:v>24.630486141120272</c:v>
                </c:pt>
                <c:pt idx="33984">
                  <c:v>25.377074392672451</c:v>
                </c:pt>
                <c:pt idx="33985">
                  <c:v>28.864814774885403</c:v>
                </c:pt>
                <c:pt idx="33986">
                  <c:v>27.764574696436974</c:v>
                </c:pt>
                <c:pt idx="33987">
                  <c:v>55.239430832057401</c:v>
                </c:pt>
                <c:pt idx="33988">
                  <c:v>16.176475960051278</c:v>
                </c:pt>
                <c:pt idx="33989">
                  <c:v>48.922248218441183</c:v>
                </c:pt>
                <c:pt idx="33990">
                  <c:v>31.127921150173528</c:v>
                </c:pt>
                <c:pt idx="33991">
                  <c:v>45.117058302983288</c:v>
                </c:pt>
                <c:pt idx="33992">
                  <c:v>40.019585126809247</c:v>
                </c:pt>
                <c:pt idx="33993">
                  <c:v>24.290542423482766</c:v>
                </c:pt>
                <c:pt idx="33994">
                  <c:v>35.652051523154732</c:v>
                </c:pt>
                <c:pt idx="33995">
                  <c:v>29.165657776729741</c:v>
                </c:pt>
                <c:pt idx="33996">
                  <c:v>51.665019858855601</c:v>
                </c:pt>
                <c:pt idx="33997">
                  <c:v>24.918290858117832</c:v>
                </c:pt>
                <c:pt idx="33998">
                  <c:v>28.137034838087317</c:v>
                </c:pt>
                <c:pt idx="33999">
                  <c:v>25.233876060789559</c:v>
                </c:pt>
                <c:pt idx="34000">
                  <c:v>35.469768006101376</c:v>
                </c:pt>
                <c:pt idx="34001">
                  <c:v>30.294048798646259</c:v>
                </c:pt>
                <c:pt idx="34002">
                  <c:v>34.485058551821872</c:v>
                </c:pt>
                <c:pt idx="34003">
                  <c:v>24.345696754953735</c:v>
                </c:pt>
                <c:pt idx="34004">
                  <c:v>27.93790159521356</c:v>
                </c:pt>
                <c:pt idx="34005">
                  <c:v>27.78252406507255</c:v>
                </c:pt>
                <c:pt idx="34006">
                  <c:v>32.486147880874682</c:v>
                </c:pt>
                <c:pt idx="34007">
                  <c:v>24.356352326148826</c:v>
                </c:pt>
                <c:pt idx="34008">
                  <c:v>28.948059743134408</c:v>
                </c:pt>
                <c:pt idx="34009">
                  <c:v>40.56746546777255</c:v>
                </c:pt>
                <c:pt idx="34010">
                  <c:v>55.062884895410306</c:v>
                </c:pt>
                <c:pt idx="34011">
                  <c:v>24.104855862130929</c:v>
                </c:pt>
                <c:pt idx="34012">
                  <c:v>46.611381397694068</c:v>
                </c:pt>
                <c:pt idx="34013">
                  <c:v>22.13396715123773</c:v>
                </c:pt>
                <c:pt idx="34014">
                  <c:v>42.719614295023504</c:v>
                </c:pt>
                <c:pt idx="34015">
                  <c:v>25.023990159187395</c:v>
                </c:pt>
                <c:pt idx="34016">
                  <c:v>24.096753368733211</c:v>
                </c:pt>
                <c:pt idx="34017">
                  <c:v>25.084769907281292</c:v>
                </c:pt>
                <c:pt idx="34018">
                  <c:v>25.411129369173459</c:v>
                </c:pt>
                <c:pt idx="34019">
                  <c:v>36.919433753813422</c:v>
                </c:pt>
                <c:pt idx="34020">
                  <c:v>22.822772848225949</c:v>
                </c:pt>
                <c:pt idx="34021">
                  <c:v>21.796796730462958</c:v>
                </c:pt>
                <c:pt idx="34022">
                  <c:v>26.110751352822636</c:v>
                </c:pt>
                <c:pt idx="34023">
                  <c:v>33.514332206500619</c:v>
                </c:pt>
                <c:pt idx="34024">
                  <c:v>34.443803470247431</c:v>
                </c:pt>
                <c:pt idx="34025">
                  <c:v>34.271079546141607</c:v>
                </c:pt>
                <c:pt idx="34026">
                  <c:v>44.923220944678278</c:v>
                </c:pt>
                <c:pt idx="34027">
                  <c:v>48.104829680665631</c:v>
                </c:pt>
                <c:pt idx="34028">
                  <c:v>34.715323040783439</c:v>
                </c:pt>
                <c:pt idx="34029">
                  <c:v>49.844382911530417</c:v>
                </c:pt>
                <c:pt idx="34030">
                  <c:v>33.319505288626303</c:v>
                </c:pt>
                <c:pt idx="34031">
                  <c:v>24.051791378208897</c:v>
                </c:pt>
                <c:pt idx="34032">
                  <c:v>24.875795019223638</c:v>
                </c:pt>
                <c:pt idx="34033">
                  <c:v>35.569400793651369</c:v>
                </c:pt>
                <c:pt idx="34034">
                  <c:v>28.535872950576966</c:v>
                </c:pt>
                <c:pt idx="34035">
                  <c:v>40.089481173110471</c:v>
                </c:pt>
                <c:pt idx="34036">
                  <c:v>24.429521743014575</c:v>
                </c:pt>
                <c:pt idx="34037">
                  <c:v>30.88683391057652</c:v>
                </c:pt>
                <c:pt idx="34038">
                  <c:v>23.27624177761955</c:v>
                </c:pt>
                <c:pt idx="34039">
                  <c:v>33.145735133784214</c:v>
                </c:pt>
                <c:pt idx="34040">
                  <c:v>52.871630028490628</c:v>
                </c:pt>
                <c:pt idx="34041">
                  <c:v>26.713057850209545</c:v>
                </c:pt>
                <c:pt idx="34042">
                  <c:v>23.753131400612858</c:v>
                </c:pt>
                <c:pt idx="34043">
                  <c:v>28.242399639002588</c:v>
                </c:pt>
                <c:pt idx="34044">
                  <c:v>33.012920483951284</c:v>
                </c:pt>
                <c:pt idx="34045">
                  <c:v>26.580976322070114</c:v>
                </c:pt>
                <c:pt idx="34046">
                  <c:v>29.502347056758364</c:v>
                </c:pt>
                <c:pt idx="34047">
                  <c:v>24.583354814499195</c:v>
                </c:pt>
                <c:pt idx="34048">
                  <c:v>26.623121939113354</c:v>
                </c:pt>
                <c:pt idx="34049">
                  <c:v>47.707234355737661</c:v>
                </c:pt>
                <c:pt idx="34050">
                  <c:v>20.66775391346895</c:v>
                </c:pt>
                <c:pt idx="34051">
                  <c:v>24.965069833798101</c:v>
                </c:pt>
                <c:pt idx="34052">
                  <c:v>24.853273822375151</c:v>
                </c:pt>
                <c:pt idx="34053">
                  <c:v>42.034845116286846</c:v>
                </c:pt>
                <c:pt idx="34054">
                  <c:v>55.43049588093421</c:v>
                </c:pt>
                <c:pt idx="34055">
                  <c:v>40.260292685704329</c:v>
                </c:pt>
                <c:pt idx="34056">
                  <c:v>19.715191262165657</c:v>
                </c:pt>
                <c:pt idx="34057">
                  <c:v>23.59841460936434</c:v>
                </c:pt>
                <c:pt idx="34058">
                  <c:v>22.790407938069677</c:v>
                </c:pt>
                <c:pt idx="34059">
                  <c:v>29.848204929205988</c:v>
                </c:pt>
                <c:pt idx="34060">
                  <c:v>35.433979221791283</c:v>
                </c:pt>
                <c:pt idx="34061">
                  <c:v>27.753239729217544</c:v>
                </c:pt>
                <c:pt idx="34062">
                  <c:v>35.561982257442367</c:v>
                </c:pt>
                <c:pt idx="34063">
                  <c:v>18.214084865012172</c:v>
                </c:pt>
                <c:pt idx="34064">
                  <c:v>21.3932527197456</c:v>
                </c:pt>
                <c:pt idx="34065">
                  <c:v>55.834905485444963</c:v>
                </c:pt>
                <c:pt idx="34066">
                  <c:v>25.668379624400114</c:v>
                </c:pt>
                <c:pt idx="34067">
                  <c:v>44.151227201550931</c:v>
                </c:pt>
                <c:pt idx="34068">
                  <c:v>27.651144442669285</c:v>
                </c:pt>
                <c:pt idx="34069">
                  <c:v>32.675551850651104</c:v>
                </c:pt>
                <c:pt idx="34070">
                  <c:v>36.320622890289854</c:v>
                </c:pt>
                <c:pt idx="34071">
                  <c:v>37.467838492435895</c:v>
                </c:pt>
                <c:pt idx="34072">
                  <c:v>57.178411305279042</c:v>
                </c:pt>
                <c:pt idx="34073">
                  <c:v>29.532657289098061</c:v>
                </c:pt>
                <c:pt idx="34074">
                  <c:v>23.189788934674983</c:v>
                </c:pt>
                <c:pt idx="34075">
                  <c:v>31.50244838609429</c:v>
                </c:pt>
                <c:pt idx="34076">
                  <c:v>39.6264083199788</c:v>
                </c:pt>
                <c:pt idx="34077">
                  <c:v>47.981672304295813</c:v>
                </c:pt>
                <c:pt idx="34078">
                  <c:v>27.738771144263414</c:v>
                </c:pt>
                <c:pt idx="34079">
                  <c:v>31.395350305607611</c:v>
                </c:pt>
                <c:pt idx="34080">
                  <c:v>34.725186608788633</c:v>
                </c:pt>
                <c:pt idx="34081">
                  <c:v>49.221857417452426</c:v>
                </c:pt>
                <c:pt idx="34082">
                  <c:v>34.033789119368919</c:v>
                </c:pt>
                <c:pt idx="34083">
                  <c:v>20.372067059409062</c:v>
                </c:pt>
                <c:pt idx="34084">
                  <c:v>32.908842610496599</c:v>
                </c:pt>
                <c:pt idx="34085">
                  <c:v>39.42922674954125</c:v>
                </c:pt>
                <c:pt idx="34086">
                  <c:v>35.700518249051449</c:v>
                </c:pt>
                <c:pt idx="34087">
                  <c:v>23.208917814170029</c:v>
                </c:pt>
                <c:pt idx="34088">
                  <c:v>22.405066060620321</c:v>
                </c:pt>
                <c:pt idx="34089">
                  <c:v>23.930998005659397</c:v>
                </c:pt>
                <c:pt idx="34090">
                  <c:v>25.895766680578035</c:v>
                </c:pt>
                <c:pt idx="34091">
                  <c:v>42.870357079111528</c:v>
                </c:pt>
                <c:pt idx="34092">
                  <c:v>29.150314643002478</c:v>
                </c:pt>
                <c:pt idx="34093">
                  <c:v>36.235290698990049</c:v>
                </c:pt>
                <c:pt idx="34094">
                  <c:v>26.299361052443111</c:v>
                </c:pt>
                <c:pt idx="34095">
                  <c:v>24.37554567259609</c:v>
                </c:pt>
                <c:pt idx="34096">
                  <c:v>27.627313711388776</c:v>
                </c:pt>
                <c:pt idx="34097">
                  <c:v>35.22212441397668</c:v>
                </c:pt>
                <c:pt idx="34098">
                  <c:v>27.598532647500875</c:v>
                </c:pt>
                <c:pt idx="34099">
                  <c:v>22.212995578269876</c:v>
                </c:pt>
                <c:pt idx="34100">
                  <c:v>36.463568256680674</c:v>
                </c:pt>
                <c:pt idx="34101">
                  <c:v>25.65593701422511</c:v>
                </c:pt>
                <c:pt idx="34102">
                  <c:v>21.182441282308559</c:v>
                </c:pt>
                <c:pt idx="34103">
                  <c:v>46.562803490705818</c:v>
                </c:pt>
                <c:pt idx="34104">
                  <c:v>26.625088939154729</c:v>
                </c:pt>
                <c:pt idx="34105">
                  <c:v>29.863990879245769</c:v>
                </c:pt>
                <c:pt idx="34106">
                  <c:v>38.010711535047513</c:v>
                </c:pt>
                <c:pt idx="34107">
                  <c:v>28.262837840403968</c:v>
                </c:pt>
                <c:pt idx="34108">
                  <c:v>25.528104882806069</c:v>
                </c:pt>
                <c:pt idx="34109">
                  <c:v>31.731771684926425</c:v>
                </c:pt>
                <c:pt idx="34110">
                  <c:v>24.611242070587735</c:v>
                </c:pt>
                <c:pt idx="34111">
                  <c:v>38.049123971938329</c:v>
                </c:pt>
                <c:pt idx="34112">
                  <c:v>40.923177569913065</c:v>
                </c:pt>
                <c:pt idx="34113">
                  <c:v>40.754995158431221</c:v>
                </c:pt>
                <c:pt idx="34114">
                  <c:v>30.014689174298109</c:v>
                </c:pt>
                <c:pt idx="34115">
                  <c:v>31.456497882915073</c:v>
                </c:pt>
                <c:pt idx="34116">
                  <c:v>38.573779208047689</c:v>
                </c:pt>
                <c:pt idx="34117">
                  <c:v>31.163627855028029</c:v>
                </c:pt>
                <c:pt idx="34118">
                  <c:v>29.385006335055724</c:v>
                </c:pt>
                <c:pt idx="34119">
                  <c:v>22.740319467271004</c:v>
                </c:pt>
                <c:pt idx="34120">
                  <c:v>25.302209367733369</c:v>
                </c:pt>
                <c:pt idx="34121">
                  <c:v>32.963844843541118</c:v>
                </c:pt>
                <c:pt idx="34122">
                  <c:v>28.785587947765947</c:v>
                </c:pt>
                <c:pt idx="34123">
                  <c:v>27.426128083411655</c:v>
                </c:pt>
                <c:pt idx="34124">
                  <c:v>43.301471705222177</c:v>
                </c:pt>
                <c:pt idx="34125">
                  <c:v>25.858483884100814</c:v>
                </c:pt>
                <c:pt idx="34126">
                  <c:v>20.938520671829934</c:v>
                </c:pt>
                <c:pt idx="34127">
                  <c:v>35.580625427585794</c:v>
                </c:pt>
                <c:pt idx="34128">
                  <c:v>22.055820566605107</c:v>
                </c:pt>
                <c:pt idx="34129">
                  <c:v>31.145918747544982</c:v>
                </c:pt>
                <c:pt idx="34130">
                  <c:v>48.758297574007614</c:v>
                </c:pt>
                <c:pt idx="34131">
                  <c:v>34.920790297440654</c:v>
                </c:pt>
                <c:pt idx="34132">
                  <c:v>25.789658262106506</c:v>
                </c:pt>
                <c:pt idx="34133">
                  <c:v>24.178330002736356</c:v>
                </c:pt>
                <c:pt idx="34134">
                  <c:v>30.516744323801671</c:v>
                </c:pt>
                <c:pt idx="34135">
                  <c:v>41.012539145903503</c:v>
                </c:pt>
                <c:pt idx="34136">
                  <c:v>38.219374075430913</c:v>
                </c:pt>
                <c:pt idx="34137">
                  <c:v>38.874670711089387</c:v>
                </c:pt>
                <c:pt idx="34138">
                  <c:v>53.759362757544963</c:v>
                </c:pt>
                <c:pt idx="34139">
                  <c:v>51.287541412304378</c:v>
                </c:pt>
                <c:pt idx="34140">
                  <c:v>52.648904660983234</c:v>
                </c:pt>
                <c:pt idx="34141">
                  <c:v>30.474707391537564</c:v>
                </c:pt>
                <c:pt idx="34142">
                  <c:v>41.66993625711207</c:v>
                </c:pt>
                <c:pt idx="34143">
                  <c:v>37.975462572977889</c:v>
                </c:pt>
                <c:pt idx="34144">
                  <c:v>21.55130380494893</c:v>
                </c:pt>
                <c:pt idx="34145">
                  <c:v>27.978277829670468</c:v>
                </c:pt>
                <c:pt idx="34146">
                  <c:v>32.57527418704381</c:v>
                </c:pt>
                <c:pt idx="34147">
                  <c:v>29.18030749496706</c:v>
                </c:pt>
                <c:pt idx="34148">
                  <c:v>26.367607133623331</c:v>
                </c:pt>
                <c:pt idx="34149">
                  <c:v>31.163833414030709</c:v>
                </c:pt>
                <c:pt idx="34150">
                  <c:v>26.417413603255568</c:v>
                </c:pt>
                <c:pt idx="34151">
                  <c:v>34.116965450462715</c:v>
                </c:pt>
                <c:pt idx="34152">
                  <c:v>26.463342137048244</c:v>
                </c:pt>
                <c:pt idx="34153">
                  <c:v>24.568109615390831</c:v>
                </c:pt>
                <c:pt idx="34154">
                  <c:v>27.115945832254646</c:v>
                </c:pt>
                <c:pt idx="34155">
                  <c:v>24.496776792727939</c:v>
                </c:pt>
                <c:pt idx="34156">
                  <c:v>51.193525463719048</c:v>
                </c:pt>
                <c:pt idx="34157">
                  <c:v>22.688897663979862</c:v>
                </c:pt>
                <c:pt idx="34158">
                  <c:v>18.883813217415369</c:v>
                </c:pt>
                <c:pt idx="34159">
                  <c:v>14.109323437379707</c:v>
                </c:pt>
                <c:pt idx="34160">
                  <c:v>50.386605724504562</c:v>
                </c:pt>
                <c:pt idx="34161">
                  <c:v>18.616206243428373</c:v>
                </c:pt>
                <c:pt idx="34162">
                  <c:v>32.991568697266267</c:v>
                </c:pt>
                <c:pt idx="34163">
                  <c:v>26.993576764131145</c:v>
                </c:pt>
                <c:pt idx="34164">
                  <c:v>37.011449706129078</c:v>
                </c:pt>
                <c:pt idx="34165">
                  <c:v>26.947550252204735</c:v>
                </c:pt>
                <c:pt idx="34166">
                  <c:v>30.176171080470198</c:v>
                </c:pt>
                <c:pt idx="34167">
                  <c:v>26.975290784935694</c:v>
                </c:pt>
                <c:pt idx="34168">
                  <c:v>29.193743384131235</c:v>
                </c:pt>
                <c:pt idx="34169">
                  <c:v>41.340522693676235</c:v>
                </c:pt>
                <c:pt idx="34170">
                  <c:v>22.444114136965137</c:v>
                </c:pt>
                <c:pt idx="34171">
                  <c:v>28.846075570642093</c:v>
                </c:pt>
                <c:pt idx="34172">
                  <c:v>32.440341355464376</c:v>
                </c:pt>
                <c:pt idx="34173">
                  <c:v>35.986141257398444</c:v>
                </c:pt>
                <c:pt idx="34174">
                  <c:v>21.234108803739986</c:v>
                </c:pt>
                <c:pt idx="34175">
                  <c:v>32.856629829089222</c:v>
                </c:pt>
                <c:pt idx="34176">
                  <c:v>42.313380123127295</c:v>
                </c:pt>
                <c:pt idx="34177">
                  <c:v>28.526269380748939</c:v>
                </c:pt>
                <c:pt idx="34178">
                  <c:v>41.271043009837776</c:v>
                </c:pt>
                <c:pt idx="34179">
                  <c:v>52.362505833057895</c:v>
                </c:pt>
                <c:pt idx="34180">
                  <c:v>32.644383623121342</c:v>
                </c:pt>
                <c:pt idx="34181">
                  <c:v>20.673440534351812</c:v>
                </c:pt>
                <c:pt idx="34182">
                  <c:v>38.547256505602171</c:v>
                </c:pt>
                <c:pt idx="34183">
                  <c:v>46.177624689944665</c:v>
                </c:pt>
                <c:pt idx="34184">
                  <c:v>34.825003817290415</c:v>
                </c:pt>
                <c:pt idx="34185">
                  <c:v>30.538025983407415</c:v>
                </c:pt>
                <c:pt idx="34186">
                  <c:v>49.874503270343119</c:v>
                </c:pt>
                <c:pt idx="34187">
                  <c:v>31.605457284702133</c:v>
                </c:pt>
                <c:pt idx="34188">
                  <c:v>30.326518022483835</c:v>
                </c:pt>
                <c:pt idx="34189">
                  <c:v>34.222852529378521</c:v>
                </c:pt>
                <c:pt idx="34190">
                  <c:v>22.710803352683843</c:v>
                </c:pt>
                <c:pt idx="34191">
                  <c:v>24.481647583180596</c:v>
                </c:pt>
                <c:pt idx="34192">
                  <c:v>33.873879343986466</c:v>
                </c:pt>
                <c:pt idx="34193">
                  <c:v>20.789977288971471</c:v>
                </c:pt>
                <c:pt idx="34194">
                  <c:v>21.249430785209057</c:v>
                </c:pt>
                <c:pt idx="34195">
                  <c:v>32.951610441474905</c:v>
                </c:pt>
                <c:pt idx="34196">
                  <c:v>50.37879435519497</c:v>
                </c:pt>
                <c:pt idx="34197">
                  <c:v>26.605254939988811</c:v>
                </c:pt>
                <c:pt idx="34198">
                  <c:v>24.274999718023999</c:v>
                </c:pt>
                <c:pt idx="34199">
                  <c:v>28.027737790672894</c:v>
                </c:pt>
                <c:pt idx="34200">
                  <c:v>47.085642458746072</c:v>
                </c:pt>
                <c:pt idx="34201">
                  <c:v>29.664313559859124</c:v>
                </c:pt>
                <c:pt idx="34202">
                  <c:v>39.895152693116387</c:v>
                </c:pt>
                <c:pt idx="34203">
                  <c:v>47.627122073829874</c:v>
                </c:pt>
                <c:pt idx="34204">
                  <c:v>28.955963629761694</c:v>
                </c:pt>
                <c:pt idx="34205">
                  <c:v>25.344770405264747</c:v>
                </c:pt>
                <c:pt idx="34206">
                  <c:v>28.612586542625877</c:v>
                </c:pt>
                <c:pt idx="34207">
                  <c:v>38.483531444362562</c:v>
                </c:pt>
                <c:pt idx="34208">
                  <c:v>26.457218455855578</c:v>
                </c:pt>
                <c:pt idx="34209">
                  <c:v>23.14212258280816</c:v>
                </c:pt>
                <c:pt idx="34210">
                  <c:v>22.186335983673438</c:v>
                </c:pt>
                <c:pt idx="34211">
                  <c:v>22.282818381951735</c:v>
                </c:pt>
                <c:pt idx="34212">
                  <c:v>24.39364688660277</c:v>
                </c:pt>
                <c:pt idx="34213">
                  <c:v>21.052520654873931</c:v>
                </c:pt>
                <c:pt idx="34214">
                  <c:v>30.905291908812082</c:v>
                </c:pt>
                <c:pt idx="34215">
                  <c:v>29.542113334968743</c:v>
                </c:pt>
                <c:pt idx="34216">
                  <c:v>24.329461560859997</c:v>
                </c:pt>
                <c:pt idx="34217">
                  <c:v>27.38464860488612</c:v>
                </c:pt>
                <c:pt idx="34218">
                  <c:v>21.95690875983971</c:v>
                </c:pt>
                <c:pt idx="34219">
                  <c:v>24.057050811483741</c:v>
                </c:pt>
                <c:pt idx="34220">
                  <c:v>22.674112078154845</c:v>
                </c:pt>
                <c:pt idx="34221">
                  <c:v>26.617005024371515</c:v>
                </c:pt>
                <c:pt idx="34222">
                  <c:v>22.132171580563227</c:v>
                </c:pt>
                <c:pt idx="34223">
                  <c:v>46.479976089986401</c:v>
                </c:pt>
                <c:pt idx="34224">
                  <c:v>24.719069828749568</c:v>
                </c:pt>
                <c:pt idx="34225">
                  <c:v>23.677210722507301</c:v>
                </c:pt>
                <c:pt idx="34226">
                  <c:v>22.28393257368338</c:v>
                </c:pt>
                <c:pt idx="34227">
                  <c:v>22.229066013120878</c:v>
                </c:pt>
                <c:pt idx="34228">
                  <c:v>45.940274427362709</c:v>
                </c:pt>
                <c:pt idx="34229">
                  <c:v>28.001683285111252</c:v>
                </c:pt>
                <c:pt idx="34230">
                  <c:v>40.43998465239779</c:v>
                </c:pt>
                <c:pt idx="34231">
                  <c:v>19.051713828606719</c:v>
                </c:pt>
                <c:pt idx="34232">
                  <c:v>29.788830406012252</c:v>
                </c:pt>
                <c:pt idx="34233">
                  <c:v>25.969144389587413</c:v>
                </c:pt>
                <c:pt idx="34234">
                  <c:v>24.044789523415268</c:v>
                </c:pt>
                <c:pt idx="34235">
                  <c:v>26.603462833264871</c:v>
                </c:pt>
                <c:pt idx="34236">
                  <c:v>21.600307287825714</c:v>
                </c:pt>
                <c:pt idx="34237">
                  <c:v>25.329352775527664</c:v>
                </c:pt>
                <c:pt idx="34238">
                  <c:v>22.525617765077754</c:v>
                </c:pt>
                <c:pt idx="34239">
                  <c:v>38.225524133035805</c:v>
                </c:pt>
                <c:pt idx="34240">
                  <c:v>35.940652592083019</c:v>
                </c:pt>
                <c:pt idx="34241">
                  <c:v>27.438659143646689</c:v>
                </c:pt>
                <c:pt idx="34242">
                  <c:v>25.554294222388322</c:v>
                </c:pt>
                <c:pt idx="34243">
                  <c:v>21.549480158417555</c:v>
                </c:pt>
                <c:pt idx="34244">
                  <c:v>41.393756226332172</c:v>
                </c:pt>
                <c:pt idx="34245">
                  <c:v>29.463183971077271</c:v>
                </c:pt>
                <c:pt idx="34246">
                  <c:v>20.244679340470078</c:v>
                </c:pt>
                <c:pt idx="34247">
                  <c:v>27.952998884185845</c:v>
                </c:pt>
                <c:pt idx="34248">
                  <c:v>28.086830813753611</c:v>
                </c:pt>
                <c:pt idx="34249">
                  <c:v>27.842303413520245</c:v>
                </c:pt>
                <c:pt idx="34250">
                  <c:v>48.559259807522537</c:v>
                </c:pt>
                <c:pt idx="34251">
                  <c:v>43.269624350794707</c:v>
                </c:pt>
                <c:pt idx="34252">
                  <c:v>23.479616011249739</c:v>
                </c:pt>
                <c:pt idx="34253">
                  <c:v>33.166310617244747</c:v>
                </c:pt>
                <c:pt idx="34254">
                  <c:v>49.417437848117608</c:v>
                </c:pt>
                <c:pt idx="34255">
                  <c:v>62.572810122869782</c:v>
                </c:pt>
                <c:pt idx="34256">
                  <c:v>24.945326335462525</c:v>
                </c:pt>
                <c:pt idx="34257">
                  <c:v>33.28754038928443</c:v>
                </c:pt>
                <c:pt idx="34258">
                  <c:v>16.440227823453746</c:v>
                </c:pt>
                <c:pt idx="34259">
                  <c:v>31.321244319162336</c:v>
                </c:pt>
                <c:pt idx="34260">
                  <c:v>28.78921967797848</c:v>
                </c:pt>
                <c:pt idx="34261">
                  <c:v>23.060081485263776</c:v>
                </c:pt>
                <c:pt idx="34262">
                  <c:v>26.171900254691163</c:v>
                </c:pt>
                <c:pt idx="34263">
                  <c:v>48.496801626448537</c:v>
                </c:pt>
                <c:pt idx="34264">
                  <c:v>34.555510101704336</c:v>
                </c:pt>
                <c:pt idx="34265">
                  <c:v>23.728191109444143</c:v>
                </c:pt>
                <c:pt idx="34266">
                  <c:v>32.856739239304382</c:v>
                </c:pt>
                <c:pt idx="34267">
                  <c:v>27.691814058583091</c:v>
                </c:pt>
                <c:pt idx="34268">
                  <c:v>20.281908823252579</c:v>
                </c:pt>
                <c:pt idx="34269">
                  <c:v>28.060470014823895</c:v>
                </c:pt>
                <c:pt idx="34270">
                  <c:v>44.426520659397589</c:v>
                </c:pt>
                <c:pt idx="34271">
                  <c:v>27.142157476245689</c:v>
                </c:pt>
                <c:pt idx="34272">
                  <c:v>34.244679900716278</c:v>
                </c:pt>
                <c:pt idx="34273">
                  <c:v>40.715677682506254</c:v>
                </c:pt>
                <c:pt idx="34274">
                  <c:v>32.651252354124914</c:v>
                </c:pt>
                <c:pt idx="34275">
                  <c:v>40.378165933041757</c:v>
                </c:pt>
                <c:pt idx="34276">
                  <c:v>22.921874015573891</c:v>
                </c:pt>
                <c:pt idx="34277">
                  <c:v>42.830626983018405</c:v>
                </c:pt>
                <c:pt idx="34278">
                  <c:v>24.489018252740028</c:v>
                </c:pt>
                <c:pt idx="34279">
                  <c:v>29.258469876227522</c:v>
                </c:pt>
                <c:pt idx="34280">
                  <c:v>39.678098626792632</c:v>
                </c:pt>
                <c:pt idx="34281">
                  <c:v>28.979454071424037</c:v>
                </c:pt>
                <c:pt idx="34282">
                  <c:v>39.54718122861469</c:v>
                </c:pt>
                <c:pt idx="34283">
                  <c:v>26.35703060060208</c:v>
                </c:pt>
                <c:pt idx="34284">
                  <c:v>28.586959522967867</c:v>
                </c:pt>
                <c:pt idx="34285">
                  <c:v>27.946007139281129</c:v>
                </c:pt>
                <c:pt idx="34286">
                  <c:v>21.145986536485445</c:v>
                </c:pt>
                <c:pt idx="34287">
                  <c:v>47.347923511211</c:v>
                </c:pt>
                <c:pt idx="34288">
                  <c:v>28.326577592714589</c:v>
                </c:pt>
                <c:pt idx="34289">
                  <c:v>22.603855318755908</c:v>
                </c:pt>
                <c:pt idx="34290">
                  <c:v>25.330354782188465</c:v>
                </c:pt>
                <c:pt idx="34291">
                  <c:v>19.573088504633329</c:v>
                </c:pt>
                <c:pt idx="34292">
                  <c:v>45.821414348215207</c:v>
                </c:pt>
                <c:pt idx="34293">
                  <c:v>31.786629660187543</c:v>
                </c:pt>
                <c:pt idx="34294">
                  <c:v>34.298427585646238</c:v>
                </c:pt>
                <c:pt idx="34295">
                  <c:v>36.877588499153518</c:v>
                </c:pt>
                <c:pt idx="34296">
                  <c:v>32.810467327506885</c:v>
                </c:pt>
                <c:pt idx="34297">
                  <c:v>45.58609927184181</c:v>
                </c:pt>
                <c:pt idx="34298">
                  <c:v>21.136784140387135</c:v>
                </c:pt>
                <c:pt idx="34299">
                  <c:v>34.368416878145041</c:v>
                </c:pt>
                <c:pt idx="34300">
                  <c:v>23.36309413275805</c:v>
                </c:pt>
                <c:pt idx="34301">
                  <c:v>27.406629217352126</c:v>
                </c:pt>
                <c:pt idx="34302">
                  <c:v>30.463575143910127</c:v>
                </c:pt>
                <c:pt idx="34303">
                  <c:v>43.921411382312627</c:v>
                </c:pt>
                <c:pt idx="34304">
                  <c:v>27.966183732486908</c:v>
                </c:pt>
                <c:pt idx="34305">
                  <c:v>21.486528336357967</c:v>
                </c:pt>
                <c:pt idx="34306">
                  <c:v>35.054178726242974</c:v>
                </c:pt>
                <c:pt idx="34307">
                  <c:v>33.46501714560425</c:v>
                </c:pt>
                <c:pt idx="34308">
                  <c:v>33.185984719271602</c:v>
                </c:pt>
                <c:pt idx="34309">
                  <c:v>30.023151333964826</c:v>
                </c:pt>
                <c:pt idx="34310">
                  <c:v>30.550091856750154</c:v>
                </c:pt>
                <c:pt idx="34311">
                  <c:v>28.087888736600174</c:v>
                </c:pt>
                <c:pt idx="34312">
                  <c:v>18.13603053001691</c:v>
                </c:pt>
                <c:pt idx="34313">
                  <c:v>47.71596731582607</c:v>
                </c:pt>
                <c:pt idx="34314">
                  <c:v>29.330570893582873</c:v>
                </c:pt>
                <c:pt idx="34315">
                  <c:v>50.283861824815958</c:v>
                </c:pt>
                <c:pt idx="34316">
                  <c:v>38.197271577559533</c:v>
                </c:pt>
                <c:pt idx="34317">
                  <c:v>19.622369085054302</c:v>
                </c:pt>
                <c:pt idx="34318">
                  <c:v>58.373622894249287</c:v>
                </c:pt>
                <c:pt idx="34319">
                  <c:v>32.270639567591033</c:v>
                </c:pt>
                <c:pt idx="34320">
                  <c:v>40.017971359234274</c:v>
                </c:pt>
                <c:pt idx="34321">
                  <c:v>28.258675926147799</c:v>
                </c:pt>
                <c:pt idx="34322">
                  <c:v>31.905388669038633</c:v>
                </c:pt>
                <c:pt idx="34323">
                  <c:v>35.382343102892797</c:v>
                </c:pt>
                <c:pt idx="34324">
                  <c:v>30.621207725816816</c:v>
                </c:pt>
                <c:pt idx="34325">
                  <c:v>21.906800788503347</c:v>
                </c:pt>
                <c:pt idx="34326">
                  <c:v>30.613249237727953</c:v>
                </c:pt>
                <c:pt idx="34327">
                  <c:v>34.555015732480157</c:v>
                </c:pt>
                <c:pt idx="34328">
                  <c:v>31.268444898223692</c:v>
                </c:pt>
                <c:pt idx="34329">
                  <c:v>22.342810985755328</c:v>
                </c:pt>
                <c:pt idx="34330">
                  <c:v>21.963482854961256</c:v>
                </c:pt>
                <c:pt idx="34331">
                  <c:v>32.978917441527123</c:v>
                </c:pt>
                <c:pt idx="34332">
                  <c:v>28.154662412377029</c:v>
                </c:pt>
                <c:pt idx="34333">
                  <c:v>21.206321375046716</c:v>
                </c:pt>
                <c:pt idx="34334">
                  <c:v>26.497549688214697</c:v>
                </c:pt>
                <c:pt idx="34335">
                  <c:v>28.994655161585538</c:v>
                </c:pt>
                <c:pt idx="34336">
                  <c:v>15.376634893022139</c:v>
                </c:pt>
                <c:pt idx="34337">
                  <c:v>47.185051157352085</c:v>
                </c:pt>
                <c:pt idx="34338">
                  <c:v>28.865139117441824</c:v>
                </c:pt>
                <c:pt idx="34339">
                  <c:v>26.626734412435894</c:v>
                </c:pt>
                <c:pt idx="34340">
                  <c:v>31.644521121963944</c:v>
                </c:pt>
                <c:pt idx="34341">
                  <c:v>18.182126922086209</c:v>
                </c:pt>
                <c:pt idx="34342">
                  <c:v>47.322911820992495</c:v>
                </c:pt>
                <c:pt idx="34343">
                  <c:v>36.491788136132023</c:v>
                </c:pt>
                <c:pt idx="34344">
                  <c:v>20.306062529109617</c:v>
                </c:pt>
                <c:pt idx="34345">
                  <c:v>27.638824977240287</c:v>
                </c:pt>
                <c:pt idx="34346">
                  <c:v>34.771498204605678</c:v>
                </c:pt>
                <c:pt idx="34347">
                  <c:v>33.935496705475622</c:v>
                </c:pt>
                <c:pt idx="34348">
                  <c:v>20.379960273520993</c:v>
                </c:pt>
                <c:pt idx="34349">
                  <c:v>21.831703628622229</c:v>
                </c:pt>
                <c:pt idx="34350">
                  <c:v>27.519289897320807</c:v>
                </c:pt>
                <c:pt idx="34351">
                  <c:v>23.813523579110004</c:v>
                </c:pt>
                <c:pt idx="34352">
                  <c:v>58.095278109263113</c:v>
                </c:pt>
                <c:pt idx="34353">
                  <c:v>22.436273531971789</c:v>
                </c:pt>
                <c:pt idx="34354">
                  <c:v>44.184919992832398</c:v>
                </c:pt>
                <c:pt idx="34355">
                  <c:v>44.738658427514032</c:v>
                </c:pt>
                <c:pt idx="34356">
                  <c:v>21.083465538969449</c:v>
                </c:pt>
                <c:pt idx="34357">
                  <c:v>42.13277631405056</c:v>
                </c:pt>
                <c:pt idx="34358">
                  <c:v>27.747340359743397</c:v>
                </c:pt>
                <c:pt idx="34359">
                  <c:v>18.982965259723105</c:v>
                </c:pt>
                <c:pt idx="34360">
                  <c:v>20.194513615243888</c:v>
                </c:pt>
                <c:pt idx="34361">
                  <c:v>29.892716171829061</c:v>
                </c:pt>
                <c:pt idx="34362">
                  <c:v>17.723242796091014</c:v>
                </c:pt>
                <c:pt idx="34363">
                  <c:v>30.505028820224293</c:v>
                </c:pt>
                <c:pt idx="34364">
                  <c:v>27.40628977931933</c:v>
                </c:pt>
                <c:pt idx="34365">
                  <c:v>29.995979895955188</c:v>
                </c:pt>
                <c:pt idx="34366">
                  <c:v>28.736220184392135</c:v>
                </c:pt>
                <c:pt idx="34367">
                  <c:v>32.492240532300244</c:v>
                </c:pt>
                <c:pt idx="34368">
                  <c:v>21.981107397460221</c:v>
                </c:pt>
                <c:pt idx="34369">
                  <c:v>27.875139671858527</c:v>
                </c:pt>
                <c:pt idx="34370">
                  <c:v>25.81914879821581</c:v>
                </c:pt>
                <c:pt idx="34371">
                  <c:v>16.590210675428072</c:v>
                </c:pt>
                <c:pt idx="34372">
                  <c:v>25.135990357085937</c:v>
                </c:pt>
                <c:pt idx="34373">
                  <c:v>52.453779776333427</c:v>
                </c:pt>
                <c:pt idx="34374">
                  <c:v>25.291027515177035</c:v>
                </c:pt>
                <c:pt idx="34375">
                  <c:v>26.130678196799057</c:v>
                </c:pt>
                <c:pt idx="34376">
                  <c:v>24.888597910989386</c:v>
                </c:pt>
                <c:pt idx="34377">
                  <c:v>21.971273791449356</c:v>
                </c:pt>
                <c:pt idx="34378">
                  <c:v>34.620526809480054</c:v>
                </c:pt>
                <c:pt idx="34379">
                  <c:v>24.735977152875485</c:v>
                </c:pt>
                <c:pt idx="34380">
                  <c:v>28.098314727569768</c:v>
                </c:pt>
                <c:pt idx="34381">
                  <c:v>23.260117067844192</c:v>
                </c:pt>
                <c:pt idx="34382">
                  <c:v>26.730045476801479</c:v>
                </c:pt>
                <c:pt idx="34383">
                  <c:v>51.035611336728174</c:v>
                </c:pt>
                <c:pt idx="34384">
                  <c:v>29.978041139235849</c:v>
                </c:pt>
                <c:pt idx="34385">
                  <c:v>47.062179733814588</c:v>
                </c:pt>
                <c:pt idx="34386">
                  <c:v>36.115401690700494</c:v>
                </c:pt>
                <c:pt idx="34387">
                  <c:v>30.669633712000657</c:v>
                </c:pt>
                <c:pt idx="34388">
                  <c:v>27.597508438954531</c:v>
                </c:pt>
                <c:pt idx="34389">
                  <c:v>22.712285405597267</c:v>
                </c:pt>
                <c:pt idx="34390">
                  <c:v>35.022728207614783</c:v>
                </c:pt>
                <c:pt idx="34391">
                  <c:v>29.390913413460424</c:v>
                </c:pt>
                <c:pt idx="34392">
                  <c:v>50.559243616931141</c:v>
                </c:pt>
                <c:pt idx="34393">
                  <c:v>23.269724340426777</c:v>
                </c:pt>
                <c:pt idx="34394">
                  <c:v>28.60098846675519</c:v>
                </c:pt>
                <c:pt idx="34395">
                  <c:v>35.522925926815269</c:v>
                </c:pt>
                <c:pt idx="34396">
                  <c:v>28.055983304069709</c:v>
                </c:pt>
                <c:pt idx="34397">
                  <c:v>18.788826613892688</c:v>
                </c:pt>
                <c:pt idx="34398">
                  <c:v>62.714446635514996</c:v>
                </c:pt>
                <c:pt idx="34399">
                  <c:v>22.454042398853311</c:v>
                </c:pt>
                <c:pt idx="34400">
                  <c:v>53.894637373236165</c:v>
                </c:pt>
                <c:pt idx="34401">
                  <c:v>24.019246726160979</c:v>
                </c:pt>
                <c:pt idx="34402">
                  <c:v>31.702354007579622</c:v>
                </c:pt>
                <c:pt idx="34403">
                  <c:v>24.232135710950526</c:v>
                </c:pt>
                <c:pt idx="34404">
                  <c:v>28.698792219862018</c:v>
                </c:pt>
                <c:pt idx="34405">
                  <c:v>21.014154678468209</c:v>
                </c:pt>
                <c:pt idx="34406">
                  <c:v>20.555334038993614</c:v>
                </c:pt>
                <c:pt idx="34407">
                  <c:v>36.092772760891137</c:v>
                </c:pt>
                <c:pt idx="34408">
                  <c:v>30.325893496395175</c:v>
                </c:pt>
                <c:pt idx="34409">
                  <c:v>41.822113939260099</c:v>
                </c:pt>
                <c:pt idx="34410">
                  <c:v>33.120761029908955</c:v>
                </c:pt>
                <c:pt idx="34411">
                  <c:v>47.600958503218706</c:v>
                </c:pt>
                <c:pt idx="34412">
                  <c:v>39.559591046497673</c:v>
                </c:pt>
                <c:pt idx="34413">
                  <c:v>28.801528206346745</c:v>
                </c:pt>
                <c:pt idx="34414">
                  <c:v>37.970286968408089</c:v>
                </c:pt>
                <c:pt idx="34415">
                  <c:v>24.166447482912304</c:v>
                </c:pt>
                <c:pt idx="34416">
                  <c:v>29.023877536302589</c:v>
                </c:pt>
                <c:pt idx="34417">
                  <c:v>34.674671613003781</c:v>
                </c:pt>
                <c:pt idx="34418">
                  <c:v>37.697954651654371</c:v>
                </c:pt>
                <c:pt idx="34419">
                  <c:v>22.785743378073185</c:v>
                </c:pt>
                <c:pt idx="34420">
                  <c:v>25.262722157937702</c:v>
                </c:pt>
                <c:pt idx="34421">
                  <c:v>34.682116452684724</c:v>
                </c:pt>
                <c:pt idx="34422">
                  <c:v>31.416843389435819</c:v>
                </c:pt>
                <c:pt idx="34423">
                  <c:v>39.5309523221473</c:v>
                </c:pt>
                <c:pt idx="34424">
                  <c:v>23.898382922085421</c:v>
                </c:pt>
                <c:pt idx="34425">
                  <c:v>25.016380688440613</c:v>
                </c:pt>
                <c:pt idx="34426">
                  <c:v>21.590934783115344</c:v>
                </c:pt>
                <c:pt idx="34427">
                  <c:v>17.797586815714986</c:v>
                </c:pt>
                <c:pt idx="34428">
                  <c:v>23.153177933091932</c:v>
                </c:pt>
                <c:pt idx="34429">
                  <c:v>28.101096266511973</c:v>
                </c:pt>
                <c:pt idx="34430">
                  <c:v>23.728794366987582</c:v>
                </c:pt>
                <c:pt idx="34431">
                  <c:v>22.011832574473047</c:v>
                </c:pt>
                <c:pt idx="34432">
                  <c:v>39.191566022373323</c:v>
                </c:pt>
                <c:pt idx="34433">
                  <c:v>44.947816248765889</c:v>
                </c:pt>
                <c:pt idx="34434">
                  <c:v>22.815173949721089</c:v>
                </c:pt>
                <c:pt idx="34435">
                  <c:v>32.040572719445812</c:v>
                </c:pt>
                <c:pt idx="34436">
                  <c:v>27.343539557339582</c:v>
                </c:pt>
                <c:pt idx="34437">
                  <c:v>25.837002737471316</c:v>
                </c:pt>
                <c:pt idx="34438">
                  <c:v>22.880376262659208</c:v>
                </c:pt>
                <c:pt idx="34439">
                  <c:v>24.80451361346104</c:v>
                </c:pt>
                <c:pt idx="34440">
                  <c:v>29.681846038364419</c:v>
                </c:pt>
                <c:pt idx="34441">
                  <c:v>42.434004915423358</c:v>
                </c:pt>
                <c:pt idx="34442">
                  <c:v>22.006461667886285</c:v>
                </c:pt>
                <c:pt idx="34443">
                  <c:v>20.231685185938897</c:v>
                </c:pt>
                <c:pt idx="34444">
                  <c:v>28.469305411111051</c:v>
                </c:pt>
                <c:pt idx="34445">
                  <c:v>32.307703658363152</c:v>
                </c:pt>
                <c:pt idx="34446">
                  <c:v>31.960888433830547</c:v>
                </c:pt>
                <c:pt idx="34447">
                  <c:v>21.86326789401539</c:v>
                </c:pt>
                <c:pt idx="34448">
                  <c:v>30.858534983364066</c:v>
                </c:pt>
                <c:pt idx="34449">
                  <c:v>56.773835296826007</c:v>
                </c:pt>
                <c:pt idx="34450">
                  <c:v>26.478115658488591</c:v>
                </c:pt>
                <c:pt idx="34451">
                  <c:v>35.889805336021013</c:v>
                </c:pt>
                <c:pt idx="34452">
                  <c:v>27.447102644813178</c:v>
                </c:pt>
                <c:pt idx="34453">
                  <c:v>22.575622612144279</c:v>
                </c:pt>
                <c:pt idx="34454">
                  <c:v>34.071529186378186</c:v>
                </c:pt>
                <c:pt idx="34455">
                  <c:v>30.325806101450976</c:v>
                </c:pt>
                <c:pt idx="34456">
                  <c:v>44.129379364263052</c:v>
                </c:pt>
                <c:pt idx="34457">
                  <c:v>31.600186722215547</c:v>
                </c:pt>
                <c:pt idx="34458">
                  <c:v>25.810269287553716</c:v>
                </c:pt>
                <c:pt idx="34459">
                  <c:v>54.61153758350116</c:v>
                </c:pt>
                <c:pt idx="34460">
                  <c:v>38.429118298122191</c:v>
                </c:pt>
                <c:pt idx="34461">
                  <c:v>19.082368334822402</c:v>
                </c:pt>
                <c:pt idx="34462">
                  <c:v>29.044312231286007</c:v>
                </c:pt>
                <c:pt idx="34463">
                  <c:v>40.823710581086416</c:v>
                </c:pt>
                <c:pt idx="34464">
                  <c:v>32.663705663505269</c:v>
                </c:pt>
                <c:pt idx="34465">
                  <c:v>23.603065422580624</c:v>
                </c:pt>
                <c:pt idx="34466">
                  <c:v>29.676834154753408</c:v>
                </c:pt>
                <c:pt idx="34467">
                  <c:v>45.906366411531074</c:v>
                </c:pt>
                <c:pt idx="34468">
                  <c:v>35.563285921609427</c:v>
                </c:pt>
                <c:pt idx="34469">
                  <c:v>30.228443006086248</c:v>
                </c:pt>
                <c:pt idx="34470">
                  <c:v>26.176172092059709</c:v>
                </c:pt>
                <c:pt idx="34471">
                  <c:v>25.11964900773431</c:v>
                </c:pt>
                <c:pt idx="34472">
                  <c:v>30.07257262835445</c:v>
                </c:pt>
                <c:pt idx="34473">
                  <c:v>31.411318525488678</c:v>
                </c:pt>
                <c:pt idx="34474">
                  <c:v>48.211967920468851</c:v>
                </c:pt>
                <c:pt idx="34475">
                  <c:v>35.486272702323532</c:v>
                </c:pt>
                <c:pt idx="34476">
                  <c:v>30.885735728212381</c:v>
                </c:pt>
                <c:pt idx="34477">
                  <c:v>24.403901361462193</c:v>
                </c:pt>
                <c:pt idx="34478">
                  <c:v>25.520681820787647</c:v>
                </c:pt>
                <c:pt idx="34479">
                  <c:v>45.843144453444857</c:v>
                </c:pt>
                <c:pt idx="34480">
                  <c:v>32.0977182978434</c:v>
                </c:pt>
                <c:pt idx="34481">
                  <c:v>49.326589927254737</c:v>
                </c:pt>
                <c:pt idx="34482">
                  <c:v>26.453992657757418</c:v>
                </c:pt>
                <c:pt idx="34483">
                  <c:v>30.47168217059555</c:v>
                </c:pt>
                <c:pt idx="34484">
                  <c:v>47.845155989091793</c:v>
                </c:pt>
                <c:pt idx="34485">
                  <c:v>19.773243919276606</c:v>
                </c:pt>
                <c:pt idx="34486">
                  <c:v>41.063914661160865</c:v>
                </c:pt>
                <c:pt idx="34487">
                  <c:v>28.067099888901186</c:v>
                </c:pt>
                <c:pt idx="34488">
                  <c:v>30.710650424182166</c:v>
                </c:pt>
                <c:pt idx="34489">
                  <c:v>23.706365732827528</c:v>
                </c:pt>
                <c:pt idx="34490">
                  <c:v>28.373965936438374</c:v>
                </c:pt>
                <c:pt idx="34491">
                  <c:v>28.927729738379469</c:v>
                </c:pt>
                <c:pt idx="34492">
                  <c:v>27.634304487845647</c:v>
                </c:pt>
                <c:pt idx="34493">
                  <c:v>32.275064949957439</c:v>
                </c:pt>
                <c:pt idx="34494">
                  <c:v>25.796299386450485</c:v>
                </c:pt>
                <c:pt idx="34495">
                  <c:v>53.156445860258351</c:v>
                </c:pt>
                <c:pt idx="34496">
                  <c:v>13.786230368985379</c:v>
                </c:pt>
                <c:pt idx="34497">
                  <c:v>37.755026652861986</c:v>
                </c:pt>
                <c:pt idx="34498">
                  <c:v>26.041522941607752</c:v>
                </c:pt>
                <c:pt idx="34499">
                  <c:v>19.283139677267304</c:v>
                </c:pt>
                <c:pt idx="34500">
                  <c:v>37.641689012301967</c:v>
                </c:pt>
                <c:pt idx="34501">
                  <c:v>40.050835577973089</c:v>
                </c:pt>
                <c:pt idx="34502">
                  <c:v>28.387954323868833</c:v>
                </c:pt>
                <c:pt idx="34503">
                  <c:v>26.511988068387314</c:v>
                </c:pt>
                <c:pt idx="34504">
                  <c:v>21.563441560808386</c:v>
                </c:pt>
                <c:pt idx="34505">
                  <c:v>23.676603611907641</c:v>
                </c:pt>
                <c:pt idx="34506">
                  <c:v>50.437236576586699</c:v>
                </c:pt>
                <c:pt idx="34507">
                  <c:v>23.446104370316178</c:v>
                </c:pt>
                <c:pt idx="34508">
                  <c:v>23.035160674648193</c:v>
                </c:pt>
                <c:pt idx="34509">
                  <c:v>22.284764806343563</c:v>
                </c:pt>
                <c:pt idx="34510">
                  <c:v>29.806456483485679</c:v>
                </c:pt>
                <c:pt idx="34511">
                  <c:v>23.869871163985273</c:v>
                </c:pt>
                <c:pt idx="34512">
                  <c:v>27.025287848150601</c:v>
                </c:pt>
                <c:pt idx="34513">
                  <c:v>27.116714785875207</c:v>
                </c:pt>
                <c:pt idx="34514">
                  <c:v>20.848498474744019</c:v>
                </c:pt>
                <c:pt idx="34515">
                  <c:v>27.536070987816423</c:v>
                </c:pt>
                <c:pt idx="34516">
                  <c:v>27.404274805688392</c:v>
                </c:pt>
                <c:pt idx="34517">
                  <c:v>21.809337027735822</c:v>
                </c:pt>
                <c:pt idx="34518">
                  <c:v>23.131243558944973</c:v>
                </c:pt>
                <c:pt idx="34519">
                  <c:v>31.676096498941668</c:v>
                </c:pt>
                <c:pt idx="34520">
                  <c:v>25.309081392521108</c:v>
                </c:pt>
                <c:pt idx="34521">
                  <c:v>29.014997930412143</c:v>
                </c:pt>
                <c:pt idx="34522">
                  <c:v>14.852484817246197</c:v>
                </c:pt>
                <c:pt idx="34523">
                  <c:v>29.559578510658046</c:v>
                </c:pt>
                <c:pt idx="34524">
                  <c:v>25.163293511448085</c:v>
                </c:pt>
                <c:pt idx="34525">
                  <c:v>22.781496855078874</c:v>
                </c:pt>
                <c:pt idx="34526">
                  <c:v>34.58372508927215</c:v>
                </c:pt>
                <c:pt idx="34527">
                  <c:v>25.307229602343902</c:v>
                </c:pt>
                <c:pt idx="34528">
                  <c:v>28.908489664153848</c:v>
                </c:pt>
                <c:pt idx="34529">
                  <c:v>24.088131026225877</c:v>
                </c:pt>
                <c:pt idx="34530">
                  <c:v>24.576863032512957</c:v>
                </c:pt>
                <c:pt idx="34531">
                  <c:v>23.8357784462771</c:v>
                </c:pt>
                <c:pt idx="34532">
                  <c:v>45.61886650019369</c:v>
                </c:pt>
                <c:pt idx="34533">
                  <c:v>33.862330589132945</c:v>
                </c:pt>
                <c:pt idx="34534">
                  <c:v>21.486995906885497</c:v>
                </c:pt>
                <c:pt idx="34535">
                  <c:v>29.054790001968996</c:v>
                </c:pt>
                <c:pt idx="34536">
                  <c:v>27.730963766067077</c:v>
                </c:pt>
                <c:pt idx="34537">
                  <c:v>19.745132014137557</c:v>
                </c:pt>
                <c:pt idx="34538">
                  <c:v>24.920561385876248</c:v>
                </c:pt>
                <c:pt idx="34539">
                  <c:v>37.905180019879218</c:v>
                </c:pt>
                <c:pt idx="34540">
                  <c:v>27.413102358585036</c:v>
                </c:pt>
                <c:pt idx="34541">
                  <c:v>19.662533651268028</c:v>
                </c:pt>
                <c:pt idx="34542">
                  <c:v>25.886378907293484</c:v>
                </c:pt>
                <c:pt idx="34543">
                  <c:v>22.285549893014739</c:v>
                </c:pt>
                <c:pt idx="34544">
                  <c:v>19.796195407871831</c:v>
                </c:pt>
                <c:pt idx="34545">
                  <c:v>32.214198533382771</c:v>
                </c:pt>
                <c:pt idx="34546">
                  <c:v>33.040893964653641</c:v>
                </c:pt>
                <c:pt idx="34547">
                  <c:v>25.517316246253731</c:v>
                </c:pt>
                <c:pt idx="34548">
                  <c:v>22.899283668949309</c:v>
                </c:pt>
                <c:pt idx="34549">
                  <c:v>47.910387814581604</c:v>
                </c:pt>
                <c:pt idx="34550">
                  <c:v>31.294467396340401</c:v>
                </c:pt>
                <c:pt idx="34551">
                  <c:v>26.830162333999681</c:v>
                </c:pt>
                <c:pt idx="34552">
                  <c:v>30.09021887648202</c:v>
                </c:pt>
                <c:pt idx="34553">
                  <c:v>26.177224432196844</c:v>
                </c:pt>
                <c:pt idx="34554">
                  <c:v>26.310409476911612</c:v>
                </c:pt>
                <c:pt idx="34555">
                  <c:v>23.467498199845771</c:v>
                </c:pt>
                <c:pt idx="34556">
                  <c:v>31.04678827107405</c:v>
                </c:pt>
                <c:pt idx="34557">
                  <c:v>32.939481216226966</c:v>
                </c:pt>
                <c:pt idx="34558">
                  <c:v>28.552418543174504</c:v>
                </c:pt>
                <c:pt idx="34559">
                  <c:v>31.990864128620274</c:v>
                </c:pt>
                <c:pt idx="34560">
                  <c:v>44.20093938665417</c:v>
                </c:pt>
                <c:pt idx="34561">
                  <c:v>23.407094036069804</c:v>
                </c:pt>
                <c:pt idx="34562">
                  <c:v>29.112922166819889</c:v>
                </c:pt>
                <c:pt idx="34563">
                  <c:v>34.710515162246779</c:v>
                </c:pt>
                <c:pt idx="34564">
                  <c:v>26.792438016254906</c:v>
                </c:pt>
                <c:pt idx="34565">
                  <c:v>35.53705830179792</c:v>
                </c:pt>
                <c:pt idx="34566">
                  <c:v>17.12877600790646</c:v>
                </c:pt>
                <c:pt idx="34567">
                  <c:v>23.098835371182002</c:v>
                </c:pt>
                <c:pt idx="34568">
                  <c:v>26.365461803644344</c:v>
                </c:pt>
                <c:pt idx="34569">
                  <c:v>22.709633985320369</c:v>
                </c:pt>
                <c:pt idx="34570">
                  <c:v>23.124751543692454</c:v>
                </c:pt>
                <c:pt idx="34571">
                  <c:v>41.073937724654662</c:v>
                </c:pt>
                <c:pt idx="34572">
                  <c:v>28.964214332935619</c:v>
                </c:pt>
                <c:pt idx="34573">
                  <c:v>29.733668818430555</c:v>
                </c:pt>
                <c:pt idx="34574">
                  <c:v>28.379134811297661</c:v>
                </c:pt>
                <c:pt idx="34575">
                  <c:v>27.235552892091398</c:v>
                </c:pt>
                <c:pt idx="34576">
                  <c:v>45.178814055694623</c:v>
                </c:pt>
                <c:pt idx="34577">
                  <c:v>30.540754668097776</c:v>
                </c:pt>
                <c:pt idx="34578">
                  <c:v>27.283498421484502</c:v>
                </c:pt>
                <c:pt idx="34579">
                  <c:v>34.006362611540347</c:v>
                </c:pt>
                <c:pt idx="34580">
                  <c:v>24.164124433342302</c:v>
                </c:pt>
                <c:pt idx="34581">
                  <c:v>25.988565860716434</c:v>
                </c:pt>
                <c:pt idx="34582">
                  <c:v>21.417877408837633</c:v>
                </c:pt>
                <c:pt idx="34583">
                  <c:v>42.870248035449912</c:v>
                </c:pt>
                <c:pt idx="34584">
                  <c:v>16.869205022608536</c:v>
                </c:pt>
                <c:pt idx="34585">
                  <c:v>26.964828962129879</c:v>
                </c:pt>
                <c:pt idx="34586">
                  <c:v>25.41237534422919</c:v>
                </c:pt>
                <c:pt idx="34587">
                  <c:v>29.546181428912984</c:v>
                </c:pt>
                <c:pt idx="34588">
                  <c:v>18.065096662260203</c:v>
                </c:pt>
                <c:pt idx="34589">
                  <c:v>32.674576523837359</c:v>
                </c:pt>
                <c:pt idx="34590">
                  <c:v>32.059924483979891</c:v>
                </c:pt>
                <c:pt idx="34591">
                  <c:v>20.090408459948524</c:v>
                </c:pt>
                <c:pt idx="34592">
                  <c:v>26.680904628426923</c:v>
                </c:pt>
                <c:pt idx="34593">
                  <c:v>21.355933262829449</c:v>
                </c:pt>
                <c:pt idx="34594">
                  <c:v>30.10719650676419</c:v>
                </c:pt>
                <c:pt idx="34595">
                  <c:v>24.777127460455404</c:v>
                </c:pt>
                <c:pt idx="34596">
                  <c:v>23.534012072002515</c:v>
                </c:pt>
                <c:pt idx="34597">
                  <c:v>38.868159674539399</c:v>
                </c:pt>
                <c:pt idx="34598">
                  <c:v>32.980336753856314</c:v>
                </c:pt>
                <c:pt idx="34599">
                  <c:v>23.147998862465357</c:v>
                </c:pt>
                <c:pt idx="34600">
                  <c:v>27.223115563980986</c:v>
                </c:pt>
                <c:pt idx="34601">
                  <c:v>34.794463834116037</c:v>
                </c:pt>
                <c:pt idx="34602">
                  <c:v>27.39230289315282</c:v>
                </c:pt>
                <c:pt idx="34603">
                  <c:v>31.429485607604345</c:v>
                </c:pt>
                <c:pt idx="34604">
                  <c:v>21.309630463393976</c:v>
                </c:pt>
                <c:pt idx="34605">
                  <c:v>26.800649212599076</c:v>
                </c:pt>
                <c:pt idx="34606">
                  <c:v>22.971668314780967</c:v>
                </c:pt>
                <c:pt idx="34607">
                  <c:v>50.316997361198787</c:v>
                </c:pt>
                <c:pt idx="34608">
                  <c:v>31.993709626162893</c:v>
                </c:pt>
                <c:pt idx="34609">
                  <c:v>50.116329189875295</c:v>
                </c:pt>
                <c:pt idx="34610">
                  <c:v>27.978956816589356</c:v>
                </c:pt>
                <c:pt idx="34611">
                  <c:v>32.892482098881402</c:v>
                </c:pt>
                <c:pt idx="34612">
                  <c:v>27.331750239743958</c:v>
                </c:pt>
                <c:pt idx="34613">
                  <c:v>20.247742761955667</c:v>
                </c:pt>
                <c:pt idx="34614">
                  <c:v>24.29974760479211</c:v>
                </c:pt>
                <c:pt idx="34615">
                  <c:v>49.094657111844583</c:v>
                </c:pt>
                <c:pt idx="34616">
                  <c:v>29.917221420606019</c:v>
                </c:pt>
                <c:pt idx="34617">
                  <c:v>26.387772156666323</c:v>
                </c:pt>
                <c:pt idx="34618">
                  <c:v>19.005079173502278</c:v>
                </c:pt>
                <c:pt idx="34619">
                  <c:v>23.444888566378943</c:v>
                </c:pt>
                <c:pt idx="34620">
                  <c:v>27.367472411860021</c:v>
                </c:pt>
                <c:pt idx="34621">
                  <c:v>31.457285993587377</c:v>
                </c:pt>
                <c:pt idx="34622">
                  <c:v>23.388589445050663</c:v>
                </c:pt>
                <c:pt idx="34623">
                  <c:v>35.856807771594148</c:v>
                </c:pt>
                <c:pt idx="34624">
                  <c:v>53.153285966726934</c:v>
                </c:pt>
                <c:pt idx="34625">
                  <c:v>51.656625197602892</c:v>
                </c:pt>
                <c:pt idx="34626">
                  <c:v>35.699055182503116</c:v>
                </c:pt>
                <c:pt idx="34627">
                  <c:v>23.76642130448402</c:v>
                </c:pt>
                <c:pt idx="34628">
                  <c:v>37.540071399429536</c:v>
                </c:pt>
                <c:pt idx="34629">
                  <c:v>35.066084246415777</c:v>
                </c:pt>
                <c:pt idx="34630">
                  <c:v>43.201621525228369</c:v>
                </c:pt>
                <c:pt idx="34631">
                  <c:v>31.810662962514456</c:v>
                </c:pt>
                <c:pt idx="34632">
                  <c:v>28.278145366596782</c:v>
                </c:pt>
                <c:pt idx="34633">
                  <c:v>37.486755902434304</c:v>
                </c:pt>
                <c:pt idx="34634">
                  <c:v>31.830086649042897</c:v>
                </c:pt>
                <c:pt idx="34635">
                  <c:v>27.315936757689968</c:v>
                </c:pt>
                <c:pt idx="34636">
                  <c:v>22.28920500676951</c:v>
                </c:pt>
                <c:pt idx="34637">
                  <c:v>31.904077469822809</c:v>
                </c:pt>
                <c:pt idx="34638">
                  <c:v>28.341768686710836</c:v>
                </c:pt>
                <c:pt idx="34639">
                  <c:v>33.061610263682773</c:v>
                </c:pt>
                <c:pt idx="34640">
                  <c:v>27.666448159378277</c:v>
                </c:pt>
                <c:pt idx="34641">
                  <c:v>37.710592824171215</c:v>
                </c:pt>
                <c:pt idx="34642">
                  <c:v>27.82007024799351</c:v>
                </c:pt>
                <c:pt idx="34643">
                  <c:v>48.569609734494449</c:v>
                </c:pt>
                <c:pt idx="34644">
                  <c:v>37.887235415948055</c:v>
                </c:pt>
                <c:pt idx="34645">
                  <c:v>28.768513742777742</c:v>
                </c:pt>
                <c:pt idx="34646">
                  <c:v>43.248297486067294</c:v>
                </c:pt>
                <c:pt idx="34647">
                  <c:v>23.283313273253416</c:v>
                </c:pt>
                <c:pt idx="34648">
                  <c:v>32.126801712816942</c:v>
                </c:pt>
                <c:pt idx="34649">
                  <c:v>33.005796784871471</c:v>
                </c:pt>
                <c:pt idx="34650">
                  <c:v>29.724421402850389</c:v>
                </c:pt>
                <c:pt idx="34651">
                  <c:v>33.313571973291523</c:v>
                </c:pt>
                <c:pt idx="34652">
                  <c:v>22.028817521134908</c:v>
                </c:pt>
                <c:pt idx="34653">
                  <c:v>23.839341777617605</c:v>
                </c:pt>
                <c:pt idx="34654">
                  <c:v>50.700795456160122</c:v>
                </c:pt>
                <c:pt idx="34655">
                  <c:v>36.149704631920756</c:v>
                </c:pt>
                <c:pt idx="34656">
                  <c:v>24.8316417917199</c:v>
                </c:pt>
                <c:pt idx="34657">
                  <c:v>30.591458422390389</c:v>
                </c:pt>
                <c:pt idx="34658">
                  <c:v>31.927783761719535</c:v>
                </c:pt>
                <c:pt idx="34659">
                  <c:v>18.980057359655937</c:v>
                </c:pt>
                <c:pt idx="34660">
                  <c:v>22.116243696590491</c:v>
                </c:pt>
                <c:pt idx="34661">
                  <c:v>50.061347170104966</c:v>
                </c:pt>
                <c:pt idx="34662">
                  <c:v>28.35814948971489</c:v>
                </c:pt>
                <c:pt idx="34663">
                  <c:v>41.61800810547193</c:v>
                </c:pt>
                <c:pt idx="34664">
                  <c:v>25.771945042165704</c:v>
                </c:pt>
                <c:pt idx="34665">
                  <c:v>28.603110159002394</c:v>
                </c:pt>
                <c:pt idx="34666">
                  <c:v>29.419672933706366</c:v>
                </c:pt>
                <c:pt idx="34667">
                  <c:v>26.103209158551959</c:v>
                </c:pt>
                <c:pt idx="34668">
                  <c:v>46.319054453286022</c:v>
                </c:pt>
                <c:pt idx="34669">
                  <c:v>50.017290122236211</c:v>
                </c:pt>
                <c:pt idx="34670">
                  <c:v>24.484690072506417</c:v>
                </c:pt>
                <c:pt idx="34671">
                  <c:v>36.067902263573238</c:v>
                </c:pt>
                <c:pt idx="34672">
                  <c:v>29.736010041664283</c:v>
                </c:pt>
                <c:pt idx="34673">
                  <c:v>34.572264383242221</c:v>
                </c:pt>
                <c:pt idx="34674">
                  <c:v>16.070124917531675</c:v>
                </c:pt>
                <c:pt idx="34675">
                  <c:v>45.953763793842995</c:v>
                </c:pt>
                <c:pt idx="34676">
                  <c:v>27.130140745292273</c:v>
                </c:pt>
                <c:pt idx="34677">
                  <c:v>26.436646782947289</c:v>
                </c:pt>
                <c:pt idx="34678">
                  <c:v>53.567034000045574</c:v>
                </c:pt>
                <c:pt idx="34679">
                  <c:v>27.319146761874343</c:v>
                </c:pt>
                <c:pt idx="34680">
                  <c:v>41.572705839689789</c:v>
                </c:pt>
                <c:pt idx="34681">
                  <c:v>26.291013346728246</c:v>
                </c:pt>
                <c:pt idx="34682">
                  <c:v>21.01654054256802</c:v>
                </c:pt>
                <c:pt idx="34683">
                  <c:v>26.319671910432568</c:v>
                </c:pt>
                <c:pt idx="34684">
                  <c:v>22.148046612695332</c:v>
                </c:pt>
                <c:pt idx="34685">
                  <c:v>25.147549132150552</c:v>
                </c:pt>
                <c:pt idx="34686">
                  <c:v>20.172642478677776</c:v>
                </c:pt>
                <c:pt idx="34687">
                  <c:v>21.064989620530568</c:v>
                </c:pt>
                <c:pt idx="34688">
                  <c:v>21.725324328503238</c:v>
                </c:pt>
                <c:pt idx="34689">
                  <c:v>30.977432139686272</c:v>
                </c:pt>
                <c:pt idx="34690">
                  <c:v>25.613832549824075</c:v>
                </c:pt>
                <c:pt idx="34691">
                  <c:v>21.952964329009166</c:v>
                </c:pt>
                <c:pt idx="34692">
                  <c:v>33.911059466708394</c:v>
                </c:pt>
                <c:pt idx="34693">
                  <c:v>23.833002436585044</c:v>
                </c:pt>
                <c:pt idx="34694">
                  <c:v>26.60118993646261</c:v>
                </c:pt>
                <c:pt idx="34695">
                  <c:v>26.069507625668649</c:v>
                </c:pt>
                <c:pt idx="34696">
                  <c:v>19.61596427633415</c:v>
                </c:pt>
                <c:pt idx="34697">
                  <c:v>32.4626508015753</c:v>
                </c:pt>
                <c:pt idx="34698">
                  <c:v>29.402460090254635</c:v>
                </c:pt>
                <c:pt idx="34699">
                  <c:v>20.287298862690125</c:v>
                </c:pt>
                <c:pt idx="34700">
                  <c:v>28.679172907301371</c:v>
                </c:pt>
                <c:pt idx="34701">
                  <c:v>18.94497734392472</c:v>
                </c:pt>
                <c:pt idx="34702">
                  <c:v>29.645497239129796</c:v>
                </c:pt>
                <c:pt idx="34703">
                  <c:v>24.012256863895647</c:v>
                </c:pt>
                <c:pt idx="34704">
                  <c:v>28.666488537327506</c:v>
                </c:pt>
                <c:pt idx="34705">
                  <c:v>29.01496641540464</c:v>
                </c:pt>
                <c:pt idx="34706">
                  <c:v>26.196263188564409</c:v>
                </c:pt>
                <c:pt idx="34707">
                  <c:v>41.271723086590079</c:v>
                </c:pt>
                <c:pt idx="34708">
                  <c:v>31.939867077876212</c:v>
                </c:pt>
                <c:pt idx="34709">
                  <c:v>31.665685213886491</c:v>
                </c:pt>
                <c:pt idx="34710">
                  <c:v>24.27271389174453</c:v>
                </c:pt>
                <c:pt idx="34711">
                  <c:v>21.760367383624132</c:v>
                </c:pt>
                <c:pt idx="34712">
                  <c:v>28.368891012476794</c:v>
                </c:pt>
                <c:pt idx="34713">
                  <c:v>48.382518360929645</c:v>
                </c:pt>
                <c:pt idx="34714">
                  <c:v>54.429763994780529</c:v>
                </c:pt>
                <c:pt idx="34715">
                  <c:v>19.414621178374002</c:v>
                </c:pt>
                <c:pt idx="34716">
                  <c:v>33.421522460454803</c:v>
                </c:pt>
                <c:pt idx="34717">
                  <c:v>23.684838080191607</c:v>
                </c:pt>
                <c:pt idx="34718">
                  <c:v>23.606451813461028</c:v>
                </c:pt>
                <c:pt idx="34719">
                  <c:v>28.170317701723494</c:v>
                </c:pt>
                <c:pt idx="34720">
                  <c:v>24.177156010727895</c:v>
                </c:pt>
                <c:pt idx="34721">
                  <c:v>25.625448195149605</c:v>
                </c:pt>
                <c:pt idx="34722">
                  <c:v>38.043971971096909</c:v>
                </c:pt>
                <c:pt idx="34723">
                  <c:v>43.510012386058349</c:v>
                </c:pt>
                <c:pt idx="34724">
                  <c:v>53.918814675332456</c:v>
                </c:pt>
                <c:pt idx="34725">
                  <c:v>20.727032046441817</c:v>
                </c:pt>
                <c:pt idx="34726">
                  <c:v>41.8039612766649</c:v>
                </c:pt>
                <c:pt idx="34727">
                  <c:v>25.550497400871706</c:v>
                </c:pt>
                <c:pt idx="34728">
                  <c:v>25.620997888943936</c:v>
                </c:pt>
                <c:pt idx="34729">
                  <c:v>29.726453310866596</c:v>
                </c:pt>
                <c:pt idx="34730">
                  <c:v>30.516930615609883</c:v>
                </c:pt>
                <c:pt idx="34731">
                  <c:v>31.806423159132692</c:v>
                </c:pt>
                <c:pt idx="34732">
                  <c:v>28.684773479367529</c:v>
                </c:pt>
                <c:pt idx="34733">
                  <c:v>45.989747725669687</c:v>
                </c:pt>
                <c:pt idx="34734">
                  <c:v>28.555303322145132</c:v>
                </c:pt>
                <c:pt idx="34735">
                  <c:v>53.108876651464897</c:v>
                </c:pt>
                <c:pt idx="34736">
                  <c:v>36.956503975000004</c:v>
                </c:pt>
                <c:pt idx="34737">
                  <c:v>23.138596064764396</c:v>
                </c:pt>
                <c:pt idx="34738">
                  <c:v>31.949851196546547</c:v>
                </c:pt>
                <c:pt idx="34739">
                  <c:v>17.259707760129789</c:v>
                </c:pt>
                <c:pt idx="34740">
                  <c:v>33.221069660728098</c:v>
                </c:pt>
                <c:pt idx="34741">
                  <c:v>28.454592782265244</c:v>
                </c:pt>
                <c:pt idx="34742">
                  <c:v>23.600424931277452</c:v>
                </c:pt>
                <c:pt idx="34743">
                  <c:v>39.302794369774055</c:v>
                </c:pt>
                <c:pt idx="34744">
                  <c:v>18.61602444951275</c:v>
                </c:pt>
                <c:pt idx="34745">
                  <c:v>22.652272595828741</c:v>
                </c:pt>
                <c:pt idx="34746">
                  <c:v>35.706868980636088</c:v>
                </c:pt>
                <c:pt idx="34747">
                  <c:v>24.401688598291948</c:v>
                </c:pt>
                <c:pt idx="34748">
                  <c:v>31.73629408401818</c:v>
                </c:pt>
                <c:pt idx="34749">
                  <c:v>18.446000526568387</c:v>
                </c:pt>
                <c:pt idx="34750">
                  <c:v>24.145799680275765</c:v>
                </c:pt>
                <c:pt idx="34751">
                  <c:v>22.659429663512011</c:v>
                </c:pt>
                <c:pt idx="34752">
                  <c:v>24.620372189990974</c:v>
                </c:pt>
                <c:pt idx="34753">
                  <c:v>28.821930946276925</c:v>
                </c:pt>
                <c:pt idx="34754">
                  <c:v>26.402134197744139</c:v>
                </c:pt>
                <c:pt idx="34755">
                  <c:v>25.209309087809466</c:v>
                </c:pt>
                <c:pt idx="34756">
                  <c:v>47.295462118696591</c:v>
                </c:pt>
                <c:pt idx="34757">
                  <c:v>31.712952634743072</c:v>
                </c:pt>
                <c:pt idx="34758">
                  <c:v>24.680215331962877</c:v>
                </c:pt>
                <c:pt idx="34759">
                  <c:v>16.719560770280605</c:v>
                </c:pt>
                <c:pt idx="34760">
                  <c:v>58.942644393698636</c:v>
                </c:pt>
                <c:pt idx="34761">
                  <c:v>17.80978685680266</c:v>
                </c:pt>
                <c:pt idx="34762">
                  <c:v>27.641376987264756</c:v>
                </c:pt>
                <c:pt idx="34763">
                  <c:v>24.600929443850418</c:v>
                </c:pt>
                <c:pt idx="34764">
                  <c:v>27.980304625153558</c:v>
                </c:pt>
                <c:pt idx="34765">
                  <c:v>35.141508812323387</c:v>
                </c:pt>
                <c:pt idx="34766">
                  <c:v>39.199764841695263</c:v>
                </c:pt>
                <c:pt idx="34767">
                  <c:v>45.866648140466111</c:v>
                </c:pt>
                <c:pt idx="34768">
                  <c:v>31.739927003474012</c:v>
                </c:pt>
                <c:pt idx="34769">
                  <c:v>38.158009727257856</c:v>
                </c:pt>
                <c:pt idx="34770">
                  <c:v>41.696118731477419</c:v>
                </c:pt>
                <c:pt idx="34771">
                  <c:v>45.126628837401995</c:v>
                </c:pt>
                <c:pt idx="34772">
                  <c:v>22.425210919200737</c:v>
                </c:pt>
                <c:pt idx="34773">
                  <c:v>25.540938579287612</c:v>
                </c:pt>
                <c:pt idx="34774">
                  <c:v>54.841556385382262</c:v>
                </c:pt>
                <c:pt idx="34775">
                  <c:v>26.271948019495667</c:v>
                </c:pt>
                <c:pt idx="34776">
                  <c:v>25.677336748714012</c:v>
                </c:pt>
                <c:pt idx="34777">
                  <c:v>28.182326981608945</c:v>
                </c:pt>
                <c:pt idx="34778">
                  <c:v>24.62145398612326</c:v>
                </c:pt>
                <c:pt idx="34779">
                  <c:v>29.150953093831649</c:v>
                </c:pt>
                <c:pt idx="34780">
                  <c:v>34.766155682254201</c:v>
                </c:pt>
                <c:pt idx="34781">
                  <c:v>35.442053756089308</c:v>
                </c:pt>
                <c:pt idx="34782">
                  <c:v>24.005512043465224</c:v>
                </c:pt>
                <c:pt idx="34783">
                  <c:v>21.89112622355146</c:v>
                </c:pt>
                <c:pt idx="34784">
                  <c:v>38.456525181658137</c:v>
                </c:pt>
                <c:pt idx="34785">
                  <c:v>24.326295250103147</c:v>
                </c:pt>
                <c:pt idx="34786">
                  <c:v>33.786373109631803</c:v>
                </c:pt>
                <c:pt idx="34787">
                  <c:v>24.611817054211077</c:v>
                </c:pt>
                <c:pt idx="34788">
                  <c:v>26.999862416985792</c:v>
                </c:pt>
                <c:pt idx="34789">
                  <c:v>31.455139986324163</c:v>
                </c:pt>
                <c:pt idx="34790">
                  <c:v>48.895668947163003</c:v>
                </c:pt>
                <c:pt idx="34791">
                  <c:v>40.921829414457619</c:v>
                </c:pt>
                <c:pt idx="34792">
                  <c:v>43.694826317821516</c:v>
                </c:pt>
                <c:pt idx="34793">
                  <c:v>25.245382474974317</c:v>
                </c:pt>
                <c:pt idx="34794">
                  <c:v>45.298732155029342</c:v>
                </c:pt>
                <c:pt idx="34795">
                  <c:v>28.989778777877248</c:v>
                </c:pt>
                <c:pt idx="34796">
                  <c:v>24.02410531398688</c:v>
                </c:pt>
                <c:pt idx="34797">
                  <c:v>21.173049535612218</c:v>
                </c:pt>
                <c:pt idx="34798">
                  <c:v>23.281610118027903</c:v>
                </c:pt>
                <c:pt idx="34799">
                  <c:v>26.005518344899407</c:v>
                </c:pt>
                <c:pt idx="34800">
                  <c:v>26.510684616210128</c:v>
                </c:pt>
                <c:pt idx="34801">
                  <c:v>40.17312365660004</c:v>
                </c:pt>
                <c:pt idx="34802">
                  <c:v>25.381620879432035</c:v>
                </c:pt>
                <c:pt idx="34803">
                  <c:v>30.09064870835725</c:v>
                </c:pt>
                <c:pt idx="34804">
                  <c:v>42.679601484015059</c:v>
                </c:pt>
                <c:pt idx="34805">
                  <c:v>40.806161402523507</c:v>
                </c:pt>
                <c:pt idx="34806">
                  <c:v>29.425863705671222</c:v>
                </c:pt>
                <c:pt idx="34807">
                  <c:v>47.635390781712175</c:v>
                </c:pt>
                <c:pt idx="34808">
                  <c:v>24.495152411164128</c:v>
                </c:pt>
                <c:pt idx="34809">
                  <c:v>24.205932899821576</c:v>
                </c:pt>
                <c:pt idx="34810">
                  <c:v>28.12196370921275</c:v>
                </c:pt>
                <c:pt idx="34811">
                  <c:v>36.891692057225768</c:v>
                </c:pt>
                <c:pt idx="34812">
                  <c:v>31.749349108646065</c:v>
                </c:pt>
                <c:pt idx="34813">
                  <c:v>20.476358241024574</c:v>
                </c:pt>
                <c:pt idx="34814">
                  <c:v>36.560967996018817</c:v>
                </c:pt>
                <c:pt idx="34815">
                  <c:v>36.340288909938053</c:v>
                </c:pt>
                <c:pt idx="34816">
                  <c:v>30.122390369272924</c:v>
                </c:pt>
                <c:pt idx="34817">
                  <c:v>29.859742987247248</c:v>
                </c:pt>
                <c:pt idx="34818">
                  <c:v>24.853583103254035</c:v>
                </c:pt>
                <c:pt idx="34819">
                  <c:v>21.098870092595455</c:v>
                </c:pt>
                <c:pt idx="34820">
                  <c:v>23.555270717970586</c:v>
                </c:pt>
                <c:pt idx="34821">
                  <c:v>20.230833432254364</c:v>
                </c:pt>
                <c:pt idx="34822">
                  <c:v>27.152928632240698</c:v>
                </c:pt>
                <c:pt idx="34823">
                  <c:v>34.089088048978354</c:v>
                </c:pt>
                <c:pt idx="34824">
                  <c:v>33.364889285681286</c:v>
                </c:pt>
                <c:pt idx="34825">
                  <c:v>23.731956373880799</c:v>
                </c:pt>
                <c:pt idx="34826">
                  <c:v>30.546295751972448</c:v>
                </c:pt>
                <c:pt idx="34827">
                  <c:v>42.601004809302978</c:v>
                </c:pt>
                <c:pt idx="34828">
                  <c:v>23.100067150706039</c:v>
                </c:pt>
                <c:pt idx="34829">
                  <c:v>48.109500428666081</c:v>
                </c:pt>
                <c:pt idx="34830">
                  <c:v>21.662476782143074</c:v>
                </c:pt>
                <c:pt idx="34831">
                  <c:v>30.568412591674385</c:v>
                </c:pt>
                <c:pt idx="34832">
                  <c:v>29.34296536777439</c:v>
                </c:pt>
                <c:pt idx="34833">
                  <c:v>36.919206742329749</c:v>
                </c:pt>
                <c:pt idx="34834">
                  <c:v>22.484714715129588</c:v>
                </c:pt>
                <c:pt idx="34835">
                  <c:v>22.726074966644045</c:v>
                </c:pt>
                <c:pt idx="34836">
                  <c:v>25.859923408835684</c:v>
                </c:pt>
                <c:pt idx="34837">
                  <c:v>18.123406290090465</c:v>
                </c:pt>
                <c:pt idx="34838">
                  <c:v>46.216794845154354</c:v>
                </c:pt>
                <c:pt idx="34839">
                  <c:v>26.617385713825236</c:v>
                </c:pt>
                <c:pt idx="34840">
                  <c:v>28.913310513941543</c:v>
                </c:pt>
                <c:pt idx="34841">
                  <c:v>24.419562626348743</c:v>
                </c:pt>
                <c:pt idx="34842">
                  <c:v>34.25527207257754</c:v>
                </c:pt>
                <c:pt idx="34843">
                  <c:v>25.590375493242988</c:v>
                </c:pt>
                <c:pt idx="34844">
                  <c:v>32.890513392025184</c:v>
                </c:pt>
                <c:pt idx="34845">
                  <c:v>28.567058281326638</c:v>
                </c:pt>
                <c:pt idx="34846">
                  <c:v>56.951100543837711</c:v>
                </c:pt>
                <c:pt idx="34847">
                  <c:v>23.327843797557392</c:v>
                </c:pt>
                <c:pt idx="34848">
                  <c:v>30.949327077425043</c:v>
                </c:pt>
                <c:pt idx="34849">
                  <c:v>28.694457945053735</c:v>
                </c:pt>
                <c:pt idx="34850">
                  <c:v>42.425396551169385</c:v>
                </c:pt>
                <c:pt idx="34851">
                  <c:v>28.224868867253448</c:v>
                </c:pt>
                <c:pt idx="34852">
                  <c:v>30.065327113608372</c:v>
                </c:pt>
                <c:pt idx="34853">
                  <c:v>22.620238523852965</c:v>
                </c:pt>
                <c:pt idx="34854">
                  <c:v>27.036730439271238</c:v>
                </c:pt>
                <c:pt idx="34855">
                  <c:v>47.772261247871917</c:v>
                </c:pt>
                <c:pt idx="34856">
                  <c:v>27.230499338100842</c:v>
                </c:pt>
                <c:pt idx="34857">
                  <c:v>49.042627090130821</c:v>
                </c:pt>
                <c:pt idx="34858">
                  <c:v>21.366700405033317</c:v>
                </c:pt>
                <c:pt idx="34859">
                  <c:v>25.448010650542017</c:v>
                </c:pt>
                <c:pt idx="34860">
                  <c:v>47.867800051678053</c:v>
                </c:pt>
                <c:pt idx="34861">
                  <c:v>45.562417367375375</c:v>
                </c:pt>
                <c:pt idx="34862">
                  <c:v>31.859449317020541</c:v>
                </c:pt>
                <c:pt idx="34863">
                  <c:v>33.162339492926165</c:v>
                </c:pt>
                <c:pt idx="34864">
                  <c:v>25.812708187653929</c:v>
                </c:pt>
                <c:pt idx="34865">
                  <c:v>40.045412552715007</c:v>
                </c:pt>
                <c:pt idx="34866">
                  <c:v>20.730903241436188</c:v>
                </c:pt>
                <c:pt idx="34867">
                  <c:v>19.693400828111439</c:v>
                </c:pt>
                <c:pt idx="34868">
                  <c:v>21.459063174217754</c:v>
                </c:pt>
                <c:pt idx="34869">
                  <c:v>22.236377715311015</c:v>
                </c:pt>
                <c:pt idx="34870">
                  <c:v>21.660174127742106</c:v>
                </c:pt>
                <c:pt idx="34871">
                  <c:v>34.326612507197865</c:v>
                </c:pt>
                <c:pt idx="34872">
                  <c:v>31.74985870736273</c:v>
                </c:pt>
                <c:pt idx="34873">
                  <c:v>30.502077620182511</c:v>
                </c:pt>
                <c:pt idx="34874">
                  <c:v>20.756274725305843</c:v>
                </c:pt>
                <c:pt idx="34875">
                  <c:v>31.100822814173348</c:v>
                </c:pt>
                <c:pt idx="34876">
                  <c:v>25.27986790156919</c:v>
                </c:pt>
                <c:pt idx="34877">
                  <c:v>37.066472747163125</c:v>
                </c:pt>
                <c:pt idx="34878">
                  <c:v>42.982290526509466</c:v>
                </c:pt>
                <c:pt idx="34879">
                  <c:v>28.105157583675837</c:v>
                </c:pt>
                <c:pt idx="34880">
                  <c:v>22.173637694209955</c:v>
                </c:pt>
                <c:pt idx="34881">
                  <c:v>27.317033282685902</c:v>
                </c:pt>
                <c:pt idx="34882">
                  <c:v>26.249502757304015</c:v>
                </c:pt>
                <c:pt idx="34883">
                  <c:v>17.115380764088339</c:v>
                </c:pt>
                <c:pt idx="34884">
                  <c:v>23.717851077783752</c:v>
                </c:pt>
                <c:pt idx="34885">
                  <c:v>28.390763806049904</c:v>
                </c:pt>
                <c:pt idx="34886">
                  <c:v>32.778081714751075</c:v>
                </c:pt>
                <c:pt idx="34887">
                  <c:v>41.814460468492811</c:v>
                </c:pt>
                <c:pt idx="34888">
                  <c:v>23.748131840741742</c:v>
                </c:pt>
                <c:pt idx="34889">
                  <c:v>33.411431260746255</c:v>
                </c:pt>
                <c:pt idx="34890">
                  <c:v>29.543722254752232</c:v>
                </c:pt>
                <c:pt idx="34891">
                  <c:v>23.794023248953259</c:v>
                </c:pt>
                <c:pt idx="34892">
                  <c:v>27.872961455867454</c:v>
                </c:pt>
                <c:pt idx="34893">
                  <c:v>14.824234634055458</c:v>
                </c:pt>
                <c:pt idx="34894">
                  <c:v>23.651433339774307</c:v>
                </c:pt>
                <c:pt idx="34895">
                  <c:v>32.997639985556489</c:v>
                </c:pt>
                <c:pt idx="34896">
                  <c:v>29.926747968992707</c:v>
                </c:pt>
                <c:pt idx="34897">
                  <c:v>38.375538018144908</c:v>
                </c:pt>
                <c:pt idx="34898">
                  <c:v>29.387578456006516</c:v>
                </c:pt>
                <c:pt idx="34899">
                  <c:v>64.317553076468556</c:v>
                </c:pt>
                <c:pt idx="34900">
                  <c:v>53.243400313759103</c:v>
                </c:pt>
                <c:pt idx="34901">
                  <c:v>26.912252623062439</c:v>
                </c:pt>
                <c:pt idx="34902">
                  <c:v>30.200683090043416</c:v>
                </c:pt>
                <c:pt idx="34903">
                  <c:v>36.138329816251428</c:v>
                </c:pt>
                <c:pt idx="34904">
                  <c:v>23.252670357544048</c:v>
                </c:pt>
                <c:pt idx="34905">
                  <c:v>43.754764984463236</c:v>
                </c:pt>
                <c:pt idx="34906">
                  <c:v>32.765417547055762</c:v>
                </c:pt>
                <c:pt idx="34907">
                  <c:v>36.452206715753064</c:v>
                </c:pt>
                <c:pt idx="34908">
                  <c:v>29.308888999889042</c:v>
                </c:pt>
                <c:pt idx="34909">
                  <c:v>39.761772601778908</c:v>
                </c:pt>
                <c:pt idx="34910">
                  <c:v>28.62937718508373</c:v>
                </c:pt>
                <c:pt idx="34911">
                  <c:v>43.307094059810076</c:v>
                </c:pt>
                <c:pt idx="34912">
                  <c:v>32.925394607009267</c:v>
                </c:pt>
                <c:pt idx="34913">
                  <c:v>24.743709019213757</c:v>
                </c:pt>
                <c:pt idx="34914">
                  <c:v>23.414085493509681</c:v>
                </c:pt>
                <c:pt idx="34915">
                  <c:v>21.403037359853695</c:v>
                </c:pt>
                <c:pt idx="34916">
                  <c:v>46.966288484308606</c:v>
                </c:pt>
                <c:pt idx="34917">
                  <c:v>29.351594356669185</c:v>
                </c:pt>
                <c:pt idx="34918">
                  <c:v>25.201390246354066</c:v>
                </c:pt>
                <c:pt idx="34919">
                  <c:v>32.168985206417076</c:v>
                </c:pt>
                <c:pt idx="34920">
                  <c:v>36.864223669686965</c:v>
                </c:pt>
                <c:pt idx="34921">
                  <c:v>20.34047357804846</c:v>
                </c:pt>
                <c:pt idx="34922">
                  <c:v>24.606739597549385</c:v>
                </c:pt>
                <c:pt idx="34923">
                  <c:v>46.855486835640079</c:v>
                </c:pt>
                <c:pt idx="34924">
                  <c:v>60.447823965063563</c:v>
                </c:pt>
                <c:pt idx="34925">
                  <c:v>23.514364820582301</c:v>
                </c:pt>
                <c:pt idx="34926">
                  <c:v>30.734860421548184</c:v>
                </c:pt>
                <c:pt idx="34927">
                  <c:v>27.944148791008626</c:v>
                </c:pt>
                <c:pt idx="34928">
                  <c:v>27.899549197636514</c:v>
                </c:pt>
                <c:pt idx="34929">
                  <c:v>34.742994094341299</c:v>
                </c:pt>
                <c:pt idx="34930">
                  <c:v>19.345138104790113</c:v>
                </c:pt>
                <c:pt idx="34931">
                  <c:v>26.008670497804211</c:v>
                </c:pt>
                <c:pt idx="34932">
                  <c:v>35.841027531272751</c:v>
                </c:pt>
                <c:pt idx="34933">
                  <c:v>42.850992288221811</c:v>
                </c:pt>
                <c:pt idx="34934">
                  <c:v>30.223178225187542</c:v>
                </c:pt>
                <c:pt idx="34935">
                  <c:v>28.948033495459978</c:v>
                </c:pt>
                <c:pt idx="34936">
                  <c:v>29.270870397194763</c:v>
                </c:pt>
                <c:pt idx="34937">
                  <c:v>26.253138630244401</c:v>
                </c:pt>
                <c:pt idx="34938">
                  <c:v>41.815277054933951</c:v>
                </c:pt>
                <c:pt idx="34939">
                  <c:v>23.119900301424167</c:v>
                </c:pt>
                <c:pt idx="34940">
                  <c:v>53.750061901019521</c:v>
                </c:pt>
                <c:pt idx="34941">
                  <c:v>36.181328060235188</c:v>
                </c:pt>
                <c:pt idx="34942">
                  <c:v>24.43995857462912</c:v>
                </c:pt>
                <c:pt idx="34943">
                  <c:v>28.466021691915397</c:v>
                </c:pt>
                <c:pt idx="34944">
                  <c:v>27.217341380258734</c:v>
                </c:pt>
                <c:pt idx="34945">
                  <c:v>31.696619858223997</c:v>
                </c:pt>
                <c:pt idx="34946">
                  <c:v>46.092411566736338</c:v>
                </c:pt>
                <c:pt idx="34947">
                  <c:v>32.314468254859406</c:v>
                </c:pt>
                <c:pt idx="34948">
                  <c:v>21.760927156359763</c:v>
                </c:pt>
                <c:pt idx="34949">
                  <c:v>35.035626223689185</c:v>
                </c:pt>
                <c:pt idx="34950">
                  <c:v>27.461944239534841</c:v>
                </c:pt>
                <c:pt idx="34951">
                  <c:v>21.057983320342391</c:v>
                </c:pt>
                <c:pt idx="34952">
                  <c:v>29.566033127129359</c:v>
                </c:pt>
                <c:pt idx="34953">
                  <c:v>24.738661526368052</c:v>
                </c:pt>
                <c:pt idx="34954">
                  <c:v>32.59963505226979</c:v>
                </c:pt>
                <c:pt idx="34955">
                  <c:v>48.651193092270972</c:v>
                </c:pt>
                <c:pt idx="34956">
                  <c:v>29.989330719197334</c:v>
                </c:pt>
                <c:pt idx="34957">
                  <c:v>26.182123172819118</c:v>
                </c:pt>
                <c:pt idx="34958">
                  <c:v>27.781186363670972</c:v>
                </c:pt>
                <c:pt idx="34959">
                  <c:v>32.781801603597124</c:v>
                </c:pt>
                <c:pt idx="34960">
                  <c:v>31.123388322791431</c:v>
                </c:pt>
                <c:pt idx="34961">
                  <c:v>25.76070588879487</c:v>
                </c:pt>
                <c:pt idx="34962">
                  <c:v>46.258956478180281</c:v>
                </c:pt>
                <c:pt idx="34963">
                  <c:v>25.805644431630149</c:v>
                </c:pt>
                <c:pt idx="34964">
                  <c:v>26.051731727514063</c:v>
                </c:pt>
                <c:pt idx="34965">
                  <c:v>27.202878769755031</c:v>
                </c:pt>
                <c:pt idx="34966">
                  <c:v>31.852849662359432</c:v>
                </c:pt>
                <c:pt idx="34967">
                  <c:v>18.94622544238489</c:v>
                </c:pt>
                <c:pt idx="34968">
                  <c:v>44.513886140347203</c:v>
                </c:pt>
                <c:pt idx="34969">
                  <c:v>28.951589997356102</c:v>
                </c:pt>
                <c:pt idx="34970">
                  <c:v>35.744932263713899</c:v>
                </c:pt>
                <c:pt idx="34971">
                  <c:v>18.230112275821341</c:v>
                </c:pt>
                <c:pt idx="34972">
                  <c:v>26.301722149460598</c:v>
                </c:pt>
                <c:pt idx="34973">
                  <c:v>28.882948444791609</c:v>
                </c:pt>
                <c:pt idx="34974">
                  <c:v>26.348030816606723</c:v>
                </c:pt>
                <c:pt idx="34975">
                  <c:v>25.14762403213534</c:v>
                </c:pt>
                <c:pt idx="34976">
                  <c:v>26.827910642730551</c:v>
                </c:pt>
                <c:pt idx="34977">
                  <c:v>33.143072159492114</c:v>
                </c:pt>
                <c:pt idx="34978">
                  <c:v>26.707347910355097</c:v>
                </c:pt>
                <c:pt idx="34979">
                  <c:v>32.570613717161699</c:v>
                </c:pt>
                <c:pt idx="34980">
                  <c:v>25.182412620355276</c:v>
                </c:pt>
                <c:pt idx="34981">
                  <c:v>25.178877770896609</c:v>
                </c:pt>
                <c:pt idx="34982">
                  <c:v>20.662656648892138</c:v>
                </c:pt>
                <c:pt idx="34983">
                  <c:v>24.16980218941249</c:v>
                </c:pt>
                <c:pt idx="34984">
                  <c:v>30.554204823295091</c:v>
                </c:pt>
                <c:pt idx="34985">
                  <c:v>24.912406999938447</c:v>
                </c:pt>
                <c:pt idx="34986">
                  <c:v>26.688564022033532</c:v>
                </c:pt>
                <c:pt idx="34987">
                  <c:v>41.274382516951526</c:v>
                </c:pt>
                <c:pt idx="34988">
                  <c:v>44.483889375883024</c:v>
                </c:pt>
                <c:pt idx="34989">
                  <c:v>36.956928297374169</c:v>
                </c:pt>
                <c:pt idx="34990">
                  <c:v>25.675026367891622</c:v>
                </c:pt>
                <c:pt idx="34991">
                  <c:v>31.294803693700224</c:v>
                </c:pt>
                <c:pt idx="34992">
                  <c:v>25.257631874347254</c:v>
                </c:pt>
                <c:pt idx="34993">
                  <c:v>21.875346121915253</c:v>
                </c:pt>
                <c:pt idx="34994">
                  <c:v>40.285409867552708</c:v>
                </c:pt>
                <c:pt idx="34995">
                  <c:v>28.301632507624376</c:v>
                </c:pt>
                <c:pt idx="34996">
                  <c:v>20.639998396632812</c:v>
                </c:pt>
                <c:pt idx="34997">
                  <c:v>28.869549459850862</c:v>
                </c:pt>
                <c:pt idx="34998">
                  <c:v>24.491216026512838</c:v>
                </c:pt>
                <c:pt idx="34999">
                  <c:v>24.295854801150657</c:v>
                </c:pt>
                <c:pt idx="35000">
                  <c:v>39.196266078975555</c:v>
                </c:pt>
                <c:pt idx="35001">
                  <c:v>27.064909303228802</c:v>
                </c:pt>
                <c:pt idx="35002">
                  <c:v>25.521959448084125</c:v>
                </c:pt>
                <c:pt idx="35003">
                  <c:v>23.695699542509143</c:v>
                </c:pt>
                <c:pt idx="35004">
                  <c:v>31.395540424898858</c:v>
                </c:pt>
                <c:pt idx="35005">
                  <c:v>27.755768452186629</c:v>
                </c:pt>
                <c:pt idx="35006">
                  <c:v>47.234246467138057</c:v>
                </c:pt>
                <c:pt idx="35007">
                  <c:v>50.571073486018058</c:v>
                </c:pt>
                <c:pt idx="35008">
                  <c:v>45.592249672178994</c:v>
                </c:pt>
                <c:pt idx="35009">
                  <c:v>27.509471136630257</c:v>
                </c:pt>
                <c:pt idx="35010">
                  <c:v>52.222725174672348</c:v>
                </c:pt>
                <c:pt idx="35011">
                  <c:v>23.374382187291999</c:v>
                </c:pt>
                <c:pt idx="35012">
                  <c:v>26.408305200583897</c:v>
                </c:pt>
                <c:pt idx="35013">
                  <c:v>22.365509249566262</c:v>
                </c:pt>
                <c:pt idx="35014">
                  <c:v>30.450558976308116</c:v>
                </c:pt>
                <c:pt idx="35015">
                  <c:v>37.066812957360668</c:v>
                </c:pt>
                <c:pt idx="35016">
                  <c:v>28.910193278583346</c:v>
                </c:pt>
                <c:pt idx="35017">
                  <c:v>34.160964773455618</c:v>
                </c:pt>
                <c:pt idx="35018">
                  <c:v>26.244645041130845</c:v>
                </c:pt>
                <c:pt idx="35019">
                  <c:v>29.041553178216724</c:v>
                </c:pt>
                <c:pt idx="35020">
                  <c:v>34.903056445003202</c:v>
                </c:pt>
                <c:pt idx="35021">
                  <c:v>18.576478360670833</c:v>
                </c:pt>
                <c:pt idx="35022">
                  <c:v>52.626380075189097</c:v>
                </c:pt>
                <c:pt idx="35023">
                  <c:v>39.536465264305548</c:v>
                </c:pt>
                <c:pt idx="35024">
                  <c:v>41.06959014691197</c:v>
                </c:pt>
                <c:pt idx="35025">
                  <c:v>24.420677606052937</c:v>
                </c:pt>
                <c:pt idx="35026">
                  <c:v>23.901115764487113</c:v>
                </c:pt>
                <c:pt idx="35027">
                  <c:v>22.571702072276846</c:v>
                </c:pt>
                <c:pt idx="35028">
                  <c:v>27.258458700921668</c:v>
                </c:pt>
                <c:pt idx="35029">
                  <c:v>23.552750854984716</c:v>
                </c:pt>
                <c:pt idx="35030">
                  <c:v>26.728864665224563</c:v>
                </c:pt>
                <c:pt idx="35031">
                  <c:v>20.234789055825733</c:v>
                </c:pt>
                <c:pt idx="35032">
                  <c:v>27.330016446515042</c:v>
                </c:pt>
                <c:pt idx="35033">
                  <c:v>28.526627946090862</c:v>
                </c:pt>
                <c:pt idx="35034">
                  <c:v>42.461003618623216</c:v>
                </c:pt>
                <c:pt idx="35035">
                  <c:v>26.92733408566118</c:v>
                </c:pt>
                <c:pt idx="35036">
                  <c:v>30.834819076743432</c:v>
                </c:pt>
                <c:pt idx="35037">
                  <c:v>27.417903240344245</c:v>
                </c:pt>
                <c:pt idx="35038">
                  <c:v>45.276793225609346</c:v>
                </c:pt>
                <c:pt idx="35039">
                  <c:v>29.323571274614796</c:v>
                </c:pt>
                <c:pt idx="35040">
                  <c:v>24.248323517548805</c:v>
                </c:pt>
                <c:pt idx="35041">
                  <c:v>23.754206895432056</c:v>
                </c:pt>
                <c:pt idx="35042">
                  <c:v>24.400895116669115</c:v>
                </c:pt>
                <c:pt idx="35043">
                  <c:v>32.834718916935266</c:v>
                </c:pt>
                <c:pt idx="35044">
                  <c:v>47.596052689894513</c:v>
                </c:pt>
                <c:pt idx="35045">
                  <c:v>28.973626425234762</c:v>
                </c:pt>
                <c:pt idx="35046">
                  <c:v>48.961149997940019</c:v>
                </c:pt>
                <c:pt idx="35047">
                  <c:v>28.438621097942576</c:v>
                </c:pt>
                <c:pt idx="35048">
                  <c:v>32.545411836758682</c:v>
                </c:pt>
                <c:pt idx="35049">
                  <c:v>22.395932687899837</c:v>
                </c:pt>
                <c:pt idx="35050">
                  <c:v>36.328100830277918</c:v>
                </c:pt>
                <c:pt idx="35051">
                  <c:v>27.337016495899675</c:v>
                </c:pt>
                <c:pt idx="35052">
                  <c:v>24.765362140036316</c:v>
                </c:pt>
                <c:pt idx="35053">
                  <c:v>24.519844060570069</c:v>
                </c:pt>
                <c:pt idx="35054">
                  <c:v>46.403026794627017</c:v>
                </c:pt>
                <c:pt idx="35055">
                  <c:v>28.50258209000522</c:v>
                </c:pt>
                <c:pt idx="35056">
                  <c:v>30.215720441071085</c:v>
                </c:pt>
                <c:pt idx="35057">
                  <c:v>38.807986913296212</c:v>
                </c:pt>
                <c:pt idx="35058">
                  <c:v>27.572287758817172</c:v>
                </c:pt>
                <c:pt idx="35059">
                  <c:v>42.332693226050374</c:v>
                </c:pt>
                <c:pt idx="35060">
                  <c:v>22.298030101135218</c:v>
                </c:pt>
                <c:pt idx="35061">
                  <c:v>26.342343697193044</c:v>
                </c:pt>
                <c:pt idx="35062">
                  <c:v>19.382109758625614</c:v>
                </c:pt>
                <c:pt idx="35063">
                  <c:v>25.991646524803684</c:v>
                </c:pt>
                <c:pt idx="35064">
                  <c:v>26.03516388081913</c:v>
                </c:pt>
                <c:pt idx="35065">
                  <c:v>27.234117116426887</c:v>
                </c:pt>
                <c:pt idx="35066">
                  <c:v>20.004986454776216</c:v>
                </c:pt>
                <c:pt idx="35067">
                  <c:v>23.718419657016337</c:v>
                </c:pt>
                <c:pt idx="35068">
                  <c:v>23.10945251724894</c:v>
                </c:pt>
                <c:pt idx="35069">
                  <c:v>44.672793479139223</c:v>
                </c:pt>
                <c:pt idx="35070">
                  <c:v>30.79476998538064</c:v>
                </c:pt>
                <c:pt idx="35071">
                  <c:v>27.371325034981986</c:v>
                </c:pt>
                <c:pt idx="35072">
                  <c:v>44.452251160146034</c:v>
                </c:pt>
                <c:pt idx="35073">
                  <c:v>26.889381009722708</c:v>
                </c:pt>
                <c:pt idx="35074">
                  <c:v>44.321245699874915</c:v>
                </c:pt>
                <c:pt idx="35075">
                  <c:v>41.369933738794366</c:v>
                </c:pt>
                <c:pt idx="35076">
                  <c:v>39.694640626524816</c:v>
                </c:pt>
                <c:pt idx="35077">
                  <c:v>23.117478301752868</c:v>
                </c:pt>
                <c:pt idx="35078">
                  <c:v>23.166517261365236</c:v>
                </c:pt>
                <c:pt idx="35079">
                  <c:v>31.578530146519849</c:v>
                </c:pt>
                <c:pt idx="35080">
                  <c:v>26.486835893791202</c:v>
                </c:pt>
                <c:pt idx="35081">
                  <c:v>16.85608641577381</c:v>
                </c:pt>
                <c:pt idx="35082">
                  <c:v>43.092519207948563</c:v>
                </c:pt>
                <c:pt idx="35083">
                  <c:v>30.089498940119555</c:v>
                </c:pt>
                <c:pt idx="35084">
                  <c:v>21.911571100924082</c:v>
                </c:pt>
                <c:pt idx="35085">
                  <c:v>20.265101750721662</c:v>
                </c:pt>
                <c:pt idx="35086">
                  <c:v>43.035926468705803</c:v>
                </c:pt>
                <c:pt idx="35087">
                  <c:v>34.550635322529551</c:v>
                </c:pt>
                <c:pt idx="35088">
                  <c:v>22.889498434265199</c:v>
                </c:pt>
                <c:pt idx="35089">
                  <c:v>26.970062733594645</c:v>
                </c:pt>
                <c:pt idx="35090">
                  <c:v>35.077199752687854</c:v>
                </c:pt>
                <c:pt idx="35091">
                  <c:v>30.96132167987739</c:v>
                </c:pt>
                <c:pt idx="35092">
                  <c:v>18.541358506613768</c:v>
                </c:pt>
                <c:pt idx="35093">
                  <c:v>30.591544209900235</c:v>
                </c:pt>
                <c:pt idx="35094">
                  <c:v>20.961846974240196</c:v>
                </c:pt>
                <c:pt idx="35095">
                  <c:v>33.699335282280856</c:v>
                </c:pt>
                <c:pt idx="35096">
                  <c:v>16.439194875188672</c:v>
                </c:pt>
                <c:pt idx="35097">
                  <c:v>33.958853822320904</c:v>
                </c:pt>
                <c:pt idx="35098">
                  <c:v>30.957040321791755</c:v>
                </c:pt>
                <c:pt idx="35099">
                  <c:v>34.918398483572417</c:v>
                </c:pt>
                <c:pt idx="35100">
                  <c:v>32.255134914325524</c:v>
                </c:pt>
                <c:pt idx="35101">
                  <c:v>24.715052167008537</c:v>
                </c:pt>
                <c:pt idx="35102">
                  <c:v>20.47495315335491</c:v>
                </c:pt>
                <c:pt idx="35103">
                  <c:v>27.814341616706507</c:v>
                </c:pt>
                <c:pt idx="35104">
                  <c:v>28.032238655966466</c:v>
                </c:pt>
                <c:pt idx="35105">
                  <c:v>46.750487296906243</c:v>
                </c:pt>
                <c:pt idx="35106">
                  <c:v>32.351910657618333</c:v>
                </c:pt>
                <c:pt idx="35107">
                  <c:v>34.18730006867164</c:v>
                </c:pt>
                <c:pt idx="35108">
                  <c:v>30.303300792568344</c:v>
                </c:pt>
                <c:pt idx="35109">
                  <c:v>36.279982111416949</c:v>
                </c:pt>
                <c:pt idx="35110">
                  <c:v>31.964132339617272</c:v>
                </c:pt>
                <c:pt idx="35111">
                  <c:v>55.565547155213856</c:v>
                </c:pt>
                <c:pt idx="35112">
                  <c:v>32.590571741022124</c:v>
                </c:pt>
                <c:pt idx="35113">
                  <c:v>25.321918512622638</c:v>
                </c:pt>
                <c:pt idx="35114">
                  <c:v>20.367781487262459</c:v>
                </c:pt>
                <c:pt idx="35115">
                  <c:v>25.516654482266205</c:v>
                </c:pt>
                <c:pt idx="35116">
                  <c:v>21.743057171448552</c:v>
                </c:pt>
                <c:pt idx="35117">
                  <c:v>27.670144918903659</c:v>
                </c:pt>
                <c:pt idx="35118">
                  <c:v>22.467990221568176</c:v>
                </c:pt>
                <c:pt idx="35119">
                  <c:v>17.873340860141624</c:v>
                </c:pt>
                <c:pt idx="35120">
                  <c:v>47.741139317650621</c:v>
                </c:pt>
                <c:pt idx="35121">
                  <c:v>26.688862427944848</c:v>
                </c:pt>
                <c:pt idx="35122">
                  <c:v>24.093578374472084</c:v>
                </c:pt>
                <c:pt idx="35123">
                  <c:v>32.488579536048348</c:v>
                </c:pt>
                <c:pt idx="35124">
                  <c:v>31.855405511572634</c:v>
                </c:pt>
                <c:pt idx="35125">
                  <c:v>39.373894625930902</c:v>
                </c:pt>
                <c:pt idx="35126">
                  <c:v>58.059843061487328</c:v>
                </c:pt>
                <c:pt idx="35127">
                  <c:v>33.406617200705156</c:v>
                </c:pt>
                <c:pt idx="35128">
                  <c:v>33.013648894356287</c:v>
                </c:pt>
                <c:pt idx="35129">
                  <c:v>25.800069182604524</c:v>
                </c:pt>
                <c:pt idx="35130">
                  <c:v>28.24328026511176</c:v>
                </c:pt>
                <c:pt idx="35131">
                  <c:v>39.261933308351651</c:v>
                </c:pt>
                <c:pt idx="35132">
                  <c:v>29.490791689297172</c:v>
                </c:pt>
                <c:pt idx="35133">
                  <c:v>25.285154441725116</c:v>
                </c:pt>
                <c:pt idx="35134">
                  <c:v>25.845589186191383</c:v>
                </c:pt>
                <c:pt idx="35135">
                  <c:v>45.910255990371915</c:v>
                </c:pt>
                <c:pt idx="35136">
                  <c:v>57.162066616633872</c:v>
                </c:pt>
                <c:pt idx="35137">
                  <c:v>31.98351533229738</c:v>
                </c:pt>
                <c:pt idx="35138">
                  <c:v>31.79161549336164</c:v>
                </c:pt>
                <c:pt idx="35139">
                  <c:v>28.466443747320874</c:v>
                </c:pt>
                <c:pt idx="35140">
                  <c:v>26.282520860296998</c:v>
                </c:pt>
                <c:pt idx="35141">
                  <c:v>28.847693956307165</c:v>
                </c:pt>
                <c:pt idx="35142">
                  <c:v>16.327793912584301</c:v>
                </c:pt>
                <c:pt idx="35143">
                  <c:v>29.475968777796467</c:v>
                </c:pt>
                <c:pt idx="35144">
                  <c:v>34.716070600895954</c:v>
                </c:pt>
                <c:pt idx="35145">
                  <c:v>25.341028986829009</c:v>
                </c:pt>
                <c:pt idx="35146">
                  <c:v>26.035578354136611</c:v>
                </c:pt>
                <c:pt idx="35147">
                  <c:v>18.2333275132357</c:v>
                </c:pt>
                <c:pt idx="35148">
                  <c:v>35.459905021733846</c:v>
                </c:pt>
                <c:pt idx="35149">
                  <c:v>25.917615162749243</c:v>
                </c:pt>
                <c:pt idx="35150">
                  <c:v>31.260452523031407</c:v>
                </c:pt>
                <c:pt idx="35151">
                  <c:v>51.929739955687495</c:v>
                </c:pt>
                <c:pt idx="35152">
                  <c:v>44.135711192764532</c:v>
                </c:pt>
                <c:pt idx="35153">
                  <c:v>23.218634368419522</c:v>
                </c:pt>
                <c:pt idx="35154">
                  <c:v>39.784709653286114</c:v>
                </c:pt>
                <c:pt idx="35155">
                  <c:v>49.130943842973203</c:v>
                </c:pt>
                <c:pt idx="35156">
                  <c:v>40.604175849771991</c:v>
                </c:pt>
                <c:pt idx="35157">
                  <c:v>23.031972963511983</c:v>
                </c:pt>
                <c:pt idx="35158">
                  <c:v>28.289960459931908</c:v>
                </c:pt>
                <c:pt idx="35159">
                  <c:v>52.587120265329808</c:v>
                </c:pt>
                <c:pt idx="35160">
                  <c:v>30.55642659572931</c:v>
                </c:pt>
                <c:pt idx="35161">
                  <c:v>24.138157034593434</c:v>
                </c:pt>
                <c:pt idx="35162">
                  <c:v>41.6740172117726</c:v>
                </c:pt>
                <c:pt idx="35163">
                  <c:v>29.76594195315667</c:v>
                </c:pt>
                <c:pt idx="35164">
                  <c:v>29.897550433388094</c:v>
                </c:pt>
                <c:pt idx="35165">
                  <c:v>18.940766063265656</c:v>
                </c:pt>
                <c:pt idx="35166">
                  <c:v>50.989979065646885</c:v>
                </c:pt>
                <c:pt idx="35167">
                  <c:v>33.998612008782246</c:v>
                </c:pt>
                <c:pt idx="35168">
                  <c:v>24.269564869806704</c:v>
                </c:pt>
                <c:pt idx="35169">
                  <c:v>37.794833531819918</c:v>
                </c:pt>
                <c:pt idx="35170">
                  <c:v>27.917246962290445</c:v>
                </c:pt>
                <c:pt idx="35171">
                  <c:v>28.209573142338709</c:v>
                </c:pt>
                <c:pt idx="35172">
                  <c:v>39.907109066163812</c:v>
                </c:pt>
                <c:pt idx="35173">
                  <c:v>21.189765856940237</c:v>
                </c:pt>
                <c:pt idx="35174">
                  <c:v>45.645811911301813</c:v>
                </c:pt>
                <c:pt idx="35175">
                  <c:v>33.219273816849672</c:v>
                </c:pt>
                <c:pt idx="35176">
                  <c:v>27.484906122966009</c:v>
                </c:pt>
                <c:pt idx="35177">
                  <c:v>28.525712194488403</c:v>
                </c:pt>
                <c:pt idx="35178">
                  <c:v>28.265050556582775</c:v>
                </c:pt>
                <c:pt idx="35179">
                  <c:v>31.130701185780048</c:v>
                </c:pt>
                <c:pt idx="35180">
                  <c:v>27.400177519605634</c:v>
                </c:pt>
                <c:pt idx="35181">
                  <c:v>33.093182051952304</c:v>
                </c:pt>
                <c:pt idx="35182">
                  <c:v>21.476877060407162</c:v>
                </c:pt>
                <c:pt idx="35183">
                  <c:v>35.392731030888399</c:v>
                </c:pt>
                <c:pt idx="35184">
                  <c:v>24.77043811504868</c:v>
                </c:pt>
                <c:pt idx="35185">
                  <c:v>33.36041926495917</c:v>
                </c:pt>
                <c:pt idx="35186">
                  <c:v>22.808596021288473</c:v>
                </c:pt>
                <c:pt idx="35187">
                  <c:v>25.982407518344832</c:v>
                </c:pt>
                <c:pt idx="35188">
                  <c:v>25.149978635205887</c:v>
                </c:pt>
                <c:pt idx="35189">
                  <c:v>19.010099676154834</c:v>
                </c:pt>
                <c:pt idx="35190">
                  <c:v>28.391337397948295</c:v>
                </c:pt>
                <c:pt idx="35191">
                  <c:v>48.931267574252999</c:v>
                </c:pt>
                <c:pt idx="35192">
                  <c:v>28.697557274798172</c:v>
                </c:pt>
                <c:pt idx="35193">
                  <c:v>26.14996994341309</c:v>
                </c:pt>
                <c:pt idx="35194">
                  <c:v>41.742173762912131</c:v>
                </c:pt>
                <c:pt idx="35195">
                  <c:v>26.736408223431368</c:v>
                </c:pt>
                <c:pt idx="35196">
                  <c:v>48.527475589515234</c:v>
                </c:pt>
                <c:pt idx="35197">
                  <c:v>31.046464600559581</c:v>
                </c:pt>
                <c:pt idx="35198">
                  <c:v>28.782119353160681</c:v>
                </c:pt>
                <c:pt idx="35199">
                  <c:v>19.871807213246015</c:v>
                </c:pt>
                <c:pt idx="35200">
                  <c:v>27.657847865361003</c:v>
                </c:pt>
                <c:pt idx="35201">
                  <c:v>46.40383075129342</c:v>
                </c:pt>
                <c:pt idx="35202">
                  <c:v>48.247926858208366</c:v>
                </c:pt>
                <c:pt idx="35203">
                  <c:v>33.255081972741742</c:v>
                </c:pt>
                <c:pt idx="35204">
                  <c:v>20.760117482388416</c:v>
                </c:pt>
                <c:pt idx="35205">
                  <c:v>38.67038282094942</c:v>
                </c:pt>
                <c:pt idx="35206">
                  <c:v>23.654362022127579</c:v>
                </c:pt>
                <c:pt idx="35207">
                  <c:v>24.015189617913936</c:v>
                </c:pt>
                <c:pt idx="35208">
                  <c:v>26.64055564818263</c:v>
                </c:pt>
                <c:pt idx="35209">
                  <c:v>24.67795720086902</c:v>
                </c:pt>
                <c:pt idx="35210">
                  <c:v>24.166041341384016</c:v>
                </c:pt>
                <c:pt idx="35211">
                  <c:v>25.095442995374462</c:v>
                </c:pt>
                <c:pt idx="35212">
                  <c:v>20.746698274381931</c:v>
                </c:pt>
                <c:pt idx="35213">
                  <c:v>48.989651967089671</c:v>
                </c:pt>
                <c:pt idx="35214">
                  <c:v>29.890354757078391</c:v>
                </c:pt>
                <c:pt idx="35215">
                  <c:v>32.206454737572891</c:v>
                </c:pt>
                <c:pt idx="35216">
                  <c:v>32.039517270296443</c:v>
                </c:pt>
                <c:pt idx="35217">
                  <c:v>45.739502019182183</c:v>
                </c:pt>
                <c:pt idx="35218">
                  <c:v>26.120723200710884</c:v>
                </c:pt>
                <c:pt idx="35219">
                  <c:v>36.002707077204775</c:v>
                </c:pt>
                <c:pt idx="35220">
                  <c:v>36.916568245800548</c:v>
                </c:pt>
                <c:pt idx="35221">
                  <c:v>25.61648985612376</c:v>
                </c:pt>
                <c:pt idx="35222">
                  <c:v>45.319726754380341</c:v>
                </c:pt>
                <c:pt idx="35223">
                  <c:v>29.210455651970626</c:v>
                </c:pt>
                <c:pt idx="35224">
                  <c:v>31.400988958775542</c:v>
                </c:pt>
                <c:pt idx="35225">
                  <c:v>29.517597052843659</c:v>
                </c:pt>
                <c:pt idx="35226">
                  <c:v>29.294619416755783</c:v>
                </c:pt>
                <c:pt idx="35227">
                  <c:v>43.877505004650068</c:v>
                </c:pt>
                <c:pt idx="35228">
                  <c:v>54.773900602663574</c:v>
                </c:pt>
                <c:pt idx="35229">
                  <c:v>27.988994721779548</c:v>
                </c:pt>
                <c:pt idx="35230">
                  <c:v>43.867545826136279</c:v>
                </c:pt>
                <c:pt idx="35231">
                  <c:v>42.774219696610743</c:v>
                </c:pt>
                <c:pt idx="35232">
                  <c:v>25.781641257572286</c:v>
                </c:pt>
                <c:pt idx="35233">
                  <c:v>26.343326451780531</c:v>
                </c:pt>
                <c:pt idx="35234">
                  <c:v>19.487522934232082</c:v>
                </c:pt>
                <c:pt idx="35235">
                  <c:v>55.760550681116669</c:v>
                </c:pt>
                <c:pt idx="35236">
                  <c:v>22.914160428502182</c:v>
                </c:pt>
                <c:pt idx="35237">
                  <c:v>25.514361769252844</c:v>
                </c:pt>
                <c:pt idx="35238">
                  <c:v>43.886731084345229</c:v>
                </c:pt>
                <c:pt idx="35239">
                  <c:v>31.89804890437869</c:v>
                </c:pt>
                <c:pt idx="35240">
                  <c:v>39.061533864958051</c:v>
                </c:pt>
                <c:pt idx="35241">
                  <c:v>54.749513727349289</c:v>
                </c:pt>
                <c:pt idx="35242">
                  <c:v>25.685094804268889</c:v>
                </c:pt>
                <c:pt idx="35243">
                  <c:v>32.904002259743962</c:v>
                </c:pt>
                <c:pt idx="35244">
                  <c:v>36.880683015418029</c:v>
                </c:pt>
                <c:pt idx="35245">
                  <c:v>19.688544242299585</c:v>
                </c:pt>
                <c:pt idx="35246">
                  <c:v>54.810296269540245</c:v>
                </c:pt>
                <c:pt idx="35247">
                  <c:v>27.431555700398846</c:v>
                </c:pt>
                <c:pt idx="35248">
                  <c:v>28.303213071899897</c:v>
                </c:pt>
                <c:pt idx="35249">
                  <c:v>25.772772555833779</c:v>
                </c:pt>
                <c:pt idx="35250">
                  <c:v>25.074302085459074</c:v>
                </c:pt>
                <c:pt idx="35251">
                  <c:v>22.70140572844489</c:v>
                </c:pt>
                <c:pt idx="35252">
                  <c:v>31.279255811887783</c:v>
                </c:pt>
                <c:pt idx="35253">
                  <c:v>20.944690231460989</c:v>
                </c:pt>
                <c:pt idx="35254">
                  <c:v>40.191643082852174</c:v>
                </c:pt>
                <c:pt idx="35255">
                  <c:v>31.136510640012165</c:v>
                </c:pt>
                <c:pt idx="35256">
                  <c:v>51.399894582621187</c:v>
                </c:pt>
                <c:pt idx="35257">
                  <c:v>31.467263884174596</c:v>
                </c:pt>
                <c:pt idx="35258">
                  <c:v>22.456539775764309</c:v>
                </c:pt>
                <c:pt idx="35259">
                  <c:v>30.98775002235319</c:v>
                </c:pt>
                <c:pt idx="35260">
                  <c:v>21.066544093655466</c:v>
                </c:pt>
                <c:pt idx="35261">
                  <c:v>27.464471170146034</c:v>
                </c:pt>
                <c:pt idx="35262">
                  <c:v>27.028800038218922</c:v>
                </c:pt>
                <c:pt idx="35263">
                  <c:v>31.177212374152177</c:v>
                </c:pt>
                <c:pt idx="35264">
                  <c:v>18.634163901682367</c:v>
                </c:pt>
                <c:pt idx="35265">
                  <c:v>61.317892520095249</c:v>
                </c:pt>
                <c:pt idx="35266">
                  <c:v>34.525766028514084</c:v>
                </c:pt>
                <c:pt idx="35267">
                  <c:v>23.295783567057899</c:v>
                </c:pt>
                <c:pt idx="35268">
                  <c:v>62.444896590830943</c:v>
                </c:pt>
                <c:pt idx="35269">
                  <c:v>43.754620540367753</c:v>
                </c:pt>
                <c:pt idx="35270">
                  <c:v>22.278344116142648</c:v>
                </c:pt>
                <c:pt idx="35271">
                  <c:v>59.889888106238068</c:v>
                </c:pt>
                <c:pt idx="35272">
                  <c:v>26.253304187467982</c:v>
                </c:pt>
                <c:pt idx="35273">
                  <c:v>35.064741368800313</c:v>
                </c:pt>
                <c:pt idx="35274">
                  <c:v>54.765769197613714</c:v>
                </c:pt>
                <c:pt idx="35275">
                  <c:v>42.580604565367672</c:v>
                </c:pt>
                <c:pt idx="35276">
                  <c:v>31.183978445684627</c:v>
                </c:pt>
                <c:pt idx="35277">
                  <c:v>43.755270871253238</c:v>
                </c:pt>
                <c:pt idx="35278">
                  <c:v>35.659430131653011</c:v>
                </c:pt>
                <c:pt idx="35279">
                  <c:v>27.022749104476468</c:v>
                </c:pt>
                <c:pt idx="35280">
                  <c:v>36.056916650251345</c:v>
                </c:pt>
                <c:pt idx="35281">
                  <c:v>30.215198249376389</c:v>
                </c:pt>
                <c:pt idx="35282">
                  <c:v>32.069722156530666</c:v>
                </c:pt>
                <c:pt idx="35283">
                  <c:v>21.833040743858781</c:v>
                </c:pt>
                <c:pt idx="35284">
                  <c:v>24.599236343126972</c:v>
                </c:pt>
                <c:pt idx="35285">
                  <c:v>26.663182887834342</c:v>
                </c:pt>
                <c:pt idx="35286">
                  <c:v>46.448270358609399</c:v>
                </c:pt>
                <c:pt idx="35287">
                  <c:v>26.22576886806571</c:v>
                </c:pt>
                <c:pt idx="35288">
                  <c:v>27.5322365883077</c:v>
                </c:pt>
                <c:pt idx="35289">
                  <c:v>25.491868507650135</c:v>
                </c:pt>
                <c:pt idx="35290">
                  <c:v>22.183655310373243</c:v>
                </c:pt>
                <c:pt idx="35291">
                  <c:v>50.466982219648123</c:v>
                </c:pt>
                <c:pt idx="35292">
                  <c:v>31.756368090202518</c:v>
                </c:pt>
                <c:pt idx="35293">
                  <c:v>21.817912857116806</c:v>
                </c:pt>
                <c:pt idx="35294">
                  <c:v>28.799111857166228</c:v>
                </c:pt>
                <c:pt idx="35295">
                  <c:v>57.558874255903881</c:v>
                </c:pt>
                <c:pt idx="35296">
                  <c:v>33.714793679721794</c:v>
                </c:pt>
                <c:pt idx="35297">
                  <c:v>27.112508987810227</c:v>
                </c:pt>
                <c:pt idx="35298">
                  <c:v>26.269108565165688</c:v>
                </c:pt>
                <c:pt idx="35299">
                  <c:v>29.645791906045126</c:v>
                </c:pt>
                <c:pt idx="35300">
                  <c:v>23.724767285669635</c:v>
                </c:pt>
                <c:pt idx="35301">
                  <c:v>30.615905796243766</c:v>
                </c:pt>
                <c:pt idx="35302">
                  <c:v>19.738538190502162</c:v>
                </c:pt>
                <c:pt idx="35303">
                  <c:v>25.590320509969033</c:v>
                </c:pt>
                <c:pt idx="35304">
                  <c:v>32.433841644698319</c:v>
                </c:pt>
                <c:pt idx="35305">
                  <c:v>41.532382636274505</c:v>
                </c:pt>
                <c:pt idx="35306">
                  <c:v>29.495133152710025</c:v>
                </c:pt>
                <c:pt idx="35307">
                  <c:v>28.01441552105717</c:v>
                </c:pt>
                <c:pt idx="35308">
                  <c:v>45.162659335779303</c:v>
                </c:pt>
                <c:pt idx="35309">
                  <c:v>23.200379072017704</c:v>
                </c:pt>
                <c:pt idx="35310">
                  <c:v>20.231533388296175</c:v>
                </c:pt>
                <c:pt idx="35311">
                  <c:v>48.028183412520725</c:v>
                </c:pt>
                <c:pt idx="35312">
                  <c:v>26.974981153098401</c:v>
                </c:pt>
                <c:pt idx="35313">
                  <c:v>16.840982345106855</c:v>
                </c:pt>
                <c:pt idx="35314">
                  <c:v>28.069893888852516</c:v>
                </c:pt>
                <c:pt idx="35315">
                  <c:v>28.189381040125852</c:v>
                </c:pt>
                <c:pt idx="35316">
                  <c:v>25.491116491640415</c:v>
                </c:pt>
                <c:pt idx="35317">
                  <c:v>31.236120366075735</c:v>
                </c:pt>
                <c:pt idx="35318">
                  <c:v>55.667289282441203</c:v>
                </c:pt>
                <c:pt idx="35319">
                  <c:v>37.776981470254157</c:v>
                </c:pt>
                <c:pt idx="35320">
                  <c:v>23.357105131102134</c:v>
                </c:pt>
                <c:pt idx="35321">
                  <c:v>25.3198049195436</c:v>
                </c:pt>
                <c:pt idx="35322">
                  <c:v>29.789237847697066</c:v>
                </c:pt>
                <c:pt idx="35323">
                  <c:v>27.886905233924175</c:v>
                </c:pt>
                <c:pt idx="35324">
                  <c:v>22.337162352554117</c:v>
                </c:pt>
                <c:pt idx="35325">
                  <c:v>47.007699882191368</c:v>
                </c:pt>
                <c:pt idx="35326">
                  <c:v>54.712517768628871</c:v>
                </c:pt>
                <c:pt idx="35327">
                  <c:v>35.986247688327794</c:v>
                </c:pt>
                <c:pt idx="35328">
                  <c:v>42.735059791495473</c:v>
                </c:pt>
                <c:pt idx="35329">
                  <c:v>31.609785984338018</c:v>
                </c:pt>
                <c:pt idx="35330">
                  <c:v>25.29628033297432</c:v>
                </c:pt>
                <c:pt idx="35331">
                  <c:v>17.449742812078554</c:v>
                </c:pt>
                <c:pt idx="35332">
                  <c:v>22.813237020458061</c:v>
                </c:pt>
                <c:pt idx="35333">
                  <c:v>15.395926367605739</c:v>
                </c:pt>
                <c:pt idx="35334">
                  <c:v>50.173693278438485</c:v>
                </c:pt>
                <c:pt idx="35335">
                  <c:v>30.772468237111362</c:v>
                </c:pt>
                <c:pt idx="35336">
                  <c:v>29.089558013494795</c:v>
                </c:pt>
                <c:pt idx="35337">
                  <c:v>25.731927500014859</c:v>
                </c:pt>
                <c:pt idx="35338">
                  <c:v>18.303240574694012</c:v>
                </c:pt>
                <c:pt idx="35339">
                  <c:v>39.106365832844531</c:v>
                </c:pt>
                <c:pt idx="35340">
                  <c:v>24.904931384936425</c:v>
                </c:pt>
                <c:pt idx="35341">
                  <c:v>27.38717757447726</c:v>
                </c:pt>
                <c:pt idx="35342">
                  <c:v>33.155386470848271</c:v>
                </c:pt>
                <c:pt idx="35343">
                  <c:v>43.64975910505062</c:v>
                </c:pt>
                <c:pt idx="35344">
                  <c:v>25.567265913481226</c:v>
                </c:pt>
                <c:pt idx="35345">
                  <c:v>51.151339648056137</c:v>
                </c:pt>
                <c:pt idx="35346">
                  <c:v>23.83666699529536</c:v>
                </c:pt>
                <c:pt idx="35347">
                  <c:v>27.758579648044662</c:v>
                </c:pt>
                <c:pt idx="35348">
                  <c:v>34.294834133839451</c:v>
                </c:pt>
                <c:pt idx="35349">
                  <c:v>29.142079082237881</c:v>
                </c:pt>
                <c:pt idx="35350">
                  <c:v>24.323673216436184</c:v>
                </c:pt>
                <c:pt idx="35351">
                  <c:v>44.926702574877339</c:v>
                </c:pt>
                <c:pt idx="35352">
                  <c:v>29.88793840439682</c:v>
                </c:pt>
                <c:pt idx="35353">
                  <c:v>29.004854179172241</c:v>
                </c:pt>
                <c:pt idx="35354">
                  <c:v>24.104741523520797</c:v>
                </c:pt>
                <c:pt idx="35355">
                  <c:v>25.173468655084122</c:v>
                </c:pt>
                <c:pt idx="35356">
                  <c:v>22.84407690244101</c:v>
                </c:pt>
                <c:pt idx="35357">
                  <c:v>27.653299937612449</c:v>
                </c:pt>
                <c:pt idx="35358">
                  <c:v>26.645495063695392</c:v>
                </c:pt>
                <c:pt idx="35359">
                  <c:v>29.770387026404364</c:v>
                </c:pt>
                <c:pt idx="35360">
                  <c:v>28.912219611810649</c:v>
                </c:pt>
                <c:pt idx="35361">
                  <c:v>30.896988768233054</c:v>
                </c:pt>
                <c:pt idx="35362">
                  <c:v>29.204192103433996</c:v>
                </c:pt>
                <c:pt idx="35363">
                  <c:v>30.865942524285142</c:v>
                </c:pt>
                <c:pt idx="35364">
                  <c:v>26.116250617252785</c:v>
                </c:pt>
                <c:pt idx="35365">
                  <c:v>62.891026260640501</c:v>
                </c:pt>
                <c:pt idx="35366">
                  <c:v>25.637650553887582</c:v>
                </c:pt>
                <c:pt idx="35367">
                  <c:v>32.790258246669559</c:v>
                </c:pt>
                <c:pt idx="35368">
                  <c:v>42.595175236729574</c:v>
                </c:pt>
                <c:pt idx="35369">
                  <c:v>19.649879005895365</c:v>
                </c:pt>
                <c:pt idx="35370">
                  <c:v>20.151935747946581</c:v>
                </c:pt>
                <c:pt idx="35371">
                  <c:v>35.93990046689246</c:v>
                </c:pt>
                <c:pt idx="35372">
                  <c:v>26.718776854421868</c:v>
                </c:pt>
                <c:pt idx="35373">
                  <c:v>38.367908263703193</c:v>
                </c:pt>
                <c:pt idx="35374">
                  <c:v>26.057024011822463</c:v>
                </c:pt>
                <c:pt idx="35375">
                  <c:v>27.541776435272546</c:v>
                </c:pt>
                <c:pt idx="35376">
                  <c:v>23.284210212213509</c:v>
                </c:pt>
                <c:pt idx="35377">
                  <c:v>33.780278366202054</c:v>
                </c:pt>
                <c:pt idx="35378">
                  <c:v>33.496274034125577</c:v>
                </c:pt>
                <c:pt idx="35379">
                  <c:v>24.53710122903151</c:v>
                </c:pt>
                <c:pt idx="35380">
                  <c:v>35.380336176539018</c:v>
                </c:pt>
                <c:pt idx="35381">
                  <c:v>18.194205275607729</c:v>
                </c:pt>
                <c:pt idx="35382">
                  <c:v>28.158773330614178</c:v>
                </c:pt>
                <c:pt idx="35383">
                  <c:v>28.483756193755195</c:v>
                </c:pt>
                <c:pt idx="35384">
                  <c:v>28.933538364714249</c:v>
                </c:pt>
                <c:pt idx="35385">
                  <c:v>29.018809231320432</c:v>
                </c:pt>
                <c:pt idx="35386">
                  <c:v>33.219008071419324</c:v>
                </c:pt>
                <c:pt idx="35387">
                  <c:v>24.018888558809845</c:v>
                </c:pt>
                <c:pt idx="35388">
                  <c:v>23.622276679382896</c:v>
                </c:pt>
                <c:pt idx="35389">
                  <c:v>21.781744556073242</c:v>
                </c:pt>
                <c:pt idx="35390">
                  <c:v>32.517449350987853</c:v>
                </c:pt>
                <c:pt idx="35391">
                  <c:v>22.063734810354596</c:v>
                </c:pt>
                <c:pt idx="35392">
                  <c:v>32.333089678594639</c:v>
                </c:pt>
                <c:pt idx="35393">
                  <c:v>23.859700035461309</c:v>
                </c:pt>
                <c:pt idx="35394">
                  <c:v>46.949817444528279</c:v>
                </c:pt>
                <c:pt idx="35395">
                  <c:v>19.480178294408638</c:v>
                </c:pt>
                <c:pt idx="35396">
                  <c:v>28.36610533477231</c:v>
                </c:pt>
                <c:pt idx="35397">
                  <c:v>36.940205771399128</c:v>
                </c:pt>
                <c:pt idx="35398">
                  <c:v>37.281694796086228</c:v>
                </c:pt>
                <c:pt idx="35399">
                  <c:v>49.619695627696395</c:v>
                </c:pt>
                <c:pt idx="35400">
                  <c:v>21.175469626210234</c:v>
                </c:pt>
                <c:pt idx="35401">
                  <c:v>22.366483949044067</c:v>
                </c:pt>
                <c:pt idx="35402">
                  <c:v>53.542175964976998</c:v>
                </c:pt>
                <c:pt idx="35403">
                  <c:v>31.341921343257798</c:v>
                </c:pt>
                <c:pt idx="35404">
                  <c:v>18.01576737634009</c:v>
                </c:pt>
                <c:pt idx="35405">
                  <c:v>17.128133589884243</c:v>
                </c:pt>
                <c:pt idx="35406">
                  <c:v>31.374086769334319</c:v>
                </c:pt>
                <c:pt idx="35407">
                  <c:v>38.306367333178756</c:v>
                </c:pt>
                <c:pt idx="35408">
                  <c:v>26.708568306991907</c:v>
                </c:pt>
                <c:pt idx="35409">
                  <c:v>42.0550300310354</c:v>
                </c:pt>
                <c:pt idx="35410">
                  <c:v>22.012521138089987</c:v>
                </c:pt>
                <c:pt idx="35411">
                  <c:v>23.739388643729342</c:v>
                </c:pt>
                <c:pt idx="35412">
                  <c:v>59.337717967690139</c:v>
                </c:pt>
                <c:pt idx="35413">
                  <c:v>22.343522642838842</c:v>
                </c:pt>
                <c:pt idx="35414">
                  <c:v>21.841126499952601</c:v>
                </c:pt>
                <c:pt idx="35415">
                  <c:v>30.890430163400968</c:v>
                </c:pt>
                <c:pt idx="35416">
                  <c:v>27.132686563568868</c:v>
                </c:pt>
                <c:pt idx="35417">
                  <c:v>24.312351782120686</c:v>
                </c:pt>
                <c:pt idx="35418">
                  <c:v>64.919260743689094</c:v>
                </c:pt>
                <c:pt idx="35419">
                  <c:v>25.335909017186896</c:v>
                </c:pt>
                <c:pt idx="35420">
                  <c:v>20.629754326509477</c:v>
                </c:pt>
                <c:pt idx="35421">
                  <c:v>24.970801705234116</c:v>
                </c:pt>
                <c:pt idx="35422">
                  <c:v>23.372645956649656</c:v>
                </c:pt>
                <c:pt idx="35423">
                  <c:v>24.009304704561654</c:v>
                </c:pt>
                <c:pt idx="35424">
                  <c:v>59.076292065775959</c:v>
                </c:pt>
                <c:pt idx="35425">
                  <c:v>22.817638329018607</c:v>
                </c:pt>
                <c:pt idx="35426">
                  <c:v>30.040158412551861</c:v>
                </c:pt>
                <c:pt idx="35427">
                  <c:v>31.408522557886929</c:v>
                </c:pt>
                <c:pt idx="35428">
                  <c:v>35.811207894068509</c:v>
                </c:pt>
                <c:pt idx="35429">
                  <c:v>55.388099006956168</c:v>
                </c:pt>
                <c:pt idx="35430">
                  <c:v>25.109231351212667</c:v>
                </c:pt>
                <c:pt idx="35431">
                  <c:v>24.614253222668417</c:v>
                </c:pt>
                <c:pt idx="35432">
                  <c:v>38.538839481217842</c:v>
                </c:pt>
                <c:pt idx="35433">
                  <c:v>30.021175220835044</c:v>
                </c:pt>
                <c:pt idx="35434">
                  <c:v>34.846559918389126</c:v>
                </c:pt>
                <c:pt idx="35435">
                  <c:v>17.22448910432275</c:v>
                </c:pt>
                <c:pt idx="35436">
                  <c:v>21.611470924555043</c:v>
                </c:pt>
                <c:pt idx="35437">
                  <c:v>50.795750512075465</c:v>
                </c:pt>
                <c:pt idx="35438">
                  <c:v>30.096135546258211</c:v>
                </c:pt>
                <c:pt idx="35439">
                  <c:v>33.595823949877797</c:v>
                </c:pt>
                <c:pt idx="35440">
                  <c:v>47.805433363099432</c:v>
                </c:pt>
                <c:pt idx="35441">
                  <c:v>29.577569542408174</c:v>
                </c:pt>
                <c:pt idx="35442">
                  <c:v>55.243699670302583</c:v>
                </c:pt>
                <c:pt idx="35443">
                  <c:v>47.898243364715142</c:v>
                </c:pt>
                <c:pt idx="35444">
                  <c:v>43.382569218174297</c:v>
                </c:pt>
                <c:pt idx="35445">
                  <c:v>28.411502061255895</c:v>
                </c:pt>
                <c:pt idx="35446">
                  <c:v>24.202790233971633</c:v>
                </c:pt>
                <c:pt idx="35447">
                  <c:v>24.191524422632661</c:v>
                </c:pt>
                <c:pt idx="35448">
                  <c:v>37.88762428431162</c:v>
                </c:pt>
                <c:pt idx="35449">
                  <c:v>17.037565304714512</c:v>
                </c:pt>
                <c:pt idx="35450">
                  <c:v>22.288805490738483</c:v>
                </c:pt>
                <c:pt idx="35451">
                  <c:v>23.204496941773918</c:v>
                </c:pt>
                <c:pt idx="35452">
                  <c:v>18.839944709196757</c:v>
                </c:pt>
                <c:pt idx="35453">
                  <c:v>20.125571114584524</c:v>
                </c:pt>
                <c:pt idx="35454">
                  <c:v>29.958167907834195</c:v>
                </c:pt>
                <c:pt idx="35455">
                  <c:v>34.161952202566191</c:v>
                </c:pt>
                <c:pt idx="35456">
                  <c:v>23.943705871872908</c:v>
                </c:pt>
                <c:pt idx="35457">
                  <c:v>25.290371764535447</c:v>
                </c:pt>
                <c:pt idx="35458">
                  <c:v>23.604482719336023</c:v>
                </c:pt>
                <c:pt idx="35459">
                  <c:v>22.393759671132436</c:v>
                </c:pt>
                <c:pt idx="35460">
                  <c:v>20.562847684778468</c:v>
                </c:pt>
                <c:pt idx="35461">
                  <c:v>14.649260888677794</c:v>
                </c:pt>
                <c:pt idx="35462">
                  <c:v>25.854148252433056</c:v>
                </c:pt>
                <c:pt idx="35463">
                  <c:v>32.222548287328038</c:v>
                </c:pt>
                <c:pt idx="35464">
                  <c:v>33.958503197452686</c:v>
                </c:pt>
                <c:pt idx="35465">
                  <c:v>28.566492512486054</c:v>
                </c:pt>
                <c:pt idx="35466">
                  <c:v>26.898722591644081</c:v>
                </c:pt>
                <c:pt idx="35467">
                  <c:v>30.833952402468253</c:v>
                </c:pt>
                <c:pt idx="35468">
                  <c:v>34.519303702225933</c:v>
                </c:pt>
                <c:pt idx="35469">
                  <c:v>22.62137097842637</c:v>
                </c:pt>
                <c:pt idx="35470">
                  <c:v>27.338335183078719</c:v>
                </c:pt>
                <c:pt idx="35471">
                  <c:v>35.086770803816599</c:v>
                </c:pt>
                <c:pt idx="35472">
                  <c:v>48.558664709073383</c:v>
                </c:pt>
                <c:pt idx="35473">
                  <c:v>22.041740201736221</c:v>
                </c:pt>
                <c:pt idx="35474">
                  <c:v>24.714214231706237</c:v>
                </c:pt>
                <c:pt idx="35475">
                  <c:v>26.104583006264193</c:v>
                </c:pt>
                <c:pt idx="35476">
                  <c:v>43.457731207229457</c:v>
                </c:pt>
                <c:pt idx="35477">
                  <c:v>24.356526850756708</c:v>
                </c:pt>
                <c:pt idx="35478">
                  <c:v>25.762969367601951</c:v>
                </c:pt>
                <c:pt idx="35479">
                  <c:v>19.401080151562311</c:v>
                </c:pt>
                <c:pt idx="35480">
                  <c:v>34.715928464454123</c:v>
                </c:pt>
                <c:pt idx="35481">
                  <c:v>21.856228921658783</c:v>
                </c:pt>
                <c:pt idx="35482">
                  <c:v>31.788893470926549</c:v>
                </c:pt>
                <c:pt idx="35483">
                  <c:v>32.789566704178256</c:v>
                </c:pt>
                <c:pt idx="35484">
                  <c:v>26.412116692645135</c:v>
                </c:pt>
                <c:pt idx="35485">
                  <c:v>53.296933601450561</c:v>
                </c:pt>
                <c:pt idx="35486">
                  <c:v>19.931428060458817</c:v>
                </c:pt>
                <c:pt idx="35487">
                  <c:v>36.737013353061528</c:v>
                </c:pt>
                <c:pt idx="35488">
                  <c:v>35.410994580274142</c:v>
                </c:pt>
                <c:pt idx="35489">
                  <c:v>36.004957101342164</c:v>
                </c:pt>
                <c:pt idx="35490">
                  <c:v>25.074605772479369</c:v>
                </c:pt>
                <c:pt idx="35491">
                  <c:v>37.806706935761135</c:v>
                </c:pt>
                <c:pt idx="35492">
                  <c:v>25.487115791323699</c:v>
                </c:pt>
                <c:pt idx="35493">
                  <c:v>27.340710335171298</c:v>
                </c:pt>
                <c:pt idx="35494">
                  <c:v>41.127881320903192</c:v>
                </c:pt>
                <c:pt idx="35495">
                  <c:v>23.516202958253029</c:v>
                </c:pt>
                <c:pt idx="35496">
                  <c:v>27.085358234377438</c:v>
                </c:pt>
                <c:pt idx="35497">
                  <c:v>33.265828070263126</c:v>
                </c:pt>
                <c:pt idx="35498">
                  <c:v>42.962148888509631</c:v>
                </c:pt>
                <c:pt idx="35499">
                  <c:v>25.928582997440671</c:v>
                </c:pt>
                <c:pt idx="35500">
                  <c:v>33.701851527808273</c:v>
                </c:pt>
                <c:pt idx="35501">
                  <c:v>36.045039867504592</c:v>
                </c:pt>
                <c:pt idx="35502">
                  <c:v>25.455354555317591</c:v>
                </c:pt>
                <c:pt idx="35503">
                  <c:v>25.714767002212291</c:v>
                </c:pt>
                <c:pt idx="35504">
                  <c:v>24.696199158906118</c:v>
                </c:pt>
                <c:pt idx="35505">
                  <c:v>21.734677700126738</c:v>
                </c:pt>
                <c:pt idx="35506">
                  <c:v>28.93185204453756</c:v>
                </c:pt>
                <c:pt idx="35507">
                  <c:v>28.710382400055249</c:v>
                </c:pt>
                <c:pt idx="35508">
                  <c:v>43.882886005190905</c:v>
                </c:pt>
                <c:pt idx="35509">
                  <c:v>19.47986836836257</c:v>
                </c:pt>
                <c:pt idx="35510">
                  <c:v>46.437244901312894</c:v>
                </c:pt>
                <c:pt idx="35511">
                  <c:v>46.808154553955127</c:v>
                </c:pt>
                <c:pt idx="35512">
                  <c:v>31.910851322417884</c:v>
                </c:pt>
                <c:pt idx="35513">
                  <c:v>19.877619317781836</c:v>
                </c:pt>
                <c:pt idx="35514">
                  <c:v>51.021691609805067</c:v>
                </c:pt>
                <c:pt idx="35515">
                  <c:v>34.329094842096033</c:v>
                </c:pt>
                <c:pt idx="35516">
                  <c:v>50.801917389321098</c:v>
                </c:pt>
                <c:pt idx="35517">
                  <c:v>23.827737566734786</c:v>
                </c:pt>
                <c:pt idx="35518">
                  <c:v>16.032789616269376</c:v>
                </c:pt>
                <c:pt idx="35519">
                  <c:v>42.88833304907898</c:v>
                </c:pt>
                <c:pt idx="35520">
                  <c:v>29.141467749539494</c:v>
                </c:pt>
                <c:pt idx="35521">
                  <c:v>29.330218071953091</c:v>
                </c:pt>
                <c:pt idx="35522">
                  <c:v>23.211320756664783</c:v>
                </c:pt>
                <c:pt idx="35523">
                  <c:v>32.75512597497908</c:v>
                </c:pt>
                <c:pt idx="35524">
                  <c:v>40.021274894706686</c:v>
                </c:pt>
                <c:pt idx="35525">
                  <c:v>27.07794102115944</c:v>
                </c:pt>
                <c:pt idx="35526">
                  <c:v>35.061039131493757</c:v>
                </c:pt>
                <c:pt idx="35527">
                  <c:v>38.340177813671247</c:v>
                </c:pt>
                <c:pt idx="35528">
                  <c:v>32.969259014028374</c:v>
                </c:pt>
                <c:pt idx="35529">
                  <c:v>45.727069426495866</c:v>
                </c:pt>
                <c:pt idx="35530">
                  <c:v>29.257469487030942</c:v>
                </c:pt>
                <c:pt idx="35531">
                  <c:v>27.071839185399909</c:v>
                </c:pt>
                <c:pt idx="35532">
                  <c:v>33.22348166847015</c:v>
                </c:pt>
                <c:pt idx="35533">
                  <c:v>25.230788195884045</c:v>
                </c:pt>
                <c:pt idx="35534">
                  <c:v>40.659328282866859</c:v>
                </c:pt>
                <c:pt idx="35535">
                  <c:v>17.868609180708582</c:v>
                </c:pt>
                <c:pt idx="35536">
                  <c:v>19.100276387698386</c:v>
                </c:pt>
                <c:pt idx="35537">
                  <c:v>25.839624804146901</c:v>
                </c:pt>
                <c:pt idx="35538">
                  <c:v>33.068958598832204</c:v>
                </c:pt>
                <c:pt idx="35539">
                  <c:v>31.402286833116793</c:v>
                </c:pt>
                <c:pt idx="35540">
                  <c:v>27.501117403192229</c:v>
                </c:pt>
                <c:pt idx="35541">
                  <c:v>22.784759999224576</c:v>
                </c:pt>
                <c:pt idx="35542">
                  <c:v>49.004100656290731</c:v>
                </c:pt>
                <c:pt idx="35543">
                  <c:v>45.181959858206511</c:v>
                </c:pt>
                <c:pt idx="35544">
                  <c:v>20.241301778416325</c:v>
                </c:pt>
                <c:pt idx="35545">
                  <c:v>24.866201922500672</c:v>
                </c:pt>
                <c:pt idx="35546">
                  <c:v>31.808311498562233</c:v>
                </c:pt>
                <c:pt idx="35547">
                  <c:v>36.890460439217847</c:v>
                </c:pt>
                <c:pt idx="35548">
                  <c:v>31.777575318648744</c:v>
                </c:pt>
                <c:pt idx="35549">
                  <c:v>21.851330333037581</c:v>
                </c:pt>
                <c:pt idx="35550">
                  <c:v>29.041223553149457</c:v>
                </c:pt>
                <c:pt idx="35551">
                  <c:v>27.777994349392159</c:v>
                </c:pt>
                <c:pt idx="35552">
                  <c:v>34.754299828288666</c:v>
                </c:pt>
                <c:pt idx="35553">
                  <c:v>23.797177409536054</c:v>
                </c:pt>
                <c:pt idx="35554">
                  <c:v>29.545020164558622</c:v>
                </c:pt>
                <c:pt idx="35555">
                  <c:v>43.461540753479767</c:v>
                </c:pt>
                <c:pt idx="35556">
                  <c:v>24.578600077491025</c:v>
                </c:pt>
                <c:pt idx="35557">
                  <c:v>58.07721675825097</c:v>
                </c:pt>
                <c:pt idx="35558">
                  <c:v>26.858509737088841</c:v>
                </c:pt>
                <c:pt idx="35559">
                  <c:v>23.406523426984116</c:v>
                </c:pt>
                <c:pt idx="35560">
                  <c:v>51.607472397949103</c:v>
                </c:pt>
                <c:pt idx="35561">
                  <c:v>20.201627568153295</c:v>
                </c:pt>
                <c:pt idx="35562">
                  <c:v>36.351555291182038</c:v>
                </c:pt>
                <c:pt idx="35563">
                  <c:v>30.072979360053054</c:v>
                </c:pt>
                <c:pt idx="35564">
                  <c:v>50.71331394720945</c:v>
                </c:pt>
                <c:pt idx="35565">
                  <c:v>47.446700536355124</c:v>
                </c:pt>
                <c:pt idx="35566">
                  <c:v>45.991385599187602</c:v>
                </c:pt>
                <c:pt idx="35567">
                  <c:v>31.572092486220907</c:v>
                </c:pt>
                <c:pt idx="35568">
                  <c:v>20.535680863086831</c:v>
                </c:pt>
                <c:pt idx="35569">
                  <c:v>27.352070778878282</c:v>
                </c:pt>
                <c:pt idx="35570">
                  <c:v>23.165192827247893</c:v>
                </c:pt>
                <c:pt idx="35571">
                  <c:v>29.789376103292717</c:v>
                </c:pt>
                <c:pt idx="35572">
                  <c:v>22.1792770958834</c:v>
                </c:pt>
                <c:pt idx="35573">
                  <c:v>28.551444478121788</c:v>
                </c:pt>
                <c:pt idx="35574">
                  <c:v>17.472825730467878</c:v>
                </c:pt>
                <c:pt idx="35575">
                  <c:v>17.872991847675685</c:v>
                </c:pt>
                <c:pt idx="35576">
                  <c:v>39.282238300667373</c:v>
                </c:pt>
                <c:pt idx="35577">
                  <c:v>27.261946705846409</c:v>
                </c:pt>
                <c:pt idx="35578">
                  <c:v>43.996423832369359</c:v>
                </c:pt>
                <c:pt idx="35579">
                  <c:v>29.984057731835712</c:v>
                </c:pt>
                <c:pt idx="35580">
                  <c:v>25.64633214075814</c:v>
                </c:pt>
                <c:pt idx="35581">
                  <c:v>19.807126341780975</c:v>
                </c:pt>
                <c:pt idx="35582">
                  <c:v>27.927567380336377</c:v>
                </c:pt>
                <c:pt idx="35583">
                  <c:v>28.867782176005047</c:v>
                </c:pt>
                <c:pt idx="35584">
                  <c:v>35.818018703197353</c:v>
                </c:pt>
                <c:pt idx="35585">
                  <c:v>28.631186259729368</c:v>
                </c:pt>
                <c:pt idx="35586">
                  <c:v>34.443308376398079</c:v>
                </c:pt>
                <c:pt idx="35587">
                  <c:v>33.910342255811102</c:v>
                </c:pt>
                <c:pt idx="35588">
                  <c:v>35.87834379952956</c:v>
                </c:pt>
                <c:pt idx="35589">
                  <c:v>55.197640940865554</c:v>
                </c:pt>
                <c:pt idx="35590">
                  <c:v>25.116339916953564</c:v>
                </c:pt>
                <c:pt idx="35591">
                  <c:v>27.824533614424205</c:v>
                </c:pt>
                <c:pt idx="35592">
                  <c:v>27.248023697657331</c:v>
                </c:pt>
                <c:pt idx="35593">
                  <c:v>25.459347786976721</c:v>
                </c:pt>
                <c:pt idx="35594">
                  <c:v>24.868633085049602</c:v>
                </c:pt>
                <c:pt idx="35595">
                  <c:v>32.250304128990699</c:v>
                </c:pt>
                <c:pt idx="35596">
                  <c:v>65.097438905741612</c:v>
                </c:pt>
                <c:pt idx="35597">
                  <c:v>52.324456301602481</c:v>
                </c:pt>
                <c:pt idx="35598">
                  <c:v>28.628940460291744</c:v>
                </c:pt>
                <c:pt idx="35599">
                  <c:v>30.451894802331292</c:v>
                </c:pt>
                <c:pt idx="35600">
                  <c:v>27.528401003589536</c:v>
                </c:pt>
                <c:pt idx="35601">
                  <c:v>22.827485877749513</c:v>
                </c:pt>
                <c:pt idx="35602">
                  <c:v>29.065930492564721</c:v>
                </c:pt>
                <c:pt idx="35603">
                  <c:v>25.798312433921279</c:v>
                </c:pt>
                <c:pt idx="35604">
                  <c:v>22.731783316922993</c:v>
                </c:pt>
                <c:pt idx="35605">
                  <c:v>16.371444885200635</c:v>
                </c:pt>
                <c:pt idx="35606">
                  <c:v>54.64393354563002</c:v>
                </c:pt>
                <c:pt idx="35607">
                  <c:v>28.739242202363748</c:v>
                </c:pt>
                <c:pt idx="35608">
                  <c:v>22.090651623701493</c:v>
                </c:pt>
                <c:pt idx="35609">
                  <c:v>23.353733864869788</c:v>
                </c:pt>
                <c:pt idx="35610">
                  <c:v>55.214501301393256</c:v>
                </c:pt>
                <c:pt idx="35611">
                  <c:v>32.137872526458153</c:v>
                </c:pt>
                <c:pt idx="35612">
                  <c:v>25.174682616123011</c:v>
                </c:pt>
                <c:pt idx="35613">
                  <c:v>31.648987414875243</c:v>
                </c:pt>
                <c:pt idx="35614">
                  <c:v>33.691222788520577</c:v>
                </c:pt>
                <c:pt idx="35615">
                  <c:v>25.965501444130091</c:v>
                </c:pt>
                <c:pt idx="35616">
                  <c:v>52.983791888048401</c:v>
                </c:pt>
                <c:pt idx="35617">
                  <c:v>25.408666694464777</c:v>
                </c:pt>
                <c:pt idx="35618">
                  <c:v>23.660200253645584</c:v>
                </c:pt>
                <c:pt idx="35619">
                  <c:v>28.185714807218133</c:v>
                </c:pt>
                <c:pt idx="35620">
                  <c:v>32.614140397039293</c:v>
                </c:pt>
                <c:pt idx="35621">
                  <c:v>27.061126071137988</c:v>
                </c:pt>
                <c:pt idx="35622">
                  <c:v>30.639241661268748</c:v>
                </c:pt>
                <c:pt idx="35623">
                  <c:v>36.158408046937751</c:v>
                </c:pt>
                <c:pt idx="35624">
                  <c:v>30.217318571514415</c:v>
                </c:pt>
                <c:pt idx="35625">
                  <c:v>25.750830116924224</c:v>
                </c:pt>
                <c:pt idx="35626">
                  <c:v>56.321005287769495</c:v>
                </c:pt>
                <c:pt idx="35627">
                  <c:v>36.334623973559076</c:v>
                </c:pt>
                <c:pt idx="35628">
                  <c:v>26.287732104557676</c:v>
                </c:pt>
                <c:pt idx="35629">
                  <c:v>34.510187336859289</c:v>
                </c:pt>
                <c:pt idx="35630">
                  <c:v>27.833596455660174</c:v>
                </c:pt>
                <c:pt idx="35631">
                  <c:v>24.129037805540204</c:v>
                </c:pt>
                <c:pt idx="35632">
                  <c:v>47.3475942209298</c:v>
                </c:pt>
                <c:pt idx="35633">
                  <c:v>24.211093407412399</c:v>
                </c:pt>
                <c:pt idx="35634">
                  <c:v>16.499401158116896</c:v>
                </c:pt>
                <c:pt idx="35635">
                  <c:v>23.811487276696131</c:v>
                </c:pt>
                <c:pt idx="35636">
                  <c:v>21.652838404210314</c:v>
                </c:pt>
                <c:pt idx="35637">
                  <c:v>36.986671707407098</c:v>
                </c:pt>
                <c:pt idx="35638">
                  <c:v>28.631998384670702</c:v>
                </c:pt>
                <c:pt idx="35639">
                  <c:v>44.531402063226757</c:v>
                </c:pt>
                <c:pt idx="35640">
                  <c:v>28.040951596552631</c:v>
                </c:pt>
                <c:pt idx="35641">
                  <c:v>28.909431629748681</c:v>
                </c:pt>
                <c:pt idx="35642">
                  <c:v>49.2279080478475</c:v>
                </c:pt>
                <c:pt idx="35643">
                  <c:v>30.156644002732858</c:v>
                </c:pt>
                <c:pt idx="35644">
                  <c:v>28.587174893535447</c:v>
                </c:pt>
                <c:pt idx="35645">
                  <c:v>37.882446522285235</c:v>
                </c:pt>
                <c:pt idx="35646">
                  <c:v>26.875359805938167</c:v>
                </c:pt>
                <c:pt idx="35647">
                  <c:v>49.825260594200934</c:v>
                </c:pt>
                <c:pt idx="35648">
                  <c:v>41.019072079471172</c:v>
                </c:pt>
                <c:pt idx="35649">
                  <c:v>25.501223143719201</c:v>
                </c:pt>
                <c:pt idx="35650">
                  <c:v>16.9518518174219</c:v>
                </c:pt>
                <c:pt idx="35651">
                  <c:v>43.622285486838749</c:v>
                </c:pt>
                <c:pt idx="35652">
                  <c:v>27.213393409577215</c:v>
                </c:pt>
                <c:pt idx="35653">
                  <c:v>20.914809424687878</c:v>
                </c:pt>
                <c:pt idx="35654">
                  <c:v>40.850293364524198</c:v>
                </c:pt>
                <c:pt idx="35655">
                  <c:v>24.79031606712724</c:v>
                </c:pt>
                <c:pt idx="35656">
                  <c:v>21.355274835610974</c:v>
                </c:pt>
                <c:pt idx="35657">
                  <c:v>44.49490542071424</c:v>
                </c:pt>
                <c:pt idx="35658">
                  <c:v>25.84725872043618</c:v>
                </c:pt>
                <c:pt idx="35659">
                  <c:v>24.805208086428518</c:v>
                </c:pt>
                <c:pt idx="35660">
                  <c:v>22.457263107897699</c:v>
                </c:pt>
                <c:pt idx="35661">
                  <c:v>38.865925783550608</c:v>
                </c:pt>
                <c:pt idx="35662">
                  <c:v>27.804549765418535</c:v>
                </c:pt>
                <c:pt idx="35663">
                  <c:v>16.539580418186105</c:v>
                </c:pt>
                <c:pt idx="35664">
                  <c:v>24.535943863723833</c:v>
                </c:pt>
                <c:pt idx="35665">
                  <c:v>34.450714545485823</c:v>
                </c:pt>
                <c:pt idx="35666">
                  <c:v>28.585271551773925</c:v>
                </c:pt>
                <c:pt idx="35667">
                  <c:v>26.619579814301446</c:v>
                </c:pt>
                <c:pt idx="35668">
                  <c:v>21.50322157344285</c:v>
                </c:pt>
                <c:pt idx="35669">
                  <c:v>32.554631270766166</c:v>
                </c:pt>
                <c:pt idx="35670">
                  <c:v>13.288742047173484</c:v>
                </c:pt>
                <c:pt idx="35671">
                  <c:v>28.525267076757526</c:v>
                </c:pt>
                <c:pt idx="35672">
                  <c:v>25.592969306877531</c:v>
                </c:pt>
                <c:pt idx="35673">
                  <c:v>28.827557834819654</c:v>
                </c:pt>
                <c:pt idx="35674">
                  <c:v>33.450973779358321</c:v>
                </c:pt>
                <c:pt idx="35675">
                  <c:v>45.798144866397713</c:v>
                </c:pt>
                <c:pt idx="35676">
                  <c:v>22.43492461277436</c:v>
                </c:pt>
                <c:pt idx="35677">
                  <c:v>24.988286068728158</c:v>
                </c:pt>
                <c:pt idx="35678">
                  <c:v>30.732743212495208</c:v>
                </c:pt>
                <c:pt idx="35679">
                  <c:v>44.921861010667513</c:v>
                </c:pt>
                <c:pt idx="35680">
                  <c:v>24.996827209708798</c:v>
                </c:pt>
                <c:pt idx="35681">
                  <c:v>26.079542222246094</c:v>
                </c:pt>
                <c:pt idx="35682">
                  <c:v>26.131859422679838</c:v>
                </c:pt>
                <c:pt idx="35683">
                  <c:v>35.307420275730557</c:v>
                </c:pt>
                <c:pt idx="35684">
                  <c:v>25.659460062426028</c:v>
                </c:pt>
                <c:pt idx="35685">
                  <c:v>31.085128351912662</c:v>
                </c:pt>
                <c:pt idx="35686">
                  <c:v>25.327312852115043</c:v>
                </c:pt>
                <c:pt idx="35687">
                  <c:v>30.631505588099142</c:v>
                </c:pt>
                <c:pt idx="35688">
                  <c:v>36.907263882357405</c:v>
                </c:pt>
                <c:pt idx="35689">
                  <c:v>26.077564614276433</c:v>
                </c:pt>
                <c:pt idx="35690">
                  <c:v>23.683552639948388</c:v>
                </c:pt>
                <c:pt idx="35691">
                  <c:v>20.470580979228277</c:v>
                </c:pt>
                <c:pt idx="35692">
                  <c:v>31.000360881106985</c:v>
                </c:pt>
                <c:pt idx="35693">
                  <c:v>17.88096759154276</c:v>
                </c:pt>
                <c:pt idx="35694">
                  <c:v>40.702200898834995</c:v>
                </c:pt>
                <c:pt idx="35695">
                  <c:v>38.713687725317627</c:v>
                </c:pt>
                <c:pt idx="35696">
                  <c:v>19.61062794236755</c:v>
                </c:pt>
                <c:pt idx="35697">
                  <c:v>24.248644932581435</c:v>
                </c:pt>
                <c:pt idx="35698">
                  <c:v>31.051691778946566</c:v>
                </c:pt>
                <c:pt idx="35699">
                  <c:v>52.825660293937815</c:v>
                </c:pt>
                <c:pt idx="35700">
                  <c:v>55.275893428210921</c:v>
                </c:pt>
                <c:pt idx="35701">
                  <c:v>24.133286977361266</c:v>
                </c:pt>
                <c:pt idx="35702">
                  <c:v>23.478286737514299</c:v>
                </c:pt>
                <c:pt idx="35703">
                  <c:v>48.996627473803137</c:v>
                </c:pt>
                <c:pt idx="35704">
                  <c:v>27.637639358612407</c:v>
                </c:pt>
                <c:pt idx="35705">
                  <c:v>26.098138581363948</c:v>
                </c:pt>
                <c:pt idx="35706">
                  <c:v>32.652001904931204</c:v>
                </c:pt>
                <c:pt idx="35707">
                  <c:v>30.65906268189697</c:v>
                </c:pt>
                <c:pt idx="35708">
                  <c:v>42.067124704041866</c:v>
                </c:pt>
                <c:pt idx="35709">
                  <c:v>45.723200280421118</c:v>
                </c:pt>
                <c:pt idx="35710">
                  <c:v>46.727521763014373</c:v>
                </c:pt>
                <c:pt idx="35711">
                  <c:v>24.101640724733507</c:v>
                </c:pt>
                <c:pt idx="35712">
                  <c:v>24.034422390610796</c:v>
                </c:pt>
                <c:pt idx="35713">
                  <c:v>33.639377573097462</c:v>
                </c:pt>
                <c:pt idx="35714">
                  <c:v>44.706679505532982</c:v>
                </c:pt>
                <c:pt idx="35715">
                  <c:v>27.533503520127056</c:v>
                </c:pt>
                <c:pt idx="35716">
                  <c:v>43.223914848265323</c:v>
                </c:pt>
                <c:pt idx="35717">
                  <c:v>32.598303445345316</c:v>
                </c:pt>
                <c:pt idx="35718">
                  <c:v>44.445176220892954</c:v>
                </c:pt>
                <c:pt idx="35719">
                  <c:v>34.165171598467239</c:v>
                </c:pt>
                <c:pt idx="35720">
                  <c:v>22.651166135791723</c:v>
                </c:pt>
                <c:pt idx="35721">
                  <c:v>34.394512261749135</c:v>
                </c:pt>
                <c:pt idx="35722">
                  <c:v>29.548005119655638</c:v>
                </c:pt>
                <c:pt idx="35723">
                  <c:v>29.684548755766279</c:v>
                </c:pt>
                <c:pt idx="35724">
                  <c:v>41.617165554571855</c:v>
                </c:pt>
                <c:pt idx="35725">
                  <c:v>21.623434812019752</c:v>
                </c:pt>
                <c:pt idx="35726">
                  <c:v>47.289925149880602</c:v>
                </c:pt>
                <c:pt idx="35727">
                  <c:v>19.223519601502826</c:v>
                </c:pt>
                <c:pt idx="35728">
                  <c:v>31.123824720064629</c:v>
                </c:pt>
                <c:pt idx="35729">
                  <c:v>34.46090364123949</c:v>
                </c:pt>
                <c:pt idx="35730">
                  <c:v>43.171450519945608</c:v>
                </c:pt>
                <c:pt idx="35731">
                  <c:v>26.875756376545219</c:v>
                </c:pt>
                <c:pt idx="35732">
                  <c:v>22.124259611330167</c:v>
                </c:pt>
                <c:pt idx="35733">
                  <c:v>27.936769786346424</c:v>
                </c:pt>
                <c:pt idx="35734">
                  <c:v>42.750949160350963</c:v>
                </c:pt>
                <c:pt idx="35735">
                  <c:v>30.986995068368802</c:v>
                </c:pt>
                <c:pt idx="35736">
                  <c:v>28.45682460512085</c:v>
                </c:pt>
                <c:pt idx="35737">
                  <c:v>30.962345486812339</c:v>
                </c:pt>
                <c:pt idx="35738">
                  <c:v>30.011382325516202</c:v>
                </c:pt>
                <c:pt idx="35739">
                  <c:v>23.344002104924328</c:v>
                </c:pt>
                <c:pt idx="35740">
                  <c:v>22.90047089125926</c:v>
                </c:pt>
                <c:pt idx="35741">
                  <c:v>24.759252718908936</c:v>
                </c:pt>
                <c:pt idx="35742">
                  <c:v>26.564158139457074</c:v>
                </c:pt>
                <c:pt idx="35743">
                  <c:v>19.135027975077239</c:v>
                </c:pt>
                <c:pt idx="35744">
                  <c:v>28.954379338395441</c:v>
                </c:pt>
                <c:pt idx="35745">
                  <c:v>27.346001497740321</c:v>
                </c:pt>
                <c:pt idx="35746">
                  <c:v>27.345915855156097</c:v>
                </c:pt>
                <c:pt idx="35747">
                  <c:v>51.144824511250469</c:v>
                </c:pt>
                <c:pt idx="35748">
                  <c:v>23.856948927870349</c:v>
                </c:pt>
                <c:pt idx="35749">
                  <c:v>35.968900430664945</c:v>
                </c:pt>
                <c:pt idx="35750">
                  <c:v>51.035043021929781</c:v>
                </c:pt>
                <c:pt idx="35751">
                  <c:v>21.682554659341822</c:v>
                </c:pt>
                <c:pt idx="35752">
                  <c:v>34.373938175743653</c:v>
                </c:pt>
                <c:pt idx="35753">
                  <c:v>53.624145048787128</c:v>
                </c:pt>
                <c:pt idx="35754">
                  <c:v>50.830725248661004</c:v>
                </c:pt>
                <c:pt idx="35755">
                  <c:v>33.716073104521115</c:v>
                </c:pt>
                <c:pt idx="35756">
                  <c:v>38.313513089006797</c:v>
                </c:pt>
                <c:pt idx="35757">
                  <c:v>21.510401731673809</c:v>
                </c:pt>
                <c:pt idx="35758">
                  <c:v>20.057799995458442</c:v>
                </c:pt>
                <c:pt idx="35759">
                  <c:v>28.472378689882397</c:v>
                </c:pt>
                <c:pt idx="35760">
                  <c:v>22.887826075718031</c:v>
                </c:pt>
                <c:pt idx="35761">
                  <c:v>22.378777219226254</c:v>
                </c:pt>
                <c:pt idx="35762">
                  <c:v>53.346666004104151</c:v>
                </c:pt>
                <c:pt idx="35763">
                  <c:v>45.997556964582195</c:v>
                </c:pt>
                <c:pt idx="35764">
                  <c:v>30.682028797708124</c:v>
                </c:pt>
                <c:pt idx="35765">
                  <c:v>54.904230578452605</c:v>
                </c:pt>
                <c:pt idx="35766">
                  <c:v>24.83273734540133</c:v>
                </c:pt>
                <c:pt idx="35767">
                  <c:v>26.087965885273682</c:v>
                </c:pt>
                <c:pt idx="35768">
                  <c:v>22.455102001163972</c:v>
                </c:pt>
                <c:pt idx="35769">
                  <c:v>47.009185880627655</c:v>
                </c:pt>
                <c:pt idx="35770">
                  <c:v>40.390226045458377</c:v>
                </c:pt>
                <c:pt idx="35771">
                  <c:v>29.129768431068992</c:v>
                </c:pt>
                <c:pt idx="35772">
                  <c:v>26.335035580270578</c:v>
                </c:pt>
                <c:pt idx="35773">
                  <c:v>31.673721896957808</c:v>
                </c:pt>
                <c:pt idx="35774">
                  <c:v>19.505096726448205</c:v>
                </c:pt>
                <c:pt idx="35775">
                  <c:v>39.706411831124257</c:v>
                </c:pt>
                <c:pt idx="35776">
                  <c:v>33.641978281614058</c:v>
                </c:pt>
                <c:pt idx="35777">
                  <c:v>28.794367568316371</c:v>
                </c:pt>
                <c:pt idx="35778">
                  <c:v>21.401998065749858</c:v>
                </c:pt>
                <c:pt idx="35779">
                  <c:v>33.562335431295629</c:v>
                </c:pt>
                <c:pt idx="35780">
                  <c:v>25.826303591226182</c:v>
                </c:pt>
                <c:pt idx="35781">
                  <c:v>28.463949273440925</c:v>
                </c:pt>
                <c:pt idx="35782">
                  <c:v>25.981915305898752</c:v>
                </c:pt>
                <c:pt idx="35783">
                  <c:v>27.139545294825389</c:v>
                </c:pt>
                <c:pt idx="35784">
                  <c:v>38.698129959969847</c:v>
                </c:pt>
                <c:pt idx="35785">
                  <c:v>26.59882632833925</c:v>
                </c:pt>
                <c:pt idx="35786">
                  <c:v>26.089740697037378</c:v>
                </c:pt>
                <c:pt idx="35787">
                  <c:v>39.716575756327515</c:v>
                </c:pt>
                <c:pt idx="35788">
                  <c:v>35.177664397339186</c:v>
                </c:pt>
                <c:pt idx="35789">
                  <c:v>27.829245086498617</c:v>
                </c:pt>
                <c:pt idx="35790">
                  <c:v>37.295268501571314</c:v>
                </c:pt>
                <c:pt idx="35791">
                  <c:v>52.915877741455439</c:v>
                </c:pt>
                <c:pt idx="35792">
                  <c:v>34.857477109114726</c:v>
                </c:pt>
                <c:pt idx="35793">
                  <c:v>17.536304339809405</c:v>
                </c:pt>
                <c:pt idx="35794">
                  <c:v>16.117226299380004</c:v>
                </c:pt>
                <c:pt idx="35795">
                  <c:v>47.707665967462312</c:v>
                </c:pt>
                <c:pt idx="35796">
                  <c:v>42.722635820148973</c:v>
                </c:pt>
                <c:pt idx="35797">
                  <c:v>25.853523454068295</c:v>
                </c:pt>
                <c:pt idx="35798">
                  <c:v>40.084895550061887</c:v>
                </c:pt>
                <c:pt idx="35799">
                  <c:v>37.009659838417434</c:v>
                </c:pt>
                <c:pt idx="35800">
                  <c:v>28.19100240150803</c:v>
                </c:pt>
                <c:pt idx="35801">
                  <c:v>19.950910550486455</c:v>
                </c:pt>
                <c:pt idx="35802">
                  <c:v>26.303279672611346</c:v>
                </c:pt>
                <c:pt idx="35803">
                  <c:v>29.438884839523485</c:v>
                </c:pt>
                <c:pt idx="35804">
                  <c:v>31.681057406551048</c:v>
                </c:pt>
                <c:pt idx="35805">
                  <c:v>25.262810515636762</c:v>
                </c:pt>
                <c:pt idx="35806">
                  <c:v>22.391230207906254</c:v>
                </c:pt>
                <c:pt idx="35807">
                  <c:v>47.808300764232783</c:v>
                </c:pt>
                <c:pt idx="35808">
                  <c:v>38.344056819202116</c:v>
                </c:pt>
                <c:pt idx="35809">
                  <c:v>30.900751955089213</c:v>
                </c:pt>
                <c:pt idx="35810">
                  <c:v>26.578718371801539</c:v>
                </c:pt>
                <c:pt idx="35811">
                  <c:v>47.242024108244152</c:v>
                </c:pt>
                <c:pt idx="35812">
                  <c:v>22.575331723825961</c:v>
                </c:pt>
                <c:pt idx="35813">
                  <c:v>36.188154831925651</c:v>
                </c:pt>
                <c:pt idx="35814">
                  <c:v>43.450618117751318</c:v>
                </c:pt>
                <c:pt idx="35815">
                  <c:v>33.873081266667818</c:v>
                </c:pt>
                <c:pt idx="35816">
                  <c:v>48.403434562343023</c:v>
                </c:pt>
                <c:pt idx="35817">
                  <c:v>24.76883436070074</c:v>
                </c:pt>
                <c:pt idx="35818">
                  <c:v>25.794098664609951</c:v>
                </c:pt>
                <c:pt idx="35819">
                  <c:v>31.064726100092884</c:v>
                </c:pt>
                <c:pt idx="35820">
                  <c:v>30.85454299606824</c:v>
                </c:pt>
                <c:pt idx="35821">
                  <c:v>22.653574543604023</c:v>
                </c:pt>
                <c:pt idx="35822">
                  <c:v>31.410400416486201</c:v>
                </c:pt>
                <c:pt idx="35823">
                  <c:v>23.547020965424792</c:v>
                </c:pt>
                <c:pt idx="35824">
                  <c:v>24.794908713753543</c:v>
                </c:pt>
                <c:pt idx="35825">
                  <c:v>30.661723151224326</c:v>
                </c:pt>
                <c:pt idx="35826">
                  <c:v>17.805144273561336</c:v>
                </c:pt>
                <c:pt idx="35827">
                  <c:v>20.662112620519256</c:v>
                </c:pt>
                <c:pt idx="35828">
                  <c:v>41.008144713391957</c:v>
                </c:pt>
                <c:pt idx="35829">
                  <c:v>24.822152923067669</c:v>
                </c:pt>
                <c:pt idx="35830">
                  <c:v>41.30000253206137</c:v>
                </c:pt>
                <c:pt idx="35831">
                  <c:v>29.392394755816564</c:v>
                </c:pt>
                <c:pt idx="35832">
                  <c:v>44.992359714854707</c:v>
                </c:pt>
                <c:pt idx="35833">
                  <c:v>42.256823563886577</c:v>
                </c:pt>
                <c:pt idx="35834">
                  <c:v>40.439870308235868</c:v>
                </c:pt>
                <c:pt idx="35835">
                  <c:v>47.131601661139243</c:v>
                </c:pt>
                <c:pt idx="35836">
                  <c:v>23.068430013893014</c:v>
                </c:pt>
                <c:pt idx="35837">
                  <c:v>19.206161389476971</c:v>
                </c:pt>
                <c:pt idx="35838">
                  <c:v>27.287165949858831</c:v>
                </c:pt>
                <c:pt idx="35839">
                  <c:v>20.769913253144459</c:v>
                </c:pt>
                <c:pt idx="35840">
                  <c:v>32.165232687400277</c:v>
                </c:pt>
                <c:pt idx="35841">
                  <c:v>29.674093373186366</c:v>
                </c:pt>
                <c:pt idx="35842">
                  <c:v>30.68988833590695</c:v>
                </c:pt>
                <c:pt idx="35843">
                  <c:v>30.340061624035851</c:v>
                </c:pt>
                <c:pt idx="35844">
                  <c:v>24.387586728989476</c:v>
                </c:pt>
                <c:pt idx="35845">
                  <c:v>34.616058524053365</c:v>
                </c:pt>
                <c:pt idx="35846">
                  <c:v>36.101894370590387</c:v>
                </c:pt>
                <c:pt idx="35847">
                  <c:v>53.784742242644882</c:v>
                </c:pt>
                <c:pt idx="35848">
                  <c:v>18.470915494927219</c:v>
                </c:pt>
                <c:pt idx="35849">
                  <c:v>26.389067454392801</c:v>
                </c:pt>
                <c:pt idx="35850">
                  <c:v>40.705216941984865</c:v>
                </c:pt>
                <c:pt idx="35851">
                  <c:v>42.831360184259523</c:v>
                </c:pt>
                <c:pt idx="35852">
                  <c:v>38.00568670122999</c:v>
                </c:pt>
                <c:pt idx="35853">
                  <c:v>31.426779659510061</c:v>
                </c:pt>
                <c:pt idx="35854">
                  <c:v>28.511381054912334</c:v>
                </c:pt>
                <c:pt idx="35855">
                  <c:v>27.745899972765674</c:v>
                </c:pt>
                <c:pt idx="35856">
                  <c:v>40.917749020804969</c:v>
                </c:pt>
                <c:pt idx="35857">
                  <c:v>38.063590891595943</c:v>
                </c:pt>
                <c:pt idx="35858">
                  <c:v>36.062840276429284</c:v>
                </c:pt>
                <c:pt idx="35859">
                  <c:v>29.909354851429384</c:v>
                </c:pt>
                <c:pt idx="35860">
                  <c:v>43.896130967056926</c:v>
                </c:pt>
                <c:pt idx="35861">
                  <c:v>23.958661189351229</c:v>
                </c:pt>
                <c:pt idx="35862">
                  <c:v>26.424701554410717</c:v>
                </c:pt>
                <c:pt idx="35863">
                  <c:v>16.737926092911074</c:v>
                </c:pt>
                <c:pt idx="35864">
                  <c:v>22.696235143446671</c:v>
                </c:pt>
                <c:pt idx="35865">
                  <c:v>28.379484739830424</c:v>
                </c:pt>
                <c:pt idx="35866">
                  <c:v>34.488649004268993</c:v>
                </c:pt>
                <c:pt idx="35867">
                  <c:v>24.974043321715214</c:v>
                </c:pt>
                <c:pt idx="35868">
                  <c:v>28.99275751995258</c:v>
                </c:pt>
                <c:pt idx="35869">
                  <c:v>20.511932741923587</c:v>
                </c:pt>
                <c:pt idx="35870">
                  <c:v>52.842679102716687</c:v>
                </c:pt>
                <c:pt idx="35871">
                  <c:v>25.65581957054421</c:v>
                </c:pt>
                <c:pt idx="35872">
                  <c:v>21.309001700062385</c:v>
                </c:pt>
                <c:pt idx="35873">
                  <c:v>38.077435430046464</c:v>
                </c:pt>
                <c:pt idx="35874">
                  <c:v>19.389283679403089</c:v>
                </c:pt>
                <c:pt idx="35875">
                  <c:v>21.827943117243127</c:v>
                </c:pt>
                <c:pt idx="35876">
                  <c:v>31.550232940133263</c:v>
                </c:pt>
                <c:pt idx="35877">
                  <c:v>45.524829325629689</c:v>
                </c:pt>
                <c:pt idx="35878">
                  <c:v>29.981557431152901</c:v>
                </c:pt>
                <c:pt idx="35879">
                  <c:v>22.890414300842604</c:v>
                </c:pt>
                <c:pt idx="35880">
                  <c:v>40.88505590754162</c:v>
                </c:pt>
                <c:pt idx="35881">
                  <c:v>22.939711917172399</c:v>
                </c:pt>
                <c:pt idx="35882">
                  <c:v>24.071168318118019</c:v>
                </c:pt>
                <c:pt idx="35883">
                  <c:v>17.879088659333604</c:v>
                </c:pt>
                <c:pt idx="35884">
                  <c:v>29.33456688445991</c:v>
                </c:pt>
                <c:pt idx="35885">
                  <c:v>25.714230754761246</c:v>
                </c:pt>
                <c:pt idx="35886">
                  <c:v>23.421778969110541</c:v>
                </c:pt>
                <c:pt idx="35887">
                  <c:v>25.819810658089541</c:v>
                </c:pt>
                <c:pt idx="35888">
                  <c:v>25.57332047820838</c:v>
                </c:pt>
                <c:pt idx="35889">
                  <c:v>31.705514045997326</c:v>
                </c:pt>
                <c:pt idx="35890">
                  <c:v>30.862671221562273</c:v>
                </c:pt>
                <c:pt idx="35891">
                  <c:v>26.085574616352716</c:v>
                </c:pt>
                <c:pt idx="35892">
                  <c:v>27.681312798944735</c:v>
                </c:pt>
                <c:pt idx="35893">
                  <c:v>43.051269803212264</c:v>
                </c:pt>
                <c:pt idx="35894">
                  <c:v>30.332767032071509</c:v>
                </c:pt>
                <c:pt idx="35895">
                  <c:v>24.169262700086332</c:v>
                </c:pt>
                <c:pt idx="35896">
                  <c:v>26.653324738967363</c:v>
                </c:pt>
                <c:pt idx="35897">
                  <c:v>26.339404678742543</c:v>
                </c:pt>
                <c:pt idx="35898">
                  <c:v>54.024199111177161</c:v>
                </c:pt>
                <c:pt idx="35899">
                  <c:v>29.309035822927004</c:v>
                </c:pt>
                <c:pt idx="35900">
                  <c:v>32.641326024967341</c:v>
                </c:pt>
                <c:pt idx="35901">
                  <c:v>51.472362753013506</c:v>
                </c:pt>
                <c:pt idx="35902">
                  <c:v>52.15202549763471</c:v>
                </c:pt>
                <c:pt idx="35903">
                  <c:v>51.939227130697901</c:v>
                </c:pt>
                <c:pt idx="35904">
                  <c:v>31.19515120606971</c:v>
                </c:pt>
                <c:pt idx="35905">
                  <c:v>25.393323371265694</c:v>
                </c:pt>
                <c:pt idx="35906">
                  <c:v>48.852368498106472</c:v>
                </c:pt>
                <c:pt idx="35907">
                  <c:v>49.943838787451043</c:v>
                </c:pt>
                <c:pt idx="35908">
                  <c:v>45.606930311723872</c:v>
                </c:pt>
                <c:pt idx="35909">
                  <c:v>32.523985956795187</c:v>
                </c:pt>
                <c:pt idx="35910">
                  <c:v>27.497726711193515</c:v>
                </c:pt>
                <c:pt idx="35911">
                  <c:v>19.293896869753205</c:v>
                </c:pt>
                <c:pt idx="35912">
                  <c:v>23.843344930257068</c:v>
                </c:pt>
                <c:pt idx="35913">
                  <c:v>22.969951081977602</c:v>
                </c:pt>
                <c:pt idx="35914">
                  <c:v>31.342472210670273</c:v>
                </c:pt>
                <c:pt idx="35915">
                  <c:v>36.589238297234566</c:v>
                </c:pt>
                <c:pt idx="35916">
                  <c:v>21.056502306700999</c:v>
                </c:pt>
                <c:pt idx="35917">
                  <c:v>33.187402109017142</c:v>
                </c:pt>
                <c:pt idx="35918">
                  <c:v>26.665246457673465</c:v>
                </c:pt>
                <c:pt idx="35919">
                  <c:v>23.718797361628404</c:v>
                </c:pt>
                <c:pt idx="35920">
                  <c:v>43.579906125790657</c:v>
                </c:pt>
                <c:pt idx="35921">
                  <c:v>35.478251009415445</c:v>
                </c:pt>
                <c:pt idx="35922">
                  <c:v>42.70683347100109</c:v>
                </c:pt>
                <c:pt idx="35923">
                  <c:v>23.272692324715536</c:v>
                </c:pt>
                <c:pt idx="35924">
                  <c:v>22.641295153447221</c:v>
                </c:pt>
                <c:pt idx="35925">
                  <c:v>27.131161628260877</c:v>
                </c:pt>
                <c:pt idx="35926">
                  <c:v>26.831076456588825</c:v>
                </c:pt>
                <c:pt idx="35927">
                  <c:v>32.251040275857434</c:v>
                </c:pt>
                <c:pt idx="35928">
                  <c:v>27.187953946188944</c:v>
                </c:pt>
                <c:pt idx="35929">
                  <c:v>21.193662807967414</c:v>
                </c:pt>
                <c:pt idx="35930">
                  <c:v>25.048086252815462</c:v>
                </c:pt>
                <c:pt idx="35931">
                  <c:v>28.620983584849387</c:v>
                </c:pt>
                <c:pt idx="35932">
                  <c:v>54.84693617737608</c:v>
                </c:pt>
                <c:pt idx="35933">
                  <c:v>37.68239160688708</c:v>
                </c:pt>
                <c:pt idx="35934">
                  <c:v>27.042081411373147</c:v>
                </c:pt>
                <c:pt idx="35935">
                  <c:v>26.545845177893593</c:v>
                </c:pt>
                <c:pt idx="35936">
                  <c:v>29.169168018104727</c:v>
                </c:pt>
                <c:pt idx="35937">
                  <c:v>36.901862186078979</c:v>
                </c:pt>
                <c:pt idx="35938">
                  <c:v>26.288118585622328</c:v>
                </c:pt>
                <c:pt idx="35939">
                  <c:v>15.887523988428853</c:v>
                </c:pt>
                <c:pt idx="35940">
                  <c:v>21.949410600733529</c:v>
                </c:pt>
                <c:pt idx="35941">
                  <c:v>21.265883238259015</c:v>
                </c:pt>
                <c:pt idx="35942">
                  <c:v>19.68809313731504</c:v>
                </c:pt>
                <c:pt idx="35943">
                  <c:v>39.553608611297861</c:v>
                </c:pt>
                <c:pt idx="35944">
                  <c:v>29.764764634950982</c:v>
                </c:pt>
                <c:pt idx="35945">
                  <c:v>48.103568141243983</c:v>
                </c:pt>
                <c:pt idx="35946">
                  <c:v>22.729145340883338</c:v>
                </c:pt>
                <c:pt idx="35947">
                  <c:v>29.240172794619493</c:v>
                </c:pt>
                <c:pt idx="35948">
                  <c:v>33.545661236201042</c:v>
                </c:pt>
                <c:pt idx="35949">
                  <c:v>44.692868033951562</c:v>
                </c:pt>
                <c:pt idx="35950">
                  <c:v>35.123490844148996</c:v>
                </c:pt>
                <c:pt idx="35951">
                  <c:v>21.559507441017253</c:v>
                </c:pt>
                <c:pt idx="35952">
                  <c:v>29.835941016614999</c:v>
                </c:pt>
                <c:pt idx="35953">
                  <c:v>27.012080969993512</c:v>
                </c:pt>
                <c:pt idx="35954">
                  <c:v>31.101459741555075</c:v>
                </c:pt>
                <c:pt idx="35955">
                  <c:v>52.616346192856341</c:v>
                </c:pt>
                <c:pt idx="35956">
                  <c:v>26.462114247032812</c:v>
                </c:pt>
                <c:pt idx="35957">
                  <c:v>23.784537265189211</c:v>
                </c:pt>
                <c:pt idx="35958">
                  <c:v>30.386517332897608</c:v>
                </c:pt>
                <c:pt idx="35959">
                  <c:v>27.832973498616056</c:v>
                </c:pt>
                <c:pt idx="35960">
                  <c:v>30.613261231395938</c:v>
                </c:pt>
                <c:pt idx="35961">
                  <c:v>37.263001536288684</c:v>
                </c:pt>
                <c:pt idx="35962">
                  <c:v>41.976574475236937</c:v>
                </c:pt>
                <c:pt idx="35963">
                  <c:v>41.568817776390404</c:v>
                </c:pt>
                <c:pt idx="35964">
                  <c:v>35.633640527034373</c:v>
                </c:pt>
                <c:pt idx="35965">
                  <c:v>29.893712878100384</c:v>
                </c:pt>
                <c:pt idx="35966">
                  <c:v>56.189394848337876</c:v>
                </c:pt>
                <c:pt idx="35967">
                  <c:v>55.85881021435771</c:v>
                </c:pt>
                <c:pt idx="35968">
                  <c:v>26.185068471078715</c:v>
                </c:pt>
                <c:pt idx="35969">
                  <c:v>27.361211867021865</c:v>
                </c:pt>
                <c:pt idx="35970">
                  <c:v>55.874944492413761</c:v>
                </c:pt>
                <c:pt idx="35971">
                  <c:v>27.187211682518544</c:v>
                </c:pt>
                <c:pt idx="35972">
                  <c:v>38.230120800473173</c:v>
                </c:pt>
                <c:pt idx="35973">
                  <c:v>33.999145428498373</c:v>
                </c:pt>
                <c:pt idx="35974">
                  <c:v>25.946447610761538</c:v>
                </c:pt>
                <c:pt idx="35975">
                  <c:v>28.992162701832303</c:v>
                </c:pt>
                <c:pt idx="35976">
                  <c:v>29.242814923654894</c:v>
                </c:pt>
                <c:pt idx="35977">
                  <c:v>24.95412642726318</c:v>
                </c:pt>
                <c:pt idx="35978">
                  <c:v>28.087905982310986</c:v>
                </c:pt>
                <c:pt idx="35979">
                  <c:v>36.318790146401398</c:v>
                </c:pt>
                <c:pt idx="35980">
                  <c:v>20.255305450937072</c:v>
                </c:pt>
                <c:pt idx="35981">
                  <c:v>41.360236830810919</c:v>
                </c:pt>
                <c:pt idx="35982">
                  <c:v>27.96260592111544</c:v>
                </c:pt>
                <c:pt idx="35983">
                  <c:v>26.376898439313795</c:v>
                </c:pt>
                <c:pt idx="35984">
                  <c:v>29.456438997512244</c:v>
                </c:pt>
                <c:pt idx="35985">
                  <c:v>38.55301651964384</c:v>
                </c:pt>
                <c:pt idx="35986">
                  <c:v>52.502847700741441</c:v>
                </c:pt>
                <c:pt idx="35987">
                  <c:v>18.383232876718111</c:v>
                </c:pt>
                <c:pt idx="35988">
                  <c:v>18.852337428836215</c:v>
                </c:pt>
                <c:pt idx="35989">
                  <c:v>27.533384556267986</c:v>
                </c:pt>
                <c:pt idx="35990">
                  <c:v>38.675487386175547</c:v>
                </c:pt>
                <c:pt idx="35991">
                  <c:v>27.407101682013586</c:v>
                </c:pt>
                <c:pt idx="35992">
                  <c:v>26.299235445220333</c:v>
                </c:pt>
                <c:pt idx="35993">
                  <c:v>23.506305153994404</c:v>
                </c:pt>
                <c:pt idx="35994">
                  <c:v>61.424274066129648</c:v>
                </c:pt>
                <c:pt idx="35995">
                  <c:v>55.154433784594673</c:v>
                </c:pt>
                <c:pt idx="35996">
                  <c:v>23.675054924342898</c:v>
                </c:pt>
                <c:pt idx="35997">
                  <c:v>49.21878446372353</c:v>
                </c:pt>
                <c:pt idx="35998">
                  <c:v>24.275151516633237</c:v>
                </c:pt>
                <c:pt idx="35999">
                  <c:v>30.766903064151407</c:v>
                </c:pt>
                <c:pt idx="36000">
                  <c:v>26.367104648889182</c:v>
                </c:pt>
                <c:pt idx="36001">
                  <c:v>26.045163795769639</c:v>
                </c:pt>
                <c:pt idx="36002">
                  <c:v>28.032958812677876</c:v>
                </c:pt>
                <c:pt idx="36003">
                  <c:v>33.228058380712525</c:v>
                </c:pt>
                <c:pt idx="36004">
                  <c:v>44.103133396565056</c:v>
                </c:pt>
                <c:pt idx="36005">
                  <c:v>29.659595138207663</c:v>
                </c:pt>
                <c:pt idx="36006">
                  <c:v>36.788545194500024</c:v>
                </c:pt>
                <c:pt idx="36007">
                  <c:v>20.350561227443681</c:v>
                </c:pt>
                <c:pt idx="36008">
                  <c:v>26.012400052187115</c:v>
                </c:pt>
                <c:pt idx="36009">
                  <c:v>33.390605505120938</c:v>
                </c:pt>
                <c:pt idx="36010">
                  <c:v>27.273751246749445</c:v>
                </c:pt>
                <c:pt idx="36011">
                  <c:v>25.91687038630689</c:v>
                </c:pt>
                <c:pt idx="36012">
                  <c:v>27.691129340932594</c:v>
                </c:pt>
                <c:pt idx="36013">
                  <c:v>49.504569148271017</c:v>
                </c:pt>
                <c:pt idx="36014">
                  <c:v>43.677942477136348</c:v>
                </c:pt>
                <c:pt idx="36015">
                  <c:v>30.514864502193667</c:v>
                </c:pt>
                <c:pt idx="36016">
                  <c:v>27.646717172592645</c:v>
                </c:pt>
                <c:pt idx="36017">
                  <c:v>23.332453534005758</c:v>
                </c:pt>
                <c:pt idx="36018">
                  <c:v>22.814247808481554</c:v>
                </c:pt>
                <c:pt idx="36019">
                  <c:v>27.08780411569083</c:v>
                </c:pt>
                <c:pt idx="36020">
                  <c:v>24.007850494248256</c:v>
                </c:pt>
                <c:pt idx="36021">
                  <c:v>23.918168837957698</c:v>
                </c:pt>
                <c:pt idx="36022">
                  <c:v>41.712661427136212</c:v>
                </c:pt>
                <c:pt idx="36023">
                  <c:v>45.937420065474903</c:v>
                </c:pt>
                <c:pt idx="36024">
                  <c:v>27.106981753264787</c:v>
                </c:pt>
                <c:pt idx="36025">
                  <c:v>24.477894686773563</c:v>
                </c:pt>
                <c:pt idx="36026">
                  <c:v>20.41282493976226</c:v>
                </c:pt>
                <c:pt idx="36027">
                  <c:v>54.807025254848725</c:v>
                </c:pt>
                <c:pt idx="36028">
                  <c:v>44.346764746384629</c:v>
                </c:pt>
                <c:pt idx="36029">
                  <c:v>20.342113951410543</c:v>
                </c:pt>
                <c:pt idx="36030">
                  <c:v>48.424688318177871</c:v>
                </c:pt>
                <c:pt idx="36031">
                  <c:v>49.349203542700685</c:v>
                </c:pt>
                <c:pt idx="36032">
                  <c:v>32.580673271373065</c:v>
                </c:pt>
                <c:pt idx="36033">
                  <c:v>25.376810739813273</c:v>
                </c:pt>
                <c:pt idx="36034">
                  <c:v>36.575378518399475</c:v>
                </c:pt>
                <c:pt idx="36035">
                  <c:v>35.006854347260109</c:v>
                </c:pt>
                <c:pt idx="36036">
                  <c:v>22.025966293355069</c:v>
                </c:pt>
                <c:pt idx="36037">
                  <c:v>33.477049354249871</c:v>
                </c:pt>
                <c:pt idx="36038">
                  <c:v>26.489233805355362</c:v>
                </c:pt>
                <c:pt idx="36039">
                  <c:v>22.562583037971848</c:v>
                </c:pt>
                <c:pt idx="36040">
                  <c:v>32.441397743948379</c:v>
                </c:pt>
                <c:pt idx="36041">
                  <c:v>36.339668152946111</c:v>
                </c:pt>
                <c:pt idx="36042">
                  <c:v>22.411926644317035</c:v>
                </c:pt>
                <c:pt idx="36043">
                  <c:v>49.61717854561131</c:v>
                </c:pt>
                <c:pt idx="36044">
                  <c:v>30.078031209359608</c:v>
                </c:pt>
                <c:pt idx="36045">
                  <c:v>34.158207375317268</c:v>
                </c:pt>
                <c:pt idx="36046">
                  <c:v>54.555581168307519</c:v>
                </c:pt>
                <c:pt idx="36047">
                  <c:v>27.089956347745769</c:v>
                </c:pt>
                <c:pt idx="36048">
                  <c:v>27.033494177682027</c:v>
                </c:pt>
                <c:pt idx="36049">
                  <c:v>47.419593677672502</c:v>
                </c:pt>
                <c:pt idx="36050">
                  <c:v>44.032000423598376</c:v>
                </c:pt>
                <c:pt idx="36051">
                  <c:v>31.875270597779508</c:v>
                </c:pt>
                <c:pt idx="36052">
                  <c:v>25.805151353145249</c:v>
                </c:pt>
                <c:pt idx="36053">
                  <c:v>23.596498801530831</c:v>
                </c:pt>
                <c:pt idx="36054">
                  <c:v>22.721647148236642</c:v>
                </c:pt>
                <c:pt idx="36055">
                  <c:v>23.493742168836725</c:v>
                </c:pt>
                <c:pt idx="36056">
                  <c:v>30.2728984449321</c:v>
                </c:pt>
                <c:pt idx="36057">
                  <c:v>42.353002616767526</c:v>
                </c:pt>
                <c:pt idx="36058">
                  <c:v>42.340913002507293</c:v>
                </c:pt>
                <c:pt idx="36059">
                  <c:v>22.131946255280809</c:v>
                </c:pt>
                <c:pt idx="36060">
                  <c:v>26.576288726744703</c:v>
                </c:pt>
                <c:pt idx="36061">
                  <c:v>38.353254614244364</c:v>
                </c:pt>
                <c:pt idx="36062">
                  <c:v>31.356977513220983</c:v>
                </c:pt>
                <c:pt idx="36063">
                  <c:v>55.829972562033355</c:v>
                </c:pt>
                <c:pt idx="36064">
                  <c:v>25.090426121305693</c:v>
                </c:pt>
                <c:pt idx="36065">
                  <c:v>51.691441147359477</c:v>
                </c:pt>
                <c:pt idx="36066">
                  <c:v>24.741747632004113</c:v>
                </c:pt>
                <c:pt idx="36067">
                  <c:v>31.023439910875339</c:v>
                </c:pt>
                <c:pt idx="36068">
                  <c:v>16.79634615727511</c:v>
                </c:pt>
                <c:pt idx="36069">
                  <c:v>48.050439175557898</c:v>
                </c:pt>
                <c:pt idx="36070">
                  <c:v>27.270706780599209</c:v>
                </c:pt>
                <c:pt idx="36071">
                  <c:v>32.362655594975863</c:v>
                </c:pt>
                <c:pt idx="36072">
                  <c:v>23.239571459383498</c:v>
                </c:pt>
                <c:pt idx="36073">
                  <c:v>37.740096686884421</c:v>
                </c:pt>
                <c:pt idx="36074">
                  <c:v>27.748115292149869</c:v>
                </c:pt>
                <c:pt idx="36075">
                  <c:v>33.573241868935327</c:v>
                </c:pt>
                <c:pt idx="36076">
                  <c:v>28.512190153380189</c:v>
                </c:pt>
                <c:pt idx="36077">
                  <c:v>37.447367378822413</c:v>
                </c:pt>
                <c:pt idx="36078">
                  <c:v>24.028267170375038</c:v>
                </c:pt>
                <c:pt idx="36079">
                  <c:v>32.593111365176554</c:v>
                </c:pt>
                <c:pt idx="36080">
                  <c:v>24.525594514374767</c:v>
                </c:pt>
                <c:pt idx="36081">
                  <c:v>28.733218970861245</c:v>
                </c:pt>
                <c:pt idx="36082">
                  <c:v>26.818345030542073</c:v>
                </c:pt>
                <c:pt idx="36083">
                  <c:v>31.834870170381542</c:v>
                </c:pt>
                <c:pt idx="36084">
                  <c:v>22.134966012489919</c:v>
                </c:pt>
                <c:pt idx="36085">
                  <c:v>25.974131737855725</c:v>
                </c:pt>
                <c:pt idx="36086">
                  <c:v>58.05501614580065</c:v>
                </c:pt>
                <c:pt idx="36087">
                  <c:v>31.227614692529613</c:v>
                </c:pt>
                <c:pt idx="36088">
                  <c:v>58.875625261953935</c:v>
                </c:pt>
                <c:pt idx="36089">
                  <c:v>26.441097855249463</c:v>
                </c:pt>
                <c:pt idx="36090">
                  <c:v>28.59887902247123</c:v>
                </c:pt>
                <c:pt idx="36091">
                  <c:v>32.950556464231212</c:v>
                </c:pt>
                <c:pt idx="36092">
                  <c:v>23.742417363902714</c:v>
                </c:pt>
                <c:pt idx="36093">
                  <c:v>38.693732837395551</c:v>
                </c:pt>
                <c:pt idx="36094">
                  <c:v>24.39456773574387</c:v>
                </c:pt>
                <c:pt idx="36095">
                  <c:v>61.106167077575329</c:v>
                </c:pt>
                <c:pt idx="36096">
                  <c:v>25.661937466336326</c:v>
                </c:pt>
                <c:pt idx="36097">
                  <c:v>40.9639894351427</c:v>
                </c:pt>
                <c:pt idx="36098">
                  <c:v>23.102423107269217</c:v>
                </c:pt>
                <c:pt idx="36099">
                  <c:v>27.633386042545716</c:v>
                </c:pt>
                <c:pt idx="36100">
                  <c:v>28.49181583212355</c:v>
                </c:pt>
                <c:pt idx="36101">
                  <c:v>28.960641291272921</c:v>
                </c:pt>
                <c:pt idx="36102">
                  <c:v>22.075786199698811</c:v>
                </c:pt>
                <c:pt idx="36103">
                  <c:v>31.868165453464584</c:v>
                </c:pt>
                <c:pt idx="36104">
                  <c:v>18.374465911267059</c:v>
                </c:pt>
                <c:pt idx="36105">
                  <c:v>46.376207568882215</c:v>
                </c:pt>
                <c:pt idx="36106">
                  <c:v>29.983891415859205</c:v>
                </c:pt>
                <c:pt idx="36107">
                  <c:v>31.73773291197115</c:v>
                </c:pt>
                <c:pt idx="36108">
                  <c:v>29.752221437296249</c:v>
                </c:pt>
                <c:pt idx="36109">
                  <c:v>29.39175099081767</c:v>
                </c:pt>
                <c:pt idx="36110">
                  <c:v>43.821649462393665</c:v>
                </c:pt>
                <c:pt idx="36111">
                  <c:v>30.508187689506293</c:v>
                </c:pt>
                <c:pt idx="36112">
                  <c:v>28.680479479103617</c:v>
                </c:pt>
                <c:pt idx="36113">
                  <c:v>26.710359928719512</c:v>
                </c:pt>
                <c:pt idx="36114">
                  <c:v>18.815262313476968</c:v>
                </c:pt>
                <c:pt idx="36115">
                  <c:v>24.47295466406916</c:v>
                </c:pt>
                <c:pt idx="36116">
                  <c:v>43.441448783522382</c:v>
                </c:pt>
                <c:pt idx="36117">
                  <c:v>26.876203684604132</c:v>
                </c:pt>
                <c:pt idx="36118">
                  <c:v>22.775292151030474</c:v>
                </c:pt>
                <c:pt idx="36119">
                  <c:v>16.511753767471298</c:v>
                </c:pt>
                <c:pt idx="36120">
                  <c:v>18.783642413815564</c:v>
                </c:pt>
                <c:pt idx="36121">
                  <c:v>19.626004170646318</c:v>
                </c:pt>
                <c:pt idx="36122">
                  <c:v>20.565354969229237</c:v>
                </c:pt>
                <c:pt idx="36123">
                  <c:v>22.197006032122815</c:v>
                </c:pt>
                <c:pt idx="36124">
                  <c:v>19.982517161047813</c:v>
                </c:pt>
                <c:pt idx="36125">
                  <c:v>34.635678083624711</c:v>
                </c:pt>
                <c:pt idx="36126">
                  <c:v>23.049976424547296</c:v>
                </c:pt>
                <c:pt idx="36127">
                  <c:v>30.898142672957803</c:v>
                </c:pt>
                <c:pt idx="36128">
                  <c:v>25.414023928503227</c:v>
                </c:pt>
                <c:pt idx="36129">
                  <c:v>39.82052767461208</c:v>
                </c:pt>
                <c:pt idx="36130">
                  <c:v>20.966306215611201</c:v>
                </c:pt>
                <c:pt idx="36131">
                  <c:v>27.747934925122784</c:v>
                </c:pt>
                <c:pt idx="36132">
                  <c:v>34.418883085853622</c:v>
                </c:pt>
                <c:pt idx="36133">
                  <c:v>30.687497653555681</c:v>
                </c:pt>
                <c:pt idx="36134">
                  <c:v>30.925558076500991</c:v>
                </c:pt>
                <c:pt idx="36135">
                  <c:v>46.132373545466585</c:v>
                </c:pt>
                <c:pt idx="36136">
                  <c:v>28.617662614895046</c:v>
                </c:pt>
                <c:pt idx="36137">
                  <c:v>45.639604248038005</c:v>
                </c:pt>
                <c:pt idx="36138">
                  <c:v>36.430517066946543</c:v>
                </c:pt>
                <c:pt idx="36139">
                  <c:v>35.651900980256869</c:v>
                </c:pt>
                <c:pt idx="36140">
                  <c:v>44.979190642711764</c:v>
                </c:pt>
                <c:pt idx="36141">
                  <c:v>24.837284088106564</c:v>
                </c:pt>
                <c:pt idx="36142">
                  <c:v>37.119492805246303</c:v>
                </c:pt>
                <c:pt idx="36143">
                  <c:v>28.005121288117699</c:v>
                </c:pt>
                <c:pt idx="36144">
                  <c:v>24.001262985302262</c:v>
                </c:pt>
                <c:pt idx="36145">
                  <c:v>26.811507042363509</c:v>
                </c:pt>
                <c:pt idx="36146">
                  <c:v>51.315800814857951</c:v>
                </c:pt>
                <c:pt idx="36147">
                  <c:v>28.788499269156439</c:v>
                </c:pt>
                <c:pt idx="36148">
                  <c:v>54.205096012998993</c:v>
                </c:pt>
                <c:pt idx="36149">
                  <c:v>47.750760345751011</c:v>
                </c:pt>
                <c:pt idx="36150">
                  <c:v>47.344207323111277</c:v>
                </c:pt>
                <c:pt idx="36151">
                  <c:v>41.855910305137961</c:v>
                </c:pt>
                <c:pt idx="36152">
                  <c:v>33.1718099260084</c:v>
                </c:pt>
                <c:pt idx="36153">
                  <c:v>35.561462462339883</c:v>
                </c:pt>
                <c:pt idx="36154">
                  <c:v>22.723061471389602</c:v>
                </c:pt>
                <c:pt idx="36155">
                  <c:v>31.375690946278425</c:v>
                </c:pt>
                <c:pt idx="36156">
                  <c:v>30.328836806490504</c:v>
                </c:pt>
                <c:pt idx="36157">
                  <c:v>46.638638589647442</c:v>
                </c:pt>
                <c:pt idx="36158">
                  <c:v>27.432635003773001</c:v>
                </c:pt>
                <c:pt idx="36159">
                  <c:v>17.93831383628282</c:v>
                </c:pt>
                <c:pt idx="36160">
                  <c:v>29.718248146453398</c:v>
                </c:pt>
                <c:pt idx="36161">
                  <c:v>35.927972072410569</c:v>
                </c:pt>
                <c:pt idx="36162">
                  <c:v>25.929273108176339</c:v>
                </c:pt>
                <c:pt idx="36163">
                  <c:v>43.434867375740225</c:v>
                </c:pt>
                <c:pt idx="36164">
                  <c:v>27.71178938360141</c:v>
                </c:pt>
                <c:pt idx="36165">
                  <c:v>20.789141849787086</c:v>
                </c:pt>
                <c:pt idx="36166">
                  <c:v>30.085896542728694</c:v>
                </c:pt>
                <c:pt idx="36167">
                  <c:v>26.595917179035126</c:v>
                </c:pt>
                <c:pt idx="36168">
                  <c:v>58.507385083756773</c:v>
                </c:pt>
                <c:pt idx="36169">
                  <c:v>27.085283335930878</c:v>
                </c:pt>
                <c:pt idx="36170">
                  <c:v>50.045932527557532</c:v>
                </c:pt>
                <c:pt idx="36171">
                  <c:v>25.913543952852915</c:v>
                </c:pt>
                <c:pt idx="36172">
                  <c:v>50.162150366380189</c:v>
                </c:pt>
                <c:pt idx="36173">
                  <c:v>22.338079017885448</c:v>
                </c:pt>
                <c:pt idx="36174">
                  <c:v>31.134602601837759</c:v>
                </c:pt>
                <c:pt idx="36175">
                  <c:v>18.891497030514827</c:v>
                </c:pt>
                <c:pt idx="36176">
                  <c:v>18.297552801066956</c:v>
                </c:pt>
                <c:pt idx="36177">
                  <c:v>20.209171355705035</c:v>
                </c:pt>
                <c:pt idx="36178">
                  <c:v>62.005390202799028</c:v>
                </c:pt>
                <c:pt idx="36179">
                  <c:v>19.018367547435762</c:v>
                </c:pt>
                <c:pt idx="36180">
                  <c:v>21.295435969406295</c:v>
                </c:pt>
                <c:pt idx="36181">
                  <c:v>28.035568432505823</c:v>
                </c:pt>
                <c:pt idx="36182">
                  <c:v>21.211174359474782</c:v>
                </c:pt>
                <c:pt idx="36183">
                  <c:v>49.436081643110604</c:v>
                </c:pt>
                <c:pt idx="36184">
                  <c:v>24.164441131357577</c:v>
                </c:pt>
                <c:pt idx="36185">
                  <c:v>30.582714667490215</c:v>
                </c:pt>
                <c:pt idx="36186">
                  <c:v>32.418152244852529</c:v>
                </c:pt>
                <c:pt idx="36187">
                  <c:v>18.510806798649661</c:v>
                </c:pt>
                <c:pt idx="36188">
                  <c:v>21.378447682983797</c:v>
                </c:pt>
                <c:pt idx="36189">
                  <c:v>18.946137923166564</c:v>
                </c:pt>
                <c:pt idx="36190">
                  <c:v>27.962411393530427</c:v>
                </c:pt>
                <c:pt idx="36191">
                  <c:v>16.907675839007158</c:v>
                </c:pt>
                <c:pt idx="36192">
                  <c:v>28.704689249278044</c:v>
                </c:pt>
                <c:pt idx="36193">
                  <c:v>27.54374141716492</c:v>
                </c:pt>
                <c:pt idx="36194">
                  <c:v>24.634848015534747</c:v>
                </c:pt>
                <c:pt idx="36195">
                  <c:v>36.6683010859891</c:v>
                </c:pt>
                <c:pt idx="36196">
                  <c:v>30.798585654278575</c:v>
                </c:pt>
                <c:pt idx="36197">
                  <c:v>25.952726598805249</c:v>
                </c:pt>
                <c:pt idx="36198">
                  <c:v>30.414918142179808</c:v>
                </c:pt>
                <c:pt idx="36199">
                  <c:v>28.882882549292532</c:v>
                </c:pt>
                <c:pt idx="36200">
                  <c:v>32.46155483015724</c:v>
                </c:pt>
                <c:pt idx="36201">
                  <c:v>27.725696097379899</c:v>
                </c:pt>
                <c:pt idx="36202">
                  <c:v>19.805041001264442</c:v>
                </c:pt>
                <c:pt idx="36203">
                  <c:v>26.592737160549383</c:v>
                </c:pt>
                <c:pt idx="36204">
                  <c:v>23.65444715544497</c:v>
                </c:pt>
                <c:pt idx="36205">
                  <c:v>49.580776664360897</c:v>
                </c:pt>
                <c:pt idx="36206">
                  <c:v>23.366914866424985</c:v>
                </c:pt>
                <c:pt idx="36207">
                  <c:v>21.781423019705947</c:v>
                </c:pt>
                <c:pt idx="36208">
                  <c:v>20.607594509653847</c:v>
                </c:pt>
                <c:pt idx="36209">
                  <c:v>24.019179437267251</c:v>
                </c:pt>
                <c:pt idx="36210">
                  <c:v>37.230706805482527</c:v>
                </c:pt>
                <c:pt idx="36211">
                  <c:v>50.146807799464725</c:v>
                </c:pt>
                <c:pt idx="36212">
                  <c:v>23.392373469642038</c:v>
                </c:pt>
                <c:pt idx="36213">
                  <c:v>22.922216238325852</c:v>
                </c:pt>
                <c:pt idx="36214">
                  <c:v>21.923494842219753</c:v>
                </c:pt>
                <c:pt idx="36215">
                  <c:v>24.515853966527153</c:v>
                </c:pt>
                <c:pt idx="36216">
                  <c:v>28.724144015506095</c:v>
                </c:pt>
                <c:pt idx="36217">
                  <c:v>32.461625963859262</c:v>
                </c:pt>
                <c:pt idx="36218">
                  <c:v>55.465831262924276</c:v>
                </c:pt>
                <c:pt idx="36219">
                  <c:v>22.280014535339049</c:v>
                </c:pt>
                <c:pt idx="36220">
                  <c:v>65.969502420282822</c:v>
                </c:pt>
                <c:pt idx="36221">
                  <c:v>31.787851471224879</c:v>
                </c:pt>
                <c:pt idx="36222">
                  <c:v>30.405028384955799</c:v>
                </c:pt>
                <c:pt idx="36223">
                  <c:v>23.557773574864029</c:v>
                </c:pt>
                <c:pt idx="36224">
                  <c:v>26.339009972729563</c:v>
                </c:pt>
                <c:pt idx="36225">
                  <c:v>21.897690350174191</c:v>
                </c:pt>
                <c:pt idx="36226">
                  <c:v>57.822561711072034</c:v>
                </c:pt>
                <c:pt idx="36227">
                  <c:v>36.218543020181315</c:v>
                </c:pt>
                <c:pt idx="36228">
                  <c:v>21.525504505638764</c:v>
                </c:pt>
                <c:pt idx="36229">
                  <c:v>31.930117866618748</c:v>
                </c:pt>
                <c:pt idx="36230">
                  <c:v>26.322150809261803</c:v>
                </c:pt>
                <c:pt idx="36231">
                  <c:v>31.643556549792368</c:v>
                </c:pt>
                <c:pt idx="36232">
                  <c:v>27.233006750391414</c:v>
                </c:pt>
                <c:pt idx="36233">
                  <c:v>31.698991738682675</c:v>
                </c:pt>
                <c:pt idx="36234">
                  <c:v>51.793732168298241</c:v>
                </c:pt>
                <c:pt idx="36235">
                  <c:v>21.512440243422205</c:v>
                </c:pt>
                <c:pt idx="36236">
                  <c:v>19.702509398797798</c:v>
                </c:pt>
                <c:pt idx="36237">
                  <c:v>31.319020562227699</c:v>
                </c:pt>
                <c:pt idx="36238">
                  <c:v>18.462254547877372</c:v>
                </c:pt>
                <c:pt idx="36239">
                  <c:v>42.345930245882244</c:v>
                </c:pt>
                <c:pt idx="36240">
                  <c:v>23.367194534011219</c:v>
                </c:pt>
                <c:pt idx="36241">
                  <c:v>30.652190949553969</c:v>
                </c:pt>
                <c:pt idx="36242">
                  <c:v>32.380067802602241</c:v>
                </c:pt>
                <c:pt idx="36243">
                  <c:v>40.232099120340742</c:v>
                </c:pt>
                <c:pt idx="36244">
                  <c:v>24.827984221235244</c:v>
                </c:pt>
                <c:pt idx="36245">
                  <c:v>25.89212901578351</c:v>
                </c:pt>
                <c:pt idx="36246">
                  <c:v>32.401483201774738</c:v>
                </c:pt>
                <c:pt idx="36247">
                  <c:v>31.516167073233703</c:v>
                </c:pt>
                <c:pt idx="36248">
                  <c:v>36.274593197202101</c:v>
                </c:pt>
                <c:pt idx="36249">
                  <c:v>25.048792994119367</c:v>
                </c:pt>
                <c:pt idx="36250">
                  <c:v>18.533573838805513</c:v>
                </c:pt>
                <c:pt idx="36251">
                  <c:v>43.073479669028771</c:v>
                </c:pt>
                <c:pt idx="36252">
                  <c:v>23.091011829097084</c:v>
                </c:pt>
                <c:pt idx="36253">
                  <c:v>46.646446600904433</c:v>
                </c:pt>
                <c:pt idx="36254">
                  <c:v>21.764374861972886</c:v>
                </c:pt>
                <c:pt idx="36255">
                  <c:v>47.562568953836305</c:v>
                </c:pt>
                <c:pt idx="36256">
                  <c:v>29.123009933012394</c:v>
                </c:pt>
                <c:pt idx="36257">
                  <c:v>25.746201445863136</c:v>
                </c:pt>
                <c:pt idx="36258">
                  <c:v>29.250054045422679</c:v>
                </c:pt>
                <c:pt idx="36259">
                  <c:v>24.468893966052782</c:v>
                </c:pt>
                <c:pt idx="36260">
                  <c:v>34.935778200848439</c:v>
                </c:pt>
                <c:pt idx="36261">
                  <c:v>28.935728466380596</c:v>
                </c:pt>
                <c:pt idx="36262">
                  <c:v>54.711905836584663</c:v>
                </c:pt>
                <c:pt idx="36263">
                  <c:v>26.747403156776805</c:v>
                </c:pt>
                <c:pt idx="36264">
                  <c:v>48.268000246868375</c:v>
                </c:pt>
                <c:pt idx="36265">
                  <c:v>42.740113072090509</c:v>
                </c:pt>
                <c:pt idx="36266">
                  <c:v>24.677616881117178</c:v>
                </c:pt>
                <c:pt idx="36267">
                  <c:v>29.869520295777154</c:v>
                </c:pt>
                <c:pt idx="36268">
                  <c:v>32.690069244201865</c:v>
                </c:pt>
                <c:pt idx="36269">
                  <c:v>27.79913447686792</c:v>
                </c:pt>
                <c:pt idx="36270">
                  <c:v>34.028353162689868</c:v>
                </c:pt>
                <c:pt idx="36271">
                  <c:v>28.202784962946637</c:v>
                </c:pt>
                <c:pt idx="36272">
                  <c:v>22.907255747509041</c:v>
                </c:pt>
                <c:pt idx="36273">
                  <c:v>24.918252684821688</c:v>
                </c:pt>
                <c:pt idx="36274">
                  <c:v>27.2363782636797</c:v>
                </c:pt>
                <c:pt idx="36275">
                  <c:v>32.053919863672022</c:v>
                </c:pt>
                <c:pt idx="36276">
                  <c:v>29.925148357843639</c:v>
                </c:pt>
                <c:pt idx="36277">
                  <c:v>37.027382224318565</c:v>
                </c:pt>
                <c:pt idx="36278">
                  <c:v>21.998529564854781</c:v>
                </c:pt>
                <c:pt idx="36279">
                  <c:v>16.994592720353371</c:v>
                </c:pt>
                <c:pt idx="36280">
                  <c:v>28.341428670565676</c:v>
                </c:pt>
                <c:pt idx="36281">
                  <c:v>16.689542608288647</c:v>
                </c:pt>
                <c:pt idx="36282">
                  <c:v>53.961211688679029</c:v>
                </c:pt>
                <c:pt idx="36283">
                  <c:v>18.887121448235739</c:v>
                </c:pt>
                <c:pt idx="36284">
                  <c:v>39.211515635975324</c:v>
                </c:pt>
                <c:pt idx="36285">
                  <c:v>27.325143095134898</c:v>
                </c:pt>
                <c:pt idx="36286">
                  <c:v>25.200574680577052</c:v>
                </c:pt>
                <c:pt idx="36287">
                  <c:v>25.897726224143138</c:v>
                </c:pt>
                <c:pt idx="36288">
                  <c:v>42.327158837074592</c:v>
                </c:pt>
                <c:pt idx="36289">
                  <c:v>40.65837161958072</c:v>
                </c:pt>
                <c:pt idx="36290">
                  <c:v>47.703240446741347</c:v>
                </c:pt>
                <c:pt idx="36291">
                  <c:v>63.671786566883455</c:v>
                </c:pt>
                <c:pt idx="36292">
                  <c:v>25.904410476394872</c:v>
                </c:pt>
                <c:pt idx="36293">
                  <c:v>29.791977725285655</c:v>
                </c:pt>
                <c:pt idx="36294">
                  <c:v>47.586853915918851</c:v>
                </c:pt>
                <c:pt idx="36295">
                  <c:v>35.321976475482252</c:v>
                </c:pt>
                <c:pt idx="36296">
                  <c:v>32.287407115274164</c:v>
                </c:pt>
                <c:pt idx="36297">
                  <c:v>26.33904169457821</c:v>
                </c:pt>
                <c:pt idx="36298">
                  <c:v>19.266976664033056</c:v>
                </c:pt>
                <c:pt idx="36299">
                  <c:v>37.019864387919824</c:v>
                </c:pt>
                <c:pt idx="36300">
                  <c:v>30.551781531331244</c:v>
                </c:pt>
                <c:pt idx="36301">
                  <c:v>27.005853392557984</c:v>
                </c:pt>
                <c:pt idx="36302">
                  <c:v>22.779412028923058</c:v>
                </c:pt>
                <c:pt idx="36303">
                  <c:v>15.176103093870251</c:v>
                </c:pt>
                <c:pt idx="36304">
                  <c:v>28.389603857167224</c:v>
                </c:pt>
                <c:pt idx="36305">
                  <c:v>20.928469591552144</c:v>
                </c:pt>
                <c:pt idx="36306">
                  <c:v>27.735813592584226</c:v>
                </c:pt>
                <c:pt idx="36307">
                  <c:v>23.041816794311604</c:v>
                </c:pt>
                <c:pt idx="36308">
                  <c:v>22.994381243666702</c:v>
                </c:pt>
                <c:pt idx="36309">
                  <c:v>23.322360961613001</c:v>
                </c:pt>
                <c:pt idx="36310">
                  <c:v>27.303734251179712</c:v>
                </c:pt>
                <c:pt idx="36311">
                  <c:v>56.74068485328749</c:v>
                </c:pt>
                <c:pt idx="36312">
                  <c:v>29.665976642883045</c:v>
                </c:pt>
                <c:pt idx="36313">
                  <c:v>37.389258567521253</c:v>
                </c:pt>
                <c:pt idx="36314">
                  <c:v>28.329458839122207</c:v>
                </c:pt>
                <c:pt idx="36315">
                  <c:v>26.436795999861943</c:v>
                </c:pt>
                <c:pt idx="36316">
                  <c:v>19.493512649091073</c:v>
                </c:pt>
                <c:pt idx="36317">
                  <c:v>30.96698319333392</c:v>
                </c:pt>
                <c:pt idx="36318">
                  <c:v>32.216742017517049</c:v>
                </c:pt>
                <c:pt idx="36319">
                  <c:v>33.155011872059546</c:v>
                </c:pt>
                <c:pt idx="36320">
                  <c:v>45.396185419786299</c:v>
                </c:pt>
                <c:pt idx="36321">
                  <c:v>26.266138595371128</c:v>
                </c:pt>
                <c:pt idx="36322">
                  <c:v>24.468207915470956</c:v>
                </c:pt>
                <c:pt idx="36323">
                  <c:v>24.036086754444188</c:v>
                </c:pt>
                <c:pt idx="36324">
                  <c:v>26.602093800962599</c:v>
                </c:pt>
                <c:pt idx="36325">
                  <c:v>23.169250129548494</c:v>
                </c:pt>
                <c:pt idx="36326">
                  <c:v>25.124013918348698</c:v>
                </c:pt>
                <c:pt idx="36327">
                  <c:v>45.00991118149895</c:v>
                </c:pt>
                <c:pt idx="36328">
                  <c:v>50.941842536737276</c:v>
                </c:pt>
                <c:pt idx="36329">
                  <c:v>25.160597047632002</c:v>
                </c:pt>
                <c:pt idx="36330">
                  <c:v>23.067400443562395</c:v>
                </c:pt>
                <c:pt idx="36331">
                  <c:v>24.720894465776283</c:v>
                </c:pt>
                <c:pt idx="36332">
                  <c:v>27.488101936046505</c:v>
                </c:pt>
                <c:pt idx="36333">
                  <c:v>24.299841512647863</c:v>
                </c:pt>
                <c:pt idx="36334">
                  <c:v>32.311982174059821</c:v>
                </c:pt>
                <c:pt idx="36335">
                  <c:v>30.333275872526393</c:v>
                </c:pt>
                <c:pt idx="36336">
                  <c:v>24.436431821955214</c:v>
                </c:pt>
                <c:pt idx="36337">
                  <c:v>18.017779360080695</c:v>
                </c:pt>
                <c:pt idx="36338">
                  <c:v>23.62374372717931</c:v>
                </c:pt>
                <c:pt idx="36339">
                  <c:v>32.026931532331254</c:v>
                </c:pt>
                <c:pt idx="36340">
                  <c:v>45.785649636661418</c:v>
                </c:pt>
                <c:pt idx="36341">
                  <c:v>26.519743294895505</c:v>
                </c:pt>
                <c:pt idx="36342">
                  <c:v>29.836422454886989</c:v>
                </c:pt>
                <c:pt idx="36343">
                  <c:v>22.968990647045374</c:v>
                </c:pt>
                <c:pt idx="36344">
                  <c:v>30.191461635801854</c:v>
                </c:pt>
                <c:pt idx="36345">
                  <c:v>50.727391271977488</c:v>
                </c:pt>
                <c:pt idx="36346">
                  <c:v>23.534303578369197</c:v>
                </c:pt>
                <c:pt idx="36347">
                  <c:v>28.410277284710126</c:v>
                </c:pt>
                <c:pt idx="36348">
                  <c:v>22.89952799591379</c:v>
                </c:pt>
                <c:pt idx="36349">
                  <c:v>24.224561962391352</c:v>
                </c:pt>
                <c:pt idx="36350">
                  <c:v>31.816702988307469</c:v>
                </c:pt>
                <c:pt idx="36351">
                  <c:v>24.120657093837004</c:v>
                </c:pt>
                <c:pt idx="36352">
                  <c:v>26.30301038735476</c:v>
                </c:pt>
                <c:pt idx="36353">
                  <c:v>24.684917321250435</c:v>
                </c:pt>
                <c:pt idx="36354">
                  <c:v>29.536956699036885</c:v>
                </c:pt>
                <c:pt idx="36355">
                  <c:v>52.703993906474004</c:v>
                </c:pt>
                <c:pt idx="36356">
                  <c:v>48.749837442984621</c:v>
                </c:pt>
                <c:pt idx="36357">
                  <c:v>26.059682212134508</c:v>
                </c:pt>
                <c:pt idx="36358">
                  <c:v>48.964596905909637</c:v>
                </c:pt>
                <c:pt idx="36359">
                  <c:v>18.378860205118905</c:v>
                </c:pt>
                <c:pt idx="36360">
                  <c:v>57.90044748260685</c:v>
                </c:pt>
                <c:pt idx="36361">
                  <c:v>29.971203755348842</c:v>
                </c:pt>
                <c:pt idx="36362">
                  <c:v>50.082217857969326</c:v>
                </c:pt>
                <c:pt idx="36363">
                  <c:v>24.472474356144264</c:v>
                </c:pt>
                <c:pt idx="36364">
                  <c:v>30.020806868270807</c:v>
                </c:pt>
                <c:pt idx="36365">
                  <c:v>38.742525109813073</c:v>
                </c:pt>
                <c:pt idx="36366">
                  <c:v>37.124644381757648</c:v>
                </c:pt>
                <c:pt idx="36367">
                  <c:v>30.056421710268552</c:v>
                </c:pt>
                <c:pt idx="36368">
                  <c:v>23.314203208513781</c:v>
                </c:pt>
                <c:pt idx="36369">
                  <c:v>46.51373695136904</c:v>
                </c:pt>
                <c:pt idx="36370">
                  <c:v>25.629639714615234</c:v>
                </c:pt>
                <c:pt idx="36371">
                  <c:v>51.035967257855596</c:v>
                </c:pt>
                <c:pt idx="36372">
                  <c:v>27.340715680258899</c:v>
                </c:pt>
                <c:pt idx="36373">
                  <c:v>22.533701125417753</c:v>
                </c:pt>
                <c:pt idx="36374">
                  <c:v>39.793393049331087</c:v>
                </c:pt>
                <c:pt idx="36375">
                  <c:v>21.793879091348156</c:v>
                </c:pt>
                <c:pt idx="36376">
                  <c:v>31.715308406519966</c:v>
                </c:pt>
                <c:pt idx="36377">
                  <c:v>30.520751665892494</c:v>
                </c:pt>
                <c:pt idx="36378">
                  <c:v>30.977617087385418</c:v>
                </c:pt>
                <c:pt idx="36379">
                  <c:v>20.175612996217485</c:v>
                </c:pt>
                <c:pt idx="36380">
                  <c:v>18.076371750237783</c:v>
                </c:pt>
                <c:pt idx="36381">
                  <c:v>38.042629586101995</c:v>
                </c:pt>
                <c:pt idx="36382">
                  <c:v>16.509757508154344</c:v>
                </c:pt>
                <c:pt idx="36383">
                  <c:v>26.989071490607234</c:v>
                </c:pt>
                <c:pt idx="36384">
                  <c:v>25.030190930698961</c:v>
                </c:pt>
                <c:pt idx="36385">
                  <c:v>38.280458185077762</c:v>
                </c:pt>
                <c:pt idx="36386">
                  <c:v>25.104706825750011</c:v>
                </c:pt>
                <c:pt idx="36387">
                  <c:v>43.435194130513977</c:v>
                </c:pt>
                <c:pt idx="36388">
                  <c:v>31.056473532801515</c:v>
                </c:pt>
                <c:pt idx="36389">
                  <c:v>23.814594666786288</c:v>
                </c:pt>
                <c:pt idx="36390">
                  <c:v>43.994472833385416</c:v>
                </c:pt>
                <c:pt idx="36391">
                  <c:v>33.576498678303963</c:v>
                </c:pt>
                <c:pt idx="36392">
                  <c:v>24.432288513191097</c:v>
                </c:pt>
                <c:pt idx="36393">
                  <c:v>32.305751581715683</c:v>
                </c:pt>
                <c:pt idx="36394">
                  <c:v>47.408038561033969</c:v>
                </c:pt>
                <c:pt idx="36395">
                  <c:v>25.715076382115264</c:v>
                </c:pt>
                <c:pt idx="36396">
                  <c:v>56.948496733440621</c:v>
                </c:pt>
                <c:pt idx="36397">
                  <c:v>37.989238168212992</c:v>
                </c:pt>
                <c:pt idx="36398">
                  <c:v>25.318338253095586</c:v>
                </c:pt>
                <c:pt idx="36399">
                  <c:v>31.795465539621382</c:v>
                </c:pt>
                <c:pt idx="36400">
                  <c:v>25.423694237191334</c:v>
                </c:pt>
                <c:pt idx="36401">
                  <c:v>40.194965468304645</c:v>
                </c:pt>
                <c:pt idx="36402">
                  <c:v>21.308701428206525</c:v>
                </c:pt>
                <c:pt idx="36403">
                  <c:v>22.552329154286291</c:v>
                </c:pt>
                <c:pt idx="36404">
                  <c:v>46.717088692936535</c:v>
                </c:pt>
                <c:pt idx="36405">
                  <c:v>21.311958390639418</c:v>
                </c:pt>
                <c:pt idx="36406">
                  <c:v>47.237964364750539</c:v>
                </c:pt>
                <c:pt idx="36407">
                  <c:v>51.072485623140885</c:v>
                </c:pt>
                <c:pt idx="36408">
                  <c:v>28.342332568766228</c:v>
                </c:pt>
                <c:pt idx="36409">
                  <c:v>24.606949547175681</c:v>
                </c:pt>
                <c:pt idx="36410">
                  <c:v>38.241755960260768</c:v>
                </c:pt>
                <c:pt idx="36411">
                  <c:v>28.078701609893173</c:v>
                </c:pt>
                <c:pt idx="36412">
                  <c:v>47.632255538393864</c:v>
                </c:pt>
                <c:pt idx="36413">
                  <c:v>45.432326897498058</c:v>
                </c:pt>
                <c:pt idx="36414">
                  <c:v>25.277243435486177</c:v>
                </c:pt>
                <c:pt idx="36415">
                  <c:v>23.564696005634673</c:v>
                </c:pt>
                <c:pt idx="36416">
                  <c:v>43.276250533267003</c:v>
                </c:pt>
                <c:pt idx="36417">
                  <c:v>22.037997012609484</c:v>
                </c:pt>
                <c:pt idx="36418">
                  <c:v>26.42929733142773</c:v>
                </c:pt>
                <c:pt idx="36419">
                  <c:v>25.836552439267411</c:v>
                </c:pt>
                <c:pt idx="36420">
                  <c:v>22.295383936342176</c:v>
                </c:pt>
                <c:pt idx="36421">
                  <c:v>32.319944982487016</c:v>
                </c:pt>
                <c:pt idx="36422">
                  <c:v>27.250412844845755</c:v>
                </c:pt>
                <c:pt idx="36423">
                  <c:v>27.26473719249158</c:v>
                </c:pt>
                <c:pt idx="36424">
                  <c:v>15.350419647677191</c:v>
                </c:pt>
                <c:pt idx="36425">
                  <c:v>22.02766941371782</c:v>
                </c:pt>
                <c:pt idx="36426">
                  <c:v>24.712152661013839</c:v>
                </c:pt>
                <c:pt idx="36427">
                  <c:v>19.091258136821189</c:v>
                </c:pt>
                <c:pt idx="36428">
                  <c:v>25.187880708193759</c:v>
                </c:pt>
                <c:pt idx="36429">
                  <c:v>20.148395068842319</c:v>
                </c:pt>
                <c:pt idx="36430">
                  <c:v>21.411172489733474</c:v>
                </c:pt>
                <c:pt idx="36431">
                  <c:v>25.389121879260824</c:v>
                </c:pt>
                <c:pt idx="36432">
                  <c:v>45.890025886347523</c:v>
                </c:pt>
                <c:pt idx="36433">
                  <c:v>30.364226711345101</c:v>
                </c:pt>
                <c:pt idx="36434">
                  <c:v>18.78470060708419</c:v>
                </c:pt>
                <c:pt idx="36435">
                  <c:v>28.078150699766262</c:v>
                </c:pt>
                <c:pt idx="36436">
                  <c:v>21.936892145545585</c:v>
                </c:pt>
                <c:pt idx="36437">
                  <c:v>21.09550366735737</c:v>
                </c:pt>
                <c:pt idx="36438">
                  <c:v>17.314726508007901</c:v>
                </c:pt>
                <c:pt idx="36439">
                  <c:v>25.025680348133715</c:v>
                </c:pt>
                <c:pt idx="36440">
                  <c:v>39.676305117731495</c:v>
                </c:pt>
                <c:pt idx="36441">
                  <c:v>25.080625173664778</c:v>
                </c:pt>
                <c:pt idx="36442">
                  <c:v>44.736061083235462</c:v>
                </c:pt>
                <c:pt idx="36443">
                  <c:v>40.769506872009288</c:v>
                </c:pt>
                <c:pt idx="36444">
                  <c:v>25.454755558831366</c:v>
                </c:pt>
                <c:pt idx="36445">
                  <c:v>34.095937775713239</c:v>
                </c:pt>
                <c:pt idx="36446">
                  <c:v>23.200085597794978</c:v>
                </c:pt>
                <c:pt idx="36447">
                  <c:v>45.011265300046503</c:v>
                </c:pt>
                <c:pt idx="36448">
                  <c:v>48.799724263862004</c:v>
                </c:pt>
                <c:pt idx="36449">
                  <c:v>28.060703705891274</c:v>
                </c:pt>
                <c:pt idx="36450">
                  <c:v>36.624693393473279</c:v>
                </c:pt>
                <c:pt idx="36451">
                  <c:v>47.282296329210332</c:v>
                </c:pt>
                <c:pt idx="36452">
                  <c:v>30.18932670497205</c:v>
                </c:pt>
                <c:pt idx="36453">
                  <c:v>32.873432560163891</c:v>
                </c:pt>
                <c:pt idx="36454">
                  <c:v>28.497277865888947</c:v>
                </c:pt>
                <c:pt idx="36455">
                  <c:v>29.388469570057644</c:v>
                </c:pt>
                <c:pt idx="36456">
                  <c:v>28.777252259579811</c:v>
                </c:pt>
                <c:pt idx="36457">
                  <c:v>21.032828811227944</c:v>
                </c:pt>
                <c:pt idx="36458">
                  <c:v>19.192117506343486</c:v>
                </c:pt>
                <c:pt idx="36459">
                  <c:v>27.013245647718136</c:v>
                </c:pt>
                <c:pt idx="36460">
                  <c:v>48.107079359310283</c:v>
                </c:pt>
                <c:pt idx="36461">
                  <c:v>25.11123976649904</c:v>
                </c:pt>
                <c:pt idx="36462">
                  <c:v>35.457085986544342</c:v>
                </c:pt>
                <c:pt idx="36463">
                  <c:v>25.921249992641549</c:v>
                </c:pt>
                <c:pt idx="36464">
                  <c:v>25.573396931584298</c:v>
                </c:pt>
                <c:pt idx="36465">
                  <c:v>45.093926248329097</c:v>
                </c:pt>
                <c:pt idx="36466">
                  <c:v>21.497376029757209</c:v>
                </c:pt>
                <c:pt idx="36467">
                  <c:v>47.753177697810671</c:v>
                </c:pt>
                <c:pt idx="36468">
                  <c:v>18.813473435825422</c:v>
                </c:pt>
                <c:pt idx="36469">
                  <c:v>24.294017021984232</c:v>
                </c:pt>
                <c:pt idx="36470">
                  <c:v>27.926260103243251</c:v>
                </c:pt>
                <c:pt idx="36471">
                  <c:v>46.969783853264786</c:v>
                </c:pt>
                <c:pt idx="36472">
                  <c:v>24.816874851146842</c:v>
                </c:pt>
                <c:pt idx="36473">
                  <c:v>26.519203531288483</c:v>
                </c:pt>
                <c:pt idx="36474">
                  <c:v>28.900161973456672</c:v>
                </c:pt>
                <c:pt idx="36475">
                  <c:v>31.892904652659496</c:v>
                </c:pt>
                <c:pt idx="36476">
                  <c:v>22.268096035780722</c:v>
                </c:pt>
                <c:pt idx="36477">
                  <c:v>19.741129609885299</c:v>
                </c:pt>
                <c:pt idx="36478">
                  <c:v>26.866033173666857</c:v>
                </c:pt>
                <c:pt idx="36479">
                  <c:v>30.569516639664659</c:v>
                </c:pt>
                <c:pt idx="36480">
                  <c:v>24.676610566192124</c:v>
                </c:pt>
                <c:pt idx="36481">
                  <c:v>32.736213126066339</c:v>
                </c:pt>
                <c:pt idx="36482">
                  <c:v>21.241851357454536</c:v>
                </c:pt>
                <c:pt idx="36483">
                  <c:v>22.400317647293431</c:v>
                </c:pt>
                <c:pt idx="36484">
                  <c:v>49.593019778220331</c:v>
                </c:pt>
                <c:pt idx="36485">
                  <c:v>30.834153863300827</c:v>
                </c:pt>
                <c:pt idx="36486">
                  <c:v>21.167747202659619</c:v>
                </c:pt>
                <c:pt idx="36487">
                  <c:v>33.955646904696145</c:v>
                </c:pt>
                <c:pt idx="36488">
                  <c:v>26.936117478556177</c:v>
                </c:pt>
                <c:pt idx="36489">
                  <c:v>32.270482523430857</c:v>
                </c:pt>
                <c:pt idx="36490">
                  <c:v>35.047908582918197</c:v>
                </c:pt>
                <c:pt idx="36491">
                  <c:v>54.240035116860604</c:v>
                </c:pt>
                <c:pt idx="36492">
                  <c:v>22.933892421346673</c:v>
                </c:pt>
                <c:pt idx="36493">
                  <c:v>25.161233261273736</c:v>
                </c:pt>
                <c:pt idx="36494">
                  <c:v>26.411700954855004</c:v>
                </c:pt>
                <c:pt idx="36495">
                  <c:v>35.291638597905902</c:v>
                </c:pt>
                <c:pt idx="36496">
                  <c:v>54.856422679035028</c:v>
                </c:pt>
                <c:pt idx="36497">
                  <c:v>24.099803329811436</c:v>
                </c:pt>
                <c:pt idx="36498">
                  <c:v>26.520563753956232</c:v>
                </c:pt>
                <c:pt idx="36499">
                  <c:v>29.681160199435752</c:v>
                </c:pt>
                <c:pt idx="36500">
                  <c:v>35.126087372418567</c:v>
                </c:pt>
                <c:pt idx="36501">
                  <c:v>26.92969854372317</c:v>
                </c:pt>
                <c:pt idx="36502">
                  <c:v>36.005693294556032</c:v>
                </c:pt>
                <c:pt idx="36503">
                  <c:v>21.269409357494901</c:v>
                </c:pt>
                <c:pt idx="36504">
                  <c:v>25.066616634052654</c:v>
                </c:pt>
                <c:pt idx="36505">
                  <c:v>26.669487405476374</c:v>
                </c:pt>
                <c:pt idx="36506">
                  <c:v>50.518655142918789</c:v>
                </c:pt>
                <c:pt idx="36507">
                  <c:v>31.815177007090554</c:v>
                </c:pt>
                <c:pt idx="36508">
                  <c:v>24.561792332480415</c:v>
                </c:pt>
                <c:pt idx="36509">
                  <c:v>41.078974213525541</c:v>
                </c:pt>
                <c:pt idx="36510">
                  <c:v>57.737291076877248</c:v>
                </c:pt>
                <c:pt idx="36511">
                  <c:v>40.765289288698582</c:v>
                </c:pt>
                <c:pt idx="36512">
                  <c:v>34.797006279288141</c:v>
                </c:pt>
                <c:pt idx="36513">
                  <c:v>22.198345715145898</c:v>
                </c:pt>
                <c:pt idx="36514">
                  <c:v>32.339339443766789</c:v>
                </c:pt>
                <c:pt idx="36515">
                  <c:v>23.039169375375167</c:v>
                </c:pt>
                <c:pt idx="36516">
                  <c:v>27.049444387710899</c:v>
                </c:pt>
                <c:pt idx="36517">
                  <c:v>23.390363927895176</c:v>
                </c:pt>
                <c:pt idx="36518">
                  <c:v>36.849146502248963</c:v>
                </c:pt>
                <c:pt idx="36519">
                  <c:v>25.075626339239335</c:v>
                </c:pt>
                <c:pt idx="36520">
                  <c:v>27.935144515862198</c:v>
                </c:pt>
                <c:pt idx="36521">
                  <c:v>19.855219233213521</c:v>
                </c:pt>
                <c:pt idx="36522">
                  <c:v>28.572668920910296</c:v>
                </c:pt>
                <c:pt idx="36523">
                  <c:v>24.706917485381211</c:v>
                </c:pt>
                <c:pt idx="36524">
                  <c:v>29.154735259917256</c:v>
                </c:pt>
                <c:pt idx="36525">
                  <c:v>20.530104905129431</c:v>
                </c:pt>
                <c:pt idx="36526">
                  <c:v>26.635972386142527</c:v>
                </c:pt>
                <c:pt idx="36527">
                  <c:v>45.216361916597819</c:v>
                </c:pt>
                <c:pt idx="36528">
                  <c:v>31.958063033942995</c:v>
                </c:pt>
                <c:pt idx="36529">
                  <c:v>18.707646663625493</c:v>
                </c:pt>
                <c:pt idx="36530">
                  <c:v>21.576332052071699</c:v>
                </c:pt>
                <c:pt idx="36531">
                  <c:v>34.967388937189867</c:v>
                </c:pt>
                <c:pt idx="36532">
                  <c:v>28.32247909042578</c:v>
                </c:pt>
                <c:pt idx="36533">
                  <c:v>25.38978647855264</c:v>
                </c:pt>
                <c:pt idx="36534">
                  <c:v>38.885406454818892</c:v>
                </c:pt>
                <c:pt idx="36535">
                  <c:v>21.210188409569515</c:v>
                </c:pt>
                <c:pt idx="36536">
                  <c:v>25.538981345929596</c:v>
                </c:pt>
                <c:pt idx="36537">
                  <c:v>24.913692922956606</c:v>
                </c:pt>
                <c:pt idx="36538">
                  <c:v>21.456006238081478</c:v>
                </c:pt>
                <c:pt idx="36539">
                  <c:v>25.075703673556234</c:v>
                </c:pt>
                <c:pt idx="36540">
                  <c:v>59.039106150597391</c:v>
                </c:pt>
                <c:pt idx="36541">
                  <c:v>30.341472106251114</c:v>
                </c:pt>
                <c:pt idx="36542">
                  <c:v>30.340292613153217</c:v>
                </c:pt>
                <c:pt idx="36543">
                  <c:v>22.391349216438211</c:v>
                </c:pt>
                <c:pt idx="36544">
                  <c:v>28.677204344418843</c:v>
                </c:pt>
                <c:pt idx="36545">
                  <c:v>27.668077700827723</c:v>
                </c:pt>
                <c:pt idx="36546">
                  <c:v>19.39406207550266</c:v>
                </c:pt>
                <c:pt idx="36547">
                  <c:v>40.223407687232289</c:v>
                </c:pt>
                <c:pt idx="36548">
                  <c:v>30.280603897719843</c:v>
                </c:pt>
                <c:pt idx="36549">
                  <c:v>26.173451457237775</c:v>
                </c:pt>
                <c:pt idx="36550">
                  <c:v>30.36536541370387</c:v>
                </c:pt>
                <c:pt idx="36551">
                  <c:v>40.865106801169489</c:v>
                </c:pt>
                <c:pt idx="36552">
                  <c:v>24.217151072280906</c:v>
                </c:pt>
                <c:pt idx="36553">
                  <c:v>19.72736128322693</c:v>
                </c:pt>
                <c:pt idx="36554">
                  <c:v>29.624716971786476</c:v>
                </c:pt>
                <c:pt idx="36555">
                  <c:v>26.85449126006764</c:v>
                </c:pt>
                <c:pt idx="36556">
                  <c:v>26.724789142841338</c:v>
                </c:pt>
                <c:pt idx="36557">
                  <c:v>45.928134655281909</c:v>
                </c:pt>
                <c:pt idx="36558">
                  <c:v>24.07617608428864</c:v>
                </c:pt>
                <c:pt idx="36559">
                  <c:v>28.542081254480596</c:v>
                </c:pt>
                <c:pt idx="36560">
                  <c:v>33.415925404191668</c:v>
                </c:pt>
                <c:pt idx="36561">
                  <c:v>29.746557575596732</c:v>
                </c:pt>
                <c:pt idx="36562">
                  <c:v>27.23415463766441</c:v>
                </c:pt>
                <c:pt idx="36563">
                  <c:v>23.698377197518539</c:v>
                </c:pt>
                <c:pt idx="36564">
                  <c:v>24.562876563378524</c:v>
                </c:pt>
                <c:pt idx="36565">
                  <c:v>23.486586512131641</c:v>
                </c:pt>
                <c:pt idx="36566">
                  <c:v>49.569980376710625</c:v>
                </c:pt>
                <c:pt idx="36567">
                  <c:v>26.415545511044122</c:v>
                </c:pt>
                <c:pt idx="36568">
                  <c:v>31.068763789960723</c:v>
                </c:pt>
                <c:pt idx="36569">
                  <c:v>28.70765153668324</c:v>
                </c:pt>
                <c:pt idx="36570">
                  <c:v>36.808880082102348</c:v>
                </c:pt>
                <c:pt idx="36571">
                  <c:v>31.20829030159581</c:v>
                </c:pt>
                <c:pt idx="36572">
                  <c:v>29.535437025615597</c:v>
                </c:pt>
                <c:pt idx="36573">
                  <c:v>30.555939675057754</c:v>
                </c:pt>
                <c:pt idx="36574">
                  <c:v>43.650419359052535</c:v>
                </c:pt>
                <c:pt idx="36575">
                  <c:v>29.133467868240569</c:v>
                </c:pt>
                <c:pt idx="36576">
                  <c:v>39.562223171380793</c:v>
                </c:pt>
                <c:pt idx="36577">
                  <c:v>44.986219741875686</c:v>
                </c:pt>
                <c:pt idx="36578">
                  <c:v>35.182019564614158</c:v>
                </c:pt>
                <c:pt idx="36579">
                  <c:v>42.388690096661961</c:v>
                </c:pt>
                <c:pt idx="36580">
                  <c:v>28.772741681612576</c:v>
                </c:pt>
                <c:pt idx="36581">
                  <c:v>21.835221597394682</c:v>
                </c:pt>
                <c:pt idx="36582">
                  <c:v>51.385128005108037</c:v>
                </c:pt>
                <c:pt idx="36583">
                  <c:v>24.415263790934816</c:v>
                </c:pt>
                <c:pt idx="36584">
                  <c:v>32.062596401540389</c:v>
                </c:pt>
                <c:pt idx="36585">
                  <c:v>19.563039822258467</c:v>
                </c:pt>
                <c:pt idx="36586">
                  <c:v>23.868559967617418</c:v>
                </c:pt>
                <c:pt idx="36587">
                  <c:v>20.791673952652012</c:v>
                </c:pt>
                <c:pt idx="36588">
                  <c:v>41.999375809186652</c:v>
                </c:pt>
                <c:pt idx="36589">
                  <c:v>24.896412449910322</c:v>
                </c:pt>
                <c:pt idx="36590">
                  <c:v>31.236033655523087</c:v>
                </c:pt>
                <c:pt idx="36591">
                  <c:v>28.251594689405501</c:v>
                </c:pt>
                <c:pt idx="36592">
                  <c:v>18.445620882456335</c:v>
                </c:pt>
                <c:pt idx="36593">
                  <c:v>15.452215108009373</c:v>
                </c:pt>
                <c:pt idx="36594">
                  <c:v>48.290702990500591</c:v>
                </c:pt>
                <c:pt idx="36595">
                  <c:v>19.083420392929703</c:v>
                </c:pt>
                <c:pt idx="36596">
                  <c:v>24.524030729742062</c:v>
                </c:pt>
                <c:pt idx="36597">
                  <c:v>26.896313027138341</c:v>
                </c:pt>
                <c:pt idx="36598">
                  <c:v>27.124822495967706</c:v>
                </c:pt>
                <c:pt idx="36599">
                  <c:v>34.411065578219485</c:v>
                </c:pt>
                <c:pt idx="36600">
                  <c:v>27.795003889986461</c:v>
                </c:pt>
                <c:pt idx="36601">
                  <c:v>42.998302201146771</c:v>
                </c:pt>
                <c:pt idx="36602">
                  <c:v>32.35578507624453</c:v>
                </c:pt>
                <c:pt idx="36603">
                  <c:v>31.545511423467612</c:v>
                </c:pt>
                <c:pt idx="36604">
                  <c:v>29.600486997436164</c:v>
                </c:pt>
                <c:pt idx="36605">
                  <c:v>30.261526349070877</c:v>
                </c:pt>
                <c:pt idx="36606">
                  <c:v>47.358372898867238</c:v>
                </c:pt>
                <c:pt idx="36607">
                  <c:v>35.723436936651765</c:v>
                </c:pt>
                <c:pt idx="36608">
                  <c:v>13.961701891340045</c:v>
                </c:pt>
                <c:pt idx="36609">
                  <c:v>26.207007024192361</c:v>
                </c:pt>
                <c:pt idx="36610">
                  <c:v>53.024933779627204</c:v>
                </c:pt>
                <c:pt idx="36611">
                  <c:v>25.196462658739335</c:v>
                </c:pt>
                <c:pt idx="36612">
                  <c:v>38.591449034997417</c:v>
                </c:pt>
                <c:pt idx="36613">
                  <c:v>33.617135949815257</c:v>
                </c:pt>
                <c:pt idx="36614">
                  <c:v>22.132600102964354</c:v>
                </c:pt>
                <c:pt idx="36615">
                  <c:v>23.693115639433366</c:v>
                </c:pt>
                <c:pt idx="36616">
                  <c:v>33.919799148702054</c:v>
                </c:pt>
                <c:pt idx="36617">
                  <c:v>28.167623692402895</c:v>
                </c:pt>
                <c:pt idx="36618">
                  <c:v>50.984788781048387</c:v>
                </c:pt>
                <c:pt idx="36619">
                  <c:v>28.180549936321345</c:v>
                </c:pt>
                <c:pt idx="36620">
                  <c:v>36.46225874908194</c:v>
                </c:pt>
                <c:pt idx="36621">
                  <c:v>26.48891137659469</c:v>
                </c:pt>
                <c:pt idx="36622">
                  <c:v>28.736546637631672</c:v>
                </c:pt>
                <c:pt idx="36623">
                  <c:v>26.426034010605356</c:v>
                </c:pt>
                <c:pt idx="36624">
                  <c:v>33.78768045952944</c:v>
                </c:pt>
                <c:pt idx="36625">
                  <c:v>20.742674957147567</c:v>
                </c:pt>
                <c:pt idx="36626">
                  <c:v>23.522779936353636</c:v>
                </c:pt>
                <c:pt idx="36627">
                  <c:v>24.588947070446309</c:v>
                </c:pt>
                <c:pt idx="36628">
                  <c:v>41.825160528262913</c:v>
                </c:pt>
                <c:pt idx="36629">
                  <c:v>30.069475146111586</c:v>
                </c:pt>
                <c:pt idx="36630">
                  <c:v>26.605015963962376</c:v>
                </c:pt>
                <c:pt idx="36631">
                  <c:v>46.580055703661934</c:v>
                </c:pt>
                <c:pt idx="36632">
                  <c:v>27.167274635180846</c:v>
                </c:pt>
                <c:pt idx="36633">
                  <c:v>27.813465866442428</c:v>
                </c:pt>
                <c:pt idx="36634">
                  <c:v>28.338817241657889</c:v>
                </c:pt>
                <c:pt idx="36635">
                  <c:v>31.797740468440075</c:v>
                </c:pt>
                <c:pt idx="36636">
                  <c:v>25.14212991814891</c:v>
                </c:pt>
                <c:pt idx="36637">
                  <c:v>32.62110226231664</c:v>
                </c:pt>
                <c:pt idx="36638">
                  <c:v>29.887873644203097</c:v>
                </c:pt>
                <c:pt idx="36639">
                  <c:v>19.840730428266987</c:v>
                </c:pt>
                <c:pt idx="36640">
                  <c:v>27.642491798767612</c:v>
                </c:pt>
                <c:pt idx="36641">
                  <c:v>32.308639572157638</c:v>
                </c:pt>
                <c:pt idx="36642">
                  <c:v>26.995667808705736</c:v>
                </c:pt>
                <c:pt idx="36643">
                  <c:v>19.25409168213606</c:v>
                </c:pt>
                <c:pt idx="36644">
                  <c:v>20.043758537895862</c:v>
                </c:pt>
                <c:pt idx="36645">
                  <c:v>20.464196481329157</c:v>
                </c:pt>
                <c:pt idx="36646">
                  <c:v>24.065915476436462</c:v>
                </c:pt>
                <c:pt idx="36647">
                  <c:v>25.06343671933049</c:v>
                </c:pt>
                <c:pt idx="36648">
                  <c:v>33.327820544218625</c:v>
                </c:pt>
                <c:pt idx="36649">
                  <c:v>50.351170290335034</c:v>
                </c:pt>
                <c:pt idx="36650">
                  <c:v>28.243601140004767</c:v>
                </c:pt>
                <c:pt idx="36651">
                  <c:v>50.852774709496586</c:v>
                </c:pt>
                <c:pt idx="36652">
                  <c:v>23.06908973015554</c:v>
                </c:pt>
                <c:pt idx="36653">
                  <c:v>44.334847707619353</c:v>
                </c:pt>
                <c:pt idx="36654">
                  <c:v>24.546487890489765</c:v>
                </c:pt>
                <c:pt idx="36655">
                  <c:v>25.225631866620642</c:v>
                </c:pt>
                <c:pt idx="36656">
                  <c:v>42.148569771821606</c:v>
                </c:pt>
                <c:pt idx="36657">
                  <c:v>52.866732880999159</c:v>
                </c:pt>
                <c:pt idx="36658">
                  <c:v>40.846840781482214</c:v>
                </c:pt>
                <c:pt idx="36659">
                  <c:v>49.420329951028776</c:v>
                </c:pt>
                <c:pt idx="36660">
                  <c:v>29.997152300822712</c:v>
                </c:pt>
                <c:pt idx="36661">
                  <c:v>24.642877661118114</c:v>
                </c:pt>
                <c:pt idx="36662">
                  <c:v>20.971961402521792</c:v>
                </c:pt>
                <c:pt idx="36663">
                  <c:v>29.670028755872323</c:v>
                </c:pt>
                <c:pt idx="36664">
                  <c:v>33.304770193700669</c:v>
                </c:pt>
                <c:pt idx="36665">
                  <c:v>27.138190773394477</c:v>
                </c:pt>
                <c:pt idx="36666">
                  <c:v>20.56891594126132</c:v>
                </c:pt>
                <c:pt idx="36667">
                  <c:v>25.856418997025049</c:v>
                </c:pt>
                <c:pt idx="36668">
                  <c:v>26.469451333898419</c:v>
                </c:pt>
                <c:pt idx="36669">
                  <c:v>44.717651746783851</c:v>
                </c:pt>
                <c:pt idx="36670">
                  <c:v>24.285011354809246</c:v>
                </c:pt>
                <c:pt idx="36671">
                  <c:v>19.723490707539955</c:v>
                </c:pt>
                <c:pt idx="36672">
                  <c:v>22.642675944930183</c:v>
                </c:pt>
                <c:pt idx="36673">
                  <c:v>25.97994458543964</c:v>
                </c:pt>
                <c:pt idx="36674">
                  <c:v>34.329465053074998</c:v>
                </c:pt>
                <c:pt idx="36675">
                  <c:v>43.664049993540772</c:v>
                </c:pt>
                <c:pt idx="36676">
                  <c:v>23.395323118964946</c:v>
                </c:pt>
                <c:pt idx="36677">
                  <c:v>44.516129845450166</c:v>
                </c:pt>
                <c:pt idx="36678">
                  <c:v>32.198557231448319</c:v>
                </c:pt>
                <c:pt idx="36679">
                  <c:v>29.738126314959505</c:v>
                </c:pt>
                <c:pt idx="36680">
                  <c:v>27.476708932726378</c:v>
                </c:pt>
                <c:pt idx="36681">
                  <c:v>52.909981545414823</c:v>
                </c:pt>
                <c:pt idx="36682">
                  <c:v>17.575228438837357</c:v>
                </c:pt>
                <c:pt idx="36683">
                  <c:v>31.027626984994729</c:v>
                </c:pt>
                <c:pt idx="36684">
                  <c:v>25.437966702950078</c:v>
                </c:pt>
                <c:pt idx="36685">
                  <c:v>24.276804927053892</c:v>
                </c:pt>
                <c:pt idx="36686">
                  <c:v>27.767446186336098</c:v>
                </c:pt>
                <c:pt idx="36687">
                  <c:v>20.084904217964866</c:v>
                </c:pt>
                <c:pt idx="36688">
                  <c:v>26.329401883015024</c:v>
                </c:pt>
                <c:pt idx="36689">
                  <c:v>21.500195203062059</c:v>
                </c:pt>
                <c:pt idx="36690">
                  <c:v>22.107500768668114</c:v>
                </c:pt>
                <c:pt idx="36691">
                  <c:v>20.724148004162302</c:v>
                </c:pt>
                <c:pt idx="36692">
                  <c:v>27.942435675453538</c:v>
                </c:pt>
                <c:pt idx="36693">
                  <c:v>23.180784460107621</c:v>
                </c:pt>
                <c:pt idx="36694">
                  <c:v>22.423291952403449</c:v>
                </c:pt>
                <c:pt idx="36695">
                  <c:v>22.102044631459989</c:v>
                </c:pt>
                <c:pt idx="36696">
                  <c:v>25.045433820646213</c:v>
                </c:pt>
                <c:pt idx="36697">
                  <c:v>30.370973756809114</c:v>
                </c:pt>
                <c:pt idx="36698">
                  <c:v>47.372653659698919</c:v>
                </c:pt>
                <c:pt idx="36699">
                  <c:v>23.009403579317382</c:v>
                </c:pt>
                <c:pt idx="36700">
                  <c:v>24.8502291792189</c:v>
                </c:pt>
                <c:pt idx="36701">
                  <c:v>29.798620349455703</c:v>
                </c:pt>
                <c:pt idx="36702">
                  <c:v>27.786662904381714</c:v>
                </c:pt>
                <c:pt idx="36703">
                  <c:v>44.574953292679574</c:v>
                </c:pt>
                <c:pt idx="36704">
                  <c:v>29.786967128629716</c:v>
                </c:pt>
                <c:pt idx="36705">
                  <c:v>21.175593915285862</c:v>
                </c:pt>
                <c:pt idx="36706">
                  <c:v>28.541184511178436</c:v>
                </c:pt>
                <c:pt idx="36707">
                  <c:v>16.715427437632318</c:v>
                </c:pt>
                <c:pt idx="36708">
                  <c:v>28.198111546229789</c:v>
                </c:pt>
                <c:pt idx="36709">
                  <c:v>31.33458218143366</c:v>
                </c:pt>
                <c:pt idx="36710">
                  <c:v>43.183107589050636</c:v>
                </c:pt>
                <c:pt idx="36711">
                  <c:v>63.165294345061398</c:v>
                </c:pt>
                <c:pt idx="36712">
                  <c:v>31.812583090972051</c:v>
                </c:pt>
                <c:pt idx="36713">
                  <c:v>25.352820128866512</c:v>
                </c:pt>
                <c:pt idx="36714">
                  <c:v>23.923862198978085</c:v>
                </c:pt>
                <c:pt idx="36715">
                  <c:v>43.047870546791557</c:v>
                </c:pt>
                <c:pt idx="36716">
                  <c:v>47.665333530578778</c:v>
                </c:pt>
                <c:pt idx="36717">
                  <c:v>30.460144463877185</c:v>
                </c:pt>
                <c:pt idx="36718">
                  <c:v>31.96358831006614</c:v>
                </c:pt>
                <c:pt idx="36719">
                  <c:v>30.219565452013672</c:v>
                </c:pt>
                <c:pt idx="36720">
                  <c:v>57.109602668539246</c:v>
                </c:pt>
                <c:pt idx="36721">
                  <c:v>25.21353689637143</c:v>
                </c:pt>
                <c:pt idx="36722">
                  <c:v>29.640906615926969</c:v>
                </c:pt>
                <c:pt idx="36723">
                  <c:v>36.561160029571596</c:v>
                </c:pt>
                <c:pt idx="36724">
                  <c:v>30.433556303730594</c:v>
                </c:pt>
                <c:pt idx="36725">
                  <c:v>35.87440686991944</c:v>
                </c:pt>
                <c:pt idx="36726">
                  <c:v>41.776217882206986</c:v>
                </c:pt>
                <c:pt idx="36727">
                  <c:v>18.431843075054829</c:v>
                </c:pt>
                <c:pt idx="36728">
                  <c:v>27.410210988682753</c:v>
                </c:pt>
                <c:pt idx="36729">
                  <c:v>34.636969603385033</c:v>
                </c:pt>
                <c:pt idx="36730">
                  <c:v>43.288703426680911</c:v>
                </c:pt>
                <c:pt idx="36731">
                  <c:v>29.04168187877822</c:v>
                </c:pt>
                <c:pt idx="36732">
                  <c:v>33.635850209506955</c:v>
                </c:pt>
                <c:pt idx="36733">
                  <c:v>21.933128055891469</c:v>
                </c:pt>
                <c:pt idx="36734">
                  <c:v>30.260252086488009</c:v>
                </c:pt>
                <c:pt idx="36735">
                  <c:v>34.130321925063669</c:v>
                </c:pt>
                <c:pt idx="36736">
                  <c:v>53.991191117295067</c:v>
                </c:pt>
                <c:pt idx="36737">
                  <c:v>47.806774059700402</c:v>
                </c:pt>
                <c:pt idx="36738">
                  <c:v>20.293558866773893</c:v>
                </c:pt>
                <c:pt idx="36739">
                  <c:v>42.469150668542582</c:v>
                </c:pt>
                <c:pt idx="36740">
                  <c:v>34.256875642989755</c:v>
                </c:pt>
                <c:pt idx="36741">
                  <c:v>29.103121627296542</c:v>
                </c:pt>
                <c:pt idx="36742">
                  <c:v>19.822042911294183</c:v>
                </c:pt>
                <c:pt idx="36743">
                  <c:v>31.599901640564841</c:v>
                </c:pt>
                <c:pt idx="36744">
                  <c:v>28.901348345806703</c:v>
                </c:pt>
                <c:pt idx="36745">
                  <c:v>29.245901900299877</c:v>
                </c:pt>
                <c:pt idx="36746">
                  <c:v>31.407178837706251</c:v>
                </c:pt>
                <c:pt idx="36747">
                  <c:v>32.717690173468171</c:v>
                </c:pt>
                <c:pt idx="36748">
                  <c:v>31.107398154757014</c:v>
                </c:pt>
                <c:pt idx="36749">
                  <c:v>46.681046324413266</c:v>
                </c:pt>
                <c:pt idx="36750">
                  <c:v>32.340489359736402</c:v>
                </c:pt>
                <c:pt idx="36751">
                  <c:v>55.237776828461278</c:v>
                </c:pt>
                <c:pt idx="36752">
                  <c:v>29.574693084188166</c:v>
                </c:pt>
                <c:pt idx="36753">
                  <c:v>56.213931854391575</c:v>
                </c:pt>
                <c:pt idx="36754">
                  <c:v>26.007567440178669</c:v>
                </c:pt>
                <c:pt idx="36755">
                  <c:v>46.047170800223476</c:v>
                </c:pt>
                <c:pt idx="36756">
                  <c:v>26.610017024362374</c:v>
                </c:pt>
                <c:pt idx="36757">
                  <c:v>23.04401368614127</c:v>
                </c:pt>
                <c:pt idx="36758">
                  <c:v>48.337457567316875</c:v>
                </c:pt>
                <c:pt idx="36759">
                  <c:v>36.265321782690393</c:v>
                </c:pt>
                <c:pt idx="36760">
                  <c:v>19.399285024821673</c:v>
                </c:pt>
                <c:pt idx="36761">
                  <c:v>25.462827654257616</c:v>
                </c:pt>
                <c:pt idx="36762">
                  <c:v>22.132488804590345</c:v>
                </c:pt>
                <c:pt idx="36763">
                  <c:v>23.014378825628885</c:v>
                </c:pt>
                <c:pt idx="36764">
                  <c:v>36.208410658808354</c:v>
                </c:pt>
                <c:pt idx="36765">
                  <c:v>28.82272315763835</c:v>
                </c:pt>
                <c:pt idx="36766">
                  <c:v>27.021487410769659</c:v>
                </c:pt>
                <c:pt idx="36767">
                  <c:v>21.421743175568896</c:v>
                </c:pt>
                <c:pt idx="36768">
                  <c:v>21.790443641315612</c:v>
                </c:pt>
                <c:pt idx="36769">
                  <c:v>23.580917606097024</c:v>
                </c:pt>
                <c:pt idx="36770">
                  <c:v>33.883493268403946</c:v>
                </c:pt>
                <c:pt idx="36771">
                  <c:v>23.411515747781454</c:v>
                </c:pt>
                <c:pt idx="36772">
                  <c:v>38.917120087235183</c:v>
                </c:pt>
                <c:pt idx="36773">
                  <c:v>44.142155754198043</c:v>
                </c:pt>
                <c:pt idx="36774">
                  <c:v>29.582976518982605</c:v>
                </c:pt>
                <c:pt idx="36775">
                  <c:v>28.525294479212384</c:v>
                </c:pt>
                <c:pt idx="36776">
                  <c:v>23.963661647269401</c:v>
                </c:pt>
                <c:pt idx="36777">
                  <c:v>42.501264713186742</c:v>
                </c:pt>
                <c:pt idx="36778">
                  <c:v>55.581186195815576</c:v>
                </c:pt>
                <c:pt idx="36779">
                  <c:v>29.900798488089965</c:v>
                </c:pt>
                <c:pt idx="36780">
                  <c:v>24.140933103990282</c:v>
                </c:pt>
                <c:pt idx="36781">
                  <c:v>46.211216077749356</c:v>
                </c:pt>
                <c:pt idx="36782">
                  <c:v>44.129222122769441</c:v>
                </c:pt>
                <c:pt idx="36783">
                  <c:v>33.447319155681093</c:v>
                </c:pt>
                <c:pt idx="36784">
                  <c:v>27.355939539160428</c:v>
                </c:pt>
                <c:pt idx="36785">
                  <c:v>24.339046889473931</c:v>
                </c:pt>
                <c:pt idx="36786">
                  <c:v>32.51753730748819</c:v>
                </c:pt>
                <c:pt idx="36787">
                  <c:v>58.248670839204777</c:v>
                </c:pt>
                <c:pt idx="36788">
                  <c:v>29.585146278919076</c:v>
                </c:pt>
                <c:pt idx="36789">
                  <c:v>21.982571555093962</c:v>
                </c:pt>
                <c:pt idx="36790">
                  <c:v>22.432332715786536</c:v>
                </c:pt>
                <c:pt idx="36791">
                  <c:v>55.165481525186856</c:v>
                </c:pt>
                <c:pt idx="36792">
                  <c:v>30.624315493332187</c:v>
                </c:pt>
                <c:pt idx="36793">
                  <c:v>26.827120819087149</c:v>
                </c:pt>
                <c:pt idx="36794">
                  <c:v>18.227015896648389</c:v>
                </c:pt>
                <c:pt idx="36795">
                  <c:v>22.4770172521389</c:v>
                </c:pt>
                <c:pt idx="36796">
                  <c:v>29.385033979056971</c:v>
                </c:pt>
                <c:pt idx="36797">
                  <c:v>34.066127172195756</c:v>
                </c:pt>
                <c:pt idx="36798">
                  <c:v>25.309307233733286</c:v>
                </c:pt>
                <c:pt idx="36799">
                  <c:v>25.913045816002601</c:v>
                </c:pt>
                <c:pt idx="36800">
                  <c:v>31.905411465723638</c:v>
                </c:pt>
                <c:pt idx="36801">
                  <c:v>25.240209842946363</c:v>
                </c:pt>
                <c:pt idx="36802">
                  <c:v>18.642242906273136</c:v>
                </c:pt>
                <c:pt idx="36803">
                  <c:v>25.195644847237716</c:v>
                </c:pt>
                <c:pt idx="36804">
                  <c:v>41.370804210969681</c:v>
                </c:pt>
                <c:pt idx="36805">
                  <c:v>36.145729665881746</c:v>
                </c:pt>
                <c:pt idx="36806">
                  <c:v>25.837665107533272</c:v>
                </c:pt>
                <c:pt idx="36807">
                  <c:v>46.818629171967522</c:v>
                </c:pt>
                <c:pt idx="36808">
                  <c:v>40.983906714348976</c:v>
                </c:pt>
                <c:pt idx="36809">
                  <c:v>33.045695381321828</c:v>
                </c:pt>
                <c:pt idx="36810">
                  <c:v>44.957536645455178</c:v>
                </c:pt>
                <c:pt idx="36811">
                  <c:v>31.692047190801638</c:v>
                </c:pt>
                <c:pt idx="36812">
                  <c:v>32.903904849616104</c:v>
                </c:pt>
                <c:pt idx="36813">
                  <c:v>27.995045059916247</c:v>
                </c:pt>
                <c:pt idx="36814">
                  <c:v>30.663628233098407</c:v>
                </c:pt>
                <c:pt idx="36815">
                  <c:v>23.776179791279635</c:v>
                </c:pt>
                <c:pt idx="36816">
                  <c:v>31.039420177896631</c:v>
                </c:pt>
                <c:pt idx="36817">
                  <c:v>23.713707451933107</c:v>
                </c:pt>
                <c:pt idx="36818">
                  <c:v>21.676850447259415</c:v>
                </c:pt>
                <c:pt idx="36819">
                  <c:v>21.789284186573369</c:v>
                </c:pt>
                <c:pt idx="36820">
                  <c:v>26.061508157277224</c:v>
                </c:pt>
                <c:pt idx="36821">
                  <c:v>29.73784183128037</c:v>
                </c:pt>
                <c:pt idx="36822">
                  <c:v>63.224091023212459</c:v>
                </c:pt>
                <c:pt idx="36823">
                  <c:v>29.513893138085063</c:v>
                </c:pt>
                <c:pt idx="36824">
                  <c:v>50.199754024877933</c:v>
                </c:pt>
                <c:pt idx="36825">
                  <c:v>25.747549010038888</c:v>
                </c:pt>
                <c:pt idx="36826">
                  <c:v>42.899280676106969</c:v>
                </c:pt>
                <c:pt idx="36827">
                  <c:v>54.389456461797359</c:v>
                </c:pt>
                <c:pt idx="36828">
                  <c:v>25.339182713493532</c:v>
                </c:pt>
                <c:pt idx="36829">
                  <c:v>44.768546718437079</c:v>
                </c:pt>
                <c:pt idx="36830">
                  <c:v>37.173529806886847</c:v>
                </c:pt>
                <c:pt idx="36831">
                  <c:v>25.810786980465334</c:v>
                </c:pt>
                <c:pt idx="36832">
                  <c:v>25.509669543550011</c:v>
                </c:pt>
                <c:pt idx="36833">
                  <c:v>30.272954747636042</c:v>
                </c:pt>
                <c:pt idx="36834">
                  <c:v>47.046457281249253</c:v>
                </c:pt>
                <c:pt idx="36835">
                  <c:v>27.362293009591109</c:v>
                </c:pt>
                <c:pt idx="36836">
                  <c:v>29.672403755311819</c:v>
                </c:pt>
                <c:pt idx="36837">
                  <c:v>27.263977045314245</c:v>
                </c:pt>
                <c:pt idx="36838">
                  <c:v>23.772510777350416</c:v>
                </c:pt>
                <c:pt idx="36839">
                  <c:v>25.599845155810026</c:v>
                </c:pt>
                <c:pt idx="36840">
                  <c:v>48.113929214048675</c:v>
                </c:pt>
                <c:pt idx="36841">
                  <c:v>19.465535291146214</c:v>
                </c:pt>
                <c:pt idx="36842">
                  <c:v>52.395894875262677</c:v>
                </c:pt>
                <c:pt idx="36843">
                  <c:v>24.210499357245087</c:v>
                </c:pt>
                <c:pt idx="36844">
                  <c:v>39.400816655333607</c:v>
                </c:pt>
                <c:pt idx="36845">
                  <c:v>39.358749800622725</c:v>
                </c:pt>
                <c:pt idx="36846">
                  <c:v>38.774835027965629</c:v>
                </c:pt>
                <c:pt idx="36847">
                  <c:v>23.26414572396973</c:v>
                </c:pt>
                <c:pt idx="36848">
                  <c:v>30.274240774259816</c:v>
                </c:pt>
                <c:pt idx="36849">
                  <c:v>36.667261058995919</c:v>
                </c:pt>
                <c:pt idx="36850">
                  <c:v>20.491680552033298</c:v>
                </c:pt>
                <c:pt idx="36851">
                  <c:v>33.99396759183287</c:v>
                </c:pt>
                <c:pt idx="36852">
                  <c:v>19.473316853890829</c:v>
                </c:pt>
                <c:pt idx="36853">
                  <c:v>31.038763580830103</c:v>
                </c:pt>
                <c:pt idx="36854">
                  <c:v>41.994392753371756</c:v>
                </c:pt>
                <c:pt idx="36855">
                  <c:v>41.465308704633124</c:v>
                </c:pt>
                <c:pt idx="36856">
                  <c:v>29.735848684030003</c:v>
                </c:pt>
                <c:pt idx="36857">
                  <c:v>30.826712568857985</c:v>
                </c:pt>
                <c:pt idx="36858">
                  <c:v>23.833564609487954</c:v>
                </c:pt>
                <c:pt idx="36859">
                  <c:v>25.700866358484099</c:v>
                </c:pt>
                <c:pt idx="36860">
                  <c:v>40.834354887190358</c:v>
                </c:pt>
                <c:pt idx="36861">
                  <c:v>21.031220735260518</c:v>
                </c:pt>
                <c:pt idx="36862">
                  <c:v>20.536220549185796</c:v>
                </c:pt>
                <c:pt idx="36863">
                  <c:v>16.638782183993953</c:v>
                </c:pt>
                <c:pt idx="36864">
                  <c:v>42.302468267640094</c:v>
                </c:pt>
                <c:pt idx="36865">
                  <c:v>27.648976859231105</c:v>
                </c:pt>
                <c:pt idx="36866">
                  <c:v>31.626439848029555</c:v>
                </c:pt>
                <c:pt idx="36867">
                  <c:v>40.33989414646615</c:v>
                </c:pt>
                <c:pt idx="36868">
                  <c:v>42.801311407670099</c:v>
                </c:pt>
                <c:pt idx="36869">
                  <c:v>27.92698187313486</c:v>
                </c:pt>
                <c:pt idx="36870">
                  <c:v>32.029388377411976</c:v>
                </c:pt>
                <c:pt idx="36871">
                  <c:v>41.029817299726162</c:v>
                </c:pt>
                <c:pt idx="36872">
                  <c:v>30.425729623546456</c:v>
                </c:pt>
                <c:pt idx="36873">
                  <c:v>23.657848636088254</c:v>
                </c:pt>
                <c:pt idx="36874">
                  <c:v>45.541667640609866</c:v>
                </c:pt>
                <c:pt idx="36875">
                  <c:v>26.978987741526513</c:v>
                </c:pt>
                <c:pt idx="36876">
                  <c:v>54.521907840451334</c:v>
                </c:pt>
                <c:pt idx="36877">
                  <c:v>29.988795892204529</c:v>
                </c:pt>
                <c:pt idx="36878">
                  <c:v>33.041631270016168</c:v>
                </c:pt>
                <c:pt idx="36879">
                  <c:v>28.748993108580734</c:v>
                </c:pt>
                <c:pt idx="36880">
                  <c:v>23.525869802430304</c:v>
                </c:pt>
                <c:pt idx="36881">
                  <c:v>28.70912980722165</c:v>
                </c:pt>
                <c:pt idx="36882">
                  <c:v>30.672505307108029</c:v>
                </c:pt>
                <c:pt idx="36883">
                  <c:v>25.694588361901587</c:v>
                </c:pt>
                <c:pt idx="36884">
                  <c:v>18.226080063576831</c:v>
                </c:pt>
                <c:pt idx="36885">
                  <c:v>36.981494708337436</c:v>
                </c:pt>
                <c:pt idx="36886">
                  <c:v>48.919253713466269</c:v>
                </c:pt>
                <c:pt idx="36887">
                  <c:v>19.819431651466779</c:v>
                </c:pt>
                <c:pt idx="36888">
                  <c:v>26.912084319525061</c:v>
                </c:pt>
                <c:pt idx="36889">
                  <c:v>27.204720287286037</c:v>
                </c:pt>
                <c:pt idx="36890">
                  <c:v>30.657011787123068</c:v>
                </c:pt>
                <c:pt idx="36891">
                  <c:v>32.788987333998442</c:v>
                </c:pt>
                <c:pt idx="36892">
                  <c:v>30.044127602785487</c:v>
                </c:pt>
                <c:pt idx="36893">
                  <c:v>17.615758535097292</c:v>
                </c:pt>
                <c:pt idx="36894">
                  <c:v>46.031961905367993</c:v>
                </c:pt>
                <c:pt idx="36895">
                  <c:v>40.603567589963944</c:v>
                </c:pt>
                <c:pt idx="36896">
                  <c:v>43.418122981112376</c:v>
                </c:pt>
                <c:pt idx="36897">
                  <c:v>19.656673465179967</c:v>
                </c:pt>
                <c:pt idx="36898">
                  <c:v>29.581215952554661</c:v>
                </c:pt>
                <c:pt idx="36899">
                  <c:v>28.924730925719945</c:v>
                </c:pt>
                <c:pt idx="36900">
                  <c:v>31.081503230724131</c:v>
                </c:pt>
                <c:pt idx="36901">
                  <c:v>25.096097545986243</c:v>
                </c:pt>
                <c:pt idx="36902">
                  <c:v>30.316718700770402</c:v>
                </c:pt>
                <c:pt idx="36903">
                  <c:v>31.970498079146704</c:v>
                </c:pt>
                <c:pt idx="36904">
                  <c:v>23.111681302918967</c:v>
                </c:pt>
                <c:pt idx="36905">
                  <c:v>41.587358274193782</c:v>
                </c:pt>
                <c:pt idx="36906">
                  <c:v>26.574301476457542</c:v>
                </c:pt>
                <c:pt idx="36907">
                  <c:v>20.854013566538594</c:v>
                </c:pt>
                <c:pt idx="36908">
                  <c:v>22.68144081591571</c:v>
                </c:pt>
                <c:pt idx="36909">
                  <c:v>27.314198610814863</c:v>
                </c:pt>
                <c:pt idx="36910">
                  <c:v>20.989204171481916</c:v>
                </c:pt>
                <c:pt idx="36911">
                  <c:v>41.863359765237597</c:v>
                </c:pt>
                <c:pt idx="36912">
                  <c:v>35.880972825690783</c:v>
                </c:pt>
                <c:pt idx="36913">
                  <c:v>21.578046290863082</c:v>
                </c:pt>
                <c:pt idx="36914">
                  <c:v>19.589804770936581</c:v>
                </c:pt>
                <c:pt idx="36915">
                  <c:v>44.827127694582458</c:v>
                </c:pt>
                <c:pt idx="36916">
                  <c:v>26.781832245243006</c:v>
                </c:pt>
                <c:pt idx="36917">
                  <c:v>31.786977277603381</c:v>
                </c:pt>
                <c:pt idx="36918">
                  <c:v>14.559352941008747</c:v>
                </c:pt>
                <c:pt idx="36919">
                  <c:v>37.690838473345849</c:v>
                </c:pt>
                <c:pt idx="36920">
                  <c:v>33.741620497870414</c:v>
                </c:pt>
                <c:pt idx="36921">
                  <c:v>35.019100097619749</c:v>
                </c:pt>
                <c:pt idx="36922">
                  <c:v>34.361798602074309</c:v>
                </c:pt>
                <c:pt idx="36923">
                  <c:v>34.244152785035297</c:v>
                </c:pt>
                <c:pt idx="36924">
                  <c:v>29.168610835450508</c:v>
                </c:pt>
                <c:pt idx="36925">
                  <c:v>27.129434733099281</c:v>
                </c:pt>
                <c:pt idx="36926">
                  <c:v>23.59396902371342</c:v>
                </c:pt>
                <c:pt idx="36927">
                  <c:v>45.733874693748241</c:v>
                </c:pt>
                <c:pt idx="36928">
                  <c:v>27.521489253139304</c:v>
                </c:pt>
                <c:pt idx="36929">
                  <c:v>58.242272160433494</c:v>
                </c:pt>
                <c:pt idx="36930">
                  <c:v>29.804609816711249</c:v>
                </c:pt>
                <c:pt idx="36931">
                  <c:v>26.818434608419722</c:v>
                </c:pt>
                <c:pt idx="36932">
                  <c:v>40.82806691249003</c:v>
                </c:pt>
                <c:pt idx="36933">
                  <c:v>24.365420142920012</c:v>
                </c:pt>
                <c:pt idx="36934">
                  <c:v>27.309308957073576</c:v>
                </c:pt>
                <c:pt idx="36935">
                  <c:v>29.550498232097652</c:v>
                </c:pt>
                <c:pt idx="36936">
                  <c:v>27.371409420667376</c:v>
                </c:pt>
                <c:pt idx="36937">
                  <c:v>28.00200320291556</c:v>
                </c:pt>
                <c:pt idx="36938">
                  <c:v>24.281321198619331</c:v>
                </c:pt>
                <c:pt idx="36939">
                  <c:v>36.619582584015475</c:v>
                </c:pt>
                <c:pt idx="36940">
                  <c:v>15.935493789395412</c:v>
                </c:pt>
                <c:pt idx="36941">
                  <c:v>20.466975940713034</c:v>
                </c:pt>
                <c:pt idx="36942">
                  <c:v>34.844377989294323</c:v>
                </c:pt>
                <c:pt idx="36943">
                  <c:v>35.828819270000508</c:v>
                </c:pt>
                <c:pt idx="36944">
                  <c:v>22.105621112332159</c:v>
                </c:pt>
                <c:pt idx="36945">
                  <c:v>46.144975698760902</c:v>
                </c:pt>
                <c:pt idx="36946">
                  <c:v>47.742838689292945</c:v>
                </c:pt>
                <c:pt idx="36947">
                  <c:v>18.010409290322507</c:v>
                </c:pt>
                <c:pt idx="36948">
                  <c:v>20.963716492171304</c:v>
                </c:pt>
                <c:pt idx="36949">
                  <c:v>26.364070691920979</c:v>
                </c:pt>
                <c:pt idx="36950">
                  <c:v>21.484572965276115</c:v>
                </c:pt>
                <c:pt idx="36951">
                  <c:v>41.905809180758098</c:v>
                </c:pt>
                <c:pt idx="36952">
                  <c:v>26.885800577714122</c:v>
                </c:pt>
                <c:pt idx="36953">
                  <c:v>26.36340936586835</c:v>
                </c:pt>
                <c:pt idx="36954">
                  <c:v>30.485177648260688</c:v>
                </c:pt>
                <c:pt idx="36955">
                  <c:v>34.197241712771437</c:v>
                </c:pt>
                <c:pt idx="36956">
                  <c:v>60.749380247182962</c:v>
                </c:pt>
                <c:pt idx="36957">
                  <c:v>18.511006544159436</c:v>
                </c:pt>
                <c:pt idx="36958">
                  <c:v>20.549255807155745</c:v>
                </c:pt>
                <c:pt idx="36959">
                  <c:v>22.930278214420898</c:v>
                </c:pt>
                <c:pt idx="36960">
                  <c:v>25.764062161702313</c:v>
                </c:pt>
                <c:pt idx="36961">
                  <c:v>30.84347344903551</c:v>
                </c:pt>
                <c:pt idx="36962">
                  <c:v>35.368286255907897</c:v>
                </c:pt>
                <c:pt idx="36963">
                  <c:v>24.62201652679607</c:v>
                </c:pt>
                <c:pt idx="36964">
                  <c:v>23.557681275960089</c:v>
                </c:pt>
                <c:pt idx="36965">
                  <c:v>41.361823024830613</c:v>
                </c:pt>
                <c:pt idx="36966">
                  <c:v>25.465426764144311</c:v>
                </c:pt>
                <c:pt idx="36967">
                  <c:v>42.538501449190392</c:v>
                </c:pt>
                <c:pt idx="36968">
                  <c:v>38.72051058822575</c:v>
                </c:pt>
                <c:pt idx="36969">
                  <c:v>31.329528037364206</c:v>
                </c:pt>
                <c:pt idx="36970">
                  <c:v>40.620312298927011</c:v>
                </c:pt>
                <c:pt idx="36971">
                  <c:v>40.711367520186414</c:v>
                </c:pt>
                <c:pt idx="36972">
                  <c:v>28.360400384427287</c:v>
                </c:pt>
                <c:pt idx="36973">
                  <c:v>43.705047614389386</c:v>
                </c:pt>
                <c:pt idx="36974">
                  <c:v>25.122297899455951</c:v>
                </c:pt>
                <c:pt idx="36975">
                  <c:v>33.966693795855051</c:v>
                </c:pt>
                <c:pt idx="36976">
                  <c:v>24.148334666963258</c:v>
                </c:pt>
                <c:pt idx="36977">
                  <c:v>32.735502088477183</c:v>
                </c:pt>
                <c:pt idx="36978">
                  <c:v>24.840340511636786</c:v>
                </c:pt>
                <c:pt idx="36979">
                  <c:v>22.002878323132691</c:v>
                </c:pt>
                <c:pt idx="36980">
                  <c:v>23.902614240617133</c:v>
                </c:pt>
                <c:pt idx="36981">
                  <c:v>64.174383812295787</c:v>
                </c:pt>
                <c:pt idx="36982">
                  <c:v>40.062347107241919</c:v>
                </c:pt>
                <c:pt idx="36983">
                  <c:v>35.405614627414998</c:v>
                </c:pt>
                <c:pt idx="36984">
                  <c:v>18.421564681282238</c:v>
                </c:pt>
                <c:pt idx="36985">
                  <c:v>43.984939242491194</c:v>
                </c:pt>
                <c:pt idx="36986">
                  <c:v>33.049865259977558</c:v>
                </c:pt>
                <c:pt idx="36987">
                  <c:v>25.857122290981781</c:v>
                </c:pt>
                <c:pt idx="36988">
                  <c:v>26.047405408789555</c:v>
                </c:pt>
                <c:pt idx="36989">
                  <c:v>32.124252434311558</c:v>
                </c:pt>
                <c:pt idx="36990">
                  <c:v>25.563358446066314</c:v>
                </c:pt>
                <c:pt idx="36991">
                  <c:v>44.967307776227088</c:v>
                </c:pt>
                <c:pt idx="36992">
                  <c:v>35.591893893207001</c:v>
                </c:pt>
                <c:pt idx="36993">
                  <c:v>28.477832738255977</c:v>
                </c:pt>
                <c:pt idx="36994">
                  <c:v>26.295571086282102</c:v>
                </c:pt>
                <c:pt idx="36995">
                  <c:v>22.446080853557397</c:v>
                </c:pt>
                <c:pt idx="36996">
                  <c:v>54.644936750965762</c:v>
                </c:pt>
                <c:pt idx="36997">
                  <c:v>44.814619463613525</c:v>
                </c:pt>
                <c:pt idx="36998">
                  <c:v>36.332487827794289</c:v>
                </c:pt>
                <c:pt idx="36999">
                  <c:v>22.651631589219885</c:v>
                </c:pt>
                <c:pt idx="37000">
                  <c:v>64.761834877070498</c:v>
                </c:pt>
                <c:pt idx="37001">
                  <c:v>30.543269051711661</c:v>
                </c:pt>
                <c:pt idx="37002">
                  <c:v>25.394243613698805</c:v>
                </c:pt>
                <c:pt idx="37003">
                  <c:v>30.217018062794036</c:v>
                </c:pt>
                <c:pt idx="37004">
                  <c:v>37.697793954377417</c:v>
                </c:pt>
                <c:pt idx="37005">
                  <c:v>26.453598419758382</c:v>
                </c:pt>
                <c:pt idx="37006">
                  <c:v>29.322035264291369</c:v>
                </c:pt>
                <c:pt idx="37007">
                  <c:v>25.11273690588283</c:v>
                </c:pt>
                <c:pt idx="37008">
                  <c:v>31.226720120349086</c:v>
                </c:pt>
                <c:pt idx="37009">
                  <c:v>34.194372944219481</c:v>
                </c:pt>
                <c:pt idx="37010">
                  <c:v>18.460570605534674</c:v>
                </c:pt>
                <c:pt idx="37011">
                  <c:v>24.572876118899266</c:v>
                </c:pt>
                <c:pt idx="37012">
                  <c:v>37.604514830469462</c:v>
                </c:pt>
                <c:pt idx="37013">
                  <c:v>35.168953219269817</c:v>
                </c:pt>
                <c:pt idx="37014">
                  <c:v>43.749697322420019</c:v>
                </c:pt>
                <c:pt idx="37015">
                  <c:v>24.960287437613278</c:v>
                </c:pt>
                <c:pt idx="37016">
                  <c:v>25.708680573393831</c:v>
                </c:pt>
                <c:pt idx="37017">
                  <c:v>29.083294509217968</c:v>
                </c:pt>
                <c:pt idx="37018">
                  <c:v>22.838113759692675</c:v>
                </c:pt>
                <c:pt idx="37019">
                  <c:v>26.285905694102823</c:v>
                </c:pt>
                <c:pt idx="37020">
                  <c:v>21.639035208790641</c:v>
                </c:pt>
                <c:pt idx="37021">
                  <c:v>45.908315802036817</c:v>
                </c:pt>
                <c:pt idx="37022">
                  <c:v>43.191510646356228</c:v>
                </c:pt>
                <c:pt idx="37023">
                  <c:v>25.573859960191424</c:v>
                </c:pt>
                <c:pt idx="37024">
                  <c:v>28.52872377340492</c:v>
                </c:pt>
                <c:pt idx="37025">
                  <c:v>21.967948942724302</c:v>
                </c:pt>
                <c:pt idx="37026">
                  <c:v>25.386505525082555</c:v>
                </c:pt>
                <c:pt idx="37027">
                  <c:v>19.733995672367715</c:v>
                </c:pt>
                <c:pt idx="37028">
                  <c:v>36.30045613519988</c:v>
                </c:pt>
                <c:pt idx="37029">
                  <c:v>27.572930177566626</c:v>
                </c:pt>
                <c:pt idx="37030">
                  <c:v>37.935776939180357</c:v>
                </c:pt>
                <c:pt idx="37031">
                  <c:v>30.403809957488264</c:v>
                </c:pt>
                <c:pt idx="37032">
                  <c:v>33.732020266700971</c:v>
                </c:pt>
                <c:pt idx="37033">
                  <c:v>36.047181644212785</c:v>
                </c:pt>
                <c:pt idx="37034">
                  <c:v>25.962394049119407</c:v>
                </c:pt>
                <c:pt idx="37035">
                  <c:v>28.303771869682052</c:v>
                </c:pt>
                <c:pt idx="37036">
                  <c:v>42.123315266548609</c:v>
                </c:pt>
                <c:pt idx="37037">
                  <c:v>33.326993963760046</c:v>
                </c:pt>
                <c:pt idx="37038">
                  <c:v>31.614525325790197</c:v>
                </c:pt>
                <c:pt idx="37039">
                  <c:v>32.564924568697535</c:v>
                </c:pt>
                <c:pt idx="37040">
                  <c:v>33.685775211272386</c:v>
                </c:pt>
                <c:pt idx="37041">
                  <c:v>21.738887147177866</c:v>
                </c:pt>
                <c:pt idx="37042">
                  <c:v>47.973279491871892</c:v>
                </c:pt>
                <c:pt idx="37043">
                  <c:v>26.758866050822199</c:v>
                </c:pt>
                <c:pt idx="37044">
                  <c:v>26.148882409993529</c:v>
                </c:pt>
                <c:pt idx="37045">
                  <c:v>23.290676719331717</c:v>
                </c:pt>
                <c:pt idx="37046">
                  <c:v>28.900034383232175</c:v>
                </c:pt>
                <c:pt idx="37047">
                  <c:v>29.344828980991032</c:v>
                </c:pt>
                <c:pt idx="37048">
                  <c:v>26.701089399226525</c:v>
                </c:pt>
                <c:pt idx="37049">
                  <c:v>26.890332267443188</c:v>
                </c:pt>
                <c:pt idx="37050">
                  <c:v>27.032845814170347</c:v>
                </c:pt>
                <c:pt idx="37051">
                  <c:v>27.874134314063724</c:v>
                </c:pt>
                <c:pt idx="37052">
                  <c:v>40.96469180606573</c:v>
                </c:pt>
                <c:pt idx="37053">
                  <c:v>50.657195046642777</c:v>
                </c:pt>
                <c:pt idx="37054">
                  <c:v>29.033607911426984</c:v>
                </c:pt>
                <c:pt idx="37055">
                  <c:v>26.931405298599095</c:v>
                </c:pt>
                <c:pt idx="37056">
                  <c:v>28.136325506565928</c:v>
                </c:pt>
                <c:pt idx="37057">
                  <c:v>20.189943741893501</c:v>
                </c:pt>
                <c:pt idx="37058">
                  <c:v>28.039725721026453</c:v>
                </c:pt>
                <c:pt idx="37059">
                  <c:v>25.90644063153756</c:v>
                </c:pt>
                <c:pt idx="37060">
                  <c:v>24.371378188172454</c:v>
                </c:pt>
                <c:pt idx="37061">
                  <c:v>43.632936416118717</c:v>
                </c:pt>
                <c:pt idx="37062">
                  <c:v>48.480965138886916</c:v>
                </c:pt>
                <c:pt idx="37063">
                  <c:v>29.636010707395368</c:v>
                </c:pt>
                <c:pt idx="37064">
                  <c:v>23.875659934091772</c:v>
                </c:pt>
                <c:pt idx="37065">
                  <c:v>25.312839528264146</c:v>
                </c:pt>
                <c:pt idx="37066">
                  <c:v>41.491374114721225</c:v>
                </c:pt>
                <c:pt idx="37067">
                  <c:v>14.430845926703403</c:v>
                </c:pt>
                <c:pt idx="37068">
                  <c:v>23.423849196394624</c:v>
                </c:pt>
                <c:pt idx="37069">
                  <c:v>43.544163169942969</c:v>
                </c:pt>
                <c:pt idx="37070">
                  <c:v>47.283955444522732</c:v>
                </c:pt>
                <c:pt idx="37071">
                  <c:v>30.326358254065585</c:v>
                </c:pt>
                <c:pt idx="37072">
                  <c:v>22.687170672579498</c:v>
                </c:pt>
                <c:pt idx="37073">
                  <c:v>24.725478764627354</c:v>
                </c:pt>
                <c:pt idx="37074">
                  <c:v>45.838689968579843</c:v>
                </c:pt>
                <c:pt idx="37075">
                  <c:v>39.988602438760594</c:v>
                </c:pt>
                <c:pt idx="37076">
                  <c:v>34.073824866109618</c:v>
                </c:pt>
                <c:pt idx="37077">
                  <c:v>30.127243309667961</c:v>
                </c:pt>
                <c:pt idx="37078">
                  <c:v>40.411902953691346</c:v>
                </c:pt>
                <c:pt idx="37079">
                  <c:v>28.588962154432025</c:v>
                </c:pt>
                <c:pt idx="37080">
                  <c:v>50.655150315559411</c:v>
                </c:pt>
                <c:pt idx="37081">
                  <c:v>26.871661681007037</c:v>
                </c:pt>
                <c:pt idx="37082">
                  <c:v>23.921280225058098</c:v>
                </c:pt>
                <c:pt idx="37083">
                  <c:v>35.192731340743535</c:v>
                </c:pt>
                <c:pt idx="37084">
                  <c:v>51.632064261641446</c:v>
                </c:pt>
                <c:pt idx="37085">
                  <c:v>27.813510153042674</c:v>
                </c:pt>
                <c:pt idx="37086">
                  <c:v>29.699959450039032</c:v>
                </c:pt>
                <c:pt idx="37087">
                  <c:v>30.162250607990728</c:v>
                </c:pt>
                <c:pt idx="37088">
                  <c:v>25.345437466365262</c:v>
                </c:pt>
                <c:pt idx="37089">
                  <c:v>45.582002421410429</c:v>
                </c:pt>
                <c:pt idx="37090">
                  <c:v>29.257012201776025</c:v>
                </c:pt>
                <c:pt idx="37091">
                  <c:v>46.623683746312189</c:v>
                </c:pt>
                <c:pt idx="37092">
                  <c:v>26.154665053610003</c:v>
                </c:pt>
                <c:pt idx="37093">
                  <c:v>22.143430583141761</c:v>
                </c:pt>
                <c:pt idx="37094">
                  <c:v>44.324327029471128</c:v>
                </c:pt>
                <c:pt idx="37095">
                  <c:v>49.173887013794015</c:v>
                </c:pt>
                <c:pt idx="37096">
                  <c:v>20.976382225143695</c:v>
                </c:pt>
                <c:pt idx="37097">
                  <c:v>31.975941405294229</c:v>
                </c:pt>
                <c:pt idx="37098">
                  <c:v>28.785727205112771</c:v>
                </c:pt>
                <c:pt idx="37099">
                  <c:v>25.633561884436119</c:v>
                </c:pt>
                <c:pt idx="37100">
                  <c:v>24.602611814286941</c:v>
                </c:pt>
                <c:pt idx="37101">
                  <c:v>20.842121444873552</c:v>
                </c:pt>
                <c:pt idx="37102">
                  <c:v>26.852236528381127</c:v>
                </c:pt>
                <c:pt idx="37103">
                  <c:v>46.364416587742532</c:v>
                </c:pt>
                <c:pt idx="37104">
                  <c:v>24.343391947878313</c:v>
                </c:pt>
                <c:pt idx="37105">
                  <c:v>32.559262851423014</c:v>
                </c:pt>
                <c:pt idx="37106">
                  <c:v>22.932799948866631</c:v>
                </c:pt>
                <c:pt idx="37107">
                  <c:v>38.550353697808802</c:v>
                </c:pt>
                <c:pt idx="37108">
                  <c:v>24.328232501309738</c:v>
                </c:pt>
                <c:pt idx="37109">
                  <c:v>29.373721219453333</c:v>
                </c:pt>
                <c:pt idx="37110">
                  <c:v>24.844511711332419</c:v>
                </c:pt>
                <c:pt idx="37111">
                  <c:v>49.666735878036526</c:v>
                </c:pt>
                <c:pt idx="37112">
                  <c:v>21.45469735672269</c:v>
                </c:pt>
                <c:pt idx="37113">
                  <c:v>35.0086647807749</c:v>
                </c:pt>
                <c:pt idx="37114">
                  <c:v>23.48372827614714</c:v>
                </c:pt>
                <c:pt idx="37115">
                  <c:v>34.605611096658677</c:v>
                </c:pt>
                <c:pt idx="37116">
                  <c:v>28.623135517194374</c:v>
                </c:pt>
                <c:pt idx="37117">
                  <c:v>31.050269658614198</c:v>
                </c:pt>
                <c:pt idx="37118">
                  <c:v>21.190680588851965</c:v>
                </c:pt>
                <c:pt idx="37119">
                  <c:v>25.087914157441446</c:v>
                </c:pt>
                <c:pt idx="37120">
                  <c:v>29.785078789830635</c:v>
                </c:pt>
                <c:pt idx="37121">
                  <c:v>31.182382940112014</c:v>
                </c:pt>
                <c:pt idx="37122">
                  <c:v>33.857132906257107</c:v>
                </c:pt>
                <c:pt idx="37123">
                  <c:v>34.366554666468048</c:v>
                </c:pt>
                <c:pt idx="37124">
                  <c:v>49.41223421187928</c:v>
                </c:pt>
                <c:pt idx="37125">
                  <c:v>43.280562623468356</c:v>
                </c:pt>
                <c:pt idx="37126">
                  <c:v>25.755771867155538</c:v>
                </c:pt>
                <c:pt idx="37127">
                  <c:v>26.20463046346098</c:v>
                </c:pt>
                <c:pt idx="37128">
                  <c:v>20.823805640464045</c:v>
                </c:pt>
                <c:pt idx="37129">
                  <c:v>50.041142550381444</c:v>
                </c:pt>
                <c:pt idx="37130">
                  <c:v>34.591017238379173</c:v>
                </c:pt>
                <c:pt idx="37131">
                  <c:v>53.102555447107406</c:v>
                </c:pt>
                <c:pt idx="37132">
                  <c:v>40.369889965698036</c:v>
                </c:pt>
                <c:pt idx="37133">
                  <c:v>31.480150323919098</c:v>
                </c:pt>
                <c:pt idx="37134">
                  <c:v>24.117903359162749</c:v>
                </c:pt>
                <c:pt idx="37135">
                  <c:v>23.366427022019092</c:v>
                </c:pt>
                <c:pt idx="37136">
                  <c:v>52.716253589164083</c:v>
                </c:pt>
                <c:pt idx="37137">
                  <c:v>29.186648761663502</c:v>
                </c:pt>
                <c:pt idx="37138">
                  <c:v>26.764182281107669</c:v>
                </c:pt>
                <c:pt idx="37139">
                  <c:v>27.850469592789185</c:v>
                </c:pt>
                <c:pt idx="37140">
                  <c:v>31.167724337314247</c:v>
                </c:pt>
                <c:pt idx="37141">
                  <c:v>50.533148933371692</c:v>
                </c:pt>
                <c:pt idx="37142">
                  <c:v>27.471986243224208</c:v>
                </c:pt>
                <c:pt idx="37143">
                  <c:v>23.146328272995259</c:v>
                </c:pt>
                <c:pt idx="37144">
                  <c:v>25.676303046856781</c:v>
                </c:pt>
                <c:pt idx="37145">
                  <c:v>45.816722605919246</c:v>
                </c:pt>
                <c:pt idx="37146">
                  <c:v>28.752994297433489</c:v>
                </c:pt>
                <c:pt idx="37147">
                  <c:v>24.731363594989588</c:v>
                </c:pt>
                <c:pt idx="37148">
                  <c:v>49.865147871580263</c:v>
                </c:pt>
                <c:pt idx="37149">
                  <c:v>33.683364392192949</c:v>
                </c:pt>
                <c:pt idx="37150">
                  <c:v>33.519733962409752</c:v>
                </c:pt>
                <c:pt idx="37151">
                  <c:v>23.986814370881532</c:v>
                </c:pt>
                <c:pt idx="37152">
                  <c:v>25.294921328697448</c:v>
                </c:pt>
                <c:pt idx="37153">
                  <c:v>29.659164803045293</c:v>
                </c:pt>
                <c:pt idx="37154">
                  <c:v>28.489233641880595</c:v>
                </c:pt>
                <c:pt idx="37155">
                  <c:v>25.193391686615897</c:v>
                </c:pt>
                <c:pt idx="37156">
                  <c:v>24.388449659421461</c:v>
                </c:pt>
                <c:pt idx="37157">
                  <c:v>46.947341796975827</c:v>
                </c:pt>
                <c:pt idx="37158">
                  <c:v>23.964085172767223</c:v>
                </c:pt>
                <c:pt idx="37159">
                  <c:v>36.437171737841844</c:v>
                </c:pt>
                <c:pt idx="37160">
                  <c:v>28.158514035890988</c:v>
                </c:pt>
                <c:pt idx="37161">
                  <c:v>23.612965772374693</c:v>
                </c:pt>
                <c:pt idx="37162">
                  <c:v>26.200502353068124</c:v>
                </c:pt>
                <c:pt idx="37163">
                  <c:v>43.977719022769207</c:v>
                </c:pt>
                <c:pt idx="37164">
                  <c:v>26.173466025956998</c:v>
                </c:pt>
                <c:pt idx="37165">
                  <c:v>23.312740122160456</c:v>
                </c:pt>
                <c:pt idx="37166">
                  <c:v>45.510372959758726</c:v>
                </c:pt>
                <c:pt idx="37167">
                  <c:v>27.009208372653383</c:v>
                </c:pt>
                <c:pt idx="37168">
                  <c:v>23.437623073336667</c:v>
                </c:pt>
                <c:pt idx="37169">
                  <c:v>48.820504743802289</c:v>
                </c:pt>
                <c:pt idx="37170">
                  <c:v>26.501604963946711</c:v>
                </c:pt>
                <c:pt idx="37171">
                  <c:v>23.159120401915359</c:v>
                </c:pt>
                <c:pt idx="37172">
                  <c:v>23.617450682026071</c:v>
                </c:pt>
                <c:pt idx="37173">
                  <c:v>37.02008729172509</c:v>
                </c:pt>
                <c:pt idx="37174">
                  <c:v>29.023638451235396</c:v>
                </c:pt>
                <c:pt idx="37175">
                  <c:v>29.243660498383953</c:v>
                </c:pt>
                <c:pt idx="37176">
                  <c:v>31.105752462926688</c:v>
                </c:pt>
                <c:pt idx="37177">
                  <c:v>20.849828611981536</c:v>
                </c:pt>
                <c:pt idx="37178">
                  <c:v>29.61568677398499</c:v>
                </c:pt>
                <c:pt idx="37179">
                  <c:v>33.762249506328246</c:v>
                </c:pt>
                <c:pt idx="37180">
                  <c:v>43.576733361678663</c:v>
                </c:pt>
                <c:pt idx="37181">
                  <c:v>29.65741191625483</c:v>
                </c:pt>
                <c:pt idx="37182">
                  <c:v>27.166753059770876</c:v>
                </c:pt>
                <c:pt idx="37183">
                  <c:v>30.382890762031298</c:v>
                </c:pt>
                <c:pt idx="37184">
                  <c:v>26.5639343816263</c:v>
                </c:pt>
                <c:pt idx="37185">
                  <c:v>23.156878444176293</c:v>
                </c:pt>
                <c:pt idx="37186">
                  <c:v>39.540693298372993</c:v>
                </c:pt>
                <c:pt idx="37187">
                  <c:v>25.673032871362611</c:v>
                </c:pt>
                <c:pt idx="37188">
                  <c:v>23.152543326867029</c:v>
                </c:pt>
                <c:pt idx="37189">
                  <c:v>23.105781501716528</c:v>
                </c:pt>
                <c:pt idx="37190">
                  <c:v>47.684405837835257</c:v>
                </c:pt>
                <c:pt idx="37191">
                  <c:v>33.221625766003065</c:v>
                </c:pt>
                <c:pt idx="37192">
                  <c:v>23.77787268046572</c:v>
                </c:pt>
                <c:pt idx="37193">
                  <c:v>41.792640823409975</c:v>
                </c:pt>
                <c:pt idx="37194">
                  <c:v>23.413407739062421</c:v>
                </c:pt>
                <c:pt idx="37195">
                  <c:v>23.507181438068002</c:v>
                </c:pt>
                <c:pt idx="37196">
                  <c:v>26.626644089235995</c:v>
                </c:pt>
                <c:pt idx="37197">
                  <c:v>35.453379476728223</c:v>
                </c:pt>
                <c:pt idx="37198">
                  <c:v>53.419359965826615</c:v>
                </c:pt>
                <c:pt idx="37199">
                  <c:v>27.188424728886414</c:v>
                </c:pt>
                <c:pt idx="37200">
                  <c:v>19.824370237411447</c:v>
                </c:pt>
                <c:pt idx="37201">
                  <c:v>27.350273148858037</c:v>
                </c:pt>
                <c:pt idx="37202">
                  <c:v>17.824590117269043</c:v>
                </c:pt>
                <c:pt idx="37203">
                  <c:v>44.563991093467266</c:v>
                </c:pt>
                <c:pt idx="37204">
                  <c:v>18.368451701718982</c:v>
                </c:pt>
                <c:pt idx="37205">
                  <c:v>36.977182774995342</c:v>
                </c:pt>
                <c:pt idx="37206">
                  <c:v>27.969644496386906</c:v>
                </c:pt>
                <c:pt idx="37207">
                  <c:v>21.105342265880054</c:v>
                </c:pt>
                <c:pt idx="37208">
                  <c:v>20.904871395601411</c:v>
                </c:pt>
                <c:pt idx="37209">
                  <c:v>26.191542744210707</c:v>
                </c:pt>
                <c:pt idx="37210">
                  <c:v>29.958476489055887</c:v>
                </c:pt>
                <c:pt idx="37211">
                  <c:v>48.920604115188944</c:v>
                </c:pt>
                <c:pt idx="37212">
                  <c:v>31.748259201159581</c:v>
                </c:pt>
                <c:pt idx="37213">
                  <c:v>32.480560191621109</c:v>
                </c:pt>
                <c:pt idx="37214">
                  <c:v>25.188243442040616</c:v>
                </c:pt>
                <c:pt idx="37215">
                  <c:v>57.51643849310706</c:v>
                </c:pt>
                <c:pt idx="37216">
                  <c:v>22.147052886089941</c:v>
                </c:pt>
                <c:pt idx="37217">
                  <c:v>50.544722087896538</c:v>
                </c:pt>
                <c:pt idx="37218">
                  <c:v>42.125207894608494</c:v>
                </c:pt>
                <c:pt idx="37219">
                  <c:v>27.565853122561965</c:v>
                </c:pt>
                <c:pt idx="37220">
                  <c:v>17.2650508325017</c:v>
                </c:pt>
                <c:pt idx="37221">
                  <c:v>25.641813992359019</c:v>
                </c:pt>
                <c:pt idx="37222">
                  <c:v>28.379312797125479</c:v>
                </c:pt>
                <c:pt idx="37223">
                  <c:v>30.726190391040234</c:v>
                </c:pt>
                <c:pt idx="37224">
                  <c:v>34.704278676392747</c:v>
                </c:pt>
                <c:pt idx="37225">
                  <c:v>49.741948103506857</c:v>
                </c:pt>
                <c:pt idx="37226">
                  <c:v>25.767009152402942</c:v>
                </c:pt>
                <c:pt idx="37227">
                  <c:v>19.561201664561299</c:v>
                </c:pt>
                <c:pt idx="37228">
                  <c:v>43.771058417949675</c:v>
                </c:pt>
                <c:pt idx="37229">
                  <c:v>26.992521279187592</c:v>
                </c:pt>
                <c:pt idx="37230">
                  <c:v>46.858497718452362</c:v>
                </c:pt>
                <c:pt idx="37231">
                  <c:v>20.912991209973043</c:v>
                </c:pt>
                <c:pt idx="37232">
                  <c:v>31.726111551241534</c:v>
                </c:pt>
                <c:pt idx="37233">
                  <c:v>42.701521514805343</c:v>
                </c:pt>
                <c:pt idx="37234">
                  <c:v>46.616567866988525</c:v>
                </c:pt>
                <c:pt idx="37235">
                  <c:v>27.481228848762058</c:v>
                </c:pt>
                <c:pt idx="37236">
                  <c:v>21.257530473308549</c:v>
                </c:pt>
                <c:pt idx="37237">
                  <c:v>23.594172252700368</c:v>
                </c:pt>
                <c:pt idx="37238">
                  <c:v>29.555374337054403</c:v>
                </c:pt>
                <c:pt idx="37239">
                  <c:v>65.259395573955061</c:v>
                </c:pt>
                <c:pt idx="37240">
                  <c:v>30.721819199893535</c:v>
                </c:pt>
                <c:pt idx="37241">
                  <c:v>29.92921111744154</c:v>
                </c:pt>
                <c:pt idx="37242">
                  <c:v>40.381763457552204</c:v>
                </c:pt>
                <c:pt idx="37243">
                  <c:v>20.475521800128099</c:v>
                </c:pt>
                <c:pt idx="37244">
                  <c:v>41.009697550980093</c:v>
                </c:pt>
                <c:pt idx="37245">
                  <c:v>24.057617820520953</c:v>
                </c:pt>
                <c:pt idx="37246">
                  <c:v>40.949349368304297</c:v>
                </c:pt>
                <c:pt idx="37247">
                  <c:v>35.464671172087236</c:v>
                </c:pt>
                <c:pt idx="37248">
                  <c:v>37.122929997965315</c:v>
                </c:pt>
                <c:pt idx="37249">
                  <c:v>26.366144115041003</c:v>
                </c:pt>
                <c:pt idx="37250">
                  <c:v>24.865840970442751</c:v>
                </c:pt>
                <c:pt idx="37251">
                  <c:v>44.781415869960099</c:v>
                </c:pt>
                <c:pt idx="37252">
                  <c:v>26.442892151279331</c:v>
                </c:pt>
                <c:pt idx="37253">
                  <c:v>28.139387626106608</c:v>
                </c:pt>
                <c:pt idx="37254">
                  <c:v>27.878102158317297</c:v>
                </c:pt>
                <c:pt idx="37255">
                  <c:v>42.530280217525423</c:v>
                </c:pt>
                <c:pt idx="37256">
                  <c:v>18.05089459786959</c:v>
                </c:pt>
                <c:pt idx="37257">
                  <c:v>35.769105270782283</c:v>
                </c:pt>
                <c:pt idx="37258">
                  <c:v>32.137195621217828</c:v>
                </c:pt>
                <c:pt idx="37259">
                  <c:v>24.397236338976768</c:v>
                </c:pt>
                <c:pt idx="37260">
                  <c:v>56.087667965638516</c:v>
                </c:pt>
                <c:pt idx="37261">
                  <c:v>49.353769089713182</c:v>
                </c:pt>
                <c:pt idx="37262">
                  <c:v>26.07401867108592</c:v>
                </c:pt>
                <c:pt idx="37263">
                  <c:v>24.324612136904474</c:v>
                </c:pt>
                <c:pt idx="37264">
                  <c:v>22.169897206736209</c:v>
                </c:pt>
                <c:pt idx="37265">
                  <c:v>33.106514963287928</c:v>
                </c:pt>
                <c:pt idx="37266">
                  <c:v>16.636890521344043</c:v>
                </c:pt>
                <c:pt idx="37267">
                  <c:v>24.431012232768897</c:v>
                </c:pt>
                <c:pt idx="37268">
                  <c:v>32.135346970572037</c:v>
                </c:pt>
                <c:pt idx="37269">
                  <c:v>24.687694870162758</c:v>
                </c:pt>
                <c:pt idx="37270">
                  <c:v>40.47889307266734</c:v>
                </c:pt>
                <c:pt idx="37271">
                  <c:v>28.231372879739716</c:v>
                </c:pt>
                <c:pt idx="37272">
                  <c:v>23.153395097497299</c:v>
                </c:pt>
                <c:pt idx="37273">
                  <c:v>33.090880479983539</c:v>
                </c:pt>
                <c:pt idx="37274">
                  <c:v>42.922199121569179</c:v>
                </c:pt>
                <c:pt idx="37275">
                  <c:v>32.008994964083776</c:v>
                </c:pt>
                <c:pt idx="37276">
                  <c:v>33.380223738659822</c:v>
                </c:pt>
                <c:pt idx="37277">
                  <c:v>45.225638435653138</c:v>
                </c:pt>
                <c:pt idx="37278">
                  <c:v>20.974748627773309</c:v>
                </c:pt>
                <c:pt idx="37279">
                  <c:v>56.151004974159022</c:v>
                </c:pt>
                <c:pt idx="37280">
                  <c:v>38.076272445351194</c:v>
                </c:pt>
                <c:pt idx="37281">
                  <c:v>29.775039736946923</c:v>
                </c:pt>
                <c:pt idx="37282">
                  <c:v>48.270587394456363</c:v>
                </c:pt>
                <c:pt idx="37283">
                  <c:v>32.661625154344051</c:v>
                </c:pt>
                <c:pt idx="37284">
                  <c:v>29.970958610692797</c:v>
                </c:pt>
                <c:pt idx="37285">
                  <c:v>22.388094235666244</c:v>
                </c:pt>
                <c:pt idx="37286">
                  <c:v>31.407657928379933</c:v>
                </c:pt>
                <c:pt idx="37287">
                  <c:v>26.758156257431452</c:v>
                </c:pt>
                <c:pt idx="37288">
                  <c:v>14.953590845160187</c:v>
                </c:pt>
                <c:pt idx="37289">
                  <c:v>39.516568572148884</c:v>
                </c:pt>
                <c:pt idx="37290">
                  <c:v>48.025814324109909</c:v>
                </c:pt>
                <c:pt idx="37291">
                  <c:v>23.386776184373211</c:v>
                </c:pt>
                <c:pt idx="37292">
                  <c:v>65.658247879392007</c:v>
                </c:pt>
                <c:pt idx="37293">
                  <c:v>51.662175649081277</c:v>
                </c:pt>
                <c:pt idx="37294">
                  <c:v>26.517407198147797</c:v>
                </c:pt>
                <c:pt idx="37295">
                  <c:v>18.897743167791646</c:v>
                </c:pt>
                <c:pt idx="37296">
                  <c:v>26.178425883105845</c:v>
                </c:pt>
                <c:pt idx="37297">
                  <c:v>36.841003995059978</c:v>
                </c:pt>
                <c:pt idx="37298">
                  <c:v>28.697462481457329</c:v>
                </c:pt>
                <c:pt idx="37299">
                  <c:v>30.244330204486641</c:v>
                </c:pt>
                <c:pt idx="37300">
                  <c:v>32.779340692262039</c:v>
                </c:pt>
                <c:pt idx="37301">
                  <c:v>44.611264244083671</c:v>
                </c:pt>
                <c:pt idx="37302">
                  <c:v>29.589624552752436</c:v>
                </c:pt>
                <c:pt idx="37303">
                  <c:v>28.580674949848138</c:v>
                </c:pt>
                <c:pt idx="37304">
                  <c:v>28.716284279232109</c:v>
                </c:pt>
                <c:pt idx="37305">
                  <c:v>34.112770193814065</c:v>
                </c:pt>
                <c:pt idx="37306">
                  <c:v>17.552003081888984</c:v>
                </c:pt>
                <c:pt idx="37307">
                  <c:v>53.508483036781662</c:v>
                </c:pt>
                <c:pt idx="37308">
                  <c:v>29.618015472770331</c:v>
                </c:pt>
                <c:pt idx="37309">
                  <c:v>37.772005377413123</c:v>
                </c:pt>
                <c:pt idx="37310">
                  <c:v>40.73928446126844</c:v>
                </c:pt>
                <c:pt idx="37311">
                  <c:v>53.608606561083029</c:v>
                </c:pt>
                <c:pt idx="37312">
                  <c:v>62.307345167138244</c:v>
                </c:pt>
                <c:pt idx="37313">
                  <c:v>31.441647545119306</c:v>
                </c:pt>
                <c:pt idx="37314">
                  <c:v>19.192823860367856</c:v>
                </c:pt>
                <c:pt idx="37315">
                  <c:v>28.60651552778593</c:v>
                </c:pt>
                <c:pt idx="37316">
                  <c:v>26.619492317895684</c:v>
                </c:pt>
                <c:pt idx="37317">
                  <c:v>22.064092658637907</c:v>
                </c:pt>
                <c:pt idx="37318">
                  <c:v>28.580522001596247</c:v>
                </c:pt>
                <c:pt idx="37319">
                  <c:v>28.976709480944518</c:v>
                </c:pt>
                <c:pt idx="37320">
                  <c:v>47.878968559988593</c:v>
                </c:pt>
                <c:pt idx="37321">
                  <c:v>38.277784376436436</c:v>
                </c:pt>
                <c:pt idx="37322">
                  <c:v>53.422700581317869</c:v>
                </c:pt>
                <c:pt idx="37323">
                  <c:v>24.193634981324692</c:v>
                </c:pt>
                <c:pt idx="37324">
                  <c:v>30.412171937879151</c:v>
                </c:pt>
                <c:pt idx="37325">
                  <c:v>21.763092895709391</c:v>
                </c:pt>
                <c:pt idx="37326">
                  <c:v>21.65318518739916</c:v>
                </c:pt>
                <c:pt idx="37327">
                  <c:v>24.529035315183705</c:v>
                </c:pt>
                <c:pt idx="37328">
                  <c:v>34.200796855487162</c:v>
                </c:pt>
                <c:pt idx="37329">
                  <c:v>28.44443498534374</c:v>
                </c:pt>
                <c:pt idx="37330">
                  <c:v>20.162901136329346</c:v>
                </c:pt>
                <c:pt idx="37331">
                  <c:v>29.609561548330596</c:v>
                </c:pt>
                <c:pt idx="37332">
                  <c:v>24.708933185361779</c:v>
                </c:pt>
                <c:pt idx="37333">
                  <c:v>30.519684351301013</c:v>
                </c:pt>
                <c:pt idx="37334">
                  <c:v>29.547660658805771</c:v>
                </c:pt>
                <c:pt idx="37335">
                  <c:v>31.797440641082417</c:v>
                </c:pt>
                <c:pt idx="37336">
                  <c:v>27.222309469367225</c:v>
                </c:pt>
                <c:pt idx="37337">
                  <c:v>22.996447554203598</c:v>
                </c:pt>
                <c:pt idx="37338">
                  <c:v>28.667229131413993</c:v>
                </c:pt>
                <c:pt idx="37339">
                  <c:v>48.588227768879257</c:v>
                </c:pt>
                <c:pt idx="37340">
                  <c:v>51.340443909056901</c:v>
                </c:pt>
                <c:pt idx="37341">
                  <c:v>16.199885663277126</c:v>
                </c:pt>
                <c:pt idx="37342">
                  <c:v>42.24698213019397</c:v>
                </c:pt>
                <c:pt idx="37343">
                  <c:v>25.158051467942251</c:v>
                </c:pt>
                <c:pt idx="37344">
                  <c:v>41.230698668936682</c:v>
                </c:pt>
                <c:pt idx="37345">
                  <c:v>25.898256448737868</c:v>
                </c:pt>
                <c:pt idx="37346">
                  <c:v>61.391319760697222</c:v>
                </c:pt>
                <c:pt idx="37347">
                  <c:v>29.990965915125528</c:v>
                </c:pt>
                <c:pt idx="37348">
                  <c:v>35.444625104118913</c:v>
                </c:pt>
                <c:pt idx="37349">
                  <c:v>46.290956394901549</c:v>
                </c:pt>
                <c:pt idx="37350">
                  <c:v>31.277805398949877</c:v>
                </c:pt>
                <c:pt idx="37351">
                  <c:v>32.023170244752777</c:v>
                </c:pt>
                <c:pt idx="37352">
                  <c:v>40.595147584210416</c:v>
                </c:pt>
                <c:pt idx="37353">
                  <c:v>32.499689339711239</c:v>
                </c:pt>
                <c:pt idx="37354">
                  <c:v>31.463581252012958</c:v>
                </c:pt>
                <c:pt idx="37355">
                  <c:v>27.523049392144571</c:v>
                </c:pt>
                <c:pt idx="37356">
                  <c:v>32.107642943764517</c:v>
                </c:pt>
                <c:pt idx="37357">
                  <c:v>49.163745514036385</c:v>
                </c:pt>
                <c:pt idx="37358">
                  <c:v>30.68198858306291</c:v>
                </c:pt>
                <c:pt idx="37359">
                  <c:v>35.643216438213869</c:v>
                </c:pt>
                <c:pt idx="37360">
                  <c:v>24.975308919577767</c:v>
                </c:pt>
                <c:pt idx="37361">
                  <c:v>41.241945370215618</c:v>
                </c:pt>
                <c:pt idx="37362">
                  <c:v>26.12569676381791</c:v>
                </c:pt>
                <c:pt idx="37363">
                  <c:v>24.492901386284238</c:v>
                </c:pt>
                <c:pt idx="37364">
                  <c:v>37.467969398056042</c:v>
                </c:pt>
                <c:pt idx="37365">
                  <c:v>51.210881267258067</c:v>
                </c:pt>
                <c:pt idx="37366">
                  <c:v>21.791643525426839</c:v>
                </c:pt>
                <c:pt idx="37367">
                  <c:v>23.638773668004664</c:v>
                </c:pt>
                <c:pt idx="37368">
                  <c:v>19.215418598296495</c:v>
                </c:pt>
                <c:pt idx="37369">
                  <c:v>50.555520401863738</c:v>
                </c:pt>
                <c:pt idx="37370">
                  <c:v>32.082124158779784</c:v>
                </c:pt>
                <c:pt idx="37371">
                  <c:v>35.600404623036155</c:v>
                </c:pt>
                <c:pt idx="37372">
                  <c:v>21.113354023877811</c:v>
                </c:pt>
                <c:pt idx="37373">
                  <c:v>34.621114453262031</c:v>
                </c:pt>
                <c:pt idx="37374">
                  <c:v>23.926009110635828</c:v>
                </c:pt>
                <c:pt idx="37375">
                  <c:v>28.237501186803282</c:v>
                </c:pt>
                <c:pt idx="37376">
                  <c:v>32.379508738534994</c:v>
                </c:pt>
                <c:pt idx="37377">
                  <c:v>38.993256886729924</c:v>
                </c:pt>
                <c:pt idx="37378">
                  <c:v>29.245248176424475</c:v>
                </c:pt>
                <c:pt idx="37379">
                  <c:v>27.089549675315169</c:v>
                </c:pt>
                <c:pt idx="37380">
                  <c:v>46.910024978353988</c:v>
                </c:pt>
                <c:pt idx="37381">
                  <c:v>21.099833794885523</c:v>
                </c:pt>
                <c:pt idx="37382">
                  <c:v>27.164726616847524</c:v>
                </c:pt>
                <c:pt idx="37383">
                  <c:v>54.2110780657883</c:v>
                </c:pt>
                <c:pt idx="37384">
                  <c:v>26.799272895917284</c:v>
                </c:pt>
                <c:pt idx="37385">
                  <c:v>20.928290778580269</c:v>
                </c:pt>
                <c:pt idx="37386">
                  <c:v>38.371050799053933</c:v>
                </c:pt>
                <c:pt idx="37387">
                  <c:v>50.2635230701718</c:v>
                </c:pt>
                <c:pt idx="37388">
                  <c:v>28.153451665345358</c:v>
                </c:pt>
                <c:pt idx="37389">
                  <c:v>31.272103316953032</c:v>
                </c:pt>
                <c:pt idx="37390">
                  <c:v>26.723136976110595</c:v>
                </c:pt>
                <c:pt idx="37391">
                  <c:v>30.95792209840339</c:v>
                </c:pt>
                <c:pt idx="37392">
                  <c:v>18.61491376710093</c:v>
                </c:pt>
                <c:pt idx="37393">
                  <c:v>19.948367926586855</c:v>
                </c:pt>
                <c:pt idx="37394">
                  <c:v>30.534838366195608</c:v>
                </c:pt>
                <c:pt idx="37395">
                  <c:v>31.482190153499147</c:v>
                </c:pt>
                <c:pt idx="37396">
                  <c:v>24.339286446964934</c:v>
                </c:pt>
                <c:pt idx="37397">
                  <c:v>22.624160501497702</c:v>
                </c:pt>
                <c:pt idx="37398">
                  <c:v>28.926178221317684</c:v>
                </c:pt>
                <c:pt idx="37399">
                  <c:v>45.468739123734125</c:v>
                </c:pt>
                <c:pt idx="37400">
                  <c:v>42.909121612724228</c:v>
                </c:pt>
                <c:pt idx="37401">
                  <c:v>32.396946032848454</c:v>
                </c:pt>
                <c:pt idx="37402">
                  <c:v>25.261558588310329</c:v>
                </c:pt>
                <c:pt idx="37403">
                  <c:v>20.521493992956316</c:v>
                </c:pt>
                <c:pt idx="37404">
                  <c:v>47.854642056833406</c:v>
                </c:pt>
                <c:pt idx="37405">
                  <c:v>18.390708633826247</c:v>
                </c:pt>
                <c:pt idx="37406">
                  <c:v>33.157344932832068</c:v>
                </c:pt>
                <c:pt idx="37407">
                  <c:v>31.484709250683224</c:v>
                </c:pt>
                <c:pt idx="37408">
                  <c:v>32.739222634847152</c:v>
                </c:pt>
                <c:pt idx="37409">
                  <c:v>35.850813647984339</c:v>
                </c:pt>
                <c:pt idx="37410">
                  <c:v>44.034833521943817</c:v>
                </c:pt>
                <c:pt idx="37411">
                  <c:v>29.577807074829696</c:v>
                </c:pt>
                <c:pt idx="37412">
                  <c:v>27.903954951351857</c:v>
                </c:pt>
                <c:pt idx="37413">
                  <c:v>38.943601656267752</c:v>
                </c:pt>
                <c:pt idx="37414">
                  <c:v>25.483704133464027</c:v>
                </c:pt>
                <c:pt idx="37415">
                  <c:v>31.921094051192867</c:v>
                </c:pt>
                <c:pt idx="37416">
                  <c:v>35.718338391439133</c:v>
                </c:pt>
                <c:pt idx="37417">
                  <c:v>61.316649418791727</c:v>
                </c:pt>
                <c:pt idx="37418">
                  <c:v>29.402518682675009</c:v>
                </c:pt>
                <c:pt idx="37419">
                  <c:v>27.510304067418112</c:v>
                </c:pt>
                <c:pt idx="37420">
                  <c:v>20.596551262280553</c:v>
                </c:pt>
                <c:pt idx="37421">
                  <c:v>26.29624026549029</c:v>
                </c:pt>
                <c:pt idx="37422">
                  <c:v>37.769167852159704</c:v>
                </c:pt>
                <c:pt idx="37423">
                  <c:v>22.097184983481707</c:v>
                </c:pt>
                <c:pt idx="37424">
                  <c:v>29.235326666767197</c:v>
                </c:pt>
                <c:pt idx="37425">
                  <c:v>36.113016469012663</c:v>
                </c:pt>
                <c:pt idx="37426">
                  <c:v>29.155344992252257</c:v>
                </c:pt>
                <c:pt idx="37427">
                  <c:v>24.363626943025821</c:v>
                </c:pt>
                <c:pt idx="37428">
                  <c:v>21.796490936397625</c:v>
                </c:pt>
                <c:pt idx="37429">
                  <c:v>35.459335336919445</c:v>
                </c:pt>
                <c:pt idx="37430">
                  <c:v>27.703836866044842</c:v>
                </c:pt>
                <c:pt idx="37431">
                  <c:v>32.760127579154236</c:v>
                </c:pt>
                <c:pt idx="37432">
                  <c:v>27.637224523284946</c:v>
                </c:pt>
                <c:pt idx="37433">
                  <c:v>15.469127029343042</c:v>
                </c:pt>
                <c:pt idx="37434">
                  <c:v>24.900346910836831</c:v>
                </c:pt>
                <c:pt idx="37435">
                  <c:v>21.626487098783947</c:v>
                </c:pt>
                <c:pt idx="37436">
                  <c:v>28.027482697917698</c:v>
                </c:pt>
                <c:pt idx="37437">
                  <c:v>24.948717630652357</c:v>
                </c:pt>
                <c:pt idx="37438">
                  <c:v>32.266387867063415</c:v>
                </c:pt>
                <c:pt idx="37439">
                  <c:v>25.095069254903411</c:v>
                </c:pt>
                <c:pt idx="37440">
                  <c:v>49.356185217343921</c:v>
                </c:pt>
                <c:pt idx="37441">
                  <c:v>14.056646738306403</c:v>
                </c:pt>
                <c:pt idx="37442">
                  <c:v>36.731248886415223</c:v>
                </c:pt>
                <c:pt idx="37443">
                  <c:v>32.294761094179854</c:v>
                </c:pt>
                <c:pt idx="37444">
                  <c:v>29.598991934951012</c:v>
                </c:pt>
                <c:pt idx="37445">
                  <c:v>22.550478646774671</c:v>
                </c:pt>
                <c:pt idx="37446">
                  <c:v>48.406640101409693</c:v>
                </c:pt>
                <c:pt idx="37447">
                  <c:v>28.281231261096565</c:v>
                </c:pt>
                <c:pt idx="37448">
                  <c:v>43.512409669744123</c:v>
                </c:pt>
                <c:pt idx="37449">
                  <c:v>28.608501882862612</c:v>
                </c:pt>
                <c:pt idx="37450">
                  <c:v>54.41604978301865</c:v>
                </c:pt>
                <c:pt idx="37451">
                  <c:v>15.657653063373443</c:v>
                </c:pt>
                <c:pt idx="37452">
                  <c:v>32.560652425230472</c:v>
                </c:pt>
                <c:pt idx="37453">
                  <c:v>26.834393254179702</c:v>
                </c:pt>
                <c:pt idx="37454">
                  <c:v>23.721589320274106</c:v>
                </c:pt>
                <c:pt idx="37455">
                  <c:v>27.762476360679422</c:v>
                </c:pt>
                <c:pt idx="37456">
                  <c:v>31.390479599313469</c:v>
                </c:pt>
                <c:pt idx="37457">
                  <c:v>20.706522320936585</c:v>
                </c:pt>
                <c:pt idx="37458">
                  <c:v>31.385007887534446</c:v>
                </c:pt>
                <c:pt idx="37459">
                  <c:v>28.18547292596206</c:v>
                </c:pt>
                <c:pt idx="37460">
                  <c:v>17.564672356270329</c:v>
                </c:pt>
                <c:pt idx="37461">
                  <c:v>22.494949977391993</c:v>
                </c:pt>
                <c:pt idx="37462">
                  <c:v>27.743546684348203</c:v>
                </c:pt>
                <c:pt idx="37463">
                  <c:v>22.505975227642431</c:v>
                </c:pt>
                <c:pt idx="37464">
                  <c:v>52.691413515018368</c:v>
                </c:pt>
                <c:pt idx="37465">
                  <c:v>35.295731136092613</c:v>
                </c:pt>
                <c:pt idx="37466">
                  <c:v>28.677447166070564</c:v>
                </c:pt>
                <c:pt idx="37467">
                  <c:v>25.05706034737041</c:v>
                </c:pt>
                <c:pt idx="37468">
                  <c:v>25.890549486270935</c:v>
                </c:pt>
                <c:pt idx="37469">
                  <c:v>22.096080478473432</c:v>
                </c:pt>
                <c:pt idx="37470">
                  <c:v>26.161884048737651</c:v>
                </c:pt>
                <c:pt idx="37471">
                  <c:v>22.738654948284847</c:v>
                </c:pt>
                <c:pt idx="37472">
                  <c:v>54.786870678244966</c:v>
                </c:pt>
                <c:pt idx="37473">
                  <c:v>30.661030467228457</c:v>
                </c:pt>
                <c:pt idx="37474">
                  <c:v>32.453353274167512</c:v>
                </c:pt>
                <c:pt idx="37475">
                  <c:v>39.236812991335327</c:v>
                </c:pt>
                <c:pt idx="37476">
                  <c:v>24.47810170372097</c:v>
                </c:pt>
                <c:pt idx="37477">
                  <c:v>49.581123023771781</c:v>
                </c:pt>
                <c:pt idx="37478">
                  <c:v>40.112124292331579</c:v>
                </c:pt>
                <c:pt idx="37479">
                  <c:v>24.610914059454373</c:v>
                </c:pt>
                <c:pt idx="37480">
                  <c:v>32.393193036796447</c:v>
                </c:pt>
                <c:pt idx="37481">
                  <c:v>33.251997466576697</c:v>
                </c:pt>
                <c:pt idx="37482">
                  <c:v>36.580679898712972</c:v>
                </c:pt>
                <c:pt idx="37483">
                  <c:v>24.376465402983811</c:v>
                </c:pt>
                <c:pt idx="37484">
                  <c:v>29.323591473985338</c:v>
                </c:pt>
                <c:pt idx="37485">
                  <c:v>32.173899539952927</c:v>
                </c:pt>
                <c:pt idx="37486">
                  <c:v>45.825517360834198</c:v>
                </c:pt>
                <c:pt idx="37487">
                  <c:v>60.523213479904129</c:v>
                </c:pt>
                <c:pt idx="37488">
                  <c:v>30.55288083667444</c:v>
                </c:pt>
                <c:pt idx="37489">
                  <c:v>22.48865687395034</c:v>
                </c:pt>
                <c:pt idx="37490">
                  <c:v>44.296811134509369</c:v>
                </c:pt>
                <c:pt idx="37491">
                  <c:v>43.65120129697155</c:v>
                </c:pt>
                <c:pt idx="37492">
                  <c:v>22.107636270682907</c:v>
                </c:pt>
                <c:pt idx="37493">
                  <c:v>22.632079262028466</c:v>
                </c:pt>
                <c:pt idx="37494">
                  <c:v>23.168168217997387</c:v>
                </c:pt>
                <c:pt idx="37495">
                  <c:v>41.43524066404882</c:v>
                </c:pt>
                <c:pt idx="37496">
                  <c:v>28.804514384084808</c:v>
                </c:pt>
                <c:pt idx="37497">
                  <c:v>28.654834617582459</c:v>
                </c:pt>
                <c:pt idx="37498">
                  <c:v>23.594724795155464</c:v>
                </c:pt>
                <c:pt idx="37499">
                  <c:v>27.21430171994318</c:v>
                </c:pt>
                <c:pt idx="37500">
                  <c:v>61.323885345115308</c:v>
                </c:pt>
                <c:pt idx="37501">
                  <c:v>46.167419218703564</c:v>
                </c:pt>
                <c:pt idx="37502">
                  <c:v>25.704970305932186</c:v>
                </c:pt>
                <c:pt idx="37503">
                  <c:v>29.24558848878111</c:v>
                </c:pt>
                <c:pt idx="37504">
                  <c:v>31.004463633145399</c:v>
                </c:pt>
                <c:pt idx="37505">
                  <c:v>36.098025267920704</c:v>
                </c:pt>
                <c:pt idx="37506">
                  <c:v>43.487439710174655</c:v>
                </c:pt>
                <c:pt idx="37507">
                  <c:v>24.775135638734959</c:v>
                </c:pt>
                <c:pt idx="37508">
                  <c:v>23.470320004484147</c:v>
                </c:pt>
                <c:pt idx="37509">
                  <c:v>25.740846690550768</c:v>
                </c:pt>
                <c:pt idx="37510">
                  <c:v>26.840367215756448</c:v>
                </c:pt>
                <c:pt idx="37511">
                  <c:v>19.609193763050499</c:v>
                </c:pt>
                <c:pt idx="37512">
                  <c:v>33.879207242237293</c:v>
                </c:pt>
                <c:pt idx="37513">
                  <c:v>29.773617168770304</c:v>
                </c:pt>
                <c:pt idx="37514">
                  <c:v>31.945568630495014</c:v>
                </c:pt>
                <c:pt idx="37515">
                  <c:v>56.149067802796814</c:v>
                </c:pt>
                <c:pt idx="37516">
                  <c:v>51.389485660284599</c:v>
                </c:pt>
                <c:pt idx="37517">
                  <c:v>24.078713807910823</c:v>
                </c:pt>
                <c:pt idx="37518">
                  <c:v>22.65475571739622</c:v>
                </c:pt>
                <c:pt idx="37519">
                  <c:v>27.087506830792169</c:v>
                </c:pt>
                <c:pt idx="37520">
                  <c:v>35.167929983842903</c:v>
                </c:pt>
                <c:pt idx="37521">
                  <c:v>16.972348543033352</c:v>
                </c:pt>
                <c:pt idx="37522">
                  <c:v>25.919154410550099</c:v>
                </c:pt>
                <c:pt idx="37523">
                  <c:v>30.521759073063933</c:v>
                </c:pt>
                <c:pt idx="37524">
                  <c:v>25.532729034259031</c:v>
                </c:pt>
                <c:pt idx="37525">
                  <c:v>23.408056027881006</c:v>
                </c:pt>
                <c:pt idx="37526">
                  <c:v>30.411463181695225</c:v>
                </c:pt>
                <c:pt idx="37527">
                  <c:v>27.158176274983798</c:v>
                </c:pt>
                <c:pt idx="37528">
                  <c:v>28.488178235197729</c:v>
                </c:pt>
                <c:pt idx="37529">
                  <c:v>29.439145999704056</c:v>
                </c:pt>
                <c:pt idx="37530">
                  <c:v>19.784890055798385</c:v>
                </c:pt>
                <c:pt idx="37531">
                  <c:v>19.717098263611938</c:v>
                </c:pt>
                <c:pt idx="37532">
                  <c:v>30.924272210851473</c:v>
                </c:pt>
                <c:pt idx="37533">
                  <c:v>41.31934563765796</c:v>
                </c:pt>
                <c:pt idx="37534">
                  <c:v>38.417693567788007</c:v>
                </c:pt>
                <c:pt idx="37535">
                  <c:v>50.936710758756035</c:v>
                </c:pt>
                <c:pt idx="37536">
                  <c:v>21.388698686514097</c:v>
                </c:pt>
                <c:pt idx="37537">
                  <c:v>44.806269394300386</c:v>
                </c:pt>
                <c:pt idx="37538">
                  <c:v>26.782951734867197</c:v>
                </c:pt>
                <c:pt idx="37539">
                  <c:v>39.853536097214992</c:v>
                </c:pt>
                <c:pt idx="37540">
                  <c:v>38.972256510245231</c:v>
                </c:pt>
                <c:pt idx="37541">
                  <c:v>45.538891941457415</c:v>
                </c:pt>
                <c:pt idx="37542">
                  <c:v>38.611576336548438</c:v>
                </c:pt>
                <c:pt idx="37543">
                  <c:v>26.377665369228041</c:v>
                </c:pt>
                <c:pt idx="37544">
                  <c:v>24.537858419727772</c:v>
                </c:pt>
                <c:pt idx="37545">
                  <c:v>21.555688636487648</c:v>
                </c:pt>
                <c:pt idx="37546">
                  <c:v>52.786992486275125</c:v>
                </c:pt>
                <c:pt idx="37547">
                  <c:v>15.061763662366618</c:v>
                </c:pt>
                <c:pt idx="37548">
                  <c:v>24.345623103010933</c:v>
                </c:pt>
                <c:pt idx="37549">
                  <c:v>43.403427927256757</c:v>
                </c:pt>
                <c:pt idx="37550">
                  <c:v>26.653832317191135</c:v>
                </c:pt>
                <c:pt idx="37551">
                  <c:v>37.860001620934852</c:v>
                </c:pt>
                <c:pt idx="37552">
                  <c:v>28.772585042378779</c:v>
                </c:pt>
                <c:pt idx="37553">
                  <c:v>19.735061653727055</c:v>
                </c:pt>
                <c:pt idx="37554">
                  <c:v>28.335459428089681</c:v>
                </c:pt>
                <c:pt idx="37555">
                  <c:v>20.953135749361635</c:v>
                </c:pt>
                <c:pt idx="37556">
                  <c:v>23.671055978514119</c:v>
                </c:pt>
                <c:pt idx="37557">
                  <c:v>25.099323788278003</c:v>
                </c:pt>
                <c:pt idx="37558">
                  <c:v>24.043440942091202</c:v>
                </c:pt>
                <c:pt idx="37559">
                  <c:v>22.748086329103685</c:v>
                </c:pt>
                <c:pt idx="37560">
                  <c:v>22.733879902739549</c:v>
                </c:pt>
                <c:pt idx="37561">
                  <c:v>32.033053223278408</c:v>
                </c:pt>
                <c:pt idx="37562">
                  <c:v>24.746930576255608</c:v>
                </c:pt>
                <c:pt idx="37563">
                  <c:v>28.40340212589107</c:v>
                </c:pt>
                <c:pt idx="37564">
                  <c:v>34.319308931139346</c:v>
                </c:pt>
                <c:pt idx="37565">
                  <c:v>52.279018534797416</c:v>
                </c:pt>
                <c:pt idx="37566">
                  <c:v>25.836236904915868</c:v>
                </c:pt>
                <c:pt idx="37567">
                  <c:v>26.572761669242372</c:v>
                </c:pt>
                <c:pt idx="37568">
                  <c:v>23.036729974646711</c:v>
                </c:pt>
                <c:pt idx="37569">
                  <c:v>24.979908500988252</c:v>
                </c:pt>
                <c:pt idx="37570">
                  <c:v>25.798680505401091</c:v>
                </c:pt>
                <c:pt idx="37571">
                  <c:v>27.160467932303384</c:v>
                </c:pt>
                <c:pt idx="37572">
                  <c:v>30.464846306203075</c:v>
                </c:pt>
                <c:pt idx="37573">
                  <c:v>48.597269643384976</c:v>
                </c:pt>
                <c:pt idx="37574">
                  <c:v>33.203886163316248</c:v>
                </c:pt>
                <c:pt idx="37575">
                  <c:v>27.674383871734971</c:v>
                </c:pt>
                <c:pt idx="37576">
                  <c:v>25.95132820567412</c:v>
                </c:pt>
                <c:pt idx="37577">
                  <c:v>25.642561105440613</c:v>
                </c:pt>
                <c:pt idx="37578">
                  <c:v>19.478738451283014</c:v>
                </c:pt>
                <c:pt idx="37579">
                  <c:v>29.122068013213443</c:v>
                </c:pt>
                <c:pt idx="37580">
                  <c:v>29.924974548824629</c:v>
                </c:pt>
                <c:pt idx="37581">
                  <c:v>25.870594487141439</c:v>
                </c:pt>
                <c:pt idx="37582">
                  <c:v>44.135483552187551</c:v>
                </c:pt>
                <c:pt idx="37583">
                  <c:v>41.094910627952011</c:v>
                </c:pt>
                <c:pt idx="37584">
                  <c:v>26.123790325880506</c:v>
                </c:pt>
                <c:pt idx="37585">
                  <c:v>33.051623345883627</c:v>
                </c:pt>
                <c:pt idx="37586">
                  <c:v>21.948389777985735</c:v>
                </c:pt>
                <c:pt idx="37587">
                  <c:v>51.307944714355855</c:v>
                </c:pt>
                <c:pt idx="37588">
                  <c:v>21.87552653590253</c:v>
                </c:pt>
                <c:pt idx="37589">
                  <c:v>45.465345239749233</c:v>
                </c:pt>
                <c:pt idx="37590">
                  <c:v>22.034070184912167</c:v>
                </c:pt>
                <c:pt idx="37591">
                  <c:v>27.831805755070754</c:v>
                </c:pt>
                <c:pt idx="37592">
                  <c:v>43.595882617306053</c:v>
                </c:pt>
                <c:pt idx="37593">
                  <c:v>20.057502005743647</c:v>
                </c:pt>
                <c:pt idx="37594">
                  <c:v>29.511893438331366</c:v>
                </c:pt>
                <c:pt idx="37595">
                  <c:v>26.810677170813676</c:v>
                </c:pt>
                <c:pt idx="37596">
                  <c:v>27.333815428422696</c:v>
                </c:pt>
                <c:pt idx="37597">
                  <c:v>27.776529792369075</c:v>
                </c:pt>
                <c:pt idx="37598">
                  <c:v>23.860547003259981</c:v>
                </c:pt>
                <c:pt idx="37599">
                  <c:v>29.944154518560111</c:v>
                </c:pt>
                <c:pt idx="37600">
                  <c:v>29.055413977291565</c:v>
                </c:pt>
                <c:pt idx="37601">
                  <c:v>42.859777145256544</c:v>
                </c:pt>
                <c:pt idx="37602">
                  <c:v>24.39014987919688</c:v>
                </c:pt>
                <c:pt idx="37603">
                  <c:v>31.719837615748347</c:v>
                </c:pt>
                <c:pt idx="37604">
                  <c:v>26.304141407654065</c:v>
                </c:pt>
                <c:pt idx="37605">
                  <c:v>31.500212859179534</c:v>
                </c:pt>
                <c:pt idx="37606">
                  <c:v>27.45240458964507</c:v>
                </c:pt>
                <c:pt idx="37607">
                  <c:v>27.833658256924895</c:v>
                </c:pt>
                <c:pt idx="37608">
                  <c:v>25.712116241568697</c:v>
                </c:pt>
                <c:pt idx="37609">
                  <c:v>26.963176991858607</c:v>
                </c:pt>
                <c:pt idx="37610">
                  <c:v>26.101494648165783</c:v>
                </c:pt>
                <c:pt idx="37611">
                  <c:v>35.91347961931163</c:v>
                </c:pt>
                <c:pt idx="37612">
                  <c:v>48.193147144193041</c:v>
                </c:pt>
                <c:pt idx="37613">
                  <c:v>30.58106118688918</c:v>
                </c:pt>
                <c:pt idx="37614">
                  <c:v>23.386373571118654</c:v>
                </c:pt>
                <c:pt idx="37615">
                  <c:v>57.588697413095346</c:v>
                </c:pt>
                <c:pt idx="37616">
                  <c:v>17.448566333756961</c:v>
                </c:pt>
                <c:pt idx="37617">
                  <c:v>57.171543712946686</c:v>
                </c:pt>
                <c:pt idx="37618">
                  <c:v>34.538537726006261</c:v>
                </c:pt>
                <c:pt idx="37619">
                  <c:v>26.118157736210879</c:v>
                </c:pt>
                <c:pt idx="37620">
                  <c:v>23.593826316607561</c:v>
                </c:pt>
                <c:pt idx="37621">
                  <c:v>20.126671218083025</c:v>
                </c:pt>
                <c:pt idx="37622">
                  <c:v>35.217774044940832</c:v>
                </c:pt>
                <c:pt idx="37623">
                  <c:v>30.295624959185275</c:v>
                </c:pt>
                <c:pt idx="37624">
                  <c:v>41.092590948662313</c:v>
                </c:pt>
                <c:pt idx="37625">
                  <c:v>22.199764792821316</c:v>
                </c:pt>
                <c:pt idx="37626">
                  <c:v>29.008920148053122</c:v>
                </c:pt>
                <c:pt idx="37627">
                  <c:v>25.626939001590181</c:v>
                </c:pt>
                <c:pt idx="37628">
                  <c:v>28.52941092612911</c:v>
                </c:pt>
                <c:pt idx="37629">
                  <c:v>38.905125084325014</c:v>
                </c:pt>
                <c:pt idx="37630">
                  <c:v>57.847895627059671</c:v>
                </c:pt>
                <c:pt idx="37631">
                  <c:v>26.309410617793702</c:v>
                </c:pt>
                <c:pt idx="37632">
                  <c:v>29.462607101224101</c:v>
                </c:pt>
                <c:pt idx="37633">
                  <c:v>20.79136591198418</c:v>
                </c:pt>
                <c:pt idx="37634">
                  <c:v>23.70845600697195</c:v>
                </c:pt>
                <c:pt idx="37635">
                  <c:v>38.685437075914344</c:v>
                </c:pt>
                <c:pt idx="37636">
                  <c:v>35.198461290032739</c:v>
                </c:pt>
                <c:pt idx="37637">
                  <c:v>24.351852963082695</c:v>
                </c:pt>
                <c:pt idx="37638">
                  <c:v>14.68657044314522</c:v>
                </c:pt>
                <c:pt idx="37639">
                  <c:v>30.972251314644431</c:v>
                </c:pt>
                <c:pt idx="37640">
                  <c:v>29.916201047629741</c:v>
                </c:pt>
                <c:pt idx="37641">
                  <c:v>27.482154600638179</c:v>
                </c:pt>
                <c:pt idx="37642">
                  <c:v>39.043756244585637</c:v>
                </c:pt>
                <c:pt idx="37643">
                  <c:v>22.653514534386666</c:v>
                </c:pt>
                <c:pt idx="37644">
                  <c:v>23.148342602095518</c:v>
                </c:pt>
                <c:pt idx="37645">
                  <c:v>28.266350508721754</c:v>
                </c:pt>
                <c:pt idx="37646">
                  <c:v>18.806606445161002</c:v>
                </c:pt>
                <c:pt idx="37647">
                  <c:v>27.052060155316003</c:v>
                </c:pt>
                <c:pt idx="37648">
                  <c:v>33.478412030040587</c:v>
                </c:pt>
                <c:pt idx="37649">
                  <c:v>27.628625511369428</c:v>
                </c:pt>
                <c:pt idx="37650">
                  <c:v>25.852090510382158</c:v>
                </c:pt>
                <c:pt idx="37651">
                  <c:v>19.996493345662245</c:v>
                </c:pt>
                <c:pt idx="37652">
                  <c:v>31.006539566762843</c:v>
                </c:pt>
                <c:pt idx="37653">
                  <c:v>49.2027018035919</c:v>
                </c:pt>
                <c:pt idx="37654">
                  <c:v>29.660422040961073</c:v>
                </c:pt>
                <c:pt idx="37655">
                  <c:v>48.275538776708657</c:v>
                </c:pt>
                <c:pt idx="37656">
                  <c:v>37.678929516502471</c:v>
                </c:pt>
                <c:pt idx="37657">
                  <c:v>19.6038636605569</c:v>
                </c:pt>
                <c:pt idx="37658">
                  <c:v>21.652567572400521</c:v>
                </c:pt>
                <c:pt idx="37659">
                  <c:v>20.443591525825724</c:v>
                </c:pt>
                <c:pt idx="37660">
                  <c:v>19.893289248903709</c:v>
                </c:pt>
                <c:pt idx="37661">
                  <c:v>44.4683625781812</c:v>
                </c:pt>
                <c:pt idx="37662">
                  <c:v>44.763293576941614</c:v>
                </c:pt>
                <c:pt idx="37663">
                  <c:v>35.132360095400308</c:v>
                </c:pt>
                <c:pt idx="37664">
                  <c:v>18.7896598677033</c:v>
                </c:pt>
                <c:pt idx="37665">
                  <c:v>23.659628022498325</c:v>
                </c:pt>
                <c:pt idx="37666">
                  <c:v>28.529243985713673</c:v>
                </c:pt>
                <c:pt idx="37667">
                  <c:v>52.448291763893636</c:v>
                </c:pt>
                <c:pt idx="37668">
                  <c:v>48.635311458571493</c:v>
                </c:pt>
                <c:pt idx="37669">
                  <c:v>24.391034922368817</c:v>
                </c:pt>
                <c:pt idx="37670">
                  <c:v>29.730327440360092</c:v>
                </c:pt>
                <c:pt idx="37671">
                  <c:v>23.859394550110906</c:v>
                </c:pt>
                <c:pt idx="37672">
                  <c:v>23.969100653981904</c:v>
                </c:pt>
                <c:pt idx="37673">
                  <c:v>31.111665456411721</c:v>
                </c:pt>
                <c:pt idx="37674">
                  <c:v>47.718471209588671</c:v>
                </c:pt>
                <c:pt idx="37675">
                  <c:v>24.957712430371551</c:v>
                </c:pt>
                <c:pt idx="37676">
                  <c:v>30.157487270072078</c:v>
                </c:pt>
                <c:pt idx="37677">
                  <c:v>48.692911426602286</c:v>
                </c:pt>
                <c:pt idx="37678">
                  <c:v>32.904080669682827</c:v>
                </c:pt>
                <c:pt idx="37679">
                  <c:v>27.932602545973172</c:v>
                </c:pt>
                <c:pt idx="37680">
                  <c:v>25.462032185115422</c:v>
                </c:pt>
                <c:pt idx="37681">
                  <c:v>26.695621814545454</c:v>
                </c:pt>
                <c:pt idx="37682">
                  <c:v>22.098346120389863</c:v>
                </c:pt>
                <c:pt idx="37683">
                  <c:v>23.108549877283387</c:v>
                </c:pt>
                <c:pt idx="37684">
                  <c:v>26.024115660107128</c:v>
                </c:pt>
                <c:pt idx="37685">
                  <c:v>44.410222527519302</c:v>
                </c:pt>
                <c:pt idx="37686">
                  <c:v>20.772380157766129</c:v>
                </c:pt>
                <c:pt idx="37687">
                  <c:v>21.271302136683104</c:v>
                </c:pt>
                <c:pt idx="37688">
                  <c:v>25.533575095108247</c:v>
                </c:pt>
                <c:pt idx="37689">
                  <c:v>22.244552635717834</c:v>
                </c:pt>
                <c:pt idx="37690">
                  <c:v>21.432412821159662</c:v>
                </c:pt>
                <c:pt idx="37691">
                  <c:v>23.114872508090187</c:v>
                </c:pt>
                <c:pt idx="37692">
                  <c:v>39.79098423353993</c:v>
                </c:pt>
                <c:pt idx="37693">
                  <c:v>35.637711607406104</c:v>
                </c:pt>
                <c:pt idx="37694">
                  <c:v>28.529393974347286</c:v>
                </c:pt>
                <c:pt idx="37695">
                  <c:v>17.778355345676594</c:v>
                </c:pt>
                <c:pt idx="37696">
                  <c:v>47.835597551476802</c:v>
                </c:pt>
                <c:pt idx="37697">
                  <c:v>24.693197061166693</c:v>
                </c:pt>
                <c:pt idx="37698">
                  <c:v>22.769686139859893</c:v>
                </c:pt>
                <c:pt idx="37699">
                  <c:v>29.77310343942839</c:v>
                </c:pt>
                <c:pt idx="37700">
                  <c:v>30.770392456712518</c:v>
                </c:pt>
                <c:pt idx="37701">
                  <c:v>25.301954080275195</c:v>
                </c:pt>
                <c:pt idx="37702">
                  <c:v>21.438701730092813</c:v>
                </c:pt>
                <c:pt idx="37703">
                  <c:v>42.995971578853386</c:v>
                </c:pt>
                <c:pt idx="37704">
                  <c:v>21.412012784457119</c:v>
                </c:pt>
                <c:pt idx="37705">
                  <c:v>52.743054535311714</c:v>
                </c:pt>
                <c:pt idx="37706">
                  <c:v>27.528704439897929</c:v>
                </c:pt>
                <c:pt idx="37707">
                  <c:v>26.119962251357776</c:v>
                </c:pt>
                <c:pt idx="37708">
                  <c:v>25.954401649451228</c:v>
                </c:pt>
                <c:pt idx="37709">
                  <c:v>60.531876876656533</c:v>
                </c:pt>
                <c:pt idx="37710">
                  <c:v>28.451141515836365</c:v>
                </c:pt>
                <c:pt idx="37711">
                  <c:v>50.921019205989786</c:v>
                </c:pt>
                <c:pt idx="37712">
                  <c:v>26.097126467603744</c:v>
                </c:pt>
                <c:pt idx="37713">
                  <c:v>24.46738972037469</c:v>
                </c:pt>
                <c:pt idx="37714">
                  <c:v>25.554280983006645</c:v>
                </c:pt>
                <c:pt idx="37715">
                  <c:v>21.608343461244907</c:v>
                </c:pt>
                <c:pt idx="37716">
                  <c:v>31.095656127777605</c:v>
                </c:pt>
                <c:pt idx="37717">
                  <c:v>27.450343026102626</c:v>
                </c:pt>
                <c:pt idx="37718">
                  <c:v>47.388637470462449</c:v>
                </c:pt>
                <c:pt idx="37719">
                  <c:v>33.280274173859489</c:v>
                </c:pt>
                <c:pt idx="37720">
                  <c:v>43.282156761813688</c:v>
                </c:pt>
                <c:pt idx="37721">
                  <c:v>33.753577265730016</c:v>
                </c:pt>
                <c:pt idx="37722">
                  <c:v>49.776392865394754</c:v>
                </c:pt>
                <c:pt idx="37723">
                  <c:v>25.497513455896556</c:v>
                </c:pt>
                <c:pt idx="37724">
                  <c:v>21.21475988305858</c:v>
                </c:pt>
                <c:pt idx="37725">
                  <c:v>34.212646861793957</c:v>
                </c:pt>
                <c:pt idx="37726">
                  <c:v>22.684272127133525</c:v>
                </c:pt>
                <c:pt idx="37727">
                  <c:v>25.067677445104184</c:v>
                </c:pt>
                <c:pt idx="37728">
                  <c:v>50.325819030205572</c:v>
                </c:pt>
                <c:pt idx="37729">
                  <c:v>24.639099922299941</c:v>
                </c:pt>
                <c:pt idx="37730">
                  <c:v>27.101425975067077</c:v>
                </c:pt>
                <c:pt idx="37731">
                  <c:v>44.650996249447097</c:v>
                </c:pt>
                <c:pt idx="37732">
                  <c:v>30.476184358282694</c:v>
                </c:pt>
                <c:pt idx="37733">
                  <c:v>27.081657201736302</c:v>
                </c:pt>
                <c:pt idx="37734">
                  <c:v>27.956214665806556</c:v>
                </c:pt>
                <c:pt idx="37735">
                  <c:v>26.826166463812996</c:v>
                </c:pt>
                <c:pt idx="37736">
                  <c:v>26.944065818274098</c:v>
                </c:pt>
                <c:pt idx="37737">
                  <c:v>29.740754765944853</c:v>
                </c:pt>
                <c:pt idx="37738">
                  <c:v>22.103707178416098</c:v>
                </c:pt>
                <c:pt idx="37739">
                  <c:v>48.961959407324926</c:v>
                </c:pt>
                <c:pt idx="37740">
                  <c:v>36.999770210723192</c:v>
                </c:pt>
                <c:pt idx="37741">
                  <c:v>46.396397816241723</c:v>
                </c:pt>
                <c:pt idx="37742">
                  <c:v>17.090618457875415</c:v>
                </c:pt>
                <c:pt idx="37743">
                  <c:v>27.439206068202029</c:v>
                </c:pt>
                <c:pt idx="37744">
                  <c:v>25.107243257492968</c:v>
                </c:pt>
                <c:pt idx="37745">
                  <c:v>25.705403746992395</c:v>
                </c:pt>
                <c:pt idx="37746">
                  <c:v>29.777555381179383</c:v>
                </c:pt>
                <c:pt idx="37747">
                  <c:v>35.601943644189191</c:v>
                </c:pt>
                <c:pt idx="37748">
                  <c:v>24.016836725457143</c:v>
                </c:pt>
                <c:pt idx="37749">
                  <c:v>20.653292824351912</c:v>
                </c:pt>
                <c:pt idx="37750">
                  <c:v>20.975159366102499</c:v>
                </c:pt>
                <c:pt idx="37751">
                  <c:v>35.913818974217463</c:v>
                </c:pt>
                <c:pt idx="37752">
                  <c:v>28.902584941572858</c:v>
                </c:pt>
                <c:pt idx="37753">
                  <c:v>32.183816674981827</c:v>
                </c:pt>
                <c:pt idx="37754">
                  <c:v>34.333518333059061</c:v>
                </c:pt>
                <c:pt idx="37755">
                  <c:v>20.836107669889739</c:v>
                </c:pt>
                <c:pt idx="37756">
                  <c:v>31.555250528911944</c:v>
                </c:pt>
                <c:pt idx="37757">
                  <c:v>34.580411317283847</c:v>
                </c:pt>
                <c:pt idx="37758">
                  <c:v>28.294477317567146</c:v>
                </c:pt>
                <c:pt idx="37759">
                  <c:v>55.244898716371118</c:v>
                </c:pt>
                <c:pt idx="37760">
                  <c:v>15.416084523408589</c:v>
                </c:pt>
                <c:pt idx="37761">
                  <c:v>22.022153271937732</c:v>
                </c:pt>
                <c:pt idx="37762">
                  <c:v>48.94157449830135</c:v>
                </c:pt>
                <c:pt idx="37763">
                  <c:v>23.915310279816577</c:v>
                </c:pt>
                <c:pt idx="37764">
                  <c:v>28.81000743083947</c:v>
                </c:pt>
                <c:pt idx="37765">
                  <c:v>23.175155811084327</c:v>
                </c:pt>
                <c:pt idx="37766">
                  <c:v>22.879859561903896</c:v>
                </c:pt>
                <c:pt idx="37767">
                  <c:v>34.173612211204407</c:v>
                </c:pt>
                <c:pt idx="37768">
                  <c:v>48.25938793055635</c:v>
                </c:pt>
                <c:pt idx="37769">
                  <c:v>46.039173978508899</c:v>
                </c:pt>
                <c:pt idx="37770">
                  <c:v>25.390426499737771</c:v>
                </c:pt>
                <c:pt idx="37771">
                  <c:v>28.882368123323172</c:v>
                </c:pt>
                <c:pt idx="37772">
                  <c:v>22.725954200257824</c:v>
                </c:pt>
                <c:pt idx="37773">
                  <c:v>22.942482424277422</c:v>
                </c:pt>
                <c:pt idx="37774">
                  <c:v>30.224605401778732</c:v>
                </c:pt>
                <c:pt idx="37775">
                  <c:v>23.77136374128521</c:v>
                </c:pt>
                <c:pt idx="37776">
                  <c:v>31.072611156812094</c:v>
                </c:pt>
                <c:pt idx="37777">
                  <c:v>31.758735304125892</c:v>
                </c:pt>
                <c:pt idx="37778">
                  <c:v>28.9627070921354</c:v>
                </c:pt>
                <c:pt idx="37779">
                  <c:v>36.694751135452869</c:v>
                </c:pt>
                <c:pt idx="37780">
                  <c:v>29.64298890529157</c:v>
                </c:pt>
                <c:pt idx="37781">
                  <c:v>28.660147198952018</c:v>
                </c:pt>
                <c:pt idx="37782">
                  <c:v>29.300440922709562</c:v>
                </c:pt>
                <c:pt idx="37783">
                  <c:v>29.616328006341043</c:v>
                </c:pt>
                <c:pt idx="37784">
                  <c:v>20.35916317351947</c:v>
                </c:pt>
                <c:pt idx="37785">
                  <c:v>22.716861019928206</c:v>
                </c:pt>
                <c:pt idx="37786">
                  <c:v>45.304172796396927</c:v>
                </c:pt>
                <c:pt idx="37787">
                  <c:v>27.261398449501726</c:v>
                </c:pt>
                <c:pt idx="37788">
                  <c:v>22.634689317494569</c:v>
                </c:pt>
                <c:pt idx="37789">
                  <c:v>31.941492745522588</c:v>
                </c:pt>
                <c:pt idx="37790">
                  <c:v>34.736513320276103</c:v>
                </c:pt>
                <c:pt idx="37791">
                  <c:v>27.47450171776018</c:v>
                </c:pt>
                <c:pt idx="37792">
                  <c:v>30.551219893087911</c:v>
                </c:pt>
                <c:pt idx="37793">
                  <c:v>38.850465370660061</c:v>
                </c:pt>
                <c:pt idx="37794">
                  <c:v>24.37298186919703</c:v>
                </c:pt>
                <c:pt idx="37795">
                  <c:v>34.223409980951708</c:v>
                </c:pt>
                <c:pt idx="37796">
                  <c:v>22.702341407560745</c:v>
                </c:pt>
                <c:pt idx="37797">
                  <c:v>25.765556829338532</c:v>
                </c:pt>
                <c:pt idx="37798">
                  <c:v>29.13795826110427</c:v>
                </c:pt>
                <c:pt idx="37799">
                  <c:v>27.088624449448069</c:v>
                </c:pt>
                <c:pt idx="37800">
                  <c:v>47.74217923679938</c:v>
                </c:pt>
                <c:pt idx="37801">
                  <c:v>12.154644192392631</c:v>
                </c:pt>
                <c:pt idx="37802">
                  <c:v>26.106371171184797</c:v>
                </c:pt>
                <c:pt idx="37803">
                  <c:v>22.974505899986518</c:v>
                </c:pt>
                <c:pt idx="37804">
                  <c:v>46.666712002307492</c:v>
                </c:pt>
                <c:pt idx="37805">
                  <c:v>23.913387576862711</c:v>
                </c:pt>
                <c:pt idx="37806">
                  <c:v>26.326284874671728</c:v>
                </c:pt>
                <c:pt idx="37807">
                  <c:v>22.384218620897315</c:v>
                </c:pt>
                <c:pt idx="37808">
                  <c:v>25.70192355784064</c:v>
                </c:pt>
                <c:pt idx="37809">
                  <c:v>21.044520686883352</c:v>
                </c:pt>
                <c:pt idx="37810">
                  <c:v>29.755782881040332</c:v>
                </c:pt>
                <c:pt idx="37811">
                  <c:v>41.098433990051177</c:v>
                </c:pt>
                <c:pt idx="37812">
                  <c:v>38.994472704093802</c:v>
                </c:pt>
                <c:pt idx="37813">
                  <c:v>29.98621821388825</c:v>
                </c:pt>
                <c:pt idx="37814">
                  <c:v>24.668426183288837</c:v>
                </c:pt>
                <c:pt idx="37815">
                  <c:v>27.242088833083848</c:v>
                </c:pt>
                <c:pt idx="37816">
                  <c:v>29.643794233617577</c:v>
                </c:pt>
                <c:pt idx="37817">
                  <c:v>24.332477802438547</c:v>
                </c:pt>
                <c:pt idx="37818">
                  <c:v>23.133658357480996</c:v>
                </c:pt>
                <c:pt idx="37819">
                  <c:v>27.01732934322024</c:v>
                </c:pt>
                <c:pt idx="37820">
                  <c:v>46.2661228916363</c:v>
                </c:pt>
                <c:pt idx="37821">
                  <c:v>28.914343791790579</c:v>
                </c:pt>
                <c:pt idx="37822">
                  <c:v>29.611439973441396</c:v>
                </c:pt>
                <c:pt idx="37823">
                  <c:v>19.425035041780095</c:v>
                </c:pt>
                <c:pt idx="37824">
                  <c:v>61.639995027755013</c:v>
                </c:pt>
                <c:pt idx="37825">
                  <c:v>31.389404676628036</c:v>
                </c:pt>
                <c:pt idx="37826">
                  <c:v>33.706832873026286</c:v>
                </c:pt>
                <c:pt idx="37827">
                  <c:v>27.638120432300315</c:v>
                </c:pt>
                <c:pt idx="37828">
                  <c:v>24.461389465823697</c:v>
                </c:pt>
                <c:pt idx="37829">
                  <c:v>39.013585259103714</c:v>
                </c:pt>
                <c:pt idx="37830">
                  <c:v>20.412319007651355</c:v>
                </c:pt>
                <c:pt idx="37831">
                  <c:v>43.96867771836871</c:v>
                </c:pt>
                <c:pt idx="37832">
                  <c:v>53.174821240504428</c:v>
                </c:pt>
                <c:pt idx="37833">
                  <c:v>45.582261303906627</c:v>
                </c:pt>
                <c:pt idx="37834">
                  <c:v>29.255632317608146</c:v>
                </c:pt>
                <c:pt idx="37835">
                  <c:v>41.316524347162932</c:v>
                </c:pt>
                <c:pt idx="37836">
                  <c:v>31.419355491212368</c:v>
                </c:pt>
                <c:pt idx="37837">
                  <c:v>33.160326882159907</c:v>
                </c:pt>
                <c:pt idx="37838">
                  <c:v>57.867161451830881</c:v>
                </c:pt>
                <c:pt idx="37839">
                  <c:v>28.843221734576744</c:v>
                </c:pt>
                <c:pt idx="37840">
                  <c:v>19.572647128679009</c:v>
                </c:pt>
                <c:pt idx="37841">
                  <c:v>22.113518092485453</c:v>
                </c:pt>
                <c:pt idx="37842">
                  <c:v>22.850639698056316</c:v>
                </c:pt>
                <c:pt idx="37843">
                  <c:v>17.81224543518627</c:v>
                </c:pt>
                <c:pt idx="37844">
                  <c:v>26.291329658578928</c:v>
                </c:pt>
                <c:pt idx="37845">
                  <c:v>23.900590799972704</c:v>
                </c:pt>
                <c:pt idx="37846">
                  <c:v>25.974385007771755</c:v>
                </c:pt>
                <c:pt idx="37847">
                  <c:v>26.349581358271795</c:v>
                </c:pt>
                <c:pt idx="37848">
                  <c:v>17.887194481939449</c:v>
                </c:pt>
                <c:pt idx="37849">
                  <c:v>32.1644087425341</c:v>
                </c:pt>
                <c:pt idx="37850">
                  <c:v>36.583253320896347</c:v>
                </c:pt>
                <c:pt idx="37851">
                  <c:v>38.591283606798015</c:v>
                </c:pt>
                <c:pt idx="37852">
                  <c:v>46.748976796295118</c:v>
                </c:pt>
                <c:pt idx="37853">
                  <c:v>30.286440233939633</c:v>
                </c:pt>
                <c:pt idx="37854">
                  <c:v>44.49695413819466</c:v>
                </c:pt>
                <c:pt idx="37855">
                  <c:v>34.816764900276674</c:v>
                </c:pt>
                <c:pt idx="37856">
                  <c:v>58.393957034217436</c:v>
                </c:pt>
                <c:pt idx="37857">
                  <c:v>21.22455885000992</c:v>
                </c:pt>
                <c:pt idx="37858">
                  <c:v>36.401832271475222</c:v>
                </c:pt>
                <c:pt idx="37859">
                  <c:v>40.542808387877706</c:v>
                </c:pt>
                <c:pt idx="37860">
                  <c:v>22.017658540130238</c:v>
                </c:pt>
                <c:pt idx="37861">
                  <c:v>30.483783817006824</c:v>
                </c:pt>
                <c:pt idx="37862">
                  <c:v>21.477089589280862</c:v>
                </c:pt>
                <c:pt idx="37863">
                  <c:v>42.141569359405267</c:v>
                </c:pt>
                <c:pt idx="37864">
                  <c:v>31.951453523104608</c:v>
                </c:pt>
                <c:pt idx="37865">
                  <c:v>46.301347224738279</c:v>
                </c:pt>
                <c:pt idx="37866">
                  <c:v>27.509974558768899</c:v>
                </c:pt>
                <c:pt idx="37867">
                  <c:v>29.669512090175687</c:v>
                </c:pt>
                <c:pt idx="37868">
                  <c:v>43.901941075723144</c:v>
                </c:pt>
                <c:pt idx="37869">
                  <c:v>46.008854659135004</c:v>
                </c:pt>
                <c:pt idx="37870">
                  <c:v>25.395955950518402</c:v>
                </c:pt>
                <c:pt idx="37871">
                  <c:v>75.967823579303797</c:v>
                </c:pt>
                <c:pt idx="37872">
                  <c:v>51.809369415154521</c:v>
                </c:pt>
                <c:pt idx="37873">
                  <c:v>21.430762119367159</c:v>
                </c:pt>
                <c:pt idx="37874">
                  <c:v>59.669186217342016</c:v>
                </c:pt>
                <c:pt idx="37875">
                  <c:v>30.367867862809838</c:v>
                </c:pt>
                <c:pt idx="37876">
                  <c:v>26.843118153947234</c:v>
                </c:pt>
                <c:pt idx="37877">
                  <c:v>46.059598454424034</c:v>
                </c:pt>
                <c:pt idx="37878">
                  <c:v>32.69095333627893</c:v>
                </c:pt>
                <c:pt idx="37879">
                  <c:v>38.506883900440201</c:v>
                </c:pt>
                <c:pt idx="37880">
                  <c:v>22.127982368154456</c:v>
                </c:pt>
                <c:pt idx="37881">
                  <c:v>26.700621866868328</c:v>
                </c:pt>
                <c:pt idx="37882">
                  <c:v>33.930699940938823</c:v>
                </c:pt>
                <c:pt idx="37883">
                  <c:v>43.974150522954858</c:v>
                </c:pt>
                <c:pt idx="37884">
                  <c:v>45.1189733402691</c:v>
                </c:pt>
                <c:pt idx="37885">
                  <c:v>20.565206148495783</c:v>
                </c:pt>
                <c:pt idx="37886">
                  <c:v>26.776662064224887</c:v>
                </c:pt>
                <c:pt idx="37887">
                  <c:v>26.725040085708105</c:v>
                </c:pt>
                <c:pt idx="37888">
                  <c:v>27.786602655815255</c:v>
                </c:pt>
                <c:pt idx="37889">
                  <c:v>48.370031709508751</c:v>
                </c:pt>
                <c:pt idx="37890">
                  <c:v>28.269674939077174</c:v>
                </c:pt>
                <c:pt idx="37891">
                  <c:v>23.909644376473231</c:v>
                </c:pt>
                <c:pt idx="37892">
                  <c:v>43.57247299376921</c:v>
                </c:pt>
                <c:pt idx="37893">
                  <c:v>21.266608215907659</c:v>
                </c:pt>
                <c:pt idx="37894">
                  <c:v>50.109465296013816</c:v>
                </c:pt>
                <c:pt idx="37895">
                  <c:v>33.307871261595153</c:v>
                </c:pt>
                <c:pt idx="37896">
                  <c:v>30.000637042023602</c:v>
                </c:pt>
                <c:pt idx="37897">
                  <c:v>23.643511417699436</c:v>
                </c:pt>
                <c:pt idx="37898">
                  <c:v>27.468337398076315</c:v>
                </c:pt>
                <c:pt idx="37899">
                  <c:v>22.259471254411004</c:v>
                </c:pt>
                <c:pt idx="37900">
                  <c:v>25.23131156962042</c:v>
                </c:pt>
                <c:pt idx="37901">
                  <c:v>34.989249802841556</c:v>
                </c:pt>
                <c:pt idx="37902">
                  <c:v>19.529529225155883</c:v>
                </c:pt>
                <c:pt idx="37903">
                  <c:v>51.7393472307647</c:v>
                </c:pt>
                <c:pt idx="37904">
                  <c:v>25.718104783884314</c:v>
                </c:pt>
                <c:pt idx="37905">
                  <c:v>47.663581167953026</c:v>
                </c:pt>
                <c:pt idx="37906">
                  <c:v>21.12995265397505</c:v>
                </c:pt>
                <c:pt idx="37907">
                  <c:v>21.602794110787048</c:v>
                </c:pt>
                <c:pt idx="37908">
                  <c:v>21.799546702230934</c:v>
                </c:pt>
                <c:pt idx="37909">
                  <c:v>24.294954878689641</c:v>
                </c:pt>
                <c:pt idx="37910">
                  <c:v>36.349855592806371</c:v>
                </c:pt>
                <c:pt idx="37911">
                  <c:v>31.265572796008978</c:v>
                </c:pt>
                <c:pt idx="37912">
                  <c:v>35.896187725313766</c:v>
                </c:pt>
                <c:pt idx="37913">
                  <c:v>28.704656583816714</c:v>
                </c:pt>
                <c:pt idx="37914">
                  <c:v>32.835630318099476</c:v>
                </c:pt>
                <c:pt idx="37915">
                  <c:v>30.908782561500615</c:v>
                </c:pt>
                <c:pt idx="37916">
                  <c:v>32.602472338341705</c:v>
                </c:pt>
                <c:pt idx="37917">
                  <c:v>28.251850464256684</c:v>
                </c:pt>
                <c:pt idx="37918">
                  <c:v>23.028861424656245</c:v>
                </c:pt>
                <c:pt idx="37919">
                  <c:v>53.012223131395608</c:v>
                </c:pt>
                <c:pt idx="37920">
                  <c:v>26.590271578552674</c:v>
                </c:pt>
                <c:pt idx="37921">
                  <c:v>43.150750375169423</c:v>
                </c:pt>
                <c:pt idx="37922">
                  <c:v>37.876788005390139</c:v>
                </c:pt>
                <c:pt idx="37923">
                  <c:v>46.336656660578498</c:v>
                </c:pt>
                <c:pt idx="37924">
                  <c:v>48.751736625742126</c:v>
                </c:pt>
                <c:pt idx="37925">
                  <c:v>32.786849435706166</c:v>
                </c:pt>
                <c:pt idx="37926">
                  <c:v>24.426698572633548</c:v>
                </c:pt>
                <c:pt idx="37927">
                  <c:v>35.784587376842921</c:v>
                </c:pt>
                <c:pt idx="37928">
                  <c:v>28.714625062936413</c:v>
                </c:pt>
                <c:pt idx="37929">
                  <c:v>29.073997125210319</c:v>
                </c:pt>
                <c:pt idx="37930">
                  <c:v>32.104810874397955</c:v>
                </c:pt>
                <c:pt idx="37931">
                  <c:v>45.714378417274645</c:v>
                </c:pt>
                <c:pt idx="37932">
                  <c:v>18.811553091682008</c:v>
                </c:pt>
                <c:pt idx="37933">
                  <c:v>26.861106655136233</c:v>
                </c:pt>
                <c:pt idx="37934">
                  <c:v>21.095762423408704</c:v>
                </c:pt>
                <c:pt idx="37935">
                  <c:v>34.013663609002101</c:v>
                </c:pt>
                <c:pt idx="37936">
                  <c:v>52.665535731799181</c:v>
                </c:pt>
                <c:pt idx="37937">
                  <c:v>29.308896754770039</c:v>
                </c:pt>
                <c:pt idx="37938">
                  <c:v>43.986612395583265</c:v>
                </c:pt>
                <c:pt idx="37939">
                  <c:v>28.020752844718043</c:v>
                </c:pt>
                <c:pt idx="37940">
                  <c:v>23.208396434112739</c:v>
                </c:pt>
                <c:pt idx="37941">
                  <c:v>28.201118797840891</c:v>
                </c:pt>
                <c:pt idx="37942">
                  <c:v>51.320340238084228</c:v>
                </c:pt>
                <c:pt idx="37943">
                  <c:v>40.971933535583815</c:v>
                </c:pt>
                <c:pt idx="37944">
                  <c:v>43.124271472906031</c:v>
                </c:pt>
                <c:pt idx="37945">
                  <c:v>45.041591134351719</c:v>
                </c:pt>
                <c:pt idx="37946">
                  <c:v>22.106271176111981</c:v>
                </c:pt>
                <c:pt idx="37947">
                  <c:v>29.38825836900488</c:v>
                </c:pt>
                <c:pt idx="37948">
                  <c:v>23.786841007607681</c:v>
                </c:pt>
                <c:pt idx="37949">
                  <c:v>23.698814332906959</c:v>
                </c:pt>
                <c:pt idx="37950">
                  <c:v>47.807390963535234</c:v>
                </c:pt>
                <c:pt idx="37951">
                  <c:v>27.117087755594049</c:v>
                </c:pt>
                <c:pt idx="37952">
                  <c:v>23.482454389609106</c:v>
                </c:pt>
                <c:pt idx="37953">
                  <c:v>17.621863438386761</c:v>
                </c:pt>
                <c:pt idx="37954">
                  <c:v>30.149686544059087</c:v>
                </c:pt>
                <c:pt idx="37955">
                  <c:v>48.831266568413476</c:v>
                </c:pt>
                <c:pt idx="37956">
                  <c:v>20.877469087471979</c:v>
                </c:pt>
                <c:pt idx="37957">
                  <c:v>24.968095505990107</c:v>
                </c:pt>
                <c:pt idx="37958">
                  <c:v>24.588723831015461</c:v>
                </c:pt>
                <c:pt idx="37959">
                  <c:v>51.811650757558688</c:v>
                </c:pt>
                <c:pt idx="37960">
                  <c:v>31.749779264066696</c:v>
                </c:pt>
                <c:pt idx="37961">
                  <c:v>54.214133061217701</c:v>
                </c:pt>
                <c:pt idx="37962">
                  <c:v>27.934083063680244</c:v>
                </c:pt>
                <c:pt idx="37963">
                  <c:v>40.265387077702272</c:v>
                </c:pt>
                <c:pt idx="37964">
                  <c:v>27.631598805163588</c:v>
                </c:pt>
                <c:pt idx="37965">
                  <c:v>26.950458469843053</c:v>
                </c:pt>
                <c:pt idx="37966">
                  <c:v>28.68628289743501</c:v>
                </c:pt>
                <c:pt idx="37967">
                  <c:v>25.539407144548903</c:v>
                </c:pt>
                <c:pt idx="37968">
                  <c:v>51.970828202177572</c:v>
                </c:pt>
                <c:pt idx="37969">
                  <c:v>38.798167748111844</c:v>
                </c:pt>
                <c:pt idx="37970">
                  <c:v>26.809033285459183</c:v>
                </c:pt>
                <c:pt idx="37971">
                  <c:v>25.150598912867114</c:v>
                </c:pt>
                <c:pt idx="37972">
                  <c:v>26.760891408343202</c:v>
                </c:pt>
                <c:pt idx="37973">
                  <c:v>23.810560429949334</c:v>
                </c:pt>
                <c:pt idx="37974">
                  <c:v>29.887192874662524</c:v>
                </c:pt>
                <c:pt idx="37975">
                  <c:v>27.042799569435886</c:v>
                </c:pt>
                <c:pt idx="37976">
                  <c:v>25.3592413311051</c:v>
                </c:pt>
                <c:pt idx="37977">
                  <c:v>27.36850800386512</c:v>
                </c:pt>
                <c:pt idx="37978">
                  <c:v>39.714597092097165</c:v>
                </c:pt>
                <c:pt idx="37979">
                  <c:v>40.870558507232353</c:v>
                </c:pt>
                <c:pt idx="37980">
                  <c:v>33.877543011786543</c:v>
                </c:pt>
                <c:pt idx="37981">
                  <c:v>27.061389569886941</c:v>
                </c:pt>
                <c:pt idx="37982">
                  <c:v>28.20233074395756</c:v>
                </c:pt>
                <c:pt idx="37983">
                  <c:v>17.789342162454084</c:v>
                </c:pt>
                <c:pt idx="37984">
                  <c:v>32.930210943241448</c:v>
                </c:pt>
                <c:pt idx="37985">
                  <c:v>35.926230701419399</c:v>
                </c:pt>
                <c:pt idx="37986">
                  <c:v>24.366436440669396</c:v>
                </c:pt>
                <c:pt idx="37987">
                  <c:v>25.336566494682987</c:v>
                </c:pt>
                <c:pt idx="37988">
                  <c:v>21.958409605353047</c:v>
                </c:pt>
                <c:pt idx="37989">
                  <c:v>33.785127334137123</c:v>
                </c:pt>
                <c:pt idx="37990">
                  <c:v>25.518905743014169</c:v>
                </c:pt>
                <c:pt idx="37991">
                  <c:v>23.889010724893364</c:v>
                </c:pt>
                <c:pt idx="37992">
                  <c:v>27.415337571039668</c:v>
                </c:pt>
                <c:pt idx="37993">
                  <c:v>24.638177413481397</c:v>
                </c:pt>
                <c:pt idx="37994">
                  <c:v>42.444172576816918</c:v>
                </c:pt>
                <c:pt idx="37995">
                  <c:v>43.752829184989494</c:v>
                </c:pt>
                <c:pt idx="37996">
                  <c:v>25.322879287408711</c:v>
                </c:pt>
                <c:pt idx="37997">
                  <c:v>46.90005389459035</c:v>
                </c:pt>
                <c:pt idx="37998">
                  <c:v>47.210214850864844</c:v>
                </c:pt>
                <c:pt idx="37999">
                  <c:v>36.483757954854006</c:v>
                </c:pt>
                <c:pt idx="38000">
                  <c:v>18.14912614016492</c:v>
                </c:pt>
                <c:pt idx="38001">
                  <c:v>46.509332784595351</c:v>
                </c:pt>
                <c:pt idx="38002">
                  <c:v>22.311193427702356</c:v>
                </c:pt>
                <c:pt idx="38003">
                  <c:v>42.728994276470601</c:v>
                </c:pt>
                <c:pt idx="38004">
                  <c:v>24.185171937921144</c:v>
                </c:pt>
                <c:pt idx="38005">
                  <c:v>46.785434187250154</c:v>
                </c:pt>
                <c:pt idx="38006">
                  <c:v>22.091691344799493</c:v>
                </c:pt>
                <c:pt idx="38007">
                  <c:v>23.028800507610086</c:v>
                </c:pt>
                <c:pt idx="38008">
                  <c:v>34.241219295626024</c:v>
                </c:pt>
                <c:pt idx="38009">
                  <c:v>25.81017388470276</c:v>
                </c:pt>
                <c:pt idx="38010">
                  <c:v>29.978587261496429</c:v>
                </c:pt>
                <c:pt idx="38011">
                  <c:v>21.447839095300587</c:v>
                </c:pt>
                <c:pt idx="38012">
                  <c:v>26.982877032892489</c:v>
                </c:pt>
                <c:pt idx="38013">
                  <c:v>30.657284514535569</c:v>
                </c:pt>
                <c:pt idx="38014">
                  <c:v>47.554838008728368</c:v>
                </c:pt>
                <c:pt idx="38015">
                  <c:v>23.427400235201095</c:v>
                </c:pt>
                <c:pt idx="38016">
                  <c:v>61.041811606734854</c:v>
                </c:pt>
                <c:pt idx="38017">
                  <c:v>24.242027227454045</c:v>
                </c:pt>
                <c:pt idx="38018">
                  <c:v>44.236632663920318</c:v>
                </c:pt>
                <c:pt idx="38019">
                  <c:v>24.978159658175478</c:v>
                </c:pt>
                <c:pt idx="38020">
                  <c:v>41.147346982197035</c:v>
                </c:pt>
                <c:pt idx="38021">
                  <c:v>40.614379974808202</c:v>
                </c:pt>
                <c:pt idx="38022">
                  <c:v>48.286149547941996</c:v>
                </c:pt>
                <c:pt idx="38023">
                  <c:v>23.057178555611983</c:v>
                </c:pt>
                <c:pt idx="38024">
                  <c:v>22.8476614582625</c:v>
                </c:pt>
                <c:pt idx="38025">
                  <c:v>28.831029150098242</c:v>
                </c:pt>
                <c:pt idx="38026">
                  <c:v>46.594702017089681</c:v>
                </c:pt>
                <c:pt idx="38027">
                  <c:v>32.442414439128221</c:v>
                </c:pt>
                <c:pt idx="38028">
                  <c:v>46.30372585999433</c:v>
                </c:pt>
                <c:pt idx="38029">
                  <c:v>18.577649006213292</c:v>
                </c:pt>
                <c:pt idx="38030">
                  <c:v>28.050258344028215</c:v>
                </c:pt>
                <c:pt idx="38031">
                  <c:v>23.463796713766328</c:v>
                </c:pt>
                <c:pt idx="38032">
                  <c:v>25.352017683940957</c:v>
                </c:pt>
                <c:pt idx="38033">
                  <c:v>25.009535425643062</c:v>
                </c:pt>
                <c:pt idx="38034">
                  <c:v>45.757825514225445</c:v>
                </c:pt>
                <c:pt idx="38035">
                  <c:v>24.137795737074804</c:v>
                </c:pt>
                <c:pt idx="38036">
                  <c:v>32.274265646492083</c:v>
                </c:pt>
                <c:pt idx="38037">
                  <c:v>21.251221800732313</c:v>
                </c:pt>
                <c:pt idx="38038">
                  <c:v>20.501183809881812</c:v>
                </c:pt>
                <c:pt idx="38039">
                  <c:v>28.682547959497235</c:v>
                </c:pt>
                <c:pt idx="38040">
                  <c:v>23.498053318553723</c:v>
                </c:pt>
                <c:pt idx="38041">
                  <c:v>25.922327293985504</c:v>
                </c:pt>
                <c:pt idx="38042">
                  <c:v>34.95843859055779</c:v>
                </c:pt>
                <c:pt idx="38043">
                  <c:v>26.78318099677109</c:v>
                </c:pt>
                <c:pt idx="38044">
                  <c:v>38.649105241411846</c:v>
                </c:pt>
                <c:pt idx="38045">
                  <c:v>34.930157821205633</c:v>
                </c:pt>
                <c:pt idx="38046">
                  <c:v>23.812730385568443</c:v>
                </c:pt>
                <c:pt idx="38047">
                  <c:v>33.770923201319007</c:v>
                </c:pt>
                <c:pt idx="38048">
                  <c:v>28.566083558873551</c:v>
                </c:pt>
                <c:pt idx="38049">
                  <c:v>37.54717377925185</c:v>
                </c:pt>
                <c:pt idx="38050">
                  <c:v>26.607421185467228</c:v>
                </c:pt>
                <c:pt idx="38051">
                  <c:v>43.418978653918501</c:v>
                </c:pt>
                <c:pt idx="38052">
                  <c:v>19.179415555116435</c:v>
                </c:pt>
                <c:pt idx="38053">
                  <c:v>21.733096157716055</c:v>
                </c:pt>
                <c:pt idx="38054">
                  <c:v>27.549087692858382</c:v>
                </c:pt>
                <c:pt idx="38055">
                  <c:v>28.001134332865625</c:v>
                </c:pt>
                <c:pt idx="38056">
                  <c:v>29.175268407260159</c:v>
                </c:pt>
                <c:pt idx="38057">
                  <c:v>27.974275709690801</c:v>
                </c:pt>
                <c:pt idx="38058">
                  <c:v>32.980730274115587</c:v>
                </c:pt>
                <c:pt idx="38059">
                  <c:v>29.934411258224227</c:v>
                </c:pt>
                <c:pt idx="38060">
                  <c:v>15.696484826921417</c:v>
                </c:pt>
                <c:pt idx="38061">
                  <c:v>23.148863582218038</c:v>
                </c:pt>
                <c:pt idx="38062">
                  <c:v>31.34566016495998</c:v>
                </c:pt>
                <c:pt idx="38063">
                  <c:v>43.890710861262704</c:v>
                </c:pt>
                <c:pt idx="38064">
                  <c:v>21.220986819022237</c:v>
                </c:pt>
                <c:pt idx="38065">
                  <c:v>41.844297314423009</c:v>
                </c:pt>
                <c:pt idx="38066">
                  <c:v>23.209583415798591</c:v>
                </c:pt>
                <c:pt idx="38067">
                  <c:v>33.843965781251079</c:v>
                </c:pt>
                <c:pt idx="38068">
                  <c:v>27.498384271613304</c:v>
                </c:pt>
                <c:pt idx="38069">
                  <c:v>26.032280767466077</c:v>
                </c:pt>
                <c:pt idx="38070">
                  <c:v>19.536423234382809</c:v>
                </c:pt>
                <c:pt idx="38071">
                  <c:v>56.453068923722</c:v>
                </c:pt>
                <c:pt idx="38072">
                  <c:v>28.160232007895701</c:v>
                </c:pt>
                <c:pt idx="38073">
                  <c:v>28.993499130463245</c:v>
                </c:pt>
                <c:pt idx="38074">
                  <c:v>19.899187913030996</c:v>
                </c:pt>
                <c:pt idx="38075">
                  <c:v>24.582251560659618</c:v>
                </c:pt>
                <c:pt idx="38076">
                  <c:v>27.353697337073786</c:v>
                </c:pt>
                <c:pt idx="38077">
                  <c:v>27.774817013276571</c:v>
                </c:pt>
                <c:pt idx="38078">
                  <c:v>48.271647138869803</c:v>
                </c:pt>
                <c:pt idx="38079">
                  <c:v>52.489354106512593</c:v>
                </c:pt>
                <c:pt idx="38080">
                  <c:v>28.308144864470549</c:v>
                </c:pt>
                <c:pt idx="38081">
                  <c:v>30.074172317489055</c:v>
                </c:pt>
                <c:pt idx="38082">
                  <c:v>43.282543206848658</c:v>
                </c:pt>
                <c:pt idx="38083">
                  <c:v>30.523193595614202</c:v>
                </c:pt>
                <c:pt idx="38084">
                  <c:v>23.959142989222173</c:v>
                </c:pt>
                <c:pt idx="38085">
                  <c:v>34.464115192339435</c:v>
                </c:pt>
                <c:pt idx="38086">
                  <c:v>21.420156031435226</c:v>
                </c:pt>
                <c:pt idx="38087">
                  <c:v>37.068967383324392</c:v>
                </c:pt>
                <c:pt idx="38088">
                  <c:v>24.666372177278301</c:v>
                </c:pt>
                <c:pt idx="38089">
                  <c:v>34.03903837483621</c:v>
                </c:pt>
                <c:pt idx="38090">
                  <c:v>56.629494564203519</c:v>
                </c:pt>
                <c:pt idx="38091">
                  <c:v>39.245736949477525</c:v>
                </c:pt>
                <c:pt idx="38092">
                  <c:v>48.460512074706003</c:v>
                </c:pt>
                <c:pt idx="38093">
                  <c:v>25.378550502906361</c:v>
                </c:pt>
                <c:pt idx="38094">
                  <c:v>27.873220976817294</c:v>
                </c:pt>
                <c:pt idx="38095">
                  <c:v>25.688127722042957</c:v>
                </c:pt>
                <c:pt idx="38096">
                  <c:v>28.537407955136295</c:v>
                </c:pt>
                <c:pt idx="38097">
                  <c:v>17.378992930670144</c:v>
                </c:pt>
                <c:pt idx="38098">
                  <c:v>29.07915332139833</c:v>
                </c:pt>
                <c:pt idx="38099">
                  <c:v>29.129438268289036</c:v>
                </c:pt>
                <c:pt idx="38100">
                  <c:v>26.803777522388195</c:v>
                </c:pt>
                <c:pt idx="38101">
                  <c:v>25.58623403845548</c:v>
                </c:pt>
                <c:pt idx="38102">
                  <c:v>31.315936172070256</c:v>
                </c:pt>
                <c:pt idx="38103">
                  <c:v>35.004907087119868</c:v>
                </c:pt>
                <c:pt idx="38104">
                  <c:v>25.893979205644719</c:v>
                </c:pt>
                <c:pt idx="38105">
                  <c:v>24.437568679147219</c:v>
                </c:pt>
                <c:pt idx="38106">
                  <c:v>34.525547672444723</c:v>
                </c:pt>
                <c:pt idx="38107">
                  <c:v>38.003504673924638</c:v>
                </c:pt>
                <c:pt idx="38108">
                  <c:v>48.373098755146088</c:v>
                </c:pt>
                <c:pt idx="38109">
                  <c:v>23.369921343133608</c:v>
                </c:pt>
                <c:pt idx="38110">
                  <c:v>22.320847904884307</c:v>
                </c:pt>
                <c:pt idx="38111">
                  <c:v>41.717302274533395</c:v>
                </c:pt>
                <c:pt idx="38112">
                  <c:v>54.489965934887863</c:v>
                </c:pt>
                <c:pt idx="38113">
                  <c:v>26.194511398561694</c:v>
                </c:pt>
                <c:pt idx="38114">
                  <c:v>33.746778219388084</c:v>
                </c:pt>
                <c:pt idx="38115">
                  <c:v>22.991090607380087</c:v>
                </c:pt>
                <c:pt idx="38116">
                  <c:v>29.332849033086227</c:v>
                </c:pt>
                <c:pt idx="38117">
                  <c:v>31.626996236614069</c:v>
                </c:pt>
                <c:pt idx="38118">
                  <c:v>26.714846384469165</c:v>
                </c:pt>
                <c:pt idx="38119">
                  <c:v>30.076789860463943</c:v>
                </c:pt>
                <c:pt idx="38120">
                  <c:v>27.356634828580962</c:v>
                </c:pt>
                <c:pt idx="38121">
                  <c:v>25.357211000585021</c:v>
                </c:pt>
                <c:pt idx="38122">
                  <c:v>28.534771551390556</c:v>
                </c:pt>
                <c:pt idx="38123">
                  <c:v>21.245873427201289</c:v>
                </c:pt>
                <c:pt idx="38124">
                  <c:v>26.776832125687481</c:v>
                </c:pt>
                <c:pt idx="38125">
                  <c:v>39.343961288857599</c:v>
                </c:pt>
                <c:pt idx="38126">
                  <c:v>28.421148650342211</c:v>
                </c:pt>
                <c:pt idx="38127">
                  <c:v>33.577928078216338</c:v>
                </c:pt>
                <c:pt idx="38128">
                  <c:v>25.839203867214643</c:v>
                </c:pt>
                <c:pt idx="38129">
                  <c:v>46.447878616750494</c:v>
                </c:pt>
                <c:pt idx="38130">
                  <c:v>21.127718659214967</c:v>
                </c:pt>
                <c:pt idx="38131">
                  <c:v>31.867747221952946</c:v>
                </c:pt>
                <c:pt idx="38132">
                  <c:v>25.296925490189977</c:v>
                </c:pt>
                <c:pt idx="38133">
                  <c:v>30.86294950567429</c:v>
                </c:pt>
                <c:pt idx="38134">
                  <c:v>40.448353606298205</c:v>
                </c:pt>
                <c:pt idx="38135">
                  <c:v>26.694912311681612</c:v>
                </c:pt>
                <c:pt idx="38136">
                  <c:v>25.019483792747764</c:v>
                </c:pt>
                <c:pt idx="38137">
                  <c:v>29.08240632202034</c:v>
                </c:pt>
                <c:pt idx="38138">
                  <c:v>50.765994956450882</c:v>
                </c:pt>
                <c:pt idx="38139">
                  <c:v>23.324442241657025</c:v>
                </c:pt>
                <c:pt idx="38140">
                  <c:v>23.214685445742482</c:v>
                </c:pt>
                <c:pt idx="38141">
                  <c:v>45.848966991054183</c:v>
                </c:pt>
                <c:pt idx="38142">
                  <c:v>23.288177480728272</c:v>
                </c:pt>
                <c:pt idx="38143">
                  <c:v>44.966523333480922</c:v>
                </c:pt>
                <c:pt idx="38144">
                  <c:v>24.74870963786822</c:v>
                </c:pt>
                <c:pt idx="38145">
                  <c:v>48.893987480032649</c:v>
                </c:pt>
                <c:pt idx="38146">
                  <c:v>29.25299294493734</c:v>
                </c:pt>
                <c:pt idx="38147">
                  <c:v>25.169202878584827</c:v>
                </c:pt>
                <c:pt idx="38148">
                  <c:v>23.848889393369788</c:v>
                </c:pt>
                <c:pt idx="38149">
                  <c:v>31.669401994220436</c:v>
                </c:pt>
                <c:pt idx="38150">
                  <c:v>21.484522802200882</c:v>
                </c:pt>
                <c:pt idx="38151">
                  <c:v>33.731809171790978</c:v>
                </c:pt>
                <c:pt idx="38152">
                  <c:v>25.148714952311025</c:v>
                </c:pt>
                <c:pt idx="38153">
                  <c:v>29.600488698640845</c:v>
                </c:pt>
                <c:pt idx="38154">
                  <c:v>34.492181990010167</c:v>
                </c:pt>
                <c:pt idx="38155">
                  <c:v>33.124261209959975</c:v>
                </c:pt>
                <c:pt idx="38156">
                  <c:v>49.225179221302973</c:v>
                </c:pt>
                <c:pt idx="38157">
                  <c:v>25.358933255249948</c:v>
                </c:pt>
                <c:pt idx="38158">
                  <c:v>40.838844217745574</c:v>
                </c:pt>
                <c:pt idx="38159">
                  <c:v>22.212772164890843</c:v>
                </c:pt>
                <c:pt idx="38160">
                  <c:v>52.900695501496237</c:v>
                </c:pt>
                <c:pt idx="38161">
                  <c:v>35.955674809183968</c:v>
                </c:pt>
                <c:pt idx="38162">
                  <c:v>30.807197122893264</c:v>
                </c:pt>
                <c:pt idx="38163">
                  <c:v>25.166056199232074</c:v>
                </c:pt>
                <c:pt idx="38164">
                  <c:v>30.618806787965596</c:v>
                </c:pt>
                <c:pt idx="38165">
                  <c:v>39.605194827162777</c:v>
                </c:pt>
                <c:pt idx="38166">
                  <c:v>36.150351911253232</c:v>
                </c:pt>
                <c:pt idx="38167">
                  <c:v>28.903659465809156</c:v>
                </c:pt>
                <c:pt idx="38168">
                  <c:v>43.082545954139398</c:v>
                </c:pt>
                <c:pt idx="38169">
                  <c:v>53.399308406333212</c:v>
                </c:pt>
                <c:pt idx="38170">
                  <c:v>22.625618256834883</c:v>
                </c:pt>
                <c:pt idx="38171">
                  <c:v>34.025495668567764</c:v>
                </c:pt>
                <c:pt idx="38172">
                  <c:v>46.18958797309778</c:v>
                </c:pt>
                <c:pt idx="38173">
                  <c:v>22.570647098587024</c:v>
                </c:pt>
                <c:pt idx="38174">
                  <c:v>40.395040474657478</c:v>
                </c:pt>
                <c:pt idx="38175">
                  <c:v>17.658040642407709</c:v>
                </c:pt>
                <c:pt idx="38176">
                  <c:v>24.184137776572868</c:v>
                </c:pt>
                <c:pt idx="38177">
                  <c:v>43.312118134795497</c:v>
                </c:pt>
                <c:pt idx="38178">
                  <c:v>29.435412250261031</c:v>
                </c:pt>
                <c:pt idx="38179">
                  <c:v>24.816999640091485</c:v>
                </c:pt>
                <c:pt idx="38180">
                  <c:v>29.594299418167449</c:v>
                </c:pt>
                <c:pt idx="38181">
                  <c:v>29.928152176278665</c:v>
                </c:pt>
                <c:pt idx="38182">
                  <c:v>30.712206998540246</c:v>
                </c:pt>
                <c:pt idx="38183">
                  <c:v>36.657301503215351</c:v>
                </c:pt>
                <c:pt idx="38184">
                  <c:v>22.456641037265044</c:v>
                </c:pt>
                <c:pt idx="38185">
                  <c:v>43.101805395947231</c:v>
                </c:pt>
                <c:pt idx="38186">
                  <c:v>31.349732589438936</c:v>
                </c:pt>
                <c:pt idx="38187">
                  <c:v>26.183082255034005</c:v>
                </c:pt>
                <c:pt idx="38188">
                  <c:v>37.308784282729711</c:v>
                </c:pt>
                <c:pt idx="38189">
                  <c:v>24.764440491651509</c:v>
                </c:pt>
                <c:pt idx="38190">
                  <c:v>33.185427633580034</c:v>
                </c:pt>
                <c:pt idx="38191">
                  <c:v>45.814420318324288</c:v>
                </c:pt>
                <c:pt idx="38192">
                  <c:v>53.22313098878567</c:v>
                </c:pt>
                <c:pt idx="38193">
                  <c:v>30.612072713263586</c:v>
                </c:pt>
                <c:pt idx="38194">
                  <c:v>27.821396383129727</c:v>
                </c:pt>
                <c:pt idx="38195">
                  <c:v>27.935294736853653</c:v>
                </c:pt>
                <c:pt idx="38196">
                  <c:v>19.786612792131603</c:v>
                </c:pt>
                <c:pt idx="38197">
                  <c:v>22.518297951604591</c:v>
                </c:pt>
                <c:pt idx="38198">
                  <c:v>31.503298699131143</c:v>
                </c:pt>
                <c:pt idx="38199">
                  <c:v>22.848581632599384</c:v>
                </c:pt>
                <c:pt idx="38200">
                  <c:v>21.013863930389377</c:v>
                </c:pt>
                <c:pt idx="38201">
                  <c:v>19.835603789838792</c:v>
                </c:pt>
                <c:pt idx="38202">
                  <c:v>20.486409542963255</c:v>
                </c:pt>
                <c:pt idx="38203">
                  <c:v>47.105077111470742</c:v>
                </c:pt>
                <c:pt idx="38204">
                  <c:v>38.615377532752234</c:v>
                </c:pt>
                <c:pt idx="38205">
                  <c:v>29.162364059129622</c:v>
                </c:pt>
                <c:pt idx="38206">
                  <c:v>25.192115903498326</c:v>
                </c:pt>
                <c:pt idx="38207">
                  <c:v>24.225457618866336</c:v>
                </c:pt>
                <c:pt idx="38208">
                  <c:v>43.303321064846529</c:v>
                </c:pt>
                <c:pt idx="38209">
                  <c:v>30.284099038447614</c:v>
                </c:pt>
                <c:pt idx="38210">
                  <c:v>32.205084698586667</c:v>
                </c:pt>
                <c:pt idx="38211">
                  <c:v>49.283674897823488</c:v>
                </c:pt>
                <c:pt idx="38212">
                  <c:v>20.543830414576142</c:v>
                </c:pt>
                <c:pt idx="38213">
                  <c:v>28.040753958495536</c:v>
                </c:pt>
                <c:pt idx="38214">
                  <c:v>27.949132673385485</c:v>
                </c:pt>
                <c:pt idx="38215">
                  <c:v>27.354012511636611</c:v>
                </c:pt>
                <c:pt idx="38216">
                  <c:v>47.828896424851514</c:v>
                </c:pt>
                <c:pt idx="38217">
                  <c:v>59.434549475724744</c:v>
                </c:pt>
                <c:pt idx="38218">
                  <c:v>27.105046681924939</c:v>
                </c:pt>
                <c:pt idx="38219">
                  <c:v>51.534340695780493</c:v>
                </c:pt>
                <c:pt idx="38220">
                  <c:v>31.101583551589464</c:v>
                </c:pt>
                <c:pt idx="38221">
                  <c:v>57.327393762093365</c:v>
                </c:pt>
                <c:pt idx="38222">
                  <c:v>46.777685352584605</c:v>
                </c:pt>
                <c:pt idx="38223">
                  <c:v>28.706106925752376</c:v>
                </c:pt>
                <c:pt idx="38224">
                  <c:v>23.838409405375042</c:v>
                </c:pt>
                <c:pt idx="38225">
                  <c:v>21.670164444041173</c:v>
                </c:pt>
                <c:pt idx="38226">
                  <c:v>21.023639981510751</c:v>
                </c:pt>
                <c:pt idx="38227">
                  <c:v>17.638869718017169</c:v>
                </c:pt>
                <c:pt idx="38228">
                  <c:v>38.572936255278002</c:v>
                </c:pt>
                <c:pt idx="38229">
                  <c:v>33.164030888800013</c:v>
                </c:pt>
                <c:pt idx="38230">
                  <c:v>51.716163288043084</c:v>
                </c:pt>
                <c:pt idx="38231">
                  <c:v>20.781926994470215</c:v>
                </c:pt>
                <c:pt idx="38232">
                  <c:v>26.127497666923173</c:v>
                </c:pt>
                <c:pt idx="38233">
                  <c:v>18.556090674469729</c:v>
                </c:pt>
                <c:pt idx="38234">
                  <c:v>29.069043115131663</c:v>
                </c:pt>
                <c:pt idx="38235">
                  <c:v>33.635981662741997</c:v>
                </c:pt>
                <c:pt idx="38236">
                  <c:v>27.30064331179387</c:v>
                </c:pt>
                <c:pt idx="38237">
                  <c:v>30.009631432866694</c:v>
                </c:pt>
                <c:pt idx="38238">
                  <c:v>33.499294173427259</c:v>
                </c:pt>
                <c:pt idx="38239">
                  <c:v>22.498932547800436</c:v>
                </c:pt>
                <c:pt idx="38240">
                  <c:v>25.458709777242458</c:v>
                </c:pt>
                <c:pt idx="38241">
                  <c:v>50.271224089704099</c:v>
                </c:pt>
                <c:pt idx="38242">
                  <c:v>31.121389208242963</c:v>
                </c:pt>
                <c:pt idx="38243">
                  <c:v>22.40671790549294</c:v>
                </c:pt>
                <c:pt idx="38244">
                  <c:v>17.937542740945094</c:v>
                </c:pt>
                <c:pt idx="38245">
                  <c:v>47.199424519905683</c:v>
                </c:pt>
                <c:pt idx="38246">
                  <c:v>45.798642026158539</c:v>
                </c:pt>
                <c:pt idx="38247">
                  <c:v>19.893700691729823</c:v>
                </c:pt>
                <c:pt idx="38248">
                  <c:v>34.445748170724173</c:v>
                </c:pt>
                <c:pt idx="38249">
                  <c:v>16.046013947155295</c:v>
                </c:pt>
                <c:pt idx="38250">
                  <c:v>49.732295209275215</c:v>
                </c:pt>
                <c:pt idx="38251">
                  <c:v>25.547233053458569</c:v>
                </c:pt>
                <c:pt idx="38252">
                  <c:v>26.24199412031949</c:v>
                </c:pt>
                <c:pt idx="38253">
                  <c:v>29.118096538936058</c:v>
                </c:pt>
                <c:pt idx="38254">
                  <c:v>22.13958074930909</c:v>
                </c:pt>
                <c:pt idx="38255">
                  <c:v>27.405433169311614</c:v>
                </c:pt>
                <c:pt idx="38256">
                  <c:v>21.968218775259238</c:v>
                </c:pt>
                <c:pt idx="38257">
                  <c:v>52.819762636132268</c:v>
                </c:pt>
                <c:pt idx="38258">
                  <c:v>27.599775696515245</c:v>
                </c:pt>
                <c:pt idx="38259">
                  <c:v>25.285000702232423</c:v>
                </c:pt>
                <c:pt idx="38260">
                  <c:v>43.007755111056952</c:v>
                </c:pt>
                <c:pt idx="38261">
                  <c:v>42.660766151641369</c:v>
                </c:pt>
                <c:pt idx="38262">
                  <c:v>21.665836700551413</c:v>
                </c:pt>
                <c:pt idx="38263">
                  <c:v>28.514312878129076</c:v>
                </c:pt>
                <c:pt idx="38264">
                  <c:v>34.081450404733459</c:v>
                </c:pt>
                <c:pt idx="38265">
                  <c:v>42.253182081017925</c:v>
                </c:pt>
                <c:pt idx="38266">
                  <c:v>22.12549732042925</c:v>
                </c:pt>
                <c:pt idx="38267">
                  <c:v>27.550312216869237</c:v>
                </c:pt>
                <c:pt idx="38268">
                  <c:v>23.602650386785822</c:v>
                </c:pt>
                <c:pt idx="38269">
                  <c:v>30.007429102284931</c:v>
                </c:pt>
                <c:pt idx="38270">
                  <c:v>33.071786678504154</c:v>
                </c:pt>
                <c:pt idx="38271">
                  <c:v>25.226409967332042</c:v>
                </c:pt>
                <c:pt idx="38272">
                  <c:v>39.882732845727027</c:v>
                </c:pt>
                <c:pt idx="38273">
                  <c:v>18.382763838215975</c:v>
                </c:pt>
                <c:pt idx="38274">
                  <c:v>23.429886205611894</c:v>
                </c:pt>
                <c:pt idx="38275">
                  <c:v>44.92954749640586</c:v>
                </c:pt>
                <c:pt idx="38276">
                  <c:v>53.66411507305358</c:v>
                </c:pt>
                <c:pt idx="38277">
                  <c:v>19.028318958484824</c:v>
                </c:pt>
                <c:pt idx="38278">
                  <c:v>27.52392055284724</c:v>
                </c:pt>
                <c:pt idx="38279">
                  <c:v>23.443318493326998</c:v>
                </c:pt>
                <c:pt idx="38280">
                  <c:v>29.3227265267993</c:v>
                </c:pt>
                <c:pt idx="38281">
                  <c:v>26.208953720877915</c:v>
                </c:pt>
                <c:pt idx="38282">
                  <c:v>22.405167469678581</c:v>
                </c:pt>
                <c:pt idx="38283">
                  <c:v>50.554940479554162</c:v>
                </c:pt>
                <c:pt idx="38284">
                  <c:v>28.530561476806021</c:v>
                </c:pt>
                <c:pt idx="38285">
                  <c:v>25.701945583668056</c:v>
                </c:pt>
                <c:pt idx="38286">
                  <c:v>26.687967536969516</c:v>
                </c:pt>
                <c:pt idx="38287">
                  <c:v>25.288967664905353</c:v>
                </c:pt>
                <c:pt idx="38288">
                  <c:v>29.795674242173938</c:v>
                </c:pt>
                <c:pt idx="38289">
                  <c:v>57.959888139466813</c:v>
                </c:pt>
                <c:pt idx="38290">
                  <c:v>43.506778971200887</c:v>
                </c:pt>
                <c:pt idx="38291">
                  <c:v>33.403899021759791</c:v>
                </c:pt>
                <c:pt idx="38292">
                  <c:v>43.690988676256254</c:v>
                </c:pt>
                <c:pt idx="38293">
                  <c:v>26.031884854076111</c:v>
                </c:pt>
                <c:pt idx="38294">
                  <c:v>19.940125419682346</c:v>
                </c:pt>
                <c:pt idx="38295">
                  <c:v>26.81872605011208</c:v>
                </c:pt>
                <c:pt idx="38296">
                  <c:v>15.174518471201841</c:v>
                </c:pt>
                <c:pt idx="38297">
                  <c:v>20.992852555549067</c:v>
                </c:pt>
                <c:pt idx="38298">
                  <c:v>21.844360930931042</c:v>
                </c:pt>
                <c:pt idx="38299">
                  <c:v>27.659404227821259</c:v>
                </c:pt>
                <c:pt idx="38300">
                  <c:v>30.339047146847182</c:v>
                </c:pt>
                <c:pt idx="38301">
                  <c:v>45.88011705184212</c:v>
                </c:pt>
                <c:pt idx="38302">
                  <c:v>38.225790490473074</c:v>
                </c:pt>
                <c:pt idx="38303">
                  <c:v>14.6949583470959</c:v>
                </c:pt>
                <c:pt idx="38304">
                  <c:v>46.989136896528755</c:v>
                </c:pt>
                <c:pt idx="38305">
                  <c:v>24.210713663001453</c:v>
                </c:pt>
                <c:pt idx="38306">
                  <c:v>39.046560558202678</c:v>
                </c:pt>
                <c:pt idx="38307">
                  <c:v>41.697150909863019</c:v>
                </c:pt>
                <c:pt idx="38308">
                  <c:v>26.669711270663594</c:v>
                </c:pt>
                <c:pt idx="38309">
                  <c:v>22.413441670000868</c:v>
                </c:pt>
                <c:pt idx="38310">
                  <c:v>26.75984943893744</c:v>
                </c:pt>
                <c:pt idx="38311">
                  <c:v>34.173598974280466</c:v>
                </c:pt>
                <c:pt idx="38312">
                  <c:v>41.901922170647993</c:v>
                </c:pt>
                <c:pt idx="38313">
                  <c:v>18.50535477678293</c:v>
                </c:pt>
                <c:pt idx="38314">
                  <c:v>23.709569047586005</c:v>
                </c:pt>
                <c:pt idx="38315">
                  <c:v>24.948299212340292</c:v>
                </c:pt>
                <c:pt idx="38316">
                  <c:v>27.421617803583125</c:v>
                </c:pt>
                <c:pt idx="38317">
                  <c:v>26.998447642702043</c:v>
                </c:pt>
                <c:pt idx="38318">
                  <c:v>26.697247940353272</c:v>
                </c:pt>
                <c:pt idx="38319">
                  <c:v>26.670262070186631</c:v>
                </c:pt>
                <c:pt idx="38320">
                  <c:v>27.983295919350375</c:v>
                </c:pt>
                <c:pt idx="38321">
                  <c:v>23.033840977111574</c:v>
                </c:pt>
                <c:pt idx="38322">
                  <c:v>22.644682504363473</c:v>
                </c:pt>
                <c:pt idx="38323">
                  <c:v>42.369776279972847</c:v>
                </c:pt>
                <c:pt idx="38324">
                  <c:v>32.816852434127277</c:v>
                </c:pt>
                <c:pt idx="38325">
                  <c:v>26.02532490694356</c:v>
                </c:pt>
                <c:pt idx="38326">
                  <c:v>44.719867055954055</c:v>
                </c:pt>
                <c:pt idx="38327">
                  <c:v>48.426904444244578</c:v>
                </c:pt>
                <c:pt idx="38328">
                  <c:v>30.222289011237425</c:v>
                </c:pt>
                <c:pt idx="38329">
                  <c:v>20.334281754909199</c:v>
                </c:pt>
                <c:pt idx="38330">
                  <c:v>28.588325527089054</c:v>
                </c:pt>
                <c:pt idx="38331">
                  <c:v>24.703723973218661</c:v>
                </c:pt>
                <c:pt idx="38332">
                  <c:v>25.508851129049731</c:v>
                </c:pt>
                <c:pt idx="38333">
                  <c:v>30.431773731135511</c:v>
                </c:pt>
                <c:pt idx="38334">
                  <c:v>23.417762006683176</c:v>
                </c:pt>
                <c:pt idx="38335">
                  <c:v>23.584814258573353</c:v>
                </c:pt>
                <c:pt idx="38336">
                  <c:v>18.708991567695328</c:v>
                </c:pt>
                <c:pt idx="38337">
                  <c:v>31.979971220139355</c:v>
                </c:pt>
                <c:pt idx="38338">
                  <c:v>28.936438207549603</c:v>
                </c:pt>
                <c:pt idx="38339">
                  <c:v>17.413149469087706</c:v>
                </c:pt>
                <c:pt idx="38340">
                  <c:v>28.305324168174145</c:v>
                </c:pt>
                <c:pt idx="38341">
                  <c:v>23.144039473175582</c:v>
                </c:pt>
                <c:pt idx="38342">
                  <c:v>18.617211225760414</c:v>
                </c:pt>
                <c:pt idx="38343">
                  <c:v>25.866391943803709</c:v>
                </c:pt>
                <c:pt idx="38344">
                  <c:v>25.630030971146915</c:v>
                </c:pt>
                <c:pt idx="38345">
                  <c:v>50.034730126868027</c:v>
                </c:pt>
                <c:pt idx="38346">
                  <c:v>41.749717274373651</c:v>
                </c:pt>
                <c:pt idx="38347">
                  <c:v>59.939469600387326</c:v>
                </c:pt>
                <c:pt idx="38348">
                  <c:v>45.429464568538641</c:v>
                </c:pt>
                <c:pt idx="38349">
                  <c:v>34.264370101874164</c:v>
                </c:pt>
                <c:pt idx="38350">
                  <c:v>40.812232235156195</c:v>
                </c:pt>
                <c:pt idx="38351">
                  <c:v>28.874537303745857</c:v>
                </c:pt>
                <c:pt idx="38352">
                  <c:v>23.598331650471046</c:v>
                </c:pt>
                <c:pt idx="38353">
                  <c:v>26.533578960798142</c:v>
                </c:pt>
                <c:pt idx="38354">
                  <c:v>65.108055709316659</c:v>
                </c:pt>
                <c:pt idx="38355">
                  <c:v>47.914747767057072</c:v>
                </c:pt>
                <c:pt idx="38356">
                  <c:v>24.095923499331608</c:v>
                </c:pt>
                <c:pt idx="38357">
                  <c:v>41.802021820638778</c:v>
                </c:pt>
                <c:pt idx="38358">
                  <c:v>52.969718533628409</c:v>
                </c:pt>
                <c:pt idx="38359">
                  <c:v>23.938346277018969</c:v>
                </c:pt>
                <c:pt idx="38360">
                  <c:v>26.626135812155212</c:v>
                </c:pt>
                <c:pt idx="38361">
                  <c:v>27.391715460854876</c:v>
                </c:pt>
                <c:pt idx="38362">
                  <c:v>25.633776064446405</c:v>
                </c:pt>
                <c:pt idx="38363">
                  <c:v>20.254757456905196</c:v>
                </c:pt>
                <c:pt idx="38364">
                  <c:v>26.22153198268412</c:v>
                </c:pt>
                <c:pt idx="38365">
                  <c:v>26.407518442066738</c:v>
                </c:pt>
                <c:pt idx="38366">
                  <c:v>26.311359046619515</c:v>
                </c:pt>
                <c:pt idx="38367">
                  <c:v>60.828511968759578</c:v>
                </c:pt>
                <c:pt idx="38368">
                  <c:v>28.925382466525665</c:v>
                </c:pt>
                <c:pt idx="38369">
                  <c:v>18.52928833881225</c:v>
                </c:pt>
                <c:pt idx="38370">
                  <c:v>16.9094275298485</c:v>
                </c:pt>
                <c:pt idx="38371">
                  <c:v>41.697524752881307</c:v>
                </c:pt>
                <c:pt idx="38372">
                  <c:v>24.562313607352575</c:v>
                </c:pt>
                <c:pt idx="38373">
                  <c:v>23.757529575742065</c:v>
                </c:pt>
                <c:pt idx="38374">
                  <c:v>16.780192641026645</c:v>
                </c:pt>
                <c:pt idx="38375">
                  <c:v>41.759165485299683</c:v>
                </c:pt>
                <c:pt idx="38376">
                  <c:v>31.719192988468993</c:v>
                </c:pt>
                <c:pt idx="38377">
                  <c:v>32.043077406918449</c:v>
                </c:pt>
                <c:pt idx="38378">
                  <c:v>23.624494479681655</c:v>
                </c:pt>
                <c:pt idx="38379">
                  <c:v>31.222109744665886</c:v>
                </c:pt>
                <c:pt idx="38380">
                  <c:v>46.006084068112933</c:v>
                </c:pt>
                <c:pt idx="38381">
                  <c:v>21.791449326591263</c:v>
                </c:pt>
                <c:pt idx="38382">
                  <c:v>32.24370675511657</c:v>
                </c:pt>
                <c:pt idx="38383">
                  <c:v>44.2637671348296</c:v>
                </c:pt>
                <c:pt idx="38384">
                  <c:v>28.449924613851962</c:v>
                </c:pt>
                <c:pt idx="38385">
                  <c:v>20.183905589395621</c:v>
                </c:pt>
                <c:pt idx="38386">
                  <c:v>36.782063409775603</c:v>
                </c:pt>
                <c:pt idx="38387">
                  <c:v>60.566885189665101</c:v>
                </c:pt>
                <c:pt idx="38388">
                  <c:v>28.734331355104683</c:v>
                </c:pt>
                <c:pt idx="38389">
                  <c:v>26.465563120961654</c:v>
                </c:pt>
                <c:pt idx="38390">
                  <c:v>28.779033133163708</c:v>
                </c:pt>
                <c:pt idx="38391">
                  <c:v>26.964772144581282</c:v>
                </c:pt>
                <c:pt idx="38392">
                  <c:v>26.615703071748023</c:v>
                </c:pt>
                <c:pt idx="38393">
                  <c:v>16.607980031562384</c:v>
                </c:pt>
                <c:pt idx="38394">
                  <c:v>37.641088896749004</c:v>
                </c:pt>
                <c:pt idx="38395">
                  <c:v>19.78784466960618</c:v>
                </c:pt>
                <c:pt idx="38396">
                  <c:v>21.682790154528242</c:v>
                </c:pt>
                <c:pt idx="38397">
                  <c:v>48.134381310528944</c:v>
                </c:pt>
                <c:pt idx="38398">
                  <c:v>27.03866294689378</c:v>
                </c:pt>
                <c:pt idx="38399">
                  <c:v>26.809834042124159</c:v>
                </c:pt>
                <c:pt idx="38400">
                  <c:v>23.140957219573586</c:v>
                </c:pt>
                <c:pt idx="38401">
                  <c:v>32.041580602803322</c:v>
                </c:pt>
                <c:pt idx="38402">
                  <c:v>18.818525856280697</c:v>
                </c:pt>
                <c:pt idx="38403">
                  <c:v>21.546063033471569</c:v>
                </c:pt>
                <c:pt idx="38404">
                  <c:v>29.919799733769143</c:v>
                </c:pt>
                <c:pt idx="38405">
                  <c:v>50.820522740377633</c:v>
                </c:pt>
                <c:pt idx="38406">
                  <c:v>36.928219913133155</c:v>
                </c:pt>
                <c:pt idx="38407">
                  <c:v>32.881283429946699</c:v>
                </c:pt>
                <c:pt idx="38408">
                  <c:v>54.701032127449764</c:v>
                </c:pt>
                <c:pt idx="38409">
                  <c:v>28.490930982648866</c:v>
                </c:pt>
                <c:pt idx="38410">
                  <c:v>45.079461771692948</c:v>
                </c:pt>
                <c:pt idx="38411">
                  <c:v>53.215102508675926</c:v>
                </c:pt>
                <c:pt idx="38412">
                  <c:v>22.771407664655065</c:v>
                </c:pt>
                <c:pt idx="38413">
                  <c:v>41.431668224255112</c:v>
                </c:pt>
                <c:pt idx="38414">
                  <c:v>27.239388792594138</c:v>
                </c:pt>
                <c:pt idx="38415">
                  <c:v>15.264158173358297</c:v>
                </c:pt>
                <c:pt idx="38416">
                  <c:v>27.688221069661839</c:v>
                </c:pt>
                <c:pt idx="38417">
                  <c:v>22.646804928140273</c:v>
                </c:pt>
                <c:pt idx="38418">
                  <c:v>43.000715341308741</c:v>
                </c:pt>
                <c:pt idx="38419">
                  <c:v>37.755779868488943</c:v>
                </c:pt>
                <c:pt idx="38420">
                  <c:v>23.112227585282596</c:v>
                </c:pt>
                <c:pt idx="38421">
                  <c:v>27.652701152548659</c:v>
                </c:pt>
                <c:pt idx="38422">
                  <c:v>24.683272599390587</c:v>
                </c:pt>
                <c:pt idx="38423">
                  <c:v>33.920258851288807</c:v>
                </c:pt>
                <c:pt idx="38424">
                  <c:v>30.747260672522717</c:v>
                </c:pt>
                <c:pt idx="38425">
                  <c:v>24.260293707781653</c:v>
                </c:pt>
                <c:pt idx="38426">
                  <c:v>25.751197920510336</c:v>
                </c:pt>
                <c:pt idx="38427">
                  <c:v>30.655692658313253</c:v>
                </c:pt>
                <c:pt idx="38428">
                  <c:v>23.794573435845962</c:v>
                </c:pt>
                <c:pt idx="38429">
                  <c:v>22.536188502994431</c:v>
                </c:pt>
                <c:pt idx="38430">
                  <c:v>18.160299927417913</c:v>
                </c:pt>
                <c:pt idx="38431">
                  <c:v>35.610227877223871</c:v>
                </c:pt>
                <c:pt idx="38432">
                  <c:v>27.645617162757524</c:v>
                </c:pt>
                <c:pt idx="38433">
                  <c:v>21.966155480921312</c:v>
                </c:pt>
                <c:pt idx="38434">
                  <c:v>28.214221297408312</c:v>
                </c:pt>
                <c:pt idx="38435">
                  <c:v>45.374283867551974</c:v>
                </c:pt>
                <c:pt idx="38436">
                  <c:v>21.043160224680747</c:v>
                </c:pt>
                <c:pt idx="38437">
                  <c:v>24.279940045566157</c:v>
                </c:pt>
                <c:pt idx="38438">
                  <c:v>26.647153886660039</c:v>
                </c:pt>
                <c:pt idx="38439">
                  <c:v>28.408075162016207</c:v>
                </c:pt>
                <c:pt idx="38440">
                  <c:v>34.534271803033384</c:v>
                </c:pt>
                <c:pt idx="38441">
                  <c:v>27.412386780974224</c:v>
                </c:pt>
                <c:pt idx="38442">
                  <c:v>35.556074303710375</c:v>
                </c:pt>
                <c:pt idx="38443">
                  <c:v>24.568852568110557</c:v>
                </c:pt>
                <c:pt idx="38444">
                  <c:v>29.721448213851783</c:v>
                </c:pt>
                <c:pt idx="38445">
                  <c:v>54.184547273391487</c:v>
                </c:pt>
                <c:pt idx="38446">
                  <c:v>26.485222276373964</c:v>
                </c:pt>
                <c:pt idx="38447">
                  <c:v>51.334757496832424</c:v>
                </c:pt>
                <c:pt idx="38448">
                  <c:v>39.468803887804157</c:v>
                </c:pt>
                <c:pt idx="38449">
                  <c:v>29.163254599450198</c:v>
                </c:pt>
                <c:pt idx="38450">
                  <c:v>32.144979265994756</c:v>
                </c:pt>
                <c:pt idx="38451">
                  <c:v>56.030052538422566</c:v>
                </c:pt>
                <c:pt idx="38452">
                  <c:v>27.263985097794745</c:v>
                </c:pt>
                <c:pt idx="38453">
                  <c:v>46.170476006577928</c:v>
                </c:pt>
                <c:pt idx="38454">
                  <c:v>19.030708586206028</c:v>
                </c:pt>
                <c:pt idx="38455">
                  <c:v>31.118094091535824</c:v>
                </c:pt>
                <c:pt idx="38456">
                  <c:v>29.751337647893134</c:v>
                </c:pt>
                <c:pt idx="38457">
                  <c:v>31.461496649577775</c:v>
                </c:pt>
                <c:pt idx="38458">
                  <c:v>48.567237014221433</c:v>
                </c:pt>
                <c:pt idx="38459">
                  <c:v>33.599901719708399</c:v>
                </c:pt>
                <c:pt idx="38460">
                  <c:v>36.297687986816555</c:v>
                </c:pt>
                <c:pt idx="38461">
                  <c:v>17.266738914624185</c:v>
                </c:pt>
                <c:pt idx="38462">
                  <c:v>29.107439563870109</c:v>
                </c:pt>
                <c:pt idx="38463">
                  <c:v>33.283833628083457</c:v>
                </c:pt>
                <c:pt idx="38464">
                  <c:v>40.586060889487854</c:v>
                </c:pt>
                <c:pt idx="38465">
                  <c:v>26.648281549732424</c:v>
                </c:pt>
                <c:pt idx="38466">
                  <c:v>34.324853566220483</c:v>
                </c:pt>
                <c:pt idx="38467">
                  <c:v>19.170593920504679</c:v>
                </c:pt>
                <c:pt idx="38468">
                  <c:v>29.574184283083486</c:v>
                </c:pt>
                <c:pt idx="38469">
                  <c:v>19.581145631945059</c:v>
                </c:pt>
                <c:pt idx="38470">
                  <c:v>18.993531175221968</c:v>
                </c:pt>
                <c:pt idx="38471">
                  <c:v>22.290340315677796</c:v>
                </c:pt>
                <c:pt idx="38472">
                  <c:v>23.535077773331004</c:v>
                </c:pt>
                <c:pt idx="38473">
                  <c:v>26.34126074162829</c:v>
                </c:pt>
                <c:pt idx="38474">
                  <c:v>19.309874594924999</c:v>
                </c:pt>
                <c:pt idx="38475">
                  <c:v>18.001290832535567</c:v>
                </c:pt>
                <c:pt idx="38476">
                  <c:v>34.388081665227908</c:v>
                </c:pt>
                <c:pt idx="38477">
                  <c:v>29.191439884065396</c:v>
                </c:pt>
                <c:pt idx="38478">
                  <c:v>19.570630813863712</c:v>
                </c:pt>
                <c:pt idx="38479">
                  <c:v>25.928113006618702</c:v>
                </c:pt>
                <c:pt idx="38480">
                  <c:v>18.466499616235257</c:v>
                </c:pt>
                <c:pt idx="38481">
                  <c:v>27.256048900803343</c:v>
                </c:pt>
                <c:pt idx="38482">
                  <c:v>29.728152614186861</c:v>
                </c:pt>
                <c:pt idx="38483">
                  <c:v>39.438091445745862</c:v>
                </c:pt>
                <c:pt idx="38484">
                  <c:v>22.728433648478685</c:v>
                </c:pt>
                <c:pt idx="38485">
                  <c:v>25.909293015032588</c:v>
                </c:pt>
                <c:pt idx="38486">
                  <c:v>31.476053899061981</c:v>
                </c:pt>
                <c:pt idx="38487">
                  <c:v>16.277762114026132</c:v>
                </c:pt>
                <c:pt idx="38488">
                  <c:v>30.758395947014474</c:v>
                </c:pt>
                <c:pt idx="38489">
                  <c:v>19.743472545659998</c:v>
                </c:pt>
                <c:pt idx="38490">
                  <c:v>29.273309117407653</c:v>
                </c:pt>
                <c:pt idx="38491">
                  <c:v>21.753234357116106</c:v>
                </c:pt>
                <c:pt idx="38492">
                  <c:v>30.4908884381909</c:v>
                </c:pt>
                <c:pt idx="38493">
                  <c:v>30.49742482496648</c:v>
                </c:pt>
                <c:pt idx="38494">
                  <c:v>46.466125942410876</c:v>
                </c:pt>
                <c:pt idx="38495">
                  <c:v>32.34467251174285</c:v>
                </c:pt>
                <c:pt idx="38496">
                  <c:v>44.197917394249671</c:v>
                </c:pt>
                <c:pt idx="38497">
                  <c:v>50.612701829520525</c:v>
                </c:pt>
                <c:pt idx="38498">
                  <c:v>25.102977364028558</c:v>
                </c:pt>
                <c:pt idx="38499">
                  <c:v>33.414141439870292</c:v>
                </c:pt>
                <c:pt idx="38500">
                  <c:v>26.160373598865245</c:v>
                </c:pt>
                <c:pt idx="38501">
                  <c:v>26.269598235059828</c:v>
                </c:pt>
                <c:pt idx="38502">
                  <c:v>22.604270318150505</c:v>
                </c:pt>
                <c:pt idx="38503">
                  <c:v>26.438655040066806</c:v>
                </c:pt>
                <c:pt idx="38504">
                  <c:v>24.259551726612393</c:v>
                </c:pt>
                <c:pt idx="38505">
                  <c:v>45.326212570618551</c:v>
                </c:pt>
                <c:pt idx="38506">
                  <c:v>28.073327692303902</c:v>
                </c:pt>
                <c:pt idx="38507">
                  <c:v>20.973945583704481</c:v>
                </c:pt>
                <c:pt idx="38508">
                  <c:v>54.001001473830051</c:v>
                </c:pt>
                <c:pt idx="38509">
                  <c:v>53.102985002330044</c:v>
                </c:pt>
                <c:pt idx="38510">
                  <c:v>36.336613218873097</c:v>
                </c:pt>
                <c:pt idx="38511">
                  <c:v>50.500218003647049</c:v>
                </c:pt>
                <c:pt idx="38512">
                  <c:v>42.97782273303158</c:v>
                </c:pt>
                <c:pt idx="38513">
                  <c:v>29.699775322627755</c:v>
                </c:pt>
                <c:pt idx="38514">
                  <c:v>24.906534546889482</c:v>
                </c:pt>
                <c:pt idx="38515">
                  <c:v>30.360304426543742</c:v>
                </c:pt>
                <c:pt idx="38516">
                  <c:v>35.017150538807854</c:v>
                </c:pt>
                <c:pt idx="38517">
                  <c:v>22.86642720305375</c:v>
                </c:pt>
                <c:pt idx="38518">
                  <c:v>23.353048944020458</c:v>
                </c:pt>
                <c:pt idx="38519">
                  <c:v>27.589585775402142</c:v>
                </c:pt>
                <c:pt idx="38520">
                  <c:v>28.354306907825375</c:v>
                </c:pt>
                <c:pt idx="38521">
                  <c:v>23.966042777285473</c:v>
                </c:pt>
                <c:pt idx="38522">
                  <c:v>38.217593746281594</c:v>
                </c:pt>
                <c:pt idx="38523">
                  <c:v>24.051815548274277</c:v>
                </c:pt>
                <c:pt idx="38524">
                  <c:v>22.943982876417934</c:v>
                </c:pt>
                <c:pt idx="38525">
                  <c:v>26.050596035398353</c:v>
                </c:pt>
                <c:pt idx="38526">
                  <c:v>31.761832142055102</c:v>
                </c:pt>
                <c:pt idx="38527">
                  <c:v>28.770876272934132</c:v>
                </c:pt>
                <c:pt idx="38528">
                  <c:v>42.909464760875153</c:v>
                </c:pt>
                <c:pt idx="38529">
                  <c:v>24.609865064577136</c:v>
                </c:pt>
                <c:pt idx="38530">
                  <c:v>27.055987191879353</c:v>
                </c:pt>
                <c:pt idx="38531">
                  <c:v>24.295962283978891</c:v>
                </c:pt>
                <c:pt idx="38532">
                  <c:v>29.003286137218346</c:v>
                </c:pt>
                <c:pt idx="38533">
                  <c:v>22.507378187168399</c:v>
                </c:pt>
                <c:pt idx="38534">
                  <c:v>30.629692174747355</c:v>
                </c:pt>
                <c:pt idx="38535">
                  <c:v>29.929717772315048</c:v>
                </c:pt>
                <c:pt idx="38536">
                  <c:v>25.509173572153724</c:v>
                </c:pt>
                <c:pt idx="38537">
                  <c:v>16.341704771357506</c:v>
                </c:pt>
                <c:pt idx="38538">
                  <c:v>22.812862036739396</c:v>
                </c:pt>
                <c:pt idx="38539">
                  <c:v>22.927032519165849</c:v>
                </c:pt>
                <c:pt idx="38540">
                  <c:v>25.469695422289757</c:v>
                </c:pt>
                <c:pt idx="38541">
                  <c:v>27.668814433389215</c:v>
                </c:pt>
                <c:pt idx="38542">
                  <c:v>51.405924082600919</c:v>
                </c:pt>
                <c:pt idx="38543">
                  <c:v>28.29210594728286</c:v>
                </c:pt>
                <c:pt idx="38544">
                  <c:v>28.830646080330894</c:v>
                </c:pt>
                <c:pt idx="38545">
                  <c:v>31.658440412271563</c:v>
                </c:pt>
                <c:pt idx="38546">
                  <c:v>26.250840768477598</c:v>
                </c:pt>
                <c:pt idx="38547">
                  <c:v>30.444549142655507</c:v>
                </c:pt>
                <c:pt idx="38548">
                  <c:v>20.325522325604656</c:v>
                </c:pt>
                <c:pt idx="38549">
                  <c:v>20.592521848652723</c:v>
                </c:pt>
                <c:pt idx="38550">
                  <c:v>34.16593517982853</c:v>
                </c:pt>
                <c:pt idx="38551">
                  <c:v>27.835746181924229</c:v>
                </c:pt>
                <c:pt idx="38552">
                  <c:v>49.516636586659587</c:v>
                </c:pt>
                <c:pt idx="38553">
                  <c:v>57.159692517566249</c:v>
                </c:pt>
                <c:pt idx="38554">
                  <c:v>30.409527539818221</c:v>
                </c:pt>
                <c:pt idx="38555">
                  <c:v>27.31033737015651</c:v>
                </c:pt>
                <c:pt idx="38556">
                  <c:v>50.260839229057936</c:v>
                </c:pt>
                <c:pt idx="38557">
                  <c:v>47.018836056891196</c:v>
                </c:pt>
                <c:pt idx="38558">
                  <c:v>31.655306446481816</c:v>
                </c:pt>
                <c:pt idx="38559">
                  <c:v>28.372375253922645</c:v>
                </c:pt>
                <c:pt idx="38560">
                  <c:v>58.269606361929689</c:v>
                </c:pt>
                <c:pt idx="38561">
                  <c:v>33.693061317754001</c:v>
                </c:pt>
                <c:pt idx="38562">
                  <c:v>16.378349605111374</c:v>
                </c:pt>
                <c:pt idx="38563">
                  <c:v>26.197202001237102</c:v>
                </c:pt>
                <c:pt idx="38564">
                  <c:v>23.540621570326635</c:v>
                </c:pt>
                <c:pt idx="38565">
                  <c:v>27.308761003458876</c:v>
                </c:pt>
                <c:pt idx="38566">
                  <c:v>21.583311783835907</c:v>
                </c:pt>
                <c:pt idx="38567">
                  <c:v>21.466309265560682</c:v>
                </c:pt>
                <c:pt idx="38568">
                  <c:v>42.113610793539792</c:v>
                </c:pt>
                <c:pt idx="38569">
                  <c:v>25.761435509441444</c:v>
                </c:pt>
                <c:pt idx="38570">
                  <c:v>30.458976659334624</c:v>
                </c:pt>
                <c:pt idx="38571">
                  <c:v>26.649675732197075</c:v>
                </c:pt>
                <c:pt idx="38572">
                  <c:v>30.705657082002752</c:v>
                </c:pt>
                <c:pt idx="38573">
                  <c:v>28.928756865956132</c:v>
                </c:pt>
                <c:pt idx="38574">
                  <c:v>28.090654036568441</c:v>
                </c:pt>
                <c:pt idx="38575">
                  <c:v>28.192393788117506</c:v>
                </c:pt>
                <c:pt idx="38576">
                  <c:v>41.726020811641</c:v>
                </c:pt>
                <c:pt idx="38577">
                  <c:v>21.279167429310512</c:v>
                </c:pt>
                <c:pt idx="38578">
                  <c:v>17.986642683128615</c:v>
                </c:pt>
                <c:pt idx="38579">
                  <c:v>31.128634903212671</c:v>
                </c:pt>
                <c:pt idx="38580">
                  <c:v>70.504549634873413</c:v>
                </c:pt>
                <c:pt idx="38581">
                  <c:v>29.142926707927234</c:v>
                </c:pt>
                <c:pt idx="38582">
                  <c:v>27.5071087081656</c:v>
                </c:pt>
                <c:pt idx="38583">
                  <c:v>20.591458549896679</c:v>
                </c:pt>
                <c:pt idx="38584">
                  <c:v>24.013827774010057</c:v>
                </c:pt>
                <c:pt idx="38585">
                  <c:v>41.857661947823338</c:v>
                </c:pt>
                <c:pt idx="38586">
                  <c:v>30.361726179648027</c:v>
                </c:pt>
                <c:pt idx="38587">
                  <c:v>27.843633277441793</c:v>
                </c:pt>
                <c:pt idx="38588">
                  <c:v>23.540324680079401</c:v>
                </c:pt>
                <c:pt idx="38589">
                  <c:v>27.629624571034533</c:v>
                </c:pt>
                <c:pt idx="38590">
                  <c:v>42.640116428211634</c:v>
                </c:pt>
                <c:pt idx="38591">
                  <c:v>22.950161650278567</c:v>
                </c:pt>
                <c:pt idx="38592">
                  <c:v>26.551559092828779</c:v>
                </c:pt>
                <c:pt idx="38593">
                  <c:v>24.142141294064896</c:v>
                </c:pt>
                <c:pt idx="38594">
                  <c:v>29.114422167778113</c:v>
                </c:pt>
                <c:pt idx="38595">
                  <c:v>55.026829629646997</c:v>
                </c:pt>
                <c:pt idx="38596">
                  <c:v>47.727620051856405</c:v>
                </c:pt>
                <c:pt idx="38597">
                  <c:v>24.444968406231535</c:v>
                </c:pt>
                <c:pt idx="38598">
                  <c:v>38.294953582100398</c:v>
                </c:pt>
                <c:pt idx="38599">
                  <c:v>24.634051973605938</c:v>
                </c:pt>
                <c:pt idx="38600">
                  <c:v>38.635796437845862</c:v>
                </c:pt>
                <c:pt idx="38601">
                  <c:v>51.730237461652457</c:v>
                </c:pt>
                <c:pt idx="38602">
                  <c:v>20.323899612051523</c:v>
                </c:pt>
                <c:pt idx="38603">
                  <c:v>46.530304067620243</c:v>
                </c:pt>
                <c:pt idx="38604">
                  <c:v>32.293502533840794</c:v>
                </c:pt>
                <c:pt idx="38605">
                  <c:v>27.096250949520041</c:v>
                </c:pt>
                <c:pt idx="38606">
                  <c:v>26.39777515389023</c:v>
                </c:pt>
                <c:pt idx="38607">
                  <c:v>32.20821117341756</c:v>
                </c:pt>
                <c:pt idx="38608">
                  <c:v>36.426595176792155</c:v>
                </c:pt>
                <c:pt idx="38609">
                  <c:v>37.453089967345363</c:v>
                </c:pt>
                <c:pt idx="38610">
                  <c:v>23.063799626195099</c:v>
                </c:pt>
                <c:pt idx="38611">
                  <c:v>28.736209158489338</c:v>
                </c:pt>
                <c:pt idx="38612">
                  <c:v>31.515766508057069</c:v>
                </c:pt>
                <c:pt idx="38613">
                  <c:v>37.715516271467813</c:v>
                </c:pt>
                <c:pt idx="38614">
                  <c:v>29.237345520565562</c:v>
                </c:pt>
                <c:pt idx="38615">
                  <c:v>21.913394102375584</c:v>
                </c:pt>
                <c:pt idx="38616">
                  <c:v>52.688784256903212</c:v>
                </c:pt>
                <c:pt idx="38617">
                  <c:v>25.346384068214885</c:v>
                </c:pt>
                <c:pt idx="38618">
                  <c:v>27.250915414826149</c:v>
                </c:pt>
                <c:pt idx="38619">
                  <c:v>25.454115420973313</c:v>
                </c:pt>
                <c:pt idx="38620">
                  <c:v>34.171389236758053</c:v>
                </c:pt>
                <c:pt idx="38621">
                  <c:v>58.883587365716622</c:v>
                </c:pt>
                <c:pt idx="38622">
                  <c:v>23.317236703454832</c:v>
                </c:pt>
                <c:pt idx="38623">
                  <c:v>31.773674659602456</c:v>
                </c:pt>
                <c:pt idx="38624">
                  <c:v>26.970779671344367</c:v>
                </c:pt>
                <c:pt idx="38625">
                  <c:v>26.137354331422586</c:v>
                </c:pt>
                <c:pt idx="38626">
                  <c:v>25.830748955128442</c:v>
                </c:pt>
                <c:pt idx="38627">
                  <c:v>27.30729135449587</c:v>
                </c:pt>
                <c:pt idx="38628">
                  <c:v>34.278835292659465</c:v>
                </c:pt>
                <c:pt idx="38629">
                  <c:v>20.944176923749158</c:v>
                </c:pt>
                <c:pt idx="38630">
                  <c:v>20.512607766621436</c:v>
                </c:pt>
                <c:pt idx="38631">
                  <c:v>30.992911457904302</c:v>
                </c:pt>
                <c:pt idx="38632">
                  <c:v>32.534723014396263</c:v>
                </c:pt>
                <c:pt idx="38633">
                  <c:v>27.249990375734793</c:v>
                </c:pt>
                <c:pt idx="38634">
                  <c:v>38.744275299652358</c:v>
                </c:pt>
                <c:pt idx="38635">
                  <c:v>42.80775799336601</c:v>
                </c:pt>
                <c:pt idx="38636">
                  <c:v>54.772840293598549</c:v>
                </c:pt>
                <c:pt idx="38637">
                  <c:v>35.628706887564761</c:v>
                </c:pt>
                <c:pt idx="38638">
                  <c:v>23.184602754876948</c:v>
                </c:pt>
                <c:pt idx="38639">
                  <c:v>51.126185513574185</c:v>
                </c:pt>
                <c:pt idx="38640">
                  <c:v>31.168920009318398</c:v>
                </c:pt>
                <c:pt idx="38641">
                  <c:v>37.84586116506037</c:v>
                </c:pt>
                <c:pt idx="38642">
                  <c:v>53.895397187907761</c:v>
                </c:pt>
                <c:pt idx="38643">
                  <c:v>21.318158238371336</c:v>
                </c:pt>
                <c:pt idx="38644">
                  <c:v>47.908742262249611</c:v>
                </c:pt>
                <c:pt idx="38645">
                  <c:v>41.641354473886928</c:v>
                </c:pt>
                <c:pt idx="38646">
                  <c:v>19.035904114307122</c:v>
                </c:pt>
                <c:pt idx="38647">
                  <c:v>25.061809293493962</c:v>
                </c:pt>
                <c:pt idx="38648">
                  <c:v>33.605792448579308</c:v>
                </c:pt>
                <c:pt idx="38649">
                  <c:v>39.894276460229221</c:v>
                </c:pt>
                <c:pt idx="38650">
                  <c:v>35.208379073259458</c:v>
                </c:pt>
                <c:pt idx="38651">
                  <c:v>32.188477881361877</c:v>
                </c:pt>
                <c:pt idx="38652">
                  <c:v>33.701504912818109</c:v>
                </c:pt>
                <c:pt idx="38653">
                  <c:v>25.572148512687043</c:v>
                </c:pt>
                <c:pt idx="38654">
                  <c:v>37.061374175964133</c:v>
                </c:pt>
                <c:pt idx="38655">
                  <c:v>27.455113932338129</c:v>
                </c:pt>
                <c:pt idx="38656">
                  <c:v>38.492535046444388</c:v>
                </c:pt>
                <c:pt idx="38657">
                  <c:v>32.994005435217865</c:v>
                </c:pt>
                <c:pt idx="38658">
                  <c:v>37.650668029614074</c:v>
                </c:pt>
                <c:pt idx="38659">
                  <c:v>24.589045680413868</c:v>
                </c:pt>
                <c:pt idx="38660">
                  <c:v>30.665747499754996</c:v>
                </c:pt>
                <c:pt idx="38661">
                  <c:v>50.949556020428858</c:v>
                </c:pt>
                <c:pt idx="38662">
                  <c:v>35.552468919754254</c:v>
                </c:pt>
                <c:pt idx="38663">
                  <c:v>31.034551607898365</c:v>
                </c:pt>
                <c:pt idx="38664">
                  <c:v>26.229592387294872</c:v>
                </c:pt>
                <c:pt idx="38665">
                  <c:v>29.355771889264091</c:v>
                </c:pt>
                <c:pt idx="38666">
                  <c:v>50.688220759846729</c:v>
                </c:pt>
                <c:pt idx="38667">
                  <c:v>28.777276999072768</c:v>
                </c:pt>
                <c:pt idx="38668">
                  <c:v>36.005221445367631</c:v>
                </c:pt>
                <c:pt idx="38669">
                  <c:v>23.683802552605759</c:v>
                </c:pt>
                <c:pt idx="38670">
                  <c:v>30.10626142196692</c:v>
                </c:pt>
                <c:pt idx="38671">
                  <c:v>25.675351744377124</c:v>
                </c:pt>
                <c:pt idx="38672">
                  <c:v>29.681765236877872</c:v>
                </c:pt>
                <c:pt idx="38673">
                  <c:v>43.117987573222344</c:v>
                </c:pt>
                <c:pt idx="38674">
                  <c:v>20.142317856638734</c:v>
                </c:pt>
                <c:pt idx="38675">
                  <c:v>25.589619076221094</c:v>
                </c:pt>
                <c:pt idx="38676">
                  <c:v>40.335232023017753</c:v>
                </c:pt>
                <c:pt idx="38677">
                  <c:v>47.839873411611464</c:v>
                </c:pt>
                <c:pt idx="38678">
                  <c:v>25.33021874464491</c:v>
                </c:pt>
                <c:pt idx="38679">
                  <c:v>51.149836302257725</c:v>
                </c:pt>
                <c:pt idx="38680">
                  <c:v>56.821837293548256</c:v>
                </c:pt>
                <c:pt idx="38681">
                  <c:v>67.601375115961147</c:v>
                </c:pt>
                <c:pt idx="38682">
                  <c:v>45.772188009551932</c:v>
                </c:pt>
                <c:pt idx="38683">
                  <c:v>41.072122772882452</c:v>
                </c:pt>
                <c:pt idx="38684">
                  <c:v>27.767257616992367</c:v>
                </c:pt>
                <c:pt idx="38685">
                  <c:v>52.558824737994584</c:v>
                </c:pt>
                <c:pt idx="38686">
                  <c:v>31.676401524361886</c:v>
                </c:pt>
                <c:pt idx="38687">
                  <c:v>22.470352677338049</c:v>
                </c:pt>
                <c:pt idx="38688">
                  <c:v>37.387893406080636</c:v>
                </c:pt>
                <c:pt idx="38689">
                  <c:v>45.404361091820974</c:v>
                </c:pt>
                <c:pt idx="38690">
                  <c:v>35.071954732014525</c:v>
                </c:pt>
                <c:pt idx="38691">
                  <c:v>41.600073254181723</c:v>
                </c:pt>
                <c:pt idx="38692">
                  <c:v>54.092458497940449</c:v>
                </c:pt>
                <c:pt idx="38693">
                  <c:v>69.745140046976687</c:v>
                </c:pt>
                <c:pt idx="38694">
                  <c:v>31.422722854634817</c:v>
                </c:pt>
                <c:pt idx="38695">
                  <c:v>32.800946494123885</c:v>
                </c:pt>
                <c:pt idx="38696">
                  <c:v>26.38752184802134</c:v>
                </c:pt>
                <c:pt idx="38697">
                  <c:v>31.808244717937196</c:v>
                </c:pt>
                <c:pt idx="38698">
                  <c:v>33.729921626636923</c:v>
                </c:pt>
                <c:pt idx="38699">
                  <c:v>28.350627062638974</c:v>
                </c:pt>
                <c:pt idx="38700">
                  <c:v>25.736551611835289</c:v>
                </c:pt>
                <c:pt idx="38701">
                  <c:v>25.330045475385628</c:v>
                </c:pt>
                <c:pt idx="38702">
                  <c:v>28.04533481026116</c:v>
                </c:pt>
                <c:pt idx="38703">
                  <c:v>37.498989661465657</c:v>
                </c:pt>
                <c:pt idx="38704">
                  <c:v>25.621413846198013</c:v>
                </c:pt>
                <c:pt idx="38705">
                  <c:v>23.403537663122506</c:v>
                </c:pt>
                <c:pt idx="38706">
                  <c:v>23.650725602088546</c:v>
                </c:pt>
                <c:pt idx="38707">
                  <c:v>26.293439601137582</c:v>
                </c:pt>
                <c:pt idx="38708">
                  <c:v>21.158433153080303</c:v>
                </c:pt>
                <c:pt idx="38709">
                  <c:v>49.954873362164655</c:v>
                </c:pt>
                <c:pt idx="38710">
                  <c:v>33.025789272605721</c:v>
                </c:pt>
                <c:pt idx="38711">
                  <c:v>39.33064767099674</c:v>
                </c:pt>
                <c:pt idx="38712">
                  <c:v>28.250080361524912</c:v>
                </c:pt>
                <c:pt idx="38713">
                  <c:v>31.370131105732156</c:v>
                </c:pt>
                <c:pt idx="38714">
                  <c:v>37.084446954942131</c:v>
                </c:pt>
                <c:pt idx="38715">
                  <c:v>45.610260534228225</c:v>
                </c:pt>
                <c:pt idx="38716">
                  <c:v>28.108758595712402</c:v>
                </c:pt>
                <c:pt idx="38717">
                  <c:v>35.269141781592644</c:v>
                </c:pt>
                <c:pt idx="38718">
                  <c:v>21.855698901302148</c:v>
                </c:pt>
                <c:pt idx="38719">
                  <c:v>18.794365524085556</c:v>
                </c:pt>
                <c:pt idx="38720">
                  <c:v>24.235405711641764</c:v>
                </c:pt>
                <c:pt idx="38721">
                  <c:v>29.938891119666216</c:v>
                </c:pt>
                <c:pt idx="38722">
                  <c:v>38.531642446557527</c:v>
                </c:pt>
                <c:pt idx="38723">
                  <c:v>35.929209214405773</c:v>
                </c:pt>
                <c:pt idx="38724">
                  <c:v>18.240911085617789</c:v>
                </c:pt>
                <c:pt idx="38725">
                  <c:v>23.196783654294865</c:v>
                </c:pt>
                <c:pt idx="38726">
                  <c:v>27.202724505303173</c:v>
                </c:pt>
                <c:pt idx="38727">
                  <c:v>27.12678606200403</c:v>
                </c:pt>
                <c:pt idx="38728">
                  <c:v>61.690005279844542</c:v>
                </c:pt>
                <c:pt idx="38729">
                  <c:v>24.274507045141334</c:v>
                </c:pt>
                <c:pt idx="38730">
                  <c:v>24.816534123069196</c:v>
                </c:pt>
                <c:pt idx="38731">
                  <c:v>22.687557576532583</c:v>
                </c:pt>
                <c:pt idx="38732">
                  <c:v>27.772896880038424</c:v>
                </c:pt>
                <c:pt idx="38733">
                  <c:v>29.649333165032964</c:v>
                </c:pt>
                <c:pt idx="38734">
                  <c:v>49.993440004395687</c:v>
                </c:pt>
                <c:pt idx="38735">
                  <c:v>32.093063108793785</c:v>
                </c:pt>
                <c:pt idx="38736">
                  <c:v>53.877239181762732</c:v>
                </c:pt>
                <c:pt idx="38737">
                  <c:v>42.037576959311522</c:v>
                </c:pt>
                <c:pt idx="38738">
                  <c:v>22.36887090130471</c:v>
                </c:pt>
                <c:pt idx="38739">
                  <c:v>26.857973464717055</c:v>
                </c:pt>
                <c:pt idx="38740">
                  <c:v>21.145753145689604</c:v>
                </c:pt>
                <c:pt idx="38741">
                  <c:v>18.226945164277879</c:v>
                </c:pt>
                <c:pt idx="38742">
                  <c:v>28.547704107927032</c:v>
                </c:pt>
                <c:pt idx="38743">
                  <c:v>26.499758455683477</c:v>
                </c:pt>
                <c:pt idx="38744">
                  <c:v>47.761068714343537</c:v>
                </c:pt>
                <c:pt idx="38745">
                  <c:v>51.438939175222217</c:v>
                </c:pt>
                <c:pt idx="38746">
                  <c:v>41.456215585580168</c:v>
                </c:pt>
                <c:pt idx="38747">
                  <c:v>33.069997008560478</c:v>
                </c:pt>
                <c:pt idx="38748">
                  <c:v>30.202162898460664</c:v>
                </c:pt>
                <c:pt idx="38749">
                  <c:v>48.09733998884542</c:v>
                </c:pt>
                <c:pt idx="38750">
                  <c:v>22.00467194695376</c:v>
                </c:pt>
                <c:pt idx="38751">
                  <c:v>25.487406440949396</c:v>
                </c:pt>
                <c:pt idx="38752">
                  <c:v>21.742027669896675</c:v>
                </c:pt>
                <c:pt idx="38753">
                  <c:v>34.4511290953387</c:v>
                </c:pt>
                <c:pt idx="38754">
                  <c:v>28.764195549312017</c:v>
                </c:pt>
                <c:pt idx="38755">
                  <c:v>23.578498789380461</c:v>
                </c:pt>
                <c:pt idx="38756">
                  <c:v>28.292829324174456</c:v>
                </c:pt>
                <c:pt idx="38757">
                  <c:v>25.106911482211775</c:v>
                </c:pt>
                <c:pt idx="38758">
                  <c:v>28.964675832023214</c:v>
                </c:pt>
                <c:pt idx="38759">
                  <c:v>36.188512455742391</c:v>
                </c:pt>
                <c:pt idx="38760">
                  <c:v>55.289556698769609</c:v>
                </c:pt>
                <c:pt idx="38761">
                  <c:v>36.295694770070853</c:v>
                </c:pt>
                <c:pt idx="38762">
                  <c:v>22.628088051318024</c:v>
                </c:pt>
                <c:pt idx="38763">
                  <c:v>39.54938951642761</c:v>
                </c:pt>
                <c:pt idx="38764">
                  <c:v>19.643064557229398</c:v>
                </c:pt>
                <c:pt idx="38765">
                  <c:v>19.379121345662103</c:v>
                </c:pt>
                <c:pt idx="38766">
                  <c:v>31.337178958685225</c:v>
                </c:pt>
                <c:pt idx="38767">
                  <c:v>24.63627674730305</c:v>
                </c:pt>
                <c:pt idx="38768">
                  <c:v>24.329845621840882</c:v>
                </c:pt>
                <c:pt idx="38769">
                  <c:v>33.13901924553285</c:v>
                </c:pt>
                <c:pt idx="38770">
                  <c:v>34.528746109994799</c:v>
                </c:pt>
                <c:pt idx="38771">
                  <c:v>49.238940696650104</c:v>
                </c:pt>
                <c:pt idx="38772">
                  <c:v>26.980217381628947</c:v>
                </c:pt>
                <c:pt idx="38773">
                  <c:v>44.212611291117234</c:v>
                </c:pt>
                <c:pt idx="38774">
                  <c:v>43.857760636697762</c:v>
                </c:pt>
                <c:pt idx="38775">
                  <c:v>20.241530227857375</c:v>
                </c:pt>
                <c:pt idx="38776">
                  <c:v>58.535739199075884</c:v>
                </c:pt>
                <c:pt idx="38777">
                  <c:v>48.907416693499336</c:v>
                </c:pt>
                <c:pt idx="38778">
                  <c:v>25.969300379405208</c:v>
                </c:pt>
                <c:pt idx="38779">
                  <c:v>54.744410582636412</c:v>
                </c:pt>
                <c:pt idx="38780">
                  <c:v>22.834041757794619</c:v>
                </c:pt>
                <c:pt idx="38781">
                  <c:v>29.991322934590443</c:v>
                </c:pt>
                <c:pt idx="38782">
                  <c:v>46.735101556054438</c:v>
                </c:pt>
                <c:pt idx="38783">
                  <c:v>30.874711160665811</c:v>
                </c:pt>
                <c:pt idx="38784">
                  <c:v>59.965688910025591</c:v>
                </c:pt>
                <c:pt idx="38785">
                  <c:v>25.181513349498669</c:v>
                </c:pt>
                <c:pt idx="38786">
                  <c:v>24.697966067338868</c:v>
                </c:pt>
                <c:pt idx="38787">
                  <c:v>32.193183004799934</c:v>
                </c:pt>
                <c:pt idx="38788">
                  <c:v>27.554959038413472</c:v>
                </c:pt>
                <c:pt idx="38789">
                  <c:v>30.276849298832076</c:v>
                </c:pt>
                <c:pt idx="38790">
                  <c:v>34.82915529512934</c:v>
                </c:pt>
                <c:pt idx="38791">
                  <c:v>43.670642752499248</c:v>
                </c:pt>
                <c:pt idx="38792">
                  <c:v>21.314301028576775</c:v>
                </c:pt>
                <c:pt idx="38793">
                  <c:v>25.104720622139347</c:v>
                </c:pt>
                <c:pt idx="38794">
                  <c:v>23.699534900453024</c:v>
                </c:pt>
                <c:pt idx="38795">
                  <c:v>25.809842470459827</c:v>
                </c:pt>
                <c:pt idx="38796">
                  <c:v>20.983908122811808</c:v>
                </c:pt>
                <c:pt idx="38797">
                  <c:v>28.708563594181946</c:v>
                </c:pt>
                <c:pt idx="38798">
                  <c:v>29.387113176484142</c:v>
                </c:pt>
                <c:pt idx="38799">
                  <c:v>27.959763901792673</c:v>
                </c:pt>
                <c:pt idx="38800">
                  <c:v>24.204069978149846</c:v>
                </c:pt>
                <c:pt idx="38801">
                  <c:v>26.542537589382768</c:v>
                </c:pt>
                <c:pt idx="38802">
                  <c:v>21.987491105385878</c:v>
                </c:pt>
                <c:pt idx="38803">
                  <c:v>50.936864523628273</c:v>
                </c:pt>
                <c:pt idx="38804">
                  <c:v>29.263439265199676</c:v>
                </c:pt>
                <c:pt idx="38805">
                  <c:v>26.39138284698917</c:v>
                </c:pt>
                <c:pt idx="38806">
                  <c:v>28.177609541247179</c:v>
                </c:pt>
                <c:pt idx="38807">
                  <c:v>21.433589728721657</c:v>
                </c:pt>
                <c:pt idx="38808">
                  <c:v>24.903151512967849</c:v>
                </c:pt>
                <c:pt idx="38809">
                  <c:v>44.616265906310652</c:v>
                </c:pt>
                <c:pt idx="38810">
                  <c:v>42.562459768642796</c:v>
                </c:pt>
                <c:pt idx="38811">
                  <c:v>29.603240180216229</c:v>
                </c:pt>
                <c:pt idx="38812">
                  <c:v>24.101826393211176</c:v>
                </c:pt>
                <c:pt idx="38813">
                  <c:v>50.718167233616057</c:v>
                </c:pt>
                <c:pt idx="38814">
                  <c:v>51.908498682870608</c:v>
                </c:pt>
                <c:pt idx="38815">
                  <c:v>27.710046112042889</c:v>
                </c:pt>
                <c:pt idx="38816">
                  <c:v>18.929965863143543</c:v>
                </c:pt>
                <c:pt idx="38817">
                  <c:v>36.597781325206078</c:v>
                </c:pt>
                <c:pt idx="38818">
                  <c:v>24.044811160919451</c:v>
                </c:pt>
                <c:pt idx="38819">
                  <c:v>50.939687080400148</c:v>
                </c:pt>
                <c:pt idx="38820">
                  <c:v>29.838815898738268</c:v>
                </c:pt>
                <c:pt idx="38821">
                  <c:v>27.380105553029534</c:v>
                </c:pt>
                <c:pt idx="38822">
                  <c:v>24.765236951289708</c:v>
                </c:pt>
                <c:pt idx="38823">
                  <c:v>42.881133256889512</c:v>
                </c:pt>
                <c:pt idx="38824">
                  <c:v>14.980483923110665</c:v>
                </c:pt>
                <c:pt idx="38825">
                  <c:v>25.077785760913979</c:v>
                </c:pt>
                <c:pt idx="38826">
                  <c:v>20.198467395527793</c:v>
                </c:pt>
                <c:pt idx="38827">
                  <c:v>24.831055757778955</c:v>
                </c:pt>
                <c:pt idx="38828">
                  <c:v>31.210629002729259</c:v>
                </c:pt>
                <c:pt idx="38829">
                  <c:v>29.265038341142187</c:v>
                </c:pt>
                <c:pt idx="38830">
                  <c:v>62.867314565428927</c:v>
                </c:pt>
                <c:pt idx="38831">
                  <c:v>23.985888905503916</c:v>
                </c:pt>
                <c:pt idx="38832">
                  <c:v>22.385629870270662</c:v>
                </c:pt>
                <c:pt idx="38833">
                  <c:v>25.256443742705645</c:v>
                </c:pt>
                <c:pt idx="38834">
                  <c:v>45.158750473872679</c:v>
                </c:pt>
                <c:pt idx="38835">
                  <c:v>25.837363288117494</c:v>
                </c:pt>
                <c:pt idx="38836">
                  <c:v>24.593484731278551</c:v>
                </c:pt>
                <c:pt idx="38837">
                  <c:v>22.938384303821778</c:v>
                </c:pt>
                <c:pt idx="38838">
                  <c:v>47.598749704985394</c:v>
                </c:pt>
                <c:pt idx="38839">
                  <c:v>30.867586995454197</c:v>
                </c:pt>
                <c:pt idx="38840">
                  <c:v>41.075857876992089</c:v>
                </c:pt>
                <c:pt idx="38841">
                  <c:v>31.752054064867167</c:v>
                </c:pt>
                <c:pt idx="38842">
                  <c:v>18.417839600025488</c:v>
                </c:pt>
                <c:pt idx="38843">
                  <c:v>37.190777181322389</c:v>
                </c:pt>
                <c:pt idx="38844">
                  <c:v>37.11443589321928</c:v>
                </c:pt>
                <c:pt idx="38845">
                  <c:v>46.263690216658539</c:v>
                </c:pt>
                <c:pt idx="38846">
                  <c:v>36.072650330184345</c:v>
                </c:pt>
                <c:pt idx="38847">
                  <c:v>31.059238984258137</c:v>
                </c:pt>
                <c:pt idx="38848">
                  <c:v>44.059937536056665</c:v>
                </c:pt>
                <c:pt idx="38849">
                  <c:v>27.129277349179873</c:v>
                </c:pt>
                <c:pt idx="38850">
                  <c:v>30.773492097414767</c:v>
                </c:pt>
                <c:pt idx="38851">
                  <c:v>47.572059817262783</c:v>
                </c:pt>
                <c:pt idx="38852">
                  <c:v>36.118405181239957</c:v>
                </c:pt>
                <c:pt idx="38853">
                  <c:v>31.487418113041052</c:v>
                </c:pt>
                <c:pt idx="38854">
                  <c:v>28.153263725227731</c:v>
                </c:pt>
                <c:pt idx="38855">
                  <c:v>49.473214863403477</c:v>
                </c:pt>
                <c:pt idx="38856">
                  <c:v>32.69382141929718</c:v>
                </c:pt>
                <c:pt idx="38857">
                  <c:v>25.309900011398653</c:v>
                </c:pt>
                <c:pt idx="38858">
                  <c:v>23.335456315624103</c:v>
                </c:pt>
                <c:pt idx="38859">
                  <c:v>22.569964574989509</c:v>
                </c:pt>
                <c:pt idx="38860">
                  <c:v>21.771813767785236</c:v>
                </c:pt>
                <c:pt idx="38861">
                  <c:v>26.262777190062216</c:v>
                </c:pt>
                <c:pt idx="38862">
                  <c:v>55.687966542632743</c:v>
                </c:pt>
                <c:pt idx="38863">
                  <c:v>27.915293012127027</c:v>
                </c:pt>
                <c:pt idx="38864">
                  <c:v>32.465432790160776</c:v>
                </c:pt>
                <c:pt idx="38865">
                  <c:v>30.124534776505239</c:v>
                </c:pt>
                <c:pt idx="38866">
                  <c:v>20.194597072935704</c:v>
                </c:pt>
                <c:pt idx="38867">
                  <c:v>18.520735529415798</c:v>
                </c:pt>
                <c:pt idx="38868">
                  <c:v>36.445746764591576</c:v>
                </c:pt>
                <c:pt idx="38869">
                  <c:v>30.581574907974954</c:v>
                </c:pt>
                <c:pt idx="38870">
                  <c:v>18.727228442874498</c:v>
                </c:pt>
                <c:pt idx="38871">
                  <c:v>30.233875697016877</c:v>
                </c:pt>
                <c:pt idx="38872">
                  <c:v>24.998768885852382</c:v>
                </c:pt>
                <c:pt idx="38873">
                  <c:v>25.078240657930358</c:v>
                </c:pt>
                <c:pt idx="38874">
                  <c:v>25.572679968956876</c:v>
                </c:pt>
                <c:pt idx="38875">
                  <c:v>26.929282167534033</c:v>
                </c:pt>
                <c:pt idx="38876">
                  <c:v>56.16343721341007</c:v>
                </c:pt>
                <c:pt idx="38877">
                  <c:v>55.480445217735898</c:v>
                </c:pt>
                <c:pt idx="38878">
                  <c:v>35.161013710339141</c:v>
                </c:pt>
                <c:pt idx="38879">
                  <c:v>51.836694178185617</c:v>
                </c:pt>
                <c:pt idx="38880">
                  <c:v>52.690255318982508</c:v>
                </c:pt>
                <c:pt idx="38881">
                  <c:v>51.496213091554523</c:v>
                </c:pt>
                <c:pt idx="38882">
                  <c:v>23.074544584105059</c:v>
                </c:pt>
                <c:pt idx="38883">
                  <c:v>20.753044914965539</c:v>
                </c:pt>
                <c:pt idx="38884">
                  <c:v>30.993142206342668</c:v>
                </c:pt>
                <c:pt idx="38885">
                  <c:v>32.131860304516096</c:v>
                </c:pt>
                <c:pt idx="38886">
                  <c:v>30.725094918953758</c:v>
                </c:pt>
                <c:pt idx="38887">
                  <c:v>17.691215545045129</c:v>
                </c:pt>
                <c:pt idx="38888">
                  <c:v>51.228467649867142</c:v>
                </c:pt>
                <c:pt idx="38889">
                  <c:v>48.278052777948723</c:v>
                </c:pt>
                <c:pt idx="38890">
                  <c:v>16.319557706855665</c:v>
                </c:pt>
                <c:pt idx="38891">
                  <c:v>25.624847896322898</c:v>
                </c:pt>
                <c:pt idx="38892">
                  <c:v>25.548652430137164</c:v>
                </c:pt>
                <c:pt idx="38893">
                  <c:v>26.071559622760084</c:v>
                </c:pt>
                <c:pt idx="38894">
                  <c:v>25.191056913047738</c:v>
                </c:pt>
                <c:pt idx="38895">
                  <c:v>21.686880951768266</c:v>
                </c:pt>
                <c:pt idx="38896">
                  <c:v>52.489423954168224</c:v>
                </c:pt>
                <c:pt idx="38897">
                  <c:v>40.395829628998051</c:v>
                </c:pt>
                <c:pt idx="38898">
                  <c:v>22.181855602946321</c:v>
                </c:pt>
                <c:pt idx="38899">
                  <c:v>48.629007073608932</c:v>
                </c:pt>
                <c:pt idx="38900">
                  <c:v>24.598209582371858</c:v>
                </c:pt>
                <c:pt idx="38901">
                  <c:v>40.092513992702628</c:v>
                </c:pt>
                <c:pt idx="38902">
                  <c:v>29.839165528142161</c:v>
                </c:pt>
                <c:pt idx="38903">
                  <c:v>44.072484344186435</c:v>
                </c:pt>
                <c:pt idx="38904">
                  <c:v>24.232496438870765</c:v>
                </c:pt>
                <c:pt idx="38905">
                  <c:v>30.653444061228495</c:v>
                </c:pt>
                <c:pt idx="38906">
                  <c:v>31.344111315045271</c:v>
                </c:pt>
                <c:pt idx="38907">
                  <c:v>29.530714790527529</c:v>
                </c:pt>
                <c:pt idx="38908">
                  <c:v>17.728828694770044</c:v>
                </c:pt>
                <c:pt idx="38909">
                  <c:v>25.864086653218987</c:v>
                </c:pt>
                <c:pt idx="38910">
                  <c:v>23.214892953759886</c:v>
                </c:pt>
                <c:pt idx="38911">
                  <c:v>38.814022794948073</c:v>
                </c:pt>
                <c:pt idx="38912">
                  <c:v>31.45056779140895</c:v>
                </c:pt>
                <c:pt idx="38913">
                  <c:v>39.521510146595141</c:v>
                </c:pt>
                <c:pt idx="38914">
                  <c:v>24.992616938944707</c:v>
                </c:pt>
                <c:pt idx="38915">
                  <c:v>24.652406881858699</c:v>
                </c:pt>
                <c:pt idx="38916">
                  <c:v>35.782120721840549</c:v>
                </c:pt>
                <c:pt idx="38917">
                  <c:v>33.487674806254574</c:v>
                </c:pt>
                <c:pt idx="38918">
                  <c:v>29.73548446554279</c:v>
                </c:pt>
                <c:pt idx="38919">
                  <c:v>20.927672583321879</c:v>
                </c:pt>
                <c:pt idx="38920">
                  <c:v>20.080723984320805</c:v>
                </c:pt>
                <c:pt idx="38921">
                  <c:v>19.757316273534776</c:v>
                </c:pt>
                <c:pt idx="38922">
                  <c:v>47.192252439669396</c:v>
                </c:pt>
                <c:pt idx="38923">
                  <c:v>26.764565886450857</c:v>
                </c:pt>
                <c:pt idx="38924">
                  <c:v>30.917432630005621</c:v>
                </c:pt>
                <c:pt idx="38925">
                  <c:v>31.147085430779558</c:v>
                </c:pt>
                <c:pt idx="38926">
                  <c:v>30.577818102318524</c:v>
                </c:pt>
                <c:pt idx="38927">
                  <c:v>51.083149570374701</c:v>
                </c:pt>
                <c:pt idx="38928">
                  <c:v>23.753850628727346</c:v>
                </c:pt>
                <c:pt idx="38929">
                  <c:v>35.974137583945307</c:v>
                </c:pt>
                <c:pt idx="38930">
                  <c:v>20.157661875113678</c:v>
                </c:pt>
                <c:pt idx="38931">
                  <c:v>31.132344517901483</c:v>
                </c:pt>
                <c:pt idx="38932">
                  <c:v>23.697387517959815</c:v>
                </c:pt>
                <c:pt idx="38933">
                  <c:v>26.868834693510479</c:v>
                </c:pt>
                <c:pt idx="38934">
                  <c:v>24.203235600063341</c:v>
                </c:pt>
                <c:pt idx="38935">
                  <c:v>21.477148886502018</c:v>
                </c:pt>
                <c:pt idx="38936">
                  <c:v>26.183882517685745</c:v>
                </c:pt>
                <c:pt idx="38937">
                  <c:v>31.374873022474002</c:v>
                </c:pt>
                <c:pt idx="38938">
                  <c:v>25.03794369198857</c:v>
                </c:pt>
                <c:pt idx="38939">
                  <c:v>28.627901207107243</c:v>
                </c:pt>
                <c:pt idx="38940">
                  <c:v>26.53513045573424</c:v>
                </c:pt>
                <c:pt idx="38941">
                  <c:v>26.63066006113559</c:v>
                </c:pt>
                <c:pt idx="38942">
                  <c:v>31.357022502720483</c:v>
                </c:pt>
                <c:pt idx="38943">
                  <c:v>41.574269324836152</c:v>
                </c:pt>
                <c:pt idx="38944">
                  <c:v>40.093355513418956</c:v>
                </c:pt>
                <c:pt idx="38945">
                  <c:v>28.027875147763119</c:v>
                </c:pt>
                <c:pt idx="38946">
                  <c:v>32.420471999413259</c:v>
                </c:pt>
                <c:pt idx="38947">
                  <c:v>26.652685438472417</c:v>
                </c:pt>
                <c:pt idx="38948">
                  <c:v>26.797494085933188</c:v>
                </c:pt>
                <c:pt idx="38949">
                  <c:v>21.069744756538391</c:v>
                </c:pt>
                <c:pt idx="38950">
                  <c:v>53.335543491713238</c:v>
                </c:pt>
                <c:pt idx="38951">
                  <c:v>38.219228043812073</c:v>
                </c:pt>
                <c:pt idx="38952">
                  <c:v>24.32830131603432</c:v>
                </c:pt>
                <c:pt idx="38953">
                  <c:v>27.036792767197788</c:v>
                </c:pt>
                <c:pt idx="38954">
                  <c:v>27.66739036278922</c:v>
                </c:pt>
                <c:pt idx="38955">
                  <c:v>21.686062308298467</c:v>
                </c:pt>
                <c:pt idx="38956">
                  <c:v>19.896117479153247</c:v>
                </c:pt>
                <c:pt idx="38957">
                  <c:v>43.524599244975533</c:v>
                </c:pt>
                <c:pt idx="38958">
                  <c:v>21.013782270319076</c:v>
                </c:pt>
                <c:pt idx="38959">
                  <c:v>37.117775530132405</c:v>
                </c:pt>
                <c:pt idx="38960">
                  <c:v>34.545904362224306</c:v>
                </c:pt>
                <c:pt idx="38961">
                  <c:v>34.602603358122224</c:v>
                </c:pt>
                <c:pt idx="38962">
                  <c:v>29.508806177456322</c:v>
                </c:pt>
                <c:pt idx="38963">
                  <c:v>19.304008552056541</c:v>
                </c:pt>
                <c:pt idx="38964">
                  <c:v>28.091767233863365</c:v>
                </c:pt>
                <c:pt idx="38965">
                  <c:v>24.891212207569815</c:v>
                </c:pt>
                <c:pt idx="38966">
                  <c:v>33.037898667523287</c:v>
                </c:pt>
                <c:pt idx="38967">
                  <c:v>25.539229513752002</c:v>
                </c:pt>
                <c:pt idx="38968">
                  <c:v>27.740049558563953</c:v>
                </c:pt>
                <c:pt idx="38969">
                  <c:v>27.664987097040246</c:v>
                </c:pt>
                <c:pt idx="38970">
                  <c:v>25.049111240848895</c:v>
                </c:pt>
                <c:pt idx="38971">
                  <c:v>49.496480506790128</c:v>
                </c:pt>
                <c:pt idx="38972">
                  <c:v>32.938006912350751</c:v>
                </c:pt>
                <c:pt idx="38973">
                  <c:v>53.89963750421763</c:v>
                </c:pt>
                <c:pt idx="38974">
                  <c:v>50.498960049241774</c:v>
                </c:pt>
                <c:pt idx="38975">
                  <c:v>33.172809741916815</c:v>
                </c:pt>
                <c:pt idx="38976">
                  <c:v>27.673217471247554</c:v>
                </c:pt>
                <c:pt idx="38977">
                  <c:v>41.822469453369941</c:v>
                </c:pt>
                <c:pt idx="38978">
                  <c:v>28.318429058827594</c:v>
                </c:pt>
                <c:pt idx="38979">
                  <c:v>52.78866306859512</c:v>
                </c:pt>
                <c:pt idx="38980">
                  <c:v>53.951540495260645</c:v>
                </c:pt>
                <c:pt idx="38981">
                  <c:v>43.230796042819065</c:v>
                </c:pt>
                <c:pt idx="38982">
                  <c:v>52.171757286154126</c:v>
                </c:pt>
                <c:pt idx="38983">
                  <c:v>27.450554570367494</c:v>
                </c:pt>
                <c:pt idx="38984">
                  <c:v>45.204715602026859</c:v>
                </c:pt>
                <c:pt idx="38985">
                  <c:v>24.866121183754487</c:v>
                </c:pt>
                <c:pt idx="38986">
                  <c:v>27.509634289361379</c:v>
                </c:pt>
                <c:pt idx="38987">
                  <c:v>29.078304319734393</c:v>
                </c:pt>
                <c:pt idx="38988">
                  <c:v>48.015653640587274</c:v>
                </c:pt>
                <c:pt idx="38989">
                  <c:v>34.206286331050968</c:v>
                </c:pt>
                <c:pt idx="38990">
                  <c:v>27.880571994550003</c:v>
                </c:pt>
                <c:pt idx="38991">
                  <c:v>28.003260295378176</c:v>
                </c:pt>
                <c:pt idx="38992">
                  <c:v>19.564025042105637</c:v>
                </c:pt>
                <c:pt idx="38993">
                  <c:v>26.356015818105092</c:v>
                </c:pt>
                <c:pt idx="38994">
                  <c:v>51.846988333709099</c:v>
                </c:pt>
                <c:pt idx="38995">
                  <c:v>20.9461838546062</c:v>
                </c:pt>
                <c:pt idx="38996">
                  <c:v>37.891653862234122</c:v>
                </c:pt>
                <c:pt idx="38997">
                  <c:v>21.291200225700845</c:v>
                </c:pt>
                <c:pt idx="38998">
                  <c:v>21.872925335778085</c:v>
                </c:pt>
                <c:pt idx="38999">
                  <c:v>31.963539586207929</c:v>
                </c:pt>
                <c:pt idx="39000">
                  <c:v>29.168390566704183</c:v>
                </c:pt>
                <c:pt idx="39001">
                  <c:v>26.99450520210236</c:v>
                </c:pt>
                <c:pt idx="39002">
                  <c:v>34.85078595746468</c:v>
                </c:pt>
                <c:pt idx="39003">
                  <c:v>30.899444303098871</c:v>
                </c:pt>
                <c:pt idx="39004">
                  <c:v>26.038744751843527</c:v>
                </c:pt>
                <c:pt idx="39005">
                  <c:v>19.977904971969021</c:v>
                </c:pt>
                <c:pt idx="39006">
                  <c:v>35.922151023770368</c:v>
                </c:pt>
                <c:pt idx="39007">
                  <c:v>31.114822325393465</c:v>
                </c:pt>
                <c:pt idx="39008">
                  <c:v>29.970239135903629</c:v>
                </c:pt>
                <c:pt idx="39009">
                  <c:v>26.648067407377766</c:v>
                </c:pt>
                <c:pt idx="39010">
                  <c:v>48.823840907860493</c:v>
                </c:pt>
                <c:pt idx="39011">
                  <c:v>27.558598367124397</c:v>
                </c:pt>
                <c:pt idx="39012">
                  <c:v>52.305326344118058</c:v>
                </c:pt>
                <c:pt idx="39013">
                  <c:v>44.193266881103128</c:v>
                </c:pt>
                <c:pt idx="39014">
                  <c:v>26.903989165185745</c:v>
                </c:pt>
                <c:pt idx="39015">
                  <c:v>28.656351953185144</c:v>
                </c:pt>
                <c:pt idx="39016">
                  <c:v>22.461338878993665</c:v>
                </c:pt>
                <c:pt idx="39017">
                  <c:v>25.850858797237454</c:v>
                </c:pt>
                <c:pt idx="39018">
                  <c:v>26.946417666695563</c:v>
                </c:pt>
                <c:pt idx="39019">
                  <c:v>40.484229869386084</c:v>
                </c:pt>
                <c:pt idx="39020">
                  <c:v>32.078464617903585</c:v>
                </c:pt>
                <c:pt idx="39021">
                  <c:v>30.200905771281292</c:v>
                </c:pt>
                <c:pt idx="39022">
                  <c:v>21.218694256482628</c:v>
                </c:pt>
                <c:pt idx="39023">
                  <c:v>20.390445315727664</c:v>
                </c:pt>
                <c:pt idx="39024">
                  <c:v>22.66339576967183</c:v>
                </c:pt>
                <c:pt idx="39025">
                  <c:v>25.097847178985713</c:v>
                </c:pt>
                <c:pt idx="39026">
                  <c:v>30.912316150788836</c:v>
                </c:pt>
                <c:pt idx="39027">
                  <c:v>29.083943133702952</c:v>
                </c:pt>
                <c:pt idx="39028">
                  <c:v>17.257900507239448</c:v>
                </c:pt>
                <c:pt idx="39029">
                  <c:v>28.336856760646793</c:v>
                </c:pt>
                <c:pt idx="39030">
                  <c:v>23.854414307869394</c:v>
                </c:pt>
                <c:pt idx="39031">
                  <c:v>31.728052449184933</c:v>
                </c:pt>
                <c:pt idx="39032">
                  <c:v>51.996035119030758</c:v>
                </c:pt>
                <c:pt idx="39033">
                  <c:v>29.646555635594119</c:v>
                </c:pt>
                <c:pt idx="39034">
                  <c:v>19.844392625586593</c:v>
                </c:pt>
                <c:pt idx="39035">
                  <c:v>41.795036096669577</c:v>
                </c:pt>
                <c:pt idx="39036">
                  <c:v>33.142126510884239</c:v>
                </c:pt>
                <c:pt idx="39037">
                  <c:v>26.301506975833988</c:v>
                </c:pt>
                <c:pt idx="39038">
                  <c:v>26.440737141669999</c:v>
                </c:pt>
                <c:pt idx="39039">
                  <c:v>29.540537221681141</c:v>
                </c:pt>
                <c:pt idx="39040">
                  <c:v>54.721991231314405</c:v>
                </c:pt>
                <c:pt idx="39041">
                  <c:v>34.20217054929185</c:v>
                </c:pt>
                <c:pt idx="39042">
                  <c:v>30.110879788699656</c:v>
                </c:pt>
                <c:pt idx="39043">
                  <c:v>51.0619223573092</c:v>
                </c:pt>
                <c:pt idx="39044">
                  <c:v>26.261783964502026</c:v>
                </c:pt>
                <c:pt idx="39045">
                  <c:v>23.707583171055465</c:v>
                </c:pt>
                <c:pt idx="39046">
                  <c:v>28.443490360945436</c:v>
                </c:pt>
                <c:pt idx="39047">
                  <c:v>18.373531378353853</c:v>
                </c:pt>
                <c:pt idx="39048">
                  <c:v>52.077662613458052</c:v>
                </c:pt>
                <c:pt idx="39049">
                  <c:v>43.25846517573482</c:v>
                </c:pt>
                <c:pt idx="39050">
                  <c:v>56.223445966158671</c:v>
                </c:pt>
                <c:pt idx="39051">
                  <c:v>27.786839527836662</c:v>
                </c:pt>
                <c:pt idx="39052">
                  <c:v>28.048236591850824</c:v>
                </c:pt>
                <c:pt idx="39053">
                  <c:v>30.749269644435497</c:v>
                </c:pt>
                <c:pt idx="39054">
                  <c:v>24.111821943360876</c:v>
                </c:pt>
                <c:pt idx="39055">
                  <c:v>25.692230423646659</c:v>
                </c:pt>
                <c:pt idx="39056">
                  <c:v>58.348785729193878</c:v>
                </c:pt>
                <c:pt idx="39057">
                  <c:v>45.713433822442468</c:v>
                </c:pt>
                <c:pt idx="39058">
                  <c:v>24.691776895406598</c:v>
                </c:pt>
                <c:pt idx="39059">
                  <c:v>27.44873024868556</c:v>
                </c:pt>
                <c:pt idx="39060">
                  <c:v>25.381553425299469</c:v>
                </c:pt>
                <c:pt idx="39061">
                  <c:v>26.799544305528283</c:v>
                </c:pt>
                <c:pt idx="39062">
                  <c:v>27.595729352493343</c:v>
                </c:pt>
                <c:pt idx="39063">
                  <c:v>24.987099696122488</c:v>
                </c:pt>
                <c:pt idx="39064">
                  <c:v>39.311711448123241</c:v>
                </c:pt>
                <c:pt idx="39065">
                  <c:v>21.841808167882697</c:v>
                </c:pt>
                <c:pt idx="39066">
                  <c:v>30.200173249588303</c:v>
                </c:pt>
                <c:pt idx="39067">
                  <c:v>51.107095794023984</c:v>
                </c:pt>
                <c:pt idx="39068">
                  <c:v>33.717237220644037</c:v>
                </c:pt>
                <c:pt idx="39069">
                  <c:v>38.564534642802656</c:v>
                </c:pt>
                <c:pt idx="39070">
                  <c:v>17.931050041823514</c:v>
                </c:pt>
                <c:pt idx="39071">
                  <c:v>25.985293591134887</c:v>
                </c:pt>
                <c:pt idx="39072">
                  <c:v>58.426121819315846</c:v>
                </c:pt>
                <c:pt idx="39073">
                  <c:v>34.750163449097627</c:v>
                </c:pt>
                <c:pt idx="39074">
                  <c:v>22.16011259288252</c:v>
                </c:pt>
                <c:pt idx="39075">
                  <c:v>18.683579950181976</c:v>
                </c:pt>
                <c:pt idx="39076">
                  <c:v>14.426503819301416</c:v>
                </c:pt>
                <c:pt idx="39077">
                  <c:v>46.54367300448753</c:v>
                </c:pt>
                <c:pt idx="39078">
                  <c:v>35.846144498697697</c:v>
                </c:pt>
                <c:pt idx="39079">
                  <c:v>12.792051151465174</c:v>
                </c:pt>
                <c:pt idx="39080">
                  <c:v>27.505908782906371</c:v>
                </c:pt>
                <c:pt idx="39081">
                  <c:v>28.236916857289749</c:v>
                </c:pt>
                <c:pt idx="39082">
                  <c:v>48.647857292101818</c:v>
                </c:pt>
                <c:pt idx="39083">
                  <c:v>29.113936634710566</c:v>
                </c:pt>
                <c:pt idx="39084">
                  <c:v>31.410995632052316</c:v>
                </c:pt>
                <c:pt idx="39085">
                  <c:v>26.646009109474043</c:v>
                </c:pt>
                <c:pt idx="39086">
                  <c:v>23.564249170866816</c:v>
                </c:pt>
                <c:pt idx="39087">
                  <c:v>21.576896408833512</c:v>
                </c:pt>
                <c:pt idx="39088">
                  <c:v>40.257276475319379</c:v>
                </c:pt>
                <c:pt idx="39089">
                  <c:v>27.57448842120186</c:v>
                </c:pt>
                <c:pt idx="39090">
                  <c:v>26.675494886438912</c:v>
                </c:pt>
                <c:pt idx="39091">
                  <c:v>16.803417115031337</c:v>
                </c:pt>
                <c:pt idx="39092">
                  <c:v>28.541017344420251</c:v>
                </c:pt>
                <c:pt idx="39093">
                  <c:v>33.672983977266156</c:v>
                </c:pt>
                <c:pt idx="39094">
                  <c:v>24.280787842231973</c:v>
                </c:pt>
                <c:pt idx="39095">
                  <c:v>27.331324031407757</c:v>
                </c:pt>
                <c:pt idx="39096">
                  <c:v>33.253959006368873</c:v>
                </c:pt>
                <c:pt idx="39097">
                  <c:v>38.936496410565574</c:v>
                </c:pt>
                <c:pt idx="39098">
                  <c:v>27.450014008413312</c:v>
                </c:pt>
                <c:pt idx="39099">
                  <c:v>32.212018806989725</c:v>
                </c:pt>
                <c:pt idx="39100">
                  <c:v>44.593422492085502</c:v>
                </c:pt>
                <c:pt idx="39101">
                  <c:v>50.185395255582321</c:v>
                </c:pt>
                <c:pt idx="39102">
                  <c:v>30.61057849365675</c:v>
                </c:pt>
                <c:pt idx="39103">
                  <c:v>14.949262572989124</c:v>
                </c:pt>
                <c:pt idx="39104">
                  <c:v>24.790658666016213</c:v>
                </c:pt>
                <c:pt idx="39105">
                  <c:v>34.878771872973395</c:v>
                </c:pt>
                <c:pt idx="39106">
                  <c:v>30.210716654174789</c:v>
                </c:pt>
                <c:pt idx="39107">
                  <c:v>25.220361854099259</c:v>
                </c:pt>
                <c:pt idx="39108">
                  <c:v>25.738645505137512</c:v>
                </c:pt>
                <c:pt idx="39109">
                  <c:v>58.942740753592759</c:v>
                </c:pt>
                <c:pt idx="39110">
                  <c:v>27.046853230335298</c:v>
                </c:pt>
                <c:pt idx="39111">
                  <c:v>18.519508317985863</c:v>
                </c:pt>
                <c:pt idx="39112">
                  <c:v>39.890282130554162</c:v>
                </c:pt>
                <c:pt idx="39113">
                  <c:v>23.425636517235926</c:v>
                </c:pt>
                <c:pt idx="39114">
                  <c:v>20.028382289349643</c:v>
                </c:pt>
                <c:pt idx="39115">
                  <c:v>35.89287456732341</c:v>
                </c:pt>
                <c:pt idx="39116">
                  <c:v>27.611869250679256</c:v>
                </c:pt>
                <c:pt idx="39117">
                  <c:v>34.623943074039673</c:v>
                </c:pt>
                <c:pt idx="39118">
                  <c:v>23.838191223651624</c:v>
                </c:pt>
                <c:pt idx="39119">
                  <c:v>20.761917388601702</c:v>
                </c:pt>
                <c:pt idx="39120">
                  <c:v>27.288207537501588</c:v>
                </c:pt>
                <c:pt idx="39121">
                  <c:v>32.944625496481883</c:v>
                </c:pt>
                <c:pt idx="39122">
                  <c:v>29.315968389936636</c:v>
                </c:pt>
                <c:pt idx="39123">
                  <c:v>47.911715970067561</c:v>
                </c:pt>
                <c:pt idx="39124">
                  <c:v>23.9730876049769</c:v>
                </c:pt>
                <c:pt idx="39125">
                  <c:v>32.593713231972593</c:v>
                </c:pt>
                <c:pt idx="39126">
                  <c:v>42.176903459637771</c:v>
                </c:pt>
                <c:pt idx="39127">
                  <c:v>33.679752927767971</c:v>
                </c:pt>
                <c:pt idx="39128">
                  <c:v>18.411323648067977</c:v>
                </c:pt>
                <c:pt idx="39129">
                  <c:v>39.338854581094033</c:v>
                </c:pt>
                <c:pt idx="39130">
                  <c:v>29.167749217012108</c:v>
                </c:pt>
                <c:pt idx="39131">
                  <c:v>19.731185627406454</c:v>
                </c:pt>
                <c:pt idx="39132">
                  <c:v>22.265790175446</c:v>
                </c:pt>
                <c:pt idx="39133">
                  <c:v>33.434007495144492</c:v>
                </c:pt>
                <c:pt idx="39134">
                  <c:v>29.363681510035253</c:v>
                </c:pt>
                <c:pt idx="39135">
                  <c:v>27.376647631911926</c:v>
                </c:pt>
                <c:pt idx="39136">
                  <c:v>23.191176311002817</c:v>
                </c:pt>
                <c:pt idx="39137">
                  <c:v>53.953014402734631</c:v>
                </c:pt>
                <c:pt idx="39138">
                  <c:v>28.757250073483917</c:v>
                </c:pt>
                <c:pt idx="39139">
                  <c:v>26.74075172897</c:v>
                </c:pt>
                <c:pt idx="39140">
                  <c:v>36.306751546364055</c:v>
                </c:pt>
                <c:pt idx="39141">
                  <c:v>23.320517381495403</c:v>
                </c:pt>
                <c:pt idx="39142">
                  <c:v>27.441876968106108</c:v>
                </c:pt>
                <c:pt idx="39143">
                  <c:v>48.325553338615613</c:v>
                </c:pt>
                <c:pt idx="39144">
                  <c:v>27.687650844543747</c:v>
                </c:pt>
                <c:pt idx="39145">
                  <c:v>28.015997658262116</c:v>
                </c:pt>
                <c:pt idx="39146">
                  <c:v>27.600263536918661</c:v>
                </c:pt>
                <c:pt idx="39147">
                  <c:v>22.429629985029344</c:v>
                </c:pt>
                <c:pt idx="39148">
                  <c:v>28.932123434078811</c:v>
                </c:pt>
                <c:pt idx="39149">
                  <c:v>25.17653553379137</c:v>
                </c:pt>
                <c:pt idx="39150">
                  <c:v>57.304976216223132</c:v>
                </c:pt>
                <c:pt idx="39151">
                  <c:v>27.219504282197576</c:v>
                </c:pt>
                <c:pt idx="39152">
                  <c:v>38.616077198138534</c:v>
                </c:pt>
                <c:pt idx="39153">
                  <c:v>22.230293109986231</c:v>
                </c:pt>
                <c:pt idx="39154">
                  <c:v>24.424011712809339</c:v>
                </c:pt>
                <c:pt idx="39155">
                  <c:v>47.712460956042833</c:v>
                </c:pt>
                <c:pt idx="39156">
                  <c:v>22.546992154750161</c:v>
                </c:pt>
                <c:pt idx="39157">
                  <c:v>40.67432918983426</c:v>
                </c:pt>
                <c:pt idx="39158">
                  <c:v>26.376860381990006</c:v>
                </c:pt>
                <c:pt idx="39159">
                  <c:v>26.971590394785782</c:v>
                </c:pt>
                <c:pt idx="39160">
                  <c:v>44.762466676700782</c:v>
                </c:pt>
                <c:pt idx="39161">
                  <c:v>45.937555212769169</c:v>
                </c:pt>
                <c:pt idx="39162">
                  <c:v>25.419119124509251</c:v>
                </c:pt>
                <c:pt idx="39163">
                  <c:v>29.932581517415862</c:v>
                </c:pt>
                <c:pt idx="39164">
                  <c:v>24.966305050073611</c:v>
                </c:pt>
                <c:pt idx="39165">
                  <c:v>29.617916795807723</c:v>
                </c:pt>
                <c:pt idx="39166">
                  <c:v>38.14961840335863</c:v>
                </c:pt>
                <c:pt idx="39167">
                  <c:v>45.429452861673674</c:v>
                </c:pt>
                <c:pt idx="39168">
                  <c:v>22.023593576436625</c:v>
                </c:pt>
                <c:pt idx="39169">
                  <c:v>26.376362546122053</c:v>
                </c:pt>
                <c:pt idx="39170">
                  <c:v>21.784701295737413</c:v>
                </c:pt>
                <c:pt idx="39171">
                  <c:v>48.762284075012907</c:v>
                </c:pt>
                <c:pt idx="39172">
                  <c:v>47.096900035680036</c:v>
                </c:pt>
                <c:pt idx="39173">
                  <c:v>21.400443895928419</c:v>
                </c:pt>
                <c:pt idx="39174">
                  <c:v>25.605265824237485</c:v>
                </c:pt>
                <c:pt idx="39175">
                  <c:v>19.628054509456913</c:v>
                </c:pt>
                <c:pt idx="39176">
                  <c:v>55.905678698660033</c:v>
                </c:pt>
                <c:pt idx="39177">
                  <c:v>48.723328784853493</c:v>
                </c:pt>
                <c:pt idx="39178">
                  <c:v>22.312196671859343</c:v>
                </c:pt>
                <c:pt idx="39179">
                  <c:v>27.468459801158225</c:v>
                </c:pt>
                <c:pt idx="39180">
                  <c:v>29.957846037770381</c:v>
                </c:pt>
                <c:pt idx="39181">
                  <c:v>50.215175450464621</c:v>
                </c:pt>
                <c:pt idx="39182">
                  <c:v>37.983707455276004</c:v>
                </c:pt>
                <c:pt idx="39183">
                  <c:v>38.117065937418673</c:v>
                </c:pt>
                <c:pt idx="39184">
                  <c:v>29.717551112049627</c:v>
                </c:pt>
                <c:pt idx="39185">
                  <c:v>24.858023745270831</c:v>
                </c:pt>
                <c:pt idx="39186">
                  <c:v>28.788552376152523</c:v>
                </c:pt>
                <c:pt idx="39187">
                  <c:v>29.097616197025339</c:v>
                </c:pt>
                <c:pt idx="39188">
                  <c:v>41.097760354077508</c:v>
                </c:pt>
                <c:pt idx="39189">
                  <c:v>28.398906804350585</c:v>
                </c:pt>
                <c:pt idx="39190">
                  <c:v>21.392730895185064</c:v>
                </c:pt>
                <c:pt idx="39191">
                  <c:v>42.26400458301665</c:v>
                </c:pt>
                <c:pt idx="39192">
                  <c:v>21.776888972333118</c:v>
                </c:pt>
                <c:pt idx="39193">
                  <c:v>23.327890690001148</c:v>
                </c:pt>
                <c:pt idx="39194">
                  <c:v>25.859182691040697</c:v>
                </c:pt>
                <c:pt idx="39195">
                  <c:v>28.14448882595806</c:v>
                </c:pt>
                <c:pt idx="39196">
                  <c:v>33.861715397765678</c:v>
                </c:pt>
                <c:pt idx="39197">
                  <c:v>44.953585385868031</c:v>
                </c:pt>
                <c:pt idx="39198">
                  <c:v>38.200694991327666</c:v>
                </c:pt>
                <c:pt idx="39199">
                  <c:v>21.559258266892325</c:v>
                </c:pt>
                <c:pt idx="39200">
                  <c:v>29.341032879639556</c:v>
                </c:pt>
                <c:pt idx="39201">
                  <c:v>40.987720296184605</c:v>
                </c:pt>
                <c:pt idx="39202">
                  <c:v>33.746909006329759</c:v>
                </c:pt>
                <c:pt idx="39203">
                  <c:v>21.662656587093174</c:v>
                </c:pt>
                <c:pt idx="39204">
                  <c:v>30.792217335305413</c:v>
                </c:pt>
                <c:pt idx="39205">
                  <c:v>33.755112026164909</c:v>
                </c:pt>
                <c:pt idx="39206">
                  <c:v>27.215411818645528</c:v>
                </c:pt>
                <c:pt idx="39207">
                  <c:v>26.567299854459009</c:v>
                </c:pt>
                <c:pt idx="39208">
                  <c:v>26.997982935930914</c:v>
                </c:pt>
                <c:pt idx="39209">
                  <c:v>22.865519157481799</c:v>
                </c:pt>
                <c:pt idx="39210">
                  <c:v>31.835171477131052</c:v>
                </c:pt>
                <c:pt idx="39211">
                  <c:v>17.495156455711165</c:v>
                </c:pt>
                <c:pt idx="39212">
                  <c:v>42.021365994770349</c:v>
                </c:pt>
                <c:pt idx="39213">
                  <c:v>16.857899064487313</c:v>
                </c:pt>
                <c:pt idx="39214">
                  <c:v>29.795594042073258</c:v>
                </c:pt>
                <c:pt idx="39215">
                  <c:v>52.406855997262184</c:v>
                </c:pt>
                <c:pt idx="39216">
                  <c:v>28.604837880221687</c:v>
                </c:pt>
                <c:pt idx="39217">
                  <c:v>31.788974614209369</c:v>
                </c:pt>
                <c:pt idx="39218">
                  <c:v>27.947518975951319</c:v>
                </c:pt>
                <c:pt idx="39219">
                  <c:v>27.450680111141146</c:v>
                </c:pt>
                <c:pt idx="39220">
                  <c:v>44.202354786809934</c:v>
                </c:pt>
                <c:pt idx="39221">
                  <c:v>32.071850758484949</c:v>
                </c:pt>
                <c:pt idx="39222">
                  <c:v>44.326653940090424</c:v>
                </c:pt>
                <c:pt idx="39223">
                  <c:v>39.906417739663482</c:v>
                </c:pt>
                <c:pt idx="39224">
                  <c:v>22.875902855995442</c:v>
                </c:pt>
                <c:pt idx="39225">
                  <c:v>53.06486617319873</c:v>
                </c:pt>
                <c:pt idx="39226">
                  <c:v>33.397113588240508</c:v>
                </c:pt>
                <c:pt idx="39227">
                  <c:v>24.865618003478978</c:v>
                </c:pt>
                <c:pt idx="39228">
                  <c:v>30.326159179833731</c:v>
                </c:pt>
                <c:pt idx="39229">
                  <c:v>45.75145397199779</c:v>
                </c:pt>
                <c:pt idx="39230">
                  <c:v>22.328829330500227</c:v>
                </c:pt>
                <c:pt idx="39231">
                  <c:v>47.586068909924322</c:v>
                </c:pt>
                <c:pt idx="39232">
                  <c:v>52.43697341286159</c:v>
                </c:pt>
                <c:pt idx="39233">
                  <c:v>40.595398275476562</c:v>
                </c:pt>
                <c:pt idx="39234">
                  <c:v>30.61900821347292</c:v>
                </c:pt>
                <c:pt idx="39235">
                  <c:v>31.638803320365636</c:v>
                </c:pt>
                <c:pt idx="39236">
                  <c:v>24.349240616815415</c:v>
                </c:pt>
                <c:pt idx="39237">
                  <c:v>35.063600162015881</c:v>
                </c:pt>
                <c:pt idx="39238">
                  <c:v>36.497162744178446</c:v>
                </c:pt>
                <c:pt idx="39239">
                  <c:v>54.978378897668684</c:v>
                </c:pt>
                <c:pt idx="39240">
                  <c:v>20.436559791523603</c:v>
                </c:pt>
                <c:pt idx="39241">
                  <c:v>40.718895544194417</c:v>
                </c:pt>
                <c:pt idx="39242">
                  <c:v>32.327949403880297</c:v>
                </c:pt>
                <c:pt idx="39243">
                  <c:v>21.865048338137257</c:v>
                </c:pt>
                <c:pt idx="39244">
                  <c:v>29.437423715766577</c:v>
                </c:pt>
                <c:pt idx="39245">
                  <c:v>41.944235529351779</c:v>
                </c:pt>
                <c:pt idx="39246">
                  <c:v>52.341483112584754</c:v>
                </c:pt>
                <c:pt idx="39247">
                  <c:v>26.65855132393423</c:v>
                </c:pt>
                <c:pt idx="39248">
                  <c:v>21.641787754420719</c:v>
                </c:pt>
                <c:pt idx="39249">
                  <c:v>42.288813746055922</c:v>
                </c:pt>
                <c:pt idx="39250">
                  <c:v>34.310651018099634</c:v>
                </c:pt>
                <c:pt idx="39251">
                  <c:v>24.861033994746339</c:v>
                </c:pt>
                <c:pt idx="39252">
                  <c:v>32.271133370762584</c:v>
                </c:pt>
                <c:pt idx="39253">
                  <c:v>44.595046823715407</c:v>
                </c:pt>
                <c:pt idx="39254">
                  <c:v>17.91213745035547</c:v>
                </c:pt>
                <c:pt idx="39255">
                  <c:v>21.390514521799471</c:v>
                </c:pt>
                <c:pt idx="39256">
                  <c:v>29.328515016687447</c:v>
                </c:pt>
                <c:pt idx="39257">
                  <c:v>47.592064429444648</c:v>
                </c:pt>
                <c:pt idx="39258">
                  <c:v>19.124544689632952</c:v>
                </c:pt>
                <c:pt idx="39259">
                  <c:v>25.298092282449861</c:v>
                </c:pt>
                <c:pt idx="39260">
                  <c:v>43.571767823556819</c:v>
                </c:pt>
                <c:pt idx="39261">
                  <c:v>57.28467320220058</c:v>
                </c:pt>
                <c:pt idx="39262">
                  <c:v>25.322868225465445</c:v>
                </c:pt>
                <c:pt idx="39263">
                  <c:v>24.119065236324417</c:v>
                </c:pt>
                <c:pt idx="39264">
                  <c:v>40.079174119052404</c:v>
                </c:pt>
                <c:pt idx="39265">
                  <c:v>26.837575841824155</c:v>
                </c:pt>
                <c:pt idx="39266">
                  <c:v>22.489610192673755</c:v>
                </c:pt>
                <c:pt idx="39267">
                  <c:v>23.742344543693694</c:v>
                </c:pt>
                <c:pt idx="39268">
                  <c:v>45.79655498385064</c:v>
                </c:pt>
                <c:pt idx="39269">
                  <c:v>26.143844033035563</c:v>
                </c:pt>
                <c:pt idx="39270">
                  <c:v>37.679955428643851</c:v>
                </c:pt>
                <c:pt idx="39271">
                  <c:v>20.968349657445618</c:v>
                </c:pt>
                <c:pt idx="39272">
                  <c:v>38.794539488195454</c:v>
                </c:pt>
                <c:pt idx="39273">
                  <c:v>17.939871501181891</c:v>
                </c:pt>
                <c:pt idx="39274">
                  <c:v>42.683142685616971</c:v>
                </c:pt>
                <c:pt idx="39275">
                  <c:v>57.367825728535763</c:v>
                </c:pt>
                <c:pt idx="39276">
                  <c:v>29.838610114732795</c:v>
                </c:pt>
                <c:pt idx="39277">
                  <c:v>22.309868692682567</c:v>
                </c:pt>
                <c:pt idx="39278">
                  <c:v>18.95729396387198</c:v>
                </c:pt>
                <c:pt idx="39279">
                  <c:v>50.71071274886161</c:v>
                </c:pt>
                <c:pt idx="39280">
                  <c:v>29.202128797892819</c:v>
                </c:pt>
                <c:pt idx="39281">
                  <c:v>48.753748156230245</c:v>
                </c:pt>
                <c:pt idx="39282">
                  <c:v>31.612834834364776</c:v>
                </c:pt>
                <c:pt idx="39283">
                  <c:v>20.970790729253959</c:v>
                </c:pt>
                <c:pt idx="39284">
                  <c:v>18.741776908551341</c:v>
                </c:pt>
                <c:pt idx="39285">
                  <c:v>41.542178117195249</c:v>
                </c:pt>
                <c:pt idx="39286">
                  <c:v>23.989426530897635</c:v>
                </c:pt>
                <c:pt idx="39287">
                  <c:v>46.157342170513346</c:v>
                </c:pt>
                <c:pt idx="39288">
                  <c:v>16.550247126954826</c:v>
                </c:pt>
                <c:pt idx="39289">
                  <c:v>33.876488520751224</c:v>
                </c:pt>
                <c:pt idx="39290">
                  <c:v>53.422376136870675</c:v>
                </c:pt>
                <c:pt idx="39291">
                  <c:v>21.281811031635037</c:v>
                </c:pt>
                <c:pt idx="39292">
                  <c:v>30.601518904074837</c:v>
                </c:pt>
                <c:pt idx="39293">
                  <c:v>35.866351301560847</c:v>
                </c:pt>
                <c:pt idx="39294">
                  <c:v>22.357232449019964</c:v>
                </c:pt>
                <c:pt idx="39295">
                  <c:v>33.121522760489704</c:v>
                </c:pt>
                <c:pt idx="39296">
                  <c:v>31.305364660496984</c:v>
                </c:pt>
                <c:pt idx="39297">
                  <c:v>22.879469460650082</c:v>
                </c:pt>
                <c:pt idx="39298">
                  <c:v>55.276558606807114</c:v>
                </c:pt>
                <c:pt idx="39299">
                  <c:v>18.968845694433231</c:v>
                </c:pt>
                <c:pt idx="39300">
                  <c:v>22.750057085472982</c:v>
                </c:pt>
                <c:pt idx="39301">
                  <c:v>30.440971824012671</c:v>
                </c:pt>
                <c:pt idx="39302">
                  <c:v>31.230671028957214</c:v>
                </c:pt>
                <c:pt idx="39303">
                  <c:v>31.115052471358261</c:v>
                </c:pt>
                <c:pt idx="39304">
                  <c:v>37.39205248240534</c:v>
                </c:pt>
                <c:pt idx="39305">
                  <c:v>25.321648975936569</c:v>
                </c:pt>
                <c:pt idx="39306">
                  <c:v>17.094023814835683</c:v>
                </c:pt>
                <c:pt idx="39307">
                  <c:v>47.174833919627659</c:v>
                </c:pt>
                <c:pt idx="39308">
                  <c:v>29.423285040756141</c:v>
                </c:pt>
                <c:pt idx="39309">
                  <c:v>27.836593518413792</c:v>
                </c:pt>
                <c:pt idx="39310">
                  <c:v>28.856237560412261</c:v>
                </c:pt>
                <c:pt idx="39311">
                  <c:v>17.448311456372224</c:v>
                </c:pt>
                <c:pt idx="39312">
                  <c:v>23.920396497720258</c:v>
                </c:pt>
                <c:pt idx="39313">
                  <c:v>23.751149110822755</c:v>
                </c:pt>
                <c:pt idx="39314">
                  <c:v>32.038922070504277</c:v>
                </c:pt>
                <c:pt idx="39315">
                  <c:v>32.895138789200892</c:v>
                </c:pt>
                <c:pt idx="39316">
                  <c:v>18.156992775086124</c:v>
                </c:pt>
                <c:pt idx="39317">
                  <c:v>25.143922304188369</c:v>
                </c:pt>
                <c:pt idx="39318">
                  <c:v>41.921781140704653</c:v>
                </c:pt>
                <c:pt idx="39319">
                  <c:v>24.059633923071914</c:v>
                </c:pt>
                <c:pt idx="39320">
                  <c:v>46.754867198560383</c:v>
                </c:pt>
                <c:pt idx="39321">
                  <c:v>19.359326081615624</c:v>
                </c:pt>
                <c:pt idx="39322">
                  <c:v>14.939526800937958</c:v>
                </c:pt>
                <c:pt idx="39323">
                  <c:v>23.635790661414937</c:v>
                </c:pt>
                <c:pt idx="39324">
                  <c:v>27.882141034578662</c:v>
                </c:pt>
                <c:pt idx="39325">
                  <c:v>27.589107464368169</c:v>
                </c:pt>
                <c:pt idx="39326">
                  <c:v>29.300653392905133</c:v>
                </c:pt>
                <c:pt idx="39327">
                  <c:v>31.50224684164089</c:v>
                </c:pt>
                <c:pt idx="39328">
                  <c:v>21.354800735245487</c:v>
                </c:pt>
                <c:pt idx="39329">
                  <c:v>23.375051009488718</c:v>
                </c:pt>
                <c:pt idx="39330">
                  <c:v>18.120326540314259</c:v>
                </c:pt>
                <c:pt idx="39331">
                  <c:v>30.830932526017797</c:v>
                </c:pt>
                <c:pt idx="39332">
                  <c:v>28.175589995496935</c:v>
                </c:pt>
                <c:pt idx="39333">
                  <c:v>24.484537099396228</c:v>
                </c:pt>
                <c:pt idx="39334">
                  <c:v>23.787788993848906</c:v>
                </c:pt>
                <c:pt idx="39335">
                  <c:v>27.567214344571898</c:v>
                </c:pt>
                <c:pt idx="39336">
                  <c:v>37.987160716689324</c:v>
                </c:pt>
                <c:pt idx="39337">
                  <c:v>32.980354657632532</c:v>
                </c:pt>
                <c:pt idx="39338">
                  <c:v>28.353093852944713</c:v>
                </c:pt>
                <c:pt idx="39339">
                  <c:v>25.462361668726768</c:v>
                </c:pt>
                <c:pt idx="39340">
                  <c:v>27.858960594390211</c:v>
                </c:pt>
                <c:pt idx="39341">
                  <c:v>27.576186091251845</c:v>
                </c:pt>
                <c:pt idx="39342">
                  <c:v>22.030958658565279</c:v>
                </c:pt>
                <c:pt idx="39343">
                  <c:v>24.302441315886519</c:v>
                </c:pt>
                <c:pt idx="39344">
                  <c:v>28.193136981590641</c:v>
                </c:pt>
                <c:pt idx="39345">
                  <c:v>47.346115075597879</c:v>
                </c:pt>
                <c:pt idx="39346">
                  <c:v>28.063130549506756</c:v>
                </c:pt>
                <c:pt idx="39347">
                  <c:v>27.340312934338399</c:v>
                </c:pt>
                <c:pt idx="39348">
                  <c:v>18.523515378250782</c:v>
                </c:pt>
                <c:pt idx="39349">
                  <c:v>43.959336909658965</c:v>
                </c:pt>
                <c:pt idx="39350">
                  <c:v>21.769329622219473</c:v>
                </c:pt>
                <c:pt idx="39351">
                  <c:v>30.170763943552451</c:v>
                </c:pt>
                <c:pt idx="39352">
                  <c:v>29.93996784290314</c:v>
                </c:pt>
                <c:pt idx="39353">
                  <c:v>29.47608784322685</c:v>
                </c:pt>
                <c:pt idx="39354">
                  <c:v>27.184785256778309</c:v>
                </c:pt>
                <c:pt idx="39355">
                  <c:v>50.207660641111815</c:v>
                </c:pt>
                <c:pt idx="39356">
                  <c:v>25.169588970442774</c:v>
                </c:pt>
                <c:pt idx="39357">
                  <c:v>49.533222848379168</c:v>
                </c:pt>
                <c:pt idx="39358">
                  <c:v>31.850630507755479</c:v>
                </c:pt>
                <c:pt idx="39359">
                  <c:v>28.805546127779223</c:v>
                </c:pt>
                <c:pt idx="39360">
                  <c:v>35.196091399414719</c:v>
                </c:pt>
                <c:pt idx="39361">
                  <c:v>50.719735574022792</c:v>
                </c:pt>
                <c:pt idx="39362">
                  <c:v>31.378375376413189</c:v>
                </c:pt>
                <c:pt idx="39363">
                  <c:v>27.156659420053085</c:v>
                </c:pt>
                <c:pt idx="39364">
                  <c:v>42.778268377429306</c:v>
                </c:pt>
                <c:pt idx="39365">
                  <c:v>31.038693705365024</c:v>
                </c:pt>
                <c:pt idx="39366">
                  <c:v>24.423482276641593</c:v>
                </c:pt>
                <c:pt idx="39367">
                  <c:v>51.207753230389628</c:v>
                </c:pt>
                <c:pt idx="39368">
                  <c:v>27.789920139160863</c:v>
                </c:pt>
                <c:pt idx="39369">
                  <c:v>59.888472213980307</c:v>
                </c:pt>
                <c:pt idx="39370">
                  <c:v>28.408658520341529</c:v>
                </c:pt>
                <c:pt idx="39371">
                  <c:v>23.633402404975136</c:v>
                </c:pt>
                <c:pt idx="39372">
                  <c:v>32.434493819268411</c:v>
                </c:pt>
                <c:pt idx="39373">
                  <c:v>58.109643930219832</c:v>
                </c:pt>
                <c:pt idx="39374">
                  <c:v>27.930662516530372</c:v>
                </c:pt>
                <c:pt idx="39375">
                  <c:v>30.493237097797014</c:v>
                </c:pt>
                <c:pt idx="39376">
                  <c:v>24.988056175770716</c:v>
                </c:pt>
                <c:pt idx="39377">
                  <c:v>26.104953001326646</c:v>
                </c:pt>
                <c:pt idx="39378">
                  <c:v>31.271104137270456</c:v>
                </c:pt>
                <c:pt idx="39379">
                  <c:v>28.898552739189576</c:v>
                </c:pt>
                <c:pt idx="39380">
                  <c:v>28.808860240667808</c:v>
                </c:pt>
                <c:pt idx="39381">
                  <c:v>31.022235280072891</c:v>
                </c:pt>
                <c:pt idx="39382">
                  <c:v>25.399705346460458</c:v>
                </c:pt>
                <c:pt idx="39383">
                  <c:v>26.717072927626702</c:v>
                </c:pt>
                <c:pt idx="39384">
                  <c:v>40.928862091160617</c:v>
                </c:pt>
                <c:pt idx="39385">
                  <c:v>23.13321298187169</c:v>
                </c:pt>
                <c:pt idx="39386">
                  <c:v>21.602904267784645</c:v>
                </c:pt>
                <c:pt idx="39387">
                  <c:v>26.514867310981263</c:v>
                </c:pt>
                <c:pt idx="39388">
                  <c:v>32.520450415727083</c:v>
                </c:pt>
                <c:pt idx="39389">
                  <c:v>18.138380375193847</c:v>
                </c:pt>
                <c:pt idx="39390">
                  <c:v>20.878819859630887</c:v>
                </c:pt>
                <c:pt idx="39391">
                  <c:v>39.762655625863594</c:v>
                </c:pt>
                <c:pt idx="39392">
                  <c:v>38.061751588094872</c:v>
                </c:pt>
                <c:pt idx="39393">
                  <c:v>20.300178888228842</c:v>
                </c:pt>
                <c:pt idx="39394">
                  <c:v>30.722810982051826</c:v>
                </c:pt>
                <c:pt idx="39395">
                  <c:v>25.907684264844388</c:v>
                </c:pt>
                <c:pt idx="39396">
                  <c:v>45.810490005826694</c:v>
                </c:pt>
                <c:pt idx="39397">
                  <c:v>36.070090675516994</c:v>
                </c:pt>
                <c:pt idx="39398">
                  <c:v>32.617155893648622</c:v>
                </c:pt>
                <c:pt idx="39399">
                  <c:v>44.353125518117132</c:v>
                </c:pt>
                <c:pt idx="39400">
                  <c:v>28.723061329884494</c:v>
                </c:pt>
                <c:pt idx="39401">
                  <c:v>51.516028906679495</c:v>
                </c:pt>
                <c:pt idx="39402">
                  <c:v>23.065881168497427</c:v>
                </c:pt>
                <c:pt idx="39403">
                  <c:v>30.368465089831133</c:v>
                </c:pt>
                <c:pt idx="39404">
                  <c:v>41.631205482511248</c:v>
                </c:pt>
                <c:pt idx="39405">
                  <c:v>32.976618480992897</c:v>
                </c:pt>
                <c:pt idx="39406">
                  <c:v>24.18157284821115</c:v>
                </c:pt>
                <c:pt idx="39407">
                  <c:v>27.352467391689633</c:v>
                </c:pt>
                <c:pt idx="39408">
                  <c:v>29.855636986326846</c:v>
                </c:pt>
                <c:pt idx="39409">
                  <c:v>18.501784475527298</c:v>
                </c:pt>
                <c:pt idx="39410">
                  <c:v>26.081136460119279</c:v>
                </c:pt>
                <c:pt idx="39411">
                  <c:v>51.899986660644615</c:v>
                </c:pt>
                <c:pt idx="39412">
                  <c:v>16.715682554155105</c:v>
                </c:pt>
                <c:pt idx="39413">
                  <c:v>17.82588309706675</c:v>
                </c:pt>
                <c:pt idx="39414">
                  <c:v>26.716484114864414</c:v>
                </c:pt>
                <c:pt idx="39415">
                  <c:v>27.452037086984674</c:v>
                </c:pt>
                <c:pt idx="39416">
                  <c:v>19.7751332641392</c:v>
                </c:pt>
                <c:pt idx="39417">
                  <c:v>37.439587837223449</c:v>
                </c:pt>
                <c:pt idx="39418">
                  <c:v>35.93657225626167</c:v>
                </c:pt>
                <c:pt idx="39419">
                  <c:v>24.66586293155774</c:v>
                </c:pt>
                <c:pt idx="39420">
                  <c:v>26.018378564535482</c:v>
                </c:pt>
                <c:pt idx="39421">
                  <c:v>35.590142330473249</c:v>
                </c:pt>
                <c:pt idx="39422">
                  <c:v>32.518426396901368</c:v>
                </c:pt>
                <c:pt idx="39423">
                  <c:v>29.588186984609141</c:v>
                </c:pt>
                <c:pt idx="39424">
                  <c:v>32.130604786890345</c:v>
                </c:pt>
                <c:pt idx="39425">
                  <c:v>18.625774913970911</c:v>
                </c:pt>
                <c:pt idx="39426">
                  <c:v>26.928973635802471</c:v>
                </c:pt>
                <c:pt idx="39427">
                  <c:v>26.421747226194935</c:v>
                </c:pt>
                <c:pt idx="39428">
                  <c:v>26.523186870756618</c:v>
                </c:pt>
                <c:pt idx="39429">
                  <c:v>23.591732696497772</c:v>
                </c:pt>
                <c:pt idx="39430">
                  <c:v>24.868914761095276</c:v>
                </c:pt>
                <c:pt idx="39431">
                  <c:v>32.762801694433968</c:v>
                </c:pt>
                <c:pt idx="39432">
                  <c:v>22.477331984297294</c:v>
                </c:pt>
                <c:pt idx="39433">
                  <c:v>24.97326159939076</c:v>
                </c:pt>
                <c:pt idx="39434">
                  <c:v>25.81808774556746</c:v>
                </c:pt>
                <c:pt idx="39435">
                  <c:v>28.851383949112371</c:v>
                </c:pt>
                <c:pt idx="39436">
                  <c:v>28.722508793477441</c:v>
                </c:pt>
                <c:pt idx="39437">
                  <c:v>23.276472110345999</c:v>
                </c:pt>
                <c:pt idx="39438">
                  <c:v>20.225019886753525</c:v>
                </c:pt>
                <c:pt idx="39439">
                  <c:v>22.328879032244533</c:v>
                </c:pt>
                <c:pt idx="39440">
                  <c:v>35.748960080886981</c:v>
                </c:pt>
                <c:pt idx="39441">
                  <c:v>18.454240479846121</c:v>
                </c:pt>
                <c:pt idx="39442">
                  <c:v>24.957402132170483</c:v>
                </c:pt>
                <c:pt idx="39443">
                  <c:v>54.08193014075183</c:v>
                </c:pt>
                <c:pt idx="39444">
                  <c:v>24.892208074009488</c:v>
                </c:pt>
                <c:pt idx="39445">
                  <c:v>27.472088302107277</c:v>
                </c:pt>
                <c:pt idx="39446">
                  <c:v>24.44990909877329</c:v>
                </c:pt>
                <c:pt idx="39447">
                  <c:v>37.508658570277596</c:v>
                </c:pt>
                <c:pt idx="39448">
                  <c:v>25.421694108447525</c:v>
                </c:pt>
                <c:pt idx="39449">
                  <c:v>23.665090006045276</c:v>
                </c:pt>
                <c:pt idx="39450">
                  <c:v>36.295914577489235</c:v>
                </c:pt>
                <c:pt idx="39451">
                  <c:v>31.748848698075896</c:v>
                </c:pt>
                <c:pt idx="39452">
                  <c:v>22.996876439211686</c:v>
                </c:pt>
                <c:pt idx="39453">
                  <c:v>28.077804662663553</c:v>
                </c:pt>
                <c:pt idx="39454">
                  <c:v>34.905317927495872</c:v>
                </c:pt>
                <c:pt idx="39455">
                  <c:v>28.380991499877766</c:v>
                </c:pt>
                <c:pt idx="39456">
                  <c:v>26.853972848247292</c:v>
                </c:pt>
                <c:pt idx="39457">
                  <c:v>30.627982816072489</c:v>
                </c:pt>
                <c:pt idx="39458">
                  <c:v>23.795344896276418</c:v>
                </c:pt>
                <c:pt idx="39459">
                  <c:v>16.214890201526025</c:v>
                </c:pt>
                <c:pt idx="39460">
                  <c:v>41.15982475737021</c:v>
                </c:pt>
                <c:pt idx="39461">
                  <c:v>24.502546695118721</c:v>
                </c:pt>
                <c:pt idx="39462">
                  <c:v>24.948800038139012</c:v>
                </c:pt>
                <c:pt idx="39463">
                  <c:v>20.538845447905484</c:v>
                </c:pt>
                <c:pt idx="39464">
                  <c:v>20.789450120111987</c:v>
                </c:pt>
                <c:pt idx="39465">
                  <c:v>25.76254001396499</c:v>
                </c:pt>
                <c:pt idx="39466">
                  <c:v>26.622680896238794</c:v>
                </c:pt>
                <c:pt idx="39467">
                  <c:v>48.052894348847403</c:v>
                </c:pt>
                <c:pt idx="39468">
                  <c:v>23.703022328883936</c:v>
                </c:pt>
                <c:pt idx="39469">
                  <c:v>42.934052003413022</c:v>
                </c:pt>
                <c:pt idx="39470">
                  <c:v>41.698402536889695</c:v>
                </c:pt>
                <c:pt idx="39471">
                  <c:v>45.515251486092282</c:v>
                </c:pt>
                <c:pt idx="39472">
                  <c:v>21.878269874086399</c:v>
                </c:pt>
                <c:pt idx="39473">
                  <c:v>21.379122181813475</c:v>
                </c:pt>
                <c:pt idx="39474">
                  <c:v>76.913661464556114</c:v>
                </c:pt>
                <c:pt idx="39475">
                  <c:v>45.030183492565648</c:v>
                </c:pt>
                <c:pt idx="39476">
                  <c:v>26.030587227688521</c:v>
                </c:pt>
                <c:pt idx="39477">
                  <c:v>21.954769305241705</c:v>
                </c:pt>
                <c:pt idx="39478">
                  <c:v>20.578790610635266</c:v>
                </c:pt>
                <c:pt idx="39479">
                  <c:v>27.258156782644097</c:v>
                </c:pt>
                <c:pt idx="39480">
                  <c:v>23.907933621508391</c:v>
                </c:pt>
                <c:pt idx="39481">
                  <c:v>46.719190929845176</c:v>
                </c:pt>
                <c:pt idx="39482">
                  <c:v>29.974221721609727</c:v>
                </c:pt>
                <c:pt idx="39483">
                  <c:v>31.357025165388446</c:v>
                </c:pt>
                <c:pt idx="39484">
                  <c:v>27.653324594679024</c:v>
                </c:pt>
                <c:pt idx="39485">
                  <c:v>29.99544894995925</c:v>
                </c:pt>
                <c:pt idx="39486">
                  <c:v>20.326628282519984</c:v>
                </c:pt>
                <c:pt idx="39487">
                  <c:v>21.523679143633807</c:v>
                </c:pt>
                <c:pt idx="39488">
                  <c:v>24.52278362351737</c:v>
                </c:pt>
                <c:pt idx="39489">
                  <c:v>47.289191564010103</c:v>
                </c:pt>
                <c:pt idx="39490">
                  <c:v>16.22132415145159</c:v>
                </c:pt>
                <c:pt idx="39491">
                  <c:v>58.590825136532601</c:v>
                </c:pt>
                <c:pt idx="39492">
                  <c:v>46.571438821302507</c:v>
                </c:pt>
                <c:pt idx="39493">
                  <c:v>28.448071240052233</c:v>
                </c:pt>
                <c:pt idx="39494">
                  <c:v>54.619990741104104</c:v>
                </c:pt>
                <c:pt idx="39495">
                  <c:v>19.908674478219105</c:v>
                </c:pt>
                <c:pt idx="39496">
                  <c:v>27.895742528008356</c:v>
                </c:pt>
                <c:pt idx="39497">
                  <c:v>28.59724083850513</c:v>
                </c:pt>
                <c:pt idx="39498">
                  <c:v>50.01732231071545</c:v>
                </c:pt>
                <c:pt idx="39499">
                  <c:v>27.262279443603759</c:v>
                </c:pt>
                <c:pt idx="39500">
                  <c:v>58.392056385585036</c:v>
                </c:pt>
                <c:pt idx="39501">
                  <c:v>30.755963276350819</c:v>
                </c:pt>
                <c:pt idx="39502">
                  <c:v>48.740951129764774</c:v>
                </c:pt>
                <c:pt idx="39503">
                  <c:v>26.400276881622077</c:v>
                </c:pt>
                <c:pt idx="39504">
                  <c:v>36.656062531100588</c:v>
                </c:pt>
                <c:pt idx="39505">
                  <c:v>23.489258354888964</c:v>
                </c:pt>
                <c:pt idx="39506">
                  <c:v>30.168580274852289</c:v>
                </c:pt>
                <c:pt idx="39507">
                  <c:v>21.319742398359818</c:v>
                </c:pt>
                <c:pt idx="39508">
                  <c:v>26.359336070097392</c:v>
                </c:pt>
                <c:pt idx="39509">
                  <c:v>23.042979811875636</c:v>
                </c:pt>
                <c:pt idx="39510">
                  <c:v>24.884811534903278</c:v>
                </c:pt>
                <c:pt idx="39511">
                  <c:v>21.752864702248786</c:v>
                </c:pt>
                <c:pt idx="39512">
                  <c:v>32.626764138582963</c:v>
                </c:pt>
                <c:pt idx="39513">
                  <c:v>21.372227107222194</c:v>
                </c:pt>
                <c:pt idx="39514">
                  <c:v>24.640353214841184</c:v>
                </c:pt>
                <c:pt idx="39515">
                  <c:v>25.067458777955025</c:v>
                </c:pt>
                <c:pt idx="39516">
                  <c:v>24.890895491204585</c:v>
                </c:pt>
                <c:pt idx="39517">
                  <c:v>25.778707791410802</c:v>
                </c:pt>
                <c:pt idx="39518">
                  <c:v>21.661522972341189</c:v>
                </c:pt>
                <c:pt idx="39519">
                  <c:v>27.916422290262886</c:v>
                </c:pt>
                <c:pt idx="39520">
                  <c:v>27.172705725796874</c:v>
                </c:pt>
                <c:pt idx="39521">
                  <c:v>21.585355894531894</c:v>
                </c:pt>
                <c:pt idx="39522">
                  <c:v>27.082957988438192</c:v>
                </c:pt>
                <c:pt idx="39523">
                  <c:v>25.117882686670615</c:v>
                </c:pt>
                <c:pt idx="39524">
                  <c:v>31.04365487356656</c:v>
                </c:pt>
                <c:pt idx="39525">
                  <c:v>49.597206340913672</c:v>
                </c:pt>
                <c:pt idx="39526">
                  <c:v>45.859750413331135</c:v>
                </c:pt>
                <c:pt idx="39527">
                  <c:v>31.452640877601382</c:v>
                </c:pt>
                <c:pt idx="39528">
                  <c:v>35.922860121814296</c:v>
                </c:pt>
                <c:pt idx="39529">
                  <c:v>19.463804473082455</c:v>
                </c:pt>
                <c:pt idx="39530">
                  <c:v>22.299913418387796</c:v>
                </c:pt>
                <c:pt idx="39531">
                  <c:v>31.524285100040291</c:v>
                </c:pt>
                <c:pt idx="39532">
                  <c:v>34.443554452726133</c:v>
                </c:pt>
                <c:pt idx="39533">
                  <c:v>38.884640839053276</c:v>
                </c:pt>
                <c:pt idx="39534">
                  <c:v>30.604206106381536</c:v>
                </c:pt>
                <c:pt idx="39535">
                  <c:v>29.877797678928751</c:v>
                </c:pt>
                <c:pt idx="39536">
                  <c:v>35.799708286283376</c:v>
                </c:pt>
                <c:pt idx="39537">
                  <c:v>25.79367989762169</c:v>
                </c:pt>
                <c:pt idx="39538">
                  <c:v>34.27151396949639</c:v>
                </c:pt>
                <c:pt idx="39539">
                  <c:v>35.734302565233882</c:v>
                </c:pt>
                <c:pt idx="39540">
                  <c:v>25.579525076240095</c:v>
                </c:pt>
                <c:pt idx="39541">
                  <c:v>31.363955166885731</c:v>
                </c:pt>
                <c:pt idx="39542">
                  <c:v>17.330793984824155</c:v>
                </c:pt>
                <c:pt idx="39543">
                  <c:v>22.477891971310697</c:v>
                </c:pt>
                <c:pt idx="39544">
                  <c:v>43.814576994024954</c:v>
                </c:pt>
                <c:pt idx="39545">
                  <c:v>22.057627922421375</c:v>
                </c:pt>
                <c:pt idx="39546">
                  <c:v>23.22487147147411</c:v>
                </c:pt>
                <c:pt idx="39547">
                  <c:v>31.142282858815992</c:v>
                </c:pt>
                <c:pt idx="39548">
                  <c:v>37.204234118198997</c:v>
                </c:pt>
                <c:pt idx="39549">
                  <c:v>35.419054389667245</c:v>
                </c:pt>
                <c:pt idx="39550">
                  <c:v>22.743715471935481</c:v>
                </c:pt>
                <c:pt idx="39551">
                  <c:v>23.197559394282568</c:v>
                </c:pt>
                <c:pt idx="39552">
                  <c:v>50.257705385285604</c:v>
                </c:pt>
                <c:pt idx="39553">
                  <c:v>37.743727604294868</c:v>
                </c:pt>
                <c:pt idx="39554">
                  <c:v>27.383770218170532</c:v>
                </c:pt>
                <c:pt idx="39555">
                  <c:v>20.236018891607745</c:v>
                </c:pt>
                <c:pt idx="39556">
                  <c:v>25.304925478128268</c:v>
                </c:pt>
                <c:pt idx="39557">
                  <c:v>25.81192397591467</c:v>
                </c:pt>
                <c:pt idx="39558">
                  <c:v>18.66540745362218</c:v>
                </c:pt>
                <c:pt idx="39559">
                  <c:v>24.15912806758536</c:v>
                </c:pt>
                <c:pt idx="39560">
                  <c:v>25.260039546784395</c:v>
                </c:pt>
                <c:pt idx="39561">
                  <c:v>21.112375263298727</c:v>
                </c:pt>
                <c:pt idx="39562">
                  <c:v>16.907978825111211</c:v>
                </c:pt>
                <c:pt idx="39563">
                  <c:v>18.888518244205752</c:v>
                </c:pt>
                <c:pt idx="39564">
                  <c:v>25.155598997167708</c:v>
                </c:pt>
                <c:pt idx="39565">
                  <c:v>23.051825093939257</c:v>
                </c:pt>
                <c:pt idx="39566">
                  <c:v>45.019473477958087</c:v>
                </c:pt>
                <c:pt idx="39567">
                  <c:v>53.798873439357457</c:v>
                </c:pt>
                <c:pt idx="39568">
                  <c:v>26.805347860614024</c:v>
                </c:pt>
                <c:pt idx="39569">
                  <c:v>32.452625126504643</c:v>
                </c:pt>
                <c:pt idx="39570">
                  <c:v>22.924688647358895</c:v>
                </c:pt>
                <c:pt idx="39571">
                  <c:v>18.807134082214986</c:v>
                </c:pt>
                <c:pt idx="39572">
                  <c:v>35.372644143713252</c:v>
                </c:pt>
                <c:pt idx="39573">
                  <c:v>25.261570446030127</c:v>
                </c:pt>
                <c:pt idx="39574">
                  <c:v>25.161279469564931</c:v>
                </c:pt>
                <c:pt idx="39575">
                  <c:v>27.060675570848364</c:v>
                </c:pt>
                <c:pt idx="39576">
                  <c:v>53.323042833942019</c:v>
                </c:pt>
                <c:pt idx="39577">
                  <c:v>20.726273227467576</c:v>
                </c:pt>
                <c:pt idx="39578">
                  <c:v>49.082991896583572</c:v>
                </c:pt>
                <c:pt idx="39579">
                  <c:v>24.516094184855568</c:v>
                </c:pt>
                <c:pt idx="39580">
                  <c:v>27.669691576328468</c:v>
                </c:pt>
                <c:pt idx="39581">
                  <c:v>34.582459759521413</c:v>
                </c:pt>
                <c:pt idx="39582">
                  <c:v>21.65828993251192</c:v>
                </c:pt>
                <c:pt idx="39583">
                  <c:v>25.246084208210071</c:v>
                </c:pt>
                <c:pt idx="39584">
                  <c:v>27.561883006992943</c:v>
                </c:pt>
                <c:pt idx="39585">
                  <c:v>43.897133099014219</c:v>
                </c:pt>
                <c:pt idx="39586">
                  <c:v>25.33504959019356</c:v>
                </c:pt>
                <c:pt idx="39587">
                  <c:v>32.856024471714079</c:v>
                </c:pt>
                <c:pt idx="39588">
                  <c:v>43.236870218327113</c:v>
                </c:pt>
                <c:pt idx="39589">
                  <c:v>35.895508808751281</c:v>
                </c:pt>
                <c:pt idx="39590">
                  <c:v>21.564869150557747</c:v>
                </c:pt>
                <c:pt idx="39591">
                  <c:v>15.521925456396096</c:v>
                </c:pt>
                <c:pt idx="39592">
                  <c:v>51.982870079396143</c:v>
                </c:pt>
                <c:pt idx="39593">
                  <c:v>40.95304159517277</c:v>
                </c:pt>
                <c:pt idx="39594">
                  <c:v>16.931914818084305</c:v>
                </c:pt>
                <c:pt idx="39595">
                  <c:v>32.14675963009293</c:v>
                </c:pt>
                <c:pt idx="39596">
                  <c:v>25.155163532440774</c:v>
                </c:pt>
                <c:pt idx="39597">
                  <c:v>24.503732168266033</c:v>
                </c:pt>
                <c:pt idx="39598">
                  <c:v>28.17998923922211</c:v>
                </c:pt>
                <c:pt idx="39599">
                  <c:v>27.17280165566866</c:v>
                </c:pt>
                <c:pt idx="39600">
                  <c:v>29.486109480989924</c:v>
                </c:pt>
                <c:pt idx="39601">
                  <c:v>48.229566667905885</c:v>
                </c:pt>
                <c:pt idx="39602">
                  <c:v>32.32264290899581</c:v>
                </c:pt>
                <c:pt idx="39603">
                  <c:v>47.546096692554755</c:v>
                </c:pt>
                <c:pt idx="39604">
                  <c:v>23.539435790703298</c:v>
                </c:pt>
                <c:pt idx="39605">
                  <c:v>24.936796256887657</c:v>
                </c:pt>
                <c:pt idx="39606">
                  <c:v>22.947297527722679</c:v>
                </c:pt>
                <c:pt idx="39607">
                  <c:v>19.78052957502495</c:v>
                </c:pt>
                <c:pt idx="39608">
                  <c:v>51.689760334403033</c:v>
                </c:pt>
                <c:pt idx="39609">
                  <c:v>47.305717483261759</c:v>
                </c:pt>
                <c:pt idx="39610">
                  <c:v>43.663698757590467</c:v>
                </c:pt>
                <c:pt idx="39611">
                  <c:v>27.95757604215764</c:v>
                </c:pt>
                <c:pt idx="39612">
                  <c:v>57.081174875018796</c:v>
                </c:pt>
                <c:pt idx="39613">
                  <c:v>40.428914196560825</c:v>
                </c:pt>
                <c:pt idx="39614">
                  <c:v>26.03683090333179</c:v>
                </c:pt>
                <c:pt idx="39615">
                  <c:v>28.143219630870853</c:v>
                </c:pt>
                <c:pt idx="39616">
                  <c:v>20.100584018643499</c:v>
                </c:pt>
                <c:pt idx="39617">
                  <c:v>15.940484820517485</c:v>
                </c:pt>
                <c:pt idx="39618">
                  <c:v>31.944621847828046</c:v>
                </c:pt>
                <c:pt idx="39619">
                  <c:v>24.308297852687563</c:v>
                </c:pt>
                <c:pt idx="39620">
                  <c:v>51.851512901581501</c:v>
                </c:pt>
                <c:pt idx="39621">
                  <c:v>28.868460894977524</c:v>
                </c:pt>
                <c:pt idx="39622">
                  <c:v>23.857690646189916</c:v>
                </c:pt>
                <c:pt idx="39623">
                  <c:v>29.101175492717672</c:v>
                </c:pt>
                <c:pt idx="39624">
                  <c:v>18.638680253044654</c:v>
                </c:pt>
                <c:pt idx="39625">
                  <c:v>33.464677458933437</c:v>
                </c:pt>
                <c:pt idx="39626">
                  <c:v>28.659377768997732</c:v>
                </c:pt>
                <c:pt idx="39627">
                  <c:v>30.267899955126541</c:v>
                </c:pt>
                <c:pt idx="39628">
                  <c:v>21.711401628259075</c:v>
                </c:pt>
                <c:pt idx="39629">
                  <c:v>32.857371485626167</c:v>
                </c:pt>
                <c:pt idx="39630">
                  <c:v>42.680839009491784</c:v>
                </c:pt>
                <c:pt idx="39631">
                  <c:v>31.058254809658973</c:v>
                </c:pt>
                <c:pt idx="39632">
                  <c:v>28.933077975172097</c:v>
                </c:pt>
                <c:pt idx="39633">
                  <c:v>19.040033535236073</c:v>
                </c:pt>
                <c:pt idx="39634">
                  <c:v>53.615415015087009</c:v>
                </c:pt>
                <c:pt idx="39635">
                  <c:v>24.126229822268265</c:v>
                </c:pt>
                <c:pt idx="39636">
                  <c:v>27.378767687218993</c:v>
                </c:pt>
                <c:pt idx="39637">
                  <c:v>52.276903658005068</c:v>
                </c:pt>
                <c:pt idx="39638">
                  <c:v>26.990949422096786</c:v>
                </c:pt>
                <c:pt idx="39639">
                  <c:v>27.913283286263674</c:v>
                </c:pt>
                <c:pt idx="39640">
                  <c:v>60.880489335280643</c:v>
                </c:pt>
                <c:pt idx="39641">
                  <c:v>29.811888465158482</c:v>
                </c:pt>
                <c:pt idx="39642">
                  <c:v>20.490661457012735</c:v>
                </c:pt>
                <c:pt idx="39643">
                  <c:v>22.148757480235307</c:v>
                </c:pt>
                <c:pt idx="39644">
                  <c:v>19.612118030907933</c:v>
                </c:pt>
                <c:pt idx="39645">
                  <c:v>58.186999239727243</c:v>
                </c:pt>
                <c:pt idx="39646">
                  <c:v>24.848537394277816</c:v>
                </c:pt>
                <c:pt idx="39647">
                  <c:v>42.965563991822108</c:v>
                </c:pt>
                <c:pt idx="39648">
                  <c:v>22.365507702731279</c:v>
                </c:pt>
                <c:pt idx="39649">
                  <c:v>33.09389413178689</c:v>
                </c:pt>
                <c:pt idx="39650">
                  <c:v>52.662689994864103</c:v>
                </c:pt>
                <c:pt idx="39651">
                  <c:v>26.929764539834981</c:v>
                </c:pt>
                <c:pt idx="39652">
                  <c:v>29.402661952729709</c:v>
                </c:pt>
                <c:pt idx="39653">
                  <c:v>54.145312716118539</c:v>
                </c:pt>
                <c:pt idx="39654">
                  <c:v>36.750126892047064</c:v>
                </c:pt>
                <c:pt idx="39655">
                  <c:v>24.425928587820692</c:v>
                </c:pt>
                <c:pt idx="39656">
                  <c:v>17.915302225371093</c:v>
                </c:pt>
                <c:pt idx="39657">
                  <c:v>27.518442077367858</c:v>
                </c:pt>
                <c:pt idx="39658">
                  <c:v>23.132324749855879</c:v>
                </c:pt>
                <c:pt idx="39659">
                  <c:v>23.127552761534879</c:v>
                </c:pt>
                <c:pt idx="39660">
                  <c:v>32.180194637335227</c:v>
                </c:pt>
                <c:pt idx="39661">
                  <c:v>36.886035064674125</c:v>
                </c:pt>
                <c:pt idx="39662">
                  <c:v>31.116432410905741</c:v>
                </c:pt>
                <c:pt idx="39663">
                  <c:v>46.800478659187796</c:v>
                </c:pt>
                <c:pt idx="39664">
                  <c:v>20.94788945726032</c:v>
                </c:pt>
                <c:pt idx="39665">
                  <c:v>23.521252337946102</c:v>
                </c:pt>
                <c:pt idx="39666">
                  <c:v>29.831144459056443</c:v>
                </c:pt>
                <c:pt idx="39667">
                  <c:v>31.53055415520895</c:v>
                </c:pt>
                <c:pt idx="39668">
                  <c:v>61.391204998612473</c:v>
                </c:pt>
                <c:pt idx="39669">
                  <c:v>20.745799087951806</c:v>
                </c:pt>
                <c:pt idx="39670">
                  <c:v>27.00530198706042</c:v>
                </c:pt>
                <c:pt idx="39671">
                  <c:v>21.760018700829775</c:v>
                </c:pt>
                <c:pt idx="39672">
                  <c:v>38.415731176069144</c:v>
                </c:pt>
                <c:pt idx="39673">
                  <c:v>23.217624278343134</c:v>
                </c:pt>
                <c:pt idx="39674">
                  <c:v>30.567121307395936</c:v>
                </c:pt>
                <c:pt idx="39675">
                  <c:v>29.216316400703938</c:v>
                </c:pt>
                <c:pt idx="39676">
                  <c:v>21.7480581109821</c:v>
                </c:pt>
                <c:pt idx="39677">
                  <c:v>26.112772245103013</c:v>
                </c:pt>
                <c:pt idx="39678">
                  <c:v>25.055271806907754</c:v>
                </c:pt>
                <c:pt idx="39679">
                  <c:v>23.991572907976284</c:v>
                </c:pt>
                <c:pt idx="39680">
                  <c:v>21.29430180309916</c:v>
                </c:pt>
                <c:pt idx="39681">
                  <c:v>49.852268090715683</c:v>
                </c:pt>
                <c:pt idx="39682">
                  <c:v>48.163140211090933</c:v>
                </c:pt>
                <c:pt idx="39683">
                  <c:v>39.127103471082776</c:v>
                </c:pt>
                <c:pt idx="39684">
                  <c:v>41.971358194927802</c:v>
                </c:pt>
                <c:pt idx="39685">
                  <c:v>26.605692038747502</c:v>
                </c:pt>
                <c:pt idx="39686">
                  <c:v>20.195017850665206</c:v>
                </c:pt>
                <c:pt idx="39687">
                  <c:v>42.115712998837125</c:v>
                </c:pt>
                <c:pt idx="39688">
                  <c:v>27.905466051265631</c:v>
                </c:pt>
                <c:pt idx="39689">
                  <c:v>23.250267676609397</c:v>
                </c:pt>
                <c:pt idx="39690">
                  <c:v>25.991667824429868</c:v>
                </c:pt>
                <c:pt idx="39691">
                  <c:v>33.12580496461279</c:v>
                </c:pt>
                <c:pt idx="39692">
                  <c:v>33.282232511041407</c:v>
                </c:pt>
                <c:pt idx="39693">
                  <c:v>26.296975779541668</c:v>
                </c:pt>
                <c:pt idx="39694">
                  <c:v>26.713716244635116</c:v>
                </c:pt>
                <c:pt idx="39695">
                  <c:v>23.057300875602202</c:v>
                </c:pt>
                <c:pt idx="39696">
                  <c:v>23.143380471856013</c:v>
                </c:pt>
                <c:pt idx="39697">
                  <c:v>21.204149943057445</c:v>
                </c:pt>
                <c:pt idx="39698">
                  <c:v>53.537285648908671</c:v>
                </c:pt>
                <c:pt idx="39699">
                  <c:v>13.791008497349013</c:v>
                </c:pt>
                <c:pt idx="39700">
                  <c:v>53.690138882096427</c:v>
                </c:pt>
                <c:pt idx="39701">
                  <c:v>25.301920894834527</c:v>
                </c:pt>
                <c:pt idx="39702">
                  <c:v>20.009339106281171</c:v>
                </c:pt>
                <c:pt idx="39703">
                  <c:v>26.025724057256276</c:v>
                </c:pt>
                <c:pt idx="39704">
                  <c:v>31.742016826156309</c:v>
                </c:pt>
                <c:pt idx="39705">
                  <c:v>47.798271732367134</c:v>
                </c:pt>
                <c:pt idx="39706">
                  <c:v>27.06113255448053</c:v>
                </c:pt>
                <c:pt idx="39707">
                  <c:v>16.894867221777488</c:v>
                </c:pt>
                <c:pt idx="39708">
                  <c:v>33.944479390511951</c:v>
                </c:pt>
                <c:pt idx="39709">
                  <c:v>28.870243120767789</c:v>
                </c:pt>
                <c:pt idx="39710">
                  <c:v>38.580837712677358</c:v>
                </c:pt>
                <c:pt idx="39711">
                  <c:v>29.255946380860621</c:v>
                </c:pt>
                <c:pt idx="39712">
                  <c:v>27.412062191362967</c:v>
                </c:pt>
                <c:pt idx="39713">
                  <c:v>32.36853161837815</c:v>
                </c:pt>
                <c:pt idx="39714">
                  <c:v>23.189226203645678</c:v>
                </c:pt>
                <c:pt idx="39715">
                  <c:v>23.932945615493711</c:v>
                </c:pt>
                <c:pt idx="39716">
                  <c:v>35.159539027771977</c:v>
                </c:pt>
                <c:pt idx="39717">
                  <c:v>34.751447083904409</c:v>
                </c:pt>
                <c:pt idx="39718">
                  <c:v>28.90943416372825</c:v>
                </c:pt>
                <c:pt idx="39719">
                  <c:v>54.958850484175215</c:v>
                </c:pt>
                <c:pt idx="39720">
                  <c:v>19.87008888546552</c:v>
                </c:pt>
                <c:pt idx="39721">
                  <c:v>26.269476324749913</c:v>
                </c:pt>
                <c:pt idx="39722">
                  <c:v>24.645725164831092</c:v>
                </c:pt>
                <c:pt idx="39723">
                  <c:v>22.389028566806424</c:v>
                </c:pt>
                <c:pt idx="39724">
                  <c:v>22.706192557632487</c:v>
                </c:pt>
                <c:pt idx="39725">
                  <c:v>33.909090607719804</c:v>
                </c:pt>
                <c:pt idx="39726">
                  <c:v>31.700803910083263</c:v>
                </c:pt>
                <c:pt idx="39727">
                  <c:v>14.022145771071346</c:v>
                </c:pt>
                <c:pt idx="39728">
                  <c:v>34.551172013774163</c:v>
                </c:pt>
                <c:pt idx="39729">
                  <c:v>45.111722410504058</c:v>
                </c:pt>
                <c:pt idx="39730">
                  <c:v>27.197503566710175</c:v>
                </c:pt>
                <c:pt idx="39731">
                  <c:v>29.533965014147469</c:v>
                </c:pt>
                <c:pt idx="39732">
                  <c:v>27.658630927487099</c:v>
                </c:pt>
                <c:pt idx="39733">
                  <c:v>26.266869492576749</c:v>
                </c:pt>
                <c:pt idx="39734">
                  <c:v>18.153109216654528</c:v>
                </c:pt>
                <c:pt idx="39735">
                  <c:v>27.002487907963935</c:v>
                </c:pt>
                <c:pt idx="39736">
                  <c:v>22.974637592226642</c:v>
                </c:pt>
                <c:pt idx="39737">
                  <c:v>28.566963164471797</c:v>
                </c:pt>
                <c:pt idx="39738">
                  <c:v>45.85365251233771</c:v>
                </c:pt>
                <c:pt idx="39739">
                  <c:v>46.124675358709801</c:v>
                </c:pt>
                <c:pt idx="39740">
                  <c:v>29.508873023938751</c:v>
                </c:pt>
                <c:pt idx="39741">
                  <c:v>49.787563261889602</c:v>
                </c:pt>
                <c:pt idx="39742">
                  <c:v>38.137773831856116</c:v>
                </c:pt>
                <c:pt idx="39743">
                  <c:v>26.347456141441853</c:v>
                </c:pt>
                <c:pt idx="39744">
                  <c:v>29.532731050568771</c:v>
                </c:pt>
                <c:pt idx="39745">
                  <c:v>25.375786455805862</c:v>
                </c:pt>
                <c:pt idx="39746">
                  <c:v>42.478662815230273</c:v>
                </c:pt>
                <c:pt idx="39747">
                  <c:v>24.285278346625056</c:v>
                </c:pt>
                <c:pt idx="39748">
                  <c:v>27.10429375521862</c:v>
                </c:pt>
                <c:pt idx="39749">
                  <c:v>33.772693253098538</c:v>
                </c:pt>
                <c:pt idx="39750">
                  <c:v>26.495060780069462</c:v>
                </c:pt>
                <c:pt idx="39751">
                  <c:v>22.955386801081609</c:v>
                </c:pt>
                <c:pt idx="39752">
                  <c:v>27.127675338941252</c:v>
                </c:pt>
                <c:pt idx="39753">
                  <c:v>42.240078208092577</c:v>
                </c:pt>
                <c:pt idx="39754">
                  <c:v>29.654973389441153</c:v>
                </c:pt>
                <c:pt idx="39755">
                  <c:v>28.023202188728781</c:v>
                </c:pt>
                <c:pt idx="39756">
                  <c:v>41.588162010006023</c:v>
                </c:pt>
                <c:pt idx="39757">
                  <c:v>28.4898212517964</c:v>
                </c:pt>
                <c:pt idx="39758">
                  <c:v>29.847008519884451</c:v>
                </c:pt>
                <c:pt idx="39759">
                  <c:v>40.755974477860349</c:v>
                </c:pt>
                <c:pt idx="39760">
                  <c:v>31.194704532782797</c:v>
                </c:pt>
                <c:pt idx="39761">
                  <c:v>47.247346323289776</c:v>
                </c:pt>
                <c:pt idx="39762">
                  <c:v>28.588819758449446</c:v>
                </c:pt>
                <c:pt idx="39763">
                  <c:v>36.11671855723047</c:v>
                </c:pt>
                <c:pt idx="39764">
                  <c:v>19.391578846737442</c:v>
                </c:pt>
                <c:pt idx="39765">
                  <c:v>37.388322702952721</c:v>
                </c:pt>
                <c:pt idx="39766">
                  <c:v>31.74896935938531</c:v>
                </c:pt>
                <c:pt idx="39767">
                  <c:v>25.403407874331769</c:v>
                </c:pt>
                <c:pt idx="39768">
                  <c:v>44.619516614105017</c:v>
                </c:pt>
                <c:pt idx="39769">
                  <c:v>31.001739062147099</c:v>
                </c:pt>
                <c:pt idx="39770">
                  <c:v>20.359735463198465</c:v>
                </c:pt>
                <c:pt idx="39771">
                  <c:v>27.172835029632601</c:v>
                </c:pt>
                <c:pt idx="39772">
                  <c:v>22.598677891893363</c:v>
                </c:pt>
                <c:pt idx="39773">
                  <c:v>49.889699313323696</c:v>
                </c:pt>
                <c:pt idx="39774">
                  <c:v>27.552092790265576</c:v>
                </c:pt>
                <c:pt idx="39775">
                  <c:v>28.139449891987475</c:v>
                </c:pt>
                <c:pt idx="39776">
                  <c:v>23.055829470202745</c:v>
                </c:pt>
                <c:pt idx="39777">
                  <c:v>27.781492997947915</c:v>
                </c:pt>
                <c:pt idx="39778">
                  <c:v>27.937400531473493</c:v>
                </c:pt>
                <c:pt idx="39779">
                  <c:v>26.568334849292452</c:v>
                </c:pt>
                <c:pt idx="39780">
                  <c:v>47.410343723284775</c:v>
                </c:pt>
                <c:pt idx="39781">
                  <c:v>29.975186014954932</c:v>
                </c:pt>
                <c:pt idx="39782">
                  <c:v>34.212990449008672</c:v>
                </c:pt>
                <c:pt idx="39783">
                  <c:v>32.664087580974851</c:v>
                </c:pt>
                <c:pt idx="39784">
                  <c:v>33.30409880015241</c:v>
                </c:pt>
                <c:pt idx="39785">
                  <c:v>22.632486524006165</c:v>
                </c:pt>
                <c:pt idx="39786">
                  <c:v>24.133122259044889</c:v>
                </c:pt>
                <c:pt idx="39787">
                  <c:v>58.067572753466848</c:v>
                </c:pt>
                <c:pt idx="39788">
                  <c:v>23.847856511320089</c:v>
                </c:pt>
                <c:pt idx="39789">
                  <c:v>16.229337932381284</c:v>
                </c:pt>
                <c:pt idx="39790">
                  <c:v>22.345940531768434</c:v>
                </c:pt>
                <c:pt idx="39791">
                  <c:v>31.478653768533498</c:v>
                </c:pt>
                <c:pt idx="39792">
                  <c:v>23.085857819329018</c:v>
                </c:pt>
                <c:pt idx="39793">
                  <c:v>16.993540620770197</c:v>
                </c:pt>
                <c:pt idx="39794">
                  <c:v>21.885158021607687</c:v>
                </c:pt>
                <c:pt idx="39795">
                  <c:v>61.953937935303252</c:v>
                </c:pt>
                <c:pt idx="39796">
                  <c:v>17.427809426358092</c:v>
                </c:pt>
                <c:pt idx="39797">
                  <c:v>41.565652736709602</c:v>
                </c:pt>
                <c:pt idx="39798">
                  <c:v>37.462254107458683</c:v>
                </c:pt>
                <c:pt idx="39799">
                  <c:v>31.349660164007894</c:v>
                </c:pt>
                <c:pt idx="39800">
                  <c:v>49.05652952324747</c:v>
                </c:pt>
                <c:pt idx="39801">
                  <c:v>46.427070796688028</c:v>
                </c:pt>
                <c:pt idx="39802">
                  <c:v>21.057668872034981</c:v>
                </c:pt>
                <c:pt idx="39803">
                  <c:v>27.151720586579838</c:v>
                </c:pt>
                <c:pt idx="39804">
                  <c:v>28.931311958427987</c:v>
                </c:pt>
                <c:pt idx="39805">
                  <c:v>35.477239057667063</c:v>
                </c:pt>
                <c:pt idx="39806">
                  <c:v>43.987727676325363</c:v>
                </c:pt>
                <c:pt idx="39807">
                  <c:v>27.153019746073944</c:v>
                </c:pt>
                <c:pt idx="39808">
                  <c:v>35.512266256758004</c:v>
                </c:pt>
                <c:pt idx="39809">
                  <c:v>24.571418771602602</c:v>
                </c:pt>
                <c:pt idx="39810">
                  <c:v>29.780502037684272</c:v>
                </c:pt>
                <c:pt idx="39811">
                  <c:v>32.285414191567625</c:v>
                </c:pt>
                <c:pt idx="39812">
                  <c:v>28.284511012582016</c:v>
                </c:pt>
                <c:pt idx="39813">
                  <c:v>30.117844371084018</c:v>
                </c:pt>
                <c:pt idx="39814">
                  <c:v>21.971476051912802</c:v>
                </c:pt>
                <c:pt idx="39815">
                  <c:v>38.626803183577088</c:v>
                </c:pt>
                <c:pt idx="39816">
                  <c:v>28.661349914954197</c:v>
                </c:pt>
                <c:pt idx="39817">
                  <c:v>42.02651084174763</c:v>
                </c:pt>
                <c:pt idx="39818">
                  <c:v>39.838912112450906</c:v>
                </c:pt>
                <c:pt idx="39819">
                  <c:v>21.532645737091045</c:v>
                </c:pt>
                <c:pt idx="39820">
                  <c:v>49.264809691644281</c:v>
                </c:pt>
                <c:pt idx="39821">
                  <c:v>29.855169624105791</c:v>
                </c:pt>
                <c:pt idx="39822">
                  <c:v>26.433654925493155</c:v>
                </c:pt>
                <c:pt idx="39823">
                  <c:v>29.33412418477004</c:v>
                </c:pt>
                <c:pt idx="39824">
                  <c:v>22.832712322322013</c:v>
                </c:pt>
                <c:pt idx="39825">
                  <c:v>22.834105862472896</c:v>
                </c:pt>
                <c:pt idx="39826">
                  <c:v>41.661762456124393</c:v>
                </c:pt>
                <c:pt idx="39827">
                  <c:v>23.305246259969547</c:v>
                </c:pt>
                <c:pt idx="39828">
                  <c:v>20.252678320212318</c:v>
                </c:pt>
                <c:pt idx="39829">
                  <c:v>52.91532325342893</c:v>
                </c:pt>
                <c:pt idx="39830">
                  <c:v>32.842041930590582</c:v>
                </c:pt>
                <c:pt idx="39831">
                  <c:v>33.292255422200611</c:v>
                </c:pt>
                <c:pt idx="39832">
                  <c:v>36.013974261241735</c:v>
                </c:pt>
                <c:pt idx="39833">
                  <c:v>19.723026982651781</c:v>
                </c:pt>
                <c:pt idx="39834">
                  <c:v>24.178482324527835</c:v>
                </c:pt>
                <c:pt idx="39835">
                  <c:v>25.15189830329723</c:v>
                </c:pt>
                <c:pt idx="39836">
                  <c:v>24.835619422271503</c:v>
                </c:pt>
                <c:pt idx="39837">
                  <c:v>48.57942946655146</c:v>
                </c:pt>
                <c:pt idx="39838">
                  <c:v>25.659778538781151</c:v>
                </c:pt>
                <c:pt idx="39839">
                  <c:v>37.512160379282903</c:v>
                </c:pt>
                <c:pt idx="39840">
                  <c:v>27.652546988754057</c:v>
                </c:pt>
                <c:pt idx="39841">
                  <c:v>28.416365989855304</c:v>
                </c:pt>
                <c:pt idx="39842">
                  <c:v>24.092574884333725</c:v>
                </c:pt>
                <c:pt idx="39843">
                  <c:v>27.752633628300735</c:v>
                </c:pt>
                <c:pt idx="39844">
                  <c:v>56.619212457437833</c:v>
                </c:pt>
                <c:pt idx="39845">
                  <c:v>44.635822975905491</c:v>
                </c:pt>
                <c:pt idx="39846">
                  <c:v>16.997286079862398</c:v>
                </c:pt>
                <c:pt idx="39847">
                  <c:v>29.327446519898089</c:v>
                </c:pt>
                <c:pt idx="39848">
                  <c:v>35.549921608618206</c:v>
                </c:pt>
                <c:pt idx="39849">
                  <c:v>46.308845214628384</c:v>
                </c:pt>
                <c:pt idx="39850">
                  <c:v>44.840440147094149</c:v>
                </c:pt>
                <c:pt idx="39851">
                  <c:v>27.197882792765164</c:v>
                </c:pt>
                <c:pt idx="39852">
                  <c:v>46.407200490643177</c:v>
                </c:pt>
                <c:pt idx="39853">
                  <c:v>32.079978114433757</c:v>
                </c:pt>
                <c:pt idx="39854">
                  <c:v>36.680867248892419</c:v>
                </c:pt>
                <c:pt idx="39855">
                  <c:v>27.156157976411507</c:v>
                </c:pt>
                <c:pt idx="39856">
                  <c:v>24.771988568077056</c:v>
                </c:pt>
                <c:pt idx="39857">
                  <c:v>21.31681742198856</c:v>
                </c:pt>
                <c:pt idx="39858">
                  <c:v>43.830136594880571</c:v>
                </c:pt>
                <c:pt idx="39859">
                  <c:v>30.314056755069902</c:v>
                </c:pt>
                <c:pt idx="39860">
                  <c:v>41.518726246150585</c:v>
                </c:pt>
                <c:pt idx="39861">
                  <c:v>26.336961396816939</c:v>
                </c:pt>
                <c:pt idx="39862">
                  <c:v>29.120053361736268</c:v>
                </c:pt>
                <c:pt idx="39863">
                  <c:v>26.594461856684315</c:v>
                </c:pt>
                <c:pt idx="39864">
                  <c:v>23.086527357512949</c:v>
                </c:pt>
                <c:pt idx="39865">
                  <c:v>33.962860858116116</c:v>
                </c:pt>
                <c:pt idx="39866">
                  <c:v>28.618134526485772</c:v>
                </c:pt>
                <c:pt idx="39867">
                  <c:v>43.943224993279586</c:v>
                </c:pt>
                <c:pt idx="39868">
                  <c:v>23.152903449533209</c:v>
                </c:pt>
                <c:pt idx="39869">
                  <c:v>23.821410927177816</c:v>
                </c:pt>
                <c:pt idx="39870">
                  <c:v>34.487979613502034</c:v>
                </c:pt>
                <c:pt idx="39871">
                  <c:v>38.557910912421384</c:v>
                </c:pt>
                <c:pt idx="39872">
                  <c:v>22.347725320458387</c:v>
                </c:pt>
                <c:pt idx="39873">
                  <c:v>27.463603647505529</c:v>
                </c:pt>
                <c:pt idx="39874">
                  <c:v>55.652967508754671</c:v>
                </c:pt>
                <c:pt idx="39875">
                  <c:v>28.18358772173892</c:v>
                </c:pt>
                <c:pt idx="39876">
                  <c:v>21.827761218276585</c:v>
                </c:pt>
                <c:pt idx="39877">
                  <c:v>24.713558753768666</c:v>
                </c:pt>
                <c:pt idx="39878">
                  <c:v>32.764467825017505</c:v>
                </c:pt>
                <c:pt idx="39879">
                  <c:v>63.151167825605299</c:v>
                </c:pt>
                <c:pt idx="39880">
                  <c:v>39.01925631041415</c:v>
                </c:pt>
                <c:pt idx="39881">
                  <c:v>42.366409436252681</c:v>
                </c:pt>
                <c:pt idx="39882">
                  <c:v>30.251973470452608</c:v>
                </c:pt>
                <c:pt idx="39883">
                  <c:v>33.526727876221656</c:v>
                </c:pt>
                <c:pt idx="39884">
                  <c:v>33.344429674237709</c:v>
                </c:pt>
                <c:pt idx="39885">
                  <c:v>38.522434220711524</c:v>
                </c:pt>
                <c:pt idx="39886">
                  <c:v>21.704461996986574</c:v>
                </c:pt>
                <c:pt idx="39887">
                  <c:v>22.801084782116778</c:v>
                </c:pt>
                <c:pt idx="39888">
                  <c:v>32.832642101113507</c:v>
                </c:pt>
                <c:pt idx="39889">
                  <c:v>26.244704792753588</c:v>
                </c:pt>
                <c:pt idx="39890">
                  <c:v>30.182459639611061</c:v>
                </c:pt>
                <c:pt idx="39891">
                  <c:v>30.146386979631931</c:v>
                </c:pt>
                <c:pt idx="39892">
                  <c:v>21.441722495134208</c:v>
                </c:pt>
                <c:pt idx="39893">
                  <c:v>33.758476796234881</c:v>
                </c:pt>
                <c:pt idx="39894">
                  <c:v>38.898276583069602</c:v>
                </c:pt>
                <c:pt idx="39895">
                  <c:v>43.85549384236019</c:v>
                </c:pt>
                <c:pt idx="39896">
                  <c:v>27.450904975603517</c:v>
                </c:pt>
                <c:pt idx="39897">
                  <c:v>22.023112832140693</c:v>
                </c:pt>
                <c:pt idx="39898">
                  <c:v>25.255781006687265</c:v>
                </c:pt>
                <c:pt idx="39899">
                  <c:v>26.486948103311104</c:v>
                </c:pt>
                <c:pt idx="39900">
                  <c:v>25.134614834919539</c:v>
                </c:pt>
                <c:pt idx="39901">
                  <c:v>51.319891698808235</c:v>
                </c:pt>
                <c:pt idx="39902">
                  <c:v>49.488111761914666</c:v>
                </c:pt>
                <c:pt idx="39903">
                  <c:v>31.39159824099017</c:v>
                </c:pt>
                <c:pt idx="39904">
                  <c:v>21.378187161287848</c:v>
                </c:pt>
                <c:pt idx="39905">
                  <c:v>26.597879619937231</c:v>
                </c:pt>
                <c:pt idx="39906">
                  <c:v>48.630980619583561</c:v>
                </c:pt>
                <c:pt idx="39907">
                  <c:v>21.025546133324607</c:v>
                </c:pt>
                <c:pt idx="39908">
                  <c:v>31.252370003103046</c:v>
                </c:pt>
                <c:pt idx="39909">
                  <c:v>25.939292470682577</c:v>
                </c:pt>
                <c:pt idx="39910">
                  <c:v>29.598243374966266</c:v>
                </c:pt>
                <c:pt idx="39911">
                  <c:v>28.666672445185309</c:v>
                </c:pt>
                <c:pt idx="39912">
                  <c:v>53.989225120238387</c:v>
                </c:pt>
                <c:pt idx="39913">
                  <c:v>23.640111946502355</c:v>
                </c:pt>
                <c:pt idx="39914">
                  <c:v>27.545036439069388</c:v>
                </c:pt>
                <c:pt idx="39915">
                  <c:v>49.754127988452424</c:v>
                </c:pt>
                <c:pt idx="39916">
                  <c:v>22.820003875469919</c:v>
                </c:pt>
                <c:pt idx="39917">
                  <c:v>42.088429414645987</c:v>
                </c:pt>
                <c:pt idx="39918">
                  <c:v>20.007278421187813</c:v>
                </c:pt>
                <c:pt idx="39919">
                  <c:v>18.608012427368031</c:v>
                </c:pt>
                <c:pt idx="39920">
                  <c:v>39.258792823238025</c:v>
                </c:pt>
                <c:pt idx="39921">
                  <c:v>33.940352549453664</c:v>
                </c:pt>
                <c:pt idx="39922">
                  <c:v>27.167164641384105</c:v>
                </c:pt>
                <c:pt idx="39923">
                  <c:v>48.646436831318979</c:v>
                </c:pt>
                <c:pt idx="39924">
                  <c:v>24.579865617231079</c:v>
                </c:pt>
                <c:pt idx="39925">
                  <c:v>43.490859916100995</c:v>
                </c:pt>
                <c:pt idx="39926">
                  <c:v>28.478039334981077</c:v>
                </c:pt>
                <c:pt idx="39927">
                  <c:v>28.962919675460498</c:v>
                </c:pt>
                <c:pt idx="39928">
                  <c:v>46.258919450117183</c:v>
                </c:pt>
                <c:pt idx="39929">
                  <c:v>22.046662827351945</c:v>
                </c:pt>
                <c:pt idx="39930">
                  <c:v>52.487989737396198</c:v>
                </c:pt>
                <c:pt idx="39931">
                  <c:v>26.739966441434042</c:v>
                </c:pt>
                <c:pt idx="39932">
                  <c:v>22.855791435435304</c:v>
                </c:pt>
                <c:pt idx="39933">
                  <c:v>20.150151244141124</c:v>
                </c:pt>
                <c:pt idx="39934">
                  <c:v>26.159135877376507</c:v>
                </c:pt>
                <c:pt idx="39935">
                  <c:v>31.447810884134583</c:v>
                </c:pt>
                <c:pt idx="39936">
                  <c:v>40.109739988396498</c:v>
                </c:pt>
                <c:pt idx="39937">
                  <c:v>54.648210509751621</c:v>
                </c:pt>
                <c:pt idx="39938">
                  <c:v>27.429224622258928</c:v>
                </c:pt>
                <c:pt idx="39939">
                  <c:v>31.479687157740411</c:v>
                </c:pt>
                <c:pt idx="39940">
                  <c:v>27.234364638424186</c:v>
                </c:pt>
                <c:pt idx="39941">
                  <c:v>25.41253350759796</c:v>
                </c:pt>
                <c:pt idx="39942">
                  <c:v>33.010117201819618</c:v>
                </c:pt>
                <c:pt idx="39943">
                  <c:v>43.560616221018009</c:v>
                </c:pt>
                <c:pt idx="39944">
                  <c:v>55.236883323738866</c:v>
                </c:pt>
                <c:pt idx="39945">
                  <c:v>53.590717660197043</c:v>
                </c:pt>
                <c:pt idx="39946">
                  <c:v>32.851483038754282</c:v>
                </c:pt>
                <c:pt idx="39947">
                  <c:v>34.418354569327263</c:v>
                </c:pt>
                <c:pt idx="39948">
                  <c:v>32.516988820128702</c:v>
                </c:pt>
                <c:pt idx="39949">
                  <c:v>40.762682953871447</c:v>
                </c:pt>
                <c:pt idx="39950">
                  <c:v>27.174330965394656</c:v>
                </c:pt>
                <c:pt idx="39951">
                  <c:v>27.6185621744083</c:v>
                </c:pt>
                <c:pt idx="39952">
                  <c:v>29.817016311046686</c:v>
                </c:pt>
                <c:pt idx="39953">
                  <c:v>29.510144244902762</c:v>
                </c:pt>
                <c:pt idx="39954">
                  <c:v>23.867893486407908</c:v>
                </c:pt>
                <c:pt idx="39955">
                  <c:v>39.731692035736188</c:v>
                </c:pt>
                <c:pt idx="39956">
                  <c:v>31.464667154545559</c:v>
                </c:pt>
                <c:pt idx="39957">
                  <c:v>29.204024861326801</c:v>
                </c:pt>
                <c:pt idx="39958">
                  <c:v>23.655785158326765</c:v>
                </c:pt>
                <c:pt idx="39959">
                  <c:v>27.610846973893111</c:v>
                </c:pt>
                <c:pt idx="39960">
                  <c:v>30.312754155881141</c:v>
                </c:pt>
                <c:pt idx="39961">
                  <c:v>22.427182085200133</c:v>
                </c:pt>
                <c:pt idx="39962">
                  <c:v>24.937412017742673</c:v>
                </c:pt>
                <c:pt idx="39963">
                  <c:v>26.115987959642627</c:v>
                </c:pt>
                <c:pt idx="39964">
                  <c:v>24.716565518285783</c:v>
                </c:pt>
                <c:pt idx="39965">
                  <c:v>41.286934785449738</c:v>
                </c:pt>
                <c:pt idx="39966">
                  <c:v>18.571355282634613</c:v>
                </c:pt>
                <c:pt idx="39967">
                  <c:v>37.810333182989694</c:v>
                </c:pt>
                <c:pt idx="39968">
                  <c:v>18.135545695523014</c:v>
                </c:pt>
                <c:pt idx="39969">
                  <c:v>22.419190556936158</c:v>
                </c:pt>
                <c:pt idx="39970">
                  <c:v>33.132564899035742</c:v>
                </c:pt>
                <c:pt idx="39971">
                  <c:v>44.965178982962371</c:v>
                </c:pt>
                <c:pt idx="39972">
                  <c:v>26.571325666716085</c:v>
                </c:pt>
                <c:pt idx="39973">
                  <c:v>39.892047162939932</c:v>
                </c:pt>
                <c:pt idx="39974">
                  <c:v>28.177607703446384</c:v>
                </c:pt>
                <c:pt idx="39975">
                  <c:v>23.059938195235027</c:v>
                </c:pt>
                <c:pt idx="39976">
                  <c:v>24.139622253192972</c:v>
                </c:pt>
                <c:pt idx="39977">
                  <c:v>24.984406138831037</c:v>
                </c:pt>
                <c:pt idx="39978">
                  <c:v>28.569771287503325</c:v>
                </c:pt>
                <c:pt idx="39979">
                  <c:v>14.593439509168292</c:v>
                </c:pt>
                <c:pt idx="39980">
                  <c:v>35.024077890312135</c:v>
                </c:pt>
                <c:pt idx="39981">
                  <c:v>28.448723697987379</c:v>
                </c:pt>
                <c:pt idx="39982">
                  <c:v>25.676912181506815</c:v>
                </c:pt>
                <c:pt idx="39983">
                  <c:v>35.531670421597454</c:v>
                </c:pt>
                <c:pt idx="39984">
                  <c:v>24.947494086881399</c:v>
                </c:pt>
                <c:pt idx="39985">
                  <c:v>27.6695997787034</c:v>
                </c:pt>
                <c:pt idx="39986">
                  <c:v>30.340602859087578</c:v>
                </c:pt>
                <c:pt idx="39987">
                  <c:v>28.612335407528949</c:v>
                </c:pt>
                <c:pt idx="39988">
                  <c:v>56.764427237571127</c:v>
                </c:pt>
                <c:pt idx="39989">
                  <c:v>35.024760349214468</c:v>
                </c:pt>
                <c:pt idx="39990">
                  <c:v>41.722908312416997</c:v>
                </c:pt>
                <c:pt idx="39991">
                  <c:v>32.175566653613252</c:v>
                </c:pt>
                <c:pt idx="39992">
                  <c:v>31.599717188628325</c:v>
                </c:pt>
                <c:pt idx="39993">
                  <c:v>39.519785709820219</c:v>
                </c:pt>
                <c:pt idx="39994">
                  <c:v>26.883642619509164</c:v>
                </c:pt>
                <c:pt idx="39995">
                  <c:v>37.851311780413994</c:v>
                </c:pt>
                <c:pt idx="39996">
                  <c:v>24.292083167116033</c:v>
                </c:pt>
                <c:pt idx="39997">
                  <c:v>21.445016152359791</c:v>
                </c:pt>
                <c:pt idx="39998">
                  <c:v>47.444520759498985</c:v>
                </c:pt>
                <c:pt idx="39999">
                  <c:v>46.621984761654645</c:v>
                </c:pt>
                <c:pt idx="40000">
                  <c:v>20.441891203285778</c:v>
                </c:pt>
                <c:pt idx="40001">
                  <c:v>44.611799786831213</c:v>
                </c:pt>
                <c:pt idx="40002">
                  <c:v>31.307805258054266</c:v>
                </c:pt>
                <c:pt idx="40003">
                  <c:v>25.107425196602897</c:v>
                </c:pt>
                <c:pt idx="40004">
                  <c:v>22.73189337806658</c:v>
                </c:pt>
                <c:pt idx="40005">
                  <c:v>18.77617660023154</c:v>
                </c:pt>
                <c:pt idx="40006">
                  <c:v>56.621434793460459</c:v>
                </c:pt>
                <c:pt idx="40007">
                  <c:v>42.28859482339962</c:v>
                </c:pt>
                <c:pt idx="40008">
                  <c:v>20.708213379295927</c:v>
                </c:pt>
                <c:pt idx="40009">
                  <c:v>21.105254197387055</c:v>
                </c:pt>
                <c:pt idx="40010">
                  <c:v>33.483710386705319</c:v>
                </c:pt>
                <c:pt idx="40011">
                  <c:v>55.929541865013007</c:v>
                </c:pt>
                <c:pt idx="40012">
                  <c:v>23.098594310163069</c:v>
                </c:pt>
                <c:pt idx="40013">
                  <c:v>30.82650900192009</c:v>
                </c:pt>
                <c:pt idx="40014">
                  <c:v>25.315428629463064</c:v>
                </c:pt>
                <c:pt idx="40015">
                  <c:v>25.613691640442546</c:v>
                </c:pt>
                <c:pt idx="40016">
                  <c:v>43.367721207449776</c:v>
                </c:pt>
                <c:pt idx="40017">
                  <c:v>23.254989128280318</c:v>
                </c:pt>
                <c:pt idx="40018">
                  <c:v>29.771161530064234</c:v>
                </c:pt>
                <c:pt idx="40019">
                  <c:v>23.084264903440403</c:v>
                </c:pt>
                <c:pt idx="40020">
                  <c:v>31.643857172264255</c:v>
                </c:pt>
                <c:pt idx="40021">
                  <c:v>41.395676301662995</c:v>
                </c:pt>
                <c:pt idx="40022">
                  <c:v>34.646591554964388</c:v>
                </c:pt>
                <c:pt idx="40023">
                  <c:v>54.66252357124219</c:v>
                </c:pt>
                <c:pt idx="40024">
                  <c:v>24.224498357733129</c:v>
                </c:pt>
                <c:pt idx="40025">
                  <c:v>27.031458577661162</c:v>
                </c:pt>
                <c:pt idx="40026">
                  <c:v>28.456312063793167</c:v>
                </c:pt>
                <c:pt idx="40027">
                  <c:v>33.493658262208371</c:v>
                </c:pt>
                <c:pt idx="40028">
                  <c:v>42.656631398854891</c:v>
                </c:pt>
                <c:pt idx="40029">
                  <c:v>29.055353727860396</c:v>
                </c:pt>
                <c:pt idx="40030">
                  <c:v>24.265015426387983</c:v>
                </c:pt>
                <c:pt idx="40031">
                  <c:v>28.837632140792859</c:v>
                </c:pt>
                <c:pt idx="40032">
                  <c:v>38.657374655674204</c:v>
                </c:pt>
                <c:pt idx="40033">
                  <c:v>29.813399306727057</c:v>
                </c:pt>
                <c:pt idx="40034">
                  <c:v>22.712345361558739</c:v>
                </c:pt>
                <c:pt idx="40035">
                  <c:v>31.152231028834539</c:v>
                </c:pt>
                <c:pt idx="40036">
                  <c:v>22.479562716046573</c:v>
                </c:pt>
                <c:pt idx="40037">
                  <c:v>21.454172148891065</c:v>
                </c:pt>
                <c:pt idx="40038">
                  <c:v>44.706050103254668</c:v>
                </c:pt>
                <c:pt idx="40039">
                  <c:v>27.897015781098332</c:v>
                </c:pt>
                <c:pt idx="40040">
                  <c:v>36.029431541112316</c:v>
                </c:pt>
                <c:pt idx="40041">
                  <c:v>37.427173990830482</c:v>
                </c:pt>
                <c:pt idx="40042">
                  <c:v>21.107823844140682</c:v>
                </c:pt>
                <c:pt idx="40043">
                  <c:v>32.201504803725953</c:v>
                </c:pt>
                <c:pt idx="40044">
                  <c:v>28.203515797487526</c:v>
                </c:pt>
                <c:pt idx="40045">
                  <c:v>31.508260381244682</c:v>
                </c:pt>
                <c:pt idx="40046">
                  <c:v>20.95780895913936</c:v>
                </c:pt>
                <c:pt idx="40047">
                  <c:v>33.324473431580373</c:v>
                </c:pt>
                <c:pt idx="40048">
                  <c:v>25.293461946727746</c:v>
                </c:pt>
                <c:pt idx="40049">
                  <c:v>29.309455102033922</c:v>
                </c:pt>
                <c:pt idx="40050">
                  <c:v>26.211759536834819</c:v>
                </c:pt>
                <c:pt idx="40051">
                  <c:v>46.994826442884879</c:v>
                </c:pt>
                <c:pt idx="40052">
                  <c:v>44.9901070821807</c:v>
                </c:pt>
                <c:pt idx="40053">
                  <c:v>41.911494315036819</c:v>
                </c:pt>
                <c:pt idx="40054">
                  <c:v>28.226174007513787</c:v>
                </c:pt>
                <c:pt idx="40055">
                  <c:v>24.569506394174098</c:v>
                </c:pt>
                <c:pt idx="40056">
                  <c:v>41.64591059226332</c:v>
                </c:pt>
                <c:pt idx="40057">
                  <c:v>37.831642418683217</c:v>
                </c:pt>
                <c:pt idx="40058">
                  <c:v>37.228225455900279</c:v>
                </c:pt>
                <c:pt idx="40059">
                  <c:v>26.481610361477419</c:v>
                </c:pt>
                <c:pt idx="40060">
                  <c:v>30.58031182407364</c:v>
                </c:pt>
                <c:pt idx="40061">
                  <c:v>25.817036844212723</c:v>
                </c:pt>
                <c:pt idx="40062">
                  <c:v>44.531829783410686</c:v>
                </c:pt>
                <c:pt idx="40063">
                  <c:v>28.465575534351721</c:v>
                </c:pt>
                <c:pt idx="40064">
                  <c:v>25.366344772363909</c:v>
                </c:pt>
                <c:pt idx="40065">
                  <c:v>28.486141199822729</c:v>
                </c:pt>
                <c:pt idx="40066">
                  <c:v>24.610061511709439</c:v>
                </c:pt>
                <c:pt idx="40067">
                  <c:v>25.3080904593008</c:v>
                </c:pt>
                <c:pt idx="40068">
                  <c:v>45.374705140183529</c:v>
                </c:pt>
                <c:pt idx="40069">
                  <c:v>47.125227189850172</c:v>
                </c:pt>
                <c:pt idx="40070">
                  <c:v>42.159175330300286</c:v>
                </c:pt>
                <c:pt idx="40071">
                  <c:v>28.77519886345684</c:v>
                </c:pt>
                <c:pt idx="40072">
                  <c:v>33.53735361056853</c:v>
                </c:pt>
                <c:pt idx="40073">
                  <c:v>30.868827963601277</c:v>
                </c:pt>
                <c:pt idx="40074">
                  <c:v>32.403158258293679</c:v>
                </c:pt>
                <c:pt idx="40075">
                  <c:v>33.074349465032235</c:v>
                </c:pt>
                <c:pt idx="40076">
                  <c:v>32.136337541052178</c:v>
                </c:pt>
                <c:pt idx="40077">
                  <c:v>17.885656117280543</c:v>
                </c:pt>
                <c:pt idx="40078">
                  <c:v>23.199508803086669</c:v>
                </c:pt>
                <c:pt idx="40079">
                  <c:v>44.543123271802976</c:v>
                </c:pt>
                <c:pt idx="40080">
                  <c:v>55.268204132211778</c:v>
                </c:pt>
                <c:pt idx="40081">
                  <c:v>31.543341100875402</c:v>
                </c:pt>
                <c:pt idx="40082">
                  <c:v>49.645006820748641</c:v>
                </c:pt>
                <c:pt idx="40083">
                  <c:v>34.295460391146953</c:v>
                </c:pt>
                <c:pt idx="40084">
                  <c:v>29.433866168653431</c:v>
                </c:pt>
                <c:pt idx="40085">
                  <c:v>30.747153719703533</c:v>
                </c:pt>
                <c:pt idx="40086">
                  <c:v>30.761103811132791</c:v>
                </c:pt>
                <c:pt idx="40087">
                  <c:v>52.083320990651622</c:v>
                </c:pt>
                <c:pt idx="40088">
                  <c:v>30.012437652184147</c:v>
                </c:pt>
                <c:pt idx="40089">
                  <c:v>35.764565894987904</c:v>
                </c:pt>
                <c:pt idx="40090">
                  <c:v>46.788149630116003</c:v>
                </c:pt>
                <c:pt idx="40091">
                  <c:v>27.494843011555655</c:v>
                </c:pt>
                <c:pt idx="40092">
                  <c:v>44.34857664114822</c:v>
                </c:pt>
                <c:pt idx="40093">
                  <c:v>41.453830975686365</c:v>
                </c:pt>
                <c:pt idx="40094">
                  <c:v>30.447348972280661</c:v>
                </c:pt>
                <c:pt idx="40095">
                  <c:v>18.219988924975127</c:v>
                </c:pt>
                <c:pt idx="40096">
                  <c:v>24.403852734462042</c:v>
                </c:pt>
                <c:pt idx="40097">
                  <c:v>20.024447156158764</c:v>
                </c:pt>
                <c:pt idx="40098">
                  <c:v>20.549035690805098</c:v>
                </c:pt>
                <c:pt idx="40099">
                  <c:v>23.416262122158855</c:v>
                </c:pt>
                <c:pt idx="40100">
                  <c:v>33.035293920513446</c:v>
                </c:pt>
                <c:pt idx="40101">
                  <c:v>25.573844348695371</c:v>
                </c:pt>
                <c:pt idx="40102">
                  <c:v>20.510784533506097</c:v>
                </c:pt>
                <c:pt idx="40103">
                  <c:v>27.963025067644423</c:v>
                </c:pt>
                <c:pt idx="40104">
                  <c:v>26.145230441811378</c:v>
                </c:pt>
                <c:pt idx="40105">
                  <c:v>17.843264601739993</c:v>
                </c:pt>
                <c:pt idx="40106">
                  <c:v>23.937081095258645</c:v>
                </c:pt>
                <c:pt idx="40107">
                  <c:v>47.09867342134234</c:v>
                </c:pt>
                <c:pt idx="40108">
                  <c:v>25.046187031427248</c:v>
                </c:pt>
                <c:pt idx="40109">
                  <c:v>25.220717167124391</c:v>
                </c:pt>
                <c:pt idx="40110">
                  <c:v>43.436264994751689</c:v>
                </c:pt>
                <c:pt idx="40111">
                  <c:v>20.466166928904489</c:v>
                </c:pt>
                <c:pt idx="40112">
                  <c:v>32.521484129237301</c:v>
                </c:pt>
                <c:pt idx="40113">
                  <c:v>24.7853211883595</c:v>
                </c:pt>
                <c:pt idx="40114">
                  <c:v>41.068483485075568</c:v>
                </c:pt>
                <c:pt idx="40115">
                  <c:v>18.752325466446258</c:v>
                </c:pt>
                <c:pt idx="40116">
                  <c:v>28.752631463044118</c:v>
                </c:pt>
                <c:pt idx="40117">
                  <c:v>33.884715129909566</c:v>
                </c:pt>
                <c:pt idx="40118">
                  <c:v>30.400123382870074</c:v>
                </c:pt>
                <c:pt idx="40119">
                  <c:v>26.303612731970322</c:v>
                </c:pt>
                <c:pt idx="40120">
                  <c:v>18.994590336264785</c:v>
                </c:pt>
                <c:pt idx="40121">
                  <c:v>28.530311891865093</c:v>
                </c:pt>
                <c:pt idx="40122">
                  <c:v>31.29460458047209</c:v>
                </c:pt>
                <c:pt idx="40123">
                  <c:v>38.743918423882661</c:v>
                </c:pt>
                <c:pt idx="40124">
                  <c:v>23.832363102778064</c:v>
                </c:pt>
                <c:pt idx="40125">
                  <c:v>26.900553084887104</c:v>
                </c:pt>
                <c:pt idx="40126">
                  <c:v>31.265135932598863</c:v>
                </c:pt>
                <c:pt idx="40127">
                  <c:v>35.369161680495743</c:v>
                </c:pt>
                <c:pt idx="40128">
                  <c:v>32.545731099539111</c:v>
                </c:pt>
                <c:pt idx="40129">
                  <c:v>29.912980919019471</c:v>
                </c:pt>
                <c:pt idx="40130">
                  <c:v>30.002600624383376</c:v>
                </c:pt>
                <c:pt idx="40131">
                  <c:v>50.022653199833599</c:v>
                </c:pt>
                <c:pt idx="40132">
                  <c:v>45.156263924239283</c:v>
                </c:pt>
                <c:pt idx="40133">
                  <c:v>26.463592722200332</c:v>
                </c:pt>
                <c:pt idx="40134">
                  <c:v>33.185856859415466</c:v>
                </c:pt>
                <c:pt idx="40135">
                  <c:v>24.9009278931136</c:v>
                </c:pt>
                <c:pt idx="40136">
                  <c:v>21.854902965270622</c:v>
                </c:pt>
                <c:pt idx="40137">
                  <c:v>46.045537792099886</c:v>
                </c:pt>
                <c:pt idx="40138">
                  <c:v>39.955759883819162</c:v>
                </c:pt>
                <c:pt idx="40139">
                  <c:v>43.281777344458831</c:v>
                </c:pt>
                <c:pt idx="40140">
                  <c:v>39.157965092312885</c:v>
                </c:pt>
                <c:pt idx="40141">
                  <c:v>48.275646003416057</c:v>
                </c:pt>
                <c:pt idx="40142">
                  <c:v>28.926494851240811</c:v>
                </c:pt>
                <c:pt idx="40143">
                  <c:v>18.002519233143857</c:v>
                </c:pt>
                <c:pt idx="40144">
                  <c:v>24.367140504524073</c:v>
                </c:pt>
                <c:pt idx="40145">
                  <c:v>29.866317636577989</c:v>
                </c:pt>
                <c:pt idx="40146">
                  <c:v>22.766177356023441</c:v>
                </c:pt>
                <c:pt idx="40147">
                  <c:v>20.776918045754648</c:v>
                </c:pt>
                <c:pt idx="40148">
                  <c:v>22.774718926390985</c:v>
                </c:pt>
                <c:pt idx="40149">
                  <c:v>23.667680716357982</c:v>
                </c:pt>
                <c:pt idx="40150">
                  <c:v>29.246453301411037</c:v>
                </c:pt>
                <c:pt idx="40151">
                  <c:v>26.672047478171187</c:v>
                </c:pt>
                <c:pt idx="40152">
                  <c:v>32.96471668110631</c:v>
                </c:pt>
                <c:pt idx="40153">
                  <c:v>22.691427718267121</c:v>
                </c:pt>
                <c:pt idx="40154">
                  <c:v>41.66965927010714</c:v>
                </c:pt>
                <c:pt idx="40155">
                  <c:v>26.471688338706606</c:v>
                </c:pt>
                <c:pt idx="40156">
                  <c:v>35.14905761255384</c:v>
                </c:pt>
                <c:pt idx="40157">
                  <c:v>18.042441205945131</c:v>
                </c:pt>
                <c:pt idx="40158">
                  <c:v>23.906245472955003</c:v>
                </c:pt>
                <c:pt idx="40159">
                  <c:v>45.008124015734346</c:v>
                </c:pt>
                <c:pt idx="40160">
                  <c:v>28.729889411010205</c:v>
                </c:pt>
                <c:pt idx="40161">
                  <c:v>28.797484589604384</c:v>
                </c:pt>
                <c:pt idx="40162">
                  <c:v>16.852532873229652</c:v>
                </c:pt>
                <c:pt idx="40163">
                  <c:v>22.374106712593729</c:v>
                </c:pt>
                <c:pt idx="40164">
                  <c:v>15.713936032140477</c:v>
                </c:pt>
                <c:pt idx="40165">
                  <c:v>23.015623932776592</c:v>
                </c:pt>
                <c:pt idx="40166">
                  <c:v>48.340606308520968</c:v>
                </c:pt>
                <c:pt idx="40167">
                  <c:v>30.690121553604818</c:v>
                </c:pt>
                <c:pt idx="40168">
                  <c:v>29.745994141220994</c:v>
                </c:pt>
                <c:pt idx="40169">
                  <c:v>28.14595066321408</c:v>
                </c:pt>
                <c:pt idx="40170">
                  <c:v>27.311899484276633</c:v>
                </c:pt>
                <c:pt idx="40171">
                  <c:v>30.846419195594933</c:v>
                </c:pt>
                <c:pt idx="40172">
                  <c:v>22.594955982834993</c:v>
                </c:pt>
                <c:pt idx="40173">
                  <c:v>28.592724000977825</c:v>
                </c:pt>
                <c:pt idx="40174">
                  <c:v>27.153617256768989</c:v>
                </c:pt>
                <c:pt idx="40175">
                  <c:v>28.59160546095708</c:v>
                </c:pt>
                <c:pt idx="40176">
                  <c:v>30.111509996712883</c:v>
                </c:pt>
                <c:pt idx="40177">
                  <c:v>20.899651919923866</c:v>
                </c:pt>
                <c:pt idx="40178">
                  <c:v>48.062175439997588</c:v>
                </c:pt>
                <c:pt idx="40179">
                  <c:v>32.709574370052167</c:v>
                </c:pt>
                <c:pt idx="40180">
                  <c:v>23.55866125643179</c:v>
                </c:pt>
                <c:pt idx="40181">
                  <c:v>37.599821769916119</c:v>
                </c:pt>
                <c:pt idx="40182">
                  <c:v>23.417781687726627</c:v>
                </c:pt>
                <c:pt idx="40183">
                  <c:v>27.58822796286421</c:v>
                </c:pt>
                <c:pt idx="40184">
                  <c:v>31.179622109297647</c:v>
                </c:pt>
                <c:pt idx="40185">
                  <c:v>29.735024767514421</c:v>
                </c:pt>
                <c:pt idx="40186">
                  <c:v>56.745314386001013</c:v>
                </c:pt>
                <c:pt idx="40187">
                  <c:v>46.176842092596047</c:v>
                </c:pt>
                <c:pt idx="40188">
                  <c:v>52.035906803344879</c:v>
                </c:pt>
                <c:pt idx="40189">
                  <c:v>19.609637410309595</c:v>
                </c:pt>
                <c:pt idx="40190">
                  <c:v>27.061121480628159</c:v>
                </c:pt>
                <c:pt idx="40191">
                  <c:v>16.370558151163031</c:v>
                </c:pt>
                <c:pt idx="40192">
                  <c:v>28.006215330541878</c:v>
                </c:pt>
                <c:pt idx="40193">
                  <c:v>26.14103671149746</c:v>
                </c:pt>
                <c:pt idx="40194">
                  <c:v>49.927547582212057</c:v>
                </c:pt>
                <c:pt idx="40195">
                  <c:v>24.899861955970056</c:v>
                </c:pt>
                <c:pt idx="40196">
                  <c:v>25.218618822868972</c:v>
                </c:pt>
                <c:pt idx="40197">
                  <c:v>23.920648872975473</c:v>
                </c:pt>
                <c:pt idx="40198">
                  <c:v>19.317851054594094</c:v>
                </c:pt>
                <c:pt idx="40199">
                  <c:v>21.782565542452122</c:v>
                </c:pt>
                <c:pt idx="40200">
                  <c:v>44.649929645473136</c:v>
                </c:pt>
                <c:pt idx="40201">
                  <c:v>24.07780364065842</c:v>
                </c:pt>
                <c:pt idx="40202">
                  <c:v>27.711492700003291</c:v>
                </c:pt>
                <c:pt idx="40203">
                  <c:v>43.207518998445735</c:v>
                </c:pt>
                <c:pt idx="40204">
                  <c:v>30.5598565298348</c:v>
                </c:pt>
                <c:pt idx="40205">
                  <c:v>41.528401474486195</c:v>
                </c:pt>
                <c:pt idx="40206">
                  <c:v>19.910643918537147</c:v>
                </c:pt>
                <c:pt idx="40207">
                  <c:v>25.449340526070959</c:v>
                </c:pt>
                <c:pt idx="40208">
                  <c:v>45.75821785438243</c:v>
                </c:pt>
                <c:pt idx="40209">
                  <c:v>29.339867739997803</c:v>
                </c:pt>
                <c:pt idx="40210">
                  <c:v>33.447880716727411</c:v>
                </c:pt>
                <c:pt idx="40211">
                  <c:v>36.265320928150686</c:v>
                </c:pt>
                <c:pt idx="40212">
                  <c:v>20.451359698939505</c:v>
                </c:pt>
                <c:pt idx="40213">
                  <c:v>25.985161240667814</c:v>
                </c:pt>
                <c:pt idx="40214">
                  <c:v>32.294565343115522</c:v>
                </c:pt>
                <c:pt idx="40215">
                  <c:v>27.826394056919206</c:v>
                </c:pt>
                <c:pt idx="40216">
                  <c:v>47.443534473597886</c:v>
                </c:pt>
                <c:pt idx="40217">
                  <c:v>44.369681231769981</c:v>
                </c:pt>
                <c:pt idx="40218">
                  <c:v>25.963439619062449</c:v>
                </c:pt>
                <c:pt idx="40219">
                  <c:v>22.929393498823245</c:v>
                </c:pt>
                <c:pt idx="40220">
                  <c:v>52.761616495992428</c:v>
                </c:pt>
                <c:pt idx="40221">
                  <c:v>30.74729678022678</c:v>
                </c:pt>
                <c:pt idx="40222">
                  <c:v>24.048863382553954</c:v>
                </c:pt>
                <c:pt idx="40223">
                  <c:v>25.815557114040232</c:v>
                </c:pt>
                <c:pt idx="40224">
                  <c:v>28.736761516228636</c:v>
                </c:pt>
                <c:pt idx="40225">
                  <c:v>30.079723503699313</c:v>
                </c:pt>
                <c:pt idx="40226">
                  <c:v>57.34989743441453</c:v>
                </c:pt>
                <c:pt idx="40227">
                  <c:v>28.864528545686671</c:v>
                </c:pt>
                <c:pt idx="40228">
                  <c:v>25.155823088240606</c:v>
                </c:pt>
                <c:pt idx="40229">
                  <c:v>22.096174917097631</c:v>
                </c:pt>
                <c:pt idx="40230">
                  <c:v>30.649663866075223</c:v>
                </c:pt>
                <c:pt idx="40231">
                  <c:v>44.725256505765373</c:v>
                </c:pt>
                <c:pt idx="40232">
                  <c:v>25.107410860934177</c:v>
                </c:pt>
                <c:pt idx="40233">
                  <c:v>28.384736453140913</c:v>
                </c:pt>
                <c:pt idx="40234">
                  <c:v>21.500569264491663</c:v>
                </c:pt>
                <c:pt idx="40235">
                  <c:v>26.641738080121392</c:v>
                </c:pt>
                <c:pt idx="40236">
                  <c:v>34.441556632678846</c:v>
                </c:pt>
                <c:pt idx="40237">
                  <c:v>23.474209307702111</c:v>
                </c:pt>
                <c:pt idx="40238">
                  <c:v>26.336017240007195</c:v>
                </c:pt>
                <c:pt idx="40239">
                  <c:v>44.643912303740152</c:v>
                </c:pt>
                <c:pt idx="40240">
                  <c:v>29.285486267728572</c:v>
                </c:pt>
                <c:pt idx="40241">
                  <c:v>37.519572811985718</c:v>
                </c:pt>
                <c:pt idx="40242">
                  <c:v>19.063922066287105</c:v>
                </c:pt>
                <c:pt idx="40243">
                  <c:v>35.594138279410885</c:v>
                </c:pt>
                <c:pt idx="40244">
                  <c:v>21.458982349814114</c:v>
                </c:pt>
                <c:pt idx="40245">
                  <c:v>40.145557166016772</c:v>
                </c:pt>
                <c:pt idx="40246">
                  <c:v>45.065474369400526</c:v>
                </c:pt>
                <c:pt idx="40247">
                  <c:v>20.53345664086202</c:v>
                </c:pt>
                <c:pt idx="40248">
                  <c:v>19.88199810512393</c:v>
                </c:pt>
                <c:pt idx="40249">
                  <c:v>23.247131230451657</c:v>
                </c:pt>
                <c:pt idx="40250">
                  <c:v>21.457511053017313</c:v>
                </c:pt>
                <c:pt idx="40251">
                  <c:v>28.74399150469889</c:v>
                </c:pt>
                <c:pt idx="40252">
                  <c:v>34.041126410508028</c:v>
                </c:pt>
                <c:pt idx="40253">
                  <c:v>24.912794378637095</c:v>
                </c:pt>
                <c:pt idx="40254">
                  <c:v>31.408610547373478</c:v>
                </c:pt>
                <c:pt idx="40255">
                  <c:v>25.137843314689562</c:v>
                </c:pt>
                <c:pt idx="40256">
                  <c:v>22.614629686758121</c:v>
                </c:pt>
                <c:pt idx="40257">
                  <c:v>21.467828715782456</c:v>
                </c:pt>
                <c:pt idx="40258">
                  <c:v>19.113043417416499</c:v>
                </c:pt>
                <c:pt idx="40259">
                  <c:v>39.281990359159394</c:v>
                </c:pt>
                <c:pt idx="40260">
                  <c:v>26.713193085067775</c:v>
                </c:pt>
                <c:pt idx="40261">
                  <c:v>23.478074027503567</c:v>
                </c:pt>
                <c:pt idx="40262">
                  <c:v>31.00380050363837</c:v>
                </c:pt>
                <c:pt idx="40263">
                  <c:v>47.238581383800479</c:v>
                </c:pt>
                <c:pt idx="40264">
                  <c:v>51.126312108298769</c:v>
                </c:pt>
                <c:pt idx="40265">
                  <c:v>51.190318540891333</c:v>
                </c:pt>
                <c:pt idx="40266">
                  <c:v>21.91682179693866</c:v>
                </c:pt>
                <c:pt idx="40267">
                  <c:v>28.01243239245402</c:v>
                </c:pt>
                <c:pt idx="40268">
                  <c:v>20.217766891932794</c:v>
                </c:pt>
                <c:pt idx="40269">
                  <c:v>24.423232648288504</c:v>
                </c:pt>
                <c:pt idx="40270">
                  <c:v>37.76657486593944</c:v>
                </c:pt>
                <c:pt idx="40271">
                  <c:v>31.879802357659027</c:v>
                </c:pt>
                <c:pt idx="40272">
                  <c:v>32.663829696043699</c:v>
                </c:pt>
                <c:pt idx="40273">
                  <c:v>30.071218496266418</c:v>
                </c:pt>
                <c:pt idx="40274">
                  <c:v>26.765358123651559</c:v>
                </c:pt>
                <c:pt idx="40275">
                  <c:v>61.567734248340322</c:v>
                </c:pt>
                <c:pt idx="40276">
                  <c:v>40.007545129625257</c:v>
                </c:pt>
                <c:pt idx="40277">
                  <c:v>16.637557988347538</c:v>
                </c:pt>
                <c:pt idx="40278">
                  <c:v>25.509386245456128</c:v>
                </c:pt>
                <c:pt idx="40279">
                  <c:v>23.348572471087799</c:v>
                </c:pt>
                <c:pt idx="40280">
                  <c:v>34.820981041401751</c:v>
                </c:pt>
                <c:pt idx="40281">
                  <c:v>37.006877603133937</c:v>
                </c:pt>
                <c:pt idx="40282">
                  <c:v>37.50995885273035</c:v>
                </c:pt>
                <c:pt idx="40283">
                  <c:v>54.396865944720169</c:v>
                </c:pt>
                <c:pt idx="40284">
                  <c:v>20.379443438174633</c:v>
                </c:pt>
                <c:pt idx="40285">
                  <c:v>31.90789092283292</c:v>
                </c:pt>
                <c:pt idx="40286">
                  <c:v>58.940306041779785</c:v>
                </c:pt>
                <c:pt idx="40287">
                  <c:v>25.112639137953408</c:v>
                </c:pt>
                <c:pt idx="40288">
                  <c:v>29.60756375583604</c:v>
                </c:pt>
                <c:pt idx="40289">
                  <c:v>27.717201105149986</c:v>
                </c:pt>
                <c:pt idx="40290">
                  <c:v>22.820247635631304</c:v>
                </c:pt>
                <c:pt idx="40291">
                  <c:v>45.650042182158494</c:v>
                </c:pt>
                <c:pt idx="40292">
                  <c:v>48.79092766655657</c:v>
                </c:pt>
                <c:pt idx="40293">
                  <c:v>22.008235960836366</c:v>
                </c:pt>
                <c:pt idx="40294">
                  <c:v>18.594625947682033</c:v>
                </c:pt>
                <c:pt idx="40295">
                  <c:v>24.452609265389391</c:v>
                </c:pt>
                <c:pt idx="40296">
                  <c:v>65.492701033349007</c:v>
                </c:pt>
                <c:pt idx="40297">
                  <c:v>58.787539716094969</c:v>
                </c:pt>
                <c:pt idx="40298">
                  <c:v>26.249881167208226</c:v>
                </c:pt>
                <c:pt idx="40299">
                  <c:v>23.654177687562971</c:v>
                </c:pt>
                <c:pt idx="40300">
                  <c:v>25.59756314373762</c:v>
                </c:pt>
                <c:pt idx="40301">
                  <c:v>24.964184996799744</c:v>
                </c:pt>
                <c:pt idx="40302">
                  <c:v>27.6961196810771</c:v>
                </c:pt>
                <c:pt idx="40303">
                  <c:v>31.920305450938045</c:v>
                </c:pt>
                <c:pt idx="40304">
                  <c:v>18.331064977224578</c:v>
                </c:pt>
                <c:pt idx="40305">
                  <c:v>39.302937693692769</c:v>
                </c:pt>
                <c:pt idx="40306">
                  <c:v>25.344385490716515</c:v>
                </c:pt>
                <c:pt idx="40307">
                  <c:v>27.49569347981312</c:v>
                </c:pt>
                <c:pt idx="40308">
                  <c:v>23.450085964462787</c:v>
                </c:pt>
                <c:pt idx="40309">
                  <c:v>24.626663317212788</c:v>
                </c:pt>
                <c:pt idx="40310">
                  <c:v>24.853477609643541</c:v>
                </c:pt>
                <c:pt idx="40311">
                  <c:v>33.582915844139862</c:v>
                </c:pt>
                <c:pt idx="40312">
                  <c:v>23.540695943717495</c:v>
                </c:pt>
                <c:pt idx="40313">
                  <c:v>21.810190201077454</c:v>
                </c:pt>
                <c:pt idx="40314">
                  <c:v>22.470610255248111</c:v>
                </c:pt>
                <c:pt idx="40315">
                  <c:v>48.297260844411213</c:v>
                </c:pt>
                <c:pt idx="40316">
                  <c:v>33.31507659329197</c:v>
                </c:pt>
                <c:pt idx="40317">
                  <c:v>42.63752405287611</c:v>
                </c:pt>
                <c:pt idx="40318">
                  <c:v>25.219436355631537</c:v>
                </c:pt>
                <c:pt idx="40319">
                  <c:v>53.248468770182043</c:v>
                </c:pt>
                <c:pt idx="40320">
                  <c:v>54.499487954693038</c:v>
                </c:pt>
                <c:pt idx="40321">
                  <c:v>30.254252958537325</c:v>
                </c:pt>
                <c:pt idx="40322">
                  <c:v>40.134619757057081</c:v>
                </c:pt>
                <c:pt idx="40323">
                  <c:v>35.07562306916256</c:v>
                </c:pt>
                <c:pt idx="40324">
                  <c:v>23.383624568856618</c:v>
                </c:pt>
                <c:pt idx="40325">
                  <c:v>35.847860019485616</c:v>
                </c:pt>
                <c:pt idx="40326">
                  <c:v>21.177678448238982</c:v>
                </c:pt>
                <c:pt idx="40327">
                  <c:v>29.702198039531854</c:v>
                </c:pt>
                <c:pt idx="40328">
                  <c:v>24.574521730778542</c:v>
                </c:pt>
                <c:pt idx="40329">
                  <c:v>27.958154646519926</c:v>
                </c:pt>
                <c:pt idx="40330">
                  <c:v>36.847795325097593</c:v>
                </c:pt>
                <c:pt idx="40331">
                  <c:v>40.412913829300585</c:v>
                </c:pt>
                <c:pt idx="40332">
                  <c:v>27.384713712950145</c:v>
                </c:pt>
                <c:pt idx="40333">
                  <c:v>23.732772022726735</c:v>
                </c:pt>
                <c:pt idx="40334">
                  <c:v>27.07978187565303</c:v>
                </c:pt>
                <c:pt idx="40335">
                  <c:v>30.15496878386584</c:v>
                </c:pt>
                <c:pt idx="40336">
                  <c:v>49.730060272832141</c:v>
                </c:pt>
                <c:pt idx="40337">
                  <c:v>27.678992993052674</c:v>
                </c:pt>
                <c:pt idx="40338">
                  <c:v>48.512018240723918</c:v>
                </c:pt>
                <c:pt idx="40339">
                  <c:v>20.372700958642085</c:v>
                </c:pt>
                <c:pt idx="40340">
                  <c:v>28.341246569170075</c:v>
                </c:pt>
                <c:pt idx="40341">
                  <c:v>28.042286497404881</c:v>
                </c:pt>
                <c:pt idx="40342">
                  <c:v>24.912821582430873</c:v>
                </c:pt>
                <c:pt idx="40343">
                  <c:v>23.907117792758115</c:v>
                </c:pt>
                <c:pt idx="40344">
                  <c:v>21.603914917068749</c:v>
                </c:pt>
                <c:pt idx="40345">
                  <c:v>33.466177281342482</c:v>
                </c:pt>
                <c:pt idx="40346">
                  <c:v>40.218916675437114</c:v>
                </c:pt>
                <c:pt idx="40347">
                  <c:v>31.283752689409511</c:v>
                </c:pt>
                <c:pt idx="40348">
                  <c:v>19.941558342481677</c:v>
                </c:pt>
                <c:pt idx="40349">
                  <c:v>26.507864974314508</c:v>
                </c:pt>
                <c:pt idx="40350">
                  <c:v>60.532185312650434</c:v>
                </c:pt>
                <c:pt idx="40351">
                  <c:v>41.938645797654083</c:v>
                </c:pt>
                <c:pt idx="40352">
                  <c:v>46.189656990426514</c:v>
                </c:pt>
                <c:pt idx="40353">
                  <c:v>26.182433557822321</c:v>
                </c:pt>
                <c:pt idx="40354">
                  <c:v>20.637552055662681</c:v>
                </c:pt>
                <c:pt idx="40355">
                  <c:v>48.501004094750868</c:v>
                </c:pt>
                <c:pt idx="40356">
                  <c:v>30.139671061022359</c:v>
                </c:pt>
                <c:pt idx="40357">
                  <c:v>42.107512679093674</c:v>
                </c:pt>
                <c:pt idx="40358">
                  <c:v>41.507733650069866</c:v>
                </c:pt>
                <c:pt idx="40359">
                  <c:v>59.380835929421835</c:v>
                </c:pt>
                <c:pt idx="40360">
                  <c:v>47.56936878843463</c:v>
                </c:pt>
                <c:pt idx="40361">
                  <c:v>30.865772042603698</c:v>
                </c:pt>
                <c:pt idx="40362">
                  <c:v>23.913610786661732</c:v>
                </c:pt>
                <c:pt idx="40363">
                  <c:v>33.92261308088591</c:v>
                </c:pt>
                <c:pt idx="40364">
                  <c:v>19.713186689347857</c:v>
                </c:pt>
                <c:pt idx="40365">
                  <c:v>29.778954835745729</c:v>
                </c:pt>
                <c:pt idx="40366">
                  <c:v>32.438787769404392</c:v>
                </c:pt>
                <c:pt idx="40367">
                  <c:v>29.28496173069653</c:v>
                </c:pt>
                <c:pt idx="40368">
                  <c:v>17.995090583908954</c:v>
                </c:pt>
                <c:pt idx="40369">
                  <c:v>40.745410179479897</c:v>
                </c:pt>
                <c:pt idx="40370">
                  <c:v>53.022230202071782</c:v>
                </c:pt>
                <c:pt idx="40371">
                  <c:v>24.860510155507558</c:v>
                </c:pt>
                <c:pt idx="40372">
                  <c:v>39.57704354307856</c:v>
                </c:pt>
                <c:pt idx="40373">
                  <c:v>27.70721419373919</c:v>
                </c:pt>
                <c:pt idx="40374">
                  <c:v>49.984954756149264</c:v>
                </c:pt>
                <c:pt idx="40375">
                  <c:v>31.212912249303542</c:v>
                </c:pt>
                <c:pt idx="40376">
                  <c:v>23.534619528782688</c:v>
                </c:pt>
                <c:pt idx="40377">
                  <c:v>27.333962532502078</c:v>
                </c:pt>
                <c:pt idx="40378">
                  <c:v>36.721737717293813</c:v>
                </c:pt>
                <c:pt idx="40379">
                  <c:v>29.844704496144395</c:v>
                </c:pt>
                <c:pt idx="40380">
                  <c:v>30.171334825867937</c:v>
                </c:pt>
                <c:pt idx="40381">
                  <c:v>40.69932439473714</c:v>
                </c:pt>
                <c:pt idx="40382">
                  <c:v>25.681567485481306</c:v>
                </c:pt>
                <c:pt idx="40383">
                  <c:v>33.168665749140573</c:v>
                </c:pt>
                <c:pt idx="40384">
                  <c:v>36.391665731720849</c:v>
                </c:pt>
                <c:pt idx="40385">
                  <c:v>27.610259659442136</c:v>
                </c:pt>
                <c:pt idx="40386">
                  <c:v>32.972211384985968</c:v>
                </c:pt>
                <c:pt idx="40387">
                  <c:v>31.643114845386901</c:v>
                </c:pt>
                <c:pt idx="40388">
                  <c:v>52.446505423487849</c:v>
                </c:pt>
                <c:pt idx="40389">
                  <c:v>26.556168924708334</c:v>
                </c:pt>
                <c:pt idx="40390">
                  <c:v>28.519752258966072</c:v>
                </c:pt>
                <c:pt idx="40391">
                  <c:v>38.802242335079058</c:v>
                </c:pt>
                <c:pt idx="40392">
                  <c:v>46.860664677877836</c:v>
                </c:pt>
                <c:pt idx="40393">
                  <c:v>31.32094772675093</c:v>
                </c:pt>
                <c:pt idx="40394">
                  <c:v>29.212323910141315</c:v>
                </c:pt>
                <c:pt idx="40395">
                  <c:v>32.419135479694134</c:v>
                </c:pt>
                <c:pt idx="40396">
                  <c:v>29.445295288290314</c:v>
                </c:pt>
                <c:pt idx="40397">
                  <c:v>35.396980987735496</c:v>
                </c:pt>
                <c:pt idx="40398">
                  <c:v>26.182164270908203</c:v>
                </c:pt>
                <c:pt idx="40399">
                  <c:v>33.15990440357043</c:v>
                </c:pt>
                <c:pt idx="40400">
                  <c:v>30.70499417850619</c:v>
                </c:pt>
                <c:pt idx="40401">
                  <c:v>52.767775223441944</c:v>
                </c:pt>
                <c:pt idx="40402">
                  <c:v>32.861217190908313</c:v>
                </c:pt>
                <c:pt idx="40403">
                  <c:v>36.162929793813191</c:v>
                </c:pt>
                <c:pt idx="40404">
                  <c:v>26.377772344957162</c:v>
                </c:pt>
                <c:pt idx="40405">
                  <c:v>26.509657544720014</c:v>
                </c:pt>
                <c:pt idx="40406">
                  <c:v>24.856493245157278</c:v>
                </c:pt>
                <c:pt idx="40407">
                  <c:v>40.119795810464211</c:v>
                </c:pt>
                <c:pt idx="40408">
                  <c:v>24.332882601285739</c:v>
                </c:pt>
                <c:pt idx="40409">
                  <c:v>23.387403921765678</c:v>
                </c:pt>
                <c:pt idx="40410">
                  <c:v>19.089252807063051</c:v>
                </c:pt>
                <c:pt idx="40411">
                  <c:v>28.905186499719527</c:v>
                </c:pt>
                <c:pt idx="40412">
                  <c:v>23.904070750562077</c:v>
                </c:pt>
                <c:pt idx="40413">
                  <c:v>23.089791657778751</c:v>
                </c:pt>
                <c:pt idx="40414">
                  <c:v>46.692606172686368</c:v>
                </c:pt>
                <c:pt idx="40415">
                  <c:v>32.523450308072924</c:v>
                </c:pt>
                <c:pt idx="40416">
                  <c:v>25.87813524387829</c:v>
                </c:pt>
                <c:pt idx="40417">
                  <c:v>16.052932482502715</c:v>
                </c:pt>
                <c:pt idx="40418">
                  <c:v>26.092651786998097</c:v>
                </c:pt>
                <c:pt idx="40419">
                  <c:v>33.092972044583362</c:v>
                </c:pt>
                <c:pt idx="40420">
                  <c:v>56.676944990407449</c:v>
                </c:pt>
                <c:pt idx="40421">
                  <c:v>22.703687562181642</c:v>
                </c:pt>
                <c:pt idx="40422">
                  <c:v>28.021270086404058</c:v>
                </c:pt>
                <c:pt idx="40423">
                  <c:v>31.059187070379195</c:v>
                </c:pt>
                <c:pt idx="40424">
                  <c:v>24.548040029714478</c:v>
                </c:pt>
                <c:pt idx="40425">
                  <c:v>34.396143998790926</c:v>
                </c:pt>
                <c:pt idx="40426">
                  <c:v>18.890326929283667</c:v>
                </c:pt>
                <c:pt idx="40427">
                  <c:v>31.603371985268279</c:v>
                </c:pt>
                <c:pt idx="40428">
                  <c:v>34.868116014436183</c:v>
                </c:pt>
                <c:pt idx="40429">
                  <c:v>32.382735205886675</c:v>
                </c:pt>
                <c:pt idx="40430">
                  <c:v>34.081179924628998</c:v>
                </c:pt>
                <c:pt idx="40431">
                  <c:v>24.373442940768026</c:v>
                </c:pt>
                <c:pt idx="40432">
                  <c:v>26.050377396409623</c:v>
                </c:pt>
                <c:pt idx="40433">
                  <c:v>56.691576169261047</c:v>
                </c:pt>
                <c:pt idx="40434">
                  <c:v>31.550590161095386</c:v>
                </c:pt>
                <c:pt idx="40435">
                  <c:v>42.921736037780697</c:v>
                </c:pt>
                <c:pt idx="40436">
                  <c:v>21.47347755940639</c:v>
                </c:pt>
                <c:pt idx="40437">
                  <c:v>29.245421868517681</c:v>
                </c:pt>
                <c:pt idx="40438">
                  <c:v>23.139080184471045</c:v>
                </c:pt>
                <c:pt idx="40439">
                  <c:v>22.652893485396099</c:v>
                </c:pt>
                <c:pt idx="40440">
                  <c:v>26.884768340579971</c:v>
                </c:pt>
                <c:pt idx="40441">
                  <c:v>28.077104423506739</c:v>
                </c:pt>
                <c:pt idx="40442">
                  <c:v>58.020112610554975</c:v>
                </c:pt>
                <c:pt idx="40443">
                  <c:v>50.880178406198155</c:v>
                </c:pt>
                <c:pt idx="40444">
                  <c:v>24.247938640857715</c:v>
                </c:pt>
                <c:pt idx="40445">
                  <c:v>29.103113003332755</c:v>
                </c:pt>
                <c:pt idx="40446">
                  <c:v>41.602001460073637</c:v>
                </c:pt>
                <c:pt idx="40447">
                  <c:v>41.435669305713382</c:v>
                </c:pt>
                <c:pt idx="40448">
                  <c:v>58.505018629660285</c:v>
                </c:pt>
                <c:pt idx="40449">
                  <c:v>30.283098669824799</c:v>
                </c:pt>
                <c:pt idx="40450">
                  <c:v>23.461940301323398</c:v>
                </c:pt>
                <c:pt idx="40451">
                  <c:v>29.377016498542396</c:v>
                </c:pt>
                <c:pt idx="40452">
                  <c:v>44.307851782322338</c:v>
                </c:pt>
                <c:pt idx="40453">
                  <c:v>24.245455074262068</c:v>
                </c:pt>
                <c:pt idx="40454">
                  <c:v>44.143813080897573</c:v>
                </c:pt>
                <c:pt idx="40455">
                  <c:v>27.650979193265087</c:v>
                </c:pt>
                <c:pt idx="40456">
                  <c:v>21.282375302563864</c:v>
                </c:pt>
                <c:pt idx="40457">
                  <c:v>49.605682229269931</c:v>
                </c:pt>
                <c:pt idx="40458">
                  <c:v>23.460010776034075</c:v>
                </c:pt>
                <c:pt idx="40459">
                  <c:v>28.7384333120776</c:v>
                </c:pt>
                <c:pt idx="40460">
                  <c:v>28.96534821943083</c:v>
                </c:pt>
                <c:pt idx="40461">
                  <c:v>27.102878978700033</c:v>
                </c:pt>
                <c:pt idx="40462">
                  <c:v>33.494549958374506</c:v>
                </c:pt>
                <c:pt idx="40463">
                  <c:v>25.215003008169774</c:v>
                </c:pt>
                <c:pt idx="40464">
                  <c:v>50.904854351494578</c:v>
                </c:pt>
                <c:pt idx="40465">
                  <c:v>33.445428631849467</c:v>
                </c:pt>
                <c:pt idx="40466">
                  <c:v>27.158240752788306</c:v>
                </c:pt>
                <c:pt idx="40467">
                  <c:v>28.724444321886232</c:v>
                </c:pt>
                <c:pt idx="40468">
                  <c:v>30.823158240335037</c:v>
                </c:pt>
                <c:pt idx="40469">
                  <c:v>40.529515654942003</c:v>
                </c:pt>
                <c:pt idx="40470">
                  <c:v>24.875082606587785</c:v>
                </c:pt>
                <c:pt idx="40471">
                  <c:v>27.291327596871788</c:v>
                </c:pt>
                <c:pt idx="40472">
                  <c:v>13.412968515140323</c:v>
                </c:pt>
                <c:pt idx="40473">
                  <c:v>35.778991708593097</c:v>
                </c:pt>
                <c:pt idx="40474">
                  <c:v>18.215434078766648</c:v>
                </c:pt>
                <c:pt idx="40475">
                  <c:v>45.567814012795452</c:v>
                </c:pt>
                <c:pt idx="40476">
                  <c:v>28.006061886637042</c:v>
                </c:pt>
                <c:pt idx="40477">
                  <c:v>36.25403689945113</c:v>
                </c:pt>
                <c:pt idx="40478">
                  <c:v>47.703314245582426</c:v>
                </c:pt>
                <c:pt idx="40479">
                  <c:v>32.357110970093082</c:v>
                </c:pt>
                <c:pt idx="40480">
                  <c:v>31.183880588569391</c:v>
                </c:pt>
                <c:pt idx="40481">
                  <c:v>28.816873618321782</c:v>
                </c:pt>
                <c:pt idx="40482">
                  <c:v>49.214791000642037</c:v>
                </c:pt>
                <c:pt idx="40483">
                  <c:v>20.781164914566006</c:v>
                </c:pt>
                <c:pt idx="40484">
                  <c:v>19.475890010650808</c:v>
                </c:pt>
                <c:pt idx="40485">
                  <c:v>21.16864406840623</c:v>
                </c:pt>
                <c:pt idx="40486">
                  <c:v>27.041936058517571</c:v>
                </c:pt>
                <c:pt idx="40487">
                  <c:v>43.737754707385477</c:v>
                </c:pt>
                <c:pt idx="40488">
                  <c:v>41.576029847646403</c:v>
                </c:pt>
                <c:pt idx="40489">
                  <c:v>26.959935146054285</c:v>
                </c:pt>
                <c:pt idx="40490">
                  <c:v>44.933922244517589</c:v>
                </c:pt>
                <c:pt idx="40491">
                  <c:v>26.927591722945287</c:v>
                </c:pt>
                <c:pt idx="40492">
                  <c:v>35.729359552799387</c:v>
                </c:pt>
                <c:pt idx="40493">
                  <c:v>22.925890772527904</c:v>
                </c:pt>
                <c:pt idx="40494">
                  <c:v>24.637697494949563</c:v>
                </c:pt>
                <c:pt idx="40495">
                  <c:v>25.958989961704063</c:v>
                </c:pt>
                <c:pt idx="40496">
                  <c:v>29.006347882855792</c:v>
                </c:pt>
                <c:pt idx="40497">
                  <c:v>39.891381231991296</c:v>
                </c:pt>
                <c:pt idx="40498">
                  <c:v>21.933573239586437</c:v>
                </c:pt>
                <c:pt idx="40499">
                  <c:v>22.698436809595037</c:v>
                </c:pt>
                <c:pt idx="40500">
                  <c:v>42.794936777752859</c:v>
                </c:pt>
                <c:pt idx="40501">
                  <c:v>20.370480592492378</c:v>
                </c:pt>
                <c:pt idx="40502">
                  <c:v>51.749386735415015</c:v>
                </c:pt>
                <c:pt idx="40503">
                  <c:v>20.590315083911271</c:v>
                </c:pt>
                <c:pt idx="40504">
                  <c:v>19.353831294812348</c:v>
                </c:pt>
                <c:pt idx="40505">
                  <c:v>18.134025473007526</c:v>
                </c:pt>
                <c:pt idx="40506">
                  <c:v>22.741534492070613</c:v>
                </c:pt>
                <c:pt idx="40507">
                  <c:v>41.748532519450201</c:v>
                </c:pt>
                <c:pt idx="40508">
                  <c:v>29.985432945191221</c:v>
                </c:pt>
                <c:pt idx="40509">
                  <c:v>31.381374246092779</c:v>
                </c:pt>
                <c:pt idx="40510">
                  <c:v>41.717073248782526</c:v>
                </c:pt>
                <c:pt idx="40511">
                  <c:v>25.817281300695967</c:v>
                </c:pt>
                <c:pt idx="40512">
                  <c:v>23.08538425678794</c:v>
                </c:pt>
                <c:pt idx="40513">
                  <c:v>53.840535542787975</c:v>
                </c:pt>
                <c:pt idx="40514">
                  <c:v>21.001218163577171</c:v>
                </c:pt>
                <c:pt idx="40515">
                  <c:v>21.464106835140729</c:v>
                </c:pt>
                <c:pt idx="40516">
                  <c:v>24.467071296109502</c:v>
                </c:pt>
                <c:pt idx="40517">
                  <c:v>22.446750976769273</c:v>
                </c:pt>
                <c:pt idx="40518">
                  <c:v>44.633676385984565</c:v>
                </c:pt>
                <c:pt idx="40519">
                  <c:v>34.884441401935689</c:v>
                </c:pt>
                <c:pt idx="40520">
                  <c:v>30.337847716514926</c:v>
                </c:pt>
                <c:pt idx="40521">
                  <c:v>19.077258526857559</c:v>
                </c:pt>
                <c:pt idx="40522">
                  <c:v>28.359012002966303</c:v>
                </c:pt>
                <c:pt idx="40523">
                  <c:v>42.727511596384375</c:v>
                </c:pt>
                <c:pt idx="40524">
                  <c:v>24.741956050838834</c:v>
                </c:pt>
                <c:pt idx="40525">
                  <c:v>23.197795661140319</c:v>
                </c:pt>
                <c:pt idx="40526">
                  <c:v>26.857453252048998</c:v>
                </c:pt>
                <c:pt idx="40527">
                  <c:v>24.470103548399596</c:v>
                </c:pt>
                <c:pt idx="40528">
                  <c:v>34.337800661706709</c:v>
                </c:pt>
                <c:pt idx="40529">
                  <c:v>32.506422414199626</c:v>
                </c:pt>
                <c:pt idx="40530">
                  <c:v>38.656293421581758</c:v>
                </c:pt>
                <c:pt idx="40531">
                  <c:v>35.29586481363387</c:v>
                </c:pt>
                <c:pt idx="40532">
                  <c:v>63.20150294868025</c:v>
                </c:pt>
                <c:pt idx="40533">
                  <c:v>28.409679112274347</c:v>
                </c:pt>
                <c:pt idx="40534">
                  <c:v>25.879685300064892</c:v>
                </c:pt>
                <c:pt idx="40535">
                  <c:v>28.219973592417773</c:v>
                </c:pt>
                <c:pt idx="40536">
                  <c:v>19.229159395362505</c:v>
                </c:pt>
                <c:pt idx="40537">
                  <c:v>22.168614351496579</c:v>
                </c:pt>
                <c:pt idx="40538">
                  <c:v>23.616791019576244</c:v>
                </c:pt>
                <c:pt idx="40539">
                  <c:v>51.575111353376627</c:v>
                </c:pt>
                <c:pt idx="40540">
                  <c:v>17.750798750588277</c:v>
                </c:pt>
                <c:pt idx="40541">
                  <c:v>18.622319009291164</c:v>
                </c:pt>
                <c:pt idx="40542">
                  <c:v>25.940772040939702</c:v>
                </c:pt>
                <c:pt idx="40543">
                  <c:v>32.46806004802081</c:v>
                </c:pt>
                <c:pt idx="40544">
                  <c:v>37.49305463386483</c:v>
                </c:pt>
                <c:pt idx="40545">
                  <c:v>26.62724569242955</c:v>
                </c:pt>
                <c:pt idx="40546">
                  <c:v>32.087204157765918</c:v>
                </c:pt>
                <c:pt idx="40547">
                  <c:v>32.871383767853146</c:v>
                </c:pt>
                <c:pt idx="40548">
                  <c:v>28.586484415948661</c:v>
                </c:pt>
                <c:pt idx="40549">
                  <c:v>56.549348669197911</c:v>
                </c:pt>
                <c:pt idx="40550">
                  <c:v>38.86852036344353</c:v>
                </c:pt>
                <c:pt idx="40551">
                  <c:v>33.177185402769766</c:v>
                </c:pt>
                <c:pt idx="40552">
                  <c:v>15.698455714093345</c:v>
                </c:pt>
                <c:pt idx="40553">
                  <c:v>22.949078145819563</c:v>
                </c:pt>
                <c:pt idx="40554">
                  <c:v>52.107930685729691</c:v>
                </c:pt>
                <c:pt idx="40555">
                  <c:v>24.444728676866681</c:v>
                </c:pt>
                <c:pt idx="40556">
                  <c:v>38.532985028282042</c:v>
                </c:pt>
                <c:pt idx="40557">
                  <c:v>43.508460307343121</c:v>
                </c:pt>
                <c:pt idx="40558">
                  <c:v>27.20750089485588</c:v>
                </c:pt>
                <c:pt idx="40559">
                  <c:v>40.572936544962147</c:v>
                </c:pt>
                <c:pt idx="40560">
                  <c:v>58.702754455821356</c:v>
                </c:pt>
                <c:pt idx="40561">
                  <c:v>27.92061828518672</c:v>
                </c:pt>
                <c:pt idx="40562">
                  <c:v>25.304893703906686</c:v>
                </c:pt>
                <c:pt idx="40563">
                  <c:v>33.252518499576233</c:v>
                </c:pt>
                <c:pt idx="40564">
                  <c:v>25.802359908786396</c:v>
                </c:pt>
                <c:pt idx="40565">
                  <c:v>34.721757411501393</c:v>
                </c:pt>
                <c:pt idx="40566">
                  <c:v>23.90190189454658</c:v>
                </c:pt>
                <c:pt idx="40567">
                  <c:v>25.843871602600956</c:v>
                </c:pt>
                <c:pt idx="40568">
                  <c:v>47.462657623658529</c:v>
                </c:pt>
                <c:pt idx="40569">
                  <c:v>28.517335836306692</c:v>
                </c:pt>
                <c:pt idx="40570">
                  <c:v>24.294316025577903</c:v>
                </c:pt>
                <c:pt idx="40571">
                  <c:v>23.404358122694191</c:v>
                </c:pt>
                <c:pt idx="40572">
                  <c:v>33.361711403043103</c:v>
                </c:pt>
                <c:pt idx="40573">
                  <c:v>29.928171104326445</c:v>
                </c:pt>
                <c:pt idx="40574">
                  <c:v>42.561468502503388</c:v>
                </c:pt>
                <c:pt idx="40575">
                  <c:v>29.513475035072616</c:v>
                </c:pt>
                <c:pt idx="40576">
                  <c:v>25.912300776770159</c:v>
                </c:pt>
                <c:pt idx="40577">
                  <c:v>38.816488733325706</c:v>
                </c:pt>
                <c:pt idx="40578">
                  <c:v>34.301341187099951</c:v>
                </c:pt>
                <c:pt idx="40579">
                  <c:v>27.491945825903027</c:v>
                </c:pt>
                <c:pt idx="40580">
                  <c:v>21.23366184497678</c:v>
                </c:pt>
                <c:pt idx="40581">
                  <c:v>27.643361331961309</c:v>
                </c:pt>
                <c:pt idx="40582">
                  <c:v>35.49670129573331</c:v>
                </c:pt>
                <c:pt idx="40583">
                  <c:v>49.169645264728075</c:v>
                </c:pt>
                <c:pt idx="40584">
                  <c:v>26.230540357051488</c:v>
                </c:pt>
                <c:pt idx="40585">
                  <c:v>20.672374856122076</c:v>
                </c:pt>
                <c:pt idx="40586">
                  <c:v>51.374867721766506</c:v>
                </c:pt>
                <c:pt idx="40587">
                  <c:v>27.040340479734326</c:v>
                </c:pt>
                <c:pt idx="40588">
                  <c:v>58.269405305897706</c:v>
                </c:pt>
                <c:pt idx="40589">
                  <c:v>49.409642818579172</c:v>
                </c:pt>
                <c:pt idx="40590">
                  <c:v>39.047138273503428</c:v>
                </c:pt>
                <c:pt idx="40591">
                  <c:v>30.369566188163883</c:v>
                </c:pt>
                <c:pt idx="40592">
                  <c:v>33.646759350523183</c:v>
                </c:pt>
                <c:pt idx="40593">
                  <c:v>31.609843083674878</c:v>
                </c:pt>
                <c:pt idx="40594">
                  <c:v>23.651554563068444</c:v>
                </c:pt>
                <c:pt idx="40595">
                  <c:v>24.523046480904</c:v>
                </c:pt>
                <c:pt idx="40596">
                  <c:v>52.65668880668099</c:v>
                </c:pt>
                <c:pt idx="40597">
                  <c:v>24.477944797394411</c:v>
                </c:pt>
                <c:pt idx="40598">
                  <c:v>21.814568099781649</c:v>
                </c:pt>
                <c:pt idx="40599">
                  <c:v>19.238599592594269</c:v>
                </c:pt>
                <c:pt idx="40600">
                  <c:v>28.25651215887142</c:v>
                </c:pt>
                <c:pt idx="40601">
                  <c:v>24.309964338758224</c:v>
                </c:pt>
                <c:pt idx="40602">
                  <c:v>32.132719263038936</c:v>
                </c:pt>
                <c:pt idx="40603">
                  <c:v>48.322027694164028</c:v>
                </c:pt>
                <c:pt idx="40604">
                  <c:v>31.473806961522733</c:v>
                </c:pt>
                <c:pt idx="40605">
                  <c:v>28.216996947645605</c:v>
                </c:pt>
                <c:pt idx="40606">
                  <c:v>29.840727860556893</c:v>
                </c:pt>
                <c:pt idx="40607">
                  <c:v>22.18621295990356</c:v>
                </c:pt>
                <c:pt idx="40608">
                  <c:v>30.794874562927109</c:v>
                </c:pt>
                <c:pt idx="40609">
                  <c:v>31.007645924704157</c:v>
                </c:pt>
                <c:pt idx="40610">
                  <c:v>28.836114148734659</c:v>
                </c:pt>
                <c:pt idx="40611">
                  <c:v>20.358326971050055</c:v>
                </c:pt>
                <c:pt idx="40612">
                  <c:v>32.941531650473046</c:v>
                </c:pt>
                <c:pt idx="40613">
                  <c:v>25.996515286959433</c:v>
                </c:pt>
                <c:pt idx="40614">
                  <c:v>46.379638394069417</c:v>
                </c:pt>
                <c:pt idx="40615">
                  <c:v>43.640566225289355</c:v>
                </c:pt>
                <c:pt idx="40616">
                  <c:v>22.726038556728199</c:v>
                </c:pt>
                <c:pt idx="40617">
                  <c:v>27.685510037236064</c:v>
                </c:pt>
                <c:pt idx="40618">
                  <c:v>20.794043522287243</c:v>
                </c:pt>
                <c:pt idx="40619">
                  <c:v>21.71804991893125</c:v>
                </c:pt>
                <c:pt idx="40620">
                  <c:v>26.640739923386136</c:v>
                </c:pt>
                <c:pt idx="40621">
                  <c:v>22.413697139491894</c:v>
                </c:pt>
                <c:pt idx="40622">
                  <c:v>25.023876085633674</c:v>
                </c:pt>
                <c:pt idx="40623">
                  <c:v>27.810811462886939</c:v>
                </c:pt>
                <c:pt idx="40624">
                  <c:v>27.129016370227799</c:v>
                </c:pt>
                <c:pt idx="40625">
                  <c:v>24.243024765332947</c:v>
                </c:pt>
                <c:pt idx="40626">
                  <c:v>23.516613943591544</c:v>
                </c:pt>
                <c:pt idx="40627">
                  <c:v>35.196712708722806</c:v>
                </c:pt>
                <c:pt idx="40628">
                  <c:v>21.938419767534288</c:v>
                </c:pt>
                <c:pt idx="40629">
                  <c:v>24.846503111142169</c:v>
                </c:pt>
                <c:pt idx="40630">
                  <c:v>24.348684727195618</c:v>
                </c:pt>
                <c:pt idx="40631">
                  <c:v>25.939402443900676</c:v>
                </c:pt>
                <c:pt idx="40632">
                  <c:v>53.858870485519525</c:v>
                </c:pt>
                <c:pt idx="40633">
                  <c:v>37.607749126966041</c:v>
                </c:pt>
                <c:pt idx="40634">
                  <c:v>43.207641275980578</c:v>
                </c:pt>
                <c:pt idx="40635">
                  <c:v>58.053174994377159</c:v>
                </c:pt>
                <c:pt idx="40636">
                  <c:v>25.899774659357604</c:v>
                </c:pt>
                <c:pt idx="40637">
                  <c:v>44.381926252743995</c:v>
                </c:pt>
                <c:pt idx="40638">
                  <c:v>22.697594009435978</c:v>
                </c:pt>
                <c:pt idx="40639">
                  <c:v>50.410619104224736</c:v>
                </c:pt>
                <c:pt idx="40640">
                  <c:v>47.578014843809214</c:v>
                </c:pt>
                <c:pt idx="40641">
                  <c:v>38.885805966699998</c:v>
                </c:pt>
                <c:pt idx="40642">
                  <c:v>27.283866588070691</c:v>
                </c:pt>
                <c:pt idx="40643">
                  <c:v>28.631322297391332</c:v>
                </c:pt>
                <c:pt idx="40644">
                  <c:v>23.972079012448972</c:v>
                </c:pt>
                <c:pt idx="40645">
                  <c:v>23.369575544503391</c:v>
                </c:pt>
                <c:pt idx="40646">
                  <c:v>38.97092578911878</c:v>
                </c:pt>
                <c:pt idx="40647">
                  <c:v>19.611146062654367</c:v>
                </c:pt>
                <c:pt idx="40648">
                  <c:v>25.533705796103288</c:v>
                </c:pt>
                <c:pt idx="40649">
                  <c:v>46.84293191358914</c:v>
                </c:pt>
                <c:pt idx="40650">
                  <c:v>23.073372691529023</c:v>
                </c:pt>
                <c:pt idx="40651">
                  <c:v>24.701852420849328</c:v>
                </c:pt>
                <c:pt idx="40652">
                  <c:v>51.787922970571451</c:v>
                </c:pt>
                <c:pt idx="40653">
                  <c:v>27.422382061978112</c:v>
                </c:pt>
                <c:pt idx="40654">
                  <c:v>19.120401961806547</c:v>
                </c:pt>
                <c:pt idx="40655">
                  <c:v>20.414846274863308</c:v>
                </c:pt>
                <c:pt idx="40656">
                  <c:v>32.940780016359192</c:v>
                </c:pt>
                <c:pt idx="40657">
                  <c:v>46.442809206643489</c:v>
                </c:pt>
                <c:pt idx="40658">
                  <c:v>20.562483637034667</c:v>
                </c:pt>
                <c:pt idx="40659">
                  <c:v>19.774032899557533</c:v>
                </c:pt>
                <c:pt idx="40660">
                  <c:v>31.277302801275223</c:v>
                </c:pt>
                <c:pt idx="40661">
                  <c:v>25.231401305877895</c:v>
                </c:pt>
                <c:pt idx="40662">
                  <c:v>29.881213488471353</c:v>
                </c:pt>
                <c:pt idx="40663">
                  <c:v>48.363943393372821</c:v>
                </c:pt>
                <c:pt idx="40664">
                  <c:v>24.931454486107555</c:v>
                </c:pt>
                <c:pt idx="40665">
                  <c:v>28.997483259366639</c:v>
                </c:pt>
                <c:pt idx="40666">
                  <c:v>16.229799881491491</c:v>
                </c:pt>
                <c:pt idx="40667">
                  <c:v>48.309832848289567</c:v>
                </c:pt>
                <c:pt idx="40668">
                  <c:v>39.07834422687533</c:v>
                </c:pt>
                <c:pt idx="40669">
                  <c:v>35.074800993499217</c:v>
                </c:pt>
                <c:pt idx="40670">
                  <c:v>18.158905856861097</c:v>
                </c:pt>
                <c:pt idx="40671">
                  <c:v>37.895840575353333</c:v>
                </c:pt>
                <c:pt idx="40672">
                  <c:v>14.491353805863648</c:v>
                </c:pt>
                <c:pt idx="40673">
                  <c:v>49.402837922725773</c:v>
                </c:pt>
                <c:pt idx="40674">
                  <c:v>33.755640084608643</c:v>
                </c:pt>
                <c:pt idx="40675">
                  <c:v>28.029681354641774</c:v>
                </c:pt>
                <c:pt idx="40676">
                  <c:v>50.951607706330002</c:v>
                </c:pt>
                <c:pt idx="40677">
                  <c:v>25.853182426512475</c:v>
                </c:pt>
                <c:pt idx="40678">
                  <c:v>35.457653569038641</c:v>
                </c:pt>
                <c:pt idx="40679">
                  <c:v>30.63084526593877</c:v>
                </c:pt>
                <c:pt idx="40680">
                  <c:v>30.876188278011224</c:v>
                </c:pt>
                <c:pt idx="40681">
                  <c:v>30.350657104733518</c:v>
                </c:pt>
                <c:pt idx="40682">
                  <c:v>26.546665939190973</c:v>
                </c:pt>
                <c:pt idx="40683">
                  <c:v>30.006982874435291</c:v>
                </c:pt>
                <c:pt idx="40684">
                  <c:v>20.813626542996037</c:v>
                </c:pt>
                <c:pt idx="40685">
                  <c:v>32.015907362442725</c:v>
                </c:pt>
                <c:pt idx="40686">
                  <c:v>48.322390674033649</c:v>
                </c:pt>
                <c:pt idx="40687">
                  <c:v>20.037161581866805</c:v>
                </c:pt>
                <c:pt idx="40688">
                  <c:v>23.493813550792268</c:v>
                </c:pt>
                <c:pt idx="40689">
                  <c:v>28.671342932936124</c:v>
                </c:pt>
                <c:pt idx="40690">
                  <c:v>16.322982127010675</c:v>
                </c:pt>
                <c:pt idx="40691">
                  <c:v>55.351275362439566</c:v>
                </c:pt>
                <c:pt idx="40692">
                  <c:v>27.940290436485249</c:v>
                </c:pt>
                <c:pt idx="40693">
                  <c:v>40.240871610769965</c:v>
                </c:pt>
                <c:pt idx="40694">
                  <c:v>28.372249322716293</c:v>
                </c:pt>
                <c:pt idx="40695">
                  <c:v>36.520449555654459</c:v>
                </c:pt>
                <c:pt idx="40696">
                  <c:v>23.659412365003675</c:v>
                </c:pt>
                <c:pt idx="40697">
                  <c:v>18.566587174141763</c:v>
                </c:pt>
                <c:pt idx="40698">
                  <c:v>19.156376338524019</c:v>
                </c:pt>
                <c:pt idx="40699">
                  <c:v>41.98469504565518</c:v>
                </c:pt>
                <c:pt idx="40700">
                  <c:v>19.451849662023911</c:v>
                </c:pt>
                <c:pt idx="40701">
                  <c:v>25.767822399298129</c:v>
                </c:pt>
                <c:pt idx="40702">
                  <c:v>48.438243955350188</c:v>
                </c:pt>
                <c:pt idx="40703">
                  <c:v>25.677550369464939</c:v>
                </c:pt>
                <c:pt idx="40704">
                  <c:v>22.710644244068707</c:v>
                </c:pt>
                <c:pt idx="40705">
                  <c:v>26.983722895489706</c:v>
                </c:pt>
                <c:pt idx="40706">
                  <c:v>33.334371100883807</c:v>
                </c:pt>
                <c:pt idx="40707">
                  <c:v>30.555637598612947</c:v>
                </c:pt>
                <c:pt idx="40708">
                  <c:v>33.053109085737312</c:v>
                </c:pt>
                <c:pt idx="40709">
                  <c:v>33.04256922776635</c:v>
                </c:pt>
                <c:pt idx="40710">
                  <c:v>53.131248040464982</c:v>
                </c:pt>
                <c:pt idx="40711">
                  <c:v>16.65369966596559</c:v>
                </c:pt>
                <c:pt idx="40712">
                  <c:v>32.373231098855243</c:v>
                </c:pt>
                <c:pt idx="40713">
                  <c:v>23.743138416537523</c:v>
                </c:pt>
                <c:pt idx="40714">
                  <c:v>48.294856786732232</c:v>
                </c:pt>
                <c:pt idx="40715">
                  <c:v>22.635906718815864</c:v>
                </c:pt>
                <c:pt idx="40716">
                  <c:v>21.179794025580545</c:v>
                </c:pt>
                <c:pt idx="40717">
                  <c:v>33.692969963706723</c:v>
                </c:pt>
                <c:pt idx="40718">
                  <c:v>25.454864361250024</c:v>
                </c:pt>
                <c:pt idx="40719">
                  <c:v>28.910621664758615</c:v>
                </c:pt>
                <c:pt idx="40720">
                  <c:v>23.842986681696949</c:v>
                </c:pt>
                <c:pt idx="40721">
                  <c:v>50.438144115812825</c:v>
                </c:pt>
                <c:pt idx="40722">
                  <c:v>34.390333913474635</c:v>
                </c:pt>
                <c:pt idx="40723">
                  <c:v>23.234231983951013</c:v>
                </c:pt>
                <c:pt idx="40724">
                  <c:v>23.310741608173306</c:v>
                </c:pt>
                <c:pt idx="40725">
                  <c:v>45.89332472949534</c:v>
                </c:pt>
                <c:pt idx="40726">
                  <c:v>44.426939491206937</c:v>
                </c:pt>
                <c:pt idx="40727">
                  <c:v>35.510865601845573</c:v>
                </c:pt>
                <c:pt idx="40728">
                  <c:v>31.091331146409384</c:v>
                </c:pt>
                <c:pt idx="40729">
                  <c:v>51.507716784358827</c:v>
                </c:pt>
                <c:pt idx="40730">
                  <c:v>45.331614877416541</c:v>
                </c:pt>
                <c:pt idx="40731">
                  <c:v>29.965272697601542</c:v>
                </c:pt>
                <c:pt idx="40732">
                  <c:v>19.279911461754299</c:v>
                </c:pt>
                <c:pt idx="40733">
                  <c:v>25.44174585295983</c:v>
                </c:pt>
                <c:pt idx="40734">
                  <c:v>35.898571853094502</c:v>
                </c:pt>
                <c:pt idx="40735">
                  <c:v>26.774149677014428</c:v>
                </c:pt>
                <c:pt idx="40736">
                  <c:v>35.226631261033575</c:v>
                </c:pt>
                <c:pt idx="40737">
                  <c:v>32.275616543866413</c:v>
                </c:pt>
                <c:pt idx="40738">
                  <c:v>36.823250454335685</c:v>
                </c:pt>
                <c:pt idx="40739">
                  <c:v>29.641683269317195</c:v>
                </c:pt>
                <c:pt idx="40740">
                  <c:v>24.368468836385539</c:v>
                </c:pt>
                <c:pt idx="40741">
                  <c:v>30.785616278248085</c:v>
                </c:pt>
                <c:pt idx="40742">
                  <c:v>27.705235134435473</c:v>
                </c:pt>
                <c:pt idx="40743">
                  <c:v>44.980246554027154</c:v>
                </c:pt>
                <c:pt idx="40744">
                  <c:v>34.22861804598633</c:v>
                </c:pt>
                <c:pt idx="40745">
                  <c:v>28.980348885603835</c:v>
                </c:pt>
                <c:pt idx="40746">
                  <c:v>39.218525274297484</c:v>
                </c:pt>
                <c:pt idx="40747">
                  <c:v>16.880052808415215</c:v>
                </c:pt>
                <c:pt idx="40748">
                  <c:v>31.988324137554084</c:v>
                </c:pt>
                <c:pt idx="40749">
                  <c:v>55.22776847533688</c:v>
                </c:pt>
                <c:pt idx="40750">
                  <c:v>43.272269193722217</c:v>
                </c:pt>
                <c:pt idx="40751">
                  <c:v>44.688208349741828</c:v>
                </c:pt>
                <c:pt idx="40752">
                  <c:v>30.74488014360249</c:v>
                </c:pt>
                <c:pt idx="40753">
                  <c:v>51.870243521236851</c:v>
                </c:pt>
                <c:pt idx="40754">
                  <c:v>24.424049069488799</c:v>
                </c:pt>
                <c:pt idx="40755">
                  <c:v>39.886416574295836</c:v>
                </c:pt>
                <c:pt idx="40756">
                  <c:v>58.4201302259507</c:v>
                </c:pt>
                <c:pt idx="40757">
                  <c:v>50.731003109178232</c:v>
                </c:pt>
                <c:pt idx="40758">
                  <c:v>23.493249890227457</c:v>
                </c:pt>
                <c:pt idx="40759">
                  <c:v>32.086810105559742</c:v>
                </c:pt>
                <c:pt idx="40760">
                  <c:v>26.639201141738763</c:v>
                </c:pt>
                <c:pt idx="40761">
                  <c:v>25.381474910153678</c:v>
                </c:pt>
                <c:pt idx="40762">
                  <c:v>31.1209576339227</c:v>
                </c:pt>
                <c:pt idx="40763">
                  <c:v>43.563179080456578</c:v>
                </c:pt>
                <c:pt idx="40764">
                  <c:v>27.359722689214795</c:v>
                </c:pt>
                <c:pt idx="40765">
                  <c:v>21.879319578802722</c:v>
                </c:pt>
                <c:pt idx="40766">
                  <c:v>30.843799248228233</c:v>
                </c:pt>
                <c:pt idx="40767">
                  <c:v>27.464707417051606</c:v>
                </c:pt>
                <c:pt idx="40768">
                  <c:v>37.236808892646962</c:v>
                </c:pt>
                <c:pt idx="40769">
                  <c:v>49.185078031559563</c:v>
                </c:pt>
                <c:pt idx="40770">
                  <c:v>40.118209608898475</c:v>
                </c:pt>
                <c:pt idx="40771">
                  <c:v>55.307323548131414</c:v>
                </c:pt>
                <c:pt idx="40772">
                  <c:v>25.112728010128492</c:v>
                </c:pt>
                <c:pt idx="40773">
                  <c:v>30.958486552228578</c:v>
                </c:pt>
                <c:pt idx="40774">
                  <c:v>25.575401926043639</c:v>
                </c:pt>
                <c:pt idx="40775">
                  <c:v>28.501057893185269</c:v>
                </c:pt>
                <c:pt idx="40776">
                  <c:v>48.583574286690521</c:v>
                </c:pt>
                <c:pt idx="40777">
                  <c:v>26.35522619579087</c:v>
                </c:pt>
                <c:pt idx="40778">
                  <c:v>25.881578681624347</c:v>
                </c:pt>
                <c:pt idx="40779">
                  <c:v>23.374812683707489</c:v>
                </c:pt>
                <c:pt idx="40780">
                  <c:v>19.800368124084297</c:v>
                </c:pt>
                <c:pt idx="40781">
                  <c:v>54.898923129515559</c:v>
                </c:pt>
                <c:pt idx="40782">
                  <c:v>30.180073384893106</c:v>
                </c:pt>
                <c:pt idx="40783">
                  <c:v>18.01370929866383</c:v>
                </c:pt>
                <c:pt idx="40784">
                  <c:v>30.389763033956214</c:v>
                </c:pt>
                <c:pt idx="40785">
                  <c:v>53.84828511298997</c:v>
                </c:pt>
                <c:pt idx="40786">
                  <c:v>25.46522708829384</c:v>
                </c:pt>
                <c:pt idx="40787">
                  <c:v>28.290372434755035</c:v>
                </c:pt>
                <c:pt idx="40788">
                  <c:v>26.881962738079903</c:v>
                </c:pt>
                <c:pt idx="40789">
                  <c:v>31.127739355165279</c:v>
                </c:pt>
                <c:pt idx="40790">
                  <c:v>48.88975012489594</c:v>
                </c:pt>
                <c:pt idx="40791">
                  <c:v>22.343257349929534</c:v>
                </c:pt>
                <c:pt idx="40792">
                  <c:v>31.063748458562735</c:v>
                </c:pt>
                <c:pt idx="40793">
                  <c:v>24.214013606844386</c:v>
                </c:pt>
                <c:pt idx="40794">
                  <c:v>37.893240182843712</c:v>
                </c:pt>
                <c:pt idx="40795">
                  <c:v>50.018625516238565</c:v>
                </c:pt>
                <c:pt idx="40796">
                  <c:v>24.989906826245928</c:v>
                </c:pt>
                <c:pt idx="40797">
                  <c:v>22.400232322052801</c:v>
                </c:pt>
                <c:pt idx="40798">
                  <c:v>28.545975482029728</c:v>
                </c:pt>
                <c:pt idx="40799">
                  <c:v>25.947550639551974</c:v>
                </c:pt>
                <c:pt idx="40800">
                  <c:v>27.183349140047223</c:v>
                </c:pt>
                <c:pt idx="40801">
                  <c:v>24.832352966384406</c:v>
                </c:pt>
                <c:pt idx="40802">
                  <c:v>44.949227722292079</c:v>
                </c:pt>
                <c:pt idx="40803">
                  <c:v>46.034541437176586</c:v>
                </c:pt>
                <c:pt idx="40804">
                  <c:v>23.070862777326127</c:v>
                </c:pt>
                <c:pt idx="40805">
                  <c:v>23.405324786648055</c:v>
                </c:pt>
                <c:pt idx="40806">
                  <c:v>32.785641158893903</c:v>
                </c:pt>
                <c:pt idx="40807">
                  <c:v>49.920956279656906</c:v>
                </c:pt>
                <c:pt idx="40808">
                  <c:v>27.277975192989306</c:v>
                </c:pt>
                <c:pt idx="40809">
                  <c:v>48.640247041479796</c:v>
                </c:pt>
                <c:pt idx="40810">
                  <c:v>30.545774976467818</c:v>
                </c:pt>
                <c:pt idx="40811">
                  <c:v>20.545244786285615</c:v>
                </c:pt>
                <c:pt idx="40812">
                  <c:v>39.080937038893502</c:v>
                </c:pt>
                <c:pt idx="40813">
                  <c:v>29.726128761838233</c:v>
                </c:pt>
                <c:pt idx="40814">
                  <c:v>54.921618392059017</c:v>
                </c:pt>
                <c:pt idx="40815">
                  <c:v>46.788891175729702</c:v>
                </c:pt>
                <c:pt idx="40816">
                  <c:v>28.309039748145501</c:v>
                </c:pt>
                <c:pt idx="40817">
                  <c:v>24.148511401177192</c:v>
                </c:pt>
                <c:pt idx="40818">
                  <c:v>29.509618601806761</c:v>
                </c:pt>
                <c:pt idx="40819">
                  <c:v>29.73425122644263</c:v>
                </c:pt>
                <c:pt idx="40820">
                  <c:v>35.057436518838443</c:v>
                </c:pt>
                <c:pt idx="40821">
                  <c:v>45.682554809572061</c:v>
                </c:pt>
                <c:pt idx="40822">
                  <c:v>25.321578360449699</c:v>
                </c:pt>
                <c:pt idx="40823">
                  <c:v>28.2054490573145</c:v>
                </c:pt>
                <c:pt idx="40824">
                  <c:v>29.860665609271042</c:v>
                </c:pt>
                <c:pt idx="40825">
                  <c:v>27.858523432755401</c:v>
                </c:pt>
                <c:pt idx="40826">
                  <c:v>36.834266306752333</c:v>
                </c:pt>
                <c:pt idx="40827">
                  <c:v>21.471983379548924</c:v>
                </c:pt>
                <c:pt idx="40828">
                  <c:v>19.091213603331468</c:v>
                </c:pt>
                <c:pt idx="40829">
                  <c:v>26.378916345938439</c:v>
                </c:pt>
                <c:pt idx="40830">
                  <c:v>23.993965134019383</c:v>
                </c:pt>
                <c:pt idx="40831">
                  <c:v>21.737879356252545</c:v>
                </c:pt>
                <c:pt idx="40832">
                  <c:v>18.784222470028286</c:v>
                </c:pt>
                <c:pt idx="40833">
                  <c:v>21.456443407731861</c:v>
                </c:pt>
                <c:pt idx="40834">
                  <c:v>25.697949664062936</c:v>
                </c:pt>
                <c:pt idx="40835">
                  <c:v>26.102128642325095</c:v>
                </c:pt>
                <c:pt idx="40836">
                  <c:v>30.939603563992833</c:v>
                </c:pt>
                <c:pt idx="40837">
                  <c:v>26.6392175653361</c:v>
                </c:pt>
                <c:pt idx="40838">
                  <c:v>47.788138824482495</c:v>
                </c:pt>
                <c:pt idx="40839">
                  <c:v>21.92093136012571</c:v>
                </c:pt>
                <c:pt idx="40840">
                  <c:v>26.468446574487242</c:v>
                </c:pt>
                <c:pt idx="40841">
                  <c:v>49.028219794333737</c:v>
                </c:pt>
                <c:pt idx="40842">
                  <c:v>26.456990883029835</c:v>
                </c:pt>
                <c:pt idx="40843">
                  <c:v>44.296249711862885</c:v>
                </c:pt>
                <c:pt idx="40844">
                  <c:v>26.049821108605741</c:v>
                </c:pt>
                <c:pt idx="40845">
                  <c:v>24.087029549637574</c:v>
                </c:pt>
                <c:pt idx="40846">
                  <c:v>24.352232632190987</c:v>
                </c:pt>
                <c:pt idx="40847">
                  <c:v>47.947788431422154</c:v>
                </c:pt>
                <c:pt idx="40848">
                  <c:v>38.428334514816264</c:v>
                </c:pt>
                <c:pt idx="40849">
                  <c:v>20.77212363791471</c:v>
                </c:pt>
                <c:pt idx="40850">
                  <c:v>20.403319102591677</c:v>
                </c:pt>
                <c:pt idx="40851">
                  <c:v>29.211694627846207</c:v>
                </c:pt>
                <c:pt idx="40852">
                  <c:v>53.552951609715763</c:v>
                </c:pt>
                <c:pt idx="40853">
                  <c:v>31.18093940029101</c:v>
                </c:pt>
                <c:pt idx="40854">
                  <c:v>26.074218122795038</c:v>
                </c:pt>
                <c:pt idx="40855">
                  <c:v>26.363334432853485</c:v>
                </c:pt>
                <c:pt idx="40856">
                  <c:v>30.455578994826617</c:v>
                </c:pt>
                <c:pt idx="40857">
                  <c:v>29.981357091981394</c:v>
                </c:pt>
                <c:pt idx="40858">
                  <c:v>23.944652158091763</c:v>
                </c:pt>
                <c:pt idx="40859">
                  <c:v>21.099510343310026</c:v>
                </c:pt>
                <c:pt idx="40860">
                  <c:v>26.699100698977347</c:v>
                </c:pt>
                <c:pt idx="40861">
                  <c:v>26.272425841443802</c:v>
                </c:pt>
                <c:pt idx="40862">
                  <c:v>24.582833674862417</c:v>
                </c:pt>
                <c:pt idx="40863">
                  <c:v>40.599854954838605</c:v>
                </c:pt>
                <c:pt idx="40864">
                  <c:v>22.46870847471904</c:v>
                </c:pt>
                <c:pt idx="40865">
                  <c:v>51.24651916872871</c:v>
                </c:pt>
                <c:pt idx="40866">
                  <c:v>24.818802605368809</c:v>
                </c:pt>
                <c:pt idx="40867">
                  <c:v>41.202858838747126</c:v>
                </c:pt>
                <c:pt idx="40868">
                  <c:v>19.894637488333341</c:v>
                </c:pt>
                <c:pt idx="40869">
                  <c:v>31.634335248522046</c:v>
                </c:pt>
                <c:pt idx="40870">
                  <c:v>49.421085036422234</c:v>
                </c:pt>
                <c:pt idx="40871">
                  <c:v>39.665134802447973</c:v>
                </c:pt>
                <c:pt idx="40872">
                  <c:v>30.352951560670441</c:v>
                </c:pt>
                <c:pt idx="40873">
                  <c:v>29.206337750499124</c:v>
                </c:pt>
                <c:pt idx="40874">
                  <c:v>40.1045308393917</c:v>
                </c:pt>
                <c:pt idx="40875">
                  <c:v>42.760428234534629</c:v>
                </c:pt>
                <c:pt idx="40876">
                  <c:v>29.100286334440309</c:v>
                </c:pt>
                <c:pt idx="40877">
                  <c:v>26.933863246349517</c:v>
                </c:pt>
                <c:pt idx="40878">
                  <c:v>21.299532469912197</c:v>
                </c:pt>
                <c:pt idx="40879">
                  <c:v>32.79635894898243</c:v>
                </c:pt>
                <c:pt idx="40880">
                  <c:v>28.122956375009601</c:v>
                </c:pt>
                <c:pt idx="40881">
                  <c:v>44.521740799729031</c:v>
                </c:pt>
                <c:pt idx="40882">
                  <c:v>24.40729231056898</c:v>
                </c:pt>
                <c:pt idx="40883">
                  <c:v>42.122373810139528</c:v>
                </c:pt>
                <c:pt idx="40884">
                  <c:v>25.051969774170548</c:v>
                </c:pt>
                <c:pt idx="40885">
                  <c:v>45.793064296626383</c:v>
                </c:pt>
                <c:pt idx="40886">
                  <c:v>45.224391494352993</c:v>
                </c:pt>
                <c:pt idx="40887">
                  <c:v>35.301459732927178</c:v>
                </c:pt>
                <c:pt idx="40888">
                  <c:v>37.715351214427074</c:v>
                </c:pt>
                <c:pt idx="40889">
                  <c:v>25.321980334292768</c:v>
                </c:pt>
                <c:pt idx="40890">
                  <c:v>37.982264248963673</c:v>
                </c:pt>
                <c:pt idx="40891">
                  <c:v>24.491092957319694</c:v>
                </c:pt>
                <c:pt idx="40892">
                  <c:v>26.429512346885634</c:v>
                </c:pt>
                <c:pt idx="40893">
                  <c:v>38.444668261433435</c:v>
                </c:pt>
                <c:pt idx="40894">
                  <c:v>28.490398168683353</c:v>
                </c:pt>
                <c:pt idx="40895">
                  <c:v>37.111147015917588</c:v>
                </c:pt>
                <c:pt idx="40896">
                  <c:v>36.293008615364464</c:v>
                </c:pt>
                <c:pt idx="40897">
                  <c:v>21.713316120004485</c:v>
                </c:pt>
                <c:pt idx="40898">
                  <c:v>29.130029694972439</c:v>
                </c:pt>
                <c:pt idx="40899">
                  <c:v>27.896839261853771</c:v>
                </c:pt>
                <c:pt idx="40900">
                  <c:v>24.87909035686539</c:v>
                </c:pt>
                <c:pt idx="40901">
                  <c:v>23.860281335212044</c:v>
                </c:pt>
                <c:pt idx="40902">
                  <c:v>29.938512130522074</c:v>
                </c:pt>
                <c:pt idx="40903">
                  <c:v>31.02449127538404</c:v>
                </c:pt>
                <c:pt idx="40904">
                  <c:v>20.461721414957722</c:v>
                </c:pt>
                <c:pt idx="40905">
                  <c:v>31.128747241173006</c:v>
                </c:pt>
                <c:pt idx="40906">
                  <c:v>16.472156960578882</c:v>
                </c:pt>
                <c:pt idx="40907">
                  <c:v>30.088531750386508</c:v>
                </c:pt>
                <c:pt idx="40908">
                  <c:v>23.709091883510084</c:v>
                </c:pt>
                <c:pt idx="40909">
                  <c:v>24.960030911672387</c:v>
                </c:pt>
                <c:pt idx="40910">
                  <c:v>59.602120429216967</c:v>
                </c:pt>
                <c:pt idx="40911">
                  <c:v>32.594418505359236</c:v>
                </c:pt>
                <c:pt idx="40912">
                  <c:v>49.474703217376366</c:v>
                </c:pt>
                <c:pt idx="40913">
                  <c:v>46.087074193336051</c:v>
                </c:pt>
                <c:pt idx="40914">
                  <c:v>22.034069700996824</c:v>
                </c:pt>
                <c:pt idx="40915">
                  <c:v>25.308331945557718</c:v>
                </c:pt>
                <c:pt idx="40916">
                  <c:v>52.164716312060577</c:v>
                </c:pt>
                <c:pt idx="40917">
                  <c:v>43.459298778191737</c:v>
                </c:pt>
                <c:pt idx="40918">
                  <c:v>22.628226636643138</c:v>
                </c:pt>
                <c:pt idx="40919">
                  <c:v>16.373723913471451</c:v>
                </c:pt>
                <c:pt idx="40920">
                  <c:v>26.981198754215018</c:v>
                </c:pt>
                <c:pt idx="40921">
                  <c:v>31.560077834569128</c:v>
                </c:pt>
                <c:pt idx="40922">
                  <c:v>45.634441300457929</c:v>
                </c:pt>
                <c:pt idx="40923">
                  <c:v>18.695997829540381</c:v>
                </c:pt>
                <c:pt idx="40924">
                  <c:v>19.074012067654177</c:v>
                </c:pt>
                <c:pt idx="40925">
                  <c:v>48.663812039724391</c:v>
                </c:pt>
                <c:pt idx="40926">
                  <c:v>24.64803729229028</c:v>
                </c:pt>
                <c:pt idx="40927">
                  <c:v>52.220874787897912</c:v>
                </c:pt>
                <c:pt idx="40928">
                  <c:v>21.437458718035778</c:v>
                </c:pt>
                <c:pt idx="40929">
                  <c:v>42.817078502216837</c:v>
                </c:pt>
                <c:pt idx="40930">
                  <c:v>25.258513760793996</c:v>
                </c:pt>
                <c:pt idx="40931">
                  <c:v>38.872711687334096</c:v>
                </c:pt>
                <c:pt idx="40932">
                  <c:v>25.255249097119869</c:v>
                </c:pt>
                <c:pt idx="40933">
                  <c:v>20.119177977092193</c:v>
                </c:pt>
                <c:pt idx="40934">
                  <c:v>28.591999672181942</c:v>
                </c:pt>
                <c:pt idx="40935">
                  <c:v>22.420460152911343</c:v>
                </c:pt>
                <c:pt idx="40936">
                  <c:v>29.164460775448934</c:v>
                </c:pt>
                <c:pt idx="40937">
                  <c:v>28.551516686418051</c:v>
                </c:pt>
                <c:pt idx="40938">
                  <c:v>54.743123194190645</c:v>
                </c:pt>
                <c:pt idx="40939">
                  <c:v>27.286958636341812</c:v>
                </c:pt>
                <c:pt idx="40940">
                  <c:v>41.03525104258425</c:v>
                </c:pt>
                <c:pt idx="40941">
                  <c:v>32.324040063182409</c:v>
                </c:pt>
                <c:pt idx="40942">
                  <c:v>26.7230878801088</c:v>
                </c:pt>
                <c:pt idx="40943">
                  <c:v>45.686255711049775</c:v>
                </c:pt>
                <c:pt idx="40944">
                  <c:v>21.132210343157908</c:v>
                </c:pt>
                <c:pt idx="40945">
                  <c:v>23.528607776928808</c:v>
                </c:pt>
                <c:pt idx="40946">
                  <c:v>35.030368487258762</c:v>
                </c:pt>
                <c:pt idx="40947">
                  <c:v>26.801142409475712</c:v>
                </c:pt>
                <c:pt idx="40948">
                  <c:v>28.405432055147678</c:v>
                </c:pt>
                <c:pt idx="40949">
                  <c:v>52.226402250177188</c:v>
                </c:pt>
                <c:pt idx="40950">
                  <c:v>25.290428893170052</c:v>
                </c:pt>
                <c:pt idx="40951">
                  <c:v>21.028752833374437</c:v>
                </c:pt>
                <c:pt idx="40952">
                  <c:v>26.144774195280831</c:v>
                </c:pt>
                <c:pt idx="40953">
                  <c:v>26.418087789226597</c:v>
                </c:pt>
                <c:pt idx="40954">
                  <c:v>24.63409502726774</c:v>
                </c:pt>
                <c:pt idx="40955">
                  <c:v>26.192819320067358</c:v>
                </c:pt>
                <c:pt idx="40956">
                  <c:v>29.086217604847526</c:v>
                </c:pt>
                <c:pt idx="40957">
                  <c:v>27.241129588326775</c:v>
                </c:pt>
                <c:pt idx="40958">
                  <c:v>27.01021398342986</c:v>
                </c:pt>
                <c:pt idx="40959">
                  <c:v>33.474408049918992</c:v>
                </c:pt>
                <c:pt idx="40960">
                  <c:v>26.650931665156264</c:v>
                </c:pt>
                <c:pt idx="40961">
                  <c:v>23.773307957747868</c:v>
                </c:pt>
                <c:pt idx="40962">
                  <c:v>26.242119650523062</c:v>
                </c:pt>
                <c:pt idx="40963">
                  <c:v>29.697686518093548</c:v>
                </c:pt>
                <c:pt idx="40964">
                  <c:v>22.739643116096335</c:v>
                </c:pt>
                <c:pt idx="40965">
                  <c:v>23.35761465370059</c:v>
                </c:pt>
                <c:pt idx="40966">
                  <c:v>29.570283065383848</c:v>
                </c:pt>
                <c:pt idx="40967">
                  <c:v>34.465051299170334</c:v>
                </c:pt>
                <c:pt idx="40968">
                  <c:v>34.025990005421008</c:v>
                </c:pt>
                <c:pt idx="40969">
                  <c:v>21.04827245223882</c:v>
                </c:pt>
                <c:pt idx="40970">
                  <c:v>23.65190660319707</c:v>
                </c:pt>
                <c:pt idx="40971">
                  <c:v>32.886284698218333</c:v>
                </c:pt>
                <c:pt idx="40972">
                  <c:v>35.91527412199585</c:v>
                </c:pt>
                <c:pt idx="40973">
                  <c:v>19.868013989893573</c:v>
                </c:pt>
                <c:pt idx="40974">
                  <c:v>22.560089658476954</c:v>
                </c:pt>
                <c:pt idx="40975">
                  <c:v>42.475696462024665</c:v>
                </c:pt>
                <c:pt idx="40976">
                  <c:v>27.224633842365403</c:v>
                </c:pt>
                <c:pt idx="40977">
                  <c:v>31.537640672043427</c:v>
                </c:pt>
                <c:pt idx="40978">
                  <c:v>44.699961012388826</c:v>
                </c:pt>
                <c:pt idx="40979">
                  <c:v>45.189893697591572</c:v>
                </c:pt>
                <c:pt idx="40980">
                  <c:v>33.43245548085109</c:v>
                </c:pt>
                <c:pt idx="40981">
                  <c:v>19.363369885851114</c:v>
                </c:pt>
                <c:pt idx="40982">
                  <c:v>21.58966390286243</c:v>
                </c:pt>
                <c:pt idx="40983">
                  <c:v>46.680384748949457</c:v>
                </c:pt>
                <c:pt idx="40984">
                  <c:v>33.181613143494118</c:v>
                </c:pt>
                <c:pt idx="40985">
                  <c:v>27.003437462481436</c:v>
                </c:pt>
                <c:pt idx="40986">
                  <c:v>31.373126357207791</c:v>
                </c:pt>
                <c:pt idx="40987">
                  <c:v>28.045138398912343</c:v>
                </c:pt>
                <c:pt idx="40988">
                  <c:v>26.542579550115093</c:v>
                </c:pt>
                <c:pt idx="40989">
                  <c:v>23.950751567402438</c:v>
                </c:pt>
                <c:pt idx="40990">
                  <c:v>24.415975437458076</c:v>
                </c:pt>
                <c:pt idx="40991">
                  <c:v>32.834596025649162</c:v>
                </c:pt>
                <c:pt idx="40992">
                  <c:v>23.590474601278235</c:v>
                </c:pt>
                <c:pt idx="40993">
                  <c:v>23.206907607211782</c:v>
                </c:pt>
                <c:pt idx="40994">
                  <c:v>25.949407731183364</c:v>
                </c:pt>
                <c:pt idx="40995">
                  <c:v>49.95166117799441</c:v>
                </c:pt>
                <c:pt idx="40996">
                  <c:v>29.452690053954289</c:v>
                </c:pt>
                <c:pt idx="40997">
                  <c:v>34.281417993223485</c:v>
                </c:pt>
                <c:pt idx="40998">
                  <c:v>52.795980860646097</c:v>
                </c:pt>
                <c:pt idx="40999">
                  <c:v>32.556018096302722</c:v>
                </c:pt>
                <c:pt idx="41000">
                  <c:v>27.970464313320125</c:v>
                </c:pt>
                <c:pt idx="41001">
                  <c:v>23.208094452647032</c:v>
                </c:pt>
                <c:pt idx="41002">
                  <c:v>30.575444777559003</c:v>
                </c:pt>
                <c:pt idx="41003">
                  <c:v>53.839649542056108</c:v>
                </c:pt>
                <c:pt idx="41004">
                  <c:v>30.217949890498186</c:v>
                </c:pt>
                <c:pt idx="41005">
                  <c:v>23.559419837763674</c:v>
                </c:pt>
                <c:pt idx="41006">
                  <c:v>28.966187246884747</c:v>
                </c:pt>
                <c:pt idx="41007">
                  <c:v>22.383442072792054</c:v>
                </c:pt>
                <c:pt idx="41008">
                  <c:v>19.806422505418524</c:v>
                </c:pt>
                <c:pt idx="41009">
                  <c:v>28.097533834592884</c:v>
                </c:pt>
                <c:pt idx="41010">
                  <c:v>31.200360922185421</c:v>
                </c:pt>
                <c:pt idx="41011">
                  <c:v>45.86731682755385</c:v>
                </c:pt>
                <c:pt idx="41012">
                  <c:v>35.591075093659811</c:v>
                </c:pt>
                <c:pt idx="41013">
                  <c:v>56.544033395889507</c:v>
                </c:pt>
                <c:pt idx="41014">
                  <c:v>34.621921735509403</c:v>
                </c:pt>
                <c:pt idx="41015">
                  <c:v>32.097740055451801</c:v>
                </c:pt>
                <c:pt idx="41016">
                  <c:v>48.74364864405927</c:v>
                </c:pt>
                <c:pt idx="41017">
                  <c:v>24.399409283436803</c:v>
                </c:pt>
                <c:pt idx="41018">
                  <c:v>25.023698225745708</c:v>
                </c:pt>
                <c:pt idx="41019">
                  <c:v>53.948989948593308</c:v>
                </c:pt>
                <c:pt idx="41020">
                  <c:v>26.579140162940298</c:v>
                </c:pt>
                <c:pt idx="41021">
                  <c:v>34.406392027652394</c:v>
                </c:pt>
                <c:pt idx="41022">
                  <c:v>28.436789312636229</c:v>
                </c:pt>
                <c:pt idx="41023">
                  <c:v>24.790749348264388</c:v>
                </c:pt>
                <c:pt idx="41024">
                  <c:v>26.953357039030312</c:v>
                </c:pt>
                <c:pt idx="41025">
                  <c:v>22.727227783514575</c:v>
                </c:pt>
                <c:pt idx="41026">
                  <c:v>26.974580082922103</c:v>
                </c:pt>
                <c:pt idx="41027">
                  <c:v>18.545797061449239</c:v>
                </c:pt>
                <c:pt idx="41028">
                  <c:v>44.399846090176645</c:v>
                </c:pt>
                <c:pt idx="41029">
                  <c:v>53.0232576208777</c:v>
                </c:pt>
                <c:pt idx="41030">
                  <c:v>29.859388824056104</c:v>
                </c:pt>
                <c:pt idx="41031">
                  <c:v>25.412032709908846</c:v>
                </c:pt>
                <c:pt idx="41032">
                  <c:v>23.53060194560431</c:v>
                </c:pt>
                <c:pt idx="41033">
                  <c:v>24.402479852452736</c:v>
                </c:pt>
                <c:pt idx="41034">
                  <c:v>28.902730730363245</c:v>
                </c:pt>
                <c:pt idx="41035">
                  <c:v>37.189267834974785</c:v>
                </c:pt>
                <c:pt idx="41036">
                  <c:v>33.661350089861799</c:v>
                </c:pt>
                <c:pt idx="41037">
                  <c:v>26.694063393671168</c:v>
                </c:pt>
                <c:pt idx="41038">
                  <c:v>33.017734049652915</c:v>
                </c:pt>
                <c:pt idx="41039">
                  <c:v>26.081267656502412</c:v>
                </c:pt>
                <c:pt idx="41040">
                  <c:v>24.501613373558513</c:v>
                </c:pt>
                <c:pt idx="41041">
                  <c:v>20.141557277730733</c:v>
                </c:pt>
                <c:pt idx="41042">
                  <c:v>48.975623823506155</c:v>
                </c:pt>
                <c:pt idx="41043">
                  <c:v>15.31463695927645</c:v>
                </c:pt>
                <c:pt idx="41044">
                  <c:v>25.937877155509472</c:v>
                </c:pt>
                <c:pt idx="41045">
                  <c:v>31.09867545342415</c:v>
                </c:pt>
                <c:pt idx="41046">
                  <c:v>38.364436990325622</c:v>
                </c:pt>
                <c:pt idx="41047">
                  <c:v>52.228120290629946</c:v>
                </c:pt>
                <c:pt idx="41048">
                  <c:v>17.384860085389107</c:v>
                </c:pt>
                <c:pt idx="41049">
                  <c:v>23.150068815595283</c:v>
                </c:pt>
                <c:pt idx="41050">
                  <c:v>26.927420955110129</c:v>
                </c:pt>
                <c:pt idx="41051">
                  <c:v>49.055596008052518</c:v>
                </c:pt>
                <c:pt idx="41052">
                  <c:v>48.573684789192171</c:v>
                </c:pt>
                <c:pt idx="41053">
                  <c:v>26.904424287236026</c:v>
                </c:pt>
                <c:pt idx="41054">
                  <c:v>33.322620923491087</c:v>
                </c:pt>
                <c:pt idx="41055">
                  <c:v>17.332452410728674</c:v>
                </c:pt>
                <c:pt idx="41056">
                  <c:v>29.914497686146539</c:v>
                </c:pt>
                <c:pt idx="41057">
                  <c:v>28.055754906287461</c:v>
                </c:pt>
                <c:pt idx="41058">
                  <c:v>30.627024418761572</c:v>
                </c:pt>
                <c:pt idx="41059">
                  <c:v>20.111565562890839</c:v>
                </c:pt>
                <c:pt idx="41060">
                  <c:v>20.197895745371795</c:v>
                </c:pt>
                <c:pt idx="41061">
                  <c:v>24.103185152984572</c:v>
                </c:pt>
                <c:pt idx="41062">
                  <c:v>26.424296176963178</c:v>
                </c:pt>
                <c:pt idx="41063">
                  <c:v>17.052231773246216</c:v>
                </c:pt>
                <c:pt idx="41064">
                  <c:v>32.278088420831843</c:v>
                </c:pt>
                <c:pt idx="41065">
                  <c:v>17.783079888419429</c:v>
                </c:pt>
                <c:pt idx="41066">
                  <c:v>52.254901103578291</c:v>
                </c:pt>
                <c:pt idx="41067">
                  <c:v>23.841584433664845</c:v>
                </c:pt>
                <c:pt idx="41068">
                  <c:v>57.238980516611605</c:v>
                </c:pt>
                <c:pt idx="41069">
                  <c:v>33.258703201334001</c:v>
                </c:pt>
                <c:pt idx="41070">
                  <c:v>24.253457589973127</c:v>
                </c:pt>
                <c:pt idx="41071">
                  <c:v>42.553411373243485</c:v>
                </c:pt>
                <c:pt idx="41072">
                  <c:v>23.309591421492332</c:v>
                </c:pt>
                <c:pt idx="41073">
                  <c:v>26.494604753150291</c:v>
                </c:pt>
                <c:pt idx="41074">
                  <c:v>26.242990579781956</c:v>
                </c:pt>
                <c:pt idx="41075">
                  <c:v>21.084690718536596</c:v>
                </c:pt>
                <c:pt idx="41076">
                  <c:v>18.696633468779936</c:v>
                </c:pt>
                <c:pt idx="41077">
                  <c:v>43.173954657264346</c:v>
                </c:pt>
                <c:pt idx="41078">
                  <c:v>22.960840872983002</c:v>
                </c:pt>
                <c:pt idx="41079">
                  <c:v>34.498867978054264</c:v>
                </c:pt>
                <c:pt idx="41080">
                  <c:v>39.004454044480994</c:v>
                </c:pt>
                <c:pt idx="41081">
                  <c:v>22.296390555666488</c:v>
                </c:pt>
                <c:pt idx="41082">
                  <c:v>32.242151936626492</c:v>
                </c:pt>
                <c:pt idx="41083">
                  <c:v>26.241928508027431</c:v>
                </c:pt>
                <c:pt idx="41084">
                  <c:v>18.206989990704479</c:v>
                </c:pt>
                <c:pt idx="41085">
                  <c:v>39.483880250762937</c:v>
                </c:pt>
                <c:pt idx="41086">
                  <c:v>41.644096805700727</c:v>
                </c:pt>
                <c:pt idx="41087">
                  <c:v>22.91823213542283</c:v>
                </c:pt>
                <c:pt idx="41088">
                  <c:v>56.328992044858964</c:v>
                </c:pt>
                <c:pt idx="41089">
                  <c:v>22.672713436483697</c:v>
                </c:pt>
                <c:pt idx="41090">
                  <c:v>23.365504471933562</c:v>
                </c:pt>
                <c:pt idx="41091">
                  <c:v>28.263599811373997</c:v>
                </c:pt>
                <c:pt idx="41092">
                  <c:v>30.348662619917455</c:v>
                </c:pt>
                <c:pt idx="41093">
                  <c:v>37.984307866423102</c:v>
                </c:pt>
                <c:pt idx="41094">
                  <c:v>29.628724018634308</c:v>
                </c:pt>
                <c:pt idx="41095">
                  <c:v>21.771681792235306</c:v>
                </c:pt>
                <c:pt idx="41096">
                  <c:v>25.639066473277854</c:v>
                </c:pt>
                <c:pt idx="41097">
                  <c:v>50.432798091319242</c:v>
                </c:pt>
                <c:pt idx="41098">
                  <c:v>43.385175557451007</c:v>
                </c:pt>
                <c:pt idx="41099">
                  <c:v>25.334844419377163</c:v>
                </c:pt>
                <c:pt idx="41100">
                  <c:v>20.230734314109824</c:v>
                </c:pt>
                <c:pt idx="41101">
                  <c:v>25.336096352681608</c:v>
                </c:pt>
                <c:pt idx="41102">
                  <c:v>26.184486732374353</c:v>
                </c:pt>
                <c:pt idx="41103">
                  <c:v>26.740669852713356</c:v>
                </c:pt>
                <c:pt idx="41104">
                  <c:v>27.958184530490115</c:v>
                </c:pt>
                <c:pt idx="41105">
                  <c:v>28.459354878336246</c:v>
                </c:pt>
                <c:pt idx="41106">
                  <c:v>31.733497818961688</c:v>
                </c:pt>
                <c:pt idx="41107">
                  <c:v>21.959534687751109</c:v>
                </c:pt>
                <c:pt idx="41108">
                  <c:v>22.413987541700291</c:v>
                </c:pt>
                <c:pt idx="41109">
                  <c:v>47.611493023309052</c:v>
                </c:pt>
                <c:pt idx="41110">
                  <c:v>27.863588906928392</c:v>
                </c:pt>
                <c:pt idx="41111">
                  <c:v>24.276870114150171</c:v>
                </c:pt>
                <c:pt idx="41112">
                  <c:v>21.682225611019721</c:v>
                </c:pt>
                <c:pt idx="41113">
                  <c:v>19.998651583061012</c:v>
                </c:pt>
                <c:pt idx="41114">
                  <c:v>28.598051598818206</c:v>
                </c:pt>
                <c:pt idx="41115">
                  <c:v>18.800239643551244</c:v>
                </c:pt>
                <c:pt idx="41116">
                  <c:v>23.197529399459839</c:v>
                </c:pt>
                <c:pt idx="41117">
                  <c:v>55.934438611188185</c:v>
                </c:pt>
                <c:pt idx="41118">
                  <c:v>34.635999941986469</c:v>
                </c:pt>
                <c:pt idx="41119">
                  <c:v>25.258468992192785</c:v>
                </c:pt>
                <c:pt idx="41120">
                  <c:v>50.479613860588579</c:v>
                </c:pt>
                <c:pt idx="41121">
                  <c:v>24.854611352516276</c:v>
                </c:pt>
                <c:pt idx="41122">
                  <c:v>31.634622199961974</c:v>
                </c:pt>
                <c:pt idx="41123">
                  <c:v>44.508074065448504</c:v>
                </c:pt>
                <c:pt idx="41124">
                  <c:v>27.416374325834532</c:v>
                </c:pt>
                <c:pt idx="41125">
                  <c:v>25.269480055175883</c:v>
                </c:pt>
                <c:pt idx="41126">
                  <c:v>47.49598484834366</c:v>
                </c:pt>
                <c:pt idx="41127">
                  <c:v>16.802652451977078</c:v>
                </c:pt>
                <c:pt idx="41128">
                  <c:v>41.234745631868385</c:v>
                </c:pt>
                <c:pt idx="41129">
                  <c:v>49.945420436283804</c:v>
                </c:pt>
                <c:pt idx="41130">
                  <c:v>29.774943204864591</c:v>
                </c:pt>
                <c:pt idx="41131">
                  <c:v>26.371036239439388</c:v>
                </c:pt>
                <c:pt idx="41132">
                  <c:v>59.87735107566175</c:v>
                </c:pt>
                <c:pt idx="41133">
                  <c:v>22.746170127600038</c:v>
                </c:pt>
                <c:pt idx="41134">
                  <c:v>26.457210468924675</c:v>
                </c:pt>
                <c:pt idx="41135">
                  <c:v>47.815724402225442</c:v>
                </c:pt>
                <c:pt idx="41136">
                  <c:v>23.188144907614518</c:v>
                </c:pt>
                <c:pt idx="41137">
                  <c:v>27.208957961446021</c:v>
                </c:pt>
                <c:pt idx="41138">
                  <c:v>21.022210682773199</c:v>
                </c:pt>
                <c:pt idx="41139">
                  <c:v>39.492740478624484</c:v>
                </c:pt>
                <c:pt idx="41140">
                  <c:v>22.054693407967793</c:v>
                </c:pt>
                <c:pt idx="41141">
                  <c:v>22.037503233061248</c:v>
                </c:pt>
                <c:pt idx="41142">
                  <c:v>26.194433365817105</c:v>
                </c:pt>
                <c:pt idx="41143">
                  <c:v>20.54099241775468</c:v>
                </c:pt>
                <c:pt idx="41144">
                  <c:v>24.997063685739619</c:v>
                </c:pt>
                <c:pt idx="41145">
                  <c:v>25.970230967134874</c:v>
                </c:pt>
                <c:pt idx="41146">
                  <c:v>32.175896692766585</c:v>
                </c:pt>
                <c:pt idx="41147">
                  <c:v>50.599211344823445</c:v>
                </c:pt>
                <c:pt idx="41148">
                  <c:v>24.854951004575629</c:v>
                </c:pt>
                <c:pt idx="41149">
                  <c:v>31.118033463098218</c:v>
                </c:pt>
                <c:pt idx="41150">
                  <c:v>63.074073503020003</c:v>
                </c:pt>
                <c:pt idx="41151">
                  <c:v>31.196862648078813</c:v>
                </c:pt>
                <c:pt idx="41152">
                  <c:v>24.587909694498322</c:v>
                </c:pt>
                <c:pt idx="41153">
                  <c:v>30.416588212311098</c:v>
                </c:pt>
                <c:pt idx="41154">
                  <c:v>21.629811162624023</c:v>
                </c:pt>
                <c:pt idx="41155">
                  <c:v>22.44140439222997</c:v>
                </c:pt>
                <c:pt idx="41156">
                  <c:v>46.230876292320048</c:v>
                </c:pt>
                <c:pt idx="41157">
                  <c:v>61.372397215160603</c:v>
                </c:pt>
                <c:pt idx="41158">
                  <c:v>28.129872220153718</c:v>
                </c:pt>
                <c:pt idx="41159">
                  <c:v>29.386242299921015</c:v>
                </c:pt>
                <c:pt idx="41160">
                  <c:v>53.474453655101115</c:v>
                </c:pt>
                <c:pt idx="41161">
                  <c:v>27.586510782759934</c:v>
                </c:pt>
                <c:pt idx="41162">
                  <c:v>26.555717038380529</c:v>
                </c:pt>
                <c:pt idx="41163">
                  <c:v>19.734685399040984</c:v>
                </c:pt>
                <c:pt idx="41164">
                  <c:v>23.656268304723298</c:v>
                </c:pt>
                <c:pt idx="41165">
                  <c:v>33.563493690360431</c:v>
                </c:pt>
                <c:pt idx="41166">
                  <c:v>45.55061429642992</c:v>
                </c:pt>
                <c:pt idx="41167">
                  <c:v>23.116078500969774</c:v>
                </c:pt>
                <c:pt idx="41168">
                  <c:v>28.770360830265101</c:v>
                </c:pt>
                <c:pt idx="41169">
                  <c:v>28.487672882661546</c:v>
                </c:pt>
                <c:pt idx="41170">
                  <c:v>20.45779077962694</c:v>
                </c:pt>
                <c:pt idx="41171">
                  <c:v>40.40302846365492</c:v>
                </c:pt>
                <c:pt idx="41172">
                  <c:v>25.514003843428487</c:v>
                </c:pt>
                <c:pt idx="41173">
                  <c:v>30.187948928661633</c:v>
                </c:pt>
                <c:pt idx="41174">
                  <c:v>44.577063650324106</c:v>
                </c:pt>
                <c:pt idx="41175">
                  <c:v>27.733446295468859</c:v>
                </c:pt>
                <c:pt idx="41176">
                  <c:v>29.498045566889076</c:v>
                </c:pt>
                <c:pt idx="41177">
                  <c:v>28.132589158348676</c:v>
                </c:pt>
                <c:pt idx="41178">
                  <c:v>23.54469613120299</c:v>
                </c:pt>
                <c:pt idx="41179">
                  <c:v>27.931069199793381</c:v>
                </c:pt>
                <c:pt idx="41180">
                  <c:v>25.383779670415823</c:v>
                </c:pt>
                <c:pt idx="41181">
                  <c:v>42.356379349019129</c:v>
                </c:pt>
                <c:pt idx="41182">
                  <c:v>45.544942924783278</c:v>
                </c:pt>
                <c:pt idx="41183">
                  <c:v>25.237838247975827</c:v>
                </c:pt>
                <c:pt idx="41184">
                  <c:v>40.458514518918051</c:v>
                </c:pt>
                <c:pt idx="41185">
                  <c:v>26.225881433550093</c:v>
                </c:pt>
                <c:pt idx="41186">
                  <c:v>45.484904349856585</c:v>
                </c:pt>
                <c:pt idx="41187">
                  <c:v>26.5147516037866</c:v>
                </c:pt>
                <c:pt idx="41188">
                  <c:v>29.277513431829298</c:v>
                </c:pt>
                <c:pt idx="41189">
                  <c:v>28.145350420374871</c:v>
                </c:pt>
                <c:pt idx="41190">
                  <c:v>24.991120218247175</c:v>
                </c:pt>
                <c:pt idx="41191">
                  <c:v>27.135710766348232</c:v>
                </c:pt>
                <c:pt idx="41192">
                  <c:v>30.486175847851488</c:v>
                </c:pt>
                <c:pt idx="41193">
                  <c:v>30.313392750842514</c:v>
                </c:pt>
                <c:pt idx="41194">
                  <c:v>34.704257660283126</c:v>
                </c:pt>
                <c:pt idx="41195">
                  <c:v>29.24941964094592</c:v>
                </c:pt>
                <c:pt idx="41196">
                  <c:v>19.302911394076069</c:v>
                </c:pt>
                <c:pt idx="41197">
                  <c:v>44.996158655641224</c:v>
                </c:pt>
                <c:pt idx="41198">
                  <c:v>20.054874355779106</c:v>
                </c:pt>
                <c:pt idx="41199">
                  <c:v>24.3287587580086</c:v>
                </c:pt>
                <c:pt idx="41200">
                  <c:v>24.766349350285587</c:v>
                </c:pt>
                <c:pt idx="41201">
                  <c:v>29.656784768000485</c:v>
                </c:pt>
                <c:pt idx="41202">
                  <c:v>32.130680711161183</c:v>
                </c:pt>
                <c:pt idx="41203">
                  <c:v>27.567193105020579</c:v>
                </c:pt>
                <c:pt idx="41204">
                  <c:v>38.260647178075388</c:v>
                </c:pt>
                <c:pt idx="41205">
                  <c:v>23.453103145642803</c:v>
                </c:pt>
                <c:pt idx="41206">
                  <c:v>17.386190614439165</c:v>
                </c:pt>
                <c:pt idx="41207">
                  <c:v>52.886132107231276</c:v>
                </c:pt>
                <c:pt idx="41208">
                  <c:v>20.565392139876842</c:v>
                </c:pt>
                <c:pt idx="41209">
                  <c:v>48.399244931072026</c:v>
                </c:pt>
                <c:pt idx="41210">
                  <c:v>29.68270539148654</c:v>
                </c:pt>
                <c:pt idx="41211">
                  <c:v>51.363762379850812</c:v>
                </c:pt>
                <c:pt idx="41212">
                  <c:v>25.141827223135763</c:v>
                </c:pt>
                <c:pt idx="41213">
                  <c:v>59.214418302192875</c:v>
                </c:pt>
                <c:pt idx="41214">
                  <c:v>35.51478419999372</c:v>
                </c:pt>
                <c:pt idx="41215">
                  <c:v>35.146143131280581</c:v>
                </c:pt>
                <c:pt idx="41216">
                  <c:v>26.033401865954641</c:v>
                </c:pt>
                <c:pt idx="41217">
                  <c:v>48.023548750789956</c:v>
                </c:pt>
                <c:pt idx="41218">
                  <c:v>52.061809440683675</c:v>
                </c:pt>
                <c:pt idx="41219">
                  <c:v>31.500910350769828</c:v>
                </c:pt>
                <c:pt idx="41220">
                  <c:v>26.374420920113572</c:v>
                </c:pt>
                <c:pt idx="41221">
                  <c:v>19.577136015380475</c:v>
                </c:pt>
                <c:pt idx="41222">
                  <c:v>46.960039703842909</c:v>
                </c:pt>
                <c:pt idx="41223">
                  <c:v>22.402189435804054</c:v>
                </c:pt>
                <c:pt idx="41224">
                  <c:v>21.613140420049831</c:v>
                </c:pt>
                <c:pt idx="41225">
                  <c:v>44.753879951623844</c:v>
                </c:pt>
                <c:pt idx="41226">
                  <c:v>29.663833976567581</c:v>
                </c:pt>
                <c:pt idx="41227">
                  <c:v>39.27451057243632</c:v>
                </c:pt>
                <c:pt idx="41228">
                  <c:v>23.601842844861267</c:v>
                </c:pt>
                <c:pt idx="41229">
                  <c:v>31.088220373427287</c:v>
                </c:pt>
                <c:pt idx="41230">
                  <c:v>23.394140952154608</c:v>
                </c:pt>
                <c:pt idx="41231">
                  <c:v>20.153207518504086</c:v>
                </c:pt>
                <c:pt idx="41232">
                  <c:v>25.625833820570659</c:v>
                </c:pt>
                <c:pt idx="41233">
                  <c:v>20.481558374007069</c:v>
                </c:pt>
                <c:pt idx="41234">
                  <c:v>21.559934470437277</c:v>
                </c:pt>
                <c:pt idx="41235">
                  <c:v>24.569256093493493</c:v>
                </c:pt>
                <c:pt idx="41236">
                  <c:v>32.926137048204993</c:v>
                </c:pt>
                <c:pt idx="41237">
                  <c:v>23.336843907110072</c:v>
                </c:pt>
                <c:pt idx="41238">
                  <c:v>23.496245117866355</c:v>
                </c:pt>
                <c:pt idx="41239">
                  <c:v>23.635047566944504</c:v>
                </c:pt>
                <c:pt idx="41240">
                  <c:v>29.90585764634821</c:v>
                </c:pt>
                <c:pt idx="41241">
                  <c:v>26.611515359261613</c:v>
                </c:pt>
                <c:pt idx="41242">
                  <c:v>22.300077281026319</c:v>
                </c:pt>
                <c:pt idx="41243">
                  <c:v>32.352775161091259</c:v>
                </c:pt>
                <c:pt idx="41244">
                  <c:v>24.627569981728755</c:v>
                </c:pt>
                <c:pt idx="41245">
                  <c:v>29.987708008243928</c:v>
                </c:pt>
                <c:pt idx="41246">
                  <c:v>28.523747117403637</c:v>
                </c:pt>
                <c:pt idx="41247">
                  <c:v>27.525191923161344</c:v>
                </c:pt>
                <c:pt idx="41248">
                  <c:v>25.565576793465439</c:v>
                </c:pt>
                <c:pt idx="41249">
                  <c:v>22.893269476059512</c:v>
                </c:pt>
                <c:pt idx="41250">
                  <c:v>34.082834862803132</c:v>
                </c:pt>
                <c:pt idx="41251">
                  <c:v>30.210702367507416</c:v>
                </c:pt>
                <c:pt idx="41252">
                  <c:v>20.399280916715192</c:v>
                </c:pt>
                <c:pt idx="41253">
                  <c:v>24.483628714349344</c:v>
                </c:pt>
                <c:pt idx="41254">
                  <c:v>35.797730335171906</c:v>
                </c:pt>
                <c:pt idx="41255">
                  <c:v>30.160806003522424</c:v>
                </c:pt>
                <c:pt idx="41256">
                  <c:v>19.384496439398966</c:v>
                </c:pt>
                <c:pt idx="41257">
                  <c:v>15.002937452682428</c:v>
                </c:pt>
                <c:pt idx="41258">
                  <c:v>28.372366460161356</c:v>
                </c:pt>
                <c:pt idx="41259">
                  <c:v>39.378405454992574</c:v>
                </c:pt>
                <c:pt idx="41260">
                  <c:v>25.122980109845319</c:v>
                </c:pt>
                <c:pt idx="41261">
                  <c:v>36.136980077571863</c:v>
                </c:pt>
                <c:pt idx="41262">
                  <c:v>28.176231142345891</c:v>
                </c:pt>
                <c:pt idx="41263">
                  <c:v>37.060727484653306</c:v>
                </c:pt>
                <c:pt idx="41264">
                  <c:v>26.035401653159646</c:v>
                </c:pt>
                <c:pt idx="41265">
                  <c:v>53.494108857812044</c:v>
                </c:pt>
                <c:pt idx="41266">
                  <c:v>29.052701712962712</c:v>
                </c:pt>
                <c:pt idx="41267">
                  <c:v>28.805172955188002</c:v>
                </c:pt>
                <c:pt idx="41268">
                  <c:v>29.675402130388402</c:v>
                </c:pt>
                <c:pt idx="41269">
                  <c:v>29.539952422461585</c:v>
                </c:pt>
                <c:pt idx="41270">
                  <c:v>30.278614932568583</c:v>
                </c:pt>
                <c:pt idx="41271">
                  <c:v>30.901566514277</c:v>
                </c:pt>
                <c:pt idx="41272">
                  <c:v>27.375346686558562</c:v>
                </c:pt>
                <c:pt idx="41273">
                  <c:v>26.905469549692015</c:v>
                </c:pt>
                <c:pt idx="41274">
                  <c:v>25.044430795176716</c:v>
                </c:pt>
                <c:pt idx="41275">
                  <c:v>24.880961649184798</c:v>
                </c:pt>
                <c:pt idx="41276">
                  <c:v>33.485373073031262</c:v>
                </c:pt>
                <c:pt idx="41277">
                  <c:v>28.460232876992688</c:v>
                </c:pt>
                <c:pt idx="41278">
                  <c:v>28.11322099104855</c:v>
                </c:pt>
                <c:pt idx="41279">
                  <c:v>21.296406913340302</c:v>
                </c:pt>
                <c:pt idx="41280">
                  <c:v>20.679354216856744</c:v>
                </c:pt>
                <c:pt idx="41281">
                  <c:v>17.426455151714485</c:v>
                </c:pt>
                <c:pt idx="41282">
                  <c:v>24.847193511240508</c:v>
                </c:pt>
                <c:pt idx="41283">
                  <c:v>26.338668889321806</c:v>
                </c:pt>
                <c:pt idx="41284">
                  <c:v>34.532255625687888</c:v>
                </c:pt>
                <c:pt idx="41285">
                  <c:v>40.175906436357479</c:v>
                </c:pt>
                <c:pt idx="41286">
                  <c:v>25.061660758632648</c:v>
                </c:pt>
                <c:pt idx="41287">
                  <c:v>32.108736505972288</c:v>
                </c:pt>
                <c:pt idx="41288">
                  <c:v>32.996929716292854</c:v>
                </c:pt>
                <c:pt idx="41289">
                  <c:v>28.864772074948021</c:v>
                </c:pt>
                <c:pt idx="41290">
                  <c:v>28.213239153333411</c:v>
                </c:pt>
                <c:pt idx="41291">
                  <c:v>23.40011046995123</c:v>
                </c:pt>
                <c:pt idx="41292">
                  <c:v>39.955337789505961</c:v>
                </c:pt>
                <c:pt idx="41293">
                  <c:v>23.771308581130931</c:v>
                </c:pt>
                <c:pt idx="41294">
                  <c:v>55.66168473692818</c:v>
                </c:pt>
                <c:pt idx="41295">
                  <c:v>26.670478528285852</c:v>
                </c:pt>
                <c:pt idx="41296">
                  <c:v>20.117290689589126</c:v>
                </c:pt>
                <c:pt idx="41297">
                  <c:v>20.057483043577705</c:v>
                </c:pt>
                <c:pt idx="41298">
                  <c:v>21.584606791707213</c:v>
                </c:pt>
                <c:pt idx="41299">
                  <c:v>45.303425771505196</c:v>
                </c:pt>
                <c:pt idx="41300">
                  <c:v>23.786865347219376</c:v>
                </c:pt>
                <c:pt idx="41301">
                  <c:v>35.5321320169529</c:v>
                </c:pt>
                <c:pt idx="41302">
                  <c:v>22.001649693659143</c:v>
                </c:pt>
                <c:pt idx="41303">
                  <c:v>22.11757213174382</c:v>
                </c:pt>
                <c:pt idx="41304">
                  <c:v>21.754997243271777</c:v>
                </c:pt>
                <c:pt idx="41305">
                  <c:v>29.30614746001687</c:v>
                </c:pt>
                <c:pt idx="41306">
                  <c:v>29.774221948668149</c:v>
                </c:pt>
                <c:pt idx="41307">
                  <c:v>47.972448011424618</c:v>
                </c:pt>
                <c:pt idx="41308">
                  <c:v>53.515849277401855</c:v>
                </c:pt>
                <c:pt idx="41309">
                  <c:v>29.199997406260366</c:v>
                </c:pt>
                <c:pt idx="41310">
                  <c:v>22.173620510101227</c:v>
                </c:pt>
                <c:pt idx="41311">
                  <c:v>26.407454915266609</c:v>
                </c:pt>
                <c:pt idx="41312">
                  <c:v>24.500705007541516</c:v>
                </c:pt>
                <c:pt idx="41313">
                  <c:v>42.964331835415692</c:v>
                </c:pt>
                <c:pt idx="41314">
                  <c:v>53.499996582861044</c:v>
                </c:pt>
                <c:pt idx="41315">
                  <c:v>20.477766852684372</c:v>
                </c:pt>
                <c:pt idx="41316">
                  <c:v>18.658178109415296</c:v>
                </c:pt>
                <c:pt idx="41317">
                  <c:v>30.226577575341839</c:v>
                </c:pt>
                <c:pt idx="41318">
                  <c:v>48.206407349908787</c:v>
                </c:pt>
                <c:pt idx="41319">
                  <c:v>28.281888181949302</c:v>
                </c:pt>
                <c:pt idx="41320">
                  <c:v>55.554939334122686</c:v>
                </c:pt>
                <c:pt idx="41321">
                  <c:v>35.40672305079336</c:v>
                </c:pt>
                <c:pt idx="41322">
                  <c:v>48.960204446722628</c:v>
                </c:pt>
                <c:pt idx="41323">
                  <c:v>20.991112993591251</c:v>
                </c:pt>
                <c:pt idx="41324">
                  <c:v>30.293931114557346</c:v>
                </c:pt>
                <c:pt idx="41325">
                  <c:v>34.687308195990049</c:v>
                </c:pt>
                <c:pt idx="41326">
                  <c:v>57.38698885188294</c:v>
                </c:pt>
                <c:pt idx="41327">
                  <c:v>30.217784047323558</c:v>
                </c:pt>
                <c:pt idx="41328">
                  <c:v>21.575420405784804</c:v>
                </c:pt>
                <c:pt idx="41329">
                  <c:v>22.760128770517895</c:v>
                </c:pt>
                <c:pt idx="41330">
                  <c:v>30.395976679475893</c:v>
                </c:pt>
                <c:pt idx="41331">
                  <c:v>39.437931275562349</c:v>
                </c:pt>
                <c:pt idx="41332">
                  <c:v>34.015751474740576</c:v>
                </c:pt>
                <c:pt idx="41333">
                  <c:v>29.264450433811099</c:v>
                </c:pt>
                <c:pt idx="41334">
                  <c:v>18.643020980180772</c:v>
                </c:pt>
                <c:pt idx="41335">
                  <c:v>28.77764774940567</c:v>
                </c:pt>
                <c:pt idx="41336">
                  <c:v>39.175283501097326</c:v>
                </c:pt>
                <c:pt idx="41337">
                  <c:v>41.765710621386432</c:v>
                </c:pt>
                <c:pt idx="41338">
                  <c:v>19.434543116730584</c:v>
                </c:pt>
                <c:pt idx="41339">
                  <c:v>19.907739389648931</c:v>
                </c:pt>
                <c:pt idx="41340">
                  <c:v>49.81241670022257</c:v>
                </c:pt>
                <c:pt idx="41341">
                  <c:v>32.896646855261352</c:v>
                </c:pt>
                <c:pt idx="41342">
                  <c:v>19.84464678859063</c:v>
                </c:pt>
                <c:pt idx="41343">
                  <c:v>21.019013790617159</c:v>
                </c:pt>
                <c:pt idx="41344">
                  <c:v>19.662797469148021</c:v>
                </c:pt>
                <c:pt idx="41345">
                  <c:v>38.360799460075143</c:v>
                </c:pt>
                <c:pt idx="41346">
                  <c:v>53.481003406399211</c:v>
                </c:pt>
                <c:pt idx="41347">
                  <c:v>29.81322175077932</c:v>
                </c:pt>
                <c:pt idx="41348">
                  <c:v>53.238946186919407</c:v>
                </c:pt>
                <c:pt idx="41349">
                  <c:v>22.650497052962503</c:v>
                </c:pt>
                <c:pt idx="41350">
                  <c:v>23.199999471406493</c:v>
                </c:pt>
                <c:pt idx="41351">
                  <c:v>24.570418625776249</c:v>
                </c:pt>
                <c:pt idx="41352">
                  <c:v>33.223812333937815</c:v>
                </c:pt>
                <c:pt idx="41353">
                  <c:v>48.649882230313665</c:v>
                </c:pt>
                <c:pt idx="41354">
                  <c:v>29.816564646835769</c:v>
                </c:pt>
                <c:pt idx="41355">
                  <c:v>26.920228743193519</c:v>
                </c:pt>
                <c:pt idx="41356">
                  <c:v>24.225424926206166</c:v>
                </c:pt>
                <c:pt idx="41357">
                  <c:v>27.892773405854729</c:v>
                </c:pt>
                <c:pt idx="41358">
                  <c:v>30.401849568874084</c:v>
                </c:pt>
                <c:pt idx="41359">
                  <c:v>32.83365968321268</c:v>
                </c:pt>
                <c:pt idx="41360">
                  <c:v>20.170562425914422</c:v>
                </c:pt>
                <c:pt idx="41361">
                  <c:v>21.392297184137981</c:v>
                </c:pt>
                <c:pt idx="41362">
                  <c:v>23.72610949370597</c:v>
                </c:pt>
                <c:pt idx="41363">
                  <c:v>28.511046068455087</c:v>
                </c:pt>
                <c:pt idx="41364">
                  <c:v>47.854265920568587</c:v>
                </c:pt>
                <c:pt idx="41365">
                  <c:v>24.65922806656685</c:v>
                </c:pt>
                <c:pt idx="41366">
                  <c:v>31.647959491960538</c:v>
                </c:pt>
                <c:pt idx="41367">
                  <c:v>48.580253266098694</c:v>
                </c:pt>
                <c:pt idx="41368">
                  <c:v>24.747776514722343</c:v>
                </c:pt>
                <c:pt idx="41369">
                  <c:v>23.718118146098853</c:v>
                </c:pt>
                <c:pt idx="41370">
                  <c:v>27.096020755857275</c:v>
                </c:pt>
                <c:pt idx="41371">
                  <c:v>25.24380744245337</c:v>
                </c:pt>
                <c:pt idx="41372">
                  <c:v>29.380101422651865</c:v>
                </c:pt>
                <c:pt idx="41373">
                  <c:v>25.25971614097806</c:v>
                </c:pt>
                <c:pt idx="41374">
                  <c:v>27.633161626958938</c:v>
                </c:pt>
                <c:pt idx="41375">
                  <c:v>26.799110283898955</c:v>
                </c:pt>
                <c:pt idx="41376">
                  <c:v>36.408010630022851</c:v>
                </c:pt>
                <c:pt idx="41377">
                  <c:v>26.554957827241111</c:v>
                </c:pt>
                <c:pt idx="41378">
                  <c:v>26.368423947392678</c:v>
                </c:pt>
                <c:pt idx="41379">
                  <c:v>34.261388962064665</c:v>
                </c:pt>
                <c:pt idx="41380">
                  <c:v>28.069073102924708</c:v>
                </c:pt>
                <c:pt idx="41381">
                  <c:v>30.404749204048546</c:v>
                </c:pt>
                <c:pt idx="41382">
                  <c:v>42.439842599931261</c:v>
                </c:pt>
                <c:pt idx="41383">
                  <c:v>23.032032456540339</c:v>
                </c:pt>
                <c:pt idx="41384">
                  <c:v>19.645997054660267</c:v>
                </c:pt>
                <c:pt idx="41385">
                  <c:v>45.148665366357399</c:v>
                </c:pt>
                <c:pt idx="41386">
                  <c:v>31.532873290408219</c:v>
                </c:pt>
                <c:pt idx="41387">
                  <c:v>21.864790243948793</c:v>
                </c:pt>
                <c:pt idx="41388">
                  <c:v>51.141662957587812</c:v>
                </c:pt>
                <c:pt idx="41389">
                  <c:v>21.563657936542675</c:v>
                </c:pt>
                <c:pt idx="41390">
                  <c:v>27.469093119846899</c:v>
                </c:pt>
                <c:pt idx="41391">
                  <c:v>52.2565466884393</c:v>
                </c:pt>
                <c:pt idx="41392">
                  <c:v>38.048424656619986</c:v>
                </c:pt>
                <c:pt idx="41393">
                  <c:v>22.371470373799269</c:v>
                </c:pt>
                <c:pt idx="41394">
                  <c:v>33.289846780556871</c:v>
                </c:pt>
                <c:pt idx="41395">
                  <c:v>23.216635070872965</c:v>
                </c:pt>
                <c:pt idx="41396">
                  <c:v>29.651180459896686</c:v>
                </c:pt>
                <c:pt idx="41397">
                  <c:v>24.515825186709456</c:v>
                </c:pt>
                <c:pt idx="41398">
                  <c:v>24.699740040236044</c:v>
                </c:pt>
                <c:pt idx="41399">
                  <c:v>19.615569697544633</c:v>
                </c:pt>
                <c:pt idx="41400">
                  <c:v>33.875895647072227</c:v>
                </c:pt>
                <c:pt idx="41401">
                  <c:v>47.453267162517548</c:v>
                </c:pt>
                <c:pt idx="41402">
                  <c:v>45.404524559296327</c:v>
                </c:pt>
                <c:pt idx="41403">
                  <c:v>37.345510021922905</c:v>
                </c:pt>
                <c:pt idx="41404">
                  <c:v>31.580969984332807</c:v>
                </c:pt>
                <c:pt idx="41405">
                  <c:v>32.612039029987237</c:v>
                </c:pt>
                <c:pt idx="41406">
                  <c:v>38.764940089122625</c:v>
                </c:pt>
                <c:pt idx="41407">
                  <c:v>19.535361929916863</c:v>
                </c:pt>
                <c:pt idx="41408">
                  <c:v>29.343061343450252</c:v>
                </c:pt>
                <c:pt idx="41409">
                  <c:v>29.578825376047</c:v>
                </c:pt>
                <c:pt idx="41410">
                  <c:v>28.894811820179932</c:v>
                </c:pt>
                <c:pt idx="41411">
                  <c:v>23.749193403385103</c:v>
                </c:pt>
                <c:pt idx="41412">
                  <c:v>34.41376702829244</c:v>
                </c:pt>
                <c:pt idx="41413">
                  <c:v>17.115559403410131</c:v>
                </c:pt>
                <c:pt idx="41414">
                  <c:v>30.692042623218661</c:v>
                </c:pt>
                <c:pt idx="41415">
                  <c:v>34.316245393338754</c:v>
                </c:pt>
                <c:pt idx="41416">
                  <c:v>26.674419631353715</c:v>
                </c:pt>
                <c:pt idx="41417">
                  <c:v>57.399133305538371</c:v>
                </c:pt>
                <c:pt idx="41418">
                  <c:v>56.487724914932286</c:v>
                </c:pt>
                <c:pt idx="41419">
                  <c:v>25.886564063668718</c:v>
                </c:pt>
                <c:pt idx="41420">
                  <c:v>39.653158390334369</c:v>
                </c:pt>
                <c:pt idx="41421">
                  <c:v>29.284389288387295</c:v>
                </c:pt>
                <c:pt idx="41422">
                  <c:v>29.148543601326349</c:v>
                </c:pt>
                <c:pt idx="41423">
                  <c:v>48.025125190484907</c:v>
                </c:pt>
                <c:pt idx="41424">
                  <c:v>29.745065025180836</c:v>
                </c:pt>
                <c:pt idx="41425">
                  <c:v>29.034219655371871</c:v>
                </c:pt>
                <c:pt idx="41426">
                  <c:v>21.41276045702174</c:v>
                </c:pt>
                <c:pt idx="41427">
                  <c:v>51.189493072575864</c:v>
                </c:pt>
                <c:pt idx="41428">
                  <c:v>27.538163415239012</c:v>
                </c:pt>
                <c:pt idx="41429">
                  <c:v>18.603917601328611</c:v>
                </c:pt>
                <c:pt idx="41430">
                  <c:v>29.726557052295693</c:v>
                </c:pt>
                <c:pt idx="41431">
                  <c:v>28.623471292909318</c:v>
                </c:pt>
                <c:pt idx="41432">
                  <c:v>40.411055851336215</c:v>
                </c:pt>
                <c:pt idx="41433">
                  <c:v>29.349278056356653</c:v>
                </c:pt>
                <c:pt idx="41434">
                  <c:v>36.880809073806716</c:v>
                </c:pt>
                <c:pt idx="41435">
                  <c:v>17.447695131524373</c:v>
                </c:pt>
                <c:pt idx="41436">
                  <c:v>26.261033803143981</c:v>
                </c:pt>
                <c:pt idx="41437">
                  <c:v>24.269031263434403</c:v>
                </c:pt>
                <c:pt idx="41438">
                  <c:v>47.551094027627826</c:v>
                </c:pt>
                <c:pt idx="41439">
                  <c:v>22.72830254042594</c:v>
                </c:pt>
                <c:pt idx="41440">
                  <c:v>40.803359619258252</c:v>
                </c:pt>
                <c:pt idx="41441">
                  <c:v>24.45686976104718</c:v>
                </c:pt>
                <c:pt idx="41442">
                  <c:v>26.595255327886434</c:v>
                </c:pt>
                <c:pt idx="41443">
                  <c:v>22.296547261106159</c:v>
                </c:pt>
                <c:pt idx="41444">
                  <c:v>27.095381422666208</c:v>
                </c:pt>
                <c:pt idx="41445">
                  <c:v>52.170422587403436</c:v>
                </c:pt>
                <c:pt idx="41446">
                  <c:v>42.053401031707836</c:v>
                </c:pt>
                <c:pt idx="41447">
                  <c:v>19.909864535452321</c:v>
                </c:pt>
                <c:pt idx="41448">
                  <c:v>25.479127692379691</c:v>
                </c:pt>
                <c:pt idx="41449">
                  <c:v>26.755207219698487</c:v>
                </c:pt>
                <c:pt idx="41450">
                  <c:v>22.454558086664022</c:v>
                </c:pt>
                <c:pt idx="41451">
                  <c:v>48.773966535457248</c:v>
                </c:pt>
                <c:pt idx="41452">
                  <c:v>34.663312809829563</c:v>
                </c:pt>
                <c:pt idx="41453">
                  <c:v>30.746112441224476</c:v>
                </c:pt>
                <c:pt idx="41454">
                  <c:v>24.030625006340259</c:v>
                </c:pt>
                <c:pt idx="41455">
                  <c:v>35.270913768801385</c:v>
                </c:pt>
                <c:pt idx="41456">
                  <c:v>22.484985117535061</c:v>
                </c:pt>
                <c:pt idx="41457">
                  <c:v>41.135339015661977</c:v>
                </c:pt>
                <c:pt idx="41458">
                  <c:v>17.456435488653376</c:v>
                </c:pt>
                <c:pt idx="41459">
                  <c:v>28.303480813297355</c:v>
                </c:pt>
                <c:pt idx="41460">
                  <c:v>23.167228302273713</c:v>
                </c:pt>
                <c:pt idx="41461">
                  <c:v>48.762933905178237</c:v>
                </c:pt>
                <c:pt idx="41462">
                  <c:v>47.706289380662263</c:v>
                </c:pt>
                <c:pt idx="41463">
                  <c:v>34.77593643076797</c:v>
                </c:pt>
                <c:pt idx="41464">
                  <c:v>34.205169270740015</c:v>
                </c:pt>
                <c:pt idx="41465">
                  <c:v>29.781517679502617</c:v>
                </c:pt>
                <c:pt idx="41466">
                  <c:v>42.405250691977173</c:v>
                </c:pt>
                <c:pt idx="41467">
                  <c:v>33.37954874984851</c:v>
                </c:pt>
                <c:pt idx="41468">
                  <c:v>26.486941756404946</c:v>
                </c:pt>
                <c:pt idx="41469">
                  <c:v>44.670382538743475</c:v>
                </c:pt>
                <c:pt idx="41470">
                  <c:v>25.463210223226984</c:v>
                </c:pt>
                <c:pt idx="41471">
                  <c:v>16.843807963009652</c:v>
                </c:pt>
                <c:pt idx="41472">
                  <c:v>38.251754020165542</c:v>
                </c:pt>
                <c:pt idx="41473">
                  <c:v>24.930163587523584</c:v>
                </c:pt>
                <c:pt idx="41474">
                  <c:v>55.935047897601137</c:v>
                </c:pt>
                <c:pt idx="41475">
                  <c:v>25.388045817466736</c:v>
                </c:pt>
                <c:pt idx="41476">
                  <c:v>39.144708350068193</c:v>
                </c:pt>
                <c:pt idx="41477">
                  <c:v>30.200718631160765</c:v>
                </c:pt>
                <c:pt idx="41478">
                  <c:v>23.379955081474364</c:v>
                </c:pt>
                <c:pt idx="41479">
                  <c:v>30.582263849110831</c:v>
                </c:pt>
                <c:pt idx="41480">
                  <c:v>20.834223624499671</c:v>
                </c:pt>
                <c:pt idx="41481">
                  <c:v>45.741573040546356</c:v>
                </c:pt>
                <c:pt idx="41482">
                  <c:v>24.039721163144431</c:v>
                </c:pt>
                <c:pt idx="41483">
                  <c:v>20.267693727842627</c:v>
                </c:pt>
                <c:pt idx="41484">
                  <c:v>22.826841158896517</c:v>
                </c:pt>
                <c:pt idx="41485">
                  <c:v>17.658647266318944</c:v>
                </c:pt>
                <c:pt idx="41486">
                  <c:v>48.021362577983943</c:v>
                </c:pt>
                <c:pt idx="41487">
                  <c:v>32.043834323814423</c:v>
                </c:pt>
                <c:pt idx="41488">
                  <c:v>33.761935127773341</c:v>
                </c:pt>
                <c:pt idx="41489">
                  <c:v>40.950357292603158</c:v>
                </c:pt>
                <c:pt idx="41490">
                  <c:v>27.368181535577101</c:v>
                </c:pt>
                <c:pt idx="41491">
                  <c:v>25.818974499135901</c:v>
                </c:pt>
                <c:pt idx="41492">
                  <c:v>22.815507298904471</c:v>
                </c:pt>
                <c:pt idx="41493">
                  <c:v>52.694683009765058</c:v>
                </c:pt>
                <c:pt idx="41494">
                  <c:v>25.820180844031725</c:v>
                </c:pt>
                <c:pt idx="41495">
                  <c:v>28.092972184717492</c:v>
                </c:pt>
                <c:pt idx="41496">
                  <c:v>45.518863529615722</c:v>
                </c:pt>
                <c:pt idx="41497">
                  <c:v>41.663049104567044</c:v>
                </c:pt>
                <c:pt idx="41498">
                  <c:v>25.771930426979573</c:v>
                </c:pt>
                <c:pt idx="41499">
                  <c:v>27.983680575145147</c:v>
                </c:pt>
                <c:pt idx="41500">
                  <c:v>22.068609550393035</c:v>
                </c:pt>
                <c:pt idx="41501">
                  <c:v>20.075568691096667</c:v>
                </c:pt>
                <c:pt idx="41502">
                  <c:v>26.988787123509763</c:v>
                </c:pt>
                <c:pt idx="41503">
                  <c:v>46.818748995494445</c:v>
                </c:pt>
                <c:pt idx="41504">
                  <c:v>25.241978842317941</c:v>
                </c:pt>
                <c:pt idx="41505">
                  <c:v>39.492158683877165</c:v>
                </c:pt>
                <c:pt idx="41506">
                  <c:v>20.895486494307018</c:v>
                </c:pt>
                <c:pt idx="41507">
                  <c:v>30.351115004505957</c:v>
                </c:pt>
                <c:pt idx="41508">
                  <c:v>28.35511126908796</c:v>
                </c:pt>
                <c:pt idx="41509">
                  <c:v>31.557113489220512</c:v>
                </c:pt>
                <c:pt idx="41510">
                  <c:v>25.551040817263701</c:v>
                </c:pt>
                <c:pt idx="41511">
                  <c:v>25.354496775983353</c:v>
                </c:pt>
                <c:pt idx="41512">
                  <c:v>47.747070956062153</c:v>
                </c:pt>
                <c:pt idx="41513">
                  <c:v>48.249505425380121</c:v>
                </c:pt>
                <c:pt idx="41514">
                  <c:v>30.71323369591045</c:v>
                </c:pt>
                <c:pt idx="41515">
                  <c:v>34.550541957369489</c:v>
                </c:pt>
                <c:pt idx="41516">
                  <c:v>25.305103501995248</c:v>
                </c:pt>
                <c:pt idx="41517">
                  <c:v>23.584768674558269</c:v>
                </c:pt>
                <c:pt idx="41518">
                  <c:v>21.239316052424815</c:v>
                </c:pt>
                <c:pt idx="41519">
                  <c:v>49.530124075860286</c:v>
                </c:pt>
                <c:pt idx="41520">
                  <c:v>21.455790105194708</c:v>
                </c:pt>
                <c:pt idx="41521">
                  <c:v>25.782504076579169</c:v>
                </c:pt>
                <c:pt idx="41522">
                  <c:v>27.846335905230504</c:v>
                </c:pt>
                <c:pt idx="41523">
                  <c:v>34.350103703384505</c:v>
                </c:pt>
                <c:pt idx="41524">
                  <c:v>42.593157236986258</c:v>
                </c:pt>
                <c:pt idx="41525">
                  <c:v>25.095038848638495</c:v>
                </c:pt>
                <c:pt idx="41526">
                  <c:v>24.588234837589859</c:v>
                </c:pt>
                <c:pt idx="41527">
                  <c:v>20.429983722528352</c:v>
                </c:pt>
                <c:pt idx="41528">
                  <c:v>47.235525923933125</c:v>
                </c:pt>
                <c:pt idx="41529">
                  <c:v>31.41488411983957</c:v>
                </c:pt>
                <c:pt idx="41530">
                  <c:v>31.962128623770479</c:v>
                </c:pt>
                <c:pt idx="41531">
                  <c:v>52.801372639658759</c:v>
                </c:pt>
                <c:pt idx="41532">
                  <c:v>27.700957337422288</c:v>
                </c:pt>
                <c:pt idx="41533">
                  <c:v>43.876082426076181</c:v>
                </c:pt>
                <c:pt idx="41534">
                  <c:v>31.476889115140509</c:v>
                </c:pt>
                <c:pt idx="41535">
                  <c:v>25.074404556782248</c:v>
                </c:pt>
                <c:pt idx="41536">
                  <c:v>34.250895712261823</c:v>
                </c:pt>
                <c:pt idx="41537">
                  <c:v>40.960147412845181</c:v>
                </c:pt>
                <c:pt idx="41538">
                  <c:v>29.567785069357484</c:v>
                </c:pt>
                <c:pt idx="41539">
                  <c:v>29.585162926936604</c:v>
                </c:pt>
                <c:pt idx="41540">
                  <c:v>22.478241078648729</c:v>
                </c:pt>
                <c:pt idx="41541">
                  <c:v>21.303653804539422</c:v>
                </c:pt>
                <c:pt idx="41542">
                  <c:v>48.749440142546511</c:v>
                </c:pt>
                <c:pt idx="41543">
                  <c:v>24.117721461247445</c:v>
                </c:pt>
                <c:pt idx="41544">
                  <c:v>24.646575782632652</c:v>
                </c:pt>
                <c:pt idx="41545">
                  <c:v>46.908273503010868</c:v>
                </c:pt>
                <c:pt idx="41546">
                  <c:v>36.235013892984853</c:v>
                </c:pt>
                <c:pt idx="41547">
                  <c:v>20.780041003030981</c:v>
                </c:pt>
                <c:pt idx="41548">
                  <c:v>20.717804998684421</c:v>
                </c:pt>
                <c:pt idx="41549">
                  <c:v>21.239559351096858</c:v>
                </c:pt>
                <c:pt idx="41550">
                  <c:v>25.954222762720256</c:v>
                </c:pt>
                <c:pt idx="41551">
                  <c:v>36.907417054568562</c:v>
                </c:pt>
                <c:pt idx="41552">
                  <c:v>20.124658647284683</c:v>
                </c:pt>
                <c:pt idx="41553">
                  <c:v>22.196305032099058</c:v>
                </c:pt>
                <c:pt idx="41554">
                  <c:v>26.300265595201342</c:v>
                </c:pt>
                <c:pt idx="41555">
                  <c:v>64.573780460010241</c:v>
                </c:pt>
                <c:pt idx="41556">
                  <c:v>18.2853605027043</c:v>
                </c:pt>
                <c:pt idx="41557">
                  <c:v>30.813872622493271</c:v>
                </c:pt>
                <c:pt idx="41558">
                  <c:v>29.111727863151003</c:v>
                </c:pt>
                <c:pt idx="41559">
                  <c:v>55.125284607094656</c:v>
                </c:pt>
                <c:pt idx="41560">
                  <c:v>51.642246589264758</c:v>
                </c:pt>
                <c:pt idx="41561">
                  <c:v>17.991695653857438</c:v>
                </c:pt>
                <c:pt idx="41562">
                  <c:v>46.429282454844092</c:v>
                </c:pt>
                <c:pt idx="41563">
                  <c:v>32.304095936780406</c:v>
                </c:pt>
                <c:pt idx="41564">
                  <c:v>43.765379835882285</c:v>
                </c:pt>
                <c:pt idx="41565">
                  <c:v>29.94106038591848</c:v>
                </c:pt>
                <c:pt idx="41566">
                  <c:v>35.992410304659856</c:v>
                </c:pt>
                <c:pt idx="41567">
                  <c:v>27.178924734691748</c:v>
                </c:pt>
                <c:pt idx="41568">
                  <c:v>23.990963653978891</c:v>
                </c:pt>
                <c:pt idx="41569">
                  <c:v>33.705453013115175</c:v>
                </c:pt>
                <c:pt idx="41570">
                  <c:v>39.58428317662824</c:v>
                </c:pt>
                <c:pt idx="41571">
                  <c:v>32.20522272364925</c:v>
                </c:pt>
                <c:pt idx="41572">
                  <c:v>20.340386851307045</c:v>
                </c:pt>
                <c:pt idx="41573">
                  <c:v>40.541645520892871</c:v>
                </c:pt>
                <c:pt idx="41574">
                  <c:v>25.027227207978466</c:v>
                </c:pt>
                <c:pt idx="41575">
                  <c:v>24.929081982804195</c:v>
                </c:pt>
                <c:pt idx="41576">
                  <c:v>19.427858770654364</c:v>
                </c:pt>
                <c:pt idx="41577">
                  <c:v>40.83587950161504</c:v>
                </c:pt>
                <c:pt idx="41578">
                  <c:v>20.631302537942105</c:v>
                </c:pt>
                <c:pt idx="41579">
                  <c:v>26.253665767561532</c:v>
                </c:pt>
                <c:pt idx="41580">
                  <c:v>35.673307865664</c:v>
                </c:pt>
                <c:pt idx="41581">
                  <c:v>21.426234007802719</c:v>
                </c:pt>
                <c:pt idx="41582">
                  <c:v>16.439685554251334</c:v>
                </c:pt>
                <c:pt idx="41583">
                  <c:v>23.806395039237941</c:v>
                </c:pt>
                <c:pt idx="41584">
                  <c:v>56.714263336349873</c:v>
                </c:pt>
                <c:pt idx="41585">
                  <c:v>35.152749151064604</c:v>
                </c:pt>
                <c:pt idx="41586">
                  <c:v>51.179005814589871</c:v>
                </c:pt>
                <c:pt idx="41587">
                  <c:v>29.115213081416496</c:v>
                </c:pt>
                <c:pt idx="41588">
                  <c:v>24.558676605538864</c:v>
                </c:pt>
                <c:pt idx="41589">
                  <c:v>30.176994218914203</c:v>
                </c:pt>
                <c:pt idx="41590">
                  <c:v>32.802969381467534</c:v>
                </c:pt>
                <c:pt idx="41591">
                  <c:v>50.03048144913911</c:v>
                </c:pt>
                <c:pt idx="41592">
                  <c:v>21.578602827106042</c:v>
                </c:pt>
                <c:pt idx="41593">
                  <c:v>45.355821694485385</c:v>
                </c:pt>
                <c:pt idx="41594">
                  <c:v>24.916507667088965</c:v>
                </c:pt>
                <c:pt idx="41595">
                  <c:v>23.946077247127413</c:v>
                </c:pt>
                <c:pt idx="41596">
                  <c:v>45.245814406539928</c:v>
                </c:pt>
                <c:pt idx="41597">
                  <c:v>27.660754182493989</c:v>
                </c:pt>
                <c:pt idx="41598">
                  <c:v>26.809782520835416</c:v>
                </c:pt>
                <c:pt idx="41599">
                  <c:v>30.570802409987014</c:v>
                </c:pt>
                <c:pt idx="41600">
                  <c:v>36.901546633070275</c:v>
                </c:pt>
                <c:pt idx="41601">
                  <c:v>27.875122642140123</c:v>
                </c:pt>
                <c:pt idx="41602">
                  <c:v>22.553552055195059</c:v>
                </c:pt>
                <c:pt idx="41603">
                  <c:v>20.667856593792454</c:v>
                </c:pt>
                <c:pt idx="41604">
                  <c:v>23.875832568145718</c:v>
                </c:pt>
                <c:pt idx="41605">
                  <c:v>48.731478017094965</c:v>
                </c:pt>
                <c:pt idx="41606">
                  <c:v>29.269747258882482</c:v>
                </c:pt>
                <c:pt idx="41607">
                  <c:v>22.096700517665401</c:v>
                </c:pt>
                <c:pt idx="41608">
                  <c:v>28.912397757189037</c:v>
                </c:pt>
                <c:pt idx="41609">
                  <c:v>24.360136192003711</c:v>
                </c:pt>
                <c:pt idx="41610">
                  <c:v>44.359714427613014</c:v>
                </c:pt>
                <c:pt idx="41611">
                  <c:v>34.356976592269596</c:v>
                </c:pt>
                <c:pt idx="41612">
                  <c:v>25.094102450947872</c:v>
                </c:pt>
                <c:pt idx="41613">
                  <c:v>20.103841466088312</c:v>
                </c:pt>
                <c:pt idx="41614">
                  <c:v>20.536721242648358</c:v>
                </c:pt>
                <c:pt idx="41615">
                  <c:v>22.946615666396042</c:v>
                </c:pt>
                <c:pt idx="41616">
                  <c:v>25.156515811009712</c:v>
                </c:pt>
                <c:pt idx="41617">
                  <c:v>29.970741661835167</c:v>
                </c:pt>
                <c:pt idx="41618">
                  <c:v>42.191575320496909</c:v>
                </c:pt>
                <c:pt idx="41619">
                  <c:v>24.712721063509832</c:v>
                </c:pt>
                <c:pt idx="41620">
                  <c:v>23.529746902211869</c:v>
                </c:pt>
                <c:pt idx="41621">
                  <c:v>23.506887281031144</c:v>
                </c:pt>
                <c:pt idx="41622">
                  <c:v>35.933715844450603</c:v>
                </c:pt>
                <c:pt idx="41623">
                  <c:v>49.07351584617161</c:v>
                </c:pt>
                <c:pt idx="41624">
                  <c:v>29.877961896038613</c:v>
                </c:pt>
                <c:pt idx="41625">
                  <c:v>37.713733974261956</c:v>
                </c:pt>
                <c:pt idx="41626">
                  <c:v>23.856931652423619</c:v>
                </c:pt>
                <c:pt idx="41627">
                  <c:v>25.304248633693831</c:v>
                </c:pt>
                <c:pt idx="41628">
                  <c:v>30.398858711586783</c:v>
                </c:pt>
                <c:pt idx="41629">
                  <c:v>22.99818655027542</c:v>
                </c:pt>
                <c:pt idx="41630">
                  <c:v>35.894329392442977</c:v>
                </c:pt>
                <c:pt idx="41631">
                  <c:v>39.950050817921131</c:v>
                </c:pt>
                <c:pt idx="41632">
                  <c:v>26.696587480317824</c:v>
                </c:pt>
                <c:pt idx="41633">
                  <c:v>31.606268457282567</c:v>
                </c:pt>
                <c:pt idx="41634">
                  <c:v>29.91042687001632</c:v>
                </c:pt>
                <c:pt idx="41635">
                  <c:v>42.284395768689933</c:v>
                </c:pt>
                <c:pt idx="41636">
                  <c:v>22.511183012172307</c:v>
                </c:pt>
                <c:pt idx="41637">
                  <c:v>29.151386459058298</c:v>
                </c:pt>
                <c:pt idx="41638">
                  <c:v>31.102349119980058</c:v>
                </c:pt>
                <c:pt idx="41639">
                  <c:v>33.788988491806521</c:v>
                </c:pt>
                <c:pt idx="41640">
                  <c:v>32.314130574624478</c:v>
                </c:pt>
                <c:pt idx="41641">
                  <c:v>28.614057678621617</c:v>
                </c:pt>
                <c:pt idx="41642">
                  <c:v>20.480718977875938</c:v>
                </c:pt>
                <c:pt idx="41643">
                  <c:v>28.254661871940343</c:v>
                </c:pt>
                <c:pt idx="41644">
                  <c:v>45.433247996797519</c:v>
                </c:pt>
                <c:pt idx="41645">
                  <c:v>25.001193018752321</c:v>
                </c:pt>
                <c:pt idx="41646">
                  <c:v>25.577429504092123</c:v>
                </c:pt>
                <c:pt idx="41647">
                  <c:v>22.839465470646029</c:v>
                </c:pt>
                <c:pt idx="41648">
                  <c:v>33.750217192336748</c:v>
                </c:pt>
                <c:pt idx="41649">
                  <c:v>23.491864915458969</c:v>
                </c:pt>
                <c:pt idx="41650">
                  <c:v>36.578605693378243</c:v>
                </c:pt>
                <c:pt idx="41651">
                  <c:v>56.975851192358604</c:v>
                </c:pt>
                <c:pt idx="41652">
                  <c:v>15.149368144433396</c:v>
                </c:pt>
                <c:pt idx="41653">
                  <c:v>28.263498525541259</c:v>
                </c:pt>
                <c:pt idx="41654">
                  <c:v>26.567825816300982</c:v>
                </c:pt>
                <c:pt idx="41655">
                  <c:v>22.885757597372454</c:v>
                </c:pt>
                <c:pt idx="41656">
                  <c:v>18.25096599773282</c:v>
                </c:pt>
                <c:pt idx="41657">
                  <c:v>31.842780855032945</c:v>
                </c:pt>
                <c:pt idx="41658">
                  <c:v>17.992339108073345</c:v>
                </c:pt>
                <c:pt idx="41659">
                  <c:v>26.32161519196017</c:v>
                </c:pt>
                <c:pt idx="41660">
                  <c:v>22.340653362920563</c:v>
                </c:pt>
                <c:pt idx="41661">
                  <c:v>21.50743890594326</c:v>
                </c:pt>
                <c:pt idx="41662">
                  <c:v>37.630440293238877</c:v>
                </c:pt>
                <c:pt idx="41663">
                  <c:v>30.797246794939916</c:v>
                </c:pt>
                <c:pt idx="41664">
                  <c:v>38.267321257215059</c:v>
                </c:pt>
                <c:pt idx="41665">
                  <c:v>50.776442772741461</c:v>
                </c:pt>
                <c:pt idx="41666">
                  <c:v>23.42636310796437</c:v>
                </c:pt>
                <c:pt idx="41667">
                  <c:v>44.110131287407128</c:v>
                </c:pt>
                <c:pt idx="41668">
                  <c:v>28.821940983325522</c:v>
                </c:pt>
                <c:pt idx="41669">
                  <c:v>20.805456132268475</c:v>
                </c:pt>
                <c:pt idx="41670">
                  <c:v>20.679057754285374</c:v>
                </c:pt>
                <c:pt idx="41671">
                  <c:v>25.610493287299512</c:v>
                </c:pt>
                <c:pt idx="41672">
                  <c:v>29.678536174749606</c:v>
                </c:pt>
                <c:pt idx="41673">
                  <c:v>27.087122779544043</c:v>
                </c:pt>
                <c:pt idx="41674">
                  <c:v>35.972876113604009</c:v>
                </c:pt>
                <c:pt idx="41675">
                  <c:v>38.285802266888098</c:v>
                </c:pt>
                <c:pt idx="41676">
                  <c:v>27.477166322797835</c:v>
                </c:pt>
                <c:pt idx="41677">
                  <c:v>26.74296516486914</c:v>
                </c:pt>
                <c:pt idx="41678">
                  <c:v>23.808602722132392</c:v>
                </c:pt>
                <c:pt idx="41679">
                  <c:v>21.961426965188934</c:v>
                </c:pt>
                <c:pt idx="41680">
                  <c:v>51.095382379225981</c:v>
                </c:pt>
                <c:pt idx="41681">
                  <c:v>25.664719208359834</c:v>
                </c:pt>
                <c:pt idx="41682">
                  <c:v>27.681107413553367</c:v>
                </c:pt>
                <c:pt idx="41683">
                  <c:v>25.359066409869634</c:v>
                </c:pt>
                <c:pt idx="41684">
                  <c:v>28.30056900787319</c:v>
                </c:pt>
                <c:pt idx="41685">
                  <c:v>19.110619990537376</c:v>
                </c:pt>
                <c:pt idx="41686">
                  <c:v>48.686090103484823</c:v>
                </c:pt>
                <c:pt idx="41687">
                  <c:v>44.008067521377697</c:v>
                </c:pt>
                <c:pt idx="41688">
                  <c:v>40.976264115515804</c:v>
                </c:pt>
                <c:pt idx="41689">
                  <c:v>21.337250430572873</c:v>
                </c:pt>
                <c:pt idx="41690">
                  <c:v>22.357293300028232</c:v>
                </c:pt>
                <c:pt idx="41691">
                  <c:v>32.135975567759765</c:v>
                </c:pt>
                <c:pt idx="41692">
                  <c:v>30.833412274661484</c:v>
                </c:pt>
                <c:pt idx="41693">
                  <c:v>31.235507582768808</c:v>
                </c:pt>
                <c:pt idx="41694">
                  <c:v>54.142620524221485</c:v>
                </c:pt>
                <c:pt idx="41695">
                  <c:v>22.621723264297525</c:v>
                </c:pt>
                <c:pt idx="41696">
                  <c:v>33.062833952238194</c:v>
                </c:pt>
                <c:pt idx="41697">
                  <c:v>30.232925954943944</c:v>
                </c:pt>
                <c:pt idx="41698">
                  <c:v>24.907814094781191</c:v>
                </c:pt>
                <c:pt idx="41699">
                  <c:v>23.221536735578486</c:v>
                </c:pt>
                <c:pt idx="41700">
                  <c:v>38.03399312809303</c:v>
                </c:pt>
                <c:pt idx="41701">
                  <c:v>22.887094903791436</c:v>
                </c:pt>
                <c:pt idx="41702">
                  <c:v>30.761241556646745</c:v>
                </c:pt>
                <c:pt idx="41703">
                  <c:v>42.983411345092186</c:v>
                </c:pt>
                <c:pt idx="41704">
                  <c:v>23.430252799223663</c:v>
                </c:pt>
                <c:pt idx="41705">
                  <c:v>44.329266942610914</c:v>
                </c:pt>
                <c:pt idx="41706">
                  <c:v>25.822558060213488</c:v>
                </c:pt>
                <c:pt idx="41707">
                  <c:v>19.192756777890146</c:v>
                </c:pt>
                <c:pt idx="41708">
                  <c:v>21.534563612269565</c:v>
                </c:pt>
                <c:pt idx="41709">
                  <c:v>33.838585729579634</c:v>
                </c:pt>
                <c:pt idx="41710">
                  <c:v>24.948757488746679</c:v>
                </c:pt>
                <c:pt idx="41711">
                  <c:v>37.512133360809997</c:v>
                </c:pt>
                <c:pt idx="41712">
                  <c:v>52.69996965634256</c:v>
                </c:pt>
                <c:pt idx="41713">
                  <c:v>25.643656908429392</c:v>
                </c:pt>
                <c:pt idx="41714">
                  <c:v>62.032952123339967</c:v>
                </c:pt>
                <c:pt idx="41715">
                  <c:v>17.460955673944216</c:v>
                </c:pt>
                <c:pt idx="41716">
                  <c:v>24.822921342299647</c:v>
                </c:pt>
                <c:pt idx="41717">
                  <c:v>24.560585318611142</c:v>
                </c:pt>
                <c:pt idx="41718">
                  <c:v>31.574088229613835</c:v>
                </c:pt>
                <c:pt idx="41719">
                  <c:v>23.817270541788709</c:v>
                </c:pt>
                <c:pt idx="41720">
                  <c:v>24.753807601904967</c:v>
                </c:pt>
                <c:pt idx="41721">
                  <c:v>14.872838067282228</c:v>
                </c:pt>
                <c:pt idx="41722">
                  <c:v>29.07412880525893</c:v>
                </c:pt>
                <c:pt idx="41723">
                  <c:v>24.736985952870644</c:v>
                </c:pt>
                <c:pt idx="41724">
                  <c:v>28.594285782015277</c:v>
                </c:pt>
                <c:pt idx="41725">
                  <c:v>31.410287465183277</c:v>
                </c:pt>
                <c:pt idx="41726">
                  <c:v>25.686249157518045</c:v>
                </c:pt>
                <c:pt idx="41727">
                  <c:v>36.781745036616805</c:v>
                </c:pt>
                <c:pt idx="41728">
                  <c:v>34.18637646853675</c:v>
                </c:pt>
                <c:pt idx="41729">
                  <c:v>38.666739396775249</c:v>
                </c:pt>
                <c:pt idx="41730">
                  <c:v>25.999122340742076</c:v>
                </c:pt>
                <c:pt idx="41731">
                  <c:v>57.178626042871407</c:v>
                </c:pt>
                <c:pt idx="41732">
                  <c:v>17.120503674367171</c:v>
                </c:pt>
                <c:pt idx="41733">
                  <c:v>27.329624967943509</c:v>
                </c:pt>
                <c:pt idx="41734">
                  <c:v>21.618307136918304</c:v>
                </c:pt>
                <c:pt idx="41735">
                  <c:v>53.693401392028633</c:v>
                </c:pt>
                <c:pt idx="41736">
                  <c:v>30.460136806650176</c:v>
                </c:pt>
                <c:pt idx="41737">
                  <c:v>23.862116421233228</c:v>
                </c:pt>
                <c:pt idx="41738">
                  <c:v>37.509981808975752</c:v>
                </c:pt>
                <c:pt idx="41739">
                  <c:v>29.106644461049605</c:v>
                </c:pt>
                <c:pt idx="41740">
                  <c:v>37.382079907094571</c:v>
                </c:pt>
                <c:pt idx="41741">
                  <c:v>25.609792673101083</c:v>
                </c:pt>
                <c:pt idx="41742">
                  <c:v>36.046309235778544</c:v>
                </c:pt>
                <c:pt idx="41743">
                  <c:v>45.301414787943855</c:v>
                </c:pt>
                <c:pt idx="41744">
                  <c:v>27.907916360626565</c:v>
                </c:pt>
                <c:pt idx="41745">
                  <c:v>47.25440889259275</c:v>
                </c:pt>
                <c:pt idx="41746">
                  <c:v>32.271480216984187</c:v>
                </c:pt>
                <c:pt idx="41747">
                  <c:v>31.123633873203818</c:v>
                </c:pt>
                <c:pt idx="41748">
                  <c:v>27.460232134162709</c:v>
                </c:pt>
                <c:pt idx="41749">
                  <c:v>30.439835869118561</c:v>
                </c:pt>
                <c:pt idx="41750">
                  <c:v>32.673259001540551</c:v>
                </c:pt>
                <c:pt idx="41751">
                  <c:v>50.886607052063525</c:v>
                </c:pt>
                <c:pt idx="41752">
                  <c:v>49.120071847191333</c:v>
                </c:pt>
                <c:pt idx="41753">
                  <c:v>56.804603897639247</c:v>
                </c:pt>
                <c:pt idx="41754">
                  <c:v>33.069193360664137</c:v>
                </c:pt>
                <c:pt idx="41755">
                  <c:v>33.467551204868371</c:v>
                </c:pt>
                <c:pt idx="41756">
                  <c:v>26.713543822919995</c:v>
                </c:pt>
                <c:pt idx="41757">
                  <c:v>21.714471342652807</c:v>
                </c:pt>
                <c:pt idx="41758">
                  <c:v>42.568393725567034</c:v>
                </c:pt>
                <c:pt idx="41759">
                  <c:v>24.650568148021755</c:v>
                </c:pt>
                <c:pt idx="41760">
                  <c:v>28.666121100570088</c:v>
                </c:pt>
                <c:pt idx="41761">
                  <c:v>27.099830319875789</c:v>
                </c:pt>
                <c:pt idx="41762">
                  <c:v>31.439254650265845</c:v>
                </c:pt>
                <c:pt idx="41763">
                  <c:v>41.148386775473917</c:v>
                </c:pt>
                <c:pt idx="41764">
                  <c:v>27.960889965256868</c:v>
                </c:pt>
                <c:pt idx="41765">
                  <c:v>29.670833958808892</c:v>
                </c:pt>
                <c:pt idx="41766">
                  <c:v>39.866663734496768</c:v>
                </c:pt>
                <c:pt idx="41767">
                  <c:v>27.088975220314246</c:v>
                </c:pt>
                <c:pt idx="41768">
                  <c:v>31.399133814583294</c:v>
                </c:pt>
                <c:pt idx="41769">
                  <c:v>27.138149278879006</c:v>
                </c:pt>
                <c:pt idx="41770">
                  <c:v>23.538627695520734</c:v>
                </c:pt>
                <c:pt idx="41771">
                  <c:v>28.016458766666275</c:v>
                </c:pt>
                <c:pt idx="41772">
                  <c:v>23.37960877888289</c:v>
                </c:pt>
                <c:pt idx="41773">
                  <c:v>41.689757100671436</c:v>
                </c:pt>
                <c:pt idx="41774">
                  <c:v>22.966447716454745</c:v>
                </c:pt>
                <c:pt idx="41775">
                  <c:v>30.310935534311501</c:v>
                </c:pt>
                <c:pt idx="41776">
                  <c:v>64.392835363026947</c:v>
                </c:pt>
                <c:pt idx="41777">
                  <c:v>22.868281050327166</c:v>
                </c:pt>
                <c:pt idx="41778">
                  <c:v>24.875547345632011</c:v>
                </c:pt>
                <c:pt idx="41779">
                  <c:v>21.17865002691472</c:v>
                </c:pt>
                <c:pt idx="41780">
                  <c:v>24.069983556702073</c:v>
                </c:pt>
                <c:pt idx="41781">
                  <c:v>48.343132494865962</c:v>
                </c:pt>
                <c:pt idx="41782">
                  <c:v>24.510494232890345</c:v>
                </c:pt>
                <c:pt idx="41783">
                  <c:v>46.6487208497757</c:v>
                </c:pt>
                <c:pt idx="41784">
                  <c:v>21.134670488884623</c:v>
                </c:pt>
                <c:pt idx="41785">
                  <c:v>26.312692072700081</c:v>
                </c:pt>
                <c:pt idx="41786">
                  <c:v>28.990940271136882</c:v>
                </c:pt>
                <c:pt idx="41787">
                  <c:v>27.971964670032811</c:v>
                </c:pt>
                <c:pt idx="41788">
                  <c:v>28.792057455055268</c:v>
                </c:pt>
                <c:pt idx="41789">
                  <c:v>29.855304197981816</c:v>
                </c:pt>
                <c:pt idx="41790">
                  <c:v>21.877669064742271</c:v>
                </c:pt>
                <c:pt idx="41791">
                  <c:v>43.131947138941591</c:v>
                </c:pt>
                <c:pt idx="41792">
                  <c:v>21.967230386563642</c:v>
                </c:pt>
                <c:pt idx="41793">
                  <c:v>24.534782850422687</c:v>
                </c:pt>
                <c:pt idx="41794">
                  <c:v>23.073032412465373</c:v>
                </c:pt>
                <c:pt idx="41795">
                  <c:v>40.392365386623617</c:v>
                </c:pt>
                <c:pt idx="41796">
                  <c:v>25.976530071863685</c:v>
                </c:pt>
                <c:pt idx="41797">
                  <c:v>22.151726903329212</c:v>
                </c:pt>
                <c:pt idx="41798">
                  <c:v>25.306227763281633</c:v>
                </c:pt>
                <c:pt idx="41799">
                  <c:v>17.097583477669865</c:v>
                </c:pt>
                <c:pt idx="41800">
                  <c:v>34.334682683389602</c:v>
                </c:pt>
                <c:pt idx="41801">
                  <c:v>32.654931280910475</c:v>
                </c:pt>
                <c:pt idx="41802">
                  <c:v>28.013424453303969</c:v>
                </c:pt>
                <c:pt idx="41803">
                  <c:v>38.680187331753302</c:v>
                </c:pt>
                <c:pt idx="41804">
                  <c:v>19.171223167518665</c:v>
                </c:pt>
                <c:pt idx="41805">
                  <c:v>28.404463467693869</c:v>
                </c:pt>
                <c:pt idx="41806">
                  <c:v>30.655202217337745</c:v>
                </c:pt>
                <c:pt idx="41807">
                  <c:v>41.447650629620412</c:v>
                </c:pt>
                <c:pt idx="41808">
                  <c:v>25.578605620699257</c:v>
                </c:pt>
                <c:pt idx="41809">
                  <c:v>22.678035382093721</c:v>
                </c:pt>
                <c:pt idx="41810">
                  <c:v>34.514257652078982</c:v>
                </c:pt>
                <c:pt idx="41811">
                  <c:v>28.068719710236504</c:v>
                </c:pt>
                <c:pt idx="41812">
                  <c:v>20.599685264591905</c:v>
                </c:pt>
                <c:pt idx="41813">
                  <c:v>50.601509557607535</c:v>
                </c:pt>
                <c:pt idx="41814">
                  <c:v>33.696861105203581</c:v>
                </c:pt>
                <c:pt idx="41815">
                  <c:v>53.63519460249438</c:v>
                </c:pt>
                <c:pt idx="41816">
                  <c:v>36.747345010125969</c:v>
                </c:pt>
                <c:pt idx="41817">
                  <c:v>25.695750482807007</c:v>
                </c:pt>
                <c:pt idx="41818">
                  <c:v>28.235927914245011</c:v>
                </c:pt>
                <c:pt idx="41819">
                  <c:v>35.482126997501979</c:v>
                </c:pt>
                <c:pt idx="41820">
                  <c:v>27.769506833394161</c:v>
                </c:pt>
                <c:pt idx="41821">
                  <c:v>18.663571052952925</c:v>
                </c:pt>
                <c:pt idx="41822">
                  <c:v>31.360951506550535</c:v>
                </c:pt>
                <c:pt idx="41823">
                  <c:v>24.272498145274273</c:v>
                </c:pt>
                <c:pt idx="41824">
                  <c:v>41.608548646597249</c:v>
                </c:pt>
                <c:pt idx="41825">
                  <c:v>28.544728790434093</c:v>
                </c:pt>
                <c:pt idx="41826">
                  <c:v>28.387530538277179</c:v>
                </c:pt>
                <c:pt idx="41827">
                  <c:v>28.424176017403024</c:v>
                </c:pt>
                <c:pt idx="41828">
                  <c:v>43.244551518105183</c:v>
                </c:pt>
                <c:pt idx="41829">
                  <c:v>47.474399187661156</c:v>
                </c:pt>
                <c:pt idx="41830">
                  <c:v>28.312527905516582</c:v>
                </c:pt>
                <c:pt idx="41831">
                  <c:v>30.95602398677137</c:v>
                </c:pt>
                <c:pt idx="41832">
                  <c:v>50.15673990378496</c:v>
                </c:pt>
                <c:pt idx="41833">
                  <c:v>39.167975942771619</c:v>
                </c:pt>
                <c:pt idx="41834">
                  <c:v>26.76408643931595</c:v>
                </c:pt>
                <c:pt idx="41835">
                  <c:v>20.235593409881396</c:v>
                </c:pt>
                <c:pt idx="41836">
                  <c:v>16.949837409363713</c:v>
                </c:pt>
                <c:pt idx="41837">
                  <c:v>30.226945458918731</c:v>
                </c:pt>
                <c:pt idx="41838">
                  <c:v>22.629104620249361</c:v>
                </c:pt>
                <c:pt idx="41839">
                  <c:v>26.598403260098372</c:v>
                </c:pt>
                <c:pt idx="41840">
                  <c:v>25.292663561114693</c:v>
                </c:pt>
                <c:pt idx="41841">
                  <c:v>37.678640044088112</c:v>
                </c:pt>
                <c:pt idx="41842">
                  <c:v>24.609188361236459</c:v>
                </c:pt>
                <c:pt idx="41843">
                  <c:v>27.682486120961791</c:v>
                </c:pt>
                <c:pt idx="41844">
                  <c:v>24.181857314147098</c:v>
                </c:pt>
                <c:pt idx="41845">
                  <c:v>31.201358661759841</c:v>
                </c:pt>
                <c:pt idx="41846">
                  <c:v>22.345086681924048</c:v>
                </c:pt>
                <c:pt idx="41847">
                  <c:v>28.85405356961536</c:v>
                </c:pt>
                <c:pt idx="41848">
                  <c:v>19.450123822545379</c:v>
                </c:pt>
                <c:pt idx="41849">
                  <c:v>37.932034024812722</c:v>
                </c:pt>
                <c:pt idx="41850">
                  <c:v>45.364042830942644</c:v>
                </c:pt>
                <c:pt idx="41851">
                  <c:v>28.570267600887163</c:v>
                </c:pt>
                <c:pt idx="41852">
                  <c:v>18.932059768709387</c:v>
                </c:pt>
                <c:pt idx="41853">
                  <c:v>22.800394461402497</c:v>
                </c:pt>
                <c:pt idx="41854">
                  <c:v>23.820401151281398</c:v>
                </c:pt>
                <c:pt idx="41855">
                  <c:v>32.073221131483237</c:v>
                </c:pt>
                <c:pt idx="41856">
                  <c:v>45.246987698594367</c:v>
                </c:pt>
                <c:pt idx="41857">
                  <c:v>54.111520556388491</c:v>
                </c:pt>
                <c:pt idx="41858">
                  <c:v>16.525026222983254</c:v>
                </c:pt>
                <c:pt idx="41859">
                  <c:v>53.328478210934144</c:v>
                </c:pt>
                <c:pt idx="41860">
                  <c:v>25.934025098023866</c:v>
                </c:pt>
                <c:pt idx="41861">
                  <c:v>49.493259538271708</c:v>
                </c:pt>
                <c:pt idx="41862">
                  <c:v>21.170614427938595</c:v>
                </c:pt>
                <c:pt idx="41863">
                  <c:v>45.504597850526494</c:v>
                </c:pt>
                <c:pt idx="41864">
                  <c:v>28.757739322184506</c:v>
                </c:pt>
                <c:pt idx="41865">
                  <c:v>35.65418669777452</c:v>
                </c:pt>
                <c:pt idx="41866">
                  <c:v>26.391004300504125</c:v>
                </c:pt>
                <c:pt idx="41867">
                  <c:v>48.525683284966483</c:v>
                </c:pt>
                <c:pt idx="41868">
                  <c:v>32.65261233866115</c:v>
                </c:pt>
                <c:pt idx="41869">
                  <c:v>36.433303272868898</c:v>
                </c:pt>
                <c:pt idx="41870">
                  <c:v>20.805924827225514</c:v>
                </c:pt>
                <c:pt idx="41871">
                  <c:v>31.391781831328995</c:v>
                </c:pt>
                <c:pt idx="41872">
                  <c:v>27.070658174035145</c:v>
                </c:pt>
                <c:pt idx="41873">
                  <c:v>21.903193362709509</c:v>
                </c:pt>
                <c:pt idx="41874">
                  <c:v>57.466705974973117</c:v>
                </c:pt>
                <c:pt idx="41875">
                  <c:v>27.1678329216736</c:v>
                </c:pt>
                <c:pt idx="41876">
                  <c:v>55.116194217125852</c:v>
                </c:pt>
                <c:pt idx="41877">
                  <c:v>21.530620823466645</c:v>
                </c:pt>
                <c:pt idx="41878">
                  <c:v>39.819374777211138</c:v>
                </c:pt>
                <c:pt idx="41879">
                  <c:v>33.474945970422361</c:v>
                </c:pt>
                <c:pt idx="41880">
                  <c:v>19.26355380593029</c:v>
                </c:pt>
                <c:pt idx="41881">
                  <c:v>53.092540329141848</c:v>
                </c:pt>
                <c:pt idx="41882">
                  <c:v>45.81048315156729</c:v>
                </c:pt>
                <c:pt idx="41883">
                  <c:v>16.710061936033583</c:v>
                </c:pt>
                <c:pt idx="41884">
                  <c:v>28.581212627114127</c:v>
                </c:pt>
                <c:pt idx="41885">
                  <c:v>28.113734169308756</c:v>
                </c:pt>
                <c:pt idx="41886">
                  <c:v>23.03520415729815</c:v>
                </c:pt>
                <c:pt idx="41887">
                  <c:v>25.448629992008218</c:v>
                </c:pt>
                <c:pt idx="41888">
                  <c:v>16.404112179515444</c:v>
                </c:pt>
                <c:pt idx="41889">
                  <c:v>43.943206403720538</c:v>
                </c:pt>
                <c:pt idx="41890">
                  <c:v>42.38179836246254</c:v>
                </c:pt>
                <c:pt idx="41891">
                  <c:v>48.011042383454168</c:v>
                </c:pt>
                <c:pt idx="41892">
                  <c:v>26.709873020282672</c:v>
                </c:pt>
                <c:pt idx="41893">
                  <c:v>52.177481370191089</c:v>
                </c:pt>
                <c:pt idx="41894">
                  <c:v>27.567590905812029</c:v>
                </c:pt>
                <c:pt idx="41895">
                  <c:v>31.025362495275083</c:v>
                </c:pt>
                <c:pt idx="41896">
                  <c:v>26.59687553068283</c:v>
                </c:pt>
                <c:pt idx="41897">
                  <c:v>28.728493391981047</c:v>
                </c:pt>
                <c:pt idx="41898">
                  <c:v>43.046444001362609</c:v>
                </c:pt>
                <c:pt idx="41899">
                  <c:v>55.789356406896914</c:v>
                </c:pt>
                <c:pt idx="41900">
                  <c:v>22.01685263285863</c:v>
                </c:pt>
                <c:pt idx="41901">
                  <c:v>24.885974325639673</c:v>
                </c:pt>
                <c:pt idx="41902">
                  <c:v>29.407865594136037</c:v>
                </c:pt>
                <c:pt idx="41903">
                  <c:v>24.314680692474258</c:v>
                </c:pt>
                <c:pt idx="41904">
                  <c:v>29.356186934940052</c:v>
                </c:pt>
                <c:pt idx="41905">
                  <c:v>18.330896926816337</c:v>
                </c:pt>
                <c:pt idx="41906">
                  <c:v>24.913858784123576</c:v>
                </c:pt>
                <c:pt idx="41907">
                  <c:v>26.469137251117097</c:v>
                </c:pt>
                <c:pt idx="41908">
                  <c:v>39.285742419073273</c:v>
                </c:pt>
                <c:pt idx="41909">
                  <c:v>21.11608510726985</c:v>
                </c:pt>
                <c:pt idx="41910">
                  <c:v>25.188473550228519</c:v>
                </c:pt>
                <c:pt idx="41911">
                  <c:v>27.476192582640664</c:v>
                </c:pt>
                <c:pt idx="41912">
                  <c:v>32.267835398641033</c:v>
                </c:pt>
                <c:pt idx="41913">
                  <c:v>27.230622457646035</c:v>
                </c:pt>
                <c:pt idx="41914">
                  <c:v>54.513659569122737</c:v>
                </c:pt>
                <c:pt idx="41915">
                  <c:v>33.18264337142498</c:v>
                </c:pt>
                <c:pt idx="41916">
                  <c:v>29.858848863891566</c:v>
                </c:pt>
                <c:pt idx="41917">
                  <c:v>58.923275132166367</c:v>
                </c:pt>
                <c:pt idx="41918">
                  <c:v>31.368176605008745</c:v>
                </c:pt>
                <c:pt idx="41919">
                  <c:v>39.721298709366337</c:v>
                </c:pt>
                <c:pt idx="41920">
                  <c:v>26.738750364616692</c:v>
                </c:pt>
                <c:pt idx="41921">
                  <c:v>21.778549200098311</c:v>
                </c:pt>
                <c:pt idx="41922">
                  <c:v>46.859075062930536</c:v>
                </c:pt>
                <c:pt idx="41923">
                  <c:v>23.049150834978235</c:v>
                </c:pt>
                <c:pt idx="41924">
                  <c:v>26.847761391673153</c:v>
                </c:pt>
                <c:pt idx="41925">
                  <c:v>27.789507702776802</c:v>
                </c:pt>
                <c:pt idx="41926">
                  <c:v>31.909385327041345</c:v>
                </c:pt>
                <c:pt idx="41927">
                  <c:v>35.974976448666879</c:v>
                </c:pt>
                <c:pt idx="41928">
                  <c:v>45.62785036793322</c:v>
                </c:pt>
                <c:pt idx="41929">
                  <c:v>23.725162426285962</c:v>
                </c:pt>
                <c:pt idx="41930">
                  <c:v>23.555091935966139</c:v>
                </c:pt>
                <c:pt idx="41931">
                  <c:v>28.557646581965503</c:v>
                </c:pt>
                <c:pt idx="41932">
                  <c:v>26.384389591420806</c:v>
                </c:pt>
                <c:pt idx="41933">
                  <c:v>24.601765589212356</c:v>
                </c:pt>
                <c:pt idx="41934">
                  <c:v>27.539480281531397</c:v>
                </c:pt>
                <c:pt idx="41935">
                  <c:v>44.306896257144501</c:v>
                </c:pt>
                <c:pt idx="41936">
                  <c:v>38.880950024459246</c:v>
                </c:pt>
                <c:pt idx="41937">
                  <c:v>21.774618829487228</c:v>
                </c:pt>
                <c:pt idx="41938">
                  <c:v>26.8197771247481</c:v>
                </c:pt>
                <c:pt idx="41939">
                  <c:v>26.904642254668786</c:v>
                </c:pt>
                <c:pt idx="41940">
                  <c:v>25.455910780414946</c:v>
                </c:pt>
                <c:pt idx="41941">
                  <c:v>36.96160636154147</c:v>
                </c:pt>
                <c:pt idx="41942">
                  <c:v>49.46133198141446</c:v>
                </c:pt>
                <c:pt idx="41943">
                  <c:v>57.886552495523347</c:v>
                </c:pt>
                <c:pt idx="41944">
                  <c:v>28.40479296830949</c:v>
                </c:pt>
                <c:pt idx="41945">
                  <c:v>27.179092727937523</c:v>
                </c:pt>
                <c:pt idx="41946">
                  <c:v>25.130262240638071</c:v>
                </c:pt>
                <c:pt idx="41947">
                  <c:v>42.809613709874</c:v>
                </c:pt>
                <c:pt idx="41948">
                  <c:v>25.188667390477406</c:v>
                </c:pt>
                <c:pt idx="41949">
                  <c:v>19.442887729198727</c:v>
                </c:pt>
                <c:pt idx="41950">
                  <c:v>21.696087184259248</c:v>
                </c:pt>
                <c:pt idx="41951">
                  <c:v>37.951236865733868</c:v>
                </c:pt>
                <c:pt idx="41952">
                  <c:v>32.126420803309237</c:v>
                </c:pt>
                <c:pt idx="41953">
                  <c:v>27.946187824506875</c:v>
                </c:pt>
                <c:pt idx="41954">
                  <c:v>25.400420126304262</c:v>
                </c:pt>
                <c:pt idx="41955">
                  <c:v>31.678588243958036</c:v>
                </c:pt>
                <c:pt idx="41956">
                  <c:v>25.628006750397688</c:v>
                </c:pt>
                <c:pt idx="41957">
                  <c:v>23.214067711317234</c:v>
                </c:pt>
                <c:pt idx="41958">
                  <c:v>45.735193739089517</c:v>
                </c:pt>
                <c:pt idx="41959">
                  <c:v>16.223714924529556</c:v>
                </c:pt>
                <c:pt idx="41960">
                  <c:v>46.997550468743917</c:v>
                </c:pt>
                <c:pt idx="41961">
                  <c:v>39.421663536143328</c:v>
                </c:pt>
                <c:pt idx="41962">
                  <c:v>25.417167560273697</c:v>
                </c:pt>
                <c:pt idx="41963">
                  <c:v>51.634956799790984</c:v>
                </c:pt>
                <c:pt idx="41964">
                  <c:v>19.604513839049826</c:v>
                </c:pt>
                <c:pt idx="41965">
                  <c:v>40.689167789797125</c:v>
                </c:pt>
                <c:pt idx="41966">
                  <c:v>22.49896768293026</c:v>
                </c:pt>
                <c:pt idx="41967">
                  <c:v>24.03643375591696</c:v>
                </c:pt>
                <c:pt idx="41968">
                  <c:v>28.914321069881119</c:v>
                </c:pt>
                <c:pt idx="41969">
                  <c:v>22.412148042740899</c:v>
                </c:pt>
                <c:pt idx="41970">
                  <c:v>27.659378536322258</c:v>
                </c:pt>
                <c:pt idx="41971">
                  <c:v>35.414812448816605</c:v>
                </c:pt>
                <c:pt idx="41972">
                  <c:v>25.731498719415121</c:v>
                </c:pt>
                <c:pt idx="41973">
                  <c:v>31.516625943092997</c:v>
                </c:pt>
                <c:pt idx="41974">
                  <c:v>21.890184549100656</c:v>
                </c:pt>
                <c:pt idx="41975">
                  <c:v>24.897002027547998</c:v>
                </c:pt>
                <c:pt idx="41976">
                  <c:v>42.328181351099012</c:v>
                </c:pt>
                <c:pt idx="41977">
                  <c:v>28.233344801848258</c:v>
                </c:pt>
                <c:pt idx="41978">
                  <c:v>31.189601481269197</c:v>
                </c:pt>
                <c:pt idx="41979">
                  <c:v>22.821044577293073</c:v>
                </c:pt>
                <c:pt idx="41980">
                  <c:v>28.470577162277475</c:v>
                </c:pt>
                <c:pt idx="41981">
                  <c:v>44.665696189280382</c:v>
                </c:pt>
                <c:pt idx="41982">
                  <c:v>23.28028180228803</c:v>
                </c:pt>
                <c:pt idx="41983">
                  <c:v>54.401698537501531</c:v>
                </c:pt>
                <c:pt idx="41984">
                  <c:v>30.472070317846441</c:v>
                </c:pt>
                <c:pt idx="41985">
                  <c:v>20.202405084389099</c:v>
                </c:pt>
                <c:pt idx="41986">
                  <c:v>46.508931930604547</c:v>
                </c:pt>
                <c:pt idx="41987">
                  <c:v>29.638180714336645</c:v>
                </c:pt>
                <c:pt idx="41988">
                  <c:v>45.102041424750823</c:v>
                </c:pt>
                <c:pt idx="41989">
                  <c:v>32.32110554579554</c:v>
                </c:pt>
                <c:pt idx="41990">
                  <c:v>23.502692746450272</c:v>
                </c:pt>
                <c:pt idx="41991">
                  <c:v>25.887257940072718</c:v>
                </c:pt>
                <c:pt idx="41992">
                  <c:v>49.430606998762514</c:v>
                </c:pt>
                <c:pt idx="41993">
                  <c:v>36.866414777966284</c:v>
                </c:pt>
                <c:pt idx="41994">
                  <c:v>41.195250098850778</c:v>
                </c:pt>
                <c:pt idx="41995">
                  <c:v>27.350424027449893</c:v>
                </c:pt>
                <c:pt idx="41996">
                  <c:v>24.827943965628446</c:v>
                </c:pt>
                <c:pt idx="41997">
                  <c:v>28.819978031167086</c:v>
                </c:pt>
                <c:pt idx="41998">
                  <c:v>21.235991095677072</c:v>
                </c:pt>
                <c:pt idx="41999">
                  <c:v>25.541921403795321</c:v>
                </c:pt>
                <c:pt idx="42000">
                  <c:v>32.523335115519622</c:v>
                </c:pt>
                <c:pt idx="42001">
                  <c:v>46.776684086577269</c:v>
                </c:pt>
                <c:pt idx="42002">
                  <c:v>30.026735451972755</c:v>
                </c:pt>
                <c:pt idx="42003">
                  <c:v>30.088534435577685</c:v>
                </c:pt>
                <c:pt idx="42004">
                  <c:v>32.007568119695904</c:v>
                </c:pt>
                <c:pt idx="42005">
                  <c:v>47.829116016675648</c:v>
                </c:pt>
                <c:pt idx="42006">
                  <c:v>30.372077338918388</c:v>
                </c:pt>
                <c:pt idx="42007">
                  <c:v>62.478183732977975</c:v>
                </c:pt>
                <c:pt idx="42008">
                  <c:v>24.327358933360728</c:v>
                </c:pt>
                <c:pt idx="42009">
                  <c:v>36.514874942558045</c:v>
                </c:pt>
                <c:pt idx="42010">
                  <c:v>28.927430902115468</c:v>
                </c:pt>
                <c:pt idx="42011">
                  <c:v>24.039876738638807</c:v>
                </c:pt>
                <c:pt idx="42012">
                  <c:v>34.70518351941476</c:v>
                </c:pt>
                <c:pt idx="42013">
                  <c:v>25.31022843818802</c:v>
                </c:pt>
                <c:pt idx="42014">
                  <c:v>23.799555551971398</c:v>
                </c:pt>
                <c:pt idx="42015">
                  <c:v>24.784295830173917</c:v>
                </c:pt>
                <c:pt idx="42016">
                  <c:v>20.321403313624177</c:v>
                </c:pt>
                <c:pt idx="42017">
                  <c:v>25.221201910179186</c:v>
                </c:pt>
                <c:pt idx="42018">
                  <c:v>31.245909820215211</c:v>
                </c:pt>
                <c:pt idx="42019">
                  <c:v>29.51702881766958</c:v>
                </c:pt>
                <c:pt idx="42020">
                  <c:v>45.636523614979922</c:v>
                </c:pt>
                <c:pt idx="42021">
                  <c:v>26.458061225159931</c:v>
                </c:pt>
                <c:pt idx="42022">
                  <c:v>23.034395867148547</c:v>
                </c:pt>
                <c:pt idx="42023">
                  <c:v>20.699291390443129</c:v>
                </c:pt>
                <c:pt idx="42024">
                  <c:v>29.732458588606036</c:v>
                </c:pt>
                <c:pt idx="42025">
                  <c:v>30.188433567040537</c:v>
                </c:pt>
                <c:pt idx="42026">
                  <c:v>22.021483087594298</c:v>
                </c:pt>
                <c:pt idx="42027">
                  <c:v>23.503384707101031</c:v>
                </c:pt>
                <c:pt idx="42028">
                  <c:v>39.185574827904929</c:v>
                </c:pt>
                <c:pt idx="42029">
                  <c:v>29.49481338583103</c:v>
                </c:pt>
                <c:pt idx="42030">
                  <c:v>21.341714292833196</c:v>
                </c:pt>
                <c:pt idx="42031">
                  <c:v>31.76367284966198</c:v>
                </c:pt>
                <c:pt idx="42032">
                  <c:v>28.760516498195102</c:v>
                </c:pt>
                <c:pt idx="42033">
                  <c:v>26.919142250613692</c:v>
                </c:pt>
                <c:pt idx="42034">
                  <c:v>19.883976477627584</c:v>
                </c:pt>
                <c:pt idx="42035">
                  <c:v>30.568557788186158</c:v>
                </c:pt>
                <c:pt idx="42036">
                  <c:v>22.398984394325524</c:v>
                </c:pt>
                <c:pt idx="42037">
                  <c:v>21.330131035510142</c:v>
                </c:pt>
                <c:pt idx="42038">
                  <c:v>19.577477916555512</c:v>
                </c:pt>
                <c:pt idx="42039">
                  <c:v>23.578215374593313</c:v>
                </c:pt>
                <c:pt idx="42040">
                  <c:v>22.112174690482625</c:v>
                </c:pt>
                <c:pt idx="42041">
                  <c:v>36.909541557033528</c:v>
                </c:pt>
                <c:pt idx="42042">
                  <c:v>26.053339724454787</c:v>
                </c:pt>
                <c:pt idx="42043">
                  <c:v>17.674170758992215</c:v>
                </c:pt>
                <c:pt idx="42044">
                  <c:v>24.959046800084231</c:v>
                </c:pt>
                <c:pt idx="42045">
                  <c:v>31.777231653863119</c:v>
                </c:pt>
                <c:pt idx="42046">
                  <c:v>29.141806236219402</c:v>
                </c:pt>
                <c:pt idx="42047">
                  <c:v>51.79135442182978</c:v>
                </c:pt>
                <c:pt idx="42048">
                  <c:v>28.521029304745902</c:v>
                </c:pt>
                <c:pt idx="42049">
                  <c:v>56.192090741286357</c:v>
                </c:pt>
                <c:pt idx="42050">
                  <c:v>27.207362400229336</c:v>
                </c:pt>
                <c:pt idx="42051">
                  <c:v>46.373098377758886</c:v>
                </c:pt>
                <c:pt idx="42052">
                  <c:v>31.19347092929387</c:v>
                </c:pt>
                <c:pt idx="42053">
                  <c:v>23.08505571232849</c:v>
                </c:pt>
                <c:pt idx="42054">
                  <c:v>34.215217787355058</c:v>
                </c:pt>
                <c:pt idx="42055">
                  <c:v>25.504975073482523</c:v>
                </c:pt>
                <c:pt idx="42056">
                  <c:v>63.701843780042836</c:v>
                </c:pt>
                <c:pt idx="42057">
                  <c:v>28.30541287618157</c:v>
                </c:pt>
                <c:pt idx="42058">
                  <c:v>32.407043240874728</c:v>
                </c:pt>
                <c:pt idx="42059">
                  <c:v>29.553356445969829</c:v>
                </c:pt>
                <c:pt idx="42060">
                  <c:v>23.951202213716748</c:v>
                </c:pt>
                <c:pt idx="42061">
                  <c:v>25.181518275159256</c:v>
                </c:pt>
                <c:pt idx="42062">
                  <c:v>45.01356158869357</c:v>
                </c:pt>
                <c:pt idx="42063">
                  <c:v>15.164466443299681</c:v>
                </c:pt>
                <c:pt idx="42064">
                  <c:v>34.851895262932572</c:v>
                </c:pt>
                <c:pt idx="42065">
                  <c:v>25.492841028706195</c:v>
                </c:pt>
                <c:pt idx="42066">
                  <c:v>28.626577518902629</c:v>
                </c:pt>
                <c:pt idx="42067">
                  <c:v>21.982942568880048</c:v>
                </c:pt>
                <c:pt idx="42068">
                  <c:v>25.774650127283337</c:v>
                </c:pt>
                <c:pt idx="42069">
                  <c:v>44.786759035674599</c:v>
                </c:pt>
                <c:pt idx="42070">
                  <c:v>29.527002768696796</c:v>
                </c:pt>
                <c:pt idx="42071">
                  <c:v>40.297010312765273</c:v>
                </c:pt>
                <c:pt idx="42072">
                  <c:v>20.201074367764754</c:v>
                </c:pt>
                <c:pt idx="42073">
                  <c:v>31.243864110242932</c:v>
                </c:pt>
                <c:pt idx="42074">
                  <c:v>42.504842696790426</c:v>
                </c:pt>
                <c:pt idx="42075">
                  <c:v>33.790738569645413</c:v>
                </c:pt>
                <c:pt idx="42076">
                  <c:v>52.287699359881188</c:v>
                </c:pt>
                <c:pt idx="42077">
                  <c:v>22.541094241754269</c:v>
                </c:pt>
                <c:pt idx="42078">
                  <c:v>36.002256186958817</c:v>
                </c:pt>
                <c:pt idx="42079">
                  <c:v>17.632708738943887</c:v>
                </c:pt>
                <c:pt idx="42080">
                  <c:v>28.065729952722549</c:v>
                </c:pt>
                <c:pt idx="42081">
                  <c:v>36.627380803585481</c:v>
                </c:pt>
                <c:pt idx="42082">
                  <c:v>35.019559666614875</c:v>
                </c:pt>
                <c:pt idx="42083">
                  <c:v>24.766587349049015</c:v>
                </c:pt>
                <c:pt idx="42084">
                  <c:v>46.087140878799104</c:v>
                </c:pt>
                <c:pt idx="42085">
                  <c:v>27.482311168204685</c:v>
                </c:pt>
                <c:pt idx="42086">
                  <c:v>47.761020401238035</c:v>
                </c:pt>
                <c:pt idx="42087">
                  <c:v>34.010741364507091</c:v>
                </c:pt>
                <c:pt idx="42088">
                  <c:v>20.285205914094771</c:v>
                </c:pt>
                <c:pt idx="42089">
                  <c:v>48.16783282464089</c:v>
                </c:pt>
                <c:pt idx="42090">
                  <c:v>45.038289659612133</c:v>
                </c:pt>
                <c:pt idx="42091">
                  <c:v>31.430543135125525</c:v>
                </c:pt>
                <c:pt idx="42092">
                  <c:v>26.821103035096595</c:v>
                </c:pt>
                <c:pt idx="42093">
                  <c:v>22.01053014174062</c:v>
                </c:pt>
                <c:pt idx="42094">
                  <c:v>22.157261218055805</c:v>
                </c:pt>
                <c:pt idx="42095">
                  <c:v>37.332493405892407</c:v>
                </c:pt>
                <c:pt idx="42096">
                  <c:v>29.140273275158673</c:v>
                </c:pt>
                <c:pt idx="42097">
                  <c:v>24.171662759804093</c:v>
                </c:pt>
                <c:pt idx="42098">
                  <c:v>33.313528805431062</c:v>
                </c:pt>
                <c:pt idx="42099">
                  <c:v>34.218567048794249</c:v>
                </c:pt>
                <c:pt idx="42100">
                  <c:v>29.638149498341683</c:v>
                </c:pt>
                <c:pt idx="42101">
                  <c:v>16.071638809071381</c:v>
                </c:pt>
                <c:pt idx="42102">
                  <c:v>23.836734739908895</c:v>
                </c:pt>
                <c:pt idx="42103">
                  <c:v>23.728938012149754</c:v>
                </c:pt>
                <c:pt idx="42104">
                  <c:v>27.854316771353329</c:v>
                </c:pt>
                <c:pt idx="42105">
                  <c:v>29.242847242465636</c:v>
                </c:pt>
                <c:pt idx="42106">
                  <c:v>26.400894899312735</c:v>
                </c:pt>
                <c:pt idx="42107">
                  <c:v>19.710380868318573</c:v>
                </c:pt>
                <c:pt idx="42108">
                  <c:v>29.999310421840324</c:v>
                </c:pt>
                <c:pt idx="42109">
                  <c:v>24.535966195084164</c:v>
                </c:pt>
                <c:pt idx="42110">
                  <c:v>30.516486139843973</c:v>
                </c:pt>
                <c:pt idx="42111">
                  <c:v>25.94094604487017</c:v>
                </c:pt>
                <c:pt idx="42112">
                  <c:v>51.011519973371279</c:v>
                </c:pt>
                <c:pt idx="42113">
                  <c:v>29.826105017548151</c:v>
                </c:pt>
                <c:pt idx="42114">
                  <c:v>40.961151186415819</c:v>
                </c:pt>
                <c:pt idx="42115">
                  <c:v>20.144370180736324</c:v>
                </c:pt>
                <c:pt idx="42116">
                  <c:v>22.260341272892589</c:v>
                </c:pt>
                <c:pt idx="42117">
                  <c:v>18.120833253785815</c:v>
                </c:pt>
                <c:pt idx="42118">
                  <c:v>52.630520143701339</c:v>
                </c:pt>
                <c:pt idx="42119">
                  <c:v>22.789189257651707</c:v>
                </c:pt>
                <c:pt idx="42120">
                  <c:v>30.141360673420259</c:v>
                </c:pt>
                <c:pt idx="42121">
                  <c:v>23.771421062374813</c:v>
                </c:pt>
                <c:pt idx="42122">
                  <c:v>21.476560566867985</c:v>
                </c:pt>
                <c:pt idx="42123">
                  <c:v>33.002275512384927</c:v>
                </c:pt>
                <c:pt idx="42124">
                  <c:v>51.336994320055204</c:v>
                </c:pt>
                <c:pt idx="42125">
                  <c:v>30.330250464640041</c:v>
                </c:pt>
                <c:pt idx="42126">
                  <c:v>20.309399313317662</c:v>
                </c:pt>
                <c:pt idx="42127">
                  <c:v>46.054730499320883</c:v>
                </c:pt>
                <c:pt idx="42128">
                  <c:v>23.701753562978883</c:v>
                </c:pt>
                <c:pt idx="42129">
                  <c:v>27.185374172001303</c:v>
                </c:pt>
                <c:pt idx="42130">
                  <c:v>22.331989400560776</c:v>
                </c:pt>
                <c:pt idx="42131">
                  <c:v>25.853205529702358</c:v>
                </c:pt>
                <c:pt idx="42132">
                  <c:v>42.216027876662636</c:v>
                </c:pt>
                <c:pt idx="42133">
                  <c:v>31.088791378854868</c:v>
                </c:pt>
                <c:pt idx="42134">
                  <c:v>22.595733996321925</c:v>
                </c:pt>
                <c:pt idx="42135">
                  <c:v>26.937189290444309</c:v>
                </c:pt>
                <c:pt idx="42136">
                  <c:v>46.664318891868334</c:v>
                </c:pt>
                <c:pt idx="42137">
                  <c:v>23.420749714563922</c:v>
                </c:pt>
                <c:pt idx="42138">
                  <c:v>29.408050723024626</c:v>
                </c:pt>
                <c:pt idx="42139">
                  <c:v>23.852678673487983</c:v>
                </c:pt>
                <c:pt idx="42140">
                  <c:v>40.77887573587973</c:v>
                </c:pt>
                <c:pt idx="42141">
                  <c:v>25.799926601492039</c:v>
                </c:pt>
                <c:pt idx="42142">
                  <c:v>38.184568128298345</c:v>
                </c:pt>
                <c:pt idx="42143">
                  <c:v>41.052618314912834</c:v>
                </c:pt>
                <c:pt idx="42144">
                  <c:v>38.135264356834675</c:v>
                </c:pt>
                <c:pt idx="42145">
                  <c:v>50.139996243955125</c:v>
                </c:pt>
                <c:pt idx="42146">
                  <c:v>19.703591323172436</c:v>
                </c:pt>
                <c:pt idx="42147">
                  <c:v>18.528979685827256</c:v>
                </c:pt>
                <c:pt idx="42148">
                  <c:v>32.2398855241455</c:v>
                </c:pt>
                <c:pt idx="42149">
                  <c:v>26.093646071038762</c:v>
                </c:pt>
                <c:pt idx="42150">
                  <c:v>33.825700293576958</c:v>
                </c:pt>
                <c:pt idx="42151">
                  <c:v>50.35747581282336</c:v>
                </c:pt>
                <c:pt idx="42152">
                  <c:v>20.1830369002362</c:v>
                </c:pt>
                <c:pt idx="42153">
                  <c:v>36.304508083925157</c:v>
                </c:pt>
                <c:pt idx="42154">
                  <c:v>32.664755404786121</c:v>
                </c:pt>
                <c:pt idx="42155">
                  <c:v>37.32632211751195</c:v>
                </c:pt>
                <c:pt idx="42156">
                  <c:v>20.305548722998267</c:v>
                </c:pt>
                <c:pt idx="42157">
                  <c:v>32.875445892080243</c:v>
                </c:pt>
                <c:pt idx="42158">
                  <c:v>39.101643940787348</c:v>
                </c:pt>
                <c:pt idx="42159">
                  <c:v>52.46447162399658</c:v>
                </c:pt>
                <c:pt idx="42160">
                  <c:v>28.42194755140083</c:v>
                </c:pt>
                <c:pt idx="42161">
                  <c:v>31.191899321316207</c:v>
                </c:pt>
                <c:pt idx="42162">
                  <c:v>33.592911424675066</c:v>
                </c:pt>
                <c:pt idx="42163">
                  <c:v>28.761492148897439</c:v>
                </c:pt>
                <c:pt idx="42164">
                  <c:v>38.426447984860673</c:v>
                </c:pt>
                <c:pt idx="42165">
                  <c:v>45.036850321808956</c:v>
                </c:pt>
                <c:pt idx="42166">
                  <c:v>33.301973136202157</c:v>
                </c:pt>
                <c:pt idx="42167">
                  <c:v>28.526615040302921</c:v>
                </c:pt>
                <c:pt idx="42168">
                  <c:v>28.440857868805278</c:v>
                </c:pt>
                <c:pt idx="42169">
                  <c:v>19.149074891143577</c:v>
                </c:pt>
                <c:pt idx="42170">
                  <c:v>22.792433505623407</c:v>
                </c:pt>
                <c:pt idx="42171">
                  <c:v>21.403600688695615</c:v>
                </c:pt>
                <c:pt idx="42172">
                  <c:v>21.532582850925724</c:v>
                </c:pt>
                <c:pt idx="42173">
                  <c:v>28.57343390670351</c:v>
                </c:pt>
                <c:pt idx="42174">
                  <c:v>15.676097263057104</c:v>
                </c:pt>
                <c:pt idx="42175">
                  <c:v>25.086779183778589</c:v>
                </c:pt>
                <c:pt idx="42176">
                  <c:v>26.514420738249775</c:v>
                </c:pt>
                <c:pt idx="42177">
                  <c:v>28.761263668867546</c:v>
                </c:pt>
                <c:pt idx="42178">
                  <c:v>33.598758865148675</c:v>
                </c:pt>
                <c:pt idx="42179">
                  <c:v>44.424276495935565</c:v>
                </c:pt>
                <c:pt idx="42180">
                  <c:v>29.597838432545085</c:v>
                </c:pt>
                <c:pt idx="42181">
                  <c:v>19.066570127963875</c:v>
                </c:pt>
                <c:pt idx="42182">
                  <c:v>32.837077314937474</c:v>
                </c:pt>
                <c:pt idx="42183">
                  <c:v>25.192921690791913</c:v>
                </c:pt>
                <c:pt idx="42184">
                  <c:v>26.445545835834231</c:v>
                </c:pt>
                <c:pt idx="42185">
                  <c:v>34.822683454102091</c:v>
                </c:pt>
                <c:pt idx="42186">
                  <c:v>31.878846520767596</c:v>
                </c:pt>
                <c:pt idx="42187">
                  <c:v>26.813454421428439</c:v>
                </c:pt>
                <c:pt idx="42188">
                  <c:v>24.382177547476282</c:v>
                </c:pt>
                <c:pt idx="42189">
                  <c:v>17.389648167647934</c:v>
                </c:pt>
                <c:pt idx="42190">
                  <c:v>18.240414507615824</c:v>
                </c:pt>
                <c:pt idx="42191">
                  <c:v>44.699985980392398</c:v>
                </c:pt>
                <c:pt idx="42192">
                  <c:v>22.69559540004477</c:v>
                </c:pt>
                <c:pt idx="42193">
                  <c:v>20.474886062959659</c:v>
                </c:pt>
                <c:pt idx="42194">
                  <c:v>30.058683886954224</c:v>
                </c:pt>
                <c:pt idx="42195">
                  <c:v>43.984905643839497</c:v>
                </c:pt>
                <c:pt idx="42196">
                  <c:v>43.520774464691542</c:v>
                </c:pt>
                <c:pt idx="42197">
                  <c:v>29.36842038301614</c:v>
                </c:pt>
                <c:pt idx="42198">
                  <c:v>30.199002316285075</c:v>
                </c:pt>
                <c:pt idx="42199">
                  <c:v>51.562265895241929</c:v>
                </c:pt>
                <c:pt idx="42200">
                  <c:v>26.304502505349106</c:v>
                </c:pt>
                <c:pt idx="42201">
                  <c:v>27.077908731418241</c:v>
                </c:pt>
                <c:pt idx="42202">
                  <c:v>22.387967109603203</c:v>
                </c:pt>
                <c:pt idx="42203">
                  <c:v>23.326695640789929</c:v>
                </c:pt>
                <c:pt idx="42204">
                  <c:v>25.698422582397704</c:v>
                </c:pt>
                <c:pt idx="42205">
                  <c:v>34.015464851122594</c:v>
                </c:pt>
                <c:pt idx="42206">
                  <c:v>45.819216630798024</c:v>
                </c:pt>
                <c:pt idx="42207">
                  <c:v>43.581102766442932</c:v>
                </c:pt>
                <c:pt idx="42208">
                  <c:v>37.179100454676359</c:v>
                </c:pt>
                <c:pt idx="42209">
                  <c:v>28.743209912114217</c:v>
                </c:pt>
                <c:pt idx="42210">
                  <c:v>61.199678960376424</c:v>
                </c:pt>
                <c:pt idx="42211">
                  <c:v>44.03267404223363</c:v>
                </c:pt>
                <c:pt idx="42212">
                  <c:v>42.142435494362481</c:v>
                </c:pt>
                <c:pt idx="42213">
                  <c:v>27.327841113675966</c:v>
                </c:pt>
                <c:pt idx="42214">
                  <c:v>26.025250815205638</c:v>
                </c:pt>
                <c:pt idx="42215">
                  <c:v>23.234945620541261</c:v>
                </c:pt>
                <c:pt idx="42216">
                  <c:v>23.428660512925614</c:v>
                </c:pt>
                <c:pt idx="42217">
                  <c:v>48.147949785898142</c:v>
                </c:pt>
                <c:pt idx="42218">
                  <c:v>26.177538672680868</c:v>
                </c:pt>
                <c:pt idx="42219">
                  <c:v>39.82273199735527</c:v>
                </c:pt>
                <c:pt idx="42220">
                  <c:v>44.709443086685738</c:v>
                </c:pt>
                <c:pt idx="42221">
                  <c:v>26.33351230023349</c:v>
                </c:pt>
                <c:pt idx="42222">
                  <c:v>19.399394259568741</c:v>
                </c:pt>
                <c:pt idx="42223">
                  <c:v>26.04883687142814</c:v>
                </c:pt>
                <c:pt idx="42224">
                  <c:v>40.438954666093153</c:v>
                </c:pt>
                <c:pt idx="42225">
                  <c:v>27.977470118232382</c:v>
                </c:pt>
                <c:pt idx="42226">
                  <c:v>31.111020284716229</c:v>
                </c:pt>
                <c:pt idx="42227">
                  <c:v>23.578273027256394</c:v>
                </c:pt>
                <c:pt idx="42228">
                  <c:v>23.765804125364024</c:v>
                </c:pt>
                <c:pt idx="42229">
                  <c:v>24.878817416177462</c:v>
                </c:pt>
                <c:pt idx="42230">
                  <c:v>45.012789234740382</c:v>
                </c:pt>
                <c:pt idx="42231">
                  <c:v>30.568844823894118</c:v>
                </c:pt>
                <c:pt idx="42232">
                  <c:v>19.717689956088215</c:v>
                </c:pt>
                <c:pt idx="42233">
                  <c:v>48.070272847567352</c:v>
                </c:pt>
                <c:pt idx="42234">
                  <c:v>24.929913494421079</c:v>
                </c:pt>
                <c:pt idx="42235">
                  <c:v>27.968099431826467</c:v>
                </c:pt>
                <c:pt idx="42236">
                  <c:v>26.139736385024833</c:v>
                </c:pt>
                <c:pt idx="42237">
                  <c:v>51.383429677236194</c:v>
                </c:pt>
                <c:pt idx="42238">
                  <c:v>32.519106452721097</c:v>
                </c:pt>
                <c:pt idx="42239">
                  <c:v>28.18257034162605</c:v>
                </c:pt>
                <c:pt idx="42240">
                  <c:v>37.316720909182365</c:v>
                </c:pt>
                <c:pt idx="42241">
                  <c:v>24.960970342450761</c:v>
                </c:pt>
                <c:pt idx="42242">
                  <c:v>36.432961182257984</c:v>
                </c:pt>
                <c:pt idx="42243">
                  <c:v>23.727432887187561</c:v>
                </c:pt>
                <c:pt idx="42244">
                  <c:v>24.611753669879196</c:v>
                </c:pt>
                <c:pt idx="42245">
                  <c:v>48.706172194594785</c:v>
                </c:pt>
                <c:pt idx="42246">
                  <c:v>33.989899369766242</c:v>
                </c:pt>
                <c:pt idx="42247">
                  <c:v>37.227981015196832</c:v>
                </c:pt>
                <c:pt idx="42248">
                  <c:v>24.222200488024718</c:v>
                </c:pt>
                <c:pt idx="42249">
                  <c:v>37.520634788286813</c:v>
                </c:pt>
                <c:pt idx="42250">
                  <c:v>33.975684369251908</c:v>
                </c:pt>
                <c:pt idx="42251">
                  <c:v>28.075436537360691</c:v>
                </c:pt>
                <c:pt idx="42252">
                  <c:v>26.364861624872137</c:v>
                </c:pt>
                <c:pt idx="42253">
                  <c:v>19.136657571617665</c:v>
                </c:pt>
                <c:pt idx="42254">
                  <c:v>29.833687681523728</c:v>
                </c:pt>
                <c:pt idx="42255">
                  <c:v>51.904405851605226</c:v>
                </c:pt>
                <c:pt idx="42256">
                  <c:v>23.719157722970287</c:v>
                </c:pt>
                <c:pt idx="42257">
                  <c:v>28.884663008759752</c:v>
                </c:pt>
                <c:pt idx="42258">
                  <c:v>25.245506578864106</c:v>
                </c:pt>
                <c:pt idx="42259">
                  <c:v>25.523625333985684</c:v>
                </c:pt>
                <c:pt idx="42260">
                  <c:v>59.447803173042082</c:v>
                </c:pt>
                <c:pt idx="42261">
                  <c:v>33.931041676558557</c:v>
                </c:pt>
                <c:pt idx="42262">
                  <c:v>28.975850621930388</c:v>
                </c:pt>
                <c:pt idx="42263">
                  <c:v>20.402602318854317</c:v>
                </c:pt>
                <c:pt idx="42264">
                  <c:v>20.420407212213441</c:v>
                </c:pt>
                <c:pt idx="42265">
                  <c:v>47.630298243547863</c:v>
                </c:pt>
                <c:pt idx="42266">
                  <c:v>24.648777621111439</c:v>
                </c:pt>
                <c:pt idx="42267">
                  <c:v>27.372559099078927</c:v>
                </c:pt>
                <c:pt idx="42268">
                  <c:v>39.560609078435945</c:v>
                </c:pt>
                <c:pt idx="42269">
                  <c:v>27.011165660532008</c:v>
                </c:pt>
                <c:pt idx="42270">
                  <c:v>26.523997635753659</c:v>
                </c:pt>
                <c:pt idx="42271">
                  <c:v>37.775458881217325</c:v>
                </c:pt>
                <c:pt idx="42272">
                  <c:v>27.733675085493271</c:v>
                </c:pt>
                <c:pt idx="42273">
                  <c:v>26.013017014912371</c:v>
                </c:pt>
                <c:pt idx="42274">
                  <c:v>36.278463943970287</c:v>
                </c:pt>
                <c:pt idx="42275">
                  <c:v>31.799898136443247</c:v>
                </c:pt>
                <c:pt idx="42276">
                  <c:v>37.72701084553767</c:v>
                </c:pt>
                <c:pt idx="42277">
                  <c:v>36.200508528418261</c:v>
                </c:pt>
                <c:pt idx="42278">
                  <c:v>25.930832687444138</c:v>
                </c:pt>
                <c:pt idx="42279">
                  <c:v>33.617606135376285</c:v>
                </c:pt>
                <c:pt idx="42280">
                  <c:v>28.202118742956824</c:v>
                </c:pt>
                <c:pt idx="42281">
                  <c:v>30.706662064187316</c:v>
                </c:pt>
                <c:pt idx="42282">
                  <c:v>28.2165430011169</c:v>
                </c:pt>
                <c:pt idx="42283">
                  <c:v>25.720403608334721</c:v>
                </c:pt>
                <c:pt idx="42284">
                  <c:v>26.849700242003557</c:v>
                </c:pt>
                <c:pt idx="42285">
                  <c:v>43.604123753246625</c:v>
                </c:pt>
                <c:pt idx="42286">
                  <c:v>27.499211782922174</c:v>
                </c:pt>
                <c:pt idx="42287">
                  <c:v>39.784273953481026</c:v>
                </c:pt>
                <c:pt idx="42288">
                  <c:v>27.241918174776938</c:v>
                </c:pt>
                <c:pt idx="42289">
                  <c:v>30.861011329089113</c:v>
                </c:pt>
                <c:pt idx="42290">
                  <c:v>26.175213942159591</c:v>
                </c:pt>
                <c:pt idx="42291">
                  <c:v>45.38443544265391</c:v>
                </c:pt>
                <c:pt idx="42292">
                  <c:v>32.074739612255996</c:v>
                </c:pt>
                <c:pt idx="42293">
                  <c:v>20.37333466577131</c:v>
                </c:pt>
                <c:pt idx="42294">
                  <c:v>24.841082848230322</c:v>
                </c:pt>
                <c:pt idx="42295">
                  <c:v>25.045790646700304</c:v>
                </c:pt>
                <c:pt idx="42296">
                  <c:v>32.316857531114515</c:v>
                </c:pt>
                <c:pt idx="42297">
                  <c:v>20.944980947393109</c:v>
                </c:pt>
                <c:pt idx="42298">
                  <c:v>26.418470540582717</c:v>
                </c:pt>
                <c:pt idx="42299">
                  <c:v>27.621873091155607</c:v>
                </c:pt>
                <c:pt idx="42300">
                  <c:v>31.800902616944274</c:v>
                </c:pt>
                <c:pt idx="42301">
                  <c:v>49.1274925100888</c:v>
                </c:pt>
                <c:pt idx="42302">
                  <c:v>32.328768275214692</c:v>
                </c:pt>
                <c:pt idx="42303">
                  <c:v>25.626027940861277</c:v>
                </c:pt>
                <c:pt idx="42304">
                  <c:v>19.516464399614147</c:v>
                </c:pt>
                <c:pt idx="42305">
                  <c:v>16.197897332996792</c:v>
                </c:pt>
                <c:pt idx="42306">
                  <c:v>26.946547745218567</c:v>
                </c:pt>
                <c:pt idx="42307">
                  <c:v>33.014666846857381</c:v>
                </c:pt>
                <c:pt idx="42308">
                  <c:v>33.483524443953961</c:v>
                </c:pt>
                <c:pt idx="42309">
                  <c:v>23.12739064583122</c:v>
                </c:pt>
                <c:pt idx="42310">
                  <c:v>21.811071761448339</c:v>
                </c:pt>
                <c:pt idx="42311">
                  <c:v>29.58730174945061</c:v>
                </c:pt>
                <c:pt idx="42312">
                  <c:v>30.687651640989134</c:v>
                </c:pt>
                <c:pt idx="42313">
                  <c:v>30.650639991751</c:v>
                </c:pt>
                <c:pt idx="42314">
                  <c:v>52.444685847277917</c:v>
                </c:pt>
                <c:pt idx="42315">
                  <c:v>28.776194575528969</c:v>
                </c:pt>
                <c:pt idx="42316">
                  <c:v>24.459662844062247</c:v>
                </c:pt>
                <c:pt idx="42317">
                  <c:v>38.346836044082394</c:v>
                </c:pt>
                <c:pt idx="42318">
                  <c:v>27.873650372192401</c:v>
                </c:pt>
                <c:pt idx="42319">
                  <c:v>18.074532751693017</c:v>
                </c:pt>
                <c:pt idx="42320">
                  <c:v>27.118448646686726</c:v>
                </c:pt>
                <c:pt idx="42321">
                  <c:v>28.342870474231471</c:v>
                </c:pt>
                <c:pt idx="42322">
                  <c:v>48.020926474558792</c:v>
                </c:pt>
                <c:pt idx="42323">
                  <c:v>31.321083849144955</c:v>
                </c:pt>
                <c:pt idx="42324">
                  <c:v>39.631742108920413</c:v>
                </c:pt>
                <c:pt idx="42325">
                  <c:v>19.965416418716053</c:v>
                </c:pt>
                <c:pt idx="42326">
                  <c:v>31.814724692620985</c:v>
                </c:pt>
                <c:pt idx="42327">
                  <c:v>20.613965818391684</c:v>
                </c:pt>
                <c:pt idx="42328">
                  <c:v>25.678291503959027</c:v>
                </c:pt>
                <c:pt idx="42329">
                  <c:v>20.585441393244132</c:v>
                </c:pt>
                <c:pt idx="42330">
                  <c:v>26.665376186221597</c:v>
                </c:pt>
                <c:pt idx="42331">
                  <c:v>50.700335772741141</c:v>
                </c:pt>
                <c:pt idx="42332">
                  <c:v>29.522988745158603</c:v>
                </c:pt>
                <c:pt idx="42333">
                  <c:v>30.03585343034748</c:v>
                </c:pt>
                <c:pt idx="42334">
                  <c:v>43.982734203205567</c:v>
                </c:pt>
                <c:pt idx="42335">
                  <c:v>29.920795727358431</c:v>
                </c:pt>
                <c:pt idx="42336">
                  <c:v>18.043583620577241</c:v>
                </c:pt>
                <c:pt idx="42337">
                  <c:v>26.255859005933697</c:v>
                </c:pt>
                <c:pt idx="42338">
                  <c:v>26.455956235059922</c:v>
                </c:pt>
                <c:pt idx="42339">
                  <c:v>31.891704437908324</c:v>
                </c:pt>
                <c:pt idx="42340">
                  <c:v>31.051263441733095</c:v>
                </c:pt>
                <c:pt idx="42341">
                  <c:v>24.886580876294907</c:v>
                </c:pt>
                <c:pt idx="42342">
                  <c:v>22.822141648314197</c:v>
                </c:pt>
                <c:pt idx="42343">
                  <c:v>21.399902011344238</c:v>
                </c:pt>
                <c:pt idx="42344">
                  <c:v>21.76800974419826</c:v>
                </c:pt>
                <c:pt idx="42345">
                  <c:v>32.918565381663782</c:v>
                </c:pt>
                <c:pt idx="42346">
                  <c:v>33.532567221568442</c:v>
                </c:pt>
                <c:pt idx="42347">
                  <c:v>23.628735731207854</c:v>
                </c:pt>
                <c:pt idx="42348">
                  <c:v>20.43275095048601</c:v>
                </c:pt>
                <c:pt idx="42349">
                  <c:v>30.824990176762245</c:v>
                </c:pt>
                <c:pt idx="42350">
                  <c:v>29.704215935186362</c:v>
                </c:pt>
                <c:pt idx="42351">
                  <c:v>51.46594858963644</c:v>
                </c:pt>
                <c:pt idx="42352">
                  <c:v>34.101173924469549</c:v>
                </c:pt>
                <c:pt idx="42353">
                  <c:v>33.665537809348599</c:v>
                </c:pt>
                <c:pt idx="42354">
                  <c:v>31.680687650365577</c:v>
                </c:pt>
                <c:pt idx="42355">
                  <c:v>53.986415303854073</c:v>
                </c:pt>
                <c:pt idx="42356">
                  <c:v>29.867294917023337</c:v>
                </c:pt>
                <c:pt idx="42357">
                  <c:v>29.121692741508653</c:v>
                </c:pt>
                <c:pt idx="42358">
                  <c:v>23.815608593553975</c:v>
                </c:pt>
                <c:pt idx="42359">
                  <c:v>27.482502258751396</c:v>
                </c:pt>
                <c:pt idx="42360">
                  <c:v>30.097235534392748</c:v>
                </c:pt>
                <c:pt idx="42361">
                  <c:v>24.737024051529737</c:v>
                </c:pt>
                <c:pt idx="42362">
                  <c:v>22.697899296261941</c:v>
                </c:pt>
                <c:pt idx="42363">
                  <c:v>24.595962388577465</c:v>
                </c:pt>
                <c:pt idx="42364">
                  <c:v>38.013827807731168</c:v>
                </c:pt>
                <c:pt idx="42365">
                  <c:v>19.439557936483581</c:v>
                </c:pt>
                <c:pt idx="42366">
                  <c:v>34.379267775544939</c:v>
                </c:pt>
                <c:pt idx="42367">
                  <c:v>29.836891227575997</c:v>
                </c:pt>
                <c:pt idx="42368">
                  <c:v>21.015376072722542</c:v>
                </c:pt>
                <c:pt idx="42369">
                  <c:v>33.015525692748916</c:v>
                </c:pt>
                <c:pt idx="42370">
                  <c:v>21.314220053696488</c:v>
                </c:pt>
                <c:pt idx="42371">
                  <c:v>34.939149429468209</c:v>
                </c:pt>
                <c:pt idx="42372">
                  <c:v>45.919061201572923</c:v>
                </c:pt>
                <c:pt idx="42373">
                  <c:v>41.799512653830213</c:v>
                </c:pt>
                <c:pt idx="42374">
                  <c:v>44.487978452726118</c:v>
                </c:pt>
                <c:pt idx="42375">
                  <c:v>48.226481420881335</c:v>
                </c:pt>
                <c:pt idx="42376">
                  <c:v>17.077524238212018</c:v>
                </c:pt>
                <c:pt idx="42377">
                  <c:v>42.860499641255302</c:v>
                </c:pt>
                <c:pt idx="42378">
                  <c:v>24.344246085669923</c:v>
                </c:pt>
                <c:pt idx="42379">
                  <c:v>53.875168106342954</c:v>
                </c:pt>
                <c:pt idx="42380">
                  <c:v>30.71737960176587</c:v>
                </c:pt>
                <c:pt idx="42381">
                  <c:v>16.920929012761462</c:v>
                </c:pt>
                <c:pt idx="42382">
                  <c:v>38.194771819469096</c:v>
                </c:pt>
                <c:pt idx="42383">
                  <c:v>30.611420083473277</c:v>
                </c:pt>
                <c:pt idx="42384">
                  <c:v>30.715881009254254</c:v>
                </c:pt>
                <c:pt idx="42385">
                  <c:v>26.800996546960324</c:v>
                </c:pt>
                <c:pt idx="42386">
                  <c:v>23.318825885484461</c:v>
                </c:pt>
                <c:pt idx="42387">
                  <c:v>28.196629107103416</c:v>
                </c:pt>
                <c:pt idx="42388">
                  <c:v>19.770919170840504</c:v>
                </c:pt>
                <c:pt idx="42389">
                  <c:v>25.627436683659695</c:v>
                </c:pt>
                <c:pt idx="42390">
                  <c:v>26.513835237356332</c:v>
                </c:pt>
                <c:pt idx="42391">
                  <c:v>43.902472625642901</c:v>
                </c:pt>
                <c:pt idx="42392">
                  <c:v>40.851108876345535</c:v>
                </c:pt>
                <c:pt idx="42393">
                  <c:v>34.376848396561002</c:v>
                </c:pt>
                <c:pt idx="42394">
                  <c:v>30.102590373425436</c:v>
                </c:pt>
                <c:pt idx="42395">
                  <c:v>25.560267482734929</c:v>
                </c:pt>
                <c:pt idx="42396">
                  <c:v>21.766574162398619</c:v>
                </c:pt>
                <c:pt idx="42397">
                  <c:v>20.505661819806196</c:v>
                </c:pt>
                <c:pt idx="42398">
                  <c:v>19.901603900547357</c:v>
                </c:pt>
                <c:pt idx="42399">
                  <c:v>24.54769978161055</c:v>
                </c:pt>
                <c:pt idx="42400">
                  <c:v>36.235456658703448</c:v>
                </c:pt>
                <c:pt idx="42401">
                  <c:v>21.439734145133031</c:v>
                </c:pt>
                <c:pt idx="42402">
                  <c:v>27.409942901426675</c:v>
                </c:pt>
                <c:pt idx="42403">
                  <c:v>26.89103040309217</c:v>
                </c:pt>
                <c:pt idx="42404">
                  <c:v>28.136559744625998</c:v>
                </c:pt>
                <c:pt idx="42405">
                  <c:v>27.41319315419204</c:v>
                </c:pt>
                <c:pt idx="42406">
                  <c:v>23.342150047433499</c:v>
                </c:pt>
                <c:pt idx="42407">
                  <c:v>45.438906832278597</c:v>
                </c:pt>
                <c:pt idx="42408">
                  <c:v>42.96294336314493</c:v>
                </c:pt>
                <c:pt idx="42409">
                  <c:v>31.733135941417547</c:v>
                </c:pt>
                <c:pt idx="42410">
                  <c:v>29.55087419402718</c:v>
                </c:pt>
                <c:pt idx="42411">
                  <c:v>21.994782729052492</c:v>
                </c:pt>
                <c:pt idx="42412">
                  <c:v>38.182528425051402</c:v>
                </c:pt>
                <c:pt idx="42413">
                  <c:v>17.390011279271889</c:v>
                </c:pt>
                <c:pt idx="42414">
                  <c:v>29.069382525207054</c:v>
                </c:pt>
                <c:pt idx="42415">
                  <c:v>36.38408326127098</c:v>
                </c:pt>
                <c:pt idx="42416">
                  <c:v>50.038114847961737</c:v>
                </c:pt>
                <c:pt idx="42417">
                  <c:v>21.51339095372462</c:v>
                </c:pt>
                <c:pt idx="42418">
                  <c:v>37.05965638004988</c:v>
                </c:pt>
                <c:pt idx="42419">
                  <c:v>37.389268757794611</c:v>
                </c:pt>
                <c:pt idx="42420">
                  <c:v>58.998974168911374</c:v>
                </c:pt>
                <c:pt idx="42421">
                  <c:v>28.204567029044192</c:v>
                </c:pt>
                <c:pt idx="42422">
                  <c:v>38.950493817703091</c:v>
                </c:pt>
                <c:pt idx="42423">
                  <c:v>23.829699130383837</c:v>
                </c:pt>
                <c:pt idx="42424">
                  <c:v>40.372525107947844</c:v>
                </c:pt>
                <c:pt idx="42425">
                  <c:v>47.771540546206005</c:v>
                </c:pt>
                <c:pt idx="42426">
                  <c:v>33.279934413022339</c:v>
                </c:pt>
                <c:pt idx="42427">
                  <c:v>43.122719028236361</c:v>
                </c:pt>
                <c:pt idx="42428">
                  <c:v>30.304078256515801</c:v>
                </c:pt>
                <c:pt idx="42429">
                  <c:v>23.55354758290742</c:v>
                </c:pt>
                <c:pt idx="42430">
                  <c:v>28.03469852247337</c:v>
                </c:pt>
                <c:pt idx="42431">
                  <c:v>17.718312819707361</c:v>
                </c:pt>
                <c:pt idx="42432">
                  <c:v>36.911616050007105</c:v>
                </c:pt>
                <c:pt idx="42433">
                  <c:v>28.588866397131092</c:v>
                </c:pt>
                <c:pt idx="42434">
                  <c:v>15.026144433873762</c:v>
                </c:pt>
                <c:pt idx="42435">
                  <c:v>29.583079274498417</c:v>
                </c:pt>
                <c:pt idx="42436">
                  <c:v>58.468403394032535</c:v>
                </c:pt>
                <c:pt idx="42437">
                  <c:v>31.925146856822384</c:v>
                </c:pt>
                <c:pt idx="42438">
                  <c:v>20.034453401946021</c:v>
                </c:pt>
                <c:pt idx="42439">
                  <c:v>27.82880602534668</c:v>
                </c:pt>
                <c:pt idx="42440">
                  <c:v>34.586414280102233</c:v>
                </c:pt>
                <c:pt idx="42441">
                  <c:v>35.809140839546806</c:v>
                </c:pt>
                <c:pt idx="42442">
                  <c:v>32.229509773319378</c:v>
                </c:pt>
                <c:pt idx="42443">
                  <c:v>22.158387578585291</c:v>
                </c:pt>
                <c:pt idx="42444">
                  <c:v>38.615124308466228</c:v>
                </c:pt>
                <c:pt idx="42445">
                  <c:v>24.990412067212748</c:v>
                </c:pt>
                <c:pt idx="42446">
                  <c:v>27.522294502857118</c:v>
                </c:pt>
                <c:pt idx="42447">
                  <c:v>26.980471388693665</c:v>
                </c:pt>
                <c:pt idx="42448">
                  <c:v>55.078401495672708</c:v>
                </c:pt>
                <c:pt idx="42449">
                  <c:v>21.068271488448922</c:v>
                </c:pt>
                <c:pt idx="42450">
                  <c:v>37.610274253666063</c:v>
                </c:pt>
                <c:pt idx="42451">
                  <c:v>27.873646389256006</c:v>
                </c:pt>
                <c:pt idx="42452">
                  <c:v>26.572608987300214</c:v>
                </c:pt>
                <c:pt idx="42453">
                  <c:v>35.755871009889383</c:v>
                </c:pt>
                <c:pt idx="42454">
                  <c:v>27.714857488715836</c:v>
                </c:pt>
                <c:pt idx="42455">
                  <c:v>29.29337884200697</c:v>
                </c:pt>
                <c:pt idx="42456">
                  <c:v>36.8472057276526</c:v>
                </c:pt>
                <c:pt idx="42457">
                  <c:v>37.918351985141861</c:v>
                </c:pt>
                <c:pt idx="42458">
                  <c:v>20.477158609543466</c:v>
                </c:pt>
                <c:pt idx="42459">
                  <c:v>24.596538153063328</c:v>
                </c:pt>
                <c:pt idx="42460">
                  <c:v>28.387782156614985</c:v>
                </c:pt>
                <c:pt idx="42461">
                  <c:v>20.722838152199948</c:v>
                </c:pt>
                <c:pt idx="42462">
                  <c:v>29.205058230027959</c:v>
                </c:pt>
                <c:pt idx="42463">
                  <c:v>31.249925089480527</c:v>
                </c:pt>
                <c:pt idx="42464">
                  <c:v>26.349158834146856</c:v>
                </c:pt>
                <c:pt idx="42465">
                  <c:v>26.630197368847909</c:v>
                </c:pt>
                <c:pt idx="42466">
                  <c:v>18.564098994489402</c:v>
                </c:pt>
                <c:pt idx="42467">
                  <c:v>26.20309068103413</c:v>
                </c:pt>
                <c:pt idx="42468">
                  <c:v>41.228169948622856</c:v>
                </c:pt>
                <c:pt idx="42469">
                  <c:v>32.875089397021611</c:v>
                </c:pt>
                <c:pt idx="42470">
                  <c:v>29.32458507527792</c:v>
                </c:pt>
                <c:pt idx="42471">
                  <c:v>27.993280321947829</c:v>
                </c:pt>
                <c:pt idx="42472">
                  <c:v>37.501929851779053</c:v>
                </c:pt>
                <c:pt idx="42473">
                  <c:v>24.849060907092461</c:v>
                </c:pt>
                <c:pt idx="42474">
                  <c:v>27.179507318956304</c:v>
                </c:pt>
                <c:pt idx="42475">
                  <c:v>32.352830868890109</c:v>
                </c:pt>
                <c:pt idx="42476">
                  <c:v>26.152254462533737</c:v>
                </c:pt>
                <c:pt idx="42477">
                  <c:v>39.72228411227497</c:v>
                </c:pt>
                <c:pt idx="42478">
                  <c:v>32.487133986708997</c:v>
                </c:pt>
                <c:pt idx="42479">
                  <c:v>18.264184456471604</c:v>
                </c:pt>
                <c:pt idx="42480">
                  <c:v>27.219214403482585</c:v>
                </c:pt>
                <c:pt idx="42481">
                  <c:v>34.052566353235932</c:v>
                </c:pt>
                <c:pt idx="42482">
                  <c:v>23.8732579595445</c:v>
                </c:pt>
                <c:pt idx="42483">
                  <c:v>32.273237205710515</c:v>
                </c:pt>
                <c:pt idx="42484">
                  <c:v>21.715378447684124</c:v>
                </c:pt>
                <c:pt idx="42485">
                  <c:v>45.295019297007471</c:v>
                </c:pt>
                <c:pt idx="42486">
                  <c:v>51.52249115336074</c:v>
                </c:pt>
                <c:pt idx="42487">
                  <c:v>26.228807414435462</c:v>
                </c:pt>
                <c:pt idx="42488">
                  <c:v>27.58823597358256</c:v>
                </c:pt>
                <c:pt idx="42489">
                  <c:v>20.120549013266327</c:v>
                </c:pt>
                <c:pt idx="42490">
                  <c:v>39.006093278720975</c:v>
                </c:pt>
                <c:pt idx="42491">
                  <c:v>25.816152573402483</c:v>
                </c:pt>
                <c:pt idx="42492">
                  <c:v>23.833423040477708</c:v>
                </c:pt>
                <c:pt idx="42493">
                  <c:v>28.590518549587522</c:v>
                </c:pt>
                <c:pt idx="42494">
                  <c:v>34.683369308836404</c:v>
                </c:pt>
                <c:pt idx="42495">
                  <c:v>51.901197847814686</c:v>
                </c:pt>
                <c:pt idx="42496">
                  <c:v>35.698111845961613</c:v>
                </c:pt>
                <c:pt idx="42497">
                  <c:v>28.602092688590211</c:v>
                </c:pt>
                <c:pt idx="42498">
                  <c:v>32.44679520212113</c:v>
                </c:pt>
                <c:pt idx="42499">
                  <c:v>26.578287015038288</c:v>
                </c:pt>
                <c:pt idx="42500">
                  <c:v>38.55523345996253</c:v>
                </c:pt>
                <c:pt idx="42501">
                  <c:v>49.1338308656617</c:v>
                </c:pt>
                <c:pt idx="42502">
                  <c:v>26.897836471730873</c:v>
                </c:pt>
                <c:pt idx="42503">
                  <c:v>29.266386092117095</c:v>
                </c:pt>
                <c:pt idx="42504">
                  <c:v>54.050022048484948</c:v>
                </c:pt>
                <c:pt idx="42505">
                  <c:v>27.359051752535152</c:v>
                </c:pt>
                <c:pt idx="42506">
                  <c:v>46.096183602885077</c:v>
                </c:pt>
                <c:pt idx="42507">
                  <c:v>25.863340827506331</c:v>
                </c:pt>
                <c:pt idx="42508">
                  <c:v>21.76299603000334</c:v>
                </c:pt>
                <c:pt idx="42509">
                  <c:v>20.759828624310195</c:v>
                </c:pt>
                <c:pt idx="42510">
                  <c:v>48.515675203333174</c:v>
                </c:pt>
                <c:pt idx="42511">
                  <c:v>49.387130526277609</c:v>
                </c:pt>
                <c:pt idx="42512">
                  <c:v>57.823295249144998</c:v>
                </c:pt>
                <c:pt idx="42513">
                  <c:v>23.303468931744966</c:v>
                </c:pt>
                <c:pt idx="42514">
                  <c:v>20.018454374496535</c:v>
                </c:pt>
                <c:pt idx="42515">
                  <c:v>32.016194375326073</c:v>
                </c:pt>
                <c:pt idx="42516">
                  <c:v>18.569031871576446</c:v>
                </c:pt>
                <c:pt idx="42517">
                  <c:v>41.256797821947117</c:v>
                </c:pt>
                <c:pt idx="42518">
                  <c:v>26.084939355301586</c:v>
                </c:pt>
                <c:pt idx="42519">
                  <c:v>22.177905147762168</c:v>
                </c:pt>
                <c:pt idx="42520">
                  <c:v>26.13375464163957</c:v>
                </c:pt>
                <c:pt idx="42521">
                  <c:v>26.437014055923722</c:v>
                </c:pt>
                <c:pt idx="42522">
                  <c:v>26.36112739814152</c:v>
                </c:pt>
                <c:pt idx="42523">
                  <c:v>32.642798084609261</c:v>
                </c:pt>
                <c:pt idx="42524">
                  <c:v>31.475178078462871</c:v>
                </c:pt>
                <c:pt idx="42525">
                  <c:v>17.296000738578886</c:v>
                </c:pt>
                <c:pt idx="42526">
                  <c:v>28.869351476677949</c:v>
                </c:pt>
                <c:pt idx="42527">
                  <c:v>27.103876537079685</c:v>
                </c:pt>
                <c:pt idx="42528">
                  <c:v>22.744233231238823</c:v>
                </c:pt>
                <c:pt idx="42529">
                  <c:v>20.583107083458309</c:v>
                </c:pt>
                <c:pt idx="42530">
                  <c:v>53.868168283817376</c:v>
                </c:pt>
                <c:pt idx="42531">
                  <c:v>29.335774255255863</c:v>
                </c:pt>
                <c:pt idx="42532">
                  <c:v>35.072925968043677</c:v>
                </c:pt>
                <c:pt idx="42533">
                  <c:v>23.658041690825165</c:v>
                </c:pt>
                <c:pt idx="42534">
                  <c:v>23.663439957956005</c:v>
                </c:pt>
                <c:pt idx="42535">
                  <c:v>22.228947678201813</c:v>
                </c:pt>
                <c:pt idx="42536">
                  <c:v>34.512175231120928</c:v>
                </c:pt>
                <c:pt idx="42537">
                  <c:v>22.89616012574367</c:v>
                </c:pt>
                <c:pt idx="42538">
                  <c:v>21.801423716764319</c:v>
                </c:pt>
                <c:pt idx="42539">
                  <c:v>26.737858122186836</c:v>
                </c:pt>
                <c:pt idx="42540">
                  <c:v>26.905851426240879</c:v>
                </c:pt>
                <c:pt idx="42541">
                  <c:v>47.55085250611107</c:v>
                </c:pt>
                <c:pt idx="42542">
                  <c:v>21.610933611051191</c:v>
                </c:pt>
                <c:pt idx="42543">
                  <c:v>41.301821058983919</c:v>
                </c:pt>
                <c:pt idx="42544">
                  <c:v>18.50967140812504</c:v>
                </c:pt>
                <c:pt idx="42545">
                  <c:v>60.977624044445037</c:v>
                </c:pt>
                <c:pt idx="42546">
                  <c:v>23.917854931976869</c:v>
                </c:pt>
                <c:pt idx="42547">
                  <c:v>35.671168847747374</c:v>
                </c:pt>
                <c:pt idx="42548">
                  <c:v>29.166844014675721</c:v>
                </c:pt>
                <c:pt idx="42549">
                  <c:v>31.091394720170019</c:v>
                </c:pt>
                <c:pt idx="42550">
                  <c:v>24.933688651816016</c:v>
                </c:pt>
                <c:pt idx="42551">
                  <c:v>30.997652617185476</c:v>
                </c:pt>
                <c:pt idx="42552">
                  <c:v>27.467362355974409</c:v>
                </c:pt>
                <c:pt idx="42553">
                  <c:v>39.731339696326998</c:v>
                </c:pt>
                <c:pt idx="42554">
                  <c:v>25.165060760790489</c:v>
                </c:pt>
                <c:pt idx="42555">
                  <c:v>35.02372115092335</c:v>
                </c:pt>
                <c:pt idx="42556">
                  <c:v>22.123719444854775</c:v>
                </c:pt>
                <c:pt idx="42557">
                  <c:v>26.107221117310313</c:v>
                </c:pt>
                <c:pt idx="42558">
                  <c:v>22.746020707988855</c:v>
                </c:pt>
                <c:pt idx="42559">
                  <c:v>53.080234874021158</c:v>
                </c:pt>
                <c:pt idx="42560">
                  <c:v>54.693179263867101</c:v>
                </c:pt>
                <c:pt idx="42561">
                  <c:v>26.389425800719859</c:v>
                </c:pt>
                <c:pt idx="42562">
                  <c:v>40.513799685723072</c:v>
                </c:pt>
                <c:pt idx="42563">
                  <c:v>22.337368912625397</c:v>
                </c:pt>
                <c:pt idx="42564">
                  <c:v>25.599623494965069</c:v>
                </c:pt>
                <c:pt idx="42565">
                  <c:v>26.596132264371306</c:v>
                </c:pt>
                <c:pt idx="42566">
                  <c:v>28.360430090876886</c:v>
                </c:pt>
                <c:pt idx="42567">
                  <c:v>24.717445284347779</c:v>
                </c:pt>
                <c:pt idx="42568">
                  <c:v>26.17482127946155</c:v>
                </c:pt>
                <c:pt idx="42569">
                  <c:v>30.916658957484056</c:v>
                </c:pt>
                <c:pt idx="42570">
                  <c:v>38.528180743788745</c:v>
                </c:pt>
                <c:pt idx="42571">
                  <c:v>26.141132693011588</c:v>
                </c:pt>
                <c:pt idx="42572">
                  <c:v>27.586898098425934</c:v>
                </c:pt>
                <c:pt idx="42573">
                  <c:v>28.820873077982178</c:v>
                </c:pt>
                <c:pt idx="42574">
                  <c:v>30.39874487320165</c:v>
                </c:pt>
                <c:pt idx="42575">
                  <c:v>33.782963784756262</c:v>
                </c:pt>
                <c:pt idx="42576">
                  <c:v>60.507967094549954</c:v>
                </c:pt>
                <c:pt idx="42577">
                  <c:v>34.323721659606512</c:v>
                </c:pt>
                <c:pt idx="42578">
                  <c:v>28.411281465948186</c:v>
                </c:pt>
                <c:pt idx="42579">
                  <c:v>24.807290666194334</c:v>
                </c:pt>
                <c:pt idx="42580">
                  <c:v>30.483358846177389</c:v>
                </c:pt>
                <c:pt idx="42581">
                  <c:v>29.717121320071374</c:v>
                </c:pt>
                <c:pt idx="42582">
                  <c:v>27.201871626650995</c:v>
                </c:pt>
                <c:pt idx="42583">
                  <c:v>25.572053508345547</c:v>
                </c:pt>
                <c:pt idx="42584">
                  <c:v>27.587904195357577</c:v>
                </c:pt>
                <c:pt idx="42585">
                  <c:v>36.696080486977337</c:v>
                </c:pt>
                <c:pt idx="42586">
                  <c:v>24.718140089577432</c:v>
                </c:pt>
                <c:pt idx="42587">
                  <c:v>30.85530390921301</c:v>
                </c:pt>
                <c:pt idx="42588">
                  <c:v>25.933532371210887</c:v>
                </c:pt>
                <c:pt idx="42589">
                  <c:v>20.845520328068549</c:v>
                </c:pt>
                <c:pt idx="42590">
                  <c:v>24.479677072835685</c:v>
                </c:pt>
                <c:pt idx="42591">
                  <c:v>41.644182760639545</c:v>
                </c:pt>
                <c:pt idx="42592">
                  <c:v>52.823204290579497</c:v>
                </c:pt>
                <c:pt idx="42593">
                  <c:v>26.971097964615414</c:v>
                </c:pt>
                <c:pt idx="42594">
                  <c:v>51.902799636265684</c:v>
                </c:pt>
                <c:pt idx="42595">
                  <c:v>27.299503730846968</c:v>
                </c:pt>
                <c:pt idx="42596">
                  <c:v>34.014007577450982</c:v>
                </c:pt>
                <c:pt idx="42597">
                  <c:v>31.841610033983194</c:v>
                </c:pt>
                <c:pt idx="42598">
                  <c:v>22.392348346635035</c:v>
                </c:pt>
                <c:pt idx="42599">
                  <c:v>21.401885943948002</c:v>
                </c:pt>
                <c:pt idx="42600">
                  <c:v>26.91535561886198</c:v>
                </c:pt>
                <c:pt idx="42601">
                  <c:v>25.070053796475477</c:v>
                </c:pt>
                <c:pt idx="42602">
                  <c:v>25.554708531023131</c:v>
                </c:pt>
                <c:pt idx="42603">
                  <c:v>18.859375295770995</c:v>
                </c:pt>
                <c:pt idx="42604">
                  <c:v>24.465719445979222</c:v>
                </c:pt>
                <c:pt idx="42605">
                  <c:v>31.202667884943214</c:v>
                </c:pt>
                <c:pt idx="42606">
                  <c:v>38.695331436995112</c:v>
                </c:pt>
                <c:pt idx="42607">
                  <c:v>25.481841772056843</c:v>
                </c:pt>
                <c:pt idx="42608">
                  <c:v>25.890863604078167</c:v>
                </c:pt>
                <c:pt idx="42609">
                  <c:v>23.597097919505106</c:v>
                </c:pt>
                <c:pt idx="42610">
                  <c:v>42.264244488225586</c:v>
                </c:pt>
                <c:pt idx="42611">
                  <c:v>51.44311102520885</c:v>
                </c:pt>
                <c:pt idx="42612">
                  <c:v>27.935662200657262</c:v>
                </c:pt>
                <c:pt idx="42613">
                  <c:v>19.320542292741536</c:v>
                </c:pt>
                <c:pt idx="42614">
                  <c:v>29.54393347671413</c:v>
                </c:pt>
                <c:pt idx="42615">
                  <c:v>24.842072167619826</c:v>
                </c:pt>
                <c:pt idx="42616">
                  <c:v>25.488094621629624</c:v>
                </c:pt>
                <c:pt idx="42617">
                  <c:v>35.24056955191174</c:v>
                </c:pt>
                <c:pt idx="42618">
                  <c:v>49.806064121001221</c:v>
                </c:pt>
                <c:pt idx="42619">
                  <c:v>22.780901932236386</c:v>
                </c:pt>
                <c:pt idx="42620">
                  <c:v>36.190937075567</c:v>
                </c:pt>
                <c:pt idx="42621">
                  <c:v>21.437000539326299</c:v>
                </c:pt>
                <c:pt idx="42622">
                  <c:v>20.159007248374916</c:v>
                </c:pt>
                <c:pt idx="42623">
                  <c:v>31.05158020177506</c:v>
                </c:pt>
                <c:pt idx="42624">
                  <c:v>19.870312641025269</c:v>
                </c:pt>
                <c:pt idx="42625">
                  <c:v>38.458920391365083</c:v>
                </c:pt>
                <c:pt idx="42626">
                  <c:v>23.342781792513378</c:v>
                </c:pt>
                <c:pt idx="42627">
                  <c:v>42.251629733893417</c:v>
                </c:pt>
                <c:pt idx="42628">
                  <c:v>53.350729735124574</c:v>
                </c:pt>
                <c:pt idx="42629">
                  <c:v>26.161807796768638</c:v>
                </c:pt>
                <c:pt idx="42630">
                  <c:v>27.258289432467315</c:v>
                </c:pt>
                <c:pt idx="42631">
                  <c:v>25.661691672681961</c:v>
                </c:pt>
                <c:pt idx="42632">
                  <c:v>46.87359505527963</c:v>
                </c:pt>
                <c:pt idx="42633">
                  <c:v>31.213262424671736</c:v>
                </c:pt>
                <c:pt idx="42634">
                  <c:v>42.60672346913978</c:v>
                </c:pt>
                <c:pt idx="42635">
                  <c:v>24.520286751313826</c:v>
                </c:pt>
                <c:pt idx="42636">
                  <c:v>38.674004164416061</c:v>
                </c:pt>
                <c:pt idx="42637">
                  <c:v>19.370357367394526</c:v>
                </c:pt>
                <c:pt idx="42638">
                  <c:v>33.280639872174504</c:v>
                </c:pt>
                <c:pt idx="42639">
                  <c:v>41.959796809913328</c:v>
                </c:pt>
                <c:pt idx="42640">
                  <c:v>25.672744581245009</c:v>
                </c:pt>
                <c:pt idx="42641">
                  <c:v>28.264770974759042</c:v>
                </c:pt>
                <c:pt idx="42642">
                  <c:v>27.138995495845144</c:v>
                </c:pt>
                <c:pt idx="42643">
                  <c:v>27.678130039488821</c:v>
                </c:pt>
                <c:pt idx="42644">
                  <c:v>43.74595206301295</c:v>
                </c:pt>
                <c:pt idx="42645">
                  <c:v>37.83754710698917</c:v>
                </c:pt>
                <c:pt idx="42646">
                  <c:v>26.48128455197925</c:v>
                </c:pt>
                <c:pt idx="42647">
                  <c:v>27.500786880243382</c:v>
                </c:pt>
                <c:pt idx="42648">
                  <c:v>22.968812492136042</c:v>
                </c:pt>
                <c:pt idx="42649">
                  <c:v>25.033517859179355</c:v>
                </c:pt>
                <c:pt idx="42650">
                  <c:v>33.171897952210514</c:v>
                </c:pt>
                <c:pt idx="42651">
                  <c:v>31.559740281761226</c:v>
                </c:pt>
                <c:pt idx="42652">
                  <c:v>29.695886064122178</c:v>
                </c:pt>
                <c:pt idx="42653">
                  <c:v>40.346015986103119</c:v>
                </c:pt>
                <c:pt idx="42654">
                  <c:v>32.417548514664581</c:v>
                </c:pt>
                <c:pt idx="42655">
                  <c:v>56.285928147372246</c:v>
                </c:pt>
                <c:pt idx="42656">
                  <c:v>30.297287026208405</c:v>
                </c:pt>
                <c:pt idx="42657">
                  <c:v>24.36062604851395</c:v>
                </c:pt>
                <c:pt idx="42658">
                  <c:v>24.802928816161405</c:v>
                </c:pt>
                <c:pt idx="42659">
                  <c:v>23.760859674049623</c:v>
                </c:pt>
                <c:pt idx="42660">
                  <c:v>25.599473358048918</c:v>
                </c:pt>
                <c:pt idx="42661">
                  <c:v>29.08948237398851</c:v>
                </c:pt>
                <c:pt idx="42662">
                  <c:v>28.342616164484593</c:v>
                </c:pt>
                <c:pt idx="42663">
                  <c:v>28.957035077983178</c:v>
                </c:pt>
                <c:pt idx="42664">
                  <c:v>33.742754360194247</c:v>
                </c:pt>
                <c:pt idx="42665">
                  <c:v>23.585800661393673</c:v>
                </c:pt>
                <c:pt idx="42666">
                  <c:v>32.37315452848145</c:v>
                </c:pt>
                <c:pt idx="42667">
                  <c:v>50.508596445250824</c:v>
                </c:pt>
                <c:pt idx="42668">
                  <c:v>61.674374132986294</c:v>
                </c:pt>
                <c:pt idx="42669">
                  <c:v>26.379195396181757</c:v>
                </c:pt>
                <c:pt idx="42670">
                  <c:v>49.503094530698483</c:v>
                </c:pt>
                <c:pt idx="42671">
                  <c:v>20.316196630852261</c:v>
                </c:pt>
                <c:pt idx="42672">
                  <c:v>19.786527153925597</c:v>
                </c:pt>
                <c:pt idx="42673">
                  <c:v>25.784143438913986</c:v>
                </c:pt>
                <c:pt idx="42674">
                  <c:v>25.128995292470186</c:v>
                </c:pt>
                <c:pt idx="42675">
                  <c:v>40.523981570803656</c:v>
                </c:pt>
                <c:pt idx="42676">
                  <c:v>47.584685116881808</c:v>
                </c:pt>
                <c:pt idx="42677">
                  <c:v>27.577641961875933</c:v>
                </c:pt>
                <c:pt idx="42678">
                  <c:v>24.381196203940377</c:v>
                </c:pt>
                <c:pt idx="42679">
                  <c:v>27.830919047642411</c:v>
                </c:pt>
                <c:pt idx="42680">
                  <c:v>29.543380780660332</c:v>
                </c:pt>
                <c:pt idx="42681">
                  <c:v>26.95410697092165</c:v>
                </c:pt>
                <c:pt idx="42682">
                  <c:v>41.490849027704463</c:v>
                </c:pt>
                <c:pt idx="42683">
                  <c:v>35.377956784732298</c:v>
                </c:pt>
                <c:pt idx="42684">
                  <c:v>25.828370895288629</c:v>
                </c:pt>
                <c:pt idx="42685">
                  <c:v>34.414049366992515</c:v>
                </c:pt>
                <c:pt idx="42686">
                  <c:v>30.173411643989532</c:v>
                </c:pt>
                <c:pt idx="42687">
                  <c:v>17.004013207348372</c:v>
                </c:pt>
                <c:pt idx="42688">
                  <c:v>29.6716297469832</c:v>
                </c:pt>
                <c:pt idx="42689">
                  <c:v>18.567367839239431</c:v>
                </c:pt>
                <c:pt idx="42690">
                  <c:v>36.414162300705271</c:v>
                </c:pt>
                <c:pt idx="42691">
                  <c:v>23.024651263329691</c:v>
                </c:pt>
                <c:pt idx="42692">
                  <c:v>34.394581578030859</c:v>
                </c:pt>
                <c:pt idx="42693">
                  <c:v>49.641565745587094</c:v>
                </c:pt>
                <c:pt idx="42694">
                  <c:v>41.020766069358572</c:v>
                </c:pt>
                <c:pt idx="42695">
                  <c:v>35.559835852443008</c:v>
                </c:pt>
                <c:pt idx="42696">
                  <c:v>29.04073404650012</c:v>
                </c:pt>
                <c:pt idx="42697">
                  <c:v>23.280267614581664</c:v>
                </c:pt>
                <c:pt idx="42698">
                  <c:v>47.229583314175358</c:v>
                </c:pt>
                <c:pt idx="42699">
                  <c:v>19.974637159595904</c:v>
                </c:pt>
                <c:pt idx="42700">
                  <c:v>31.11762749967632</c:v>
                </c:pt>
                <c:pt idx="42701">
                  <c:v>23.184030736854744</c:v>
                </c:pt>
                <c:pt idx="42702">
                  <c:v>26.355042525674801</c:v>
                </c:pt>
                <c:pt idx="42703">
                  <c:v>21.546101850242096</c:v>
                </c:pt>
                <c:pt idx="42704">
                  <c:v>44.87896951395723</c:v>
                </c:pt>
                <c:pt idx="42705">
                  <c:v>21.819239288176185</c:v>
                </c:pt>
                <c:pt idx="42706">
                  <c:v>27.037331337072221</c:v>
                </c:pt>
                <c:pt idx="42707">
                  <c:v>47.938614920951686</c:v>
                </c:pt>
                <c:pt idx="42708">
                  <c:v>38.3537180237225</c:v>
                </c:pt>
                <c:pt idx="42709">
                  <c:v>31.929240429858211</c:v>
                </c:pt>
                <c:pt idx="42710">
                  <c:v>25.976640428884036</c:v>
                </c:pt>
                <c:pt idx="42711">
                  <c:v>28.823991802550651</c:v>
                </c:pt>
                <c:pt idx="42712">
                  <c:v>22.517328427036244</c:v>
                </c:pt>
                <c:pt idx="42713">
                  <c:v>39.797934584761741</c:v>
                </c:pt>
                <c:pt idx="42714">
                  <c:v>27.345596329449457</c:v>
                </c:pt>
                <c:pt idx="42715">
                  <c:v>27.334826806489623</c:v>
                </c:pt>
                <c:pt idx="42716">
                  <c:v>24.142364854426084</c:v>
                </c:pt>
                <c:pt idx="42717">
                  <c:v>31.599535505966301</c:v>
                </c:pt>
                <c:pt idx="42718">
                  <c:v>33.132609600406866</c:v>
                </c:pt>
                <c:pt idx="42719">
                  <c:v>25.859967459177522</c:v>
                </c:pt>
                <c:pt idx="42720">
                  <c:v>30.122168250262355</c:v>
                </c:pt>
                <c:pt idx="42721">
                  <c:v>18.607975523893678</c:v>
                </c:pt>
                <c:pt idx="42722">
                  <c:v>16.0053009336984</c:v>
                </c:pt>
                <c:pt idx="42723">
                  <c:v>22.662330932670077</c:v>
                </c:pt>
                <c:pt idx="42724">
                  <c:v>50.760427508418758</c:v>
                </c:pt>
                <c:pt idx="42725">
                  <c:v>54.422732733626496</c:v>
                </c:pt>
                <c:pt idx="42726">
                  <c:v>28.133205863290371</c:v>
                </c:pt>
                <c:pt idx="42727">
                  <c:v>25.493684976422159</c:v>
                </c:pt>
                <c:pt idx="42728">
                  <c:v>30.715584320386967</c:v>
                </c:pt>
                <c:pt idx="42729">
                  <c:v>23.778454937224581</c:v>
                </c:pt>
                <c:pt idx="42730">
                  <c:v>40.990921084168065</c:v>
                </c:pt>
                <c:pt idx="42731">
                  <c:v>35.426859294661256</c:v>
                </c:pt>
                <c:pt idx="42732">
                  <c:v>31.343298415723613</c:v>
                </c:pt>
                <c:pt idx="42733">
                  <c:v>29.240471806524923</c:v>
                </c:pt>
                <c:pt idx="42734">
                  <c:v>14.033465165496592</c:v>
                </c:pt>
                <c:pt idx="42735">
                  <c:v>40.507669421628805</c:v>
                </c:pt>
                <c:pt idx="42736">
                  <c:v>30.352505249270315</c:v>
                </c:pt>
                <c:pt idx="42737">
                  <c:v>22.657514775797701</c:v>
                </c:pt>
                <c:pt idx="42738">
                  <c:v>34.03970426742935</c:v>
                </c:pt>
                <c:pt idx="42739">
                  <c:v>40.512211034778332</c:v>
                </c:pt>
                <c:pt idx="42740">
                  <c:v>29.013109292223426</c:v>
                </c:pt>
                <c:pt idx="42741">
                  <c:v>24.10628021606454</c:v>
                </c:pt>
                <c:pt idx="42742">
                  <c:v>23.831977523791366</c:v>
                </c:pt>
                <c:pt idx="42743">
                  <c:v>25.162293698054381</c:v>
                </c:pt>
                <c:pt idx="42744">
                  <c:v>33.504652045241713</c:v>
                </c:pt>
                <c:pt idx="42745">
                  <c:v>32.377072617787917</c:v>
                </c:pt>
                <c:pt idx="42746">
                  <c:v>36.300357740693713</c:v>
                </c:pt>
                <c:pt idx="42747">
                  <c:v>27.423048545963294</c:v>
                </c:pt>
                <c:pt idx="42748">
                  <c:v>31.872871116164877</c:v>
                </c:pt>
                <c:pt idx="42749">
                  <c:v>22.199586181309542</c:v>
                </c:pt>
                <c:pt idx="42750">
                  <c:v>64.458780190093421</c:v>
                </c:pt>
                <c:pt idx="42751">
                  <c:v>26.522878248538248</c:v>
                </c:pt>
                <c:pt idx="42752">
                  <c:v>40.116471021450252</c:v>
                </c:pt>
                <c:pt idx="42753">
                  <c:v>30.297316381585894</c:v>
                </c:pt>
                <c:pt idx="42754">
                  <c:v>23.542152699006806</c:v>
                </c:pt>
                <c:pt idx="42755">
                  <c:v>22.670861899629926</c:v>
                </c:pt>
                <c:pt idx="42756">
                  <c:v>22.733186493496678</c:v>
                </c:pt>
                <c:pt idx="42757">
                  <c:v>24.388655507549505</c:v>
                </c:pt>
                <c:pt idx="42758">
                  <c:v>29.026021660461179</c:v>
                </c:pt>
                <c:pt idx="42759">
                  <c:v>17.666480084495912</c:v>
                </c:pt>
                <c:pt idx="42760">
                  <c:v>25.252981092066577</c:v>
                </c:pt>
                <c:pt idx="42761">
                  <c:v>18.881900865638286</c:v>
                </c:pt>
                <c:pt idx="42762">
                  <c:v>49.835084367687223</c:v>
                </c:pt>
                <c:pt idx="42763">
                  <c:v>23.305308179137867</c:v>
                </c:pt>
                <c:pt idx="42764">
                  <c:v>53.890449242634027</c:v>
                </c:pt>
                <c:pt idx="42765">
                  <c:v>30.467209552863409</c:v>
                </c:pt>
                <c:pt idx="42766">
                  <c:v>33.465471594312589</c:v>
                </c:pt>
                <c:pt idx="42767">
                  <c:v>32.976467880110768</c:v>
                </c:pt>
                <c:pt idx="42768">
                  <c:v>24.618914235393579</c:v>
                </c:pt>
                <c:pt idx="42769">
                  <c:v>43.084174462453518</c:v>
                </c:pt>
                <c:pt idx="42770">
                  <c:v>28.891632338126108</c:v>
                </c:pt>
                <c:pt idx="42771">
                  <c:v>26.638698989149443</c:v>
                </c:pt>
                <c:pt idx="42772">
                  <c:v>21.96553607821059</c:v>
                </c:pt>
                <c:pt idx="42773">
                  <c:v>25.994932525202628</c:v>
                </c:pt>
                <c:pt idx="42774">
                  <c:v>26.675479170645307</c:v>
                </c:pt>
                <c:pt idx="42775">
                  <c:v>38.34939991823525</c:v>
                </c:pt>
                <c:pt idx="42776">
                  <c:v>23.333866053100859</c:v>
                </c:pt>
                <c:pt idx="42777">
                  <c:v>18.226949388509627</c:v>
                </c:pt>
                <c:pt idx="42778">
                  <c:v>29.978123634665348</c:v>
                </c:pt>
                <c:pt idx="42779">
                  <c:v>22.774326852282343</c:v>
                </c:pt>
                <c:pt idx="42780">
                  <c:v>33.473640304533141</c:v>
                </c:pt>
                <c:pt idx="42781">
                  <c:v>36.618194496947211</c:v>
                </c:pt>
                <c:pt idx="42782">
                  <c:v>23.827267739470223</c:v>
                </c:pt>
                <c:pt idx="42783">
                  <c:v>18.789388334733285</c:v>
                </c:pt>
                <c:pt idx="42784">
                  <c:v>41.576516497806352</c:v>
                </c:pt>
                <c:pt idx="42785">
                  <c:v>31.742098643006429</c:v>
                </c:pt>
                <c:pt idx="42786">
                  <c:v>39.419219592036583</c:v>
                </c:pt>
                <c:pt idx="42787">
                  <c:v>20.493590043921479</c:v>
                </c:pt>
                <c:pt idx="42788">
                  <c:v>42.895880908871277</c:v>
                </c:pt>
                <c:pt idx="42789">
                  <c:v>30.573304910700962</c:v>
                </c:pt>
                <c:pt idx="42790">
                  <c:v>47.518074770123079</c:v>
                </c:pt>
                <c:pt idx="42791">
                  <c:v>27.220605346357416</c:v>
                </c:pt>
                <c:pt idx="42792">
                  <c:v>23.586500291482317</c:v>
                </c:pt>
                <c:pt idx="42793">
                  <c:v>38.535188367876174</c:v>
                </c:pt>
                <c:pt idx="42794">
                  <c:v>41.318354038306836</c:v>
                </c:pt>
                <c:pt idx="42795">
                  <c:v>29.992502786035136</c:v>
                </c:pt>
                <c:pt idx="42796">
                  <c:v>29.386502204619109</c:v>
                </c:pt>
                <c:pt idx="42797">
                  <c:v>24.222254675960542</c:v>
                </c:pt>
                <c:pt idx="42798">
                  <c:v>39.427661745922308</c:v>
                </c:pt>
                <c:pt idx="42799">
                  <c:v>24.860153231983602</c:v>
                </c:pt>
                <c:pt idx="42800">
                  <c:v>50.715506684105769</c:v>
                </c:pt>
                <c:pt idx="42801">
                  <c:v>34.715060158728612</c:v>
                </c:pt>
                <c:pt idx="42802">
                  <c:v>42.703884697295486</c:v>
                </c:pt>
                <c:pt idx="42803">
                  <c:v>16.421977631503825</c:v>
                </c:pt>
                <c:pt idx="42804">
                  <c:v>35.960811767718056</c:v>
                </c:pt>
                <c:pt idx="42805">
                  <c:v>24.98746904165451</c:v>
                </c:pt>
                <c:pt idx="42806">
                  <c:v>59.873234347944866</c:v>
                </c:pt>
                <c:pt idx="42807">
                  <c:v>31.452301254370742</c:v>
                </c:pt>
                <c:pt idx="42808">
                  <c:v>35.52035520220803</c:v>
                </c:pt>
                <c:pt idx="42809">
                  <c:v>27.358048769726771</c:v>
                </c:pt>
                <c:pt idx="42810">
                  <c:v>30.150314994345848</c:v>
                </c:pt>
                <c:pt idx="42811">
                  <c:v>25.568883613234107</c:v>
                </c:pt>
                <c:pt idx="42812">
                  <c:v>46.63535559116108</c:v>
                </c:pt>
                <c:pt idx="42813">
                  <c:v>36.746506742404272</c:v>
                </c:pt>
                <c:pt idx="42814">
                  <c:v>35.023376686955345</c:v>
                </c:pt>
                <c:pt idx="42815">
                  <c:v>23.570934341074953</c:v>
                </c:pt>
                <c:pt idx="42816">
                  <c:v>25.133143771418847</c:v>
                </c:pt>
                <c:pt idx="42817">
                  <c:v>24.758284427769009</c:v>
                </c:pt>
                <c:pt idx="42818">
                  <c:v>21.063245151748003</c:v>
                </c:pt>
                <c:pt idx="42819">
                  <c:v>23.90654847818157</c:v>
                </c:pt>
                <c:pt idx="42820">
                  <c:v>25.994869180031575</c:v>
                </c:pt>
                <c:pt idx="42821">
                  <c:v>36.565533286376628</c:v>
                </c:pt>
                <c:pt idx="42822">
                  <c:v>27.092525380072395</c:v>
                </c:pt>
                <c:pt idx="42823">
                  <c:v>25.194371375698921</c:v>
                </c:pt>
                <c:pt idx="42824">
                  <c:v>26.534510846572925</c:v>
                </c:pt>
                <c:pt idx="42825">
                  <c:v>35.996521867606099</c:v>
                </c:pt>
                <c:pt idx="42826">
                  <c:v>25.183962364780562</c:v>
                </c:pt>
                <c:pt idx="42827">
                  <c:v>31.187139314199719</c:v>
                </c:pt>
                <c:pt idx="42828">
                  <c:v>58.984258247034816</c:v>
                </c:pt>
                <c:pt idx="42829">
                  <c:v>19.127137106325485</c:v>
                </c:pt>
                <c:pt idx="42830">
                  <c:v>47.357439135198895</c:v>
                </c:pt>
                <c:pt idx="42831">
                  <c:v>49.878511187032942</c:v>
                </c:pt>
                <c:pt idx="42832">
                  <c:v>49.777829213369301</c:v>
                </c:pt>
                <c:pt idx="42833">
                  <c:v>26.97124387766236</c:v>
                </c:pt>
                <c:pt idx="42834">
                  <c:v>19.511689176149481</c:v>
                </c:pt>
                <c:pt idx="42835">
                  <c:v>24.223996694008374</c:v>
                </c:pt>
                <c:pt idx="42836">
                  <c:v>48.417793190375683</c:v>
                </c:pt>
                <c:pt idx="42837">
                  <c:v>44.756665309808078</c:v>
                </c:pt>
                <c:pt idx="42838">
                  <c:v>30.333369276533318</c:v>
                </c:pt>
                <c:pt idx="42839">
                  <c:v>35.242453505247042</c:v>
                </c:pt>
                <c:pt idx="42840">
                  <c:v>27.170891932434959</c:v>
                </c:pt>
                <c:pt idx="42841">
                  <c:v>34.747713185794666</c:v>
                </c:pt>
                <c:pt idx="42842">
                  <c:v>21.117411765485297</c:v>
                </c:pt>
                <c:pt idx="42843">
                  <c:v>44.232019002497438</c:v>
                </c:pt>
                <c:pt idx="42844">
                  <c:v>47.804339774990069</c:v>
                </c:pt>
                <c:pt idx="42845">
                  <c:v>21.020190699820979</c:v>
                </c:pt>
                <c:pt idx="42846">
                  <c:v>18.992149259475696</c:v>
                </c:pt>
                <c:pt idx="42847">
                  <c:v>27.024601237832488</c:v>
                </c:pt>
                <c:pt idx="42848">
                  <c:v>25.602956200085618</c:v>
                </c:pt>
                <c:pt idx="42849">
                  <c:v>38.501417836440055</c:v>
                </c:pt>
                <c:pt idx="42850">
                  <c:v>50.759770295276027</c:v>
                </c:pt>
                <c:pt idx="42851">
                  <c:v>23.454075777406839</c:v>
                </c:pt>
                <c:pt idx="42852">
                  <c:v>20.403283389370884</c:v>
                </c:pt>
                <c:pt idx="42853">
                  <c:v>19.057118809864129</c:v>
                </c:pt>
                <c:pt idx="42854">
                  <c:v>35.369177172406388</c:v>
                </c:pt>
                <c:pt idx="42855">
                  <c:v>23.096879773477365</c:v>
                </c:pt>
                <c:pt idx="42856">
                  <c:v>47.562445715648892</c:v>
                </c:pt>
                <c:pt idx="42857">
                  <c:v>23.422635027626139</c:v>
                </c:pt>
                <c:pt idx="42858">
                  <c:v>21.774595937911009</c:v>
                </c:pt>
                <c:pt idx="42859">
                  <c:v>30.231151845600266</c:v>
                </c:pt>
                <c:pt idx="42860">
                  <c:v>21.135615912244823</c:v>
                </c:pt>
                <c:pt idx="42861">
                  <c:v>25.572171772506255</c:v>
                </c:pt>
                <c:pt idx="42862">
                  <c:v>31.307616538749425</c:v>
                </c:pt>
                <c:pt idx="42863">
                  <c:v>44.857152660365522</c:v>
                </c:pt>
                <c:pt idx="42864">
                  <c:v>23.241518690327347</c:v>
                </c:pt>
                <c:pt idx="42865">
                  <c:v>27.659385176657594</c:v>
                </c:pt>
                <c:pt idx="42866">
                  <c:v>24.76028190958921</c:v>
                </c:pt>
                <c:pt idx="42867">
                  <c:v>23.6215245861451</c:v>
                </c:pt>
                <c:pt idx="42868">
                  <c:v>48.016202855237417</c:v>
                </c:pt>
                <c:pt idx="42869">
                  <c:v>29.77735834836443</c:v>
                </c:pt>
                <c:pt idx="42870">
                  <c:v>26.75852452192332</c:v>
                </c:pt>
                <c:pt idx="42871">
                  <c:v>29.281089734117295</c:v>
                </c:pt>
                <c:pt idx="42872">
                  <c:v>21.084956466049952</c:v>
                </c:pt>
                <c:pt idx="42873">
                  <c:v>20.808992994009486</c:v>
                </c:pt>
                <c:pt idx="42874">
                  <c:v>27.797310133093717</c:v>
                </c:pt>
                <c:pt idx="42875">
                  <c:v>30.29242768745776</c:v>
                </c:pt>
                <c:pt idx="42876">
                  <c:v>19.775045012170974</c:v>
                </c:pt>
                <c:pt idx="42877">
                  <c:v>25.969361290637103</c:v>
                </c:pt>
                <c:pt idx="42878">
                  <c:v>30.06773571269877</c:v>
                </c:pt>
                <c:pt idx="42879">
                  <c:v>42.962244262675085</c:v>
                </c:pt>
                <c:pt idx="42880">
                  <c:v>32.380472704306825</c:v>
                </c:pt>
                <c:pt idx="42881">
                  <c:v>23.00562550365385</c:v>
                </c:pt>
                <c:pt idx="42882">
                  <c:v>25.782372183308311</c:v>
                </c:pt>
                <c:pt idx="42883">
                  <c:v>27.442255931139492</c:v>
                </c:pt>
                <c:pt idx="42884">
                  <c:v>17.845434543070958</c:v>
                </c:pt>
                <c:pt idx="42885">
                  <c:v>19.034532984377023</c:v>
                </c:pt>
                <c:pt idx="42886">
                  <c:v>25.037419648447951</c:v>
                </c:pt>
                <c:pt idx="42887">
                  <c:v>50.829105164202723</c:v>
                </c:pt>
                <c:pt idx="42888">
                  <c:v>21.389913709010763</c:v>
                </c:pt>
                <c:pt idx="42889">
                  <c:v>30.786008240221598</c:v>
                </c:pt>
                <c:pt idx="42890">
                  <c:v>20.682051474019186</c:v>
                </c:pt>
                <c:pt idx="42891">
                  <c:v>23.119368971441304</c:v>
                </c:pt>
                <c:pt idx="42892">
                  <c:v>17.727445127918266</c:v>
                </c:pt>
                <c:pt idx="42893">
                  <c:v>47.540133731116349</c:v>
                </c:pt>
                <c:pt idx="42894">
                  <c:v>55.428703806141137</c:v>
                </c:pt>
                <c:pt idx="42895">
                  <c:v>24.639210136231036</c:v>
                </c:pt>
                <c:pt idx="42896">
                  <c:v>30.811009541196704</c:v>
                </c:pt>
                <c:pt idx="42897">
                  <c:v>23.403499016536745</c:v>
                </c:pt>
                <c:pt idx="42898">
                  <c:v>26.616393557080812</c:v>
                </c:pt>
                <c:pt idx="42899">
                  <c:v>35.289642156237726</c:v>
                </c:pt>
                <c:pt idx="42900">
                  <c:v>28.480439357450901</c:v>
                </c:pt>
                <c:pt idx="42901">
                  <c:v>18.323492597919046</c:v>
                </c:pt>
                <c:pt idx="42902">
                  <c:v>28.65958398763663</c:v>
                </c:pt>
                <c:pt idx="42903">
                  <c:v>22.223475425682466</c:v>
                </c:pt>
                <c:pt idx="42904">
                  <c:v>46.838798966377219</c:v>
                </c:pt>
                <c:pt idx="42905">
                  <c:v>23.066420581299823</c:v>
                </c:pt>
                <c:pt idx="42906">
                  <c:v>44.049670981494828</c:v>
                </c:pt>
                <c:pt idx="42907">
                  <c:v>36.970119239144687</c:v>
                </c:pt>
                <c:pt idx="42908">
                  <c:v>38.029095613379553</c:v>
                </c:pt>
                <c:pt idx="42909">
                  <c:v>29.397813393317808</c:v>
                </c:pt>
                <c:pt idx="42910">
                  <c:v>56.180624675159031</c:v>
                </c:pt>
                <c:pt idx="42911">
                  <c:v>43.056012964671879</c:v>
                </c:pt>
                <c:pt idx="42912">
                  <c:v>18.437808179667471</c:v>
                </c:pt>
                <c:pt idx="42913">
                  <c:v>21.025829751333198</c:v>
                </c:pt>
                <c:pt idx="42914">
                  <c:v>36.509700005888433</c:v>
                </c:pt>
                <c:pt idx="42915">
                  <c:v>23.444665625551462</c:v>
                </c:pt>
                <c:pt idx="42916">
                  <c:v>24.614792045695904</c:v>
                </c:pt>
                <c:pt idx="42917">
                  <c:v>20.057485529807352</c:v>
                </c:pt>
                <c:pt idx="42918">
                  <c:v>26.121975776979731</c:v>
                </c:pt>
                <c:pt idx="42919">
                  <c:v>56.460978239982673</c:v>
                </c:pt>
                <c:pt idx="42920">
                  <c:v>17.444705483553562</c:v>
                </c:pt>
                <c:pt idx="42921">
                  <c:v>26.653991768919518</c:v>
                </c:pt>
                <c:pt idx="42922">
                  <c:v>36.961986220367237</c:v>
                </c:pt>
                <c:pt idx="42923">
                  <c:v>26.291182618253593</c:v>
                </c:pt>
                <c:pt idx="42924">
                  <c:v>25.889769423500656</c:v>
                </c:pt>
                <c:pt idx="42925">
                  <c:v>30.655028608502114</c:v>
                </c:pt>
                <c:pt idx="42926">
                  <c:v>24.254068352340983</c:v>
                </c:pt>
                <c:pt idx="42927">
                  <c:v>25.699953406234357</c:v>
                </c:pt>
                <c:pt idx="42928">
                  <c:v>28.049911785551163</c:v>
                </c:pt>
                <c:pt idx="42929">
                  <c:v>26.790448302719298</c:v>
                </c:pt>
                <c:pt idx="42930">
                  <c:v>34.49684593568233</c:v>
                </c:pt>
                <c:pt idx="42931">
                  <c:v>27.034957725239785</c:v>
                </c:pt>
                <c:pt idx="42932">
                  <c:v>31.4444734298513</c:v>
                </c:pt>
                <c:pt idx="42933">
                  <c:v>25.785647949753475</c:v>
                </c:pt>
                <c:pt idx="42934">
                  <c:v>28.180093311426841</c:v>
                </c:pt>
                <c:pt idx="42935">
                  <c:v>36.804517901387996</c:v>
                </c:pt>
                <c:pt idx="42936">
                  <c:v>17.546648155689041</c:v>
                </c:pt>
                <c:pt idx="42937">
                  <c:v>24.774505323792035</c:v>
                </c:pt>
                <c:pt idx="42938">
                  <c:v>26.192585822208613</c:v>
                </c:pt>
                <c:pt idx="42939">
                  <c:v>49.840697859072542</c:v>
                </c:pt>
                <c:pt idx="42940">
                  <c:v>27.352917017250459</c:v>
                </c:pt>
                <c:pt idx="42941">
                  <c:v>25.990583343701509</c:v>
                </c:pt>
                <c:pt idx="42942">
                  <c:v>25.431830056253016</c:v>
                </c:pt>
                <c:pt idx="42943">
                  <c:v>40.734553266544935</c:v>
                </c:pt>
                <c:pt idx="42944">
                  <c:v>30.386165195738148</c:v>
                </c:pt>
                <c:pt idx="42945">
                  <c:v>45.206342733083837</c:v>
                </c:pt>
                <c:pt idx="42946">
                  <c:v>30.573473714436581</c:v>
                </c:pt>
                <c:pt idx="42947">
                  <c:v>22.12530295167516</c:v>
                </c:pt>
                <c:pt idx="42948">
                  <c:v>23.604965551790098</c:v>
                </c:pt>
                <c:pt idx="42949">
                  <c:v>30.099928342284795</c:v>
                </c:pt>
                <c:pt idx="42950">
                  <c:v>39.103184209692436</c:v>
                </c:pt>
                <c:pt idx="42951">
                  <c:v>28.32666254385256</c:v>
                </c:pt>
                <c:pt idx="42952">
                  <c:v>25.841453891028909</c:v>
                </c:pt>
                <c:pt idx="42953">
                  <c:v>44.219751599434552</c:v>
                </c:pt>
                <c:pt idx="42954">
                  <c:v>31.349160762103047</c:v>
                </c:pt>
                <c:pt idx="42955">
                  <c:v>30.188044087001526</c:v>
                </c:pt>
                <c:pt idx="42956">
                  <c:v>26.881106445825715</c:v>
                </c:pt>
                <c:pt idx="42957">
                  <c:v>24.854516502458132</c:v>
                </c:pt>
                <c:pt idx="42958">
                  <c:v>27.837901999369571</c:v>
                </c:pt>
                <c:pt idx="42959">
                  <c:v>22.723679297518384</c:v>
                </c:pt>
                <c:pt idx="42960">
                  <c:v>29.534247223947901</c:v>
                </c:pt>
                <c:pt idx="42961">
                  <c:v>24.612304600746313</c:v>
                </c:pt>
                <c:pt idx="42962">
                  <c:v>48.888732638118114</c:v>
                </c:pt>
                <c:pt idx="42963">
                  <c:v>28.113732227876426</c:v>
                </c:pt>
                <c:pt idx="42964">
                  <c:v>52.906639225205133</c:v>
                </c:pt>
                <c:pt idx="42965">
                  <c:v>47.930346950199741</c:v>
                </c:pt>
                <c:pt idx="42966">
                  <c:v>38.386376727786285</c:v>
                </c:pt>
                <c:pt idx="42967">
                  <c:v>32.78833073777561</c:v>
                </c:pt>
                <c:pt idx="42968">
                  <c:v>26.198487968637927</c:v>
                </c:pt>
                <c:pt idx="42969">
                  <c:v>28.223725206103506</c:v>
                </c:pt>
                <c:pt idx="42970">
                  <c:v>42.27453127503022</c:v>
                </c:pt>
                <c:pt idx="42971">
                  <c:v>24.932122607824553</c:v>
                </c:pt>
                <c:pt idx="42972">
                  <c:v>45.644270087762443</c:v>
                </c:pt>
                <c:pt idx="42973">
                  <c:v>26.913043108531795</c:v>
                </c:pt>
                <c:pt idx="42974">
                  <c:v>34.724968604025008</c:v>
                </c:pt>
                <c:pt idx="42975">
                  <c:v>43.784527290149043</c:v>
                </c:pt>
                <c:pt idx="42976">
                  <c:v>25.168148211351024</c:v>
                </c:pt>
                <c:pt idx="42977">
                  <c:v>27.792532823451225</c:v>
                </c:pt>
                <c:pt idx="42978">
                  <c:v>47.141080630550135</c:v>
                </c:pt>
                <c:pt idx="42979">
                  <c:v>32.325129778489625</c:v>
                </c:pt>
                <c:pt idx="42980">
                  <c:v>32.732099110950841</c:v>
                </c:pt>
                <c:pt idx="42981">
                  <c:v>25.251485089160148</c:v>
                </c:pt>
                <c:pt idx="42982">
                  <c:v>32.738349145844317</c:v>
                </c:pt>
                <c:pt idx="42983">
                  <c:v>53.974927256044403</c:v>
                </c:pt>
                <c:pt idx="42984">
                  <c:v>42.411802656537141</c:v>
                </c:pt>
                <c:pt idx="42985">
                  <c:v>47.744981015756323</c:v>
                </c:pt>
                <c:pt idx="42986">
                  <c:v>30.078097298188453</c:v>
                </c:pt>
                <c:pt idx="42987">
                  <c:v>30.23084151492866</c:v>
                </c:pt>
                <c:pt idx="42988">
                  <c:v>31.45361741327952</c:v>
                </c:pt>
                <c:pt idx="42989">
                  <c:v>53.966978830072691</c:v>
                </c:pt>
                <c:pt idx="42990">
                  <c:v>23.085354217052025</c:v>
                </c:pt>
                <c:pt idx="42991">
                  <c:v>46.840201168091646</c:v>
                </c:pt>
                <c:pt idx="42992">
                  <c:v>50.735469700217124</c:v>
                </c:pt>
                <c:pt idx="42993">
                  <c:v>30.412032438282338</c:v>
                </c:pt>
                <c:pt idx="42994">
                  <c:v>41.326766526147956</c:v>
                </c:pt>
                <c:pt idx="42995">
                  <c:v>28.75496766371262</c:v>
                </c:pt>
                <c:pt idx="42996">
                  <c:v>36.097987697092407</c:v>
                </c:pt>
                <c:pt idx="42997">
                  <c:v>28.512011951500121</c:v>
                </c:pt>
                <c:pt idx="42998">
                  <c:v>31.131846655424361</c:v>
                </c:pt>
                <c:pt idx="42999">
                  <c:v>44.503215692438459</c:v>
                </c:pt>
                <c:pt idx="43000">
                  <c:v>27.490474771429554</c:v>
                </c:pt>
                <c:pt idx="43001">
                  <c:v>19.765166686661889</c:v>
                </c:pt>
                <c:pt idx="43002">
                  <c:v>28.420198263229896</c:v>
                </c:pt>
                <c:pt idx="43003">
                  <c:v>30.568127217817896</c:v>
                </c:pt>
                <c:pt idx="43004">
                  <c:v>21.819223988983886</c:v>
                </c:pt>
                <c:pt idx="43005">
                  <c:v>21.767615794569494</c:v>
                </c:pt>
                <c:pt idx="43006">
                  <c:v>37.466023095507879</c:v>
                </c:pt>
                <c:pt idx="43007">
                  <c:v>28.716769749623616</c:v>
                </c:pt>
                <c:pt idx="43008">
                  <c:v>29.58572177482209</c:v>
                </c:pt>
                <c:pt idx="43009">
                  <c:v>26.179790659967018</c:v>
                </c:pt>
                <c:pt idx="43010">
                  <c:v>29.521996230986176</c:v>
                </c:pt>
                <c:pt idx="43011">
                  <c:v>30.972120504873764</c:v>
                </c:pt>
                <c:pt idx="43012">
                  <c:v>27.433039527555181</c:v>
                </c:pt>
                <c:pt idx="43013">
                  <c:v>24.141130861894588</c:v>
                </c:pt>
                <c:pt idx="43014">
                  <c:v>28.836961923244367</c:v>
                </c:pt>
                <c:pt idx="43015">
                  <c:v>25.956515145686744</c:v>
                </c:pt>
                <c:pt idx="43016">
                  <c:v>24.916244380424345</c:v>
                </c:pt>
                <c:pt idx="43017">
                  <c:v>32.117584219484137</c:v>
                </c:pt>
                <c:pt idx="43018">
                  <c:v>23.420060019223392</c:v>
                </c:pt>
                <c:pt idx="43019">
                  <c:v>28.57904703809097</c:v>
                </c:pt>
                <c:pt idx="43020">
                  <c:v>26.462640174756611</c:v>
                </c:pt>
                <c:pt idx="43021">
                  <c:v>29.861928254188587</c:v>
                </c:pt>
                <c:pt idx="43022">
                  <c:v>45.26027409519476</c:v>
                </c:pt>
                <c:pt idx="43023">
                  <c:v>30.338665016435812</c:v>
                </c:pt>
                <c:pt idx="43024">
                  <c:v>26.179359249590544</c:v>
                </c:pt>
                <c:pt idx="43025">
                  <c:v>48.484083630473464</c:v>
                </c:pt>
                <c:pt idx="43026">
                  <c:v>24.348140460312095</c:v>
                </c:pt>
                <c:pt idx="43027">
                  <c:v>28.499327519500898</c:v>
                </c:pt>
                <c:pt idx="43028">
                  <c:v>47.696032687622093</c:v>
                </c:pt>
                <c:pt idx="43029">
                  <c:v>45.144614875585155</c:v>
                </c:pt>
                <c:pt idx="43030">
                  <c:v>52.844880593245264</c:v>
                </c:pt>
                <c:pt idx="43031">
                  <c:v>42.420656313780931</c:v>
                </c:pt>
                <c:pt idx="43032">
                  <c:v>22.574373395612842</c:v>
                </c:pt>
                <c:pt idx="43033">
                  <c:v>31.065644049549363</c:v>
                </c:pt>
                <c:pt idx="43034">
                  <c:v>40.745242687491128</c:v>
                </c:pt>
                <c:pt idx="43035">
                  <c:v>22.276486693931954</c:v>
                </c:pt>
                <c:pt idx="43036">
                  <c:v>35.976012463078206</c:v>
                </c:pt>
                <c:pt idx="43037">
                  <c:v>41.585189460306012</c:v>
                </c:pt>
                <c:pt idx="43038">
                  <c:v>30.183730743812546</c:v>
                </c:pt>
                <c:pt idx="43039">
                  <c:v>21.760170240113474</c:v>
                </c:pt>
                <c:pt idx="43040">
                  <c:v>25.092850138172139</c:v>
                </c:pt>
                <c:pt idx="43041">
                  <c:v>22.340070853364022</c:v>
                </c:pt>
                <c:pt idx="43042">
                  <c:v>26.697114559768696</c:v>
                </c:pt>
                <c:pt idx="43043">
                  <c:v>32.773655196346212</c:v>
                </c:pt>
                <c:pt idx="43044">
                  <c:v>27.509623322803861</c:v>
                </c:pt>
                <c:pt idx="43045">
                  <c:v>31.537026572866022</c:v>
                </c:pt>
                <c:pt idx="43046">
                  <c:v>42.954162654574922</c:v>
                </c:pt>
                <c:pt idx="43047">
                  <c:v>25.958465925054092</c:v>
                </c:pt>
                <c:pt idx="43048">
                  <c:v>46.156645676852044</c:v>
                </c:pt>
                <c:pt idx="43049">
                  <c:v>16.255394848262249</c:v>
                </c:pt>
                <c:pt idx="43050">
                  <c:v>20.154047652109199</c:v>
                </c:pt>
                <c:pt idx="43051">
                  <c:v>29.047270568608131</c:v>
                </c:pt>
                <c:pt idx="43052">
                  <c:v>20.384197940397762</c:v>
                </c:pt>
                <c:pt idx="43053">
                  <c:v>57.893360320619124</c:v>
                </c:pt>
                <c:pt idx="43054">
                  <c:v>26.494893489077647</c:v>
                </c:pt>
                <c:pt idx="43055">
                  <c:v>30.30268895193457</c:v>
                </c:pt>
                <c:pt idx="43056">
                  <c:v>32.343970281649703</c:v>
                </c:pt>
                <c:pt idx="43057">
                  <c:v>47.954232863864156</c:v>
                </c:pt>
                <c:pt idx="43058">
                  <c:v>25.836461086230582</c:v>
                </c:pt>
                <c:pt idx="43059">
                  <c:v>30.754791596201994</c:v>
                </c:pt>
                <c:pt idx="43060">
                  <c:v>33.980163876906985</c:v>
                </c:pt>
                <c:pt idx="43061">
                  <c:v>44.001229704772932</c:v>
                </c:pt>
                <c:pt idx="43062">
                  <c:v>28.500808337790026</c:v>
                </c:pt>
                <c:pt idx="43063">
                  <c:v>24.06338416208396</c:v>
                </c:pt>
                <c:pt idx="43064">
                  <c:v>30.756717399653386</c:v>
                </c:pt>
                <c:pt idx="43065">
                  <c:v>58.521670877679547</c:v>
                </c:pt>
                <c:pt idx="43066">
                  <c:v>25.468338716908779</c:v>
                </c:pt>
                <c:pt idx="43067">
                  <c:v>17.661223232006286</c:v>
                </c:pt>
                <c:pt idx="43068">
                  <c:v>30.915504795257974</c:v>
                </c:pt>
                <c:pt idx="43069">
                  <c:v>29.644240703976664</c:v>
                </c:pt>
                <c:pt idx="43070">
                  <c:v>21.65638987179673</c:v>
                </c:pt>
                <c:pt idx="43071">
                  <c:v>29.964019214352724</c:v>
                </c:pt>
                <c:pt idx="43072">
                  <c:v>54.92209692637627</c:v>
                </c:pt>
                <c:pt idx="43073">
                  <c:v>23.381380814010164</c:v>
                </c:pt>
                <c:pt idx="43074">
                  <c:v>47.439421482566409</c:v>
                </c:pt>
                <c:pt idx="43075">
                  <c:v>50.038004929719868</c:v>
                </c:pt>
                <c:pt idx="43076">
                  <c:v>45.752629497450343</c:v>
                </c:pt>
                <c:pt idx="43077">
                  <c:v>29.447726734462716</c:v>
                </c:pt>
                <c:pt idx="43078">
                  <c:v>32.382404373287216</c:v>
                </c:pt>
                <c:pt idx="43079">
                  <c:v>40.811799323064612</c:v>
                </c:pt>
                <c:pt idx="43080">
                  <c:v>39.627042216349864</c:v>
                </c:pt>
                <c:pt idx="43081">
                  <c:v>21.472623209224302</c:v>
                </c:pt>
                <c:pt idx="43082">
                  <c:v>27.108765448607095</c:v>
                </c:pt>
                <c:pt idx="43083">
                  <c:v>27.482366253523743</c:v>
                </c:pt>
                <c:pt idx="43084">
                  <c:v>28.940861653069852</c:v>
                </c:pt>
                <c:pt idx="43085">
                  <c:v>27.138073632928357</c:v>
                </c:pt>
                <c:pt idx="43086">
                  <c:v>22.289877882271455</c:v>
                </c:pt>
                <c:pt idx="43087">
                  <c:v>16.276757711646106</c:v>
                </c:pt>
                <c:pt idx="43088">
                  <c:v>22.406124605886237</c:v>
                </c:pt>
                <c:pt idx="43089">
                  <c:v>29.843111732832011</c:v>
                </c:pt>
                <c:pt idx="43090">
                  <c:v>25.789419189722164</c:v>
                </c:pt>
                <c:pt idx="43091">
                  <c:v>19.36922698990114</c:v>
                </c:pt>
                <c:pt idx="43092">
                  <c:v>34.529008035530282</c:v>
                </c:pt>
                <c:pt idx="43093">
                  <c:v>29.484306215688413</c:v>
                </c:pt>
                <c:pt idx="43094">
                  <c:v>28.764035900260161</c:v>
                </c:pt>
                <c:pt idx="43095">
                  <c:v>48.140482002201139</c:v>
                </c:pt>
                <c:pt idx="43096">
                  <c:v>35.766767405769471</c:v>
                </c:pt>
                <c:pt idx="43097">
                  <c:v>51.79459327809441</c:v>
                </c:pt>
                <c:pt idx="43098">
                  <c:v>38.322009237483812</c:v>
                </c:pt>
                <c:pt idx="43099">
                  <c:v>55.448767946337426</c:v>
                </c:pt>
                <c:pt idx="43100">
                  <c:v>33.511843993077164</c:v>
                </c:pt>
                <c:pt idx="43101">
                  <c:v>25.086038187546119</c:v>
                </c:pt>
                <c:pt idx="43102">
                  <c:v>28.00896971542938</c:v>
                </c:pt>
                <c:pt idx="43103">
                  <c:v>20.171540285466019</c:v>
                </c:pt>
                <c:pt idx="43104">
                  <c:v>54.014521914551153</c:v>
                </c:pt>
                <c:pt idx="43105">
                  <c:v>56.076829774024553</c:v>
                </c:pt>
                <c:pt idx="43106">
                  <c:v>21.045521242246465</c:v>
                </c:pt>
                <c:pt idx="43107">
                  <c:v>48.252833626902401</c:v>
                </c:pt>
                <c:pt idx="43108">
                  <c:v>25.999857976281817</c:v>
                </c:pt>
                <c:pt idx="43109">
                  <c:v>24.6654363889838</c:v>
                </c:pt>
                <c:pt idx="43110">
                  <c:v>28.926295891978988</c:v>
                </c:pt>
                <c:pt idx="43111">
                  <c:v>35.853147735517688</c:v>
                </c:pt>
                <c:pt idx="43112">
                  <c:v>34.756631788736584</c:v>
                </c:pt>
                <c:pt idx="43113">
                  <c:v>23.953620828750687</c:v>
                </c:pt>
                <c:pt idx="43114">
                  <c:v>28.265451222094853</c:v>
                </c:pt>
                <c:pt idx="43115">
                  <c:v>32.28616400770639</c:v>
                </c:pt>
                <c:pt idx="43116">
                  <c:v>25.924754134071581</c:v>
                </c:pt>
                <c:pt idx="43117">
                  <c:v>31.688315969016529</c:v>
                </c:pt>
                <c:pt idx="43118">
                  <c:v>41.058610872238376</c:v>
                </c:pt>
                <c:pt idx="43119">
                  <c:v>29.729880998533062</c:v>
                </c:pt>
                <c:pt idx="43120">
                  <c:v>23.63509794674091</c:v>
                </c:pt>
                <c:pt idx="43121">
                  <c:v>25.161155938764988</c:v>
                </c:pt>
                <c:pt idx="43122">
                  <c:v>28.448200744314533</c:v>
                </c:pt>
                <c:pt idx="43123">
                  <c:v>17.084189729837977</c:v>
                </c:pt>
                <c:pt idx="43124">
                  <c:v>47.16521872304282</c:v>
                </c:pt>
                <c:pt idx="43125">
                  <c:v>29.468474330936807</c:v>
                </c:pt>
                <c:pt idx="43126">
                  <c:v>50.838328563323259</c:v>
                </c:pt>
                <c:pt idx="43127">
                  <c:v>38.71847862961603</c:v>
                </c:pt>
                <c:pt idx="43128">
                  <c:v>21.806798488132696</c:v>
                </c:pt>
                <c:pt idx="43129">
                  <c:v>20.090793852567288</c:v>
                </c:pt>
                <c:pt idx="43130">
                  <c:v>55.064861473107044</c:v>
                </c:pt>
                <c:pt idx="43131">
                  <c:v>34.592103585606239</c:v>
                </c:pt>
                <c:pt idx="43132">
                  <c:v>34.410563229641397</c:v>
                </c:pt>
                <c:pt idx="43133">
                  <c:v>45.534109420892342</c:v>
                </c:pt>
                <c:pt idx="43134">
                  <c:v>42.51835599855643</c:v>
                </c:pt>
                <c:pt idx="43135">
                  <c:v>24.502908224416238</c:v>
                </c:pt>
                <c:pt idx="43136">
                  <c:v>59.819914029584744</c:v>
                </c:pt>
                <c:pt idx="43137">
                  <c:v>37.97569924514692</c:v>
                </c:pt>
                <c:pt idx="43138">
                  <c:v>21.898771058736209</c:v>
                </c:pt>
                <c:pt idx="43139">
                  <c:v>37.847628318882776</c:v>
                </c:pt>
                <c:pt idx="43140">
                  <c:v>30.563749943101499</c:v>
                </c:pt>
                <c:pt idx="43141">
                  <c:v>19.702675538551805</c:v>
                </c:pt>
                <c:pt idx="43142">
                  <c:v>22.32170025805145</c:v>
                </c:pt>
                <c:pt idx="43143">
                  <c:v>22.02225877992846</c:v>
                </c:pt>
                <c:pt idx="43144">
                  <c:v>46.828685486477255</c:v>
                </c:pt>
                <c:pt idx="43145">
                  <c:v>25.512098079742188</c:v>
                </c:pt>
                <c:pt idx="43146">
                  <c:v>26.115350866128434</c:v>
                </c:pt>
                <c:pt idx="43147">
                  <c:v>47.971325635761566</c:v>
                </c:pt>
                <c:pt idx="43148">
                  <c:v>40.451661980582607</c:v>
                </c:pt>
                <c:pt idx="43149">
                  <c:v>26.240496257762274</c:v>
                </c:pt>
                <c:pt idx="43150">
                  <c:v>27.675341572724339</c:v>
                </c:pt>
                <c:pt idx="43151">
                  <c:v>21.392261965515132</c:v>
                </c:pt>
                <c:pt idx="43152">
                  <c:v>34.969027460851649</c:v>
                </c:pt>
                <c:pt idx="43153">
                  <c:v>28.186589939582706</c:v>
                </c:pt>
                <c:pt idx="43154">
                  <c:v>29.807344983419306</c:v>
                </c:pt>
                <c:pt idx="43155">
                  <c:v>28.072277386600419</c:v>
                </c:pt>
                <c:pt idx="43156">
                  <c:v>24.001229349808515</c:v>
                </c:pt>
                <c:pt idx="43157">
                  <c:v>27.115834160684678</c:v>
                </c:pt>
                <c:pt idx="43158">
                  <c:v>26.580435248402029</c:v>
                </c:pt>
                <c:pt idx="43159">
                  <c:v>40.829523020042195</c:v>
                </c:pt>
                <c:pt idx="43160">
                  <c:v>45.841389695291689</c:v>
                </c:pt>
                <c:pt idx="43161">
                  <c:v>43.21377587271617</c:v>
                </c:pt>
                <c:pt idx="43162">
                  <c:v>59.691375584653422</c:v>
                </c:pt>
                <c:pt idx="43163">
                  <c:v>51.857630846573592</c:v>
                </c:pt>
                <c:pt idx="43164">
                  <c:v>26.892767176678824</c:v>
                </c:pt>
                <c:pt idx="43165">
                  <c:v>17.360013020599748</c:v>
                </c:pt>
                <c:pt idx="43166">
                  <c:v>24.65746218760539</c:v>
                </c:pt>
                <c:pt idx="43167">
                  <c:v>27.711594937182259</c:v>
                </c:pt>
                <c:pt idx="43168">
                  <c:v>28.94398648710105</c:v>
                </c:pt>
                <c:pt idx="43169">
                  <c:v>57.267726132087247</c:v>
                </c:pt>
                <c:pt idx="43170">
                  <c:v>27.83959146151242</c:v>
                </c:pt>
                <c:pt idx="43171">
                  <c:v>20.234771283237691</c:v>
                </c:pt>
                <c:pt idx="43172">
                  <c:v>56.071772822381831</c:v>
                </c:pt>
                <c:pt idx="43173">
                  <c:v>26.345205779352796</c:v>
                </c:pt>
                <c:pt idx="43174">
                  <c:v>41.839320536024573</c:v>
                </c:pt>
                <c:pt idx="43175">
                  <c:v>21.41278411482125</c:v>
                </c:pt>
                <c:pt idx="43176">
                  <c:v>21.626483735192696</c:v>
                </c:pt>
                <c:pt idx="43177">
                  <c:v>31.896019294789603</c:v>
                </c:pt>
                <c:pt idx="43178">
                  <c:v>24.556567156437293</c:v>
                </c:pt>
                <c:pt idx="43179">
                  <c:v>46.07256766093839</c:v>
                </c:pt>
                <c:pt idx="43180">
                  <c:v>47.681365487069677</c:v>
                </c:pt>
                <c:pt idx="43181">
                  <c:v>32.15993720862518</c:v>
                </c:pt>
                <c:pt idx="43182">
                  <c:v>29.393104042078345</c:v>
                </c:pt>
                <c:pt idx="43183">
                  <c:v>28.482106665060151</c:v>
                </c:pt>
                <c:pt idx="43184">
                  <c:v>24.424385968675523</c:v>
                </c:pt>
                <c:pt idx="43185">
                  <c:v>47.117320785347317</c:v>
                </c:pt>
                <c:pt idx="43186">
                  <c:v>51.901020626122587</c:v>
                </c:pt>
                <c:pt idx="43187">
                  <c:v>24.572185730211668</c:v>
                </c:pt>
                <c:pt idx="43188">
                  <c:v>35.422401651474601</c:v>
                </c:pt>
                <c:pt idx="43189">
                  <c:v>43.024841102079861</c:v>
                </c:pt>
                <c:pt idx="43190">
                  <c:v>28.028930602348531</c:v>
                </c:pt>
                <c:pt idx="43191">
                  <c:v>48.044488960996105</c:v>
                </c:pt>
                <c:pt idx="43192">
                  <c:v>28.173315055953623</c:v>
                </c:pt>
                <c:pt idx="43193">
                  <c:v>26.225883461442919</c:v>
                </c:pt>
                <c:pt idx="43194">
                  <c:v>36.619447822561348</c:v>
                </c:pt>
                <c:pt idx="43195">
                  <c:v>18.422385791161155</c:v>
                </c:pt>
                <c:pt idx="43196">
                  <c:v>30.905029914054396</c:v>
                </c:pt>
                <c:pt idx="43197">
                  <c:v>23.524351634724624</c:v>
                </c:pt>
                <c:pt idx="43198">
                  <c:v>55.229491112400531</c:v>
                </c:pt>
                <c:pt idx="43199">
                  <c:v>46.65959123337376</c:v>
                </c:pt>
                <c:pt idx="43200">
                  <c:v>28.550420762204567</c:v>
                </c:pt>
                <c:pt idx="43201">
                  <c:v>30.986671793601296</c:v>
                </c:pt>
                <c:pt idx="43202">
                  <c:v>26.798485869915808</c:v>
                </c:pt>
                <c:pt idx="43203">
                  <c:v>39.657114283916641</c:v>
                </c:pt>
                <c:pt idx="43204">
                  <c:v>40.312229531604181</c:v>
                </c:pt>
                <c:pt idx="43205">
                  <c:v>42.624978315880696</c:v>
                </c:pt>
                <c:pt idx="43206">
                  <c:v>32.540519149642904</c:v>
                </c:pt>
                <c:pt idx="43207">
                  <c:v>34.310696325700981</c:v>
                </c:pt>
                <c:pt idx="43208">
                  <c:v>26.331263800154382</c:v>
                </c:pt>
                <c:pt idx="43209">
                  <c:v>18.04681258234255</c:v>
                </c:pt>
                <c:pt idx="43210">
                  <c:v>20.96438222620278</c:v>
                </c:pt>
                <c:pt idx="43211">
                  <c:v>29.938259483524934</c:v>
                </c:pt>
                <c:pt idx="43212">
                  <c:v>23.85340371949853</c:v>
                </c:pt>
                <c:pt idx="43213">
                  <c:v>47.814372845825602</c:v>
                </c:pt>
                <c:pt idx="43214">
                  <c:v>33.883141245473595</c:v>
                </c:pt>
                <c:pt idx="43215">
                  <c:v>27.96225439526377</c:v>
                </c:pt>
                <c:pt idx="43216">
                  <c:v>35.4695981972894</c:v>
                </c:pt>
                <c:pt idx="43217">
                  <c:v>20.187156798046988</c:v>
                </c:pt>
                <c:pt idx="43218">
                  <c:v>29.453267450297538</c:v>
                </c:pt>
                <c:pt idx="43219">
                  <c:v>27.258138138788052</c:v>
                </c:pt>
                <c:pt idx="43220">
                  <c:v>24.918819640899393</c:v>
                </c:pt>
                <c:pt idx="43221">
                  <c:v>27.651591364741812</c:v>
                </c:pt>
                <c:pt idx="43222">
                  <c:v>23.778423205455844</c:v>
                </c:pt>
                <c:pt idx="43223">
                  <c:v>39.033373460686207</c:v>
                </c:pt>
                <c:pt idx="43224">
                  <c:v>21.63631878171493</c:v>
                </c:pt>
                <c:pt idx="43225">
                  <c:v>29.661556418645063</c:v>
                </c:pt>
                <c:pt idx="43226">
                  <c:v>28.493879485497697</c:v>
                </c:pt>
                <c:pt idx="43227">
                  <c:v>37.800541504497588</c:v>
                </c:pt>
                <c:pt idx="43228">
                  <c:v>23.619223462749417</c:v>
                </c:pt>
                <c:pt idx="43229">
                  <c:v>38.240239640355675</c:v>
                </c:pt>
                <c:pt idx="43230">
                  <c:v>45.607542198847234</c:v>
                </c:pt>
                <c:pt idx="43231">
                  <c:v>41.842265451386837</c:v>
                </c:pt>
                <c:pt idx="43232">
                  <c:v>24.939754157086305</c:v>
                </c:pt>
                <c:pt idx="43233">
                  <c:v>52.400555430349229</c:v>
                </c:pt>
                <c:pt idx="43234">
                  <c:v>54.473622154193933</c:v>
                </c:pt>
                <c:pt idx="43235">
                  <c:v>36.041013253375262</c:v>
                </c:pt>
                <c:pt idx="43236">
                  <c:v>22.938345426556001</c:v>
                </c:pt>
                <c:pt idx="43237">
                  <c:v>28.10451166681473</c:v>
                </c:pt>
                <c:pt idx="43238">
                  <c:v>40.605817007175709</c:v>
                </c:pt>
                <c:pt idx="43239">
                  <c:v>32.872008965985032</c:v>
                </c:pt>
                <c:pt idx="43240">
                  <c:v>48.020586544935682</c:v>
                </c:pt>
                <c:pt idx="43241">
                  <c:v>20.0797716331431</c:v>
                </c:pt>
                <c:pt idx="43242">
                  <c:v>47.545977599055185</c:v>
                </c:pt>
                <c:pt idx="43243">
                  <c:v>45.837303972796867</c:v>
                </c:pt>
                <c:pt idx="43244">
                  <c:v>36.981320903231115</c:v>
                </c:pt>
                <c:pt idx="43245">
                  <c:v>35.9303495042547</c:v>
                </c:pt>
                <c:pt idx="43246">
                  <c:v>39.199179130323316</c:v>
                </c:pt>
                <c:pt idx="43247">
                  <c:v>30.612860590937927</c:v>
                </c:pt>
                <c:pt idx="43248">
                  <c:v>30.452450562595342</c:v>
                </c:pt>
                <c:pt idx="43249">
                  <c:v>25.659820762490398</c:v>
                </c:pt>
                <c:pt idx="43250">
                  <c:v>47.128575084226881</c:v>
                </c:pt>
                <c:pt idx="43251">
                  <c:v>53.33251821994719</c:v>
                </c:pt>
                <c:pt idx="43252">
                  <c:v>46.890421504309302</c:v>
                </c:pt>
                <c:pt idx="43253">
                  <c:v>45.725121718605223</c:v>
                </c:pt>
                <c:pt idx="43254">
                  <c:v>21.860513365048675</c:v>
                </c:pt>
                <c:pt idx="43255">
                  <c:v>37.236159420235616</c:v>
                </c:pt>
                <c:pt idx="43256">
                  <c:v>61.74171171390536</c:v>
                </c:pt>
                <c:pt idx="43257">
                  <c:v>28.131196849008933</c:v>
                </c:pt>
                <c:pt idx="43258">
                  <c:v>35.053892387032874</c:v>
                </c:pt>
                <c:pt idx="43259">
                  <c:v>31.635195492339079</c:v>
                </c:pt>
                <c:pt idx="43260">
                  <c:v>54.044461079934138</c:v>
                </c:pt>
                <c:pt idx="43261">
                  <c:v>40.507422923271648</c:v>
                </c:pt>
                <c:pt idx="43262">
                  <c:v>54.699693955095874</c:v>
                </c:pt>
                <c:pt idx="43263">
                  <c:v>50.407186577770901</c:v>
                </c:pt>
                <c:pt idx="43264">
                  <c:v>19.516117658489151</c:v>
                </c:pt>
                <c:pt idx="43265">
                  <c:v>34.845637892932615</c:v>
                </c:pt>
                <c:pt idx="43266">
                  <c:v>32.200697811246954</c:v>
                </c:pt>
                <c:pt idx="43267">
                  <c:v>29.038798501154471</c:v>
                </c:pt>
                <c:pt idx="43268">
                  <c:v>35.732739761440172</c:v>
                </c:pt>
                <c:pt idx="43269">
                  <c:v>26.624636308416068</c:v>
                </c:pt>
                <c:pt idx="43270">
                  <c:v>48.078092191011862</c:v>
                </c:pt>
                <c:pt idx="43271">
                  <c:v>22.844739696141367</c:v>
                </c:pt>
                <c:pt idx="43272">
                  <c:v>25.311363992508351</c:v>
                </c:pt>
                <c:pt idx="43273">
                  <c:v>17.306299685051876</c:v>
                </c:pt>
                <c:pt idx="43274">
                  <c:v>35.221179041748684</c:v>
                </c:pt>
                <c:pt idx="43275">
                  <c:v>41.658880946479805</c:v>
                </c:pt>
                <c:pt idx="43276">
                  <c:v>20.351382434161813</c:v>
                </c:pt>
                <c:pt idx="43277">
                  <c:v>27.381582242391442</c:v>
                </c:pt>
                <c:pt idx="43278">
                  <c:v>24.211510473082431</c:v>
                </c:pt>
                <c:pt idx="43279">
                  <c:v>20.647591410595197</c:v>
                </c:pt>
                <c:pt idx="43280">
                  <c:v>43.582629319901727</c:v>
                </c:pt>
                <c:pt idx="43281">
                  <c:v>33.484638067172781</c:v>
                </c:pt>
                <c:pt idx="43282">
                  <c:v>28.535552840290965</c:v>
                </c:pt>
                <c:pt idx="43283">
                  <c:v>42.397840911976182</c:v>
                </c:pt>
                <c:pt idx="43284">
                  <c:v>48.789373396254888</c:v>
                </c:pt>
                <c:pt idx="43285">
                  <c:v>24.938587893677653</c:v>
                </c:pt>
                <c:pt idx="43286">
                  <c:v>42.908721183937594</c:v>
                </c:pt>
                <c:pt idx="43287">
                  <c:v>26.464651443067602</c:v>
                </c:pt>
                <c:pt idx="43288">
                  <c:v>28.574813733501976</c:v>
                </c:pt>
                <c:pt idx="43289">
                  <c:v>29.076203887006237</c:v>
                </c:pt>
                <c:pt idx="43290">
                  <c:v>25.974083772152625</c:v>
                </c:pt>
                <c:pt idx="43291">
                  <c:v>22.510514071644081</c:v>
                </c:pt>
                <c:pt idx="43292">
                  <c:v>47.397102230201064</c:v>
                </c:pt>
                <c:pt idx="43293">
                  <c:v>35.03932313888064</c:v>
                </c:pt>
                <c:pt idx="43294">
                  <c:v>28.441121580849007</c:v>
                </c:pt>
                <c:pt idx="43295">
                  <c:v>27.570836291967971</c:v>
                </c:pt>
                <c:pt idx="43296">
                  <c:v>27.173871564243267</c:v>
                </c:pt>
                <c:pt idx="43297">
                  <c:v>26.828208417567673</c:v>
                </c:pt>
                <c:pt idx="43298">
                  <c:v>21.177955530388175</c:v>
                </c:pt>
                <c:pt idx="43299">
                  <c:v>30.232035548680358</c:v>
                </c:pt>
                <c:pt idx="43300">
                  <c:v>19.282583803917948</c:v>
                </c:pt>
                <c:pt idx="43301">
                  <c:v>25.817616041689973</c:v>
                </c:pt>
                <c:pt idx="43302">
                  <c:v>25.985719546526369</c:v>
                </c:pt>
                <c:pt idx="43303">
                  <c:v>43.399638979684596</c:v>
                </c:pt>
                <c:pt idx="43304">
                  <c:v>24.41879398924786</c:v>
                </c:pt>
                <c:pt idx="43305">
                  <c:v>23.467495414613076</c:v>
                </c:pt>
                <c:pt idx="43306">
                  <c:v>22.603738319907176</c:v>
                </c:pt>
                <c:pt idx="43307">
                  <c:v>41.360338971522651</c:v>
                </c:pt>
                <c:pt idx="43308">
                  <c:v>24.760975558180014</c:v>
                </c:pt>
                <c:pt idx="43309">
                  <c:v>44.828625543475901</c:v>
                </c:pt>
                <c:pt idx="43310">
                  <c:v>29.319340196640923</c:v>
                </c:pt>
                <c:pt idx="43311">
                  <c:v>28.792657213901343</c:v>
                </c:pt>
                <c:pt idx="43312">
                  <c:v>27.887033401897448</c:v>
                </c:pt>
                <c:pt idx="43313">
                  <c:v>35.185956649991013</c:v>
                </c:pt>
                <c:pt idx="43314">
                  <c:v>56.663613532254239</c:v>
                </c:pt>
                <c:pt idx="43315">
                  <c:v>23.913231844906193</c:v>
                </c:pt>
                <c:pt idx="43316">
                  <c:v>43.314195325390116</c:v>
                </c:pt>
                <c:pt idx="43317">
                  <c:v>40.643375297384971</c:v>
                </c:pt>
                <c:pt idx="43318">
                  <c:v>22.15327076103652</c:v>
                </c:pt>
                <c:pt idx="43319">
                  <c:v>22.74552405102563</c:v>
                </c:pt>
                <c:pt idx="43320">
                  <c:v>33.897004663184973</c:v>
                </c:pt>
                <c:pt idx="43321">
                  <c:v>17.969607386891411</c:v>
                </c:pt>
                <c:pt idx="43322">
                  <c:v>47.059558036280464</c:v>
                </c:pt>
                <c:pt idx="43323">
                  <c:v>50.891345455538001</c:v>
                </c:pt>
                <c:pt idx="43324">
                  <c:v>27.476922356077235</c:v>
                </c:pt>
                <c:pt idx="43325">
                  <c:v>37.387722799974199</c:v>
                </c:pt>
                <c:pt idx="43326">
                  <c:v>15.104651201673267</c:v>
                </c:pt>
                <c:pt idx="43327">
                  <c:v>36.285182089659934</c:v>
                </c:pt>
                <c:pt idx="43328">
                  <c:v>36.402765464138859</c:v>
                </c:pt>
                <c:pt idx="43329">
                  <c:v>28.697628457375799</c:v>
                </c:pt>
                <c:pt idx="43330">
                  <c:v>31.73683929244887</c:v>
                </c:pt>
                <c:pt idx="43331">
                  <c:v>43.921661092973544</c:v>
                </c:pt>
                <c:pt idx="43332">
                  <c:v>17.673026435264784</c:v>
                </c:pt>
                <c:pt idx="43333">
                  <c:v>29.024004076354441</c:v>
                </c:pt>
                <c:pt idx="43334">
                  <c:v>50.237380972021512</c:v>
                </c:pt>
                <c:pt idx="43335">
                  <c:v>50.93944558046794</c:v>
                </c:pt>
                <c:pt idx="43336">
                  <c:v>52.037183944772316</c:v>
                </c:pt>
                <c:pt idx="43337">
                  <c:v>25.023808034149738</c:v>
                </c:pt>
                <c:pt idx="43338">
                  <c:v>19.426289617627141</c:v>
                </c:pt>
                <c:pt idx="43339">
                  <c:v>54.081008417468261</c:v>
                </c:pt>
                <c:pt idx="43340">
                  <c:v>27.211633466552673</c:v>
                </c:pt>
                <c:pt idx="43341">
                  <c:v>30.012544257633497</c:v>
                </c:pt>
                <c:pt idx="43342">
                  <c:v>31.278777161650861</c:v>
                </c:pt>
                <c:pt idx="43343">
                  <c:v>41.557990013420834</c:v>
                </c:pt>
                <c:pt idx="43344">
                  <c:v>19.779018898184095</c:v>
                </c:pt>
                <c:pt idx="43345">
                  <c:v>47.973671762286045</c:v>
                </c:pt>
                <c:pt idx="43346">
                  <c:v>38.220805171245203</c:v>
                </c:pt>
                <c:pt idx="43347">
                  <c:v>32.08710916080787</c:v>
                </c:pt>
                <c:pt idx="43348">
                  <c:v>24.875963967992956</c:v>
                </c:pt>
                <c:pt idx="43349">
                  <c:v>33.506887603521221</c:v>
                </c:pt>
                <c:pt idx="43350">
                  <c:v>29.4449478897515</c:v>
                </c:pt>
                <c:pt idx="43351">
                  <c:v>68.823281135604788</c:v>
                </c:pt>
                <c:pt idx="43352">
                  <c:v>33.483404504687371</c:v>
                </c:pt>
                <c:pt idx="43353">
                  <c:v>63.816215466334661</c:v>
                </c:pt>
                <c:pt idx="43354">
                  <c:v>28.725313987916934</c:v>
                </c:pt>
                <c:pt idx="43355">
                  <c:v>23.41102413639836</c:v>
                </c:pt>
                <c:pt idx="43356">
                  <c:v>38.823859485884959</c:v>
                </c:pt>
                <c:pt idx="43357">
                  <c:v>28.885857957660875</c:v>
                </c:pt>
                <c:pt idx="43358">
                  <c:v>20.478997280053246</c:v>
                </c:pt>
                <c:pt idx="43359">
                  <c:v>18.952846644696649</c:v>
                </c:pt>
                <c:pt idx="43360">
                  <c:v>41.110191582290796</c:v>
                </c:pt>
                <c:pt idx="43361">
                  <c:v>22.622575174462888</c:v>
                </c:pt>
                <c:pt idx="43362">
                  <c:v>36.885462464654836</c:v>
                </c:pt>
                <c:pt idx="43363">
                  <c:v>41.126587692340244</c:v>
                </c:pt>
                <c:pt idx="43364">
                  <c:v>45.398310516518407</c:v>
                </c:pt>
                <c:pt idx="43365">
                  <c:v>37.801891118567042</c:v>
                </c:pt>
                <c:pt idx="43366">
                  <c:v>31.379284090494735</c:v>
                </c:pt>
                <c:pt idx="43367">
                  <c:v>31.762266218635215</c:v>
                </c:pt>
                <c:pt idx="43368">
                  <c:v>27.028503328268666</c:v>
                </c:pt>
                <c:pt idx="43369">
                  <c:v>33.179505231745253</c:v>
                </c:pt>
                <c:pt idx="43370">
                  <c:v>51.031214240678011</c:v>
                </c:pt>
                <c:pt idx="43371">
                  <c:v>32.962702980155392</c:v>
                </c:pt>
                <c:pt idx="43372">
                  <c:v>25.30639414792131</c:v>
                </c:pt>
                <c:pt idx="43373">
                  <c:v>30.538661383845316</c:v>
                </c:pt>
                <c:pt idx="43374">
                  <c:v>39.756637040813096</c:v>
                </c:pt>
                <c:pt idx="43375">
                  <c:v>31.355526141564994</c:v>
                </c:pt>
                <c:pt idx="43376">
                  <c:v>23.101776217801159</c:v>
                </c:pt>
                <c:pt idx="43377">
                  <c:v>18.460645600160198</c:v>
                </c:pt>
                <c:pt idx="43378">
                  <c:v>51.984590504910862</c:v>
                </c:pt>
                <c:pt idx="43379">
                  <c:v>30.915403295208279</c:v>
                </c:pt>
                <c:pt idx="43380">
                  <c:v>37.751171887598922</c:v>
                </c:pt>
                <c:pt idx="43381">
                  <c:v>49.331006942497488</c:v>
                </c:pt>
                <c:pt idx="43382">
                  <c:v>28.766986209079164</c:v>
                </c:pt>
                <c:pt idx="43383">
                  <c:v>24.347688737441324</c:v>
                </c:pt>
                <c:pt idx="43384">
                  <c:v>31.125063919326241</c:v>
                </c:pt>
                <c:pt idx="43385">
                  <c:v>29.544865094245257</c:v>
                </c:pt>
                <c:pt idx="43386">
                  <c:v>25.934192709443238</c:v>
                </c:pt>
                <c:pt idx="43387">
                  <c:v>38.26783746166678</c:v>
                </c:pt>
                <c:pt idx="43388">
                  <c:v>22.284417544141668</c:v>
                </c:pt>
                <c:pt idx="43389">
                  <c:v>37.236825006860229</c:v>
                </c:pt>
                <c:pt idx="43390">
                  <c:v>34.236505313355693</c:v>
                </c:pt>
                <c:pt idx="43391">
                  <c:v>26.585704091411827</c:v>
                </c:pt>
                <c:pt idx="43392">
                  <c:v>22.153647481137426</c:v>
                </c:pt>
                <c:pt idx="43393">
                  <c:v>21.211943791408842</c:v>
                </c:pt>
                <c:pt idx="43394">
                  <c:v>30.179379271789607</c:v>
                </c:pt>
                <c:pt idx="43395">
                  <c:v>38.35824541721832</c:v>
                </c:pt>
                <c:pt idx="43396">
                  <c:v>21.605481181600602</c:v>
                </c:pt>
                <c:pt idx="43397">
                  <c:v>31.513812400548343</c:v>
                </c:pt>
                <c:pt idx="43398">
                  <c:v>25.234781742844071</c:v>
                </c:pt>
                <c:pt idx="43399">
                  <c:v>34.876688879330047</c:v>
                </c:pt>
                <c:pt idx="43400">
                  <c:v>23.040546488978958</c:v>
                </c:pt>
                <c:pt idx="43401">
                  <c:v>26.405671154072849</c:v>
                </c:pt>
                <c:pt idx="43402">
                  <c:v>24.847767233347152</c:v>
                </c:pt>
                <c:pt idx="43403">
                  <c:v>43.105973151448879</c:v>
                </c:pt>
                <c:pt idx="43404">
                  <c:v>24.405727641312893</c:v>
                </c:pt>
                <c:pt idx="43405">
                  <c:v>27.779472674336873</c:v>
                </c:pt>
                <c:pt idx="43406">
                  <c:v>29.754637942789429</c:v>
                </c:pt>
                <c:pt idx="43407">
                  <c:v>23.058778485473511</c:v>
                </c:pt>
                <c:pt idx="43408">
                  <c:v>24.793100959268127</c:v>
                </c:pt>
                <c:pt idx="43409">
                  <c:v>26.425890130750716</c:v>
                </c:pt>
                <c:pt idx="43410">
                  <c:v>20.142427512432693</c:v>
                </c:pt>
                <c:pt idx="43411">
                  <c:v>17.63944445313242</c:v>
                </c:pt>
                <c:pt idx="43412">
                  <c:v>19.88703472522511</c:v>
                </c:pt>
                <c:pt idx="43413">
                  <c:v>30.508242618817846</c:v>
                </c:pt>
                <c:pt idx="43414">
                  <c:v>32.188811158141931</c:v>
                </c:pt>
                <c:pt idx="43415">
                  <c:v>29.507112117692596</c:v>
                </c:pt>
                <c:pt idx="43416">
                  <c:v>29.485590353679662</c:v>
                </c:pt>
                <c:pt idx="43417">
                  <c:v>32.421656097484018</c:v>
                </c:pt>
                <c:pt idx="43418">
                  <c:v>33.233088787539927</c:v>
                </c:pt>
                <c:pt idx="43419">
                  <c:v>18.740268495510307</c:v>
                </c:pt>
                <c:pt idx="43420">
                  <c:v>22.545627588671053</c:v>
                </c:pt>
                <c:pt idx="43421">
                  <c:v>39.735391520307566</c:v>
                </c:pt>
                <c:pt idx="43422">
                  <c:v>38.195766820386069</c:v>
                </c:pt>
                <c:pt idx="43423">
                  <c:v>43.879458618020585</c:v>
                </c:pt>
                <c:pt idx="43424">
                  <c:v>55.199816321144155</c:v>
                </c:pt>
                <c:pt idx="43425">
                  <c:v>33.000247725351159</c:v>
                </c:pt>
                <c:pt idx="43426">
                  <c:v>27.280160872206178</c:v>
                </c:pt>
                <c:pt idx="43427">
                  <c:v>30.106267180812321</c:v>
                </c:pt>
                <c:pt idx="43428">
                  <c:v>24.991452884978884</c:v>
                </c:pt>
                <c:pt idx="43429">
                  <c:v>25.010403669931506</c:v>
                </c:pt>
                <c:pt idx="43430">
                  <c:v>55.789712323003826</c:v>
                </c:pt>
                <c:pt idx="43431">
                  <c:v>25.912455947571178</c:v>
                </c:pt>
                <c:pt idx="43432">
                  <c:v>33.950025698018372</c:v>
                </c:pt>
                <c:pt idx="43433">
                  <c:v>34.468724738267404</c:v>
                </c:pt>
                <c:pt idx="43434">
                  <c:v>26.260578566275285</c:v>
                </c:pt>
                <c:pt idx="43435">
                  <c:v>35.712516116589931</c:v>
                </c:pt>
                <c:pt idx="43436">
                  <c:v>25.920616728821276</c:v>
                </c:pt>
                <c:pt idx="43437">
                  <c:v>16.85678405037099</c:v>
                </c:pt>
                <c:pt idx="43438">
                  <c:v>29.707293815224958</c:v>
                </c:pt>
                <c:pt idx="43439">
                  <c:v>29.64330665625041</c:v>
                </c:pt>
                <c:pt idx="43440">
                  <c:v>25.854109269561075</c:v>
                </c:pt>
                <c:pt idx="43441">
                  <c:v>22.112865096348468</c:v>
                </c:pt>
                <c:pt idx="43442">
                  <c:v>24.27092964682096</c:v>
                </c:pt>
                <c:pt idx="43443">
                  <c:v>23.040615387772359</c:v>
                </c:pt>
                <c:pt idx="43444">
                  <c:v>23.721407440271403</c:v>
                </c:pt>
                <c:pt idx="43445">
                  <c:v>27.689242067348534</c:v>
                </c:pt>
                <c:pt idx="43446">
                  <c:v>23.960140893200915</c:v>
                </c:pt>
                <c:pt idx="43447">
                  <c:v>45.871617817257778</c:v>
                </c:pt>
                <c:pt idx="43448">
                  <c:v>30.51342402691801</c:v>
                </c:pt>
                <c:pt idx="43449">
                  <c:v>27.630879085444391</c:v>
                </c:pt>
                <c:pt idx="43450">
                  <c:v>34.18772658393074</c:v>
                </c:pt>
                <c:pt idx="43451">
                  <c:v>22.082027193703915</c:v>
                </c:pt>
                <c:pt idx="43452">
                  <c:v>48.484181665218323</c:v>
                </c:pt>
                <c:pt idx="43453">
                  <c:v>29.146880876605106</c:v>
                </c:pt>
                <c:pt idx="43454">
                  <c:v>26.885438140698106</c:v>
                </c:pt>
                <c:pt idx="43455">
                  <c:v>43.259703253361629</c:v>
                </c:pt>
                <c:pt idx="43456">
                  <c:v>28.580090670879461</c:v>
                </c:pt>
                <c:pt idx="43457">
                  <c:v>20.507707157013947</c:v>
                </c:pt>
                <c:pt idx="43458">
                  <c:v>31.922479109372915</c:v>
                </c:pt>
                <c:pt idx="43459">
                  <c:v>18.719977341244608</c:v>
                </c:pt>
                <c:pt idx="43460">
                  <c:v>31.710122741151416</c:v>
                </c:pt>
                <c:pt idx="43461">
                  <c:v>26.347797541526415</c:v>
                </c:pt>
                <c:pt idx="43462">
                  <c:v>34.405398169943084</c:v>
                </c:pt>
                <c:pt idx="43463">
                  <c:v>27.918954576624195</c:v>
                </c:pt>
                <c:pt idx="43464">
                  <c:v>34.668467687056243</c:v>
                </c:pt>
                <c:pt idx="43465">
                  <c:v>22.982259538486147</c:v>
                </c:pt>
                <c:pt idx="43466">
                  <c:v>26.471117314472249</c:v>
                </c:pt>
                <c:pt idx="43467">
                  <c:v>31.495302325652641</c:v>
                </c:pt>
                <c:pt idx="43468">
                  <c:v>37.560475725396202</c:v>
                </c:pt>
                <c:pt idx="43469">
                  <c:v>28.021351540308135</c:v>
                </c:pt>
                <c:pt idx="43470">
                  <c:v>25.046385030603219</c:v>
                </c:pt>
                <c:pt idx="43471">
                  <c:v>29.920784497090839</c:v>
                </c:pt>
                <c:pt idx="43472">
                  <c:v>25.423077419330838</c:v>
                </c:pt>
                <c:pt idx="43473">
                  <c:v>43.451906731172258</c:v>
                </c:pt>
                <c:pt idx="43474">
                  <c:v>24.7670237277848</c:v>
                </c:pt>
                <c:pt idx="43475">
                  <c:v>49.187092919905865</c:v>
                </c:pt>
                <c:pt idx="43476">
                  <c:v>15.803365313903193</c:v>
                </c:pt>
                <c:pt idx="43477">
                  <c:v>19.564701195984092</c:v>
                </c:pt>
                <c:pt idx="43478">
                  <c:v>25.267037185594347</c:v>
                </c:pt>
                <c:pt idx="43479">
                  <c:v>30.26708499598654</c:v>
                </c:pt>
                <c:pt idx="43480">
                  <c:v>55.118762695075432</c:v>
                </c:pt>
                <c:pt idx="43481">
                  <c:v>25.242164199653121</c:v>
                </c:pt>
                <c:pt idx="43482">
                  <c:v>15.568398845100388</c:v>
                </c:pt>
                <c:pt idx="43483">
                  <c:v>43.832381353018889</c:v>
                </c:pt>
                <c:pt idx="43484">
                  <c:v>28.609667605724994</c:v>
                </c:pt>
                <c:pt idx="43485">
                  <c:v>26.883107524934381</c:v>
                </c:pt>
                <c:pt idx="43486">
                  <c:v>28.603122776083055</c:v>
                </c:pt>
                <c:pt idx="43487">
                  <c:v>24.715105038316665</c:v>
                </c:pt>
                <c:pt idx="43488">
                  <c:v>27.758709095096393</c:v>
                </c:pt>
                <c:pt idx="43489">
                  <c:v>58.813834060312644</c:v>
                </c:pt>
                <c:pt idx="43490">
                  <c:v>28.805699531127303</c:v>
                </c:pt>
                <c:pt idx="43491">
                  <c:v>41.677824605147606</c:v>
                </c:pt>
                <c:pt idx="43492">
                  <c:v>27.033534682611727</c:v>
                </c:pt>
                <c:pt idx="43493">
                  <c:v>27.609396131302006</c:v>
                </c:pt>
                <c:pt idx="43494">
                  <c:v>19.479311394268244</c:v>
                </c:pt>
                <c:pt idx="43495">
                  <c:v>31.952932996377058</c:v>
                </c:pt>
                <c:pt idx="43496">
                  <c:v>28.159703984274323</c:v>
                </c:pt>
                <c:pt idx="43497">
                  <c:v>21.032642917736787</c:v>
                </c:pt>
                <c:pt idx="43498">
                  <c:v>18.97467543058967</c:v>
                </c:pt>
                <c:pt idx="43499">
                  <c:v>19.05855786791145</c:v>
                </c:pt>
                <c:pt idx="43500">
                  <c:v>30.528526724284273</c:v>
                </c:pt>
                <c:pt idx="43501">
                  <c:v>25.431678278160092</c:v>
                </c:pt>
                <c:pt idx="43502">
                  <c:v>41.33703558446409</c:v>
                </c:pt>
                <c:pt idx="43503">
                  <c:v>31.907202254498241</c:v>
                </c:pt>
                <c:pt idx="43504">
                  <c:v>25.932380140066275</c:v>
                </c:pt>
                <c:pt idx="43505">
                  <c:v>17.759590404780699</c:v>
                </c:pt>
                <c:pt idx="43506">
                  <c:v>26.219625395488102</c:v>
                </c:pt>
                <c:pt idx="43507">
                  <c:v>35.122688448448912</c:v>
                </c:pt>
                <c:pt idx="43508">
                  <c:v>38.534642069253628</c:v>
                </c:pt>
                <c:pt idx="43509">
                  <c:v>32.82777748271203</c:v>
                </c:pt>
                <c:pt idx="43510">
                  <c:v>29.121343443526897</c:v>
                </c:pt>
                <c:pt idx="43511">
                  <c:v>22.099831470682872</c:v>
                </c:pt>
                <c:pt idx="43512">
                  <c:v>22.278540467276184</c:v>
                </c:pt>
                <c:pt idx="43513">
                  <c:v>33.316976853899142</c:v>
                </c:pt>
                <c:pt idx="43514">
                  <c:v>42.463987288068552</c:v>
                </c:pt>
                <c:pt idx="43515">
                  <c:v>33.360400427079938</c:v>
                </c:pt>
                <c:pt idx="43516">
                  <c:v>39.709985427840607</c:v>
                </c:pt>
                <c:pt idx="43517">
                  <c:v>36.017059473851461</c:v>
                </c:pt>
                <c:pt idx="43518">
                  <c:v>27.349391060008021</c:v>
                </c:pt>
                <c:pt idx="43519">
                  <c:v>42.057618471149013</c:v>
                </c:pt>
                <c:pt idx="43520">
                  <c:v>47.851958253887361</c:v>
                </c:pt>
                <c:pt idx="43521">
                  <c:v>29.420014835438863</c:v>
                </c:pt>
                <c:pt idx="43522">
                  <c:v>20.334666728446912</c:v>
                </c:pt>
                <c:pt idx="43523">
                  <c:v>23.542339795705548</c:v>
                </c:pt>
                <c:pt idx="43524">
                  <c:v>38.398621931582866</c:v>
                </c:pt>
                <c:pt idx="43525">
                  <c:v>27.384601235588224</c:v>
                </c:pt>
                <c:pt idx="43526">
                  <c:v>32.076106403065246</c:v>
                </c:pt>
                <c:pt idx="43527">
                  <c:v>38.786996767179538</c:v>
                </c:pt>
                <c:pt idx="43528">
                  <c:v>26.838593541027816</c:v>
                </c:pt>
                <c:pt idx="43529">
                  <c:v>18.731907701135341</c:v>
                </c:pt>
                <c:pt idx="43530">
                  <c:v>37.954996726959479</c:v>
                </c:pt>
                <c:pt idx="43531">
                  <c:v>67.275138310567769</c:v>
                </c:pt>
                <c:pt idx="43532">
                  <c:v>38.314002225547583</c:v>
                </c:pt>
                <c:pt idx="43533">
                  <c:v>31.518477995936948</c:v>
                </c:pt>
                <c:pt idx="43534">
                  <c:v>24.655606541427808</c:v>
                </c:pt>
                <c:pt idx="43535">
                  <c:v>52.245331843576992</c:v>
                </c:pt>
                <c:pt idx="43536">
                  <c:v>24.917795279429228</c:v>
                </c:pt>
                <c:pt idx="43537">
                  <c:v>26.604919097867164</c:v>
                </c:pt>
                <c:pt idx="43538">
                  <c:v>55.008542074616635</c:v>
                </c:pt>
                <c:pt idx="43539">
                  <c:v>34.581008399315692</c:v>
                </c:pt>
                <c:pt idx="43540">
                  <c:v>26.590548123405419</c:v>
                </c:pt>
                <c:pt idx="43541">
                  <c:v>47.292192559211877</c:v>
                </c:pt>
                <c:pt idx="43542">
                  <c:v>21.150302876634754</c:v>
                </c:pt>
                <c:pt idx="43543">
                  <c:v>29.983328102531132</c:v>
                </c:pt>
                <c:pt idx="43544">
                  <c:v>26.745811219709008</c:v>
                </c:pt>
                <c:pt idx="43545">
                  <c:v>37.692786851453434</c:v>
                </c:pt>
                <c:pt idx="43546">
                  <c:v>26.854413191363946</c:v>
                </c:pt>
                <c:pt idx="43547">
                  <c:v>57.068510448047618</c:v>
                </c:pt>
                <c:pt idx="43548">
                  <c:v>50.577696338259173</c:v>
                </c:pt>
                <c:pt idx="43549">
                  <c:v>32.830338489948318</c:v>
                </c:pt>
                <c:pt idx="43550">
                  <c:v>44.471404077499166</c:v>
                </c:pt>
                <c:pt idx="43551">
                  <c:v>28.090871081045709</c:v>
                </c:pt>
                <c:pt idx="43552">
                  <c:v>21.016104174372568</c:v>
                </c:pt>
                <c:pt idx="43553">
                  <c:v>38.249579689903939</c:v>
                </c:pt>
                <c:pt idx="43554">
                  <c:v>32.071640257908939</c:v>
                </c:pt>
                <c:pt idx="43555">
                  <c:v>19.770542953605151</c:v>
                </c:pt>
                <c:pt idx="43556">
                  <c:v>47.435030252746465</c:v>
                </c:pt>
                <c:pt idx="43557">
                  <c:v>25.375681314570283</c:v>
                </c:pt>
                <c:pt idx="43558">
                  <c:v>17.520226419002555</c:v>
                </c:pt>
                <c:pt idx="43559">
                  <c:v>28.480666001761506</c:v>
                </c:pt>
                <c:pt idx="43560">
                  <c:v>23.130403422050136</c:v>
                </c:pt>
                <c:pt idx="43561">
                  <c:v>42.787139891515167</c:v>
                </c:pt>
                <c:pt idx="43562">
                  <c:v>35.30460134366151</c:v>
                </c:pt>
                <c:pt idx="43563">
                  <c:v>24.205776174001834</c:v>
                </c:pt>
                <c:pt idx="43564">
                  <c:v>44.061687862961016</c:v>
                </c:pt>
                <c:pt idx="43565">
                  <c:v>32.345859992165423</c:v>
                </c:pt>
                <c:pt idx="43566">
                  <c:v>26.253442728390173</c:v>
                </c:pt>
                <c:pt idx="43567">
                  <c:v>25.714296340088591</c:v>
                </c:pt>
                <c:pt idx="43568">
                  <c:v>29.635424707757686</c:v>
                </c:pt>
                <c:pt idx="43569">
                  <c:v>18.594500854871324</c:v>
                </c:pt>
                <c:pt idx="43570">
                  <c:v>32.190999171728507</c:v>
                </c:pt>
                <c:pt idx="43571">
                  <c:v>26.739481836983543</c:v>
                </c:pt>
                <c:pt idx="43572">
                  <c:v>30.504159413924878</c:v>
                </c:pt>
                <c:pt idx="43573">
                  <c:v>22.066989488521543</c:v>
                </c:pt>
                <c:pt idx="43574">
                  <c:v>19.150429103313876</c:v>
                </c:pt>
                <c:pt idx="43575">
                  <c:v>43.949798285194845</c:v>
                </c:pt>
                <c:pt idx="43576">
                  <c:v>53.476110572079726</c:v>
                </c:pt>
                <c:pt idx="43577">
                  <c:v>21.856217276083896</c:v>
                </c:pt>
                <c:pt idx="43578">
                  <c:v>29.252121548441828</c:v>
                </c:pt>
                <c:pt idx="43579">
                  <c:v>27.313326123302893</c:v>
                </c:pt>
                <c:pt idx="43580">
                  <c:v>46.908984470049596</c:v>
                </c:pt>
                <c:pt idx="43581">
                  <c:v>29.410090004466703</c:v>
                </c:pt>
                <c:pt idx="43582">
                  <c:v>29.114460129140365</c:v>
                </c:pt>
                <c:pt idx="43583">
                  <c:v>26.715684243032499</c:v>
                </c:pt>
                <c:pt idx="43584">
                  <c:v>25.032637353269358</c:v>
                </c:pt>
                <c:pt idx="43585">
                  <c:v>22.001977703402439</c:v>
                </c:pt>
                <c:pt idx="43586">
                  <c:v>25.280595474103677</c:v>
                </c:pt>
                <c:pt idx="43587">
                  <c:v>28.13567930070727</c:v>
                </c:pt>
                <c:pt idx="43588">
                  <c:v>19.807644571658862</c:v>
                </c:pt>
                <c:pt idx="43589">
                  <c:v>55.946012460590026</c:v>
                </c:pt>
                <c:pt idx="43590">
                  <c:v>20.17084917743114</c:v>
                </c:pt>
                <c:pt idx="43591">
                  <c:v>57.040903859105605</c:v>
                </c:pt>
                <c:pt idx="43592">
                  <c:v>29.162351710945952</c:v>
                </c:pt>
                <c:pt idx="43593">
                  <c:v>33.855848847712366</c:v>
                </c:pt>
                <c:pt idx="43594">
                  <c:v>24.186044284610482</c:v>
                </c:pt>
                <c:pt idx="43595">
                  <c:v>28.655577620336857</c:v>
                </c:pt>
                <c:pt idx="43596">
                  <c:v>21.833741976496334</c:v>
                </c:pt>
                <c:pt idx="43597">
                  <c:v>28.336923128376576</c:v>
                </c:pt>
                <c:pt idx="43598">
                  <c:v>31.021311356797547</c:v>
                </c:pt>
                <c:pt idx="43599">
                  <c:v>31.498110591851667</c:v>
                </c:pt>
                <c:pt idx="43600">
                  <c:v>35.422186554556482</c:v>
                </c:pt>
                <c:pt idx="43601">
                  <c:v>42.42659468828758</c:v>
                </c:pt>
                <c:pt idx="43602">
                  <c:v>17.820581624968078</c:v>
                </c:pt>
                <c:pt idx="43603">
                  <c:v>24.971938809612904</c:v>
                </c:pt>
                <c:pt idx="43604">
                  <c:v>41.500847383637399</c:v>
                </c:pt>
                <c:pt idx="43605">
                  <c:v>27.032601351334065</c:v>
                </c:pt>
                <c:pt idx="43606">
                  <c:v>54.88060273833748</c:v>
                </c:pt>
                <c:pt idx="43607">
                  <c:v>39.625914681247934</c:v>
                </c:pt>
                <c:pt idx="43608">
                  <c:v>23.91567297755098</c:v>
                </c:pt>
                <c:pt idx="43609">
                  <c:v>14.392791515113352</c:v>
                </c:pt>
                <c:pt idx="43610">
                  <c:v>40.211412118676172</c:v>
                </c:pt>
                <c:pt idx="43611">
                  <c:v>25.488278503983576</c:v>
                </c:pt>
                <c:pt idx="43612">
                  <c:v>28.117152076439108</c:v>
                </c:pt>
                <c:pt idx="43613">
                  <c:v>54.263161091059004</c:v>
                </c:pt>
                <c:pt idx="43614">
                  <c:v>39.039982697351427</c:v>
                </c:pt>
                <c:pt idx="43615">
                  <c:v>24.037082489818768</c:v>
                </c:pt>
                <c:pt idx="43616">
                  <c:v>36.62395265194958</c:v>
                </c:pt>
                <c:pt idx="43617">
                  <c:v>41.44939598207511</c:v>
                </c:pt>
                <c:pt idx="43618">
                  <c:v>38.239998300936939</c:v>
                </c:pt>
                <c:pt idx="43619">
                  <c:v>23.747142650106575</c:v>
                </c:pt>
                <c:pt idx="43620">
                  <c:v>35.033204998343692</c:v>
                </c:pt>
                <c:pt idx="43621">
                  <c:v>42.10719500445326</c:v>
                </c:pt>
                <c:pt idx="43622">
                  <c:v>29.889276622841244</c:v>
                </c:pt>
                <c:pt idx="43623">
                  <c:v>40.627920755425343</c:v>
                </c:pt>
                <c:pt idx="43624">
                  <c:v>18.538854680772001</c:v>
                </c:pt>
                <c:pt idx="43625">
                  <c:v>21.543524466403341</c:v>
                </c:pt>
                <c:pt idx="43626">
                  <c:v>47.523644459674472</c:v>
                </c:pt>
                <c:pt idx="43627">
                  <c:v>31.361387330673317</c:v>
                </c:pt>
                <c:pt idx="43628">
                  <c:v>41.102387534279927</c:v>
                </c:pt>
                <c:pt idx="43629">
                  <c:v>27.717797197711157</c:v>
                </c:pt>
                <c:pt idx="43630">
                  <c:v>23.074358112549348</c:v>
                </c:pt>
                <c:pt idx="43631">
                  <c:v>51.662007595966223</c:v>
                </c:pt>
                <c:pt idx="43632">
                  <c:v>28.921913852755139</c:v>
                </c:pt>
                <c:pt idx="43633">
                  <c:v>19.694448164082388</c:v>
                </c:pt>
                <c:pt idx="43634">
                  <c:v>24.444245960670138</c:v>
                </c:pt>
                <c:pt idx="43635">
                  <c:v>30.004245941638327</c:v>
                </c:pt>
                <c:pt idx="43636">
                  <c:v>48.86752071651042</c:v>
                </c:pt>
                <c:pt idx="43637">
                  <c:v>42.502564083199964</c:v>
                </c:pt>
                <c:pt idx="43638">
                  <c:v>26.9608361265614</c:v>
                </c:pt>
                <c:pt idx="43639">
                  <c:v>30.073188549646087</c:v>
                </c:pt>
                <c:pt idx="43640">
                  <c:v>31.292861736285296</c:v>
                </c:pt>
                <c:pt idx="43641">
                  <c:v>27.903282298112796</c:v>
                </c:pt>
                <c:pt idx="43642">
                  <c:v>38.061575058965516</c:v>
                </c:pt>
                <c:pt idx="43643">
                  <c:v>27.726412170649063</c:v>
                </c:pt>
                <c:pt idx="43644">
                  <c:v>33.91909830518393</c:v>
                </c:pt>
                <c:pt idx="43645">
                  <c:v>27.909325212026545</c:v>
                </c:pt>
                <c:pt idx="43646">
                  <c:v>23.607751117700431</c:v>
                </c:pt>
                <c:pt idx="43647">
                  <c:v>33.536557327196292</c:v>
                </c:pt>
                <c:pt idx="43648">
                  <c:v>28.6161498438485</c:v>
                </c:pt>
                <c:pt idx="43649">
                  <c:v>50.536046388062111</c:v>
                </c:pt>
                <c:pt idx="43650">
                  <c:v>28.586327318681519</c:v>
                </c:pt>
                <c:pt idx="43651">
                  <c:v>20.120898137862099</c:v>
                </c:pt>
                <c:pt idx="43652">
                  <c:v>34.631600380628122</c:v>
                </c:pt>
                <c:pt idx="43653">
                  <c:v>26.513817999304841</c:v>
                </c:pt>
                <c:pt idx="43654">
                  <c:v>33.051705879608143</c:v>
                </c:pt>
                <c:pt idx="43655">
                  <c:v>21.029712080271796</c:v>
                </c:pt>
                <c:pt idx="43656">
                  <c:v>38.76723835253182</c:v>
                </c:pt>
                <c:pt idx="43657">
                  <c:v>42.312779207311706</c:v>
                </c:pt>
                <c:pt idx="43658">
                  <c:v>29.695938513729583</c:v>
                </c:pt>
                <c:pt idx="43659">
                  <c:v>29.040322507410998</c:v>
                </c:pt>
                <c:pt idx="43660">
                  <c:v>49.497448035674367</c:v>
                </c:pt>
                <c:pt idx="43661">
                  <c:v>23.718051113083451</c:v>
                </c:pt>
                <c:pt idx="43662">
                  <c:v>21.720372224644468</c:v>
                </c:pt>
                <c:pt idx="43663">
                  <c:v>22.955724236951134</c:v>
                </c:pt>
                <c:pt idx="43664">
                  <c:v>25.387859544629354</c:v>
                </c:pt>
                <c:pt idx="43665">
                  <c:v>17.895766388910261</c:v>
                </c:pt>
                <c:pt idx="43666">
                  <c:v>19.295157480506877</c:v>
                </c:pt>
                <c:pt idx="43667">
                  <c:v>24.322830759747276</c:v>
                </c:pt>
                <c:pt idx="43668">
                  <c:v>30.786341462336939</c:v>
                </c:pt>
                <c:pt idx="43669">
                  <c:v>23.49989154985705</c:v>
                </c:pt>
                <c:pt idx="43670">
                  <c:v>20.308943135533095</c:v>
                </c:pt>
                <c:pt idx="43671">
                  <c:v>28.906159853546423</c:v>
                </c:pt>
                <c:pt idx="43672">
                  <c:v>35.774025482820051</c:v>
                </c:pt>
                <c:pt idx="43673">
                  <c:v>30.324245047940785</c:v>
                </c:pt>
                <c:pt idx="43674">
                  <c:v>46.051605340548853</c:v>
                </c:pt>
                <c:pt idx="43675">
                  <c:v>28.281587513245714</c:v>
                </c:pt>
                <c:pt idx="43676">
                  <c:v>23.168821538589743</c:v>
                </c:pt>
                <c:pt idx="43677">
                  <c:v>22.45046024850113</c:v>
                </c:pt>
                <c:pt idx="43678">
                  <c:v>45.751704280324724</c:v>
                </c:pt>
                <c:pt idx="43679">
                  <c:v>31.351416995135189</c:v>
                </c:pt>
                <c:pt idx="43680">
                  <c:v>42.638600273094418</c:v>
                </c:pt>
                <c:pt idx="43681">
                  <c:v>37.4468244685442</c:v>
                </c:pt>
                <c:pt idx="43682">
                  <c:v>22.098971176619806</c:v>
                </c:pt>
                <c:pt idx="43683">
                  <c:v>21.622148784311086</c:v>
                </c:pt>
                <c:pt idx="43684">
                  <c:v>42.230312597398537</c:v>
                </c:pt>
                <c:pt idx="43685">
                  <c:v>32.961973869574635</c:v>
                </c:pt>
                <c:pt idx="43686">
                  <c:v>48.822288412240738</c:v>
                </c:pt>
                <c:pt idx="43687">
                  <c:v>18.633178393613317</c:v>
                </c:pt>
                <c:pt idx="43688">
                  <c:v>33.019373920124238</c:v>
                </c:pt>
                <c:pt idx="43689">
                  <c:v>33.04855711104598</c:v>
                </c:pt>
                <c:pt idx="43690">
                  <c:v>33.223697326582602</c:v>
                </c:pt>
                <c:pt idx="43691">
                  <c:v>39.883768695948675</c:v>
                </c:pt>
                <c:pt idx="43692">
                  <c:v>36.361715510587075</c:v>
                </c:pt>
                <c:pt idx="43693">
                  <c:v>23.624067458200255</c:v>
                </c:pt>
                <c:pt idx="43694">
                  <c:v>30.4515644821848</c:v>
                </c:pt>
                <c:pt idx="43695">
                  <c:v>51.901864401101385</c:v>
                </c:pt>
                <c:pt idx="43696">
                  <c:v>20.252186053941447</c:v>
                </c:pt>
                <c:pt idx="43697">
                  <c:v>29.002081397672882</c:v>
                </c:pt>
                <c:pt idx="43698">
                  <c:v>23.893710609117381</c:v>
                </c:pt>
                <c:pt idx="43699">
                  <c:v>23.198016428331307</c:v>
                </c:pt>
                <c:pt idx="43700">
                  <c:v>27.056938702654399</c:v>
                </c:pt>
                <c:pt idx="43701">
                  <c:v>24.956443960290702</c:v>
                </c:pt>
                <c:pt idx="43702">
                  <c:v>37.597514779271286</c:v>
                </c:pt>
                <c:pt idx="43703">
                  <c:v>40.356632365676646</c:v>
                </c:pt>
                <c:pt idx="43704">
                  <c:v>42.609604454782477</c:v>
                </c:pt>
                <c:pt idx="43705">
                  <c:v>24.288487829951571</c:v>
                </c:pt>
                <c:pt idx="43706">
                  <c:v>19.035973059264393</c:v>
                </c:pt>
                <c:pt idx="43707">
                  <c:v>24.146515440530578</c:v>
                </c:pt>
                <c:pt idx="43708">
                  <c:v>53.383464643166469</c:v>
                </c:pt>
                <c:pt idx="43709">
                  <c:v>23.587279807947009</c:v>
                </c:pt>
                <c:pt idx="43710">
                  <c:v>33.51491187722214</c:v>
                </c:pt>
                <c:pt idx="43711">
                  <c:v>47.073422603580106</c:v>
                </c:pt>
                <c:pt idx="43712">
                  <c:v>53.485038469082554</c:v>
                </c:pt>
                <c:pt idx="43713">
                  <c:v>22.511950579634995</c:v>
                </c:pt>
                <c:pt idx="43714">
                  <c:v>25.363784422733826</c:v>
                </c:pt>
                <c:pt idx="43715">
                  <c:v>28.350846607326481</c:v>
                </c:pt>
                <c:pt idx="43716">
                  <c:v>30.500209422147968</c:v>
                </c:pt>
                <c:pt idx="43717">
                  <c:v>49.568456568477039</c:v>
                </c:pt>
                <c:pt idx="43718">
                  <c:v>26.465026725947066</c:v>
                </c:pt>
                <c:pt idx="43719">
                  <c:v>54.232182961726352</c:v>
                </c:pt>
                <c:pt idx="43720">
                  <c:v>25.63952664966801</c:v>
                </c:pt>
                <c:pt idx="43721">
                  <c:v>32.100493398450482</c:v>
                </c:pt>
                <c:pt idx="43722">
                  <c:v>53.466742125196298</c:v>
                </c:pt>
                <c:pt idx="43723">
                  <c:v>49.892654025508151</c:v>
                </c:pt>
                <c:pt idx="43724">
                  <c:v>25.291300156386384</c:v>
                </c:pt>
                <c:pt idx="43725">
                  <c:v>32.68820418659093</c:v>
                </c:pt>
                <c:pt idx="43726">
                  <c:v>25.11065531638064</c:v>
                </c:pt>
                <c:pt idx="43727">
                  <c:v>21.562647947623201</c:v>
                </c:pt>
                <c:pt idx="43728">
                  <c:v>28.919589706564992</c:v>
                </c:pt>
                <c:pt idx="43729">
                  <c:v>16.327970198795178</c:v>
                </c:pt>
                <c:pt idx="43730">
                  <c:v>27.465588914456209</c:v>
                </c:pt>
                <c:pt idx="43731">
                  <c:v>36.017448124971537</c:v>
                </c:pt>
                <c:pt idx="43732">
                  <c:v>19.150315322560189</c:v>
                </c:pt>
                <c:pt idx="43733">
                  <c:v>48.275397490298715</c:v>
                </c:pt>
                <c:pt idx="43734">
                  <c:v>41.028445990439309</c:v>
                </c:pt>
                <c:pt idx="43735">
                  <c:v>39.280833462800835</c:v>
                </c:pt>
                <c:pt idx="43736">
                  <c:v>24.102410125563249</c:v>
                </c:pt>
                <c:pt idx="43737">
                  <c:v>47.524218030157698</c:v>
                </c:pt>
                <c:pt idx="43738">
                  <c:v>22.727624220518976</c:v>
                </c:pt>
                <c:pt idx="43739">
                  <c:v>41.084331407462045</c:v>
                </c:pt>
                <c:pt idx="43740">
                  <c:v>27.626103030850402</c:v>
                </c:pt>
                <c:pt idx="43741">
                  <c:v>23.28683813392216</c:v>
                </c:pt>
                <c:pt idx="43742">
                  <c:v>24.056794786331462</c:v>
                </c:pt>
                <c:pt idx="43743">
                  <c:v>21.492928271018719</c:v>
                </c:pt>
                <c:pt idx="43744">
                  <c:v>17.010611661404184</c:v>
                </c:pt>
                <c:pt idx="43745">
                  <c:v>24.540591441429303</c:v>
                </c:pt>
                <c:pt idx="43746">
                  <c:v>52.005591640497464</c:v>
                </c:pt>
                <c:pt idx="43747">
                  <c:v>39.526164679696606</c:v>
                </c:pt>
                <c:pt idx="43748">
                  <c:v>38.884305815454638</c:v>
                </c:pt>
                <c:pt idx="43749">
                  <c:v>28.0717969161471</c:v>
                </c:pt>
                <c:pt idx="43750">
                  <c:v>38.751077056569038</c:v>
                </c:pt>
                <c:pt idx="43751">
                  <c:v>30.94420653758003</c:v>
                </c:pt>
                <c:pt idx="43752">
                  <c:v>48.287942013070776</c:v>
                </c:pt>
                <c:pt idx="43753">
                  <c:v>24.561105628119812</c:v>
                </c:pt>
                <c:pt idx="43754">
                  <c:v>45.350723769927335</c:v>
                </c:pt>
                <c:pt idx="43755">
                  <c:v>17.859688121967245</c:v>
                </c:pt>
                <c:pt idx="43756">
                  <c:v>26.751315010636617</c:v>
                </c:pt>
                <c:pt idx="43757">
                  <c:v>27.806078819919758</c:v>
                </c:pt>
                <c:pt idx="43758">
                  <c:v>24.068662937974839</c:v>
                </c:pt>
                <c:pt idx="43759">
                  <c:v>25.877652595641347</c:v>
                </c:pt>
                <c:pt idx="43760">
                  <c:v>46.866476330455278</c:v>
                </c:pt>
                <c:pt idx="43761">
                  <c:v>27.864614085501337</c:v>
                </c:pt>
                <c:pt idx="43762">
                  <c:v>27.121002952908054</c:v>
                </c:pt>
                <c:pt idx="43763">
                  <c:v>21.773979364686546</c:v>
                </c:pt>
                <c:pt idx="43764">
                  <c:v>28.388507939876551</c:v>
                </c:pt>
                <c:pt idx="43765">
                  <c:v>15.662188062028431</c:v>
                </c:pt>
                <c:pt idx="43766">
                  <c:v>43.375719844358244</c:v>
                </c:pt>
                <c:pt idx="43767">
                  <c:v>39.875009458768844</c:v>
                </c:pt>
                <c:pt idx="43768">
                  <c:v>23.935668388135596</c:v>
                </c:pt>
                <c:pt idx="43769">
                  <c:v>31.771318465706635</c:v>
                </c:pt>
                <c:pt idx="43770">
                  <c:v>23.694297632994868</c:v>
                </c:pt>
                <c:pt idx="43771">
                  <c:v>25.113951885954833</c:v>
                </c:pt>
                <c:pt idx="43772">
                  <c:v>34.35069315303285</c:v>
                </c:pt>
                <c:pt idx="43773">
                  <c:v>24.969428735076853</c:v>
                </c:pt>
                <c:pt idx="43774">
                  <c:v>37.376808434750942</c:v>
                </c:pt>
                <c:pt idx="43775">
                  <c:v>40.406249329284194</c:v>
                </c:pt>
                <c:pt idx="43776">
                  <c:v>30.611963911456805</c:v>
                </c:pt>
                <c:pt idx="43777">
                  <c:v>41.766098470486426</c:v>
                </c:pt>
                <c:pt idx="43778">
                  <c:v>23.937212204968656</c:v>
                </c:pt>
                <c:pt idx="43779">
                  <c:v>28.493879388585906</c:v>
                </c:pt>
                <c:pt idx="43780">
                  <c:v>30.283254711513802</c:v>
                </c:pt>
                <c:pt idx="43781">
                  <c:v>31.072437644771306</c:v>
                </c:pt>
                <c:pt idx="43782">
                  <c:v>34.462167939129458</c:v>
                </c:pt>
                <c:pt idx="43783">
                  <c:v>22.38190861747826</c:v>
                </c:pt>
                <c:pt idx="43784">
                  <c:v>29.674715759081703</c:v>
                </c:pt>
                <c:pt idx="43785">
                  <c:v>31.172775550953425</c:v>
                </c:pt>
                <c:pt idx="43786">
                  <c:v>25.919311861820578</c:v>
                </c:pt>
                <c:pt idx="43787">
                  <c:v>21.850340839599106</c:v>
                </c:pt>
                <c:pt idx="43788">
                  <c:v>27.012236131689775</c:v>
                </c:pt>
                <c:pt idx="43789">
                  <c:v>33.419014158444803</c:v>
                </c:pt>
                <c:pt idx="43790">
                  <c:v>39.093213668609252</c:v>
                </c:pt>
                <c:pt idx="43791">
                  <c:v>21.842456147769916</c:v>
                </c:pt>
                <c:pt idx="43792">
                  <c:v>29.037508457851022</c:v>
                </c:pt>
                <c:pt idx="43793">
                  <c:v>33.093333348035159</c:v>
                </c:pt>
                <c:pt idx="43794">
                  <c:v>28.289386152941496</c:v>
                </c:pt>
                <c:pt idx="43795">
                  <c:v>26.867116066889736</c:v>
                </c:pt>
                <c:pt idx="43796">
                  <c:v>26.826803834162465</c:v>
                </c:pt>
                <c:pt idx="43797">
                  <c:v>41.899907141979739</c:v>
                </c:pt>
                <c:pt idx="43798">
                  <c:v>46.441752905832381</c:v>
                </c:pt>
                <c:pt idx="43799">
                  <c:v>34.549743014912906</c:v>
                </c:pt>
                <c:pt idx="43800">
                  <c:v>47.464305339515136</c:v>
                </c:pt>
                <c:pt idx="43801">
                  <c:v>22.090864895192368</c:v>
                </c:pt>
                <c:pt idx="43802">
                  <c:v>44.274075031637516</c:v>
                </c:pt>
                <c:pt idx="43803">
                  <c:v>40.370988236379503</c:v>
                </c:pt>
                <c:pt idx="43804">
                  <c:v>28.250713826286137</c:v>
                </c:pt>
                <c:pt idx="43805">
                  <c:v>50.742605655960645</c:v>
                </c:pt>
                <c:pt idx="43806">
                  <c:v>44.503324726954375</c:v>
                </c:pt>
                <c:pt idx="43807">
                  <c:v>42.848093632543772</c:v>
                </c:pt>
                <c:pt idx="43808">
                  <c:v>26.539637724481125</c:v>
                </c:pt>
                <c:pt idx="43809">
                  <c:v>40.944893343201436</c:v>
                </c:pt>
                <c:pt idx="43810">
                  <c:v>24.042691112059067</c:v>
                </c:pt>
                <c:pt idx="43811">
                  <c:v>33.018369771137209</c:v>
                </c:pt>
                <c:pt idx="43812">
                  <c:v>29.274144025314886</c:v>
                </c:pt>
                <c:pt idx="43813">
                  <c:v>40.222848509763523</c:v>
                </c:pt>
                <c:pt idx="43814">
                  <c:v>39.699784640085667</c:v>
                </c:pt>
                <c:pt idx="43815">
                  <c:v>27.201765097392371</c:v>
                </c:pt>
                <c:pt idx="43816">
                  <c:v>25.320780961717865</c:v>
                </c:pt>
                <c:pt idx="43817">
                  <c:v>24.00740768233565</c:v>
                </c:pt>
                <c:pt idx="43818">
                  <c:v>53.992125646506828</c:v>
                </c:pt>
                <c:pt idx="43819">
                  <c:v>25.109444042838184</c:v>
                </c:pt>
                <c:pt idx="43820">
                  <c:v>29.483968564718964</c:v>
                </c:pt>
                <c:pt idx="43821">
                  <c:v>22.666945272961115</c:v>
                </c:pt>
                <c:pt idx="43822">
                  <c:v>25.281621377057153</c:v>
                </c:pt>
                <c:pt idx="43823">
                  <c:v>27.920664650877796</c:v>
                </c:pt>
                <c:pt idx="43824">
                  <c:v>30.831615546366997</c:v>
                </c:pt>
                <c:pt idx="43825">
                  <c:v>18.060199187943482</c:v>
                </c:pt>
                <c:pt idx="43826">
                  <c:v>53.933352439677783</c:v>
                </c:pt>
                <c:pt idx="43827">
                  <c:v>23.422382611687734</c:v>
                </c:pt>
                <c:pt idx="43828">
                  <c:v>31.791042161893685</c:v>
                </c:pt>
                <c:pt idx="43829">
                  <c:v>52.189661340521553</c:v>
                </c:pt>
                <c:pt idx="43830">
                  <c:v>38.899075190009</c:v>
                </c:pt>
                <c:pt idx="43831">
                  <c:v>24.731001842150466</c:v>
                </c:pt>
                <c:pt idx="43832">
                  <c:v>21.248785860082982</c:v>
                </c:pt>
                <c:pt idx="43833">
                  <c:v>44.862498596197248</c:v>
                </c:pt>
                <c:pt idx="43834">
                  <c:v>21.773623703884521</c:v>
                </c:pt>
                <c:pt idx="43835">
                  <c:v>31.132130714734171</c:v>
                </c:pt>
                <c:pt idx="43836">
                  <c:v>42.706084704616487</c:v>
                </c:pt>
                <c:pt idx="43837">
                  <c:v>31.34363688148153</c:v>
                </c:pt>
                <c:pt idx="43838">
                  <c:v>20.418674310068994</c:v>
                </c:pt>
                <c:pt idx="43839">
                  <c:v>26.213772702733927</c:v>
                </c:pt>
                <c:pt idx="43840">
                  <c:v>56.356544319288126</c:v>
                </c:pt>
                <c:pt idx="43841">
                  <c:v>30.650050603071687</c:v>
                </c:pt>
                <c:pt idx="43842">
                  <c:v>26.799275825492415</c:v>
                </c:pt>
                <c:pt idx="43843">
                  <c:v>25.424442671045178</c:v>
                </c:pt>
                <c:pt idx="43844">
                  <c:v>31.083337177343157</c:v>
                </c:pt>
                <c:pt idx="43845">
                  <c:v>19.841832675638013</c:v>
                </c:pt>
                <c:pt idx="43846">
                  <c:v>21.236596913446018</c:v>
                </c:pt>
                <c:pt idx="43847">
                  <c:v>37.906733226582702</c:v>
                </c:pt>
                <c:pt idx="43848">
                  <c:v>54.084241261301443</c:v>
                </c:pt>
                <c:pt idx="43849">
                  <c:v>33.730992414592421</c:v>
                </c:pt>
                <c:pt idx="43850">
                  <c:v>16.510385835450833</c:v>
                </c:pt>
                <c:pt idx="43851">
                  <c:v>33.850534131189093</c:v>
                </c:pt>
                <c:pt idx="43852">
                  <c:v>40.667306731699171</c:v>
                </c:pt>
                <c:pt idx="43853">
                  <c:v>28.61002727549668</c:v>
                </c:pt>
                <c:pt idx="43854">
                  <c:v>22.565323597306538</c:v>
                </c:pt>
                <c:pt idx="43855">
                  <c:v>40.625750629004735</c:v>
                </c:pt>
                <c:pt idx="43856">
                  <c:v>25.143614632161793</c:v>
                </c:pt>
                <c:pt idx="43857">
                  <c:v>21.572771413316445</c:v>
                </c:pt>
                <c:pt idx="43858">
                  <c:v>24.801003265793664</c:v>
                </c:pt>
                <c:pt idx="43859">
                  <c:v>25.899402491008239</c:v>
                </c:pt>
                <c:pt idx="43860">
                  <c:v>29.007886526668493</c:v>
                </c:pt>
                <c:pt idx="43861">
                  <c:v>22.981249029426078</c:v>
                </c:pt>
                <c:pt idx="43862">
                  <c:v>32.146571172774593</c:v>
                </c:pt>
                <c:pt idx="43863">
                  <c:v>24.754257846169125</c:v>
                </c:pt>
                <c:pt idx="43864">
                  <c:v>23.567968419625018</c:v>
                </c:pt>
                <c:pt idx="43865">
                  <c:v>39.369577980574007</c:v>
                </c:pt>
                <c:pt idx="43866">
                  <c:v>31.330839159230926</c:v>
                </c:pt>
                <c:pt idx="43867">
                  <c:v>25.372492786042518</c:v>
                </c:pt>
                <c:pt idx="43868">
                  <c:v>25.591694227963355</c:v>
                </c:pt>
                <c:pt idx="43869">
                  <c:v>53.02127543291423</c:v>
                </c:pt>
                <c:pt idx="43870">
                  <c:v>37.062545131121404</c:v>
                </c:pt>
                <c:pt idx="43871">
                  <c:v>22.72137131451009</c:v>
                </c:pt>
                <c:pt idx="43872">
                  <c:v>31.382589217412377</c:v>
                </c:pt>
                <c:pt idx="43873">
                  <c:v>26.253045438177164</c:v>
                </c:pt>
                <c:pt idx="43874">
                  <c:v>28.858127183873563</c:v>
                </c:pt>
                <c:pt idx="43875">
                  <c:v>52.308913955829752</c:v>
                </c:pt>
                <c:pt idx="43876">
                  <c:v>25.347478444337931</c:v>
                </c:pt>
                <c:pt idx="43877">
                  <c:v>27.176552328263558</c:v>
                </c:pt>
                <c:pt idx="43878">
                  <c:v>36.867285271937639</c:v>
                </c:pt>
                <c:pt idx="43879">
                  <c:v>19.372511132359421</c:v>
                </c:pt>
                <c:pt idx="43880">
                  <c:v>20.850851463391706</c:v>
                </c:pt>
                <c:pt idx="43881">
                  <c:v>49.184949801633614</c:v>
                </c:pt>
                <c:pt idx="43882">
                  <c:v>30.156396110229984</c:v>
                </c:pt>
                <c:pt idx="43883">
                  <c:v>20.887078679781428</c:v>
                </c:pt>
                <c:pt idx="43884">
                  <c:v>30.564624129728116</c:v>
                </c:pt>
                <c:pt idx="43885">
                  <c:v>23.766612151226298</c:v>
                </c:pt>
                <c:pt idx="43886">
                  <c:v>27.156582848984119</c:v>
                </c:pt>
                <c:pt idx="43887">
                  <c:v>56.963789398780655</c:v>
                </c:pt>
                <c:pt idx="43888">
                  <c:v>26.074384583788113</c:v>
                </c:pt>
                <c:pt idx="43889">
                  <c:v>28.893067697385895</c:v>
                </c:pt>
                <c:pt idx="43890">
                  <c:v>31.786529648865567</c:v>
                </c:pt>
                <c:pt idx="43891">
                  <c:v>24.639297618931685</c:v>
                </c:pt>
                <c:pt idx="43892">
                  <c:v>38.397384546525828</c:v>
                </c:pt>
                <c:pt idx="43893">
                  <c:v>25.87324958632685</c:v>
                </c:pt>
                <c:pt idx="43894">
                  <c:v>51.559559427635037</c:v>
                </c:pt>
                <c:pt idx="43895">
                  <c:v>31.726418409774347</c:v>
                </c:pt>
                <c:pt idx="43896">
                  <c:v>25.222411988003326</c:v>
                </c:pt>
                <c:pt idx="43897">
                  <c:v>53.582713177320052</c:v>
                </c:pt>
                <c:pt idx="43898">
                  <c:v>43.162315615610751</c:v>
                </c:pt>
                <c:pt idx="43899">
                  <c:v>31.97324453882532</c:v>
                </c:pt>
                <c:pt idx="43900">
                  <c:v>18.46704942539218</c:v>
                </c:pt>
                <c:pt idx="43901">
                  <c:v>32.12254442850918</c:v>
                </c:pt>
                <c:pt idx="43902">
                  <c:v>18.598452732848095</c:v>
                </c:pt>
                <c:pt idx="43903">
                  <c:v>32.962397707624199</c:v>
                </c:pt>
                <c:pt idx="43904">
                  <c:v>21.882759074626016</c:v>
                </c:pt>
                <c:pt idx="43905">
                  <c:v>19.689465368634234</c:v>
                </c:pt>
                <c:pt idx="43906">
                  <c:v>32.364305059913534</c:v>
                </c:pt>
                <c:pt idx="43907">
                  <c:v>30.643516304807516</c:v>
                </c:pt>
                <c:pt idx="43908">
                  <c:v>28.390920429848499</c:v>
                </c:pt>
                <c:pt idx="43909">
                  <c:v>25.320516041327167</c:v>
                </c:pt>
                <c:pt idx="43910">
                  <c:v>41.675458482740055</c:v>
                </c:pt>
                <c:pt idx="43911">
                  <c:v>26.369270503449403</c:v>
                </c:pt>
                <c:pt idx="43912">
                  <c:v>34.384545706362232</c:v>
                </c:pt>
                <c:pt idx="43913">
                  <c:v>22.307644129754905</c:v>
                </c:pt>
                <c:pt idx="43914">
                  <c:v>34.963076141350371</c:v>
                </c:pt>
                <c:pt idx="43915">
                  <c:v>32.322376504142468</c:v>
                </c:pt>
                <c:pt idx="43916">
                  <c:v>52.728993690552606</c:v>
                </c:pt>
                <c:pt idx="43917">
                  <c:v>23.882653571564894</c:v>
                </c:pt>
                <c:pt idx="43918">
                  <c:v>45.961778922561926</c:v>
                </c:pt>
                <c:pt idx="43919">
                  <c:v>43.344249142763729</c:v>
                </c:pt>
                <c:pt idx="43920">
                  <c:v>19.662519032381049</c:v>
                </c:pt>
                <c:pt idx="43921">
                  <c:v>32.953196303691321</c:v>
                </c:pt>
                <c:pt idx="43922">
                  <c:v>19.698715960411313</c:v>
                </c:pt>
                <c:pt idx="43923">
                  <c:v>25.809143720876321</c:v>
                </c:pt>
                <c:pt idx="43924">
                  <c:v>25.047079726474411</c:v>
                </c:pt>
                <c:pt idx="43925">
                  <c:v>58.351193807840488</c:v>
                </c:pt>
                <c:pt idx="43926">
                  <c:v>20.899497370169879</c:v>
                </c:pt>
                <c:pt idx="43927">
                  <c:v>29.819012490886088</c:v>
                </c:pt>
                <c:pt idx="43928">
                  <c:v>49.184152375605471</c:v>
                </c:pt>
                <c:pt idx="43929">
                  <c:v>46.793516950734258</c:v>
                </c:pt>
                <c:pt idx="43930">
                  <c:v>36.220854013846164</c:v>
                </c:pt>
                <c:pt idx="43931">
                  <c:v>32.115575629167999</c:v>
                </c:pt>
                <c:pt idx="43932">
                  <c:v>21.339912548716597</c:v>
                </c:pt>
                <c:pt idx="43933">
                  <c:v>27.391150437446445</c:v>
                </c:pt>
                <c:pt idx="43934">
                  <c:v>40.363782476625161</c:v>
                </c:pt>
                <c:pt idx="43935">
                  <c:v>26.541455568292491</c:v>
                </c:pt>
                <c:pt idx="43936">
                  <c:v>57.514120734999068</c:v>
                </c:pt>
                <c:pt idx="43937">
                  <c:v>51.10506436441716</c:v>
                </c:pt>
                <c:pt idx="43938">
                  <c:v>34.765370248655159</c:v>
                </c:pt>
                <c:pt idx="43939">
                  <c:v>29.168495975237835</c:v>
                </c:pt>
                <c:pt idx="43940">
                  <c:v>22.884133331674789</c:v>
                </c:pt>
                <c:pt idx="43941">
                  <c:v>31.445877496426203</c:v>
                </c:pt>
                <c:pt idx="43942">
                  <c:v>26.864259607002932</c:v>
                </c:pt>
                <c:pt idx="43943">
                  <c:v>35.576852670605398</c:v>
                </c:pt>
                <c:pt idx="43944">
                  <c:v>24.258324583036941</c:v>
                </c:pt>
                <c:pt idx="43945">
                  <c:v>25.696642270192832</c:v>
                </c:pt>
                <c:pt idx="43946">
                  <c:v>26.589734689480569</c:v>
                </c:pt>
                <c:pt idx="43947">
                  <c:v>52.56788605812865</c:v>
                </c:pt>
                <c:pt idx="43948">
                  <c:v>52.461844597159235</c:v>
                </c:pt>
                <c:pt idx="43949">
                  <c:v>50.425119762718012</c:v>
                </c:pt>
                <c:pt idx="43950">
                  <c:v>30.799397260205428</c:v>
                </c:pt>
                <c:pt idx="43951">
                  <c:v>25.247292217040368</c:v>
                </c:pt>
                <c:pt idx="43952">
                  <c:v>21.958559833536228</c:v>
                </c:pt>
                <c:pt idx="43953">
                  <c:v>26.012831136884781</c:v>
                </c:pt>
                <c:pt idx="43954">
                  <c:v>26.549339917205163</c:v>
                </c:pt>
                <c:pt idx="43955">
                  <c:v>14.664100880387036</c:v>
                </c:pt>
                <c:pt idx="43956">
                  <c:v>35.478881921456356</c:v>
                </c:pt>
                <c:pt idx="43957">
                  <c:v>30.252206061156294</c:v>
                </c:pt>
                <c:pt idx="43958">
                  <c:v>18.640625641959094</c:v>
                </c:pt>
                <c:pt idx="43959">
                  <c:v>27.115125386396183</c:v>
                </c:pt>
                <c:pt idx="43960">
                  <c:v>50.025627026007683</c:v>
                </c:pt>
                <c:pt idx="43961">
                  <c:v>22.160421331665706</c:v>
                </c:pt>
                <c:pt idx="43962">
                  <c:v>27.22950825987057</c:v>
                </c:pt>
                <c:pt idx="43963">
                  <c:v>38.844996276035275</c:v>
                </c:pt>
                <c:pt idx="43964">
                  <c:v>31.555030081109638</c:v>
                </c:pt>
                <c:pt idx="43965">
                  <c:v>24.396502452703274</c:v>
                </c:pt>
                <c:pt idx="43966">
                  <c:v>22.522624254636227</c:v>
                </c:pt>
                <c:pt idx="43967">
                  <c:v>19.204874663689285</c:v>
                </c:pt>
                <c:pt idx="43968">
                  <c:v>25.431001950309959</c:v>
                </c:pt>
                <c:pt idx="43969">
                  <c:v>41.070599931831666</c:v>
                </c:pt>
                <c:pt idx="43970">
                  <c:v>29.278766746611495</c:v>
                </c:pt>
                <c:pt idx="43971">
                  <c:v>25.831136236277764</c:v>
                </c:pt>
                <c:pt idx="43972">
                  <c:v>29.381009384680851</c:v>
                </c:pt>
                <c:pt idx="43973">
                  <c:v>51.174944227761102</c:v>
                </c:pt>
                <c:pt idx="43974">
                  <c:v>22.58746240170905</c:v>
                </c:pt>
                <c:pt idx="43975">
                  <c:v>34.088124009970564</c:v>
                </c:pt>
                <c:pt idx="43976">
                  <c:v>29.266769829031659</c:v>
                </c:pt>
                <c:pt idx="43977">
                  <c:v>25.1318962351524</c:v>
                </c:pt>
                <c:pt idx="43978">
                  <c:v>45.279081375763909</c:v>
                </c:pt>
                <c:pt idx="43979">
                  <c:v>32.172384097292614</c:v>
                </c:pt>
                <c:pt idx="43980">
                  <c:v>53.422583103472263</c:v>
                </c:pt>
                <c:pt idx="43981">
                  <c:v>27.730747390319056</c:v>
                </c:pt>
                <c:pt idx="43982">
                  <c:v>40.830234515260791</c:v>
                </c:pt>
                <c:pt idx="43983">
                  <c:v>28.523500496623726</c:v>
                </c:pt>
                <c:pt idx="43984">
                  <c:v>30.734209522007745</c:v>
                </c:pt>
                <c:pt idx="43985">
                  <c:v>61.996821508594955</c:v>
                </c:pt>
                <c:pt idx="43986">
                  <c:v>27.118547329075628</c:v>
                </c:pt>
                <c:pt idx="43987">
                  <c:v>18.976069438156337</c:v>
                </c:pt>
                <c:pt idx="43988">
                  <c:v>24.965003952700975</c:v>
                </c:pt>
                <c:pt idx="43989">
                  <c:v>45.508545882717485</c:v>
                </c:pt>
                <c:pt idx="43990">
                  <c:v>26.143081285235493</c:v>
                </c:pt>
                <c:pt idx="43991">
                  <c:v>40.429566183703798</c:v>
                </c:pt>
                <c:pt idx="43992">
                  <c:v>54.213069733664227</c:v>
                </c:pt>
                <c:pt idx="43993">
                  <c:v>27.218807743222765</c:v>
                </c:pt>
                <c:pt idx="43994">
                  <c:v>26.873663629207776</c:v>
                </c:pt>
                <c:pt idx="43995">
                  <c:v>18.938676311581148</c:v>
                </c:pt>
                <c:pt idx="43996">
                  <c:v>31.850622964196841</c:v>
                </c:pt>
                <c:pt idx="43997">
                  <c:v>25.953354478881234</c:v>
                </c:pt>
                <c:pt idx="43998">
                  <c:v>21.451522573123619</c:v>
                </c:pt>
                <c:pt idx="43999">
                  <c:v>19.962725164110914</c:v>
                </c:pt>
                <c:pt idx="44000">
                  <c:v>39.326521726989121</c:v>
                </c:pt>
                <c:pt idx="44001">
                  <c:v>28.513611412155441</c:v>
                </c:pt>
                <c:pt idx="44002">
                  <c:v>35.270861169227921</c:v>
                </c:pt>
                <c:pt idx="44003">
                  <c:v>27.223278750726635</c:v>
                </c:pt>
                <c:pt idx="44004">
                  <c:v>54.634532362813857</c:v>
                </c:pt>
                <c:pt idx="44005">
                  <c:v>24.753006610367606</c:v>
                </c:pt>
                <c:pt idx="44006">
                  <c:v>31.008979367001054</c:v>
                </c:pt>
                <c:pt idx="44007">
                  <c:v>28.854296489083069</c:v>
                </c:pt>
                <c:pt idx="44008">
                  <c:v>35.81525461010731</c:v>
                </c:pt>
                <c:pt idx="44009">
                  <c:v>46.992694936387657</c:v>
                </c:pt>
                <c:pt idx="44010">
                  <c:v>31.083934671435355</c:v>
                </c:pt>
                <c:pt idx="44011">
                  <c:v>30.165953437740598</c:v>
                </c:pt>
                <c:pt idx="44012">
                  <c:v>29.622372650378246</c:v>
                </c:pt>
                <c:pt idx="44013">
                  <c:v>25.331566149887635</c:v>
                </c:pt>
                <c:pt idx="44014">
                  <c:v>33.744681651302841</c:v>
                </c:pt>
                <c:pt idx="44015">
                  <c:v>25.229999645459305</c:v>
                </c:pt>
                <c:pt idx="44016">
                  <c:v>19.440015244719639</c:v>
                </c:pt>
                <c:pt idx="44017">
                  <c:v>21.768838638705272</c:v>
                </c:pt>
                <c:pt idx="44018">
                  <c:v>26.389231924608797</c:v>
                </c:pt>
                <c:pt idx="44019">
                  <c:v>34.673104015076149</c:v>
                </c:pt>
                <c:pt idx="44020">
                  <c:v>18.91948976490297</c:v>
                </c:pt>
                <c:pt idx="44021">
                  <c:v>23.013592100243393</c:v>
                </c:pt>
                <c:pt idx="44022">
                  <c:v>24.834401690209972</c:v>
                </c:pt>
                <c:pt idx="44023">
                  <c:v>42.477527008536555</c:v>
                </c:pt>
                <c:pt idx="44024">
                  <c:v>28.096854463968818</c:v>
                </c:pt>
                <c:pt idx="44025">
                  <c:v>20.6513411975913</c:v>
                </c:pt>
                <c:pt idx="44026">
                  <c:v>28.938232852878993</c:v>
                </c:pt>
                <c:pt idx="44027">
                  <c:v>21.163768077054979</c:v>
                </c:pt>
                <c:pt idx="44028">
                  <c:v>41.910750522924715</c:v>
                </c:pt>
                <c:pt idx="44029">
                  <c:v>25.843670287576632</c:v>
                </c:pt>
                <c:pt idx="44030">
                  <c:v>33.395389674864504</c:v>
                </c:pt>
                <c:pt idx="44031">
                  <c:v>29.528534713714784</c:v>
                </c:pt>
                <c:pt idx="44032">
                  <c:v>28.732563951384392</c:v>
                </c:pt>
                <c:pt idx="44033">
                  <c:v>39.714382440903172</c:v>
                </c:pt>
                <c:pt idx="44034">
                  <c:v>54.351735821154222</c:v>
                </c:pt>
                <c:pt idx="44035">
                  <c:v>32.137282594225809</c:v>
                </c:pt>
                <c:pt idx="44036">
                  <c:v>23.919384178524169</c:v>
                </c:pt>
                <c:pt idx="44037">
                  <c:v>29.175059797727368</c:v>
                </c:pt>
                <c:pt idx="44038">
                  <c:v>29.93383542702411</c:v>
                </c:pt>
                <c:pt idx="44039">
                  <c:v>22.580785291527548</c:v>
                </c:pt>
                <c:pt idx="44040">
                  <c:v>27.510526914376968</c:v>
                </c:pt>
                <c:pt idx="44041">
                  <c:v>49.219591000887419</c:v>
                </c:pt>
                <c:pt idx="44042">
                  <c:v>25.11121342725437</c:v>
                </c:pt>
                <c:pt idx="44043">
                  <c:v>19.481187226056917</c:v>
                </c:pt>
                <c:pt idx="44044">
                  <c:v>25.056194919164223</c:v>
                </c:pt>
                <c:pt idx="44045">
                  <c:v>29.201466594645744</c:v>
                </c:pt>
                <c:pt idx="44046">
                  <c:v>24.749124860087029</c:v>
                </c:pt>
                <c:pt idx="44047">
                  <c:v>18.836955002428347</c:v>
                </c:pt>
                <c:pt idx="44048">
                  <c:v>27.526836069749091</c:v>
                </c:pt>
                <c:pt idx="44049">
                  <c:v>33.381737257475187</c:v>
                </c:pt>
                <c:pt idx="44050">
                  <c:v>28.299282353901408</c:v>
                </c:pt>
                <c:pt idx="44051">
                  <c:v>21.85294308440432</c:v>
                </c:pt>
                <c:pt idx="44052">
                  <c:v>23.696635412478663</c:v>
                </c:pt>
                <c:pt idx="44053">
                  <c:v>41.015847009989002</c:v>
                </c:pt>
                <c:pt idx="44054">
                  <c:v>32.406582585742392</c:v>
                </c:pt>
                <c:pt idx="44055">
                  <c:v>17.064633553182645</c:v>
                </c:pt>
                <c:pt idx="44056">
                  <c:v>36.507985312941386</c:v>
                </c:pt>
                <c:pt idx="44057">
                  <c:v>26.715111449460469</c:v>
                </c:pt>
                <c:pt idx="44058">
                  <c:v>43.264879703850696</c:v>
                </c:pt>
                <c:pt idx="44059">
                  <c:v>22.391544943464748</c:v>
                </c:pt>
                <c:pt idx="44060">
                  <c:v>24.834714687297584</c:v>
                </c:pt>
                <c:pt idx="44061">
                  <c:v>40.148080950371295</c:v>
                </c:pt>
                <c:pt idx="44062">
                  <c:v>33.96654538766353</c:v>
                </c:pt>
                <c:pt idx="44063">
                  <c:v>31.461618293556469</c:v>
                </c:pt>
                <c:pt idx="44064">
                  <c:v>72.267266251336395</c:v>
                </c:pt>
                <c:pt idx="44065">
                  <c:v>30.585952575998434</c:v>
                </c:pt>
                <c:pt idx="44066">
                  <c:v>24.278035201353831</c:v>
                </c:pt>
                <c:pt idx="44067">
                  <c:v>43.717362898295825</c:v>
                </c:pt>
                <c:pt idx="44068">
                  <c:v>30.822459973834583</c:v>
                </c:pt>
                <c:pt idx="44069">
                  <c:v>28.099110047969425</c:v>
                </c:pt>
                <c:pt idx="44070">
                  <c:v>43.919211524604179</c:v>
                </c:pt>
                <c:pt idx="44071">
                  <c:v>29.534573544638231</c:v>
                </c:pt>
                <c:pt idx="44072">
                  <c:v>40.356757476260476</c:v>
                </c:pt>
                <c:pt idx="44073">
                  <c:v>28.424935168532667</c:v>
                </c:pt>
                <c:pt idx="44074">
                  <c:v>44.206663574667907</c:v>
                </c:pt>
                <c:pt idx="44075">
                  <c:v>38.652706080673937</c:v>
                </c:pt>
                <c:pt idx="44076">
                  <c:v>20.172579542782174</c:v>
                </c:pt>
                <c:pt idx="44077">
                  <c:v>28.067286820556063</c:v>
                </c:pt>
                <c:pt idx="44078">
                  <c:v>25.737485392095561</c:v>
                </c:pt>
                <c:pt idx="44079">
                  <c:v>30.137643184919739</c:v>
                </c:pt>
                <c:pt idx="44080">
                  <c:v>23.808106228570772</c:v>
                </c:pt>
                <c:pt idx="44081">
                  <c:v>28.438220882797474</c:v>
                </c:pt>
                <c:pt idx="44082">
                  <c:v>46.119298848213447</c:v>
                </c:pt>
                <c:pt idx="44083">
                  <c:v>24.409722071392281</c:v>
                </c:pt>
                <c:pt idx="44084">
                  <c:v>22.940109800026043</c:v>
                </c:pt>
                <c:pt idx="44085">
                  <c:v>31.784505198304021</c:v>
                </c:pt>
                <c:pt idx="44086">
                  <c:v>27.437892121696308</c:v>
                </c:pt>
                <c:pt idx="44087">
                  <c:v>24.042210531922471</c:v>
                </c:pt>
                <c:pt idx="44088">
                  <c:v>25.525380462672217</c:v>
                </c:pt>
                <c:pt idx="44089">
                  <c:v>29.563973183791049</c:v>
                </c:pt>
                <c:pt idx="44090">
                  <c:v>20.755530225530741</c:v>
                </c:pt>
                <c:pt idx="44091">
                  <c:v>21.382461126472716</c:v>
                </c:pt>
                <c:pt idx="44092">
                  <c:v>26.461456388640084</c:v>
                </c:pt>
                <c:pt idx="44093">
                  <c:v>21.621872826042839</c:v>
                </c:pt>
                <c:pt idx="44094">
                  <c:v>30.984778281323589</c:v>
                </c:pt>
                <c:pt idx="44095">
                  <c:v>28.051697627423241</c:v>
                </c:pt>
                <c:pt idx="44096">
                  <c:v>23.016882332591791</c:v>
                </c:pt>
                <c:pt idx="44097">
                  <c:v>30.04050576322377</c:v>
                </c:pt>
                <c:pt idx="44098">
                  <c:v>32.700209985033808</c:v>
                </c:pt>
                <c:pt idx="44099">
                  <c:v>33.66014619846456</c:v>
                </c:pt>
                <c:pt idx="44100">
                  <c:v>63.62045891962525</c:v>
                </c:pt>
                <c:pt idx="44101">
                  <c:v>55.768365055083521</c:v>
                </c:pt>
                <c:pt idx="44102">
                  <c:v>22.971854340449294</c:v>
                </c:pt>
                <c:pt idx="44103">
                  <c:v>28.310942155468467</c:v>
                </c:pt>
                <c:pt idx="44104">
                  <c:v>38.615448993243376</c:v>
                </c:pt>
                <c:pt idx="44105">
                  <c:v>23.399682260376817</c:v>
                </c:pt>
                <c:pt idx="44106">
                  <c:v>31.449010102281736</c:v>
                </c:pt>
                <c:pt idx="44107">
                  <c:v>27.073166435033905</c:v>
                </c:pt>
                <c:pt idx="44108">
                  <c:v>17.490251287372672</c:v>
                </c:pt>
                <c:pt idx="44109">
                  <c:v>25.289405333776269</c:v>
                </c:pt>
                <c:pt idx="44110">
                  <c:v>26.032553939710354</c:v>
                </c:pt>
                <c:pt idx="44111">
                  <c:v>25.478140116441434</c:v>
                </c:pt>
                <c:pt idx="44112">
                  <c:v>28.175375407662592</c:v>
                </c:pt>
                <c:pt idx="44113">
                  <c:v>39.731724857283957</c:v>
                </c:pt>
                <c:pt idx="44114">
                  <c:v>25.560616063446741</c:v>
                </c:pt>
                <c:pt idx="44115">
                  <c:v>22.151281913419616</c:v>
                </c:pt>
                <c:pt idx="44116">
                  <c:v>20.809084342273248</c:v>
                </c:pt>
                <c:pt idx="44117">
                  <c:v>41.811041956625573</c:v>
                </c:pt>
                <c:pt idx="44118">
                  <c:v>17.326874746633198</c:v>
                </c:pt>
                <c:pt idx="44119">
                  <c:v>34.502717616213587</c:v>
                </c:pt>
                <c:pt idx="44120">
                  <c:v>22.460972553604847</c:v>
                </c:pt>
                <c:pt idx="44121">
                  <c:v>25.307659839385654</c:v>
                </c:pt>
                <c:pt idx="44122">
                  <c:v>37.215403077736802</c:v>
                </c:pt>
                <c:pt idx="44123">
                  <c:v>17.29823254579426</c:v>
                </c:pt>
                <c:pt idx="44124">
                  <c:v>34.860763814546857</c:v>
                </c:pt>
                <c:pt idx="44125">
                  <c:v>25.408641152462064</c:v>
                </c:pt>
                <c:pt idx="44126">
                  <c:v>27.721078408844114</c:v>
                </c:pt>
                <c:pt idx="44127">
                  <c:v>23.457551364016759</c:v>
                </c:pt>
                <c:pt idx="44128">
                  <c:v>26.742235024463255</c:v>
                </c:pt>
                <c:pt idx="44129">
                  <c:v>48.115208993188993</c:v>
                </c:pt>
                <c:pt idx="44130">
                  <c:v>27.591072524132422</c:v>
                </c:pt>
                <c:pt idx="44131">
                  <c:v>27.13390141450164</c:v>
                </c:pt>
                <c:pt idx="44132">
                  <c:v>29.912626179028607</c:v>
                </c:pt>
                <c:pt idx="44133">
                  <c:v>25.438853820916378</c:v>
                </c:pt>
                <c:pt idx="44134">
                  <c:v>29.058197582766461</c:v>
                </c:pt>
                <c:pt idx="44135">
                  <c:v>35.871027088999206</c:v>
                </c:pt>
                <c:pt idx="44136">
                  <c:v>28.359390502371689</c:v>
                </c:pt>
                <c:pt idx="44137">
                  <c:v>25.384018781428846</c:v>
                </c:pt>
                <c:pt idx="44138">
                  <c:v>24.95534567712852</c:v>
                </c:pt>
                <c:pt idx="44139">
                  <c:v>25.094651389786918</c:v>
                </c:pt>
                <c:pt idx="44140">
                  <c:v>24.195053802371451</c:v>
                </c:pt>
                <c:pt idx="44141">
                  <c:v>36.384245329238659</c:v>
                </c:pt>
                <c:pt idx="44142">
                  <c:v>31.41880282474186</c:v>
                </c:pt>
                <c:pt idx="44143">
                  <c:v>21.965222156370416</c:v>
                </c:pt>
                <c:pt idx="44144">
                  <c:v>29.869208785419502</c:v>
                </c:pt>
                <c:pt idx="44145">
                  <c:v>43.042288010279613</c:v>
                </c:pt>
                <c:pt idx="44146">
                  <c:v>42.298560516870694</c:v>
                </c:pt>
                <c:pt idx="44147">
                  <c:v>26.346885146168201</c:v>
                </c:pt>
                <c:pt idx="44148">
                  <c:v>36.760300786427621</c:v>
                </c:pt>
                <c:pt idx="44149">
                  <c:v>29.671243863255668</c:v>
                </c:pt>
                <c:pt idx="44150">
                  <c:v>35.239892247575547</c:v>
                </c:pt>
                <c:pt idx="44151">
                  <c:v>24.572235689043083</c:v>
                </c:pt>
                <c:pt idx="44152">
                  <c:v>24.041376147752601</c:v>
                </c:pt>
                <c:pt idx="44153">
                  <c:v>22.908212545142284</c:v>
                </c:pt>
                <c:pt idx="44154">
                  <c:v>51.853780340675634</c:v>
                </c:pt>
                <c:pt idx="44155">
                  <c:v>30.094847775396168</c:v>
                </c:pt>
                <c:pt idx="44156">
                  <c:v>25.957237609706439</c:v>
                </c:pt>
                <c:pt idx="44157">
                  <c:v>51.219747409923258</c:v>
                </c:pt>
                <c:pt idx="44158">
                  <c:v>26.701305682343619</c:v>
                </c:pt>
                <c:pt idx="44159">
                  <c:v>35.119893273187728</c:v>
                </c:pt>
                <c:pt idx="44160">
                  <c:v>50.626350770068115</c:v>
                </c:pt>
                <c:pt idx="44161">
                  <c:v>21.87518607799667</c:v>
                </c:pt>
                <c:pt idx="44162">
                  <c:v>27.816425695783771</c:v>
                </c:pt>
                <c:pt idx="44163">
                  <c:v>20.558048652611035</c:v>
                </c:pt>
                <c:pt idx="44164">
                  <c:v>25.433876943317905</c:v>
                </c:pt>
                <c:pt idx="44165">
                  <c:v>23.648764787285522</c:v>
                </c:pt>
                <c:pt idx="44166">
                  <c:v>22.10131748337901</c:v>
                </c:pt>
                <c:pt idx="44167">
                  <c:v>28.639131820401637</c:v>
                </c:pt>
                <c:pt idx="44168">
                  <c:v>45.705586866027282</c:v>
                </c:pt>
                <c:pt idx="44169">
                  <c:v>23.549015279395626</c:v>
                </c:pt>
                <c:pt idx="44170">
                  <c:v>23.820840084473655</c:v>
                </c:pt>
                <c:pt idx="44171">
                  <c:v>22.629303341184297</c:v>
                </c:pt>
                <c:pt idx="44172">
                  <c:v>23.344393328069607</c:v>
                </c:pt>
                <c:pt idx="44173">
                  <c:v>30.268791527872931</c:v>
                </c:pt>
                <c:pt idx="44174">
                  <c:v>32.345431543468706</c:v>
                </c:pt>
                <c:pt idx="44175">
                  <c:v>26.218514776990535</c:v>
                </c:pt>
                <c:pt idx="44176">
                  <c:v>20.522167330644184</c:v>
                </c:pt>
                <c:pt idx="44177">
                  <c:v>33.304431038123397</c:v>
                </c:pt>
                <c:pt idx="44178">
                  <c:v>27.169268690288295</c:v>
                </c:pt>
                <c:pt idx="44179">
                  <c:v>29.738958380004924</c:v>
                </c:pt>
                <c:pt idx="44180">
                  <c:v>31.112333684832539</c:v>
                </c:pt>
                <c:pt idx="44181">
                  <c:v>27.717676662628293</c:v>
                </c:pt>
                <c:pt idx="44182">
                  <c:v>53.653268566025929</c:v>
                </c:pt>
                <c:pt idx="44183">
                  <c:v>35.133327075836547</c:v>
                </c:pt>
                <c:pt idx="44184">
                  <c:v>27.502761663387012</c:v>
                </c:pt>
                <c:pt idx="44185">
                  <c:v>43.910250729744263</c:v>
                </c:pt>
                <c:pt idx="44186">
                  <c:v>29.308366996063477</c:v>
                </c:pt>
                <c:pt idx="44187">
                  <c:v>22.077814231432711</c:v>
                </c:pt>
                <c:pt idx="44188">
                  <c:v>30.751009579749201</c:v>
                </c:pt>
                <c:pt idx="44189">
                  <c:v>23.093406750955555</c:v>
                </c:pt>
                <c:pt idx="44190">
                  <c:v>50.523856359253458</c:v>
                </c:pt>
                <c:pt idx="44191">
                  <c:v>19.917023199762248</c:v>
                </c:pt>
                <c:pt idx="44192">
                  <c:v>20.173565059964162</c:v>
                </c:pt>
                <c:pt idx="44193">
                  <c:v>25.304019788348384</c:v>
                </c:pt>
                <c:pt idx="44194">
                  <c:v>22.355030009293767</c:v>
                </c:pt>
                <c:pt idx="44195">
                  <c:v>24.173353375720126</c:v>
                </c:pt>
                <c:pt idx="44196">
                  <c:v>24.696936715987096</c:v>
                </c:pt>
                <c:pt idx="44197">
                  <c:v>47.916925842881966</c:v>
                </c:pt>
                <c:pt idx="44198">
                  <c:v>28.050643820304138</c:v>
                </c:pt>
                <c:pt idx="44199">
                  <c:v>26.089081570988625</c:v>
                </c:pt>
                <c:pt idx="44200">
                  <c:v>51.462104650694201</c:v>
                </c:pt>
                <c:pt idx="44201">
                  <c:v>23.612888240671143</c:v>
                </c:pt>
                <c:pt idx="44202">
                  <c:v>25.39479717671221</c:v>
                </c:pt>
                <c:pt idx="44203">
                  <c:v>41.482887593529313</c:v>
                </c:pt>
                <c:pt idx="44204">
                  <c:v>26.572412578810095</c:v>
                </c:pt>
                <c:pt idx="44205">
                  <c:v>17.009886574156049</c:v>
                </c:pt>
                <c:pt idx="44206">
                  <c:v>21.958196094178501</c:v>
                </c:pt>
                <c:pt idx="44207">
                  <c:v>27.386503740239039</c:v>
                </c:pt>
                <c:pt idx="44208">
                  <c:v>32.480078097916433</c:v>
                </c:pt>
                <c:pt idx="44209">
                  <c:v>25.147720820563322</c:v>
                </c:pt>
                <c:pt idx="44210">
                  <c:v>30.690618678156532</c:v>
                </c:pt>
                <c:pt idx="44211">
                  <c:v>29.547356419307896</c:v>
                </c:pt>
                <c:pt idx="44212">
                  <c:v>26.03190279398024</c:v>
                </c:pt>
                <c:pt idx="44213">
                  <c:v>22.061163463745142</c:v>
                </c:pt>
                <c:pt idx="44214">
                  <c:v>27.095129869558711</c:v>
                </c:pt>
                <c:pt idx="44215">
                  <c:v>28.400067022622569</c:v>
                </c:pt>
                <c:pt idx="44216">
                  <c:v>25.664078428187249</c:v>
                </c:pt>
                <c:pt idx="44217">
                  <c:v>17.041166065300697</c:v>
                </c:pt>
                <c:pt idx="44218">
                  <c:v>28.796154005042023</c:v>
                </c:pt>
                <c:pt idx="44219">
                  <c:v>27.583937954320575</c:v>
                </c:pt>
                <c:pt idx="44220">
                  <c:v>37.887753310042456</c:v>
                </c:pt>
                <c:pt idx="44221">
                  <c:v>21.996406129123624</c:v>
                </c:pt>
                <c:pt idx="44222">
                  <c:v>28.851216434234608</c:v>
                </c:pt>
                <c:pt idx="44223">
                  <c:v>20.880818974642228</c:v>
                </c:pt>
                <c:pt idx="44224">
                  <c:v>29.758496985650201</c:v>
                </c:pt>
                <c:pt idx="44225">
                  <c:v>26.36783687173147</c:v>
                </c:pt>
                <c:pt idx="44226">
                  <c:v>32.345696478701015</c:v>
                </c:pt>
                <c:pt idx="44227">
                  <c:v>26.429221568100047</c:v>
                </c:pt>
                <c:pt idx="44228">
                  <c:v>35.877596600833122</c:v>
                </c:pt>
                <c:pt idx="44229">
                  <c:v>29.145313921116081</c:v>
                </c:pt>
                <c:pt idx="44230">
                  <c:v>17.084617859895523</c:v>
                </c:pt>
                <c:pt idx="44231">
                  <c:v>52.56649335595597</c:v>
                </c:pt>
                <c:pt idx="44232">
                  <c:v>25.777356068377188</c:v>
                </c:pt>
                <c:pt idx="44233">
                  <c:v>21.276627579159417</c:v>
                </c:pt>
                <c:pt idx="44234">
                  <c:v>27.52168741492412</c:v>
                </c:pt>
                <c:pt idx="44235">
                  <c:v>29.4617030272506</c:v>
                </c:pt>
                <c:pt idx="44236">
                  <c:v>21.094910864849169</c:v>
                </c:pt>
                <c:pt idx="44237">
                  <c:v>30.972274681405594</c:v>
                </c:pt>
                <c:pt idx="44238">
                  <c:v>28.203093702683965</c:v>
                </c:pt>
                <c:pt idx="44239">
                  <c:v>36.213176659863372</c:v>
                </c:pt>
                <c:pt idx="44240">
                  <c:v>24.121918641405546</c:v>
                </c:pt>
                <c:pt idx="44241">
                  <c:v>43.304062211754164</c:v>
                </c:pt>
                <c:pt idx="44242">
                  <c:v>46.856536508773075</c:v>
                </c:pt>
                <c:pt idx="44243">
                  <c:v>26.449162315869867</c:v>
                </c:pt>
                <c:pt idx="44244">
                  <c:v>22.178872618161428</c:v>
                </c:pt>
                <c:pt idx="44245">
                  <c:v>31.617925784624688</c:v>
                </c:pt>
                <c:pt idx="44246">
                  <c:v>48.053813923287493</c:v>
                </c:pt>
                <c:pt idx="44247">
                  <c:v>46.179698565063227</c:v>
                </c:pt>
                <c:pt idx="44248">
                  <c:v>58.003079832737463</c:v>
                </c:pt>
                <c:pt idx="44249">
                  <c:v>19.119118111796944</c:v>
                </c:pt>
                <c:pt idx="44250">
                  <c:v>26.205634088369571</c:v>
                </c:pt>
                <c:pt idx="44251">
                  <c:v>19.86405946438413</c:v>
                </c:pt>
                <c:pt idx="44252">
                  <c:v>17.294025451044359</c:v>
                </c:pt>
                <c:pt idx="44253">
                  <c:v>26.668456615231346</c:v>
                </c:pt>
                <c:pt idx="44254">
                  <c:v>23.01631544595655</c:v>
                </c:pt>
                <c:pt idx="44255">
                  <c:v>17.733336054088923</c:v>
                </c:pt>
                <c:pt idx="44256">
                  <c:v>16.553644780302264</c:v>
                </c:pt>
                <c:pt idx="44257">
                  <c:v>30.640829562136958</c:v>
                </c:pt>
                <c:pt idx="44258">
                  <c:v>49.764924680477485</c:v>
                </c:pt>
                <c:pt idx="44259">
                  <c:v>19.171025036059508</c:v>
                </c:pt>
                <c:pt idx="44260">
                  <c:v>47.598184453072143</c:v>
                </c:pt>
                <c:pt idx="44261">
                  <c:v>26.534400328945253</c:v>
                </c:pt>
                <c:pt idx="44262">
                  <c:v>32.844210715447481</c:v>
                </c:pt>
                <c:pt idx="44263">
                  <c:v>19.209326827473426</c:v>
                </c:pt>
                <c:pt idx="44264">
                  <c:v>32.230945549443732</c:v>
                </c:pt>
                <c:pt idx="44265">
                  <c:v>22.520876307099485</c:v>
                </c:pt>
                <c:pt idx="44266">
                  <c:v>54.112040754816839</c:v>
                </c:pt>
                <c:pt idx="44267">
                  <c:v>34.980538789063957</c:v>
                </c:pt>
                <c:pt idx="44268">
                  <c:v>18.187072487176401</c:v>
                </c:pt>
                <c:pt idx="44269">
                  <c:v>27.626745489584366</c:v>
                </c:pt>
                <c:pt idx="44270">
                  <c:v>35.949229461842627</c:v>
                </c:pt>
                <c:pt idx="44271">
                  <c:v>19.732983961627227</c:v>
                </c:pt>
                <c:pt idx="44272">
                  <c:v>36.764116880430016</c:v>
                </c:pt>
                <c:pt idx="44273">
                  <c:v>25.682188512710837</c:v>
                </c:pt>
                <c:pt idx="44274">
                  <c:v>44.590844763773966</c:v>
                </c:pt>
                <c:pt idx="44275">
                  <c:v>60.71067214079379</c:v>
                </c:pt>
                <c:pt idx="44276">
                  <c:v>35.707626498745753</c:v>
                </c:pt>
                <c:pt idx="44277">
                  <c:v>31.179281383651173</c:v>
                </c:pt>
                <c:pt idx="44278">
                  <c:v>43.858275716701833</c:v>
                </c:pt>
                <c:pt idx="44279">
                  <c:v>36.328647199717835</c:v>
                </c:pt>
                <c:pt idx="44280">
                  <c:v>51.153487293554775</c:v>
                </c:pt>
                <c:pt idx="44281">
                  <c:v>31.624841785353816</c:v>
                </c:pt>
                <c:pt idx="44282">
                  <c:v>26.559643171421737</c:v>
                </c:pt>
                <c:pt idx="44283">
                  <c:v>49.106600723618826</c:v>
                </c:pt>
                <c:pt idx="44284">
                  <c:v>22.30005958329545</c:v>
                </c:pt>
                <c:pt idx="44285">
                  <c:v>31.765877637337518</c:v>
                </c:pt>
                <c:pt idx="44286">
                  <c:v>37.301905169875042</c:v>
                </c:pt>
                <c:pt idx="44287">
                  <c:v>25.675978956526706</c:v>
                </c:pt>
                <c:pt idx="44288">
                  <c:v>35.316856465593389</c:v>
                </c:pt>
                <c:pt idx="44289">
                  <c:v>26.22628039259234</c:v>
                </c:pt>
                <c:pt idx="44290">
                  <c:v>25.345153765051236</c:v>
                </c:pt>
                <c:pt idx="44291">
                  <c:v>26.114978233487982</c:v>
                </c:pt>
                <c:pt idx="44292">
                  <c:v>22.728805991188167</c:v>
                </c:pt>
                <c:pt idx="44293">
                  <c:v>23.076838937608905</c:v>
                </c:pt>
                <c:pt idx="44294">
                  <c:v>42.636833227873545</c:v>
                </c:pt>
                <c:pt idx="44295">
                  <c:v>31.618320360672701</c:v>
                </c:pt>
                <c:pt idx="44296">
                  <c:v>22.1547559557272</c:v>
                </c:pt>
                <c:pt idx="44297">
                  <c:v>19.460232263854095</c:v>
                </c:pt>
                <c:pt idx="44298">
                  <c:v>36.137998393618645</c:v>
                </c:pt>
                <c:pt idx="44299">
                  <c:v>31.20085254745344</c:v>
                </c:pt>
                <c:pt idx="44300">
                  <c:v>37.255503467742344</c:v>
                </c:pt>
                <c:pt idx="44301">
                  <c:v>25.70946000736545</c:v>
                </c:pt>
                <c:pt idx="44302">
                  <c:v>32.436757189960851</c:v>
                </c:pt>
                <c:pt idx="44303">
                  <c:v>27.328691458466128</c:v>
                </c:pt>
                <c:pt idx="44304">
                  <c:v>53.787286407602153</c:v>
                </c:pt>
                <c:pt idx="44305">
                  <c:v>55.069198968623148</c:v>
                </c:pt>
                <c:pt idx="44306">
                  <c:v>44.685820240868821</c:v>
                </c:pt>
                <c:pt idx="44307">
                  <c:v>41.18801335384638</c:v>
                </c:pt>
                <c:pt idx="44308">
                  <c:v>28.438657124889453</c:v>
                </c:pt>
                <c:pt idx="44309">
                  <c:v>22.025695377922275</c:v>
                </c:pt>
                <c:pt idx="44310">
                  <c:v>36.605943259752848</c:v>
                </c:pt>
                <c:pt idx="44311">
                  <c:v>53.279060471356416</c:v>
                </c:pt>
                <c:pt idx="44312">
                  <c:v>30.005703575223372</c:v>
                </c:pt>
                <c:pt idx="44313">
                  <c:v>22.452168517529991</c:v>
                </c:pt>
                <c:pt idx="44314">
                  <c:v>35.812092709687207</c:v>
                </c:pt>
                <c:pt idx="44315">
                  <c:v>29.497605854595669</c:v>
                </c:pt>
                <c:pt idx="44316">
                  <c:v>25.965800983516264</c:v>
                </c:pt>
                <c:pt idx="44317">
                  <c:v>30.575531497393431</c:v>
                </c:pt>
                <c:pt idx="44318">
                  <c:v>19.122087734105932</c:v>
                </c:pt>
                <c:pt idx="44319">
                  <c:v>40.057014452238164</c:v>
                </c:pt>
                <c:pt idx="44320">
                  <c:v>33.331641241222123</c:v>
                </c:pt>
                <c:pt idx="44321">
                  <c:v>20.744171016154279</c:v>
                </c:pt>
                <c:pt idx="44322">
                  <c:v>21.268874316257417</c:v>
                </c:pt>
                <c:pt idx="44323">
                  <c:v>31.899203205802475</c:v>
                </c:pt>
                <c:pt idx="44324">
                  <c:v>36.04464299918439</c:v>
                </c:pt>
                <c:pt idx="44325">
                  <c:v>24.386315987269203</c:v>
                </c:pt>
                <c:pt idx="44326">
                  <c:v>33.708991222282783</c:v>
                </c:pt>
                <c:pt idx="44327">
                  <c:v>27.331669971885695</c:v>
                </c:pt>
                <c:pt idx="44328">
                  <c:v>28.608000750619794</c:v>
                </c:pt>
                <c:pt idx="44329">
                  <c:v>46.132059561787941</c:v>
                </c:pt>
                <c:pt idx="44330">
                  <c:v>20.639509469441389</c:v>
                </c:pt>
                <c:pt idx="44331">
                  <c:v>34.023953580022379</c:v>
                </c:pt>
                <c:pt idx="44332">
                  <c:v>25.137804484250893</c:v>
                </c:pt>
                <c:pt idx="44333">
                  <c:v>38.714168191881882</c:v>
                </c:pt>
                <c:pt idx="44334">
                  <c:v>29.551912512997482</c:v>
                </c:pt>
                <c:pt idx="44335">
                  <c:v>36.271383857426137</c:v>
                </c:pt>
                <c:pt idx="44336">
                  <c:v>40.547960513257848</c:v>
                </c:pt>
                <c:pt idx="44337">
                  <c:v>39.164984902486729</c:v>
                </c:pt>
                <c:pt idx="44338">
                  <c:v>28.194259264492665</c:v>
                </c:pt>
                <c:pt idx="44339">
                  <c:v>41.699958270941281</c:v>
                </c:pt>
                <c:pt idx="44340">
                  <c:v>28.684927853862149</c:v>
                </c:pt>
                <c:pt idx="44341">
                  <c:v>30.778633109583993</c:v>
                </c:pt>
                <c:pt idx="44342">
                  <c:v>28.964517587639488</c:v>
                </c:pt>
                <c:pt idx="44343">
                  <c:v>16.84080187306375</c:v>
                </c:pt>
                <c:pt idx="44344">
                  <c:v>21.875505911347055</c:v>
                </c:pt>
                <c:pt idx="44345">
                  <c:v>31.779271931478362</c:v>
                </c:pt>
                <c:pt idx="44346">
                  <c:v>25.393596638259112</c:v>
                </c:pt>
                <c:pt idx="44347">
                  <c:v>24.703309529875447</c:v>
                </c:pt>
                <c:pt idx="44348">
                  <c:v>27.62638095598631</c:v>
                </c:pt>
                <c:pt idx="44349">
                  <c:v>24.705417961418661</c:v>
                </c:pt>
                <c:pt idx="44350">
                  <c:v>23.649817338726258</c:v>
                </c:pt>
                <c:pt idx="44351">
                  <c:v>28.109713302433395</c:v>
                </c:pt>
                <c:pt idx="44352">
                  <c:v>23.390236084163924</c:v>
                </c:pt>
                <c:pt idx="44353">
                  <c:v>22.681688645479987</c:v>
                </c:pt>
                <c:pt idx="44354">
                  <c:v>22.863517963497852</c:v>
                </c:pt>
                <c:pt idx="44355">
                  <c:v>29.696894839842287</c:v>
                </c:pt>
                <c:pt idx="44356">
                  <c:v>50.085352634044902</c:v>
                </c:pt>
                <c:pt idx="44357">
                  <c:v>38.8505397020365</c:v>
                </c:pt>
                <c:pt idx="44358">
                  <c:v>21.937702202736197</c:v>
                </c:pt>
                <c:pt idx="44359">
                  <c:v>29.844366239199186</c:v>
                </c:pt>
                <c:pt idx="44360">
                  <c:v>25.52266621505575</c:v>
                </c:pt>
                <c:pt idx="44361">
                  <c:v>18.294259490325103</c:v>
                </c:pt>
                <c:pt idx="44362">
                  <c:v>26.404073606702969</c:v>
                </c:pt>
                <c:pt idx="44363">
                  <c:v>19.331918516684038</c:v>
                </c:pt>
                <c:pt idx="44364">
                  <c:v>27.250752494391353</c:v>
                </c:pt>
                <c:pt idx="44365">
                  <c:v>57.623433255170482</c:v>
                </c:pt>
                <c:pt idx="44366">
                  <c:v>42.727935954246732</c:v>
                </c:pt>
                <c:pt idx="44367">
                  <c:v>24.196325811411143</c:v>
                </c:pt>
                <c:pt idx="44368">
                  <c:v>27.049475161798863</c:v>
                </c:pt>
                <c:pt idx="44369">
                  <c:v>29.620827763170688</c:v>
                </c:pt>
                <c:pt idx="44370">
                  <c:v>21.056267274254029</c:v>
                </c:pt>
                <c:pt idx="44371">
                  <c:v>22.249857084584612</c:v>
                </c:pt>
                <c:pt idx="44372">
                  <c:v>51.169910375571099</c:v>
                </c:pt>
                <c:pt idx="44373">
                  <c:v>29.374495739512735</c:v>
                </c:pt>
                <c:pt idx="44374">
                  <c:v>30.064847877947358</c:v>
                </c:pt>
                <c:pt idx="44375">
                  <c:v>25.992095488093412</c:v>
                </c:pt>
                <c:pt idx="44376">
                  <c:v>28.096464993234541</c:v>
                </c:pt>
                <c:pt idx="44377">
                  <c:v>42.008687050226648</c:v>
                </c:pt>
                <c:pt idx="44378">
                  <c:v>43.450902797605266</c:v>
                </c:pt>
                <c:pt idx="44379">
                  <c:v>26.583902523362838</c:v>
                </c:pt>
                <c:pt idx="44380">
                  <c:v>30.714071522635471</c:v>
                </c:pt>
                <c:pt idx="44381">
                  <c:v>38.114600097118441</c:v>
                </c:pt>
                <c:pt idx="44382">
                  <c:v>24.908933149253247</c:v>
                </c:pt>
                <c:pt idx="44383">
                  <c:v>25.972793195977122</c:v>
                </c:pt>
                <c:pt idx="44384">
                  <c:v>24.072830284935609</c:v>
                </c:pt>
                <c:pt idx="44385">
                  <c:v>27.136325258327226</c:v>
                </c:pt>
                <c:pt idx="44386">
                  <c:v>15.697529891131564</c:v>
                </c:pt>
                <c:pt idx="44387">
                  <c:v>26.492629108945906</c:v>
                </c:pt>
                <c:pt idx="44388">
                  <c:v>50.257624381762611</c:v>
                </c:pt>
                <c:pt idx="44389">
                  <c:v>30.14027241229385</c:v>
                </c:pt>
                <c:pt idx="44390">
                  <c:v>36.069580149959151</c:v>
                </c:pt>
                <c:pt idx="44391">
                  <c:v>47.236487390173274</c:v>
                </c:pt>
                <c:pt idx="44392">
                  <c:v>31.59820327807811</c:v>
                </c:pt>
                <c:pt idx="44393">
                  <c:v>25.726695179907431</c:v>
                </c:pt>
                <c:pt idx="44394">
                  <c:v>35.843065143848413</c:v>
                </c:pt>
                <c:pt idx="44395">
                  <c:v>29.119195902299488</c:v>
                </c:pt>
                <c:pt idx="44396">
                  <c:v>30.75432570479386</c:v>
                </c:pt>
                <c:pt idx="44397">
                  <c:v>42.314671985842985</c:v>
                </c:pt>
                <c:pt idx="44398">
                  <c:v>40.962242371877714</c:v>
                </c:pt>
                <c:pt idx="44399">
                  <c:v>60.073944958079863</c:v>
                </c:pt>
                <c:pt idx="44400">
                  <c:v>28.282465157633858</c:v>
                </c:pt>
                <c:pt idx="44401">
                  <c:v>22.533415924423402</c:v>
                </c:pt>
                <c:pt idx="44402">
                  <c:v>32.222789974564527</c:v>
                </c:pt>
                <c:pt idx="44403">
                  <c:v>35.810044995707244</c:v>
                </c:pt>
                <c:pt idx="44404">
                  <c:v>26.757646960343951</c:v>
                </c:pt>
                <c:pt idx="44405">
                  <c:v>45.912968246531989</c:v>
                </c:pt>
                <c:pt idx="44406">
                  <c:v>36.863941825744149</c:v>
                </c:pt>
                <c:pt idx="44407">
                  <c:v>27.837247654180647</c:v>
                </c:pt>
                <c:pt idx="44408">
                  <c:v>57.659101803226022</c:v>
                </c:pt>
                <c:pt idx="44409">
                  <c:v>28.612466616922944</c:v>
                </c:pt>
                <c:pt idx="44410">
                  <c:v>28.153221214950072</c:v>
                </c:pt>
                <c:pt idx="44411">
                  <c:v>37.432293622694054</c:v>
                </c:pt>
                <c:pt idx="44412">
                  <c:v>25.491530604248137</c:v>
                </c:pt>
                <c:pt idx="44413">
                  <c:v>33.399581964620943</c:v>
                </c:pt>
                <c:pt idx="44414">
                  <c:v>23.076103641306347</c:v>
                </c:pt>
                <c:pt idx="44415">
                  <c:v>45.599040301850337</c:v>
                </c:pt>
                <c:pt idx="44416">
                  <c:v>25.970999218782424</c:v>
                </c:pt>
                <c:pt idx="44417">
                  <c:v>42.378687083646618</c:v>
                </c:pt>
                <c:pt idx="44418">
                  <c:v>33.729427761039076</c:v>
                </c:pt>
                <c:pt idx="44419">
                  <c:v>20.780702193121392</c:v>
                </c:pt>
                <c:pt idx="44420">
                  <c:v>19.010647514947916</c:v>
                </c:pt>
                <c:pt idx="44421">
                  <c:v>28.695758228163715</c:v>
                </c:pt>
                <c:pt idx="44422">
                  <c:v>35.990955972940043</c:v>
                </c:pt>
                <c:pt idx="44423">
                  <c:v>26.353174140412975</c:v>
                </c:pt>
                <c:pt idx="44424">
                  <c:v>19.928481441536356</c:v>
                </c:pt>
                <c:pt idx="44425">
                  <c:v>24.790099563738103</c:v>
                </c:pt>
                <c:pt idx="44426">
                  <c:v>43.930211524979349</c:v>
                </c:pt>
                <c:pt idx="44427">
                  <c:v>44.105395316253727</c:v>
                </c:pt>
                <c:pt idx="44428">
                  <c:v>28.360058491827278</c:v>
                </c:pt>
                <c:pt idx="44429">
                  <c:v>25.699322328433425</c:v>
                </c:pt>
                <c:pt idx="44430">
                  <c:v>27.884558997688387</c:v>
                </c:pt>
                <c:pt idx="44431">
                  <c:v>17.314584680572064</c:v>
                </c:pt>
                <c:pt idx="44432">
                  <c:v>26.534847611689155</c:v>
                </c:pt>
                <c:pt idx="44433">
                  <c:v>30.712829061278057</c:v>
                </c:pt>
                <c:pt idx="44434">
                  <c:v>45.892479907425454</c:v>
                </c:pt>
                <c:pt idx="44435">
                  <c:v>29.264184388092787</c:v>
                </c:pt>
                <c:pt idx="44436">
                  <c:v>51.722240193421435</c:v>
                </c:pt>
                <c:pt idx="44437">
                  <c:v>32.10113344264586</c:v>
                </c:pt>
                <c:pt idx="44438">
                  <c:v>25.031201590167655</c:v>
                </c:pt>
                <c:pt idx="44439">
                  <c:v>33.420635129399557</c:v>
                </c:pt>
                <c:pt idx="44440">
                  <c:v>49.070956303755288</c:v>
                </c:pt>
                <c:pt idx="44441">
                  <c:v>29.366555457364484</c:v>
                </c:pt>
                <c:pt idx="44442">
                  <c:v>29.659365594562342</c:v>
                </c:pt>
                <c:pt idx="44443">
                  <c:v>20.050658932234949</c:v>
                </c:pt>
                <c:pt idx="44444">
                  <c:v>23.147700803272414</c:v>
                </c:pt>
                <c:pt idx="44445">
                  <c:v>27.489956814841936</c:v>
                </c:pt>
                <c:pt idx="44446">
                  <c:v>27.28475511617853</c:v>
                </c:pt>
                <c:pt idx="44447">
                  <c:v>29.434397413179216</c:v>
                </c:pt>
                <c:pt idx="44448">
                  <c:v>53.811544396164301</c:v>
                </c:pt>
                <c:pt idx="44449">
                  <c:v>44.016235902199668</c:v>
                </c:pt>
                <c:pt idx="44450">
                  <c:v>37.900463887690314</c:v>
                </c:pt>
                <c:pt idx="44451">
                  <c:v>18.66977857002103</c:v>
                </c:pt>
                <c:pt idx="44452">
                  <c:v>41.199038461808541</c:v>
                </c:pt>
                <c:pt idx="44453">
                  <c:v>23.942264017623312</c:v>
                </c:pt>
                <c:pt idx="44454">
                  <c:v>27.632845037598241</c:v>
                </c:pt>
                <c:pt idx="44455">
                  <c:v>29.983837375854353</c:v>
                </c:pt>
                <c:pt idx="44456">
                  <c:v>25.80889419037031</c:v>
                </c:pt>
                <c:pt idx="44457">
                  <c:v>27.516803601994518</c:v>
                </c:pt>
                <c:pt idx="44458">
                  <c:v>42.770384434857085</c:v>
                </c:pt>
                <c:pt idx="44459">
                  <c:v>47.866327366824393</c:v>
                </c:pt>
                <c:pt idx="44460">
                  <c:v>24.130274096315713</c:v>
                </c:pt>
                <c:pt idx="44461">
                  <c:v>45.550354987714755</c:v>
                </c:pt>
                <c:pt idx="44462">
                  <c:v>39.428526329877542</c:v>
                </c:pt>
                <c:pt idx="44463">
                  <c:v>25.519240488528201</c:v>
                </c:pt>
                <c:pt idx="44464">
                  <c:v>53.521138611875756</c:v>
                </c:pt>
                <c:pt idx="44465">
                  <c:v>25.179984893935167</c:v>
                </c:pt>
                <c:pt idx="44466">
                  <c:v>36.855606342477344</c:v>
                </c:pt>
                <c:pt idx="44467">
                  <c:v>22.155584439465727</c:v>
                </c:pt>
                <c:pt idx="44468">
                  <c:v>29.144955418076258</c:v>
                </c:pt>
                <c:pt idx="44469">
                  <c:v>36.682619507518304</c:v>
                </c:pt>
                <c:pt idx="44470">
                  <c:v>22.231068845824751</c:v>
                </c:pt>
                <c:pt idx="44471">
                  <c:v>27.434896368944557</c:v>
                </c:pt>
                <c:pt idx="44472">
                  <c:v>22.907151930963963</c:v>
                </c:pt>
                <c:pt idx="44473">
                  <c:v>25.805251525159083</c:v>
                </c:pt>
                <c:pt idx="44474">
                  <c:v>28.446636120787918</c:v>
                </c:pt>
                <c:pt idx="44475">
                  <c:v>39.079261485032873</c:v>
                </c:pt>
                <c:pt idx="44476">
                  <c:v>29.390298329368271</c:v>
                </c:pt>
                <c:pt idx="44477">
                  <c:v>30.0076884540813</c:v>
                </c:pt>
                <c:pt idx="44478">
                  <c:v>18.87305859053042</c:v>
                </c:pt>
                <c:pt idx="44479">
                  <c:v>30.445339971913434</c:v>
                </c:pt>
                <c:pt idx="44480">
                  <c:v>41.666151842676065</c:v>
                </c:pt>
                <c:pt idx="44481">
                  <c:v>67.038524983007733</c:v>
                </c:pt>
                <c:pt idx="44482">
                  <c:v>26.097398123059509</c:v>
                </c:pt>
                <c:pt idx="44483">
                  <c:v>23.646743707714887</c:v>
                </c:pt>
                <c:pt idx="44484">
                  <c:v>24.972941594598542</c:v>
                </c:pt>
                <c:pt idx="44485">
                  <c:v>29.522090041186427</c:v>
                </c:pt>
                <c:pt idx="44486">
                  <c:v>30.185174302296662</c:v>
                </c:pt>
                <c:pt idx="44487">
                  <c:v>26.050372927023098</c:v>
                </c:pt>
                <c:pt idx="44488">
                  <c:v>26.47677978505574</c:v>
                </c:pt>
                <c:pt idx="44489">
                  <c:v>47.3268851262523</c:v>
                </c:pt>
                <c:pt idx="44490">
                  <c:v>27.701364176220437</c:v>
                </c:pt>
                <c:pt idx="44491">
                  <c:v>18.968773418691256</c:v>
                </c:pt>
                <c:pt idx="44492">
                  <c:v>25.310527915838819</c:v>
                </c:pt>
                <c:pt idx="44493">
                  <c:v>31.667866048980095</c:v>
                </c:pt>
                <c:pt idx="44494">
                  <c:v>30.222912598351435</c:v>
                </c:pt>
                <c:pt idx="44495">
                  <c:v>32.903905559438677</c:v>
                </c:pt>
                <c:pt idx="44496">
                  <c:v>30.164914407273603</c:v>
                </c:pt>
                <c:pt idx="44497">
                  <c:v>29.153641753223958</c:v>
                </c:pt>
                <c:pt idx="44498">
                  <c:v>21.763746831179883</c:v>
                </c:pt>
                <c:pt idx="44499">
                  <c:v>63.505756922765457</c:v>
                </c:pt>
                <c:pt idx="44500">
                  <c:v>29.867460913154854</c:v>
                </c:pt>
                <c:pt idx="44501">
                  <c:v>27.087191503579469</c:v>
                </c:pt>
                <c:pt idx="44502">
                  <c:v>31.902327522471083</c:v>
                </c:pt>
                <c:pt idx="44503">
                  <c:v>43.615303329438177</c:v>
                </c:pt>
                <c:pt idx="44504">
                  <c:v>23.350873957807416</c:v>
                </c:pt>
                <c:pt idx="44505">
                  <c:v>32.365278101625464</c:v>
                </c:pt>
                <c:pt idx="44506">
                  <c:v>26.238501525547743</c:v>
                </c:pt>
                <c:pt idx="44507">
                  <c:v>24.888327237293382</c:v>
                </c:pt>
                <c:pt idx="44508">
                  <c:v>26.983052156723755</c:v>
                </c:pt>
                <c:pt idx="44509">
                  <c:v>30.652891831549645</c:v>
                </c:pt>
                <c:pt idx="44510">
                  <c:v>23.252541312936003</c:v>
                </c:pt>
                <c:pt idx="44511">
                  <c:v>59.089186076587509</c:v>
                </c:pt>
                <c:pt idx="44512">
                  <c:v>42.831711569790691</c:v>
                </c:pt>
                <c:pt idx="44513">
                  <c:v>41.202634024941432</c:v>
                </c:pt>
                <c:pt idx="44514">
                  <c:v>37.41811234278692</c:v>
                </c:pt>
                <c:pt idx="44515">
                  <c:v>29.689205518094859</c:v>
                </c:pt>
                <c:pt idx="44516">
                  <c:v>42.801969356161095</c:v>
                </c:pt>
                <c:pt idx="44517">
                  <c:v>52.080353969675777</c:v>
                </c:pt>
                <c:pt idx="44518">
                  <c:v>28.11187132344762</c:v>
                </c:pt>
                <c:pt idx="44519">
                  <c:v>27.403598337302306</c:v>
                </c:pt>
                <c:pt idx="44520">
                  <c:v>22.69037357738782</c:v>
                </c:pt>
                <c:pt idx="44521">
                  <c:v>26.639762322355281</c:v>
                </c:pt>
                <c:pt idx="44522">
                  <c:v>30.57751524560237</c:v>
                </c:pt>
                <c:pt idx="44523">
                  <c:v>37.832958923948809</c:v>
                </c:pt>
                <c:pt idx="44524">
                  <c:v>44.718156955390157</c:v>
                </c:pt>
                <c:pt idx="44525">
                  <c:v>32.668385300097263</c:v>
                </c:pt>
                <c:pt idx="44526">
                  <c:v>25.105058445607312</c:v>
                </c:pt>
                <c:pt idx="44527">
                  <c:v>24.917644554550829</c:v>
                </c:pt>
                <c:pt idx="44528">
                  <c:v>29.990513751753468</c:v>
                </c:pt>
                <c:pt idx="44529">
                  <c:v>50.125814030762015</c:v>
                </c:pt>
                <c:pt idx="44530">
                  <c:v>26.593019772090738</c:v>
                </c:pt>
                <c:pt idx="44531">
                  <c:v>45.323130389955637</c:v>
                </c:pt>
                <c:pt idx="44532">
                  <c:v>24.096925530321737</c:v>
                </c:pt>
                <c:pt idx="44533">
                  <c:v>24.687662032755554</c:v>
                </c:pt>
                <c:pt idx="44534">
                  <c:v>26.795214580595562</c:v>
                </c:pt>
                <c:pt idx="44535">
                  <c:v>22.160085674826753</c:v>
                </c:pt>
                <c:pt idx="44536">
                  <c:v>31.460392095200529</c:v>
                </c:pt>
                <c:pt idx="44537">
                  <c:v>36.927055070240243</c:v>
                </c:pt>
                <c:pt idx="44538">
                  <c:v>23.992316126969076</c:v>
                </c:pt>
                <c:pt idx="44539">
                  <c:v>24.468414275279883</c:v>
                </c:pt>
                <c:pt idx="44540">
                  <c:v>26.235677322956985</c:v>
                </c:pt>
                <c:pt idx="44541">
                  <c:v>54.338195558950936</c:v>
                </c:pt>
                <c:pt idx="44542">
                  <c:v>20.698046850362495</c:v>
                </c:pt>
                <c:pt idx="44543">
                  <c:v>24.230381213130173</c:v>
                </c:pt>
                <c:pt idx="44544">
                  <c:v>38.316944261392976</c:v>
                </c:pt>
                <c:pt idx="44545">
                  <c:v>21.002435539873943</c:v>
                </c:pt>
                <c:pt idx="44546">
                  <c:v>25.859907914957141</c:v>
                </c:pt>
                <c:pt idx="44547">
                  <c:v>28.80982408792601</c:v>
                </c:pt>
                <c:pt idx="44548">
                  <c:v>32.736387657043153</c:v>
                </c:pt>
                <c:pt idx="44549">
                  <c:v>29.866950954029846</c:v>
                </c:pt>
                <c:pt idx="44550">
                  <c:v>47.412977984635624</c:v>
                </c:pt>
                <c:pt idx="44551">
                  <c:v>19.670502914683603</c:v>
                </c:pt>
                <c:pt idx="44552">
                  <c:v>28.265101914684639</c:v>
                </c:pt>
                <c:pt idx="44553">
                  <c:v>17.734004204969715</c:v>
                </c:pt>
                <c:pt idx="44554">
                  <c:v>31.854730199494945</c:v>
                </c:pt>
                <c:pt idx="44555">
                  <c:v>42.415014426199434</c:v>
                </c:pt>
                <c:pt idx="44556">
                  <c:v>33.802311844909887</c:v>
                </c:pt>
                <c:pt idx="44557">
                  <c:v>41.474585264529054</c:v>
                </c:pt>
                <c:pt idx="44558">
                  <c:v>30.521876101738425</c:v>
                </c:pt>
                <c:pt idx="44559">
                  <c:v>18.541202389709554</c:v>
                </c:pt>
                <c:pt idx="44560">
                  <c:v>25.385908062859777</c:v>
                </c:pt>
                <c:pt idx="44561">
                  <c:v>22.188224612099482</c:v>
                </c:pt>
                <c:pt idx="44562">
                  <c:v>33.486033035518275</c:v>
                </c:pt>
                <c:pt idx="44563">
                  <c:v>24.140213664783516</c:v>
                </c:pt>
                <c:pt idx="44564">
                  <c:v>41.345396174345993</c:v>
                </c:pt>
                <c:pt idx="44565">
                  <c:v>25.99275117005547</c:v>
                </c:pt>
                <c:pt idx="44566">
                  <c:v>29.292691306718737</c:v>
                </c:pt>
                <c:pt idx="44567">
                  <c:v>25.405722412293859</c:v>
                </c:pt>
                <c:pt idx="44568">
                  <c:v>26.825713977790233</c:v>
                </c:pt>
                <c:pt idx="44569">
                  <c:v>21.957516517483867</c:v>
                </c:pt>
                <c:pt idx="44570">
                  <c:v>20.367043643073195</c:v>
                </c:pt>
                <c:pt idx="44571">
                  <c:v>34.24366813339747</c:v>
                </c:pt>
                <c:pt idx="44572">
                  <c:v>23.087550699805657</c:v>
                </c:pt>
                <c:pt idx="44573">
                  <c:v>23.093551044631788</c:v>
                </c:pt>
                <c:pt idx="44574">
                  <c:v>25.215449961784394</c:v>
                </c:pt>
                <c:pt idx="44575">
                  <c:v>34.103609038370401</c:v>
                </c:pt>
                <c:pt idx="44576">
                  <c:v>44.59437950505707</c:v>
                </c:pt>
                <c:pt idx="44577">
                  <c:v>18.244793068959552</c:v>
                </c:pt>
                <c:pt idx="44578">
                  <c:v>32.745843348683444</c:v>
                </c:pt>
                <c:pt idx="44579">
                  <c:v>35.05648631608414</c:v>
                </c:pt>
                <c:pt idx="44580">
                  <c:v>25.985858066494743</c:v>
                </c:pt>
                <c:pt idx="44581">
                  <c:v>22.4073680531876</c:v>
                </c:pt>
                <c:pt idx="44582">
                  <c:v>42.19233029055237</c:v>
                </c:pt>
                <c:pt idx="44583">
                  <c:v>31.063330616298668</c:v>
                </c:pt>
                <c:pt idx="44584">
                  <c:v>31.413434439156731</c:v>
                </c:pt>
                <c:pt idx="44585">
                  <c:v>27.217705197990671</c:v>
                </c:pt>
                <c:pt idx="44586">
                  <c:v>17.89191457125337</c:v>
                </c:pt>
                <c:pt idx="44587">
                  <c:v>18.670125535104283</c:v>
                </c:pt>
                <c:pt idx="44588">
                  <c:v>33.788266420752663</c:v>
                </c:pt>
                <c:pt idx="44589">
                  <c:v>22.969871505414112</c:v>
                </c:pt>
                <c:pt idx="44590">
                  <c:v>38.339209227199134</c:v>
                </c:pt>
                <c:pt idx="44591">
                  <c:v>27.816104596071611</c:v>
                </c:pt>
                <c:pt idx="44592">
                  <c:v>22.1918421706849</c:v>
                </c:pt>
                <c:pt idx="44593">
                  <c:v>52.561091758390091</c:v>
                </c:pt>
                <c:pt idx="44594">
                  <c:v>29.048842563851913</c:v>
                </c:pt>
                <c:pt idx="44595">
                  <c:v>30.657626074611152</c:v>
                </c:pt>
                <c:pt idx="44596">
                  <c:v>55.012669520166085</c:v>
                </c:pt>
                <c:pt idx="44597">
                  <c:v>36.486644550192871</c:v>
                </c:pt>
                <c:pt idx="44598">
                  <c:v>29.348193500122264</c:v>
                </c:pt>
                <c:pt idx="44599">
                  <c:v>25.307448475609085</c:v>
                </c:pt>
                <c:pt idx="44600">
                  <c:v>31.494785426332143</c:v>
                </c:pt>
                <c:pt idx="44601">
                  <c:v>43.148761307681831</c:v>
                </c:pt>
                <c:pt idx="44602">
                  <c:v>26.933488340394621</c:v>
                </c:pt>
                <c:pt idx="44603">
                  <c:v>32.71891035697184</c:v>
                </c:pt>
                <c:pt idx="44604">
                  <c:v>26.975081109066249</c:v>
                </c:pt>
                <c:pt idx="44605">
                  <c:v>57.103185024901741</c:v>
                </c:pt>
                <c:pt idx="44606">
                  <c:v>47.121295763909316</c:v>
                </c:pt>
                <c:pt idx="44607">
                  <c:v>27.126374422826672</c:v>
                </c:pt>
                <c:pt idx="44608">
                  <c:v>32.079782221594044</c:v>
                </c:pt>
                <c:pt idx="44609">
                  <c:v>40.451689940855537</c:v>
                </c:pt>
                <c:pt idx="44610">
                  <c:v>20.978831207281196</c:v>
                </c:pt>
                <c:pt idx="44611">
                  <c:v>27.279555207668594</c:v>
                </c:pt>
                <c:pt idx="44612">
                  <c:v>35.622659419506185</c:v>
                </c:pt>
                <c:pt idx="44613">
                  <c:v>46.786174465546893</c:v>
                </c:pt>
                <c:pt idx="44614">
                  <c:v>37.823144105168879</c:v>
                </c:pt>
                <c:pt idx="44615">
                  <c:v>28.439307989099017</c:v>
                </c:pt>
                <c:pt idx="44616">
                  <c:v>24.865382406757924</c:v>
                </c:pt>
                <c:pt idx="44617">
                  <c:v>24.676205888556233</c:v>
                </c:pt>
                <c:pt idx="44618">
                  <c:v>27.280921853738086</c:v>
                </c:pt>
                <c:pt idx="44619">
                  <c:v>20.759940973409808</c:v>
                </c:pt>
                <c:pt idx="44620">
                  <c:v>31.273451259973569</c:v>
                </c:pt>
                <c:pt idx="44621">
                  <c:v>21.684717112428807</c:v>
                </c:pt>
                <c:pt idx="44622">
                  <c:v>22.94416350174836</c:v>
                </c:pt>
                <c:pt idx="44623">
                  <c:v>21.360212864608137</c:v>
                </c:pt>
                <c:pt idx="44624">
                  <c:v>26.105917197754792</c:v>
                </c:pt>
                <c:pt idx="44625">
                  <c:v>26.339237598908753</c:v>
                </c:pt>
                <c:pt idx="44626">
                  <c:v>25.17261847396459</c:v>
                </c:pt>
                <c:pt idx="44627">
                  <c:v>17.88842384100241</c:v>
                </c:pt>
                <c:pt idx="44628">
                  <c:v>28.24059223538902</c:v>
                </c:pt>
                <c:pt idx="44629">
                  <c:v>46.277383899525645</c:v>
                </c:pt>
                <c:pt idx="44630">
                  <c:v>22.89016634521019</c:v>
                </c:pt>
                <c:pt idx="44631">
                  <c:v>55.281878335591223</c:v>
                </c:pt>
                <c:pt idx="44632">
                  <c:v>24.346085877039314</c:v>
                </c:pt>
                <c:pt idx="44633">
                  <c:v>31.429422257663468</c:v>
                </c:pt>
                <c:pt idx="44634">
                  <c:v>29.941733847404723</c:v>
                </c:pt>
                <c:pt idx="44635">
                  <c:v>24.558721904165861</c:v>
                </c:pt>
                <c:pt idx="44636">
                  <c:v>26.56996791233648</c:v>
                </c:pt>
                <c:pt idx="44637">
                  <c:v>47.678879862139475</c:v>
                </c:pt>
                <c:pt idx="44638">
                  <c:v>26.889468573326376</c:v>
                </c:pt>
                <c:pt idx="44639">
                  <c:v>17.848399894710091</c:v>
                </c:pt>
                <c:pt idx="44640">
                  <c:v>24.537688758427695</c:v>
                </c:pt>
                <c:pt idx="44641">
                  <c:v>29.2631987721158</c:v>
                </c:pt>
                <c:pt idx="44642">
                  <c:v>52.774681938046903</c:v>
                </c:pt>
                <c:pt idx="44643">
                  <c:v>21.044763195718588</c:v>
                </c:pt>
                <c:pt idx="44644">
                  <c:v>29.988369346659013</c:v>
                </c:pt>
                <c:pt idx="44645">
                  <c:v>46.290882106025684</c:v>
                </c:pt>
                <c:pt idx="44646">
                  <c:v>23.751888683581061</c:v>
                </c:pt>
                <c:pt idx="44647">
                  <c:v>40.73674611122987</c:v>
                </c:pt>
                <c:pt idx="44648">
                  <c:v>27.647849335674611</c:v>
                </c:pt>
                <c:pt idx="44649">
                  <c:v>22.696942104974621</c:v>
                </c:pt>
                <c:pt idx="44650">
                  <c:v>27.381824826880827</c:v>
                </c:pt>
                <c:pt idx="44651">
                  <c:v>18.74542593192324</c:v>
                </c:pt>
                <c:pt idx="44652">
                  <c:v>21.826304996986813</c:v>
                </c:pt>
                <c:pt idx="44653">
                  <c:v>37.524960564796203</c:v>
                </c:pt>
                <c:pt idx="44654">
                  <c:v>21.774514760559427</c:v>
                </c:pt>
                <c:pt idx="44655">
                  <c:v>32.742104128563682</c:v>
                </c:pt>
                <c:pt idx="44656">
                  <c:v>63.771047072336685</c:v>
                </c:pt>
                <c:pt idx="44657">
                  <c:v>30.323714735325808</c:v>
                </c:pt>
                <c:pt idx="44658">
                  <c:v>29.120944585992497</c:v>
                </c:pt>
                <c:pt idx="44659">
                  <c:v>25.592862194008028</c:v>
                </c:pt>
                <c:pt idx="44660">
                  <c:v>34.787757094120529</c:v>
                </c:pt>
                <c:pt idx="44661">
                  <c:v>25.6095790869621</c:v>
                </c:pt>
                <c:pt idx="44662">
                  <c:v>19.463833130387886</c:v>
                </c:pt>
                <c:pt idx="44663">
                  <c:v>25.981204993267283</c:v>
                </c:pt>
                <c:pt idx="44664">
                  <c:v>20.99032199780552</c:v>
                </c:pt>
                <c:pt idx="44665">
                  <c:v>44.857682038692694</c:v>
                </c:pt>
                <c:pt idx="44666">
                  <c:v>29.234318572966558</c:v>
                </c:pt>
                <c:pt idx="44667">
                  <c:v>22.411088016700695</c:v>
                </c:pt>
                <c:pt idx="44668">
                  <c:v>23.325811375495594</c:v>
                </c:pt>
                <c:pt idx="44669">
                  <c:v>27.450664061979236</c:v>
                </c:pt>
                <c:pt idx="44670">
                  <c:v>19.19286029772298</c:v>
                </c:pt>
                <c:pt idx="44671">
                  <c:v>58.148868615126069</c:v>
                </c:pt>
                <c:pt idx="44672">
                  <c:v>24.329795766392948</c:v>
                </c:pt>
                <c:pt idx="44673">
                  <c:v>38.873854868866729</c:v>
                </c:pt>
                <c:pt idx="44674">
                  <c:v>32.629081893473256</c:v>
                </c:pt>
                <c:pt idx="44675">
                  <c:v>19.319940305416793</c:v>
                </c:pt>
                <c:pt idx="44676">
                  <c:v>47.084667215866673</c:v>
                </c:pt>
                <c:pt idx="44677">
                  <c:v>24.572132457893876</c:v>
                </c:pt>
                <c:pt idx="44678">
                  <c:v>34.693995774461527</c:v>
                </c:pt>
                <c:pt idx="44679">
                  <c:v>32.734271033922383</c:v>
                </c:pt>
                <c:pt idx="44680">
                  <c:v>30.3650267826816</c:v>
                </c:pt>
                <c:pt idx="44681">
                  <c:v>25.404811162917497</c:v>
                </c:pt>
                <c:pt idx="44682">
                  <c:v>43.229069359091703</c:v>
                </c:pt>
                <c:pt idx="44683">
                  <c:v>23.432713632106868</c:v>
                </c:pt>
                <c:pt idx="44684">
                  <c:v>25.647381048308066</c:v>
                </c:pt>
                <c:pt idx="44685">
                  <c:v>49.056829687333781</c:v>
                </c:pt>
                <c:pt idx="44686">
                  <c:v>36.408215190570019</c:v>
                </c:pt>
                <c:pt idx="44687">
                  <c:v>37.994125761401015</c:v>
                </c:pt>
                <c:pt idx="44688">
                  <c:v>28.006349903329998</c:v>
                </c:pt>
                <c:pt idx="44689">
                  <c:v>23.41034864414458</c:v>
                </c:pt>
                <c:pt idx="44690">
                  <c:v>30.036240298717352</c:v>
                </c:pt>
                <c:pt idx="44691">
                  <c:v>28.947923053755687</c:v>
                </c:pt>
                <c:pt idx="44692">
                  <c:v>26.22534634550032</c:v>
                </c:pt>
                <c:pt idx="44693">
                  <c:v>31.806082484891121</c:v>
                </c:pt>
                <c:pt idx="44694">
                  <c:v>28.210858295969935</c:v>
                </c:pt>
                <c:pt idx="44695">
                  <c:v>29.017189126567441</c:v>
                </c:pt>
                <c:pt idx="44696">
                  <c:v>47.675867933064978</c:v>
                </c:pt>
                <c:pt idx="44697">
                  <c:v>23.131858660960411</c:v>
                </c:pt>
                <c:pt idx="44698">
                  <c:v>36.344395992360859</c:v>
                </c:pt>
                <c:pt idx="44699">
                  <c:v>23.041294190183038</c:v>
                </c:pt>
                <c:pt idx="44700">
                  <c:v>24.758545193639577</c:v>
                </c:pt>
                <c:pt idx="44701">
                  <c:v>23.840416980016848</c:v>
                </c:pt>
                <c:pt idx="44702">
                  <c:v>37.737927112289938</c:v>
                </c:pt>
                <c:pt idx="44703">
                  <c:v>51.943804252789121</c:v>
                </c:pt>
                <c:pt idx="44704">
                  <c:v>23.359126653216133</c:v>
                </c:pt>
                <c:pt idx="44705">
                  <c:v>30.264581673201278</c:v>
                </c:pt>
                <c:pt idx="44706">
                  <c:v>34.544731865643371</c:v>
                </c:pt>
                <c:pt idx="44707">
                  <c:v>17.684843518139306</c:v>
                </c:pt>
                <c:pt idx="44708">
                  <c:v>42.263252211067076</c:v>
                </c:pt>
                <c:pt idx="44709">
                  <c:v>53.517697893576091</c:v>
                </c:pt>
                <c:pt idx="44710">
                  <c:v>21.58687583421009</c:v>
                </c:pt>
                <c:pt idx="44711">
                  <c:v>25.549864167118059</c:v>
                </c:pt>
                <c:pt idx="44712">
                  <c:v>23.960064893602311</c:v>
                </c:pt>
                <c:pt idx="44713">
                  <c:v>26.060879780885919</c:v>
                </c:pt>
                <c:pt idx="44714">
                  <c:v>31.709813961547592</c:v>
                </c:pt>
                <c:pt idx="44715">
                  <c:v>27.591668337293875</c:v>
                </c:pt>
                <c:pt idx="44716">
                  <c:v>19.944097970240907</c:v>
                </c:pt>
                <c:pt idx="44717">
                  <c:v>21.348143907324676</c:v>
                </c:pt>
                <c:pt idx="44718">
                  <c:v>25.443162727817331</c:v>
                </c:pt>
                <c:pt idx="44719">
                  <c:v>24.231724836780558</c:v>
                </c:pt>
                <c:pt idx="44720">
                  <c:v>26.684740043148224</c:v>
                </c:pt>
                <c:pt idx="44721">
                  <c:v>25.850446853367153</c:v>
                </c:pt>
                <c:pt idx="44722">
                  <c:v>20.604067768329788</c:v>
                </c:pt>
                <c:pt idx="44723">
                  <c:v>21.541023793630046</c:v>
                </c:pt>
                <c:pt idx="44724">
                  <c:v>37.584217277156654</c:v>
                </c:pt>
                <c:pt idx="44725">
                  <c:v>25.216493578105492</c:v>
                </c:pt>
                <c:pt idx="44726">
                  <c:v>49.693708510869612</c:v>
                </c:pt>
                <c:pt idx="44727">
                  <c:v>19.082079806952787</c:v>
                </c:pt>
                <c:pt idx="44728">
                  <c:v>24.603932671934778</c:v>
                </c:pt>
                <c:pt idx="44729">
                  <c:v>33.623233637739247</c:v>
                </c:pt>
                <c:pt idx="44730">
                  <c:v>31.277588583785263</c:v>
                </c:pt>
                <c:pt idx="44731">
                  <c:v>25.599691185144771</c:v>
                </c:pt>
                <c:pt idx="44732">
                  <c:v>19.61372512736494</c:v>
                </c:pt>
                <c:pt idx="44733">
                  <c:v>29.330113049976998</c:v>
                </c:pt>
                <c:pt idx="44734">
                  <c:v>25.209025495331328</c:v>
                </c:pt>
                <c:pt idx="44735">
                  <c:v>25.422827436920155</c:v>
                </c:pt>
                <c:pt idx="44736">
                  <c:v>44.992693837780202</c:v>
                </c:pt>
                <c:pt idx="44737">
                  <c:v>20.654380576285838</c:v>
                </c:pt>
                <c:pt idx="44738">
                  <c:v>27.157116171593927</c:v>
                </c:pt>
                <c:pt idx="44739">
                  <c:v>31.618205976803775</c:v>
                </c:pt>
                <c:pt idx="44740">
                  <c:v>17.701643549798796</c:v>
                </c:pt>
                <c:pt idx="44741">
                  <c:v>25.117023761193604</c:v>
                </c:pt>
                <c:pt idx="44742">
                  <c:v>20.933155522525741</c:v>
                </c:pt>
                <c:pt idx="44743">
                  <c:v>19.794176165073349</c:v>
                </c:pt>
                <c:pt idx="44744">
                  <c:v>23.149391910712158</c:v>
                </c:pt>
                <c:pt idx="44745">
                  <c:v>20.394531741845608</c:v>
                </c:pt>
                <c:pt idx="44746">
                  <c:v>39.274514628800219</c:v>
                </c:pt>
                <c:pt idx="44747">
                  <c:v>30.803953585239103</c:v>
                </c:pt>
                <c:pt idx="44748">
                  <c:v>28.044048422622076</c:v>
                </c:pt>
                <c:pt idx="44749">
                  <c:v>28.369931250414133</c:v>
                </c:pt>
                <c:pt idx="44750">
                  <c:v>46.265304103163878</c:v>
                </c:pt>
                <c:pt idx="44751">
                  <c:v>29.258666585398856</c:v>
                </c:pt>
                <c:pt idx="44752">
                  <c:v>22.51737981449596</c:v>
                </c:pt>
                <c:pt idx="44753">
                  <c:v>43.518480209739387</c:v>
                </c:pt>
                <c:pt idx="44754">
                  <c:v>24.639664656332332</c:v>
                </c:pt>
                <c:pt idx="44755">
                  <c:v>29.153470984375112</c:v>
                </c:pt>
                <c:pt idx="44756">
                  <c:v>40.513367214414473</c:v>
                </c:pt>
                <c:pt idx="44757">
                  <c:v>34.233585772195902</c:v>
                </c:pt>
                <c:pt idx="44758">
                  <c:v>27.233354643329065</c:v>
                </c:pt>
                <c:pt idx="44759">
                  <c:v>30.920092521594217</c:v>
                </c:pt>
                <c:pt idx="44760">
                  <c:v>54.2896397951979</c:v>
                </c:pt>
                <c:pt idx="44761">
                  <c:v>44.653256773417844</c:v>
                </c:pt>
                <c:pt idx="44762">
                  <c:v>31.13066215017518</c:v>
                </c:pt>
                <c:pt idx="44763">
                  <c:v>33.391892574056392</c:v>
                </c:pt>
                <c:pt idx="44764">
                  <c:v>29.012055840892046</c:v>
                </c:pt>
                <c:pt idx="44765">
                  <c:v>29.571457986683388</c:v>
                </c:pt>
                <c:pt idx="44766">
                  <c:v>24.542441368885296</c:v>
                </c:pt>
                <c:pt idx="44767">
                  <c:v>32.985488242981226</c:v>
                </c:pt>
                <c:pt idx="44768">
                  <c:v>23.266867509634778</c:v>
                </c:pt>
                <c:pt idx="44769">
                  <c:v>26.345192468108202</c:v>
                </c:pt>
                <c:pt idx="44770">
                  <c:v>44.752636502681774</c:v>
                </c:pt>
                <c:pt idx="44771">
                  <c:v>27.515909251409866</c:v>
                </c:pt>
                <c:pt idx="44772">
                  <c:v>27.807310527320794</c:v>
                </c:pt>
                <c:pt idx="44773">
                  <c:v>22.772713088784201</c:v>
                </c:pt>
                <c:pt idx="44774">
                  <c:v>23.295139721552221</c:v>
                </c:pt>
                <c:pt idx="44775">
                  <c:v>31.841220642444977</c:v>
                </c:pt>
                <c:pt idx="44776">
                  <c:v>32.449574014986005</c:v>
                </c:pt>
                <c:pt idx="44777">
                  <c:v>30.932730366028608</c:v>
                </c:pt>
                <c:pt idx="44778">
                  <c:v>20.865025591749284</c:v>
                </c:pt>
                <c:pt idx="44779">
                  <c:v>27.049261712384418</c:v>
                </c:pt>
                <c:pt idx="44780">
                  <c:v>30.414734739196302</c:v>
                </c:pt>
                <c:pt idx="44781">
                  <c:v>27.035619515475585</c:v>
                </c:pt>
                <c:pt idx="44782">
                  <c:v>27.07783297920998</c:v>
                </c:pt>
                <c:pt idx="44783">
                  <c:v>27.577083648590182</c:v>
                </c:pt>
                <c:pt idx="44784">
                  <c:v>27.420108469149852</c:v>
                </c:pt>
                <c:pt idx="44785">
                  <c:v>50.944577161909642</c:v>
                </c:pt>
                <c:pt idx="44786">
                  <c:v>27.814950694822123</c:v>
                </c:pt>
                <c:pt idx="44787">
                  <c:v>19.68334983874573</c:v>
                </c:pt>
                <c:pt idx="44788">
                  <c:v>43.264510874894903</c:v>
                </c:pt>
                <c:pt idx="44789">
                  <c:v>33.627978922215789</c:v>
                </c:pt>
                <c:pt idx="44790">
                  <c:v>22.867580838609133</c:v>
                </c:pt>
                <c:pt idx="44791">
                  <c:v>25.147117812760523</c:v>
                </c:pt>
                <c:pt idx="44792">
                  <c:v>25.96418860050963</c:v>
                </c:pt>
                <c:pt idx="44793">
                  <c:v>31.391010337843412</c:v>
                </c:pt>
                <c:pt idx="44794">
                  <c:v>27.47860268052662</c:v>
                </c:pt>
                <c:pt idx="44795">
                  <c:v>24.725057450396008</c:v>
                </c:pt>
                <c:pt idx="44796">
                  <c:v>24.172776142433385</c:v>
                </c:pt>
                <c:pt idx="44797">
                  <c:v>48.456914404309785</c:v>
                </c:pt>
                <c:pt idx="44798">
                  <c:v>28.191182162084818</c:v>
                </c:pt>
                <c:pt idx="44799">
                  <c:v>24.974198671087038</c:v>
                </c:pt>
                <c:pt idx="44800">
                  <c:v>28.539382784261711</c:v>
                </c:pt>
                <c:pt idx="44801">
                  <c:v>24.755990831283235</c:v>
                </c:pt>
                <c:pt idx="44802">
                  <c:v>28.235066401712249</c:v>
                </c:pt>
                <c:pt idx="44803">
                  <c:v>21.986516055159782</c:v>
                </c:pt>
                <c:pt idx="44804">
                  <c:v>43.060378998300827</c:v>
                </c:pt>
                <c:pt idx="44805">
                  <c:v>52.265936685395943</c:v>
                </c:pt>
                <c:pt idx="44806">
                  <c:v>26.507706815394627</c:v>
                </c:pt>
                <c:pt idx="44807">
                  <c:v>23.05818366070638</c:v>
                </c:pt>
                <c:pt idx="44808">
                  <c:v>33.949892931810645</c:v>
                </c:pt>
                <c:pt idx="44809">
                  <c:v>32.285977204091196</c:v>
                </c:pt>
                <c:pt idx="44810">
                  <c:v>29.159080718187763</c:v>
                </c:pt>
                <c:pt idx="44811">
                  <c:v>29.888994073795786</c:v>
                </c:pt>
                <c:pt idx="44812">
                  <c:v>42.796863793224993</c:v>
                </c:pt>
                <c:pt idx="44813">
                  <c:v>26.625705577233045</c:v>
                </c:pt>
                <c:pt idx="44814">
                  <c:v>41.19056736961074</c:v>
                </c:pt>
                <c:pt idx="44815">
                  <c:v>23.25863477255718</c:v>
                </c:pt>
                <c:pt idx="44816">
                  <c:v>38.647964423434274</c:v>
                </c:pt>
                <c:pt idx="44817">
                  <c:v>50.719466509780531</c:v>
                </c:pt>
                <c:pt idx="44818">
                  <c:v>38.397312365651175</c:v>
                </c:pt>
                <c:pt idx="44819">
                  <c:v>25.020407358285663</c:v>
                </c:pt>
                <c:pt idx="44820">
                  <c:v>44.499693018930053</c:v>
                </c:pt>
                <c:pt idx="44821">
                  <c:v>27.637528549976835</c:v>
                </c:pt>
                <c:pt idx="44822">
                  <c:v>27.222480548163858</c:v>
                </c:pt>
                <c:pt idx="44823">
                  <c:v>20.552134700101821</c:v>
                </c:pt>
                <c:pt idx="44824">
                  <c:v>24.002673700794041</c:v>
                </c:pt>
                <c:pt idx="44825">
                  <c:v>25.756963871849109</c:v>
                </c:pt>
                <c:pt idx="44826">
                  <c:v>19.096189115347041</c:v>
                </c:pt>
                <c:pt idx="44827">
                  <c:v>22.726314038710441</c:v>
                </c:pt>
                <c:pt idx="44828">
                  <c:v>44.704325933504101</c:v>
                </c:pt>
                <c:pt idx="44829">
                  <c:v>34.566626566371703</c:v>
                </c:pt>
                <c:pt idx="44830">
                  <c:v>25.830208111387133</c:v>
                </c:pt>
                <c:pt idx="44831">
                  <c:v>35.521923988471308</c:v>
                </c:pt>
                <c:pt idx="44832">
                  <c:v>28.043747299009915</c:v>
                </c:pt>
                <c:pt idx="44833">
                  <c:v>21.821066744236674</c:v>
                </c:pt>
                <c:pt idx="44834">
                  <c:v>29.588547057444142</c:v>
                </c:pt>
                <c:pt idx="44835">
                  <c:v>22.012683430923218</c:v>
                </c:pt>
                <c:pt idx="44836">
                  <c:v>29.51464262439529</c:v>
                </c:pt>
                <c:pt idx="44837">
                  <c:v>19.153291742013849</c:v>
                </c:pt>
                <c:pt idx="44838">
                  <c:v>29.022604161860606</c:v>
                </c:pt>
                <c:pt idx="44839">
                  <c:v>55.805158398349135</c:v>
                </c:pt>
                <c:pt idx="44840">
                  <c:v>24.852331056903196</c:v>
                </c:pt>
                <c:pt idx="44841">
                  <c:v>31.06252469532474</c:v>
                </c:pt>
                <c:pt idx="44842">
                  <c:v>39.225854766792722</c:v>
                </c:pt>
                <c:pt idx="44843">
                  <c:v>29.939110292348929</c:v>
                </c:pt>
                <c:pt idx="44844">
                  <c:v>24.293460298996123</c:v>
                </c:pt>
                <c:pt idx="44845">
                  <c:v>30.8168282476156</c:v>
                </c:pt>
                <c:pt idx="44846">
                  <c:v>45.539228850897977</c:v>
                </c:pt>
                <c:pt idx="44847">
                  <c:v>41.186991858541006</c:v>
                </c:pt>
                <c:pt idx="44848">
                  <c:v>50.521479295392609</c:v>
                </c:pt>
                <c:pt idx="44849">
                  <c:v>27.311844958000389</c:v>
                </c:pt>
                <c:pt idx="44850">
                  <c:v>40.714623053938119</c:v>
                </c:pt>
                <c:pt idx="44851">
                  <c:v>21.336502060553215</c:v>
                </c:pt>
                <c:pt idx="44852">
                  <c:v>24.205372086085749</c:v>
                </c:pt>
                <c:pt idx="44853">
                  <c:v>25.523962521287508</c:v>
                </c:pt>
                <c:pt idx="44854">
                  <c:v>45.412830664397262</c:v>
                </c:pt>
                <c:pt idx="44855">
                  <c:v>31.022036359041032</c:v>
                </c:pt>
                <c:pt idx="44856">
                  <c:v>33.053972314400092</c:v>
                </c:pt>
                <c:pt idx="44857">
                  <c:v>18.921742539688047</c:v>
                </c:pt>
                <c:pt idx="44858">
                  <c:v>23.361841475359611</c:v>
                </c:pt>
                <c:pt idx="44859">
                  <c:v>24.222363795618527</c:v>
                </c:pt>
                <c:pt idx="44860">
                  <c:v>21.340647758392485</c:v>
                </c:pt>
                <c:pt idx="44861">
                  <c:v>38.234224225914694</c:v>
                </c:pt>
                <c:pt idx="44862">
                  <c:v>28.738876704064737</c:v>
                </c:pt>
                <c:pt idx="44863">
                  <c:v>25.814415183057413</c:v>
                </c:pt>
                <c:pt idx="44864">
                  <c:v>47.071307923079587</c:v>
                </c:pt>
                <c:pt idx="44865">
                  <c:v>31.473398721216597</c:v>
                </c:pt>
                <c:pt idx="44866">
                  <c:v>25.200681997039503</c:v>
                </c:pt>
                <c:pt idx="44867">
                  <c:v>27.285970405316188</c:v>
                </c:pt>
                <c:pt idx="44868">
                  <c:v>46.311356373988033</c:v>
                </c:pt>
                <c:pt idx="44869">
                  <c:v>24.349952636181406</c:v>
                </c:pt>
                <c:pt idx="44870">
                  <c:v>15.336000439045399</c:v>
                </c:pt>
                <c:pt idx="44871">
                  <c:v>20.356611224440236</c:v>
                </c:pt>
                <c:pt idx="44872">
                  <c:v>46.833462579619457</c:v>
                </c:pt>
                <c:pt idx="44873">
                  <c:v>24.4283254791684</c:v>
                </c:pt>
                <c:pt idx="44874">
                  <c:v>58.498357857151525</c:v>
                </c:pt>
                <c:pt idx="44875">
                  <c:v>24.675824687247456</c:v>
                </c:pt>
                <c:pt idx="44876">
                  <c:v>37.241147664506926</c:v>
                </c:pt>
                <c:pt idx="44877">
                  <c:v>40.515047365171235</c:v>
                </c:pt>
                <c:pt idx="44878">
                  <c:v>30.512656197664516</c:v>
                </c:pt>
                <c:pt idx="44879">
                  <c:v>30.101664718077469</c:v>
                </c:pt>
                <c:pt idx="44880">
                  <c:v>40.638166845136851</c:v>
                </c:pt>
                <c:pt idx="44881">
                  <c:v>23.946844913868134</c:v>
                </c:pt>
                <c:pt idx="44882">
                  <c:v>20.208902471561029</c:v>
                </c:pt>
                <c:pt idx="44883">
                  <c:v>30.237832040236423</c:v>
                </c:pt>
                <c:pt idx="44884">
                  <c:v>41.051014368521663</c:v>
                </c:pt>
                <c:pt idx="44885">
                  <c:v>49.380098109082141</c:v>
                </c:pt>
                <c:pt idx="44886">
                  <c:v>33.656679189673611</c:v>
                </c:pt>
                <c:pt idx="44887">
                  <c:v>36.272372509049312</c:v>
                </c:pt>
                <c:pt idx="44888">
                  <c:v>52.360195004139989</c:v>
                </c:pt>
                <c:pt idx="44889">
                  <c:v>48.651806995634217</c:v>
                </c:pt>
                <c:pt idx="44890">
                  <c:v>25.429053839334369</c:v>
                </c:pt>
                <c:pt idx="44891">
                  <c:v>28.819059738132342</c:v>
                </c:pt>
                <c:pt idx="44892">
                  <c:v>25.269924749073105</c:v>
                </c:pt>
                <c:pt idx="44893">
                  <c:v>28.994185728701602</c:v>
                </c:pt>
                <c:pt idx="44894">
                  <c:v>26.495477843302531</c:v>
                </c:pt>
                <c:pt idx="44895">
                  <c:v>23.491328458167125</c:v>
                </c:pt>
                <c:pt idx="44896">
                  <c:v>24.973469676700272</c:v>
                </c:pt>
                <c:pt idx="44897">
                  <c:v>37.912823765652377</c:v>
                </c:pt>
                <c:pt idx="44898">
                  <c:v>22.343694864970502</c:v>
                </c:pt>
                <c:pt idx="44899">
                  <c:v>45.605534361230156</c:v>
                </c:pt>
                <c:pt idx="44900">
                  <c:v>32.632395579553254</c:v>
                </c:pt>
                <c:pt idx="44901">
                  <c:v>22.456381742095765</c:v>
                </c:pt>
                <c:pt idx="44902">
                  <c:v>29.761186398011517</c:v>
                </c:pt>
                <c:pt idx="44903">
                  <c:v>23.40208993237373</c:v>
                </c:pt>
                <c:pt idx="44904">
                  <c:v>28.89774098528515</c:v>
                </c:pt>
                <c:pt idx="44905">
                  <c:v>33.860220498791975</c:v>
                </c:pt>
                <c:pt idx="44906">
                  <c:v>38.203686019576999</c:v>
                </c:pt>
                <c:pt idx="44907">
                  <c:v>31.484911459881026</c:v>
                </c:pt>
                <c:pt idx="44908">
                  <c:v>27.788484789502085</c:v>
                </c:pt>
                <c:pt idx="44909">
                  <c:v>54.437699807491356</c:v>
                </c:pt>
                <c:pt idx="44910">
                  <c:v>52.81783897295994</c:v>
                </c:pt>
                <c:pt idx="44911">
                  <c:v>56.899986748539249</c:v>
                </c:pt>
                <c:pt idx="44912">
                  <c:v>22.396247845757149</c:v>
                </c:pt>
                <c:pt idx="44913">
                  <c:v>50.523581301792539</c:v>
                </c:pt>
                <c:pt idx="44914">
                  <c:v>19.746589796448568</c:v>
                </c:pt>
                <c:pt idx="44915">
                  <c:v>26.702945371422995</c:v>
                </c:pt>
                <c:pt idx="44916">
                  <c:v>22.339324940911371</c:v>
                </c:pt>
                <c:pt idx="44917">
                  <c:v>46.824648177647688</c:v>
                </c:pt>
                <c:pt idx="44918">
                  <c:v>37.904076154701855</c:v>
                </c:pt>
                <c:pt idx="44919">
                  <c:v>24.390368193918533</c:v>
                </c:pt>
                <c:pt idx="44920">
                  <c:v>22.316959917565136</c:v>
                </c:pt>
                <c:pt idx="44921">
                  <c:v>44.78527620927742</c:v>
                </c:pt>
                <c:pt idx="44922">
                  <c:v>27.959950741029633</c:v>
                </c:pt>
                <c:pt idx="44923">
                  <c:v>43.345977327310891</c:v>
                </c:pt>
                <c:pt idx="44924">
                  <c:v>39.783954005250187</c:v>
                </c:pt>
                <c:pt idx="44925">
                  <c:v>31.952269303612848</c:v>
                </c:pt>
                <c:pt idx="44926">
                  <c:v>29.705518429669866</c:v>
                </c:pt>
                <c:pt idx="44927">
                  <c:v>20.717001391422706</c:v>
                </c:pt>
                <c:pt idx="44928">
                  <c:v>22.076244038206333</c:v>
                </c:pt>
                <c:pt idx="44929">
                  <c:v>28.62393089629559</c:v>
                </c:pt>
                <c:pt idx="44930">
                  <c:v>26.332522578900281</c:v>
                </c:pt>
                <c:pt idx="44931">
                  <c:v>41.322912661225025</c:v>
                </c:pt>
                <c:pt idx="44932">
                  <c:v>30.19055344694382</c:v>
                </c:pt>
                <c:pt idx="44933">
                  <c:v>30.191731081481773</c:v>
                </c:pt>
                <c:pt idx="44934">
                  <c:v>39.796968851693151</c:v>
                </c:pt>
                <c:pt idx="44935">
                  <c:v>30.21776692420244</c:v>
                </c:pt>
                <c:pt idx="44936">
                  <c:v>19.119278744710034</c:v>
                </c:pt>
                <c:pt idx="44937">
                  <c:v>19.565301627309779</c:v>
                </c:pt>
                <c:pt idx="44938">
                  <c:v>26.443165168352706</c:v>
                </c:pt>
                <c:pt idx="44939">
                  <c:v>29.276112358862754</c:v>
                </c:pt>
                <c:pt idx="44940">
                  <c:v>54.557968054421259</c:v>
                </c:pt>
                <c:pt idx="44941">
                  <c:v>52.936919033602415</c:v>
                </c:pt>
                <c:pt idx="44942">
                  <c:v>31.872310073071507</c:v>
                </c:pt>
                <c:pt idx="44943">
                  <c:v>30.170596601724267</c:v>
                </c:pt>
                <c:pt idx="44944">
                  <c:v>27.369913414831672</c:v>
                </c:pt>
                <c:pt idx="44945">
                  <c:v>32.088019333347638</c:v>
                </c:pt>
                <c:pt idx="44946">
                  <c:v>19.782258495130815</c:v>
                </c:pt>
                <c:pt idx="44947">
                  <c:v>28.258661947242306</c:v>
                </c:pt>
                <c:pt idx="44948">
                  <c:v>41.090198155566796</c:v>
                </c:pt>
                <c:pt idx="44949">
                  <c:v>41.246034562168028</c:v>
                </c:pt>
                <c:pt idx="44950">
                  <c:v>22.587793868231305</c:v>
                </c:pt>
                <c:pt idx="44951">
                  <c:v>29.029538847289821</c:v>
                </c:pt>
                <c:pt idx="44952">
                  <c:v>28.473383258731936</c:v>
                </c:pt>
                <c:pt idx="44953">
                  <c:v>29.194364786548721</c:v>
                </c:pt>
                <c:pt idx="44954">
                  <c:v>30.125988866848964</c:v>
                </c:pt>
                <c:pt idx="44955">
                  <c:v>28.642352827710351</c:v>
                </c:pt>
                <c:pt idx="44956">
                  <c:v>56.102151185805134</c:v>
                </c:pt>
                <c:pt idx="44957">
                  <c:v>20.592132424649787</c:v>
                </c:pt>
                <c:pt idx="44958">
                  <c:v>23.841745298842735</c:v>
                </c:pt>
                <c:pt idx="44959">
                  <c:v>24.419780126228652</c:v>
                </c:pt>
                <c:pt idx="44960">
                  <c:v>25.280626175630914</c:v>
                </c:pt>
                <c:pt idx="44961">
                  <c:v>46.251908668572852</c:v>
                </c:pt>
                <c:pt idx="44962">
                  <c:v>46.304618991782483</c:v>
                </c:pt>
                <c:pt idx="44963">
                  <c:v>23.499614755523677</c:v>
                </c:pt>
                <c:pt idx="44964">
                  <c:v>20.683452592882542</c:v>
                </c:pt>
                <c:pt idx="44965">
                  <c:v>26.465609989282925</c:v>
                </c:pt>
                <c:pt idx="44966">
                  <c:v>51.133964562712251</c:v>
                </c:pt>
                <c:pt idx="44967">
                  <c:v>31.664291334855214</c:v>
                </c:pt>
                <c:pt idx="44968">
                  <c:v>50.515894514186456</c:v>
                </c:pt>
                <c:pt idx="44969">
                  <c:v>46.747434377848741</c:v>
                </c:pt>
                <c:pt idx="44970">
                  <c:v>34.253848121088311</c:v>
                </c:pt>
                <c:pt idx="44971">
                  <c:v>47.554849815291981</c:v>
                </c:pt>
                <c:pt idx="44972">
                  <c:v>27.598319766423874</c:v>
                </c:pt>
                <c:pt idx="44973">
                  <c:v>40.195550126999436</c:v>
                </c:pt>
                <c:pt idx="44974">
                  <c:v>49.819070201123012</c:v>
                </c:pt>
                <c:pt idx="44975">
                  <c:v>35.690886105128072</c:v>
                </c:pt>
                <c:pt idx="44976">
                  <c:v>32.895635201740944</c:v>
                </c:pt>
                <c:pt idx="44977">
                  <c:v>30.44923738439288</c:v>
                </c:pt>
                <c:pt idx="44978">
                  <c:v>56.709091081222439</c:v>
                </c:pt>
                <c:pt idx="44979">
                  <c:v>50.853171719842479</c:v>
                </c:pt>
                <c:pt idx="44980">
                  <c:v>26.926284756384646</c:v>
                </c:pt>
                <c:pt idx="44981">
                  <c:v>40.915701930649504</c:v>
                </c:pt>
                <c:pt idx="44982">
                  <c:v>29.688670897755959</c:v>
                </c:pt>
                <c:pt idx="44983">
                  <c:v>33.097042097126085</c:v>
                </c:pt>
                <c:pt idx="44984">
                  <c:v>20.637687130487887</c:v>
                </c:pt>
                <c:pt idx="44985">
                  <c:v>26.444193763189972</c:v>
                </c:pt>
                <c:pt idx="44986">
                  <c:v>44.605232905001138</c:v>
                </c:pt>
                <c:pt idx="44987">
                  <c:v>31.106250904122746</c:v>
                </c:pt>
                <c:pt idx="44988">
                  <c:v>41.405689759987119</c:v>
                </c:pt>
                <c:pt idx="44989">
                  <c:v>25.914584710921453</c:v>
                </c:pt>
                <c:pt idx="44990">
                  <c:v>38.500268345507848</c:v>
                </c:pt>
                <c:pt idx="44991">
                  <c:v>25.924684503921473</c:v>
                </c:pt>
                <c:pt idx="44992">
                  <c:v>22.348893658452305</c:v>
                </c:pt>
                <c:pt idx="44993">
                  <c:v>31.193725432584316</c:v>
                </c:pt>
                <c:pt idx="44994">
                  <c:v>27.226807196322167</c:v>
                </c:pt>
                <c:pt idx="44995">
                  <c:v>29.586226869770268</c:v>
                </c:pt>
                <c:pt idx="44996">
                  <c:v>31.265841205276047</c:v>
                </c:pt>
                <c:pt idx="44997">
                  <c:v>51.873384715094915</c:v>
                </c:pt>
                <c:pt idx="44998">
                  <c:v>26.037629002959559</c:v>
                </c:pt>
                <c:pt idx="44999">
                  <c:v>29.359304452441652</c:v>
                </c:pt>
                <c:pt idx="45000">
                  <c:v>27.80528423268192</c:v>
                </c:pt>
                <c:pt idx="45001">
                  <c:v>19.687421831363665</c:v>
                </c:pt>
                <c:pt idx="45002">
                  <c:v>25.13360194706954</c:v>
                </c:pt>
                <c:pt idx="45003">
                  <c:v>26.447168457756504</c:v>
                </c:pt>
                <c:pt idx="45004">
                  <c:v>23.043162211425127</c:v>
                </c:pt>
                <c:pt idx="45005">
                  <c:v>35.872105925582474</c:v>
                </c:pt>
                <c:pt idx="45006">
                  <c:v>26.933071102837239</c:v>
                </c:pt>
                <c:pt idx="45007">
                  <c:v>25.398071648675735</c:v>
                </c:pt>
                <c:pt idx="45008">
                  <c:v>56.930161031210133</c:v>
                </c:pt>
                <c:pt idx="45009">
                  <c:v>33.522791087679494</c:v>
                </c:pt>
                <c:pt idx="45010">
                  <c:v>49.638361934436347</c:v>
                </c:pt>
                <c:pt idx="45011">
                  <c:v>39.569845102352794</c:v>
                </c:pt>
                <c:pt idx="45012">
                  <c:v>24.934205827713349</c:v>
                </c:pt>
                <c:pt idx="45013">
                  <c:v>21.785469259035494</c:v>
                </c:pt>
                <c:pt idx="45014">
                  <c:v>27.781547638543962</c:v>
                </c:pt>
                <c:pt idx="45015">
                  <c:v>49.63067430760551</c:v>
                </c:pt>
                <c:pt idx="45016">
                  <c:v>28.421519914393155</c:v>
                </c:pt>
                <c:pt idx="45017">
                  <c:v>14.624677898539094</c:v>
                </c:pt>
                <c:pt idx="45018">
                  <c:v>31.430789482081156</c:v>
                </c:pt>
                <c:pt idx="45019">
                  <c:v>29.996923674916843</c:v>
                </c:pt>
                <c:pt idx="45020">
                  <c:v>38.419293544576746</c:v>
                </c:pt>
                <c:pt idx="45021">
                  <c:v>39.320831957230908</c:v>
                </c:pt>
                <c:pt idx="45022">
                  <c:v>24.864363796052054</c:v>
                </c:pt>
                <c:pt idx="45023">
                  <c:v>27.960199537881142</c:v>
                </c:pt>
                <c:pt idx="45024">
                  <c:v>23.145899357069432</c:v>
                </c:pt>
                <c:pt idx="45025">
                  <c:v>26.564684923774017</c:v>
                </c:pt>
                <c:pt idx="45026">
                  <c:v>40.674641979587456</c:v>
                </c:pt>
                <c:pt idx="45027">
                  <c:v>26.960731243262632</c:v>
                </c:pt>
                <c:pt idx="45028">
                  <c:v>25.316765822949119</c:v>
                </c:pt>
                <c:pt idx="45029">
                  <c:v>23.002553433275139</c:v>
                </c:pt>
                <c:pt idx="45030">
                  <c:v>24.365102868447234</c:v>
                </c:pt>
                <c:pt idx="45031">
                  <c:v>32.501380310657382</c:v>
                </c:pt>
                <c:pt idx="45032">
                  <c:v>31.831264119336648</c:v>
                </c:pt>
                <c:pt idx="45033">
                  <c:v>31.228312876644967</c:v>
                </c:pt>
                <c:pt idx="45034">
                  <c:v>27.423165750856583</c:v>
                </c:pt>
                <c:pt idx="45035">
                  <c:v>25.967630935595565</c:v>
                </c:pt>
                <c:pt idx="45036">
                  <c:v>28.597876614392923</c:v>
                </c:pt>
                <c:pt idx="45037">
                  <c:v>27.891580903195926</c:v>
                </c:pt>
                <c:pt idx="45038">
                  <c:v>26.478931484265637</c:v>
                </c:pt>
                <c:pt idx="45039">
                  <c:v>30.003887390992062</c:v>
                </c:pt>
                <c:pt idx="45040">
                  <c:v>33.505552895485991</c:v>
                </c:pt>
                <c:pt idx="45041">
                  <c:v>44.123652752800623</c:v>
                </c:pt>
                <c:pt idx="45042">
                  <c:v>27.722920585413974</c:v>
                </c:pt>
                <c:pt idx="45043">
                  <c:v>36.508387194664706</c:v>
                </c:pt>
                <c:pt idx="45044">
                  <c:v>22.153814845680436</c:v>
                </c:pt>
                <c:pt idx="45045">
                  <c:v>26.707964417048998</c:v>
                </c:pt>
                <c:pt idx="45046">
                  <c:v>41.669740648001657</c:v>
                </c:pt>
                <c:pt idx="45047">
                  <c:v>44.494880105477904</c:v>
                </c:pt>
                <c:pt idx="45048">
                  <c:v>29.006997435483981</c:v>
                </c:pt>
                <c:pt idx="45049">
                  <c:v>31.09812655281263</c:v>
                </c:pt>
                <c:pt idx="45050">
                  <c:v>27.832217107442947</c:v>
                </c:pt>
                <c:pt idx="45051">
                  <c:v>23.556919846308336</c:v>
                </c:pt>
                <c:pt idx="45052">
                  <c:v>26.108473489065013</c:v>
                </c:pt>
                <c:pt idx="45053">
                  <c:v>31.911254271525667</c:v>
                </c:pt>
                <c:pt idx="45054">
                  <c:v>28.513963138608059</c:v>
                </c:pt>
                <c:pt idx="45055">
                  <c:v>18.433210770927857</c:v>
                </c:pt>
                <c:pt idx="45056">
                  <c:v>24.639452088377297</c:v>
                </c:pt>
                <c:pt idx="45057">
                  <c:v>24.892249906260936</c:v>
                </c:pt>
                <c:pt idx="45058">
                  <c:v>30.870056033351823</c:v>
                </c:pt>
                <c:pt idx="45059">
                  <c:v>24.965047207876374</c:v>
                </c:pt>
                <c:pt idx="45060">
                  <c:v>29.311593553985489</c:v>
                </c:pt>
                <c:pt idx="45061">
                  <c:v>21.63356727082499</c:v>
                </c:pt>
                <c:pt idx="45062">
                  <c:v>23.507457913845009</c:v>
                </c:pt>
                <c:pt idx="45063">
                  <c:v>27.340668894217337</c:v>
                </c:pt>
                <c:pt idx="45064">
                  <c:v>28.645613172681557</c:v>
                </c:pt>
                <c:pt idx="45065">
                  <c:v>31.13874339737395</c:v>
                </c:pt>
                <c:pt idx="45066">
                  <c:v>22.577779086756848</c:v>
                </c:pt>
                <c:pt idx="45067">
                  <c:v>22.902638547001413</c:v>
                </c:pt>
                <c:pt idx="45068">
                  <c:v>32.726625538322295</c:v>
                </c:pt>
                <c:pt idx="45069">
                  <c:v>33.072409715285197</c:v>
                </c:pt>
                <c:pt idx="45070">
                  <c:v>22.793828588963951</c:v>
                </c:pt>
                <c:pt idx="45071">
                  <c:v>48.539413235679859</c:v>
                </c:pt>
                <c:pt idx="45072">
                  <c:v>23.457033692220044</c:v>
                </c:pt>
                <c:pt idx="45073">
                  <c:v>27.994645176177155</c:v>
                </c:pt>
                <c:pt idx="45074">
                  <c:v>40.016265702626029</c:v>
                </c:pt>
                <c:pt idx="45075">
                  <c:v>25.69818601626962</c:v>
                </c:pt>
                <c:pt idx="45076">
                  <c:v>36.268442204462069</c:v>
                </c:pt>
                <c:pt idx="45077">
                  <c:v>30.45982980718852</c:v>
                </c:pt>
                <c:pt idx="45078">
                  <c:v>20.082948944940171</c:v>
                </c:pt>
                <c:pt idx="45079">
                  <c:v>25.510582493866451</c:v>
                </c:pt>
                <c:pt idx="45080">
                  <c:v>31.792596024254788</c:v>
                </c:pt>
                <c:pt idx="45081">
                  <c:v>30.012260749799218</c:v>
                </c:pt>
                <c:pt idx="45082">
                  <c:v>25.042890841752435</c:v>
                </c:pt>
                <c:pt idx="45083">
                  <c:v>40.862684316739355</c:v>
                </c:pt>
                <c:pt idx="45084">
                  <c:v>33.503277922482582</c:v>
                </c:pt>
                <c:pt idx="45085">
                  <c:v>22.427787686698</c:v>
                </c:pt>
                <c:pt idx="45086">
                  <c:v>26.38171880258874</c:v>
                </c:pt>
                <c:pt idx="45087">
                  <c:v>21.944644598274003</c:v>
                </c:pt>
                <c:pt idx="45088">
                  <c:v>18.984808425528051</c:v>
                </c:pt>
                <c:pt idx="45089">
                  <c:v>24.588523814932756</c:v>
                </c:pt>
                <c:pt idx="45090">
                  <c:v>38.296957415199586</c:v>
                </c:pt>
                <c:pt idx="45091">
                  <c:v>25.234957845982922</c:v>
                </c:pt>
                <c:pt idx="45092">
                  <c:v>23.005325864975948</c:v>
                </c:pt>
                <c:pt idx="45093">
                  <c:v>27.13244107777443</c:v>
                </c:pt>
                <c:pt idx="45094">
                  <c:v>31.731901312872111</c:v>
                </c:pt>
                <c:pt idx="45095">
                  <c:v>42.960810129969346</c:v>
                </c:pt>
                <c:pt idx="45096">
                  <c:v>20.792600695239543</c:v>
                </c:pt>
                <c:pt idx="45097">
                  <c:v>28.11469325619726</c:v>
                </c:pt>
                <c:pt idx="45098">
                  <c:v>25.271387780056259</c:v>
                </c:pt>
                <c:pt idx="45099">
                  <c:v>24.683514344936121</c:v>
                </c:pt>
                <c:pt idx="45100">
                  <c:v>31.797337092690235</c:v>
                </c:pt>
                <c:pt idx="45101">
                  <c:v>39.07858091308406</c:v>
                </c:pt>
                <c:pt idx="45102">
                  <c:v>25.226311425488213</c:v>
                </c:pt>
                <c:pt idx="45103">
                  <c:v>27.423138423216393</c:v>
                </c:pt>
                <c:pt idx="45104">
                  <c:v>42.990413330329794</c:v>
                </c:pt>
                <c:pt idx="45105">
                  <c:v>44.547800621021793</c:v>
                </c:pt>
                <c:pt idx="45106">
                  <c:v>30.897639574780939</c:v>
                </c:pt>
                <c:pt idx="45107">
                  <c:v>42.527359163010281</c:v>
                </c:pt>
                <c:pt idx="45108">
                  <c:v>27.246956320508854</c:v>
                </c:pt>
                <c:pt idx="45109">
                  <c:v>56.122672909294856</c:v>
                </c:pt>
                <c:pt idx="45110">
                  <c:v>34.877249567492484</c:v>
                </c:pt>
                <c:pt idx="45111">
                  <c:v>21.433653360502102</c:v>
                </c:pt>
                <c:pt idx="45112">
                  <c:v>49.472728743479323</c:v>
                </c:pt>
                <c:pt idx="45113">
                  <c:v>30.104286851377346</c:v>
                </c:pt>
                <c:pt idx="45114">
                  <c:v>35.184631188434359</c:v>
                </c:pt>
                <c:pt idx="45115">
                  <c:v>26.912581066888144</c:v>
                </c:pt>
                <c:pt idx="45116">
                  <c:v>24.241122629478628</c:v>
                </c:pt>
                <c:pt idx="45117">
                  <c:v>31.503546987349708</c:v>
                </c:pt>
                <c:pt idx="45118">
                  <c:v>30.719203024761189</c:v>
                </c:pt>
                <c:pt idx="45119">
                  <c:v>18.743496309949972</c:v>
                </c:pt>
                <c:pt idx="45120">
                  <c:v>22.856132870064911</c:v>
                </c:pt>
                <c:pt idx="45121">
                  <c:v>45.035419668889404</c:v>
                </c:pt>
                <c:pt idx="45122">
                  <c:v>24.710860201162152</c:v>
                </c:pt>
                <c:pt idx="45123">
                  <c:v>23.33495197569691</c:v>
                </c:pt>
                <c:pt idx="45124">
                  <c:v>32.380193403376765</c:v>
                </c:pt>
                <c:pt idx="45125">
                  <c:v>28.292494880239158</c:v>
                </c:pt>
                <c:pt idx="45126">
                  <c:v>22.099381579998614</c:v>
                </c:pt>
                <c:pt idx="45127">
                  <c:v>20.165138962978297</c:v>
                </c:pt>
                <c:pt idx="45128">
                  <c:v>18.590431623884012</c:v>
                </c:pt>
                <c:pt idx="45129">
                  <c:v>24.702789495060767</c:v>
                </c:pt>
                <c:pt idx="45130">
                  <c:v>24.890698486955664</c:v>
                </c:pt>
                <c:pt idx="45131">
                  <c:v>36.913645626506309</c:v>
                </c:pt>
                <c:pt idx="45132">
                  <c:v>27.621842932518781</c:v>
                </c:pt>
                <c:pt idx="45133">
                  <c:v>14.415263546292644</c:v>
                </c:pt>
                <c:pt idx="45134">
                  <c:v>24.271210372883825</c:v>
                </c:pt>
                <c:pt idx="45135">
                  <c:v>25.588643094472207</c:v>
                </c:pt>
                <c:pt idx="45136">
                  <c:v>23.770162492777803</c:v>
                </c:pt>
                <c:pt idx="45137">
                  <c:v>23.386959668563083</c:v>
                </c:pt>
                <c:pt idx="45138">
                  <c:v>23.445825250884507</c:v>
                </c:pt>
                <c:pt idx="45139">
                  <c:v>59.088449504006846</c:v>
                </c:pt>
                <c:pt idx="45140">
                  <c:v>53.076032687880776</c:v>
                </c:pt>
                <c:pt idx="45141">
                  <c:v>36.412104837220461</c:v>
                </c:pt>
                <c:pt idx="45142">
                  <c:v>28.417688135922493</c:v>
                </c:pt>
                <c:pt idx="45143">
                  <c:v>28.081191295122082</c:v>
                </c:pt>
                <c:pt idx="45144">
                  <c:v>33.714345178613335</c:v>
                </c:pt>
                <c:pt idx="45145">
                  <c:v>26.049301505903397</c:v>
                </c:pt>
                <c:pt idx="45146">
                  <c:v>25.007148780815008</c:v>
                </c:pt>
                <c:pt idx="45147">
                  <c:v>18.994155342102061</c:v>
                </c:pt>
                <c:pt idx="45148">
                  <c:v>25.270486084873998</c:v>
                </c:pt>
                <c:pt idx="45149">
                  <c:v>27.293248266632244</c:v>
                </c:pt>
                <c:pt idx="45150">
                  <c:v>25.10859090564545</c:v>
                </c:pt>
                <c:pt idx="45151">
                  <c:v>18.677166973701507</c:v>
                </c:pt>
                <c:pt idx="45152">
                  <c:v>20.79172889164721</c:v>
                </c:pt>
                <c:pt idx="45153">
                  <c:v>26.131556122330721</c:v>
                </c:pt>
                <c:pt idx="45154">
                  <c:v>21.018043415413487</c:v>
                </c:pt>
                <c:pt idx="45155">
                  <c:v>38.071988656299077</c:v>
                </c:pt>
                <c:pt idx="45156">
                  <c:v>29.540955293746709</c:v>
                </c:pt>
                <c:pt idx="45157">
                  <c:v>41.966711652576798</c:v>
                </c:pt>
                <c:pt idx="45158">
                  <c:v>43.079743856344273</c:v>
                </c:pt>
                <c:pt idx="45159">
                  <c:v>43.216749271357273</c:v>
                </c:pt>
                <c:pt idx="45160">
                  <c:v>27.048845588406216</c:v>
                </c:pt>
                <c:pt idx="45161">
                  <c:v>53.747616408815233</c:v>
                </c:pt>
                <c:pt idx="45162">
                  <c:v>24.796710894872753</c:v>
                </c:pt>
                <c:pt idx="45163">
                  <c:v>24.430745399549519</c:v>
                </c:pt>
                <c:pt idx="45164">
                  <c:v>35.900685454651608</c:v>
                </c:pt>
                <c:pt idx="45165">
                  <c:v>28.58906082105732</c:v>
                </c:pt>
                <c:pt idx="45166">
                  <c:v>33.053695957380874</c:v>
                </c:pt>
                <c:pt idx="45167">
                  <c:v>28.948980085965683</c:v>
                </c:pt>
                <c:pt idx="45168">
                  <c:v>23.732695088377469</c:v>
                </c:pt>
                <c:pt idx="45169">
                  <c:v>26.763508774847274</c:v>
                </c:pt>
                <c:pt idx="45170">
                  <c:v>35.227557581035121</c:v>
                </c:pt>
                <c:pt idx="45171">
                  <c:v>23.833072052087747</c:v>
                </c:pt>
                <c:pt idx="45172">
                  <c:v>26.431993769434118</c:v>
                </c:pt>
                <c:pt idx="45173">
                  <c:v>45.257183776036406</c:v>
                </c:pt>
                <c:pt idx="45174">
                  <c:v>27.132697136274629</c:v>
                </c:pt>
                <c:pt idx="45175">
                  <c:v>35.67002678246962</c:v>
                </c:pt>
                <c:pt idx="45176">
                  <c:v>20.032161051362642</c:v>
                </c:pt>
                <c:pt idx="45177">
                  <c:v>26.646982199255916</c:v>
                </c:pt>
                <c:pt idx="45178">
                  <c:v>49.223098524377448</c:v>
                </c:pt>
                <c:pt idx="45179">
                  <c:v>22.207850209297291</c:v>
                </c:pt>
                <c:pt idx="45180">
                  <c:v>25.612112553161484</c:v>
                </c:pt>
                <c:pt idx="45181">
                  <c:v>25.215928063377319</c:v>
                </c:pt>
                <c:pt idx="45182">
                  <c:v>27.119812985907146</c:v>
                </c:pt>
                <c:pt idx="45183">
                  <c:v>59.223590868409673</c:v>
                </c:pt>
                <c:pt idx="45184">
                  <c:v>22.004776006643304</c:v>
                </c:pt>
                <c:pt idx="45185">
                  <c:v>28.132960307256589</c:v>
                </c:pt>
                <c:pt idx="45186">
                  <c:v>26.468606017603499</c:v>
                </c:pt>
                <c:pt idx="45187">
                  <c:v>35.026838823084148</c:v>
                </c:pt>
                <c:pt idx="45188">
                  <c:v>41.433826351203535</c:v>
                </c:pt>
                <c:pt idx="45189">
                  <c:v>19.729594527508805</c:v>
                </c:pt>
                <c:pt idx="45190">
                  <c:v>41.095333011052347</c:v>
                </c:pt>
                <c:pt idx="45191">
                  <c:v>31.994196449883649</c:v>
                </c:pt>
                <c:pt idx="45192">
                  <c:v>24.75435264408965</c:v>
                </c:pt>
                <c:pt idx="45193">
                  <c:v>33.977014049890393</c:v>
                </c:pt>
                <c:pt idx="45194">
                  <c:v>26.357271116233768</c:v>
                </c:pt>
                <c:pt idx="45195">
                  <c:v>24.14383388281702</c:v>
                </c:pt>
                <c:pt idx="45196">
                  <c:v>26.901660565769639</c:v>
                </c:pt>
                <c:pt idx="45197">
                  <c:v>28.158042072358516</c:v>
                </c:pt>
                <c:pt idx="45198">
                  <c:v>27.917042679814031</c:v>
                </c:pt>
                <c:pt idx="45199">
                  <c:v>25.08014435795064</c:v>
                </c:pt>
                <c:pt idx="45200">
                  <c:v>40.954777829326801</c:v>
                </c:pt>
                <c:pt idx="45201">
                  <c:v>27.922813440521139</c:v>
                </c:pt>
                <c:pt idx="45202">
                  <c:v>52.183944748406915</c:v>
                </c:pt>
                <c:pt idx="45203">
                  <c:v>30.836925673865565</c:v>
                </c:pt>
                <c:pt idx="45204">
                  <c:v>28.264050169955635</c:v>
                </c:pt>
                <c:pt idx="45205">
                  <c:v>22.778961764498408</c:v>
                </c:pt>
                <c:pt idx="45206">
                  <c:v>26.462592709276905</c:v>
                </c:pt>
                <c:pt idx="45207">
                  <c:v>33.956544863710434</c:v>
                </c:pt>
                <c:pt idx="45208">
                  <c:v>19.540957366371089</c:v>
                </c:pt>
                <c:pt idx="45209">
                  <c:v>25.434045160305548</c:v>
                </c:pt>
                <c:pt idx="45210">
                  <c:v>56.908243479972249</c:v>
                </c:pt>
                <c:pt idx="45211">
                  <c:v>19.141421603869212</c:v>
                </c:pt>
                <c:pt idx="45212">
                  <c:v>25.030013163287741</c:v>
                </c:pt>
                <c:pt idx="45213">
                  <c:v>56.698154874897192</c:v>
                </c:pt>
                <c:pt idx="45214">
                  <c:v>51.135973757768724</c:v>
                </c:pt>
                <c:pt idx="45215">
                  <c:v>29.744400686199192</c:v>
                </c:pt>
                <c:pt idx="45216">
                  <c:v>32.642875014790604</c:v>
                </c:pt>
                <c:pt idx="45217">
                  <c:v>37.271907788242693</c:v>
                </c:pt>
                <c:pt idx="45218">
                  <c:v>26.996037242291209</c:v>
                </c:pt>
                <c:pt idx="45219">
                  <c:v>23.928781095183702</c:v>
                </c:pt>
                <c:pt idx="45220">
                  <c:v>27.383527841831409</c:v>
                </c:pt>
                <c:pt idx="45221">
                  <c:v>54.760624134875748</c:v>
                </c:pt>
                <c:pt idx="45222">
                  <c:v>22.869519817260834</c:v>
                </c:pt>
                <c:pt idx="45223">
                  <c:v>23.047337170763413</c:v>
                </c:pt>
                <c:pt idx="45224">
                  <c:v>33.201379339570842</c:v>
                </c:pt>
                <c:pt idx="45225">
                  <c:v>41.595205350222514</c:v>
                </c:pt>
                <c:pt idx="45226">
                  <c:v>44.502265355841388</c:v>
                </c:pt>
                <c:pt idx="45227">
                  <c:v>32.938980525505912</c:v>
                </c:pt>
                <c:pt idx="45228">
                  <c:v>37.658835409862093</c:v>
                </c:pt>
                <c:pt idx="45229">
                  <c:v>20.359709976120826</c:v>
                </c:pt>
                <c:pt idx="45230">
                  <c:v>24.665577506232044</c:v>
                </c:pt>
                <c:pt idx="45231">
                  <c:v>25.805785008022191</c:v>
                </c:pt>
                <c:pt idx="45232">
                  <c:v>45.757660648054753</c:v>
                </c:pt>
                <c:pt idx="45233">
                  <c:v>21.948593493143434</c:v>
                </c:pt>
                <c:pt idx="45234">
                  <c:v>42.950038142056513</c:v>
                </c:pt>
                <c:pt idx="45235">
                  <c:v>26.164935127685851</c:v>
                </c:pt>
                <c:pt idx="45236">
                  <c:v>22.258866074649177</c:v>
                </c:pt>
                <c:pt idx="45237">
                  <c:v>32.521725570978901</c:v>
                </c:pt>
                <c:pt idx="45238">
                  <c:v>26.890102602715032</c:v>
                </c:pt>
                <c:pt idx="45239">
                  <c:v>45.682743705375913</c:v>
                </c:pt>
                <c:pt idx="45240">
                  <c:v>41.681542793062754</c:v>
                </c:pt>
                <c:pt idx="45241">
                  <c:v>47.240009528404642</c:v>
                </c:pt>
                <c:pt idx="45242">
                  <c:v>25.273242751972717</c:v>
                </c:pt>
                <c:pt idx="45243">
                  <c:v>26.680024524207123</c:v>
                </c:pt>
                <c:pt idx="45244">
                  <c:v>51.032698313033933</c:v>
                </c:pt>
                <c:pt idx="45245">
                  <c:v>25.09378042360521</c:v>
                </c:pt>
                <c:pt idx="45246">
                  <c:v>33.894584344857158</c:v>
                </c:pt>
                <c:pt idx="45247">
                  <c:v>27.438181578742675</c:v>
                </c:pt>
                <c:pt idx="45248">
                  <c:v>29.864009699707569</c:v>
                </c:pt>
                <c:pt idx="45249">
                  <c:v>27.455972936356872</c:v>
                </c:pt>
                <c:pt idx="45250">
                  <c:v>44.027409001163697</c:v>
                </c:pt>
                <c:pt idx="45251">
                  <c:v>25.846343338330435</c:v>
                </c:pt>
                <c:pt idx="45252">
                  <c:v>48.104594641051698</c:v>
                </c:pt>
                <c:pt idx="45253">
                  <c:v>26.553147731531631</c:v>
                </c:pt>
                <c:pt idx="45254">
                  <c:v>32.896647457127237</c:v>
                </c:pt>
                <c:pt idx="45255">
                  <c:v>21.647159553811786</c:v>
                </c:pt>
                <c:pt idx="45256">
                  <c:v>30.514381372315974</c:v>
                </c:pt>
                <c:pt idx="45257">
                  <c:v>40.125946708689</c:v>
                </c:pt>
                <c:pt idx="45258">
                  <c:v>56.087286998133891</c:v>
                </c:pt>
                <c:pt idx="45259">
                  <c:v>35.656318244253306</c:v>
                </c:pt>
                <c:pt idx="45260">
                  <c:v>23.845043014452223</c:v>
                </c:pt>
                <c:pt idx="45261">
                  <c:v>25.95893824630549</c:v>
                </c:pt>
                <c:pt idx="45262">
                  <c:v>20.642924358899915</c:v>
                </c:pt>
                <c:pt idx="45263">
                  <c:v>22.620371977448748</c:v>
                </c:pt>
                <c:pt idx="45264">
                  <c:v>29.93979711913699</c:v>
                </c:pt>
                <c:pt idx="45265">
                  <c:v>26.122049649068064</c:v>
                </c:pt>
                <c:pt idx="45266">
                  <c:v>30.259228235527146</c:v>
                </c:pt>
                <c:pt idx="45267">
                  <c:v>44.781102877260089</c:v>
                </c:pt>
                <c:pt idx="45268">
                  <c:v>22.831757050000352</c:v>
                </c:pt>
                <c:pt idx="45269">
                  <c:v>40.058412394075432</c:v>
                </c:pt>
                <c:pt idx="45270">
                  <c:v>27.868815378580688</c:v>
                </c:pt>
                <c:pt idx="45271">
                  <c:v>31.55992517172502</c:v>
                </c:pt>
                <c:pt idx="45272">
                  <c:v>17.322013800490602</c:v>
                </c:pt>
                <c:pt idx="45273">
                  <c:v>31.852781253464343</c:v>
                </c:pt>
                <c:pt idx="45274">
                  <c:v>29.414898289988699</c:v>
                </c:pt>
                <c:pt idx="45275">
                  <c:v>44.284285579435021</c:v>
                </c:pt>
                <c:pt idx="45276">
                  <c:v>23.505069082707625</c:v>
                </c:pt>
                <c:pt idx="45277">
                  <c:v>25.198344974833887</c:v>
                </c:pt>
                <c:pt idx="45278">
                  <c:v>27.495468053471093</c:v>
                </c:pt>
                <c:pt idx="45279">
                  <c:v>45.703264390576308</c:v>
                </c:pt>
                <c:pt idx="45280">
                  <c:v>43.643693256398784</c:v>
                </c:pt>
                <c:pt idx="45281">
                  <c:v>29.48398003690011</c:v>
                </c:pt>
                <c:pt idx="45282">
                  <c:v>49.143172648958874</c:v>
                </c:pt>
                <c:pt idx="45283">
                  <c:v>19.947462732995032</c:v>
                </c:pt>
                <c:pt idx="45284">
                  <c:v>24.38772973561619</c:v>
                </c:pt>
                <c:pt idx="45285">
                  <c:v>54.987612270608437</c:v>
                </c:pt>
                <c:pt idx="45286">
                  <c:v>28.812143998613653</c:v>
                </c:pt>
                <c:pt idx="45287">
                  <c:v>23.92836033338758</c:v>
                </c:pt>
                <c:pt idx="45288">
                  <c:v>22.288455104816975</c:v>
                </c:pt>
                <c:pt idx="45289">
                  <c:v>22.051954319031566</c:v>
                </c:pt>
                <c:pt idx="45290">
                  <c:v>29.556291272010359</c:v>
                </c:pt>
                <c:pt idx="45291">
                  <c:v>19.348567054904596</c:v>
                </c:pt>
                <c:pt idx="45292">
                  <c:v>32.880686075068979</c:v>
                </c:pt>
                <c:pt idx="45293">
                  <c:v>34.85632994649805</c:v>
                </c:pt>
                <c:pt idx="45294">
                  <c:v>31.835199563164267</c:v>
                </c:pt>
                <c:pt idx="45295">
                  <c:v>28.955723081334483</c:v>
                </c:pt>
                <c:pt idx="45296">
                  <c:v>42.842668332435892</c:v>
                </c:pt>
                <c:pt idx="45297">
                  <c:v>26.871134042388213</c:v>
                </c:pt>
                <c:pt idx="45298">
                  <c:v>27.899864172653963</c:v>
                </c:pt>
                <c:pt idx="45299">
                  <c:v>49.864735341821699</c:v>
                </c:pt>
                <c:pt idx="45300">
                  <c:v>25.773862458871328</c:v>
                </c:pt>
                <c:pt idx="45301">
                  <c:v>31.637065193252692</c:v>
                </c:pt>
                <c:pt idx="45302">
                  <c:v>23.157811255833717</c:v>
                </c:pt>
                <c:pt idx="45303">
                  <c:v>25.635896744438291</c:v>
                </c:pt>
                <c:pt idx="45304">
                  <c:v>19.023210937311617</c:v>
                </c:pt>
                <c:pt idx="45305">
                  <c:v>27.794905327083839</c:v>
                </c:pt>
                <c:pt idx="45306">
                  <c:v>48.975084911387405</c:v>
                </c:pt>
                <c:pt idx="45307">
                  <c:v>22.295321769068146</c:v>
                </c:pt>
                <c:pt idx="45308">
                  <c:v>17.533556803943881</c:v>
                </c:pt>
                <c:pt idx="45309">
                  <c:v>23.282016748520117</c:v>
                </c:pt>
                <c:pt idx="45310">
                  <c:v>21.660599975029594</c:v>
                </c:pt>
                <c:pt idx="45311">
                  <c:v>25.911479662307755</c:v>
                </c:pt>
                <c:pt idx="45312">
                  <c:v>40.983890882521088</c:v>
                </c:pt>
                <c:pt idx="45313">
                  <c:v>21.299456902336431</c:v>
                </c:pt>
                <c:pt idx="45314">
                  <c:v>35.422078145204267</c:v>
                </c:pt>
                <c:pt idx="45315">
                  <c:v>30.42673663284171</c:v>
                </c:pt>
                <c:pt idx="45316">
                  <c:v>22.728152208912558</c:v>
                </c:pt>
                <c:pt idx="45317">
                  <c:v>14.840293402398014</c:v>
                </c:pt>
                <c:pt idx="45318">
                  <c:v>19.298474643814913</c:v>
                </c:pt>
                <c:pt idx="45319">
                  <c:v>63.337259971794815</c:v>
                </c:pt>
                <c:pt idx="45320">
                  <c:v>26.685901806595467</c:v>
                </c:pt>
                <c:pt idx="45321">
                  <c:v>27.509484821756594</c:v>
                </c:pt>
                <c:pt idx="45322">
                  <c:v>25.83167512608561</c:v>
                </c:pt>
                <c:pt idx="45323">
                  <c:v>23.687997536543431</c:v>
                </c:pt>
                <c:pt idx="45324">
                  <c:v>17.52692251302944</c:v>
                </c:pt>
                <c:pt idx="45325">
                  <c:v>24.6693884922527</c:v>
                </c:pt>
                <c:pt idx="45326">
                  <c:v>29.288010611803205</c:v>
                </c:pt>
                <c:pt idx="45327">
                  <c:v>46.18062503533816</c:v>
                </c:pt>
                <c:pt idx="45328">
                  <c:v>22.460690341345362</c:v>
                </c:pt>
                <c:pt idx="45329">
                  <c:v>28.810278049225808</c:v>
                </c:pt>
                <c:pt idx="45330">
                  <c:v>34.867717500683341</c:v>
                </c:pt>
                <c:pt idx="45331">
                  <c:v>24.29210138935569</c:v>
                </c:pt>
                <c:pt idx="45332">
                  <c:v>29.195231006611223</c:v>
                </c:pt>
                <c:pt idx="45333">
                  <c:v>19.201562027262046</c:v>
                </c:pt>
                <c:pt idx="45334">
                  <c:v>28.671753691011748</c:v>
                </c:pt>
                <c:pt idx="45335">
                  <c:v>27.73604144930691</c:v>
                </c:pt>
                <c:pt idx="45336">
                  <c:v>30.023280499968109</c:v>
                </c:pt>
                <c:pt idx="45337">
                  <c:v>21.649301251847358</c:v>
                </c:pt>
                <c:pt idx="45338">
                  <c:v>31.045037866868412</c:v>
                </c:pt>
                <c:pt idx="45339">
                  <c:v>39.788904536655608</c:v>
                </c:pt>
                <c:pt idx="45340">
                  <c:v>45.325121474526796</c:v>
                </c:pt>
                <c:pt idx="45341">
                  <c:v>38.222344549380793</c:v>
                </c:pt>
                <c:pt idx="45342">
                  <c:v>31.645743245644788</c:v>
                </c:pt>
                <c:pt idx="45343">
                  <c:v>18.033852226717062</c:v>
                </c:pt>
                <c:pt idx="45344">
                  <c:v>31.921285516081582</c:v>
                </c:pt>
                <c:pt idx="45345">
                  <c:v>52.446910776182619</c:v>
                </c:pt>
                <c:pt idx="45346">
                  <c:v>25.522792893805342</c:v>
                </c:pt>
                <c:pt idx="45347">
                  <c:v>38.46273173721746</c:v>
                </c:pt>
                <c:pt idx="45348">
                  <c:v>36.673510516173394</c:v>
                </c:pt>
                <c:pt idx="45349">
                  <c:v>22.816919600237931</c:v>
                </c:pt>
                <c:pt idx="45350">
                  <c:v>21.6915350020959</c:v>
                </c:pt>
                <c:pt idx="45351">
                  <c:v>34.675456902211529</c:v>
                </c:pt>
                <c:pt idx="45352">
                  <c:v>61.397692996524256</c:v>
                </c:pt>
                <c:pt idx="45353">
                  <c:v>43.066708540263583</c:v>
                </c:pt>
                <c:pt idx="45354">
                  <c:v>24.421295447207772</c:v>
                </c:pt>
                <c:pt idx="45355">
                  <c:v>25.180136371608342</c:v>
                </c:pt>
                <c:pt idx="45356">
                  <c:v>41.427170446228345</c:v>
                </c:pt>
                <c:pt idx="45357">
                  <c:v>22.647366566229483</c:v>
                </c:pt>
                <c:pt idx="45358">
                  <c:v>22.658682026861868</c:v>
                </c:pt>
                <c:pt idx="45359">
                  <c:v>27.664028125029134</c:v>
                </c:pt>
                <c:pt idx="45360">
                  <c:v>42.903810072959324</c:v>
                </c:pt>
                <c:pt idx="45361">
                  <c:v>22.086458897647898</c:v>
                </c:pt>
                <c:pt idx="45362">
                  <c:v>19.587354846190618</c:v>
                </c:pt>
                <c:pt idx="45363">
                  <c:v>27.051075474663641</c:v>
                </c:pt>
                <c:pt idx="45364">
                  <c:v>27.509195002217794</c:v>
                </c:pt>
                <c:pt idx="45365">
                  <c:v>32.175614192172702</c:v>
                </c:pt>
                <c:pt idx="45366">
                  <c:v>23.438001453542679</c:v>
                </c:pt>
                <c:pt idx="45367">
                  <c:v>27.115598323059377</c:v>
                </c:pt>
                <c:pt idx="45368">
                  <c:v>37.988501565060844</c:v>
                </c:pt>
                <c:pt idx="45369">
                  <c:v>34.119748414626969</c:v>
                </c:pt>
                <c:pt idx="45370">
                  <c:v>31.819066410386199</c:v>
                </c:pt>
                <c:pt idx="45371">
                  <c:v>24.504778696023813</c:v>
                </c:pt>
                <c:pt idx="45372">
                  <c:v>42.381211251102535</c:v>
                </c:pt>
                <c:pt idx="45373">
                  <c:v>26.887858545821224</c:v>
                </c:pt>
                <c:pt idx="45374">
                  <c:v>22.598686264534614</c:v>
                </c:pt>
                <c:pt idx="45375">
                  <c:v>42.30204136024669</c:v>
                </c:pt>
                <c:pt idx="45376">
                  <c:v>23.287143608209544</c:v>
                </c:pt>
                <c:pt idx="45377">
                  <c:v>23.506817441834201</c:v>
                </c:pt>
                <c:pt idx="45378">
                  <c:v>31.898180123988766</c:v>
                </c:pt>
                <c:pt idx="45379">
                  <c:v>53.99234095554683</c:v>
                </c:pt>
                <c:pt idx="45380">
                  <c:v>19.594988033870266</c:v>
                </c:pt>
                <c:pt idx="45381">
                  <c:v>24.732555443373936</c:v>
                </c:pt>
                <c:pt idx="45382">
                  <c:v>46.1426179327051</c:v>
                </c:pt>
                <c:pt idx="45383">
                  <c:v>40.539697747374731</c:v>
                </c:pt>
                <c:pt idx="45384">
                  <c:v>40.887789691778906</c:v>
                </c:pt>
                <c:pt idx="45385">
                  <c:v>28.516155867621233</c:v>
                </c:pt>
                <c:pt idx="45386">
                  <c:v>54.430183949445897</c:v>
                </c:pt>
                <c:pt idx="45387">
                  <c:v>23.111772107237599</c:v>
                </c:pt>
                <c:pt idx="45388">
                  <c:v>55.088351704296237</c:v>
                </c:pt>
                <c:pt idx="45389">
                  <c:v>36.146493318526801</c:v>
                </c:pt>
                <c:pt idx="45390">
                  <c:v>53.771504858026177</c:v>
                </c:pt>
                <c:pt idx="45391">
                  <c:v>37.394416263207589</c:v>
                </c:pt>
                <c:pt idx="45392">
                  <c:v>31.934023856830631</c:v>
                </c:pt>
                <c:pt idx="45393">
                  <c:v>30.592195346091771</c:v>
                </c:pt>
                <c:pt idx="45394">
                  <c:v>16.644903882600762</c:v>
                </c:pt>
                <c:pt idx="45395">
                  <c:v>40.277546362561282</c:v>
                </c:pt>
                <c:pt idx="45396">
                  <c:v>19.908340933968265</c:v>
                </c:pt>
                <c:pt idx="45397">
                  <c:v>25.007655138219466</c:v>
                </c:pt>
                <c:pt idx="45398">
                  <c:v>37.316184748911809</c:v>
                </c:pt>
                <c:pt idx="45399">
                  <c:v>23.94658760707734</c:v>
                </c:pt>
                <c:pt idx="45400">
                  <c:v>53.344604396717301</c:v>
                </c:pt>
                <c:pt idx="45401">
                  <c:v>26.0106373266979</c:v>
                </c:pt>
                <c:pt idx="45402">
                  <c:v>28.402663050377559</c:v>
                </c:pt>
                <c:pt idx="45403">
                  <c:v>20.533943569342835</c:v>
                </c:pt>
                <c:pt idx="45404">
                  <c:v>27.026316853265609</c:v>
                </c:pt>
                <c:pt idx="45405">
                  <c:v>39.496200119390487</c:v>
                </c:pt>
                <c:pt idx="45406">
                  <c:v>44.412693453138772</c:v>
                </c:pt>
                <c:pt idx="45407">
                  <c:v>26.325000472246867</c:v>
                </c:pt>
                <c:pt idx="45408">
                  <c:v>17.530624638656501</c:v>
                </c:pt>
                <c:pt idx="45409">
                  <c:v>38.822314247420394</c:v>
                </c:pt>
                <c:pt idx="45410">
                  <c:v>26.534006984072359</c:v>
                </c:pt>
                <c:pt idx="45411">
                  <c:v>49.834021830404481</c:v>
                </c:pt>
                <c:pt idx="45412">
                  <c:v>28.0419273909603</c:v>
                </c:pt>
                <c:pt idx="45413">
                  <c:v>45.869709507303241</c:v>
                </c:pt>
                <c:pt idx="45414">
                  <c:v>43.946140402707336</c:v>
                </c:pt>
                <c:pt idx="45415">
                  <c:v>26.696066208797724</c:v>
                </c:pt>
                <c:pt idx="45416">
                  <c:v>27.869919148124378</c:v>
                </c:pt>
                <c:pt idx="45417">
                  <c:v>18.601694191695394</c:v>
                </c:pt>
                <c:pt idx="45418">
                  <c:v>22.913493243695658</c:v>
                </c:pt>
                <c:pt idx="45419">
                  <c:v>31.782059175682313</c:v>
                </c:pt>
                <c:pt idx="45420">
                  <c:v>43.301063591004677</c:v>
                </c:pt>
                <c:pt idx="45421">
                  <c:v>17.713994255714283</c:v>
                </c:pt>
                <c:pt idx="45422">
                  <c:v>44.991706881001058</c:v>
                </c:pt>
                <c:pt idx="45423">
                  <c:v>16.230055150766038</c:v>
                </c:pt>
                <c:pt idx="45424">
                  <c:v>49.798751929232331</c:v>
                </c:pt>
                <c:pt idx="45425">
                  <c:v>50.050160996560365</c:v>
                </c:pt>
                <c:pt idx="45426">
                  <c:v>49.310974152174282</c:v>
                </c:pt>
                <c:pt idx="45427">
                  <c:v>26.95036175766321</c:v>
                </c:pt>
                <c:pt idx="45428">
                  <c:v>45.255974389158588</c:v>
                </c:pt>
                <c:pt idx="45429">
                  <c:v>27.986166973116276</c:v>
                </c:pt>
                <c:pt idx="45430">
                  <c:v>19.411091557118088</c:v>
                </c:pt>
                <c:pt idx="45431">
                  <c:v>33.125587017047167</c:v>
                </c:pt>
                <c:pt idx="45432">
                  <c:v>28.769750580037371</c:v>
                </c:pt>
                <c:pt idx="45433">
                  <c:v>51.687932082892765</c:v>
                </c:pt>
                <c:pt idx="45434">
                  <c:v>31.805975747698504</c:v>
                </c:pt>
                <c:pt idx="45435">
                  <c:v>26.254256129578902</c:v>
                </c:pt>
                <c:pt idx="45436">
                  <c:v>30.528545071210807</c:v>
                </c:pt>
                <c:pt idx="45437">
                  <c:v>36.530673371297524</c:v>
                </c:pt>
                <c:pt idx="45438">
                  <c:v>29.123586307320551</c:v>
                </c:pt>
                <c:pt idx="45439">
                  <c:v>24.774073320592557</c:v>
                </c:pt>
                <c:pt idx="45440">
                  <c:v>25.283409187369308</c:v>
                </c:pt>
                <c:pt idx="45441">
                  <c:v>28.489444842666309</c:v>
                </c:pt>
                <c:pt idx="45442">
                  <c:v>30.484076615502968</c:v>
                </c:pt>
                <c:pt idx="45443">
                  <c:v>46.158123467548208</c:v>
                </c:pt>
                <c:pt idx="45444">
                  <c:v>17.42324597461862</c:v>
                </c:pt>
                <c:pt idx="45445">
                  <c:v>24.24621045057366</c:v>
                </c:pt>
                <c:pt idx="45446">
                  <c:v>39.762317344115168</c:v>
                </c:pt>
                <c:pt idx="45447">
                  <c:v>47.437094750405706</c:v>
                </c:pt>
                <c:pt idx="45448">
                  <c:v>42.144760300347436</c:v>
                </c:pt>
                <c:pt idx="45449">
                  <c:v>39.730586434351117</c:v>
                </c:pt>
                <c:pt idx="45450">
                  <c:v>26.519053217702286</c:v>
                </c:pt>
                <c:pt idx="45451">
                  <c:v>25.989195846125195</c:v>
                </c:pt>
                <c:pt idx="45452">
                  <c:v>26.648968984150027</c:v>
                </c:pt>
                <c:pt idx="45453">
                  <c:v>48.273187512675648</c:v>
                </c:pt>
                <c:pt idx="45454">
                  <c:v>27.118167146064991</c:v>
                </c:pt>
                <c:pt idx="45455">
                  <c:v>19.981118504769366</c:v>
                </c:pt>
                <c:pt idx="45456">
                  <c:v>45.889421444719403</c:v>
                </c:pt>
                <c:pt idx="45457">
                  <c:v>20.434565127937326</c:v>
                </c:pt>
                <c:pt idx="45458">
                  <c:v>23.560953082668391</c:v>
                </c:pt>
                <c:pt idx="45459">
                  <c:v>29.490271122894388</c:v>
                </c:pt>
                <c:pt idx="45460">
                  <c:v>26.861141163099127</c:v>
                </c:pt>
                <c:pt idx="45461">
                  <c:v>28.925150136171084</c:v>
                </c:pt>
                <c:pt idx="45462">
                  <c:v>54.712223543261871</c:v>
                </c:pt>
                <c:pt idx="45463">
                  <c:v>20.220993058584867</c:v>
                </c:pt>
                <c:pt idx="45464">
                  <c:v>19.423296969690213</c:v>
                </c:pt>
                <c:pt idx="45465">
                  <c:v>40.296643489673833</c:v>
                </c:pt>
                <c:pt idx="45466">
                  <c:v>45.226781309343764</c:v>
                </c:pt>
                <c:pt idx="45467">
                  <c:v>38.503127101760768</c:v>
                </c:pt>
                <c:pt idx="45468">
                  <c:v>23.022407522005111</c:v>
                </c:pt>
                <c:pt idx="45469">
                  <c:v>38.613840830203031</c:v>
                </c:pt>
                <c:pt idx="45470">
                  <c:v>31.452860887499504</c:v>
                </c:pt>
                <c:pt idx="45471">
                  <c:v>28.693121237235442</c:v>
                </c:pt>
                <c:pt idx="45472">
                  <c:v>33.90202984416797</c:v>
                </c:pt>
                <c:pt idx="45473">
                  <c:v>23.404283357555137</c:v>
                </c:pt>
                <c:pt idx="45474">
                  <c:v>22.453124497101335</c:v>
                </c:pt>
                <c:pt idx="45475">
                  <c:v>55.981291218335365</c:v>
                </c:pt>
                <c:pt idx="45476">
                  <c:v>46.066105203374967</c:v>
                </c:pt>
                <c:pt idx="45477">
                  <c:v>20.89879451791429</c:v>
                </c:pt>
                <c:pt idx="45478">
                  <c:v>48.865629099677228</c:v>
                </c:pt>
                <c:pt idx="45479">
                  <c:v>23.172910806002605</c:v>
                </c:pt>
                <c:pt idx="45480">
                  <c:v>24.897365090334631</c:v>
                </c:pt>
                <c:pt idx="45481">
                  <c:v>51.064583055829125</c:v>
                </c:pt>
                <c:pt idx="45482">
                  <c:v>26.292164804370501</c:v>
                </c:pt>
                <c:pt idx="45483">
                  <c:v>45.176055917117168</c:v>
                </c:pt>
                <c:pt idx="45484">
                  <c:v>23.862386959316755</c:v>
                </c:pt>
                <c:pt idx="45485">
                  <c:v>23.842425477050952</c:v>
                </c:pt>
                <c:pt idx="45486">
                  <c:v>23.872045580408816</c:v>
                </c:pt>
                <c:pt idx="45487">
                  <c:v>36.391294312480674</c:v>
                </c:pt>
                <c:pt idx="45488">
                  <c:v>33.645320584013575</c:v>
                </c:pt>
                <c:pt idx="45489">
                  <c:v>32.426982456149375</c:v>
                </c:pt>
                <c:pt idx="45490">
                  <c:v>35.956295195686316</c:v>
                </c:pt>
                <c:pt idx="45491">
                  <c:v>23.313036842493396</c:v>
                </c:pt>
                <c:pt idx="45492">
                  <c:v>20.994496584960192</c:v>
                </c:pt>
                <c:pt idx="45493">
                  <c:v>32.620709214212312</c:v>
                </c:pt>
                <c:pt idx="45494">
                  <c:v>42.603763983471183</c:v>
                </c:pt>
                <c:pt idx="45495">
                  <c:v>48.262327411360531</c:v>
                </c:pt>
                <c:pt idx="45496">
                  <c:v>26.104901011014778</c:v>
                </c:pt>
                <c:pt idx="45497">
                  <c:v>25.092133965954339</c:v>
                </c:pt>
                <c:pt idx="45498">
                  <c:v>22.15149623669414</c:v>
                </c:pt>
                <c:pt idx="45499">
                  <c:v>41.8206741592345</c:v>
                </c:pt>
                <c:pt idx="45500">
                  <c:v>25.429126926948282</c:v>
                </c:pt>
                <c:pt idx="45501">
                  <c:v>22.599998828187637</c:v>
                </c:pt>
                <c:pt idx="45502">
                  <c:v>28.294473062202609</c:v>
                </c:pt>
                <c:pt idx="45503">
                  <c:v>24.199298957987445</c:v>
                </c:pt>
                <c:pt idx="45504">
                  <c:v>27.991245814520063</c:v>
                </c:pt>
                <c:pt idx="45505">
                  <c:v>22.157500281292624</c:v>
                </c:pt>
                <c:pt idx="45506">
                  <c:v>16.346466507937372</c:v>
                </c:pt>
                <c:pt idx="45507">
                  <c:v>26.532333074650623</c:v>
                </c:pt>
                <c:pt idx="45508">
                  <c:v>28.34945157747153</c:v>
                </c:pt>
                <c:pt idx="45509">
                  <c:v>27.92745168565418</c:v>
                </c:pt>
                <c:pt idx="45510">
                  <c:v>28.847147108150924</c:v>
                </c:pt>
                <c:pt idx="45511">
                  <c:v>27.683513631035392</c:v>
                </c:pt>
                <c:pt idx="45512">
                  <c:v>33.36309067949653</c:v>
                </c:pt>
                <c:pt idx="45513">
                  <c:v>29.913455784220545</c:v>
                </c:pt>
                <c:pt idx="45514">
                  <c:v>25.69919888083518</c:v>
                </c:pt>
                <c:pt idx="45515">
                  <c:v>24.169750848075079</c:v>
                </c:pt>
                <c:pt idx="45516">
                  <c:v>25.135471861509487</c:v>
                </c:pt>
                <c:pt idx="45517">
                  <c:v>33.63254410467097</c:v>
                </c:pt>
                <c:pt idx="45518">
                  <c:v>28.089194928045977</c:v>
                </c:pt>
                <c:pt idx="45519">
                  <c:v>34.279459414817318</c:v>
                </c:pt>
                <c:pt idx="45520">
                  <c:v>19.698610828332463</c:v>
                </c:pt>
                <c:pt idx="45521">
                  <c:v>51.453257464214332</c:v>
                </c:pt>
                <c:pt idx="45522">
                  <c:v>28.863505453546047</c:v>
                </c:pt>
                <c:pt idx="45523">
                  <c:v>45.037999337719469</c:v>
                </c:pt>
                <c:pt idx="45524">
                  <c:v>20.215492888896478</c:v>
                </c:pt>
                <c:pt idx="45525">
                  <c:v>26.418830784328119</c:v>
                </c:pt>
                <c:pt idx="45526">
                  <c:v>45.979024888429528</c:v>
                </c:pt>
                <c:pt idx="45527">
                  <c:v>38.577755519670312</c:v>
                </c:pt>
                <c:pt idx="45528">
                  <c:v>29.722040014868284</c:v>
                </c:pt>
                <c:pt idx="45529">
                  <c:v>48.021827665130132</c:v>
                </c:pt>
                <c:pt idx="45530">
                  <c:v>54.34426950457614</c:v>
                </c:pt>
                <c:pt idx="45531">
                  <c:v>31.0518835250748</c:v>
                </c:pt>
                <c:pt idx="45532">
                  <c:v>23.651407448166431</c:v>
                </c:pt>
                <c:pt idx="45533">
                  <c:v>33.050417686358102</c:v>
                </c:pt>
                <c:pt idx="45534">
                  <c:v>39.273848061563257</c:v>
                </c:pt>
                <c:pt idx="45535">
                  <c:v>31.674293057241918</c:v>
                </c:pt>
                <c:pt idx="45536">
                  <c:v>26.832713718427286</c:v>
                </c:pt>
                <c:pt idx="45537">
                  <c:v>34.902290663109206</c:v>
                </c:pt>
                <c:pt idx="45538">
                  <c:v>35.725760071117989</c:v>
                </c:pt>
                <c:pt idx="45539">
                  <c:v>37.466797315450997</c:v>
                </c:pt>
                <c:pt idx="45540">
                  <c:v>22.228969022945343</c:v>
                </c:pt>
                <c:pt idx="45541">
                  <c:v>53.551292896614456</c:v>
                </c:pt>
                <c:pt idx="45542">
                  <c:v>25.797819699934454</c:v>
                </c:pt>
                <c:pt idx="45543">
                  <c:v>44.645134693137834</c:v>
                </c:pt>
                <c:pt idx="45544">
                  <c:v>25.27762335796006</c:v>
                </c:pt>
                <c:pt idx="45545">
                  <c:v>46.67686519627631</c:v>
                </c:pt>
                <c:pt idx="45546">
                  <c:v>29.555950281132105</c:v>
                </c:pt>
                <c:pt idx="45547">
                  <c:v>35.304238708184961</c:v>
                </c:pt>
                <c:pt idx="45548">
                  <c:v>19.377389778567025</c:v>
                </c:pt>
                <c:pt idx="45549">
                  <c:v>27.774299985431334</c:v>
                </c:pt>
                <c:pt idx="45550">
                  <c:v>24.233886917550507</c:v>
                </c:pt>
                <c:pt idx="45551">
                  <c:v>22.941345504391158</c:v>
                </c:pt>
                <c:pt idx="45552">
                  <c:v>49.406454305033577</c:v>
                </c:pt>
                <c:pt idx="45553">
                  <c:v>24.178679991482699</c:v>
                </c:pt>
                <c:pt idx="45554">
                  <c:v>16.415212119491667</c:v>
                </c:pt>
                <c:pt idx="45555">
                  <c:v>27.803184762212787</c:v>
                </c:pt>
                <c:pt idx="45556">
                  <c:v>44.918165190132036</c:v>
                </c:pt>
                <c:pt idx="45557">
                  <c:v>26.331113813023986</c:v>
                </c:pt>
                <c:pt idx="45558">
                  <c:v>34.75523101746019</c:v>
                </c:pt>
                <c:pt idx="45559">
                  <c:v>18.926666383047781</c:v>
                </c:pt>
                <c:pt idx="45560">
                  <c:v>25.992162896611788</c:v>
                </c:pt>
                <c:pt idx="45561">
                  <c:v>27.789948823443627</c:v>
                </c:pt>
                <c:pt idx="45562">
                  <c:v>20.882291824156663</c:v>
                </c:pt>
                <c:pt idx="45563">
                  <c:v>30.392996235400574</c:v>
                </c:pt>
                <c:pt idx="45564">
                  <c:v>44.034668964066448</c:v>
                </c:pt>
                <c:pt idx="45565">
                  <c:v>25.115450060488243</c:v>
                </c:pt>
                <c:pt idx="45566">
                  <c:v>41.087210271560103</c:v>
                </c:pt>
                <c:pt idx="45567">
                  <c:v>19.561938861101307</c:v>
                </c:pt>
                <c:pt idx="45568">
                  <c:v>28.682020484024633</c:v>
                </c:pt>
                <c:pt idx="45569">
                  <c:v>18.270164736977918</c:v>
                </c:pt>
                <c:pt idx="45570">
                  <c:v>25.108997266325158</c:v>
                </c:pt>
                <c:pt idx="45571">
                  <c:v>24.043822200560662</c:v>
                </c:pt>
                <c:pt idx="45572">
                  <c:v>26.649419928638629</c:v>
                </c:pt>
                <c:pt idx="45573">
                  <c:v>24.176426033953369</c:v>
                </c:pt>
                <c:pt idx="45574">
                  <c:v>29.166980530389285</c:v>
                </c:pt>
                <c:pt idx="45575">
                  <c:v>31.771618976274631</c:v>
                </c:pt>
                <c:pt idx="45576">
                  <c:v>31.282291332456587</c:v>
                </c:pt>
                <c:pt idx="45577">
                  <c:v>36.190358716553149</c:v>
                </c:pt>
                <c:pt idx="45578">
                  <c:v>12.484385529684465</c:v>
                </c:pt>
                <c:pt idx="45579">
                  <c:v>40.092990213931849</c:v>
                </c:pt>
                <c:pt idx="45580">
                  <c:v>38.151370653086921</c:v>
                </c:pt>
                <c:pt idx="45581">
                  <c:v>29.270418147171938</c:v>
                </c:pt>
                <c:pt idx="45582">
                  <c:v>56.739028227877085</c:v>
                </c:pt>
                <c:pt idx="45583">
                  <c:v>50.1729281551833</c:v>
                </c:pt>
                <c:pt idx="45584">
                  <c:v>41.138346947916396</c:v>
                </c:pt>
                <c:pt idx="45585">
                  <c:v>26.253340623605332</c:v>
                </c:pt>
                <c:pt idx="45586">
                  <c:v>27.1100892880809</c:v>
                </c:pt>
                <c:pt idx="45587">
                  <c:v>26.204584856269591</c:v>
                </c:pt>
                <c:pt idx="45588">
                  <c:v>20.230300556825625</c:v>
                </c:pt>
                <c:pt idx="45589">
                  <c:v>21.016999083147702</c:v>
                </c:pt>
                <c:pt idx="45590">
                  <c:v>28.206031188620997</c:v>
                </c:pt>
                <c:pt idx="45591">
                  <c:v>23.119810733534813</c:v>
                </c:pt>
                <c:pt idx="45592">
                  <c:v>25.36331683038917</c:v>
                </c:pt>
                <c:pt idx="45593">
                  <c:v>23.621291527589307</c:v>
                </c:pt>
                <c:pt idx="45594">
                  <c:v>22.51995370027651</c:v>
                </c:pt>
                <c:pt idx="45595">
                  <c:v>31.057540433642306</c:v>
                </c:pt>
                <c:pt idx="45596">
                  <c:v>22.636557526493537</c:v>
                </c:pt>
                <c:pt idx="45597">
                  <c:v>47.012146394731531</c:v>
                </c:pt>
                <c:pt idx="45598">
                  <c:v>31.132128088339179</c:v>
                </c:pt>
                <c:pt idx="45599">
                  <c:v>30.222017756802774</c:v>
                </c:pt>
                <c:pt idx="45600">
                  <c:v>47.780837707022769</c:v>
                </c:pt>
                <c:pt idx="45601">
                  <c:v>20.591185504912882</c:v>
                </c:pt>
                <c:pt idx="45602">
                  <c:v>34.643329560404304</c:v>
                </c:pt>
                <c:pt idx="45603">
                  <c:v>33.862741468710084</c:v>
                </c:pt>
                <c:pt idx="45604">
                  <c:v>28.905116982492025</c:v>
                </c:pt>
                <c:pt idx="45605">
                  <c:v>27.68425358969564</c:v>
                </c:pt>
                <c:pt idx="45606">
                  <c:v>42.598132924639195</c:v>
                </c:pt>
                <c:pt idx="45607">
                  <c:v>25.470201178377295</c:v>
                </c:pt>
                <c:pt idx="45608">
                  <c:v>22.570159018083523</c:v>
                </c:pt>
                <c:pt idx="45609">
                  <c:v>29.681798545432333</c:v>
                </c:pt>
                <c:pt idx="45610">
                  <c:v>24.181703579389566</c:v>
                </c:pt>
                <c:pt idx="45611">
                  <c:v>28.82858990983592</c:v>
                </c:pt>
                <c:pt idx="45612">
                  <c:v>52.670594717159624</c:v>
                </c:pt>
                <c:pt idx="45613">
                  <c:v>29.454157420149244</c:v>
                </c:pt>
                <c:pt idx="45614">
                  <c:v>27.92823617375533</c:v>
                </c:pt>
                <c:pt idx="45615">
                  <c:v>26.944608607407314</c:v>
                </c:pt>
                <c:pt idx="45616">
                  <c:v>26.54557321861045</c:v>
                </c:pt>
                <c:pt idx="45617">
                  <c:v>41.157338962560935</c:v>
                </c:pt>
                <c:pt idx="45618">
                  <c:v>21.04498199508377</c:v>
                </c:pt>
                <c:pt idx="45619">
                  <c:v>25.12111350658494</c:v>
                </c:pt>
                <c:pt idx="45620">
                  <c:v>29.069476907056565</c:v>
                </c:pt>
                <c:pt idx="45621">
                  <c:v>28.861165131131145</c:v>
                </c:pt>
                <c:pt idx="45622">
                  <c:v>43.768890305800738</c:v>
                </c:pt>
                <c:pt idx="45623">
                  <c:v>38.984125087371829</c:v>
                </c:pt>
                <c:pt idx="45624">
                  <c:v>25.565773949281464</c:v>
                </c:pt>
                <c:pt idx="45625">
                  <c:v>45.226072728464636</c:v>
                </c:pt>
                <c:pt idx="45626">
                  <c:v>25.492118253494965</c:v>
                </c:pt>
                <c:pt idx="45627">
                  <c:v>26.893699747145664</c:v>
                </c:pt>
                <c:pt idx="45628">
                  <c:v>42.902910658001119</c:v>
                </c:pt>
                <c:pt idx="45629">
                  <c:v>43.7939492191718</c:v>
                </c:pt>
                <c:pt idx="45630">
                  <c:v>42.866731234215884</c:v>
                </c:pt>
                <c:pt idx="45631">
                  <c:v>28.355785797745042</c:v>
                </c:pt>
                <c:pt idx="45632">
                  <c:v>28.464970412799374</c:v>
                </c:pt>
                <c:pt idx="45633">
                  <c:v>44.682092747580512</c:v>
                </c:pt>
                <c:pt idx="45634">
                  <c:v>24.998832828124893</c:v>
                </c:pt>
                <c:pt idx="45635">
                  <c:v>59.17347628004056</c:v>
                </c:pt>
                <c:pt idx="45636">
                  <c:v>24.267608790938105</c:v>
                </c:pt>
                <c:pt idx="45637">
                  <c:v>40.258472888766782</c:v>
                </c:pt>
                <c:pt idx="45638">
                  <c:v>20.124323549049954</c:v>
                </c:pt>
                <c:pt idx="45639">
                  <c:v>15.967970712318401</c:v>
                </c:pt>
                <c:pt idx="45640">
                  <c:v>25.778540105845209</c:v>
                </c:pt>
                <c:pt idx="45641">
                  <c:v>54.284736503213153</c:v>
                </c:pt>
                <c:pt idx="45642">
                  <c:v>63.905961131342515</c:v>
                </c:pt>
                <c:pt idx="45643">
                  <c:v>25.148977933531796</c:v>
                </c:pt>
                <c:pt idx="45644">
                  <c:v>31.917860903413487</c:v>
                </c:pt>
                <c:pt idx="45645">
                  <c:v>46.118861510883519</c:v>
                </c:pt>
                <c:pt idx="45646">
                  <c:v>24.59671720199259</c:v>
                </c:pt>
                <c:pt idx="45647">
                  <c:v>25.876546920851098</c:v>
                </c:pt>
                <c:pt idx="45648">
                  <c:v>66.605137064623079</c:v>
                </c:pt>
                <c:pt idx="45649">
                  <c:v>27.661095685390901</c:v>
                </c:pt>
                <c:pt idx="45650">
                  <c:v>22.738115406093119</c:v>
                </c:pt>
                <c:pt idx="45651">
                  <c:v>35.536717270448662</c:v>
                </c:pt>
                <c:pt idx="45652">
                  <c:v>54.828430082885262</c:v>
                </c:pt>
                <c:pt idx="45653">
                  <c:v>44.247959364636614</c:v>
                </c:pt>
                <c:pt idx="45654">
                  <c:v>52.371386852861605</c:v>
                </c:pt>
                <c:pt idx="45655">
                  <c:v>43.491975998058344</c:v>
                </c:pt>
                <c:pt idx="45656">
                  <c:v>33.595218355855081</c:v>
                </c:pt>
                <c:pt idx="45657">
                  <c:v>28.280505915657635</c:v>
                </c:pt>
                <c:pt idx="45658">
                  <c:v>19.506852257719295</c:v>
                </c:pt>
                <c:pt idx="45659">
                  <c:v>24.629444136153008</c:v>
                </c:pt>
                <c:pt idx="45660">
                  <c:v>23.754165256001919</c:v>
                </c:pt>
                <c:pt idx="45661">
                  <c:v>16.658787821350323</c:v>
                </c:pt>
                <c:pt idx="45662">
                  <c:v>22.098990435572887</c:v>
                </c:pt>
                <c:pt idx="45663">
                  <c:v>27.434346230975521</c:v>
                </c:pt>
                <c:pt idx="45664">
                  <c:v>48.604972967503308</c:v>
                </c:pt>
                <c:pt idx="45665">
                  <c:v>36.246427903031943</c:v>
                </c:pt>
                <c:pt idx="45666">
                  <c:v>34.147248028223771</c:v>
                </c:pt>
                <c:pt idx="45667">
                  <c:v>23.450788930536959</c:v>
                </c:pt>
                <c:pt idx="45668">
                  <c:v>42.853321380875023</c:v>
                </c:pt>
                <c:pt idx="45669">
                  <c:v>38.377211654372914</c:v>
                </c:pt>
                <c:pt idx="45670">
                  <c:v>28.016354105376671</c:v>
                </c:pt>
                <c:pt idx="45671">
                  <c:v>32.049921525429689</c:v>
                </c:pt>
                <c:pt idx="45672">
                  <c:v>40.739674694077017</c:v>
                </c:pt>
                <c:pt idx="45673">
                  <c:v>26.645832807260465</c:v>
                </c:pt>
                <c:pt idx="45674">
                  <c:v>31.571943285326803</c:v>
                </c:pt>
                <c:pt idx="45675">
                  <c:v>22.194925045811608</c:v>
                </c:pt>
                <c:pt idx="45676">
                  <c:v>45.505212158104321</c:v>
                </c:pt>
                <c:pt idx="45677">
                  <c:v>25.629569592224115</c:v>
                </c:pt>
                <c:pt idx="45678">
                  <c:v>25.313939050478311</c:v>
                </c:pt>
                <c:pt idx="45679">
                  <c:v>26.261574641691414</c:v>
                </c:pt>
                <c:pt idx="45680">
                  <c:v>22.017795457730347</c:v>
                </c:pt>
                <c:pt idx="45681">
                  <c:v>45.363327307843775</c:v>
                </c:pt>
                <c:pt idx="45682">
                  <c:v>23.703599806992951</c:v>
                </c:pt>
                <c:pt idx="45683">
                  <c:v>28.608321980102343</c:v>
                </c:pt>
                <c:pt idx="45684">
                  <c:v>49.101705425315885</c:v>
                </c:pt>
                <c:pt idx="45685">
                  <c:v>21.22809184218891</c:v>
                </c:pt>
                <c:pt idx="45686">
                  <c:v>26.091086175820706</c:v>
                </c:pt>
                <c:pt idx="45687">
                  <c:v>34.785139747082212</c:v>
                </c:pt>
                <c:pt idx="45688">
                  <c:v>26.345481151152484</c:v>
                </c:pt>
                <c:pt idx="45689">
                  <c:v>27.233291865838439</c:v>
                </c:pt>
                <c:pt idx="45690">
                  <c:v>14.725589494908286</c:v>
                </c:pt>
                <c:pt idx="45691">
                  <c:v>27.166811635074083</c:v>
                </c:pt>
                <c:pt idx="45692">
                  <c:v>18.865352037958043</c:v>
                </c:pt>
                <c:pt idx="45693">
                  <c:v>23.218120330627077</c:v>
                </c:pt>
                <c:pt idx="45694">
                  <c:v>20.971573547329715</c:v>
                </c:pt>
                <c:pt idx="45695">
                  <c:v>28.214585210790055</c:v>
                </c:pt>
                <c:pt idx="45696">
                  <c:v>28.875949455429545</c:v>
                </c:pt>
                <c:pt idx="45697">
                  <c:v>30.586912931576276</c:v>
                </c:pt>
                <c:pt idx="45698">
                  <c:v>39.28122020592977</c:v>
                </c:pt>
                <c:pt idx="45699">
                  <c:v>30.649787646133422</c:v>
                </c:pt>
                <c:pt idx="45700">
                  <c:v>26.535292089243509</c:v>
                </c:pt>
                <c:pt idx="45701">
                  <c:v>50.540995047165744</c:v>
                </c:pt>
                <c:pt idx="45702">
                  <c:v>27.067432659757714</c:v>
                </c:pt>
                <c:pt idx="45703">
                  <c:v>20.261118158820278</c:v>
                </c:pt>
                <c:pt idx="45704">
                  <c:v>23.67511408982881</c:v>
                </c:pt>
                <c:pt idx="45705">
                  <c:v>31.206038675006951</c:v>
                </c:pt>
                <c:pt idx="45706">
                  <c:v>48.276019361766018</c:v>
                </c:pt>
                <c:pt idx="45707">
                  <c:v>31.468411218976069</c:v>
                </c:pt>
                <c:pt idx="45708">
                  <c:v>25.822479541262759</c:v>
                </c:pt>
                <c:pt idx="45709">
                  <c:v>35.635742630510563</c:v>
                </c:pt>
                <c:pt idx="45710">
                  <c:v>27.438926630525323</c:v>
                </c:pt>
                <c:pt idx="45711">
                  <c:v>30.949878841283748</c:v>
                </c:pt>
                <c:pt idx="45712">
                  <c:v>27.752499243889893</c:v>
                </c:pt>
                <c:pt idx="45713">
                  <c:v>22.979550609180347</c:v>
                </c:pt>
                <c:pt idx="45714">
                  <c:v>23.064647583544492</c:v>
                </c:pt>
                <c:pt idx="45715">
                  <c:v>24.703824387632302</c:v>
                </c:pt>
                <c:pt idx="45716">
                  <c:v>23.746827759342075</c:v>
                </c:pt>
                <c:pt idx="45717">
                  <c:v>44.488124812160038</c:v>
                </c:pt>
                <c:pt idx="45718">
                  <c:v>30.152790687030418</c:v>
                </c:pt>
                <c:pt idx="45719">
                  <c:v>31.216569959075606</c:v>
                </c:pt>
                <c:pt idx="45720">
                  <c:v>48.187571981786206</c:v>
                </c:pt>
                <c:pt idx="45721">
                  <c:v>23.762853220544038</c:v>
                </c:pt>
                <c:pt idx="45722">
                  <c:v>29.624907517061757</c:v>
                </c:pt>
                <c:pt idx="45723">
                  <c:v>50.616759099913658</c:v>
                </c:pt>
                <c:pt idx="45724">
                  <c:v>47.24300214920089</c:v>
                </c:pt>
                <c:pt idx="45725">
                  <c:v>40.52539714820518</c:v>
                </c:pt>
                <c:pt idx="45726">
                  <c:v>43.937932365062849</c:v>
                </c:pt>
                <c:pt idx="45727">
                  <c:v>30.749756197404743</c:v>
                </c:pt>
                <c:pt idx="45728">
                  <c:v>53.070011933116071</c:v>
                </c:pt>
                <c:pt idx="45729">
                  <c:v>22.45774847787721</c:v>
                </c:pt>
                <c:pt idx="45730">
                  <c:v>24.734411077386198</c:v>
                </c:pt>
                <c:pt idx="45731">
                  <c:v>28.53332069671265</c:v>
                </c:pt>
                <c:pt idx="45732">
                  <c:v>30.898015920713554</c:v>
                </c:pt>
                <c:pt idx="45733">
                  <c:v>44.599816668934807</c:v>
                </c:pt>
                <c:pt idx="45734">
                  <c:v>26.571285411771505</c:v>
                </c:pt>
                <c:pt idx="45735">
                  <c:v>21.207353609995131</c:v>
                </c:pt>
                <c:pt idx="45736">
                  <c:v>23.437102123828879</c:v>
                </c:pt>
                <c:pt idx="45737">
                  <c:v>19.558831965624712</c:v>
                </c:pt>
                <c:pt idx="45738">
                  <c:v>20.889661258454218</c:v>
                </c:pt>
                <c:pt idx="45739">
                  <c:v>44.657551304604127</c:v>
                </c:pt>
                <c:pt idx="45740">
                  <c:v>29.76847669713483</c:v>
                </c:pt>
                <c:pt idx="45741">
                  <c:v>44.615963782278428</c:v>
                </c:pt>
                <c:pt idx="45742">
                  <c:v>26.271027806786535</c:v>
                </c:pt>
                <c:pt idx="45743">
                  <c:v>27.598665906004253</c:v>
                </c:pt>
                <c:pt idx="45744">
                  <c:v>48.43538493155036</c:v>
                </c:pt>
                <c:pt idx="45745">
                  <c:v>26.888455674816516</c:v>
                </c:pt>
                <c:pt idx="45746">
                  <c:v>44.619988213432961</c:v>
                </c:pt>
                <c:pt idx="45747">
                  <c:v>31.290022082711669</c:v>
                </c:pt>
                <c:pt idx="45748">
                  <c:v>28.63055305418137</c:v>
                </c:pt>
                <c:pt idx="45749">
                  <c:v>45.10080490944744</c:v>
                </c:pt>
                <c:pt idx="45750">
                  <c:v>34.613129796098548</c:v>
                </c:pt>
                <c:pt idx="45751">
                  <c:v>23.135022178577216</c:v>
                </c:pt>
                <c:pt idx="45752">
                  <c:v>35.929624744652124</c:v>
                </c:pt>
                <c:pt idx="45753">
                  <c:v>42.464979772346808</c:v>
                </c:pt>
                <c:pt idx="45754">
                  <c:v>22.839421560604475</c:v>
                </c:pt>
                <c:pt idx="45755">
                  <c:v>27.397849622160564</c:v>
                </c:pt>
                <c:pt idx="45756">
                  <c:v>28.230105177455812</c:v>
                </c:pt>
                <c:pt idx="45757">
                  <c:v>27.541868793868481</c:v>
                </c:pt>
                <c:pt idx="45758">
                  <c:v>35.840348136430407</c:v>
                </c:pt>
                <c:pt idx="45759">
                  <c:v>25.494768477177708</c:v>
                </c:pt>
                <c:pt idx="45760">
                  <c:v>27.0508903034622</c:v>
                </c:pt>
                <c:pt idx="45761">
                  <c:v>25.067866604493048</c:v>
                </c:pt>
                <c:pt idx="45762">
                  <c:v>26.796486321133919</c:v>
                </c:pt>
                <c:pt idx="45763">
                  <c:v>19.906964069263083</c:v>
                </c:pt>
                <c:pt idx="45764">
                  <c:v>44.717521228969026</c:v>
                </c:pt>
                <c:pt idx="45765">
                  <c:v>29.906991102885726</c:v>
                </c:pt>
                <c:pt idx="45766">
                  <c:v>39.398886513402417</c:v>
                </c:pt>
                <c:pt idx="45767">
                  <c:v>23.865615555015665</c:v>
                </c:pt>
                <c:pt idx="45768">
                  <c:v>23.649450291252499</c:v>
                </c:pt>
                <c:pt idx="45769">
                  <c:v>49.883068973681368</c:v>
                </c:pt>
                <c:pt idx="45770">
                  <c:v>18.901444201187928</c:v>
                </c:pt>
                <c:pt idx="45771">
                  <c:v>32.370199652480792</c:v>
                </c:pt>
                <c:pt idx="45772">
                  <c:v>30.991608609303224</c:v>
                </c:pt>
                <c:pt idx="45773">
                  <c:v>29.41094615637601</c:v>
                </c:pt>
                <c:pt idx="45774">
                  <c:v>39.593079103681042</c:v>
                </c:pt>
                <c:pt idx="45775">
                  <c:v>27.337237351841654</c:v>
                </c:pt>
                <c:pt idx="45776">
                  <c:v>24.265132618427582</c:v>
                </c:pt>
                <c:pt idx="45777">
                  <c:v>23.264850146653657</c:v>
                </c:pt>
                <c:pt idx="45778">
                  <c:v>22.920947855333765</c:v>
                </c:pt>
                <c:pt idx="45779">
                  <c:v>33.000436199001896</c:v>
                </c:pt>
                <c:pt idx="45780">
                  <c:v>42.715308563966452</c:v>
                </c:pt>
                <c:pt idx="45781">
                  <c:v>23.678494086768062</c:v>
                </c:pt>
                <c:pt idx="45782">
                  <c:v>23.497379979163213</c:v>
                </c:pt>
                <c:pt idx="45783">
                  <c:v>41.542400815567341</c:v>
                </c:pt>
                <c:pt idx="45784">
                  <c:v>20.595762644328694</c:v>
                </c:pt>
                <c:pt idx="45785">
                  <c:v>25.415110048172412</c:v>
                </c:pt>
                <c:pt idx="45786">
                  <c:v>28.242476108053147</c:v>
                </c:pt>
                <c:pt idx="45787">
                  <c:v>30.328399075623949</c:v>
                </c:pt>
                <c:pt idx="45788">
                  <c:v>23.201534647343085</c:v>
                </c:pt>
                <c:pt idx="45789">
                  <c:v>16.641481074841263</c:v>
                </c:pt>
                <c:pt idx="45790">
                  <c:v>30.081269771784712</c:v>
                </c:pt>
                <c:pt idx="45791">
                  <c:v>45.075832554242062</c:v>
                </c:pt>
                <c:pt idx="45792">
                  <c:v>46.604432825528775</c:v>
                </c:pt>
                <c:pt idx="45793">
                  <c:v>49.570508780693338</c:v>
                </c:pt>
                <c:pt idx="45794">
                  <c:v>40.987380724680989</c:v>
                </c:pt>
                <c:pt idx="45795">
                  <c:v>27.702977139801874</c:v>
                </c:pt>
                <c:pt idx="45796">
                  <c:v>13.088176409907962</c:v>
                </c:pt>
                <c:pt idx="45797">
                  <c:v>49.482876642488513</c:v>
                </c:pt>
                <c:pt idx="45798">
                  <c:v>30.242758124483373</c:v>
                </c:pt>
                <c:pt idx="45799">
                  <c:v>20.122728332702167</c:v>
                </c:pt>
                <c:pt idx="45800">
                  <c:v>38.662788257548939</c:v>
                </c:pt>
                <c:pt idx="45801">
                  <c:v>35.635900599004131</c:v>
                </c:pt>
                <c:pt idx="45802">
                  <c:v>29.10980906314246</c:v>
                </c:pt>
                <c:pt idx="45803">
                  <c:v>54.348091750212554</c:v>
                </c:pt>
                <c:pt idx="45804">
                  <c:v>30.985150403351895</c:v>
                </c:pt>
                <c:pt idx="45805">
                  <c:v>24.09776784660934</c:v>
                </c:pt>
                <c:pt idx="45806">
                  <c:v>18.773462624143971</c:v>
                </c:pt>
                <c:pt idx="45807">
                  <c:v>15.263187220833771</c:v>
                </c:pt>
                <c:pt idx="45808">
                  <c:v>38.461627430151445</c:v>
                </c:pt>
                <c:pt idx="45809">
                  <c:v>32.285936029091474</c:v>
                </c:pt>
                <c:pt idx="45810">
                  <c:v>40.558756605681197</c:v>
                </c:pt>
                <c:pt idx="45811">
                  <c:v>43.484099287073526</c:v>
                </c:pt>
                <c:pt idx="45812">
                  <c:v>45.103508056700605</c:v>
                </c:pt>
                <c:pt idx="45813">
                  <c:v>18.41614095893221</c:v>
                </c:pt>
                <c:pt idx="45814">
                  <c:v>23.205437046920462</c:v>
                </c:pt>
                <c:pt idx="45815">
                  <c:v>50.762080117608214</c:v>
                </c:pt>
                <c:pt idx="45816">
                  <c:v>32.225956179532659</c:v>
                </c:pt>
                <c:pt idx="45817">
                  <c:v>27.71646012489267</c:v>
                </c:pt>
                <c:pt idx="45818">
                  <c:v>30.167249145151285</c:v>
                </c:pt>
                <c:pt idx="45819">
                  <c:v>48.314127724517014</c:v>
                </c:pt>
                <c:pt idx="45820">
                  <c:v>22.712096681499425</c:v>
                </c:pt>
                <c:pt idx="45821">
                  <c:v>27.629166112511413</c:v>
                </c:pt>
                <c:pt idx="45822">
                  <c:v>44.511263559344449</c:v>
                </c:pt>
                <c:pt idx="45823">
                  <c:v>42.013585444578609</c:v>
                </c:pt>
                <c:pt idx="45824">
                  <c:v>42.151864189547339</c:v>
                </c:pt>
                <c:pt idx="45825">
                  <c:v>34.511518283181005</c:v>
                </c:pt>
                <c:pt idx="45826">
                  <c:v>41.809446907444084</c:v>
                </c:pt>
                <c:pt idx="45827">
                  <c:v>18.119063206216907</c:v>
                </c:pt>
                <c:pt idx="45828">
                  <c:v>43.123508155403862</c:v>
                </c:pt>
                <c:pt idx="45829">
                  <c:v>33.824111993997086</c:v>
                </c:pt>
                <c:pt idx="45830">
                  <c:v>51.466685258542938</c:v>
                </c:pt>
                <c:pt idx="45831">
                  <c:v>33.314236285606626</c:v>
                </c:pt>
                <c:pt idx="45832">
                  <c:v>31.064048401413267</c:v>
                </c:pt>
                <c:pt idx="45833">
                  <c:v>25.735739530688473</c:v>
                </c:pt>
                <c:pt idx="45834">
                  <c:v>24.271580656063094</c:v>
                </c:pt>
                <c:pt idx="45835">
                  <c:v>25.760857601593205</c:v>
                </c:pt>
                <c:pt idx="45836">
                  <c:v>28.366405165809212</c:v>
                </c:pt>
                <c:pt idx="45837">
                  <c:v>48.724276126363506</c:v>
                </c:pt>
                <c:pt idx="45838">
                  <c:v>42.720071859640058</c:v>
                </c:pt>
                <c:pt idx="45839">
                  <c:v>28.396711766941429</c:v>
                </c:pt>
                <c:pt idx="45840">
                  <c:v>31.709908027937907</c:v>
                </c:pt>
                <c:pt idx="45841">
                  <c:v>37.481610646936765</c:v>
                </c:pt>
                <c:pt idx="45842">
                  <c:v>24.611899281754759</c:v>
                </c:pt>
                <c:pt idx="45843">
                  <c:v>24.548296375472169</c:v>
                </c:pt>
                <c:pt idx="45844">
                  <c:v>20.922456537046209</c:v>
                </c:pt>
                <c:pt idx="45845">
                  <c:v>40.633400124280236</c:v>
                </c:pt>
                <c:pt idx="45846">
                  <c:v>42.899606354342225</c:v>
                </c:pt>
                <c:pt idx="45847">
                  <c:v>26.255727718351817</c:v>
                </c:pt>
                <c:pt idx="45848">
                  <c:v>28.983947239560514</c:v>
                </c:pt>
                <c:pt idx="45849">
                  <c:v>43.01200705311674</c:v>
                </c:pt>
                <c:pt idx="45850">
                  <c:v>31.537970820440755</c:v>
                </c:pt>
                <c:pt idx="45851">
                  <c:v>42.962915647530913</c:v>
                </c:pt>
                <c:pt idx="45852">
                  <c:v>21.327252780472673</c:v>
                </c:pt>
                <c:pt idx="45853">
                  <c:v>24.131276462018452</c:v>
                </c:pt>
                <c:pt idx="45854">
                  <c:v>49.383888629591787</c:v>
                </c:pt>
                <c:pt idx="45855">
                  <c:v>27.206951980118298</c:v>
                </c:pt>
                <c:pt idx="45856">
                  <c:v>39.810968357231417</c:v>
                </c:pt>
                <c:pt idx="45857">
                  <c:v>31.134015864715018</c:v>
                </c:pt>
                <c:pt idx="45858">
                  <c:v>28.899481586270461</c:v>
                </c:pt>
                <c:pt idx="45859">
                  <c:v>53.386554886197388</c:v>
                </c:pt>
                <c:pt idx="45860">
                  <c:v>24.381683895670143</c:v>
                </c:pt>
                <c:pt idx="45861">
                  <c:v>32.904408259001542</c:v>
                </c:pt>
                <c:pt idx="45862">
                  <c:v>47.833815550086761</c:v>
                </c:pt>
                <c:pt idx="45863">
                  <c:v>19.175910233147185</c:v>
                </c:pt>
                <c:pt idx="45864">
                  <c:v>53.979076592042688</c:v>
                </c:pt>
                <c:pt idx="45865">
                  <c:v>22.52315045343612</c:v>
                </c:pt>
                <c:pt idx="45866">
                  <c:v>26.571631267015505</c:v>
                </c:pt>
                <c:pt idx="45867">
                  <c:v>29.345879612984227</c:v>
                </c:pt>
                <c:pt idx="45868">
                  <c:v>23.604182744719186</c:v>
                </c:pt>
                <c:pt idx="45869">
                  <c:v>42.417820435721218</c:v>
                </c:pt>
                <c:pt idx="45870">
                  <c:v>31.124728644914768</c:v>
                </c:pt>
                <c:pt idx="45871">
                  <c:v>27.845267081607833</c:v>
                </c:pt>
                <c:pt idx="45872">
                  <c:v>22.582139278674298</c:v>
                </c:pt>
                <c:pt idx="45873">
                  <c:v>43.134440866152119</c:v>
                </c:pt>
                <c:pt idx="45874">
                  <c:v>24.01439351614998</c:v>
                </c:pt>
                <c:pt idx="45875">
                  <c:v>30.207773135740453</c:v>
                </c:pt>
                <c:pt idx="45876">
                  <c:v>22.108277528104242</c:v>
                </c:pt>
                <c:pt idx="45877">
                  <c:v>30.377225414277341</c:v>
                </c:pt>
                <c:pt idx="45878">
                  <c:v>25.945833079393616</c:v>
                </c:pt>
                <c:pt idx="45879">
                  <c:v>20.648723566306835</c:v>
                </c:pt>
                <c:pt idx="45880">
                  <c:v>24.729391640699536</c:v>
                </c:pt>
                <c:pt idx="45881">
                  <c:v>38.832402930194085</c:v>
                </c:pt>
                <c:pt idx="45882">
                  <c:v>18.575070734956121</c:v>
                </c:pt>
                <c:pt idx="45883">
                  <c:v>17.27774456289082</c:v>
                </c:pt>
                <c:pt idx="45884">
                  <c:v>25.458148864223922</c:v>
                </c:pt>
                <c:pt idx="45885">
                  <c:v>24.541472174132977</c:v>
                </c:pt>
                <c:pt idx="45886">
                  <c:v>23.978257836887298</c:v>
                </c:pt>
                <c:pt idx="45887">
                  <c:v>39.485255437617056</c:v>
                </c:pt>
                <c:pt idx="45888">
                  <c:v>22.020801711487472</c:v>
                </c:pt>
                <c:pt idx="45889">
                  <c:v>30.942447562619471</c:v>
                </c:pt>
                <c:pt idx="45890">
                  <c:v>24.367934384405373</c:v>
                </c:pt>
                <c:pt idx="45891">
                  <c:v>29.447304481985121</c:v>
                </c:pt>
                <c:pt idx="45892">
                  <c:v>34.102644338553162</c:v>
                </c:pt>
                <c:pt idx="45893">
                  <c:v>25.232058741223682</c:v>
                </c:pt>
                <c:pt idx="45894">
                  <c:v>22.881167954754737</c:v>
                </c:pt>
                <c:pt idx="45895">
                  <c:v>43.613660956765763</c:v>
                </c:pt>
                <c:pt idx="45896">
                  <c:v>27.913800187586624</c:v>
                </c:pt>
                <c:pt idx="45897">
                  <c:v>27.407751933495589</c:v>
                </c:pt>
                <c:pt idx="45898">
                  <c:v>43.223366249235049</c:v>
                </c:pt>
                <c:pt idx="45899">
                  <c:v>27.029624056639943</c:v>
                </c:pt>
                <c:pt idx="45900">
                  <c:v>28.747647991908874</c:v>
                </c:pt>
                <c:pt idx="45901">
                  <c:v>36.321147779666568</c:v>
                </c:pt>
                <c:pt idx="45902">
                  <c:v>27.793279179823056</c:v>
                </c:pt>
                <c:pt idx="45903">
                  <c:v>22.389268735614515</c:v>
                </c:pt>
                <c:pt idx="45904">
                  <c:v>28.393070077338617</c:v>
                </c:pt>
                <c:pt idx="45905">
                  <c:v>44.332198487017628</c:v>
                </c:pt>
                <c:pt idx="45906">
                  <c:v>42.364228503163183</c:v>
                </c:pt>
                <c:pt idx="45907">
                  <c:v>25.840891275722683</c:v>
                </c:pt>
                <c:pt idx="45908">
                  <c:v>57.963457887058652</c:v>
                </c:pt>
                <c:pt idx="45909">
                  <c:v>22.578346449026711</c:v>
                </c:pt>
                <c:pt idx="45910">
                  <c:v>33.639715704807678</c:v>
                </c:pt>
                <c:pt idx="45911">
                  <c:v>22.468256671654466</c:v>
                </c:pt>
                <c:pt idx="45912">
                  <c:v>30.592679447680567</c:v>
                </c:pt>
                <c:pt idx="45913">
                  <c:v>27.287913187854283</c:v>
                </c:pt>
                <c:pt idx="45914">
                  <c:v>52.743296880948094</c:v>
                </c:pt>
                <c:pt idx="45915">
                  <c:v>31.342102238175869</c:v>
                </c:pt>
                <c:pt idx="45916">
                  <c:v>28.995256358835903</c:v>
                </c:pt>
                <c:pt idx="45917">
                  <c:v>31.187797876821577</c:v>
                </c:pt>
                <c:pt idx="45918">
                  <c:v>54.899725467803968</c:v>
                </c:pt>
                <c:pt idx="45919">
                  <c:v>42.033044472281119</c:v>
                </c:pt>
                <c:pt idx="45920">
                  <c:v>43.721032412963517</c:v>
                </c:pt>
                <c:pt idx="45921">
                  <c:v>15.967730754923334</c:v>
                </c:pt>
                <c:pt idx="45922">
                  <c:v>26.574143784806694</c:v>
                </c:pt>
                <c:pt idx="45923">
                  <c:v>19.507310549546517</c:v>
                </c:pt>
                <c:pt idx="45924">
                  <c:v>28.226760951751636</c:v>
                </c:pt>
                <c:pt idx="45925">
                  <c:v>30.025701628258773</c:v>
                </c:pt>
                <c:pt idx="45926">
                  <c:v>23.989634851477927</c:v>
                </c:pt>
                <c:pt idx="45927">
                  <c:v>25.393985163231381</c:v>
                </c:pt>
                <c:pt idx="45928">
                  <c:v>20.795694719663388</c:v>
                </c:pt>
                <c:pt idx="45929">
                  <c:v>46.002968820218392</c:v>
                </c:pt>
                <c:pt idx="45930">
                  <c:v>25.816274491381204</c:v>
                </c:pt>
                <c:pt idx="45931">
                  <c:v>27.551458170704855</c:v>
                </c:pt>
                <c:pt idx="45932">
                  <c:v>35.639156645660769</c:v>
                </c:pt>
                <c:pt idx="45933">
                  <c:v>48.634318267716701</c:v>
                </c:pt>
                <c:pt idx="45934">
                  <c:v>30.207892531105664</c:v>
                </c:pt>
                <c:pt idx="45935">
                  <c:v>24.647154223427567</c:v>
                </c:pt>
                <c:pt idx="45936">
                  <c:v>16.319741207965585</c:v>
                </c:pt>
                <c:pt idx="45937">
                  <c:v>27.196601585226844</c:v>
                </c:pt>
                <c:pt idx="45938">
                  <c:v>19.542564220104104</c:v>
                </c:pt>
                <c:pt idx="45939">
                  <c:v>24.875790995515771</c:v>
                </c:pt>
                <c:pt idx="45940">
                  <c:v>31.495126248793667</c:v>
                </c:pt>
                <c:pt idx="45941">
                  <c:v>25.654599781283117</c:v>
                </c:pt>
                <c:pt idx="45942">
                  <c:v>18.461969939599069</c:v>
                </c:pt>
                <c:pt idx="45943">
                  <c:v>24.529363322774344</c:v>
                </c:pt>
                <c:pt idx="45944">
                  <c:v>33.591017903458457</c:v>
                </c:pt>
                <c:pt idx="45945">
                  <c:v>24.490670430119259</c:v>
                </c:pt>
                <c:pt idx="45946">
                  <c:v>16.880745014917636</c:v>
                </c:pt>
                <c:pt idx="45947">
                  <c:v>38.622645284271584</c:v>
                </c:pt>
                <c:pt idx="45948">
                  <c:v>31.205873637311001</c:v>
                </c:pt>
                <c:pt idx="45949">
                  <c:v>28.994524733810906</c:v>
                </c:pt>
                <c:pt idx="45950">
                  <c:v>44.220415203972792</c:v>
                </c:pt>
                <c:pt idx="45951">
                  <c:v>45.878537719441709</c:v>
                </c:pt>
                <c:pt idx="45952">
                  <c:v>19.210180457014154</c:v>
                </c:pt>
                <c:pt idx="45953">
                  <c:v>28.090675907831145</c:v>
                </c:pt>
                <c:pt idx="45954">
                  <c:v>24.425745656411319</c:v>
                </c:pt>
                <c:pt idx="45955">
                  <c:v>23.905987789292819</c:v>
                </c:pt>
                <c:pt idx="45956">
                  <c:v>45.530570486712371</c:v>
                </c:pt>
                <c:pt idx="45957">
                  <c:v>24.972103622582367</c:v>
                </c:pt>
                <c:pt idx="45958">
                  <c:v>53.142946335249817</c:v>
                </c:pt>
                <c:pt idx="45959">
                  <c:v>25.324017384114157</c:v>
                </c:pt>
                <c:pt idx="45960">
                  <c:v>49.865759981814705</c:v>
                </c:pt>
                <c:pt idx="45961">
                  <c:v>52.966389105053736</c:v>
                </c:pt>
                <c:pt idx="45962">
                  <c:v>42.941372193354894</c:v>
                </c:pt>
                <c:pt idx="45963">
                  <c:v>23.870395816804862</c:v>
                </c:pt>
                <c:pt idx="45964">
                  <c:v>33.374503641488538</c:v>
                </c:pt>
                <c:pt idx="45965">
                  <c:v>36.363077996156214</c:v>
                </c:pt>
                <c:pt idx="45966">
                  <c:v>42.467583927428961</c:v>
                </c:pt>
                <c:pt idx="45967">
                  <c:v>36.266318011349064</c:v>
                </c:pt>
                <c:pt idx="45968">
                  <c:v>40.857116586040924</c:v>
                </c:pt>
                <c:pt idx="45969">
                  <c:v>53.193452374591715</c:v>
                </c:pt>
                <c:pt idx="45970">
                  <c:v>23.280526442293912</c:v>
                </c:pt>
                <c:pt idx="45971">
                  <c:v>25.670398396289261</c:v>
                </c:pt>
                <c:pt idx="45972">
                  <c:v>47.591834908970185</c:v>
                </c:pt>
                <c:pt idx="45973">
                  <c:v>31.237485339362223</c:v>
                </c:pt>
                <c:pt idx="45974">
                  <c:v>42.984464737019465</c:v>
                </c:pt>
                <c:pt idx="45975">
                  <c:v>28.706432856948823</c:v>
                </c:pt>
                <c:pt idx="45976">
                  <c:v>28.79273400915206</c:v>
                </c:pt>
                <c:pt idx="45977">
                  <c:v>37.702069175434033</c:v>
                </c:pt>
                <c:pt idx="45978">
                  <c:v>23.398496682170634</c:v>
                </c:pt>
                <c:pt idx="45979">
                  <c:v>42.546285454682923</c:v>
                </c:pt>
                <c:pt idx="45980">
                  <c:v>37.003654984424706</c:v>
                </c:pt>
                <c:pt idx="45981">
                  <c:v>23.818434583600656</c:v>
                </c:pt>
                <c:pt idx="45982">
                  <c:v>22.408591123343278</c:v>
                </c:pt>
                <c:pt idx="45983">
                  <c:v>48.373318135068651</c:v>
                </c:pt>
                <c:pt idx="45984">
                  <c:v>23.275714037678057</c:v>
                </c:pt>
                <c:pt idx="45985">
                  <c:v>34.461917859310063</c:v>
                </c:pt>
                <c:pt idx="45986">
                  <c:v>22.627269513394271</c:v>
                </c:pt>
                <c:pt idx="45987">
                  <c:v>52.318933610256472</c:v>
                </c:pt>
                <c:pt idx="45988">
                  <c:v>23.596066140218788</c:v>
                </c:pt>
                <c:pt idx="45989">
                  <c:v>20.552300542522975</c:v>
                </c:pt>
                <c:pt idx="45990">
                  <c:v>29.06988750799864</c:v>
                </c:pt>
                <c:pt idx="45991">
                  <c:v>43.945962141693101</c:v>
                </c:pt>
                <c:pt idx="45992">
                  <c:v>27.442661775329476</c:v>
                </c:pt>
                <c:pt idx="45993">
                  <c:v>23.195251681722961</c:v>
                </c:pt>
                <c:pt idx="45994">
                  <c:v>29.313089048990449</c:v>
                </c:pt>
                <c:pt idx="45995">
                  <c:v>45.961402705085469</c:v>
                </c:pt>
                <c:pt idx="45996">
                  <c:v>23.020193054747271</c:v>
                </c:pt>
                <c:pt idx="45997">
                  <c:v>23.426299614743574</c:v>
                </c:pt>
                <c:pt idx="45998">
                  <c:v>26.148587681186392</c:v>
                </c:pt>
                <c:pt idx="45999">
                  <c:v>34.395693407212974</c:v>
                </c:pt>
                <c:pt idx="46000">
                  <c:v>39.554112210013137</c:v>
                </c:pt>
                <c:pt idx="46001">
                  <c:v>32.914626806305037</c:v>
                </c:pt>
                <c:pt idx="46002">
                  <c:v>20.077662298006199</c:v>
                </c:pt>
                <c:pt idx="46003">
                  <c:v>23.146644606095897</c:v>
                </c:pt>
                <c:pt idx="46004">
                  <c:v>28.455149521325353</c:v>
                </c:pt>
                <c:pt idx="46005">
                  <c:v>28.949668133681612</c:v>
                </c:pt>
                <c:pt idx="46006">
                  <c:v>41.838888069103575</c:v>
                </c:pt>
                <c:pt idx="46007">
                  <c:v>19.932014922554529</c:v>
                </c:pt>
                <c:pt idx="46008">
                  <c:v>30.130433568421878</c:v>
                </c:pt>
                <c:pt idx="46009">
                  <c:v>33.216418917176298</c:v>
                </c:pt>
                <c:pt idx="46010">
                  <c:v>33.291296096853841</c:v>
                </c:pt>
                <c:pt idx="46011">
                  <c:v>42.134232083498034</c:v>
                </c:pt>
                <c:pt idx="46012">
                  <c:v>22.585252494321423</c:v>
                </c:pt>
                <c:pt idx="46013">
                  <c:v>30.915922075013018</c:v>
                </c:pt>
                <c:pt idx="46014">
                  <c:v>40.133461463729567</c:v>
                </c:pt>
                <c:pt idx="46015">
                  <c:v>18.439542796232594</c:v>
                </c:pt>
                <c:pt idx="46016">
                  <c:v>33.795122007045791</c:v>
                </c:pt>
                <c:pt idx="46017">
                  <c:v>28.598022466784059</c:v>
                </c:pt>
                <c:pt idx="46018">
                  <c:v>32.431998514309903</c:v>
                </c:pt>
                <c:pt idx="46019">
                  <c:v>29.845706004916472</c:v>
                </c:pt>
                <c:pt idx="46020">
                  <c:v>32.70267468178605</c:v>
                </c:pt>
                <c:pt idx="46021">
                  <c:v>45.410273005522249</c:v>
                </c:pt>
                <c:pt idx="46022">
                  <c:v>28.029370144851079</c:v>
                </c:pt>
                <c:pt idx="46023">
                  <c:v>33.217823716846041</c:v>
                </c:pt>
                <c:pt idx="46024">
                  <c:v>29.963637956494562</c:v>
                </c:pt>
                <c:pt idx="46025">
                  <c:v>22.229759805191872</c:v>
                </c:pt>
                <c:pt idx="46026">
                  <c:v>23.831138798768272</c:v>
                </c:pt>
                <c:pt idx="46027">
                  <c:v>19.411742045966623</c:v>
                </c:pt>
                <c:pt idx="46028">
                  <c:v>28.973887148787803</c:v>
                </c:pt>
                <c:pt idx="46029">
                  <c:v>26.957136537658315</c:v>
                </c:pt>
                <c:pt idx="46030">
                  <c:v>21.298692733470954</c:v>
                </c:pt>
                <c:pt idx="46031">
                  <c:v>30.554491130699407</c:v>
                </c:pt>
                <c:pt idx="46032">
                  <c:v>40.602662222419369</c:v>
                </c:pt>
                <c:pt idx="46033">
                  <c:v>31.003076243223859</c:v>
                </c:pt>
                <c:pt idx="46034">
                  <c:v>44.421413050563842</c:v>
                </c:pt>
                <c:pt idx="46035">
                  <c:v>21.443863543262189</c:v>
                </c:pt>
                <c:pt idx="46036">
                  <c:v>46.959304889817176</c:v>
                </c:pt>
                <c:pt idx="46037">
                  <c:v>32.383801755675464</c:v>
                </c:pt>
                <c:pt idx="46038">
                  <c:v>30.305177789504196</c:v>
                </c:pt>
                <c:pt idx="46039">
                  <c:v>32.522070620203053</c:v>
                </c:pt>
                <c:pt idx="46040">
                  <c:v>28.705127679507576</c:v>
                </c:pt>
                <c:pt idx="46041">
                  <c:v>26.479802020351773</c:v>
                </c:pt>
                <c:pt idx="46042">
                  <c:v>26.027270869934213</c:v>
                </c:pt>
                <c:pt idx="46043">
                  <c:v>45.379502174770664</c:v>
                </c:pt>
                <c:pt idx="46044">
                  <c:v>24.640359743788743</c:v>
                </c:pt>
                <c:pt idx="46045">
                  <c:v>23.120622531324525</c:v>
                </c:pt>
                <c:pt idx="46046">
                  <c:v>48.876342054574579</c:v>
                </c:pt>
                <c:pt idx="46047">
                  <c:v>42.322009791373013</c:v>
                </c:pt>
                <c:pt idx="46048">
                  <c:v>22.673086445242468</c:v>
                </c:pt>
                <c:pt idx="46049">
                  <c:v>22.352263628988922</c:v>
                </c:pt>
                <c:pt idx="46050">
                  <c:v>28.363575409933322</c:v>
                </c:pt>
                <c:pt idx="46051">
                  <c:v>29.866448153115005</c:v>
                </c:pt>
                <c:pt idx="46052">
                  <c:v>25.695515605815796</c:v>
                </c:pt>
                <c:pt idx="46053">
                  <c:v>50.525738961244201</c:v>
                </c:pt>
                <c:pt idx="46054">
                  <c:v>19.032870041605467</c:v>
                </c:pt>
                <c:pt idx="46055">
                  <c:v>30.067879293763969</c:v>
                </c:pt>
                <c:pt idx="46056">
                  <c:v>25.263103877245886</c:v>
                </c:pt>
                <c:pt idx="46057">
                  <c:v>38.450110374213423</c:v>
                </c:pt>
                <c:pt idx="46058">
                  <c:v>27.258982827570652</c:v>
                </c:pt>
                <c:pt idx="46059">
                  <c:v>27.364958277311572</c:v>
                </c:pt>
                <c:pt idx="46060">
                  <c:v>30.056080315413034</c:v>
                </c:pt>
                <c:pt idx="46061">
                  <c:v>26.66392638847935</c:v>
                </c:pt>
                <c:pt idx="46062">
                  <c:v>29.559740996334341</c:v>
                </c:pt>
                <c:pt idx="46063">
                  <c:v>24.239259780791002</c:v>
                </c:pt>
                <c:pt idx="46064">
                  <c:v>33.683839971283426</c:v>
                </c:pt>
                <c:pt idx="46065">
                  <c:v>26.461743655069228</c:v>
                </c:pt>
                <c:pt idx="46066">
                  <c:v>27.939223052199299</c:v>
                </c:pt>
                <c:pt idx="46067">
                  <c:v>58.091382601533716</c:v>
                </c:pt>
                <c:pt idx="46068">
                  <c:v>26.718858566486375</c:v>
                </c:pt>
                <c:pt idx="46069">
                  <c:v>27.467307032198018</c:v>
                </c:pt>
                <c:pt idx="46070">
                  <c:v>24.342595334896096</c:v>
                </c:pt>
                <c:pt idx="46071">
                  <c:v>30.182599401486016</c:v>
                </c:pt>
                <c:pt idx="46072">
                  <c:v>23.746649547040676</c:v>
                </c:pt>
                <c:pt idx="46073">
                  <c:v>38.268085054959826</c:v>
                </c:pt>
                <c:pt idx="46074">
                  <c:v>29.636279661966686</c:v>
                </c:pt>
                <c:pt idx="46075">
                  <c:v>46.08479702454801</c:v>
                </c:pt>
                <c:pt idx="46076">
                  <c:v>58.518796731310772</c:v>
                </c:pt>
                <c:pt idx="46077">
                  <c:v>28.87628947153663</c:v>
                </c:pt>
                <c:pt idx="46078">
                  <c:v>30.052382922291724</c:v>
                </c:pt>
                <c:pt idx="46079">
                  <c:v>41.648678079177301</c:v>
                </c:pt>
                <c:pt idx="46080">
                  <c:v>35.213990597518382</c:v>
                </c:pt>
                <c:pt idx="46081">
                  <c:v>51.96564809427106</c:v>
                </c:pt>
                <c:pt idx="46082">
                  <c:v>30.781324934414592</c:v>
                </c:pt>
                <c:pt idx="46083">
                  <c:v>37.366132798627909</c:v>
                </c:pt>
                <c:pt idx="46084">
                  <c:v>26.29367739656292</c:v>
                </c:pt>
                <c:pt idx="46085">
                  <c:v>30.284181630059077</c:v>
                </c:pt>
                <c:pt idx="46086">
                  <c:v>27.552860705651817</c:v>
                </c:pt>
                <c:pt idx="46087">
                  <c:v>21.532989642918619</c:v>
                </c:pt>
                <c:pt idx="46088">
                  <c:v>44.207961290306962</c:v>
                </c:pt>
                <c:pt idx="46089">
                  <c:v>22.130714979611806</c:v>
                </c:pt>
                <c:pt idx="46090">
                  <c:v>47.827418384937147</c:v>
                </c:pt>
                <c:pt idx="46091">
                  <c:v>19.310544545232652</c:v>
                </c:pt>
                <c:pt idx="46092">
                  <c:v>20.736470361842386</c:v>
                </c:pt>
                <c:pt idx="46093">
                  <c:v>27.435433878387798</c:v>
                </c:pt>
                <c:pt idx="46094">
                  <c:v>25.860977662215049</c:v>
                </c:pt>
                <c:pt idx="46095">
                  <c:v>33.564629227910103</c:v>
                </c:pt>
                <c:pt idx="46096">
                  <c:v>22.551943670366509</c:v>
                </c:pt>
                <c:pt idx="46097">
                  <c:v>24.9543476909788</c:v>
                </c:pt>
                <c:pt idx="46098">
                  <c:v>25.695211025403896</c:v>
                </c:pt>
                <c:pt idx="46099">
                  <c:v>27.001407259316352</c:v>
                </c:pt>
                <c:pt idx="46100">
                  <c:v>33.600945499480765</c:v>
                </c:pt>
                <c:pt idx="46101">
                  <c:v>39.671381621274371</c:v>
                </c:pt>
                <c:pt idx="46102">
                  <c:v>23.601406704599796</c:v>
                </c:pt>
                <c:pt idx="46103">
                  <c:v>53.109517881066466</c:v>
                </c:pt>
                <c:pt idx="46104">
                  <c:v>27.970021592313454</c:v>
                </c:pt>
                <c:pt idx="46105">
                  <c:v>23.857624576583227</c:v>
                </c:pt>
                <c:pt idx="46106">
                  <c:v>57.225330282249253</c:v>
                </c:pt>
                <c:pt idx="46107">
                  <c:v>24.128263902960846</c:v>
                </c:pt>
                <c:pt idx="46108">
                  <c:v>21.733059634190226</c:v>
                </c:pt>
                <c:pt idx="46109">
                  <c:v>28.289680553919606</c:v>
                </c:pt>
                <c:pt idx="46110">
                  <c:v>30.587650204743095</c:v>
                </c:pt>
                <c:pt idx="46111">
                  <c:v>47.448749055315396</c:v>
                </c:pt>
                <c:pt idx="46112">
                  <c:v>50.05688306478757</c:v>
                </c:pt>
                <c:pt idx="46113">
                  <c:v>45.370137512105643</c:v>
                </c:pt>
                <c:pt idx="46114">
                  <c:v>24.972777162273402</c:v>
                </c:pt>
                <c:pt idx="46115">
                  <c:v>26.349272343583301</c:v>
                </c:pt>
                <c:pt idx="46116">
                  <c:v>30.738489918425493</c:v>
                </c:pt>
                <c:pt idx="46117">
                  <c:v>34.939258178815955</c:v>
                </c:pt>
                <c:pt idx="46118">
                  <c:v>27.665576746337621</c:v>
                </c:pt>
                <c:pt idx="46119">
                  <c:v>24.490556861661101</c:v>
                </c:pt>
                <c:pt idx="46120">
                  <c:v>48.62275692738568</c:v>
                </c:pt>
                <c:pt idx="46121">
                  <c:v>40.665044647675415</c:v>
                </c:pt>
                <c:pt idx="46122">
                  <c:v>57.055671891970803</c:v>
                </c:pt>
                <c:pt idx="46123">
                  <c:v>52.656667597175982</c:v>
                </c:pt>
                <c:pt idx="46124">
                  <c:v>26.062626462764747</c:v>
                </c:pt>
                <c:pt idx="46125">
                  <c:v>50.375110161272701</c:v>
                </c:pt>
                <c:pt idx="46126">
                  <c:v>14.383231358075912</c:v>
                </c:pt>
                <c:pt idx="46127">
                  <c:v>22.644768423821304</c:v>
                </c:pt>
                <c:pt idx="46128">
                  <c:v>40.876011618369787</c:v>
                </c:pt>
                <c:pt idx="46129">
                  <c:v>21.563415658066752</c:v>
                </c:pt>
                <c:pt idx="46130">
                  <c:v>48.8130564457053</c:v>
                </c:pt>
                <c:pt idx="46131">
                  <c:v>25.451642953213963</c:v>
                </c:pt>
                <c:pt idx="46132">
                  <c:v>34.730348273889547</c:v>
                </c:pt>
                <c:pt idx="46133">
                  <c:v>20.725878127730624</c:v>
                </c:pt>
                <c:pt idx="46134">
                  <c:v>17.07337433410445</c:v>
                </c:pt>
                <c:pt idx="46135">
                  <c:v>23.790335103668397</c:v>
                </c:pt>
                <c:pt idx="46136">
                  <c:v>23.623205628812755</c:v>
                </c:pt>
                <c:pt idx="46137">
                  <c:v>23.143517278263733</c:v>
                </c:pt>
                <c:pt idx="46138">
                  <c:v>18.403838305088183</c:v>
                </c:pt>
                <c:pt idx="46139">
                  <c:v>19.383541556628831</c:v>
                </c:pt>
                <c:pt idx="46140">
                  <c:v>29.262964963966677</c:v>
                </c:pt>
                <c:pt idx="46141">
                  <c:v>30.937466832833636</c:v>
                </c:pt>
                <c:pt idx="46142">
                  <c:v>32.647247156656732</c:v>
                </c:pt>
                <c:pt idx="46143">
                  <c:v>33.733632778520857</c:v>
                </c:pt>
                <c:pt idx="46144">
                  <c:v>25.28830086356345</c:v>
                </c:pt>
                <c:pt idx="46145">
                  <c:v>30.121120238563655</c:v>
                </c:pt>
                <c:pt idx="46146">
                  <c:v>19.416236819960023</c:v>
                </c:pt>
                <c:pt idx="46147">
                  <c:v>44.977515422519076</c:v>
                </c:pt>
                <c:pt idx="46148">
                  <c:v>28.316723465321513</c:v>
                </c:pt>
                <c:pt idx="46149">
                  <c:v>24.187641382775382</c:v>
                </c:pt>
                <c:pt idx="46150">
                  <c:v>22.113235559187373</c:v>
                </c:pt>
                <c:pt idx="46151">
                  <c:v>18.058137686873302</c:v>
                </c:pt>
                <c:pt idx="46152">
                  <c:v>15.282064529291228</c:v>
                </c:pt>
                <c:pt idx="46153">
                  <c:v>24.691240994730126</c:v>
                </c:pt>
                <c:pt idx="46154">
                  <c:v>47.619535841878999</c:v>
                </c:pt>
                <c:pt idx="46155">
                  <c:v>24.668389710401406</c:v>
                </c:pt>
                <c:pt idx="46156">
                  <c:v>29.077145588104543</c:v>
                </c:pt>
                <c:pt idx="46157">
                  <c:v>29.331977042085409</c:v>
                </c:pt>
                <c:pt idx="46158">
                  <c:v>39.161107808317254</c:v>
                </c:pt>
                <c:pt idx="46159">
                  <c:v>34.990112296738189</c:v>
                </c:pt>
                <c:pt idx="46160">
                  <c:v>27.068301270666524</c:v>
                </c:pt>
                <c:pt idx="46161">
                  <c:v>21.542278865561407</c:v>
                </c:pt>
                <c:pt idx="46162">
                  <c:v>26.231384760614858</c:v>
                </c:pt>
                <c:pt idx="46163">
                  <c:v>25.700398104659381</c:v>
                </c:pt>
                <c:pt idx="46164">
                  <c:v>45.97873435488102</c:v>
                </c:pt>
                <c:pt idx="46165">
                  <c:v>20.980247316170995</c:v>
                </c:pt>
                <c:pt idx="46166">
                  <c:v>24.563911894748554</c:v>
                </c:pt>
                <c:pt idx="46167">
                  <c:v>21.252595954722249</c:v>
                </c:pt>
                <c:pt idx="46168">
                  <c:v>29.373093849393634</c:v>
                </c:pt>
                <c:pt idx="46169">
                  <c:v>36.971586054481179</c:v>
                </c:pt>
                <c:pt idx="46170">
                  <c:v>23.766225029617999</c:v>
                </c:pt>
                <c:pt idx="46171">
                  <c:v>31.700311182798131</c:v>
                </c:pt>
                <c:pt idx="46172">
                  <c:v>27.310505406315222</c:v>
                </c:pt>
                <c:pt idx="46173">
                  <c:v>31.582732762098566</c:v>
                </c:pt>
                <c:pt idx="46174">
                  <c:v>24.855596792020648</c:v>
                </c:pt>
                <c:pt idx="46175">
                  <c:v>22.667716753335334</c:v>
                </c:pt>
                <c:pt idx="46176">
                  <c:v>31.656711172102231</c:v>
                </c:pt>
                <c:pt idx="46177">
                  <c:v>28.869521536681397</c:v>
                </c:pt>
                <c:pt idx="46178">
                  <c:v>40.489784810767858</c:v>
                </c:pt>
                <c:pt idx="46179">
                  <c:v>35.623638134780492</c:v>
                </c:pt>
                <c:pt idx="46180">
                  <c:v>26.121487994685666</c:v>
                </c:pt>
                <c:pt idx="46181">
                  <c:v>27.442844664989988</c:v>
                </c:pt>
                <c:pt idx="46182">
                  <c:v>20.189426625017184</c:v>
                </c:pt>
                <c:pt idx="46183">
                  <c:v>20.166960426109302</c:v>
                </c:pt>
                <c:pt idx="46184">
                  <c:v>23.402684980104745</c:v>
                </c:pt>
                <c:pt idx="46185">
                  <c:v>25.101709228613053</c:v>
                </c:pt>
                <c:pt idx="46186">
                  <c:v>42.173523372128351</c:v>
                </c:pt>
                <c:pt idx="46187">
                  <c:v>20.629670849830845</c:v>
                </c:pt>
                <c:pt idx="46188">
                  <c:v>23.564282248600811</c:v>
                </c:pt>
                <c:pt idx="46189">
                  <c:v>29.514005396671411</c:v>
                </c:pt>
                <c:pt idx="46190">
                  <c:v>28.201745511630119</c:v>
                </c:pt>
                <c:pt idx="46191">
                  <c:v>40.804335675859171</c:v>
                </c:pt>
                <c:pt idx="46192">
                  <c:v>20.543261868518631</c:v>
                </c:pt>
                <c:pt idx="46193">
                  <c:v>27.056764902089586</c:v>
                </c:pt>
                <c:pt idx="46194">
                  <c:v>40.230619570690926</c:v>
                </c:pt>
                <c:pt idx="46195">
                  <c:v>42.136657940926781</c:v>
                </c:pt>
                <c:pt idx="46196">
                  <c:v>62.498042363814548</c:v>
                </c:pt>
                <c:pt idx="46197">
                  <c:v>34.710626327223991</c:v>
                </c:pt>
                <c:pt idx="46198">
                  <c:v>22.763494427342849</c:v>
                </c:pt>
                <c:pt idx="46199">
                  <c:v>19.955407372932811</c:v>
                </c:pt>
                <c:pt idx="46200">
                  <c:v>28.0359573504788</c:v>
                </c:pt>
                <c:pt idx="46201">
                  <c:v>40.962974299028758</c:v>
                </c:pt>
                <c:pt idx="46202">
                  <c:v>19.938160650101317</c:v>
                </c:pt>
                <c:pt idx="46203">
                  <c:v>27.394581002412743</c:v>
                </c:pt>
                <c:pt idx="46204">
                  <c:v>26.661448038490569</c:v>
                </c:pt>
                <c:pt idx="46205">
                  <c:v>35.95950297514382</c:v>
                </c:pt>
                <c:pt idx="46206">
                  <c:v>20.950900528871109</c:v>
                </c:pt>
                <c:pt idx="46207">
                  <c:v>32.829800653929738</c:v>
                </c:pt>
                <c:pt idx="46208">
                  <c:v>41.909615083200684</c:v>
                </c:pt>
                <c:pt idx="46209">
                  <c:v>28.08489304505698</c:v>
                </c:pt>
                <c:pt idx="46210">
                  <c:v>22.79012116513929</c:v>
                </c:pt>
                <c:pt idx="46211">
                  <c:v>21.515934154115172</c:v>
                </c:pt>
                <c:pt idx="46212">
                  <c:v>27.261990646143158</c:v>
                </c:pt>
                <c:pt idx="46213">
                  <c:v>28.84960444168987</c:v>
                </c:pt>
                <c:pt idx="46214">
                  <c:v>44.515274917772274</c:v>
                </c:pt>
                <c:pt idx="46215">
                  <c:v>36.906604329098506</c:v>
                </c:pt>
                <c:pt idx="46216">
                  <c:v>28.905250826540019</c:v>
                </c:pt>
                <c:pt idx="46217">
                  <c:v>23.475069412895227</c:v>
                </c:pt>
                <c:pt idx="46218">
                  <c:v>20.950768016093392</c:v>
                </c:pt>
                <c:pt idx="46219">
                  <c:v>47.162665970839583</c:v>
                </c:pt>
                <c:pt idx="46220">
                  <c:v>28.821098162929069</c:v>
                </c:pt>
                <c:pt idx="46221">
                  <c:v>56.372652048740093</c:v>
                </c:pt>
                <c:pt idx="46222">
                  <c:v>34.810779476333146</c:v>
                </c:pt>
                <c:pt idx="46223">
                  <c:v>41.935938548975344</c:v>
                </c:pt>
                <c:pt idx="46224">
                  <c:v>47.698490853825469</c:v>
                </c:pt>
                <c:pt idx="46225">
                  <c:v>54.184525951424995</c:v>
                </c:pt>
                <c:pt idx="46226">
                  <c:v>40.570805863671431</c:v>
                </c:pt>
                <c:pt idx="46227">
                  <c:v>31.525088469652971</c:v>
                </c:pt>
                <c:pt idx="46228">
                  <c:v>27.539309954196906</c:v>
                </c:pt>
                <c:pt idx="46229">
                  <c:v>23.997762376953414</c:v>
                </c:pt>
                <c:pt idx="46230">
                  <c:v>26.277883675340256</c:v>
                </c:pt>
                <c:pt idx="46231">
                  <c:v>26.843018656128137</c:v>
                </c:pt>
                <c:pt idx="46232">
                  <c:v>23.232811901894692</c:v>
                </c:pt>
                <c:pt idx="46233">
                  <c:v>34.31510936438788</c:v>
                </c:pt>
                <c:pt idx="46234">
                  <c:v>26.967435536754028</c:v>
                </c:pt>
                <c:pt idx="46235">
                  <c:v>31.451342123509985</c:v>
                </c:pt>
                <c:pt idx="46236">
                  <c:v>22.339653492339338</c:v>
                </c:pt>
                <c:pt idx="46237">
                  <c:v>27.268872004239736</c:v>
                </c:pt>
                <c:pt idx="46238">
                  <c:v>23.786335088244879</c:v>
                </c:pt>
                <c:pt idx="46239">
                  <c:v>23.519170577833201</c:v>
                </c:pt>
                <c:pt idx="46240">
                  <c:v>25.485711207947332</c:v>
                </c:pt>
                <c:pt idx="46241">
                  <c:v>17.875985061826022</c:v>
                </c:pt>
                <c:pt idx="46242">
                  <c:v>25.103121668951015</c:v>
                </c:pt>
                <c:pt idx="46243">
                  <c:v>21.812431628236951</c:v>
                </c:pt>
                <c:pt idx="46244">
                  <c:v>35.870213797138291</c:v>
                </c:pt>
                <c:pt idx="46245">
                  <c:v>16.419384204278394</c:v>
                </c:pt>
                <c:pt idx="46246">
                  <c:v>24.055724793793569</c:v>
                </c:pt>
                <c:pt idx="46247">
                  <c:v>25.338647445083737</c:v>
                </c:pt>
                <c:pt idx="46248">
                  <c:v>40.415896125915552</c:v>
                </c:pt>
                <c:pt idx="46249">
                  <c:v>51.986485496502588</c:v>
                </c:pt>
                <c:pt idx="46250">
                  <c:v>20.70202106316232</c:v>
                </c:pt>
                <c:pt idx="46251">
                  <c:v>45.200298682305288</c:v>
                </c:pt>
                <c:pt idx="46252">
                  <c:v>27.248624827618023</c:v>
                </c:pt>
                <c:pt idx="46253">
                  <c:v>35.151200139949992</c:v>
                </c:pt>
                <c:pt idx="46254">
                  <c:v>39.178640509568261</c:v>
                </c:pt>
                <c:pt idx="46255">
                  <c:v>30.765910124394182</c:v>
                </c:pt>
                <c:pt idx="46256">
                  <c:v>24.918410096137816</c:v>
                </c:pt>
                <c:pt idx="46257">
                  <c:v>31.110169200803817</c:v>
                </c:pt>
                <c:pt idx="46258">
                  <c:v>29.495158998971977</c:v>
                </c:pt>
                <c:pt idx="46259">
                  <c:v>34.991309772353766</c:v>
                </c:pt>
                <c:pt idx="46260">
                  <c:v>24.169398287935635</c:v>
                </c:pt>
                <c:pt idx="46261">
                  <c:v>38.365567052544364</c:v>
                </c:pt>
                <c:pt idx="46262">
                  <c:v>23.506072842983333</c:v>
                </c:pt>
                <c:pt idx="46263">
                  <c:v>36.259616127798139</c:v>
                </c:pt>
                <c:pt idx="46264">
                  <c:v>41.047350985129789</c:v>
                </c:pt>
                <c:pt idx="46265">
                  <c:v>27.618117849990302</c:v>
                </c:pt>
                <c:pt idx="46266">
                  <c:v>25.457311229444421</c:v>
                </c:pt>
                <c:pt idx="46267">
                  <c:v>46.334135028203391</c:v>
                </c:pt>
                <c:pt idx="46268">
                  <c:v>56.418342144828159</c:v>
                </c:pt>
                <c:pt idx="46269">
                  <c:v>37.427047279489074</c:v>
                </c:pt>
                <c:pt idx="46270">
                  <c:v>38.295759011720435</c:v>
                </c:pt>
                <c:pt idx="46271">
                  <c:v>21.086862040808313</c:v>
                </c:pt>
                <c:pt idx="46272">
                  <c:v>22.747454713841002</c:v>
                </c:pt>
                <c:pt idx="46273">
                  <c:v>25.013424817369295</c:v>
                </c:pt>
                <c:pt idx="46274">
                  <c:v>36.629448041015138</c:v>
                </c:pt>
                <c:pt idx="46275">
                  <c:v>34.322174389117492</c:v>
                </c:pt>
                <c:pt idx="46276">
                  <c:v>23.110758583842255</c:v>
                </c:pt>
                <c:pt idx="46277">
                  <c:v>23.013207963330672</c:v>
                </c:pt>
                <c:pt idx="46278">
                  <c:v>28.697665117496907</c:v>
                </c:pt>
                <c:pt idx="46279">
                  <c:v>36.462267009073507</c:v>
                </c:pt>
                <c:pt idx="46280">
                  <c:v>36.602110601745643</c:v>
                </c:pt>
                <c:pt idx="46281">
                  <c:v>23.322414315932516</c:v>
                </c:pt>
                <c:pt idx="46282">
                  <c:v>18.799179513213957</c:v>
                </c:pt>
                <c:pt idx="46283">
                  <c:v>29.066326158979138</c:v>
                </c:pt>
                <c:pt idx="46284">
                  <c:v>48.39298695758545</c:v>
                </c:pt>
                <c:pt idx="46285">
                  <c:v>27.607952032330864</c:v>
                </c:pt>
                <c:pt idx="46286">
                  <c:v>29.454218858913126</c:v>
                </c:pt>
                <c:pt idx="46287">
                  <c:v>22.599270046304341</c:v>
                </c:pt>
                <c:pt idx="46288">
                  <c:v>35.053609033502127</c:v>
                </c:pt>
                <c:pt idx="46289">
                  <c:v>25.201986053784609</c:v>
                </c:pt>
                <c:pt idx="46290">
                  <c:v>48.528722006969957</c:v>
                </c:pt>
                <c:pt idx="46291">
                  <c:v>25.657303227090559</c:v>
                </c:pt>
                <c:pt idx="46292">
                  <c:v>23.612287893110469</c:v>
                </c:pt>
                <c:pt idx="46293">
                  <c:v>30.352908787639887</c:v>
                </c:pt>
                <c:pt idx="46294">
                  <c:v>23.344439163067744</c:v>
                </c:pt>
                <c:pt idx="46295">
                  <c:v>46.217923768556354</c:v>
                </c:pt>
                <c:pt idx="46296">
                  <c:v>23.238225364221293</c:v>
                </c:pt>
                <c:pt idx="46297">
                  <c:v>32.070994492872757</c:v>
                </c:pt>
                <c:pt idx="46298">
                  <c:v>53.517689421598348</c:v>
                </c:pt>
                <c:pt idx="46299">
                  <c:v>29.539840827658786</c:v>
                </c:pt>
                <c:pt idx="46300">
                  <c:v>34.759231177787861</c:v>
                </c:pt>
                <c:pt idx="46301">
                  <c:v>34.922048167593388</c:v>
                </c:pt>
                <c:pt idx="46302">
                  <c:v>29.858298262996843</c:v>
                </c:pt>
                <c:pt idx="46303">
                  <c:v>38.638093742114087</c:v>
                </c:pt>
                <c:pt idx="46304">
                  <c:v>30.440522364076124</c:v>
                </c:pt>
                <c:pt idx="46305">
                  <c:v>28.444980672832592</c:v>
                </c:pt>
                <c:pt idx="46306">
                  <c:v>16.992291157895593</c:v>
                </c:pt>
                <c:pt idx="46307">
                  <c:v>26.23108719206542</c:v>
                </c:pt>
                <c:pt idx="46308">
                  <c:v>23.875783557728472</c:v>
                </c:pt>
                <c:pt idx="46309">
                  <c:v>21.087577349716927</c:v>
                </c:pt>
                <c:pt idx="46310">
                  <c:v>21.203003847731996</c:v>
                </c:pt>
                <c:pt idx="46311">
                  <c:v>21.879533252044631</c:v>
                </c:pt>
                <c:pt idx="46312">
                  <c:v>33.810714274383784</c:v>
                </c:pt>
                <c:pt idx="46313">
                  <c:v>21.167487153981959</c:v>
                </c:pt>
                <c:pt idx="46314">
                  <c:v>29.200772543870535</c:v>
                </c:pt>
                <c:pt idx="46315">
                  <c:v>16.660321263151925</c:v>
                </c:pt>
                <c:pt idx="46316">
                  <c:v>57.741556344049044</c:v>
                </c:pt>
                <c:pt idx="46317">
                  <c:v>27.5463568346077</c:v>
                </c:pt>
                <c:pt idx="46318">
                  <c:v>30.172623802197471</c:v>
                </c:pt>
                <c:pt idx="46319">
                  <c:v>23.652754600524233</c:v>
                </c:pt>
                <c:pt idx="46320">
                  <c:v>21.841406722798101</c:v>
                </c:pt>
                <c:pt idx="46321">
                  <c:v>27.011798685426111</c:v>
                </c:pt>
                <c:pt idx="46322">
                  <c:v>24.599352096429069</c:v>
                </c:pt>
                <c:pt idx="46323">
                  <c:v>28.089477904141081</c:v>
                </c:pt>
                <c:pt idx="46324">
                  <c:v>16.873910245126602</c:v>
                </c:pt>
                <c:pt idx="46325">
                  <c:v>52.527234621013427</c:v>
                </c:pt>
                <c:pt idx="46326">
                  <c:v>21.769930618280519</c:v>
                </c:pt>
                <c:pt idx="46327">
                  <c:v>50.063906429362532</c:v>
                </c:pt>
                <c:pt idx="46328">
                  <c:v>33.280819963355007</c:v>
                </c:pt>
                <c:pt idx="46329">
                  <c:v>56.394419606366263</c:v>
                </c:pt>
                <c:pt idx="46330">
                  <c:v>42.056418837653148</c:v>
                </c:pt>
                <c:pt idx="46331">
                  <c:v>27.504929867555489</c:v>
                </c:pt>
                <c:pt idx="46332">
                  <c:v>22.592679979522128</c:v>
                </c:pt>
                <c:pt idx="46333">
                  <c:v>22.833728965673995</c:v>
                </c:pt>
                <c:pt idx="46334">
                  <c:v>34.139978836712871</c:v>
                </c:pt>
                <c:pt idx="46335">
                  <c:v>31.074328119915119</c:v>
                </c:pt>
                <c:pt idx="46336">
                  <c:v>25.977747142799753</c:v>
                </c:pt>
                <c:pt idx="46337">
                  <c:v>50.380492018759767</c:v>
                </c:pt>
                <c:pt idx="46338">
                  <c:v>39.004901033942573</c:v>
                </c:pt>
                <c:pt idx="46339">
                  <c:v>31.70224591073449</c:v>
                </c:pt>
                <c:pt idx="46340">
                  <c:v>36.018557198099906</c:v>
                </c:pt>
                <c:pt idx="46341">
                  <c:v>45.512473259032419</c:v>
                </c:pt>
                <c:pt idx="46342">
                  <c:v>42.027031312450021</c:v>
                </c:pt>
                <c:pt idx="46343">
                  <c:v>32.644108948730036</c:v>
                </c:pt>
                <c:pt idx="46344">
                  <c:v>28.675797537810084</c:v>
                </c:pt>
                <c:pt idx="46345">
                  <c:v>21.650107719807664</c:v>
                </c:pt>
                <c:pt idx="46346">
                  <c:v>26.732263773093283</c:v>
                </c:pt>
                <c:pt idx="46347">
                  <c:v>24.12742258415475</c:v>
                </c:pt>
                <c:pt idx="46348">
                  <c:v>27.91607538340142</c:v>
                </c:pt>
                <c:pt idx="46349">
                  <c:v>28.224135762231473</c:v>
                </c:pt>
                <c:pt idx="46350">
                  <c:v>33.47413658734019</c:v>
                </c:pt>
                <c:pt idx="46351">
                  <c:v>26.603956530720051</c:v>
                </c:pt>
                <c:pt idx="46352">
                  <c:v>45.640511294539472</c:v>
                </c:pt>
                <c:pt idx="46353">
                  <c:v>36.595269970319116</c:v>
                </c:pt>
                <c:pt idx="46354">
                  <c:v>28.169635967871805</c:v>
                </c:pt>
                <c:pt idx="46355">
                  <c:v>36.625323126372052</c:v>
                </c:pt>
                <c:pt idx="46356">
                  <c:v>34.14471768583627</c:v>
                </c:pt>
                <c:pt idx="46357">
                  <c:v>43.03139083766105</c:v>
                </c:pt>
                <c:pt idx="46358">
                  <c:v>25.631209946439778</c:v>
                </c:pt>
                <c:pt idx="46359">
                  <c:v>28.461140841269014</c:v>
                </c:pt>
                <c:pt idx="46360">
                  <c:v>26.912056208619795</c:v>
                </c:pt>
                <c:pt idx="46361">
                  <c:v>27.54474467178667</c:v>
                </c:pt>
                <c:pt idx="46362">
                  <c:v>31.793669877289901</c:v>
                </c:pt>
                <c:pt idx="46363">
                  <c:v>41.928819172724872</c:v>
                </c:pt>
                <c:pt idx="46364">
                  <c:v>39.444540948437123</c:v>
                </c:pt>
                <c:pt idx="46365">
                  <c:v>49.368058620964632</c:v>
                </c:pt>
                <c:pt idx="46366">
                  <c:v>26.227395191044547</c:v>
                </c:pt>
                <c:pt idx="46367">
                  <c:v>21.427235368389482</c:v>
                </c:pt>
                <c:pt idx="46368">
                  <c:v>20.388911221014169</c:v>
                </c:pt>
                <c:pt idx="46369">
                  <c:v>26.475014599552836</c:v>
                </c:pt>
                <c:pt idx="46370">
                  <c:v>29.513750482338089</c:v>
                </c:pt>
                <c:pt idx="46371">
                  <c:v>28.613324415547183</c:v>
                </c:pt>
                <c:pt idx="46372">
                  <c:v>54.727086362799881</c:v>
                </c:pt>
                <c:pt idx="46373">
                  <c:v>52.124444887738584</c:v>
                </c:pt>
                <c:pt idx="46374">
                  <c:v>18.908318551853</c:v>
                </c:pt>
                <c:pt idx="46375">
                  <c:v>18.957094977641248</c:v>
                </c:pt>
                <c:pt idx="46376">
                  <c:v>20.260454629893371</c:v>
                </c:pt>
                <c:pt idx="46377">
                  <c:v>28.580006374125926</c:v>
                </c:pt>
                <c:pt idx="46378">
                  <c:v>26.838034180157084</c:v>
                </c:pt>
                <c:pt idx="46379">
                  <c:v>24.499223606596587</c:v>
                </c:pt>
                <c:pt idx="46380">
                  <c:v>24.6487372443571</c:v>
                </c:pt>
                <c:pt idx="46381">
                  <c:v>47.35244818948523</c:v>
                </c:pt>
                <c:pt idx="46382">
                  <c:v>31.999878063773728</c:v>
                </c:pt>
                <c:pt idx="46383">
                  <c:v>28.594863529728464</c:v>
                </c:pt>
                <c:pt idx="46384">
                  <c:v>30.523876962127488</c:v>
                </c:pt>
                <c:pt idx="46385">
                  <c:v>41.573946522529653</c:v>
                </c:pt>
                <c:pt idx="46386">
                  <c:v>27.927395533184296</c:v>
                </c:pt>
                <c:pt idx="46387">
                  <c:v>32.455785581002715</c:v>
                </c:pt>
                <c:pt idx="46388">
                  <c:v>43.187014189260452</c:v>
                </c:pt>
                <c:pt idx="46389">
                  <c:v>24.12642023659506</c:v>
                </c:pt>
                <c:pt idx="46390">
                  <c:v>39.384751277932239</c:v>
                </c:pt>
                <c:pt idx="46391">
                  <c:v>42.225553517552399</c:v>
                </c:pt>
                <c:pt idx="46392">
                  <c:v>21.5424104766252</c:v>
                </c:pt>
                <c:pt idx="46393">
                  <c:v>27.039035383422139</c:v>
                </c:pt>
                <c:pt idx="46394">
                  <c:v>38.745839071502772</c:v>
                </c:pt>
                <c:pt idx="46395">
                  <c:v>16.763860050935278</c:v>
                </c:pt>
                <c:pt idx="46396">
                  <c:v>31.445814962085016</c:v>
                </c:pt>
                <c:pt idx="46397">
                  <c:v>18.956343309744938</c:v>
                </c:pt>
                <c:pt idx="46398">
                  <c:v>44.482451449670954</c:v>
                </c:pt>
                <c:pt idx="46399">
                  <c:v>28.934358539800733</c:v>
                </c:pt>
                <c:pt idx="46400">
                  <c:v>26.931616302108999</c:v>
                </c:pt>
                <c:pt idx="46401">
                  <c:v>23.969116037726323</c:v>
                </c:pt>
                <c:pt idx="46402">
                  <c:v>41.335781036860183</c:v>
                </c:pt>
                <c:pt idx="46403">
                  <c:v>28.39872310487948</c:v>
                </c:pt>
                <c:pt idx="46404">
                  <c:v>28.084538253526517</c:v>
                </c:pt>
                <c:pt idx="46405">
                  <c:v>24.95687902998317</c:v>
                </c:pt>
                <c:pt idx="46406">
                  <c:v>24.461978167663808</c:v>
                </c:pt>
                <c:pt idx="46407">
                  <c:v>41.789898790030882</c:v>
                </c:pt>
                <c:pt idx="46408">
                  <c:v>28.576234093991488</c:v>
                </c:pt>
                <c:pt idx="46409">
                  <c:v>16.449735348121962</c:v>
                </c:pt>
                <c:pt idx="46410">
                  <c:v>24.621879128327187</c:v>
                </c:pt>
                <c:pt idx="46411">
                  <c:v>54.138157763042713</c:v>
                </c:pt>
                <c:pt idx="46412">
                  <c:v>27.88737686230354</c:v>
                </c:pt>
                <c:pt idx="46413">
                  <c:v>24.537636281273311</c:v>
                </c:pt>
                <c:pt idx="46414">
                  <c:v>23.844170973380376</c:v>
                </c:pt>
                <c:pt idx="46415">
                  <c:v>31.167242725251278</c:v>
                </c:pt>
                <c:pt idx="46416">
                  <c:v>23.042982276484459</c:v>
                </c:pt>
                <c:pt idx="46417">
                  <c:v>16.339944218568235</c:v>
                </c:pt>
                <c:pt idx="46418">
                  <c:v>46.326303774710297</c:v>
                </c:pt>
                <c:pt idx="46419">
                  <c:v>28.341742636937362</c:v>
                </c:pt>
                <c:pt idx="46420">
                  <c:v>24.779169687788755</c:v>
                </c:pt>
                <c:pt idx="46421">
                  <c:v>37.72475078311799</c:v>
                </c:pt>
                <c:pt idx="46422">
                  <c:v>29.3051837166742</c:v>
                </c:pt>
                <c:pt idx="46423">
                  <c:v>28.58882741247611</c:v>
                </c:pt>
                <c:pt idx="46424">
                  <c:v>51.245039292056518</c:v>
                </c:pt>
                <c:pt idx="46425">
                  <c:v>23.89983281725257</c:v>
                </c:pt>
                <c:pt idx="46426">
                  <c:v>43.380907998988334</c:v>
                </c:pt>
                <c:pt idx="46427">
                  <c:v>34.049314344414682</c:v>
                </c:pt>
                <c:pt idx="46428">
                  <c:v>19.716859283314356</c:v>
                </c:pt>
                <c:pt idx="46429">
                  <c:v>31.172331866494993</c:v>
                </c:pt>
                <c:pt idx="46430">
                  <c:v>28.190251971623585</c:v>
                </c:pt>
                <c:pt idx="46431">
                  <c:v>56.013086988837678</c:v>
                </c:pt>
                <c:pt idx="46432">
                  <c:v>15.948173608439429</c:v>
                </c:pt>
                <c:pt idx="46433">
                  <c:v>42.133071254596366</c:v>
                </c:pt>
                <c:pt idx="46434">
                  <c:v>48.272207746446291</c:v>
                </c:pt>
                <c:pt idx="46435">
                  <c:v>33.365440300343948</c:v>
                </c:pt>
                <c:pt idx="46436">
                  <c:v>25.65716918427173</c:v>
                </c:pt>
                <c:pt idx="46437">
                  <c:v>34.154402276097358</c:v>
                </c:pt>
                <c:pt idx="46438">
                  <c:v>47.493066826897703</c:v>
                </c:pt>
                <c:pt idx="46439">
                  <c:v>34.368475453214749</c:v>
                </c:pt>
                <c:pt idx="46440">
                  <c:v>27.664924415420259</c:v>
                </c:pt>
                <c:pt idx="46441">
                  <c:v>22.911527612937356</c:v>
                </c:pt>
                <c:pt idx="46442">
                  <c:v>22.679954123002343</c:v>
                </c:pt>
                <c:pt idx="46443">
                  <c:v>32.232653276867232</c:v>
                </c:pt>
                <c:pt idx="46444">
                  <c:v>25.431441940903781</c:v>
                </c:pt>
                <c:pt idx="46445">
                  <c:v>52.745635655919763</c:v>
                </c:pt>
                <c:pt idx="46446">
                  <c:v>34.399643487894373</c:v>
                </c:pt>
                <c:pt idx="46447">
                  <c:v>32.497469107566239</c:v>
                </c:pt>
                <c:pt idx="46448">
                  <c:v>50.620615055045327</c:v>
                </c:pt>
                <c:pt idx="46449">
                  <c:v>16.258145493125696</c:v>
                </c:pt>
                <c:pt idx="46450">
                  <c:v>25.328397553053556</c:v>
                </c:pt>
                <c:pt idx="46451">
                  <c:v>25.318315913587206</c:v>
                </c:pt>
                <c:pt idx="46452">
                  <c:v>37.151080296455277</c:v>
                </c:pt>
                <c:pt idx="46453">
                  <c:v>32.750897911918358</c:v>
                </c:pt>
                <c:pt idx="46454">
                  <c:v>42.178241443364101</c:v>
                </c:pt>
                <c:pt idx="46455">
                  <c:v>24.720142586422323</c:v>
                </c:pt>
                <c:pt idx="46456">
                  <c:v>26.9833365783978</c:v>
                </c:pt>
                <c:pt idx="46457">
                  <c:v>28.370568008182897</c:v>
                </c:pt>
                <c:pt idx="46458">
                  <c:v>26.719946950159301</c:v>
                </c:pt>
                <c:pt idx="46459">
                  <c:v>35.255429704205611</c:v>
                </c:pt>
                <c:pt idx="46460">
                  <c:v>33.541980343516769</c:v>
                </c:pt>
                <c:pt idx="46461">
                  <c:v>37.045840370066287</c:v>
                </c:pt>
                <c:pt idx="46462">
                  <c:v>40.746061189904324</c:v>
                </c:pt>
                <c:pt idx="46463">
                  <c:v>29.975418329222556</c:v>
                </c:pt>
                <c:pt idx="46464">
                  <c:v>18.556555446525905</c:v>
                </c:pt>
                <c:pt idx="46465">
                  <c:v>22.12810703438964</c:v>
                </c:pt>
                <c:pt idx="46466">
                  <c:v>40.531823431866727</c:v>
                </c:pt>
                <c:pt idx="46467">
                  <c:v>38.866035123700449</c:v>
                </c:pt>
                <c:pt idx="46468">
                  <c:v>44.946007913362003</c:v>
                </c:pt>
                <c:pt idx="46469">
                  <c:v>25.385468160479942</c:v>
                </c:pt>
                <c:pt idx="46470">
                  <c:v>44.757721394163958</c:v>
                </c:pt>
                <c:pt idx="46471">
                  <c:v>45.264043758823611</c:v>
                </c:pt>
                <c:pt idx="46472">
                  <c:v>24.382263423576326</c:v>
                </c:pt>
                <c:pt idx="46473">
                  <c:v>26.820260500861476</c:v>
                </c:pt>
                <c:pt idx="46474">
                  <c:v>23.515723051456213</c:v>
                </c:pt>
                <c:pt idx="46475">
                  <c:v>25.160553274970034</c:v>
                </c:pt>
                <c:pt idx="46476">
                  <c:v>17.693828410133925</c:v>
                </c:pt>
                <c:pt idx="46477">
                  <c:v>23.275439862092917</c:v>
                </c:pt>
                <c:pt idx="46478">
                  <c:v>52.319017641481786</c:v>
                </c:pt>
                <c:pt idx="46479">
                  <c:v>36.995986796787712</c:v>
                </c:pt>
                <c:pt idx="46480">
                  <c:v>24.430168280428134</c:v>
                </c:pt>
                <c:pt idx="46481">
                  <c:v>28.507672295653975</c:v>
                </c:pt>
                <c:pt idx="46482">
                  <c:v>47.969536154601968</c:v>
                </c:pt>
                <c:pt idx="46483">
                  <c:v>30.794046539757868</c:v>
                </c:pt>
                <c:pt idx="46484">
                  <c:v>34.013571097322249</c:v>
                </c:pt>
                <c:pt idx="46485">
                  <c:v>27.301800752461016</c:v>
                </c:pt>
                <c:pt idx="46486">
                  <c:v>23.232368663162298</c:v>
                </c:pt>
                <c:pt idx="46487">
                  <c:v>32.4513037536897</c:v>
                </c:pt>
                <c:pt idx="46488">
                  <c:v>16.71641759091375</c:v>
                </c:pt>
                <c:pt idx="46489">
                  <c:v>27.158041429222202</c:v>
                </c:pt>
                <c:pt idx="46490">
                  <c:v>38.659324100945483</c:v>
                </c:pt>
                <c:pt idx="46491">
                  <c:v>26.856009185161</c:v>
                </c:pt>
                <c:pt idx="46492">
                  <c:v>42.760616210363736</c:v>
                </c:pt>
                <c:pt idx="46493">
                  <c:v>46.16500879872283</c:v>
                </c:pt>
                <c:pt idx="46494">
                  <c:v>22.757849921377716</c:v>
                </c:pt>
                <c:pt idx="46495">
                  <c:v>29.358641465381801</c:v>
                </c:pt>
                <c:pt idx="46496">
                  <c:v>26.819627302066902</c:v>
                </c:pt>
                <c:pt idx="46497">
                  <c:v>23.070525626740586</c:v>
                </c:pt>
                <c:pt idx="46498">
                  <c:v>24.646955255756378</c:v>
                </c:pt>
                <c:pt idx="46499">
                  <c:v>27.915781486407955</c:v>
                </c:pt>
                <c:pt idx="46500">
                  <c:v>19.833143151554729</c:v>
                </c:pt>
                <c:pt idx="46501">
                  <c:v>24.51962722583146</c:v>
                </c:pt>
                <c:pt idx="46502">
                  <c:v>25.43867896873962</c:v>
                </c:pt>
                <c:pt idx="46503">
                  <c:v>27.513868834332506</c:v>
                </c:pt>
                <c:pt idx="46504">
                  <c:v>29.599304350605966</c:v>
                </c:pt>
                <c:pt idx="46505">
                  <c:v>49.762296872659164</c:v>
                </c:pt>
                <c:pt idx="46506">
                  <c:v>30.714845036530797</c:v>
                </c:pt>
                <c:pt idx="46507">
                  <c:v>32.610116086459612</c:v>
                </c:pt>
                <c:pt idx="46508">
                  <c:v>28.477375276056808</c:v>
                </c:pt>
                <c:pt idx="46509">
                  <c:v>25.043772195158276</c:v>
                </c:pt>
                <c:pt idx="46510">
                  <c:v>20.573092428285484</c:v>
                </c:pt>
                <c:pt idx="46511">
                  <c:v>27.347737374635301</c:v>
                </c:pt>
                <c:pt idx="46512">
                  <c:v>22.737760954873583</c:v>
                </c:pt>
                <c:pt idx="46513">
                  <c:v>22.74046967196989</c:v>
                </c:pt>
                <c:pt idx="46514">
                  <c:v>31.153287413749922</c:v>
                </c:pt>
                <c:pt idx="46515">
                  <c:v>33.138593345813952</c:v>
                </c:pt>
                <c:pt idx="46516">
                  <c:v>20.970190093366291</c:v>
                </c:pt>
                <c:pt idx="46517">
                  <c:v>30.690575022556121</c:v>
                </c:pt>
                <c:pt idx="46518">
                  <c:v>18.688902065740919</c:v>
                </c:pt>
                <c:pt idx="46519">
                  <c:v>24.82737709480967</c:v>
                </c:pt>
                <c:pt idx="46520">
                  <c:v>54.650525987889424</c:v>
                </c:pt>
                <c:pt idx="46521">
                  <c:v>18.025606999038459</c:v>
                </c:pt>
                <c:pt idx="46522">
                  <c:v>23.035505509888154</c:v>
                </c:pt>
                <c:pt idx="46523">
                  <c:v>54.127889804984186</c:v>
                </c:pt>
                <c:pt idx="46524">
                  <c:v>26.020709498591831</c:v>
                </c:pt>
                <c:pt idx="46525">
                  <c:v>23.433916998823349</c:v>
                </c:pt>
                <c:pt idx="46526">
                  <c:v>22.977719510230834</c:v>
                </c:pt>
                <c:pt idx="46527">
                  <c:v>29.610875884100551</c:v>
                </c:pt>
                <c:pt idx="46528">
                  <c:v>23.399491850161027</c:v>
                </c:pt>
                <c:pt idx="46529">
                  <c:v>23.735953500589641</c:v>
                </c:pt>
                <c:pt idx="46530">
                  <c:v>29.554406528496934</c:v>
                </c:pt>
                <c:pt idx="46531">
                  <c:v>18.728958381615268</c:v>
                </c:pt>
                <c:pt idx="46532">
                  <c:v>26.703734748935961</c:v>
                </c:pt>
                <c:pt idx="46533">
                  <c:v>26.132618239937166</c:v>
                </c:pt>
                <c:pt idx="46534">
                  <c:v>29.495602977358836</c:v>
                </c:pt>
                <c:pt idx="46535">
                  <c:v>42.009400671158303</c:v>
                </c:pt>
                <c:pt idx="46536">
                  <c:v>29.139898134496452</c:v>
                </c:pt>
                <c:pt idx="46537">
                  <c:v>23.782180516628511</c:v>
                </c:pt>
                <c:pt idx="46538">
                  <c:v>23.479936998801094</c:v>
                </c:pt>
                <c:pt idx="46539">
                  <c:v>30.321577628038174</c:v>
                </c:pt>
                <c:pt idx="46540">
                  <c:v>31.910583886461342</c:v>
                </c:pt>
                <c:pt idx="46541">
                  <c:v>20.643431462320734</c:v>
                </c:pt>
                <c:pt idx="46542">
                  <c:v>42.870374291859164</c:v>
                </c:pt>
                <c:pt idx="46543">
                  <c:v>30.692630208426653</c:v>
                </c:pt>
                <c:pt idx="46544">
                  <c:v>37.640851066821433</c:v>
                </c:pt>
                <c:pt idx="46545">
                  <c:v>27.591747609948882</c:v>
                </c:pt>
                <c:pt idx="46546">
                  <c:v>44.656103680451146</c:v>
                </c:pt>
                <c:pt idx="46547">
                  <c:v>32.586588638661624</c:v>
                </c:pt>
                <c:pt idx="46548">
                  <c:v>13.012265980410618</c:v>
                </c:pt>
                <c:pt idx="46549">
                  <c:v>33.75444701149349</c:v>
                </c:pt>
                <c:pt idx="46550">
                  <c:v>30.000280385056733</c:v>
                </c:pt>
                <c:pt idx="46551">
                  <c:v>24.394575530798093</c:v>
                </c:pt>
                <c:pt idx="46552">
                  <c:v>26.423073253932099</c:v>
                </c:pt>
                <c:pt idx="46553">
                  <c:v>32.809910347022196</c:v>
                </c:pt>
                <c:pt idx="46554">
                  <c:v>24.829975347504277</c:v>
                </c:pt>
                <c:pt idx="46555">
                  <c:v>24.17871004460957</c:v>
                </c:pt>
                <c:pt idx="46556">
                  <c:v>25.108528874882808</c:v>
                </c:pt>
                <c:pt idx="46557">
                  <c:v>54.17976170504015</c:v>
                </c:pt>
                <c:pt idx="46558">
                  <c:v>26.885464149596679</c:v>
                </c:pt>
                <c:pt idx="46559">
                  <c:v>29.154239830024977</c:v>
                </c:pt>
                <c:pt idx="46560">
                  <c:v>24.474507165589479</c:v>
                </c:pt>
                <c:pt idx="46561">
                  <c:v>49.155735919826768</c:v>
                </c:pt>
                <c:pt idx="46562">
                  <c:v>23.887573331060452</c:v>
                </c:pt>
                <c:pt idx="46563">
                  <c:v>27.363925179268541</c:v>
                </c:pt>
                <c:pt idx="46564">
                  <c:v>28.912600993609868</c:v>
                </c:pt>
                <c:pt idx="46565">
                  <c:v>44.803058799581301</c:v>
                </c:pt>
                <c:pt idx="46566">
                  <c:v>24.243844962324239</c:v>
                </c:pt>
                <c:pt idx="46567">
                  <c:v>32.183445752106032</c:v>
                </c:pt>
                <c:pt idx="46568">
                  <c:v>32.152621112662814</c:v>
                </c:pt>
                <c:pt idx="46569">
                  <c:v>35.045600113871991</c:v>
                </c:pt>
                <c:pt idx="46570">
                  <c:v>23.065678028080807</c:v>
                </c:pt>
                <c:pt idx="46571">
                  <c:v>20.631999680543029</c:v>
                </c:pt>
                <c:pt idx="46572">
                  <c:v>26.700084182064419</c:v>
                </c:pt>
                <c:pt idx="46573">
                  <c:v>18.759995291057873</c:v>
                </c:pt>
                <c:pt idx="46574">
                  <c:v>45.177158103874781</c:v>
                </c:pt>
                <c:pt idx="46575">
                  <c:v>23.162607661537209</c:v>
                </c:pt>
                <c:pt idx="46576">
                  <c:v>25.387630107656662</c:v>
                </c:pt>
                <c:pt idx="46577">
                  <c:v>36.860805012493451</c:v>
                </c:pt>
                <c:pt idx="46578">
                  <c:v>29.596498678330942</c:v>
                </c:pt>
                <c:pt idx="46579">
                  <c:v>30.3960104774333</c:v>
                </c:pt>
                <c:pt idx="46580">
                  <c:v>33.505153229651043</c:v>
                </c:pt>
                <c:pt idx="46581">
                  <c:v>33.561665719709552</c:v>
                </c:pt>
                <c:pt idx="46582">
                  <c:v>33.515671299748163</c:v>
                </c:pt>
                <c:pt idx="46583">
                  <c:v>30.911928474977746</c:v>
                </c:pt>
                <c:pt idx="46584">
                  <c:v>41.18124315360091</c:v>
                </c:pt>
                <c:pt idx="46585">
                  <c:v>30.590511985756731</c:v>
                </c:pt>
                <c:pt idx="46586">
                  <c:v>50.182751719532753</c:v>
                </c:pt>
                <c:pt idx="46587">
                  <c:v>29.760842110063869</c:v>
                </c:pt>
                <c:pt idx="46588">
                  <c:v>20.134383177257508</c:v>
                </c:pt>
                <c:pt idx="46589">
                  <c:v>31.10349362774312</c:v>
                </c:pt>
                <c:pt idx="46590">
                  <c:v>32.496128614809209</c:v>
                </c:pt>
                <c:pt idx="46591">
                  <c:v>21.434816171228739</c:v>
                </c:pt>
                <c:pt idx="46592">
                  <c:v>24.284613276431021</c:v>
                </c:pt>
                <c:pt idx="46593">
                  <c:v>28.37930222162835</c:v>
                </c:pt>
                <c:pt idx="46594">
                  <c:v>32.001213788774685</c:v>
                </c:pt>
                <c:pt idx="46595">
                  <c:v>52.230062009598058</c:v>
                </c:pt>
                <c:pt idx="46596">
                  <c:v>51.330820623405288</c:v>
                </c:pt>
                <c:pt idx="46597">
                  <c:v>15.837034647552924</c:v>
                </c:pt>
                <c:pt idx="46598">
                  <c:v>27.519154852411305</c:v>
                </c:pt>
                <c:pt idx="46599">
                  <c:v>25.136274216840313</c:v>
                </c:pt>
                <c:pt idx="46600">
                  <c:v>44.740758242670367</c:v>
                </c:pt>
                <c:pt idx="46601">
                  <c:v>34.303474763320409</c:v>
                </c:pt>
                <c:pt idx="46602">
                  <c:v>26.781064612682158</c:v>
                </c:pt>
                <c:pt idx="46603">
                  <c:v>25.456629138024123</c:v>
                </c:pt>
                <c:pt idx="46604">
                  <c:v>27.302066641941256</c:v>
                </c:pt>
                <c:pt idx="46605">
                  <c:v>29.173085229597486</c:v>
                </c:pt>
                <c:pt idx="46606">
                  <c:v>41.115187332951372</c:v>
                </c:pt>
                <c:pt idx="46607">
                  <c:v>22.473629973700163</c:v>
                </c:pt>
                <c:pt idx="46608">
                  <c:v>18.820817982239312</c:v>
                </c:pt>
                <c:pt idx="46609">
                  <c:v>38.122254358411084</c:v>
                </c:pt>
                <c:pt idx="46610">
                  <c:v>33.044687568234572</c:v>
                </c:pt>
                <c:pt idx="46611">
                  <c:v>29.49673682384422</c:v>
                </c:pt>
                <c:pt idx="46612">
                  <c:v>41.653318569733976</c:v>
                </c:pt>
                <c:pt idx="46613">
                  <c:v>32.057750171173865</c:v>
                </c:pt>
                <c:pt idx="46614">
                  <c:v>30.220312622170368</c:v>
                </c:pt>
                <c:pt idx="46615">
                  <c:v>37.843221226590124</c:v>
                </c:pt>
                <c:pt idx="46616">
                  <c:v>23.408528390504394</c:v>
                </c:pt>
                <c:pt idx="46617">
                  <c:v>26.071523300540434</c:v>
                </c:pt>
                <c:pt idx="46618">
                  <c:v>49.208807307674391</c:v>
                </c:pt>
                <c:pt idx="46619">
                  <c:v>40.937860183800311</c:v>
                </c:pt>
                <c:pt idx="46620">
                  <c:v>23.415698189479741</c:v>
                </c:pt>
                <c:pt idx="46621">
                  <c:v>20.888365383773699</c:v>
                </c:pt>
                <c:pt idx="46622">
                  <c:v>25.070185629191123</c:v>
                </c:pt>
                <c:pt idx="46623">
                  <c:v>28.158035294472565</c:v>
                </c:pt>
                <c:pt idx="46624">
                  <c:v>31.056134858307935</c:v>
                </c:pt>
                <c:pt idx="46625">
                  <c:v>22.471030552578654</c:v>
                </c:pt>
                <c:pt idx="46626">
                  <c:v>40.41613913461034</c:v>
                </c:pt>
                <c:pt idx="46627">
                  <c:v>18.404430064391779</c:v>
                </c:pt>
                <c:pt idx="46628">
                  <c:v>52.060204575183853</c:v>
                </c:pt>
                <c:pt idx="46629">
                  <c:v>28.778925113821153</c:v>
                </c:pt>
                <c:pt idx="46630">
                  <c:v>32.135152330680398</c:v>
                </c:pt>
                <c:pt idx="46631">
                  <c:v>29.800394923482649</c:v>
                </c:pt>
                <c:pt idx="46632">
                  <c:v>22.685263236476185</c:v>
                </c:pt>
                <c:pt idx="46633">
                  <c:v>25.785388287241378</c:v>
                </c:pt>
                <c:pt idx="46634">
                  <c:v>29.467797602530077</c:v>
                </c:pt>
                <c:pt idx="46635">
                  <c:v>33.478990697136538</c:v>
                </c:pt>
                <c:pt idx="46636">
                  <c:v>49.675029258212199</c:v>
                </c:pt>
                <c:pt idx="46637">
                  <c:v>31.800880124556414</c:v>
                </c:pt>
                <c:pt idx="46638">
                  <c:v>20.427986167831293</c:v>
                </c:pt>
                <c:pt idx="46639">
                  <c:v>31.371584725170322</c:v>
                </c:pt>
                <c:pt idx="46640">
                  <c:v>47.59884425868556</c:v>
                </c:pt>
                <c:pt idx="46641">
                  <c:v>56.738476802602015</c:v>
                </c:pt>
                <c:pt idx="46642">
                  <c:v>25.51221469722131</c:v>
                </c:pt>
                <c:pt idx="46643">
                  <c:v>26.534075156214275</c:v>
                </c:pt>
                <c:pt idx="46644">
                  <c:v>37.121532727504857</c:v>
                </c:pt>
                <c:pt idx="46645">
                  <c:v>54.81091095325381</c:v>
                </c:pt>
                <c:pt idx="46646">
                  <c:v>23.392561720340154</c:v>
                </c:pt>
                <c:pt idx="46647">
                  <c:v>54.809990567372878</c:v>
                </c:pt>
                <c:pt idx="46648">
                  <c:v>21.929551696650901</c:v>
                </c:pt>
                <c:pt idx="46649">
                  <c:v>28.058886786189287</c:v>
                </c:pt>
                <c:pt idx="46650">
                  <c:v>18.82399655887227</c:v>
                </c:pt>
                <c:pt idx="46651">
                  <c:v>46.009000476614474</c:v>
                </c:pt>
                <c:pt idx="46652">
                  <c:v>41.520124669418955</c:v>
                </c:pt>
                <c:pt idx="46653">
                  <c:v>22.582564636369142</c:v>
                </c:pt>
                <c:pt idx="46654">
                  <c:v>26.327684800887887</c:v>
                </c:pt>
                <c:pt idx="46655">
                  <c:v>25.713155803027924</c:v>
                </c:pt>
                <c:pt idx="46656">
                  <c:v>46.552245700939842</c:v>
                </c:pt>
                <c:pt idx="46657">
                  <c:v>37.823501079095657</c:v>
                </c:pt>
                <c:pt idx="46658">
                  <c:v>21.981881212563799</c:v>
                </c:pt>
                <c:pt idx="46659">
                  <c:v>52.23043189373557</c:v>
                </c:pt>
                <c:pt idx="46660">
                  <c:v>23.029514235862678</c:v>
                </c:pt>
                <c:pt idx="46661">
                  <c:v>45.747829927849082</c:v>
                </c:pt>
                <c:pt idx="46662">
                  <c:v>35.710613091673594</c:v>
                </c:pt>
                <c:pt idx="46663">
                  <c:v>28.913825703535665</c:v>
                </c:pt>
                <c:pt idx="46664">
                  <c:v>29.307608836118476</c:v>
                </c:pt>
                <c:pt idx="46665">
                  <c:v>51.052817441512595</c:v>
                </c:pt>
                <c:pt idx="46666">
                  <c:v>21.449707562966474</c:v>
                </c:pt>
                <c:pt idx="46667">
                  <c:v>57.663796067098552</c:v>
                </c:pt>
                <c:pt idx="46668">
                  <c:v>57.355498897723464</c:v>
                </c:pt>
                <c:pt idx="46669">
                  <c:v>31.699407217172531</c:v>
                </c:pt>
                <c:pt idx="46670">
                  <c:v>21.702948857245605</c:v>
                </c:pt>
                <c:pt idx="46671">
                  <c:v>49.368037331310788</c:v>
                </c:pt>
                <c:pt idx="46672">
                  <c:v>48.450691907255859</c:v>
                </c:pt>
                <c:pt idx="46673">
                  <c:v>49.392802725627178</c:v>
                </c:pt>
                <c:pt idx="46674">
                  <c:v>32.126337764674801</c:v>
                </c:pt>
                <c:pt idx="46675">
                  <c:v>28.840952166148281</c:v>
                </c:pt>
                <c:pt idx="46676">
                  <c:v>47.008712309408104</c:v>
                </c:pt>
                <c:pt idx="46677">
                  <c:v>21.598391476324956</c:v>
                </c:pt>
                <c:pt idx="46678">
                  <c:v>21.911528392911009</c:v>
                </c:pt>
                <c:pt idx="46679">
                  <c:v>25.712669017615415</c:v>
                </c:pt>
                <c:pt idx="46680">
                  <c:v>22.662825007901368</c:v>
                </c:pt>
                <c:pt idx="46681">
                  <c:v>32.305210092078077</c:v>
                </c:pt>
                <c:pt idx="46682">
                  <c:v>28.430438593047818</c:v>
                </c:pt>
                <c:pt idx="46683">
                  <c:v>19.779627857811512</c:v>
                </c:pt>
                <c:pt idx="46684">
                  <c:v>50.20866076257002</c:v>
                </c:pt>
                <c:pt idx="46685">
                  <c:v>27.139213328525507</c:v>
                </c:pt>
                <c:pt idx="46686">
                  <c:v>23.36498140792537</c:v>
                </c:pt>
                <c:pt idx="46687">
                  <c:v>51.796650429877921</c:v>
                </c:pt>
                <c:pt idx="46688">
                  <c:v>12.326410070959399</c:v>
                </c:pt>
                <c:pt idx="46689">
                  <c:v>25.993633397723723</c:v>
                </c:pt>
                <c:pt idx="46690">
                  <c:v>24.363747795821087</c:v>
                </c:pt>
                <c:pt idx="46691">
                  <c:v>37.529166107435991</c:v>
                </c:pt>
                <c:pt idx="46692">
                  <c:v>27.240782311084139</c:v>
                </c:pt>
                <c:pt idx="46693">
                  <c:v>29.703658137042208</c:v>
                </c:pt>
                <c:pt idx="46694">
                  <c:v>18.975559692552668</c:v>
                </c:pt>
                <c:pt idx="46695">
                  <c:v>24.493721750070048</c:v>
                </c:pt>
                <c:pt idx="46696">
                  <c:v>37.131973959915591</c:v>
                </c:pt>
                <c:pt idx="46697">
                  <c:v>20.726315486161329</c:v>
                </c:pt>
                <c:pt idx="46698">
                  <c:v>43.900672559645628</c:v>
                </c:pt>
                <c:pt idx="46699">
                  <c:v>25.19823260655529</c:v>
                </c:pt>
                <c:pt idx="46700">
                  <c:v>32.031046998511499</c:v>
                </c:pt>
                <c:pt idx="46701">
                  <c:v>23.994930513499519</c:v>
                </c:pt>
                <c:pt idx="46702">
                  <c:v>21.904443154955235</c:v>
                </c:pt>
                <c:pt idx="46703">
                  <c:v>24.074442484071572</c:v>
                </c:pt>
                <c:pt idx="46704">
                  <c:v>27.562537606279996</c:v>
                </c:pt>
                <c:pt idx="46705">
                  <c:v>34.769094300308261</c:v>
                </c:pt>
                <c:pt idx="46706">
                  <c:v>23.328866990966141</c:v>
                </c:pt>
                <c:pt idx="46707">
                  <c:v>29.645753302444074</c:v>
                </c:pt>
                <c:pt idx="46708">
                  <c:v>27.195679349608522</c:v>
                </c:pt>
                <c:pt idx="46709">
                  <c:v>23.987398351749217</c:v>
                </c:pt>
                <c:pt idx="46710">
                  <c:v>17.733928421526102</c:v>
                </c:pt>
                <c:pt idx="46711">
                  <c:v>20.167979133214892</c:v>
                </c:pt>
                <c:pt idx="46712">
                  <c:v>31.782092322903026</c:v>
                </c:pt>
                <c:pt idx="46713">
                  <c:v>29.867408574487349</c:v>
                </c:pt>
                <c:pt idx="46714">
                  <c:v>30.357696032262005</c:v>
                </c:pt>
                <c:pt idx="46715">
                  <c:v>19.021165482480107</c:v>
                </c:pt>
                <c:pt idx="46716">
                  <c:v>27.700914233960926</c:v>
                </c:pt>
                <c:pt idx="46717">
                  <c:v>23.944316066534761</c:v>
                </c:pt>
                <c:pt idx="46718">
                  <c:v>42.120223111041028</c:v>
                </c:pt>
                <c:pt idx="46719">
                  <c:v>20.369249131137614</c:v>
                </c:pt>
                <c:pt idx="46720">
                  <c:v>19.217805569534129</c:v>
                </c:pt>
                <c:pt idx="46721">
                  <c:v>55.440585744555662</c:v>
                </c:pt>
                <c:pt idx="46722">
                  <c:v>45.349999193711568</c:v>
                </c:pt>
                <c:pt idx="46723">
                  <c:v>23.260053711993017</c:v>
                </c:pt>
                <c:pt idx="46724">
                  <c:v>21.953444232987515</c:v>
                </c:pt>
                <c:pt idx="46725">
                  <c:v>24.807699774083527</c:v>
                </c:pt>
                <c:pt idx="46726">
                  <c:v>25.868182888912308</c:v>
                </c:pt>
                <c:pt idx="46727">
                  <c:v>23.650056276411359</c:v>
                </c:pt>
                <c:pt idx="46728">
                  <c:v>26.444134046701276</c:v>
                </c:pt>
                <c:pt idx="46729">
                  <c:v>23.187555749303151</c:v>
                </c:pt>
                <c:pt idx="46730">
                  <c:v>34.6368183774267</c:v>
                </c:pt>
                <c:pt idx="46731">
                  <c:v>30.53049087484726</c:v>
                </c:pt>
                <c:pt idx="46732">
                  <c:v>16.430456080559271</c:v>
                </c:pt>
                <c:pt idx="46733">
                  <c:v>28.518180752889311</c:v>
                </c:pt>
                <c:pt idx="46734">
                  <c:v>21.539028642331697</c:v>
                </c:pt>
                <c:pt idx="46735">
                  <c:v>35.293643966727451</c:v>
                </c:pt>
                <c:pt idx="46736">
                  <c:v>18.985757047343881</c:v>
                </c:pt>
                <c:pt idx="46737">
                  <c:v>22.055005582775905</c:v>
                </c:pt>
                <c:pt idx="46738">
                  <c:v>32.337128291255766</c:v>
                </c:pt>
                <c:pt idx="46739">
                  <c:v>29.148395289430034</c:v>
                </c:pt>
                <c:pt idx="46740">
                  <c:v>28.039657788420044</c:v>
                </c:pt>
                <c:pt idx="46741">
                  <c:v>32.3113265301902</c:v>
                </c:pt>
                <c:pt idx="46742">
                  <c:v>63.346942083143773</c:v>
                </c:pt>
                <c:pt idx="46743">
                  <c:v>26.546757462053911</c:v>
                </c:pt>
                <c:pt idx="46744">
                  <c:v>28.017771822236188</c:v>
                </c:pt>
                <c:pt idx="46745">
                  <c:v>29.863860858606969</c:v>
                </c:pt>
                <c:pt idx="46746">
                  <c:v>29.890793139068485</c:v>
                </c:pt>
                <c:pt idx="46747">
                  <c:v>34.811217133679719</c:v>
                </c:pt>
                <c:pt idx="46748">
                  <c:v>36.265242187275085</c:v>
                </c:pt>
                <c:pt idx="46749">
                  <c:v>28.940923360130121</c:v>
                </c:pt>
                <c:pt idx="46750">
                  <c:v>28.591839804915196</c:v>
                </c:pt>
                <c:pt idx="46751">
                  <c:v>24.894486939886505</c:v>
                </c:pt>
                <c:pt idx="46752">
                  <c:v>22.414172432619665</c:v>
                </c:pt>
                <c:pt idx="46753">
                  <c:v>27.599534302806049</c:v>
                </c:pt>
                <c:pt idx="46754">
                  <c:v>23.191022166106645</c:v>
                </c:pt>
                <c:pt idx="46755">
                  <c:v>21.949328700238727</c:v>
                </c:pt>
                <c:pt idx="46756">
                  <c:v>20.631419535055656</c:v>
                </c:pt>
                <c:pt idx="46757">
                  <c:v>43.388407614619325</c:v>
                </c:pt>
                <c:pt idx="46758">
                  <c:v>24.387789141022175</c:v>
                </c:pt>
                <c:pt idx="46759">
                  <c:v>29.176632879373795</c:v>
                </c:pt>
                <c:pt idx="46760">
                  <c:v>25.010511144730685</c:v>
                </c:pt>
                <c:pt idx="46761">
                  <c:v>26.30254438274531</c:v>
                </c:pt>
                <c:pt idx="46762">
                  <c:v>27.207826281768178</c:v>
                </c:pt>
                <c:pt idx="46763">
                  <c:v>29.534656096917995</c:v>
                </c:pt>
                <c:pt idx="46764">
                  <c:v>32.243949874360581</c:v>
                </c:pt>
                <c:pt idx="46765">
                  <c:v>44.679168236987422</c:v>
                </c:pt>
                <c:pt idx="46766">
                  <c:v>25.832978213845678</c:v>
                </c:pt>
                <c:pt idx="46767">
                  <c:v>22.604794625488051</c:v>
                </c:pt>
                <c:pt idx="46768">
                  <c:v>18.965428719793888</c:v>
                </c:pt>
                <c:pt idx="46769">
                  <c:v>24.073560589615063</c:v>
                </c:pt>
                <c:pt idx="46770">
                  <c:v>27.576235199453421</c:v>
                </c:pt>
                <c:pt idx="46771">
                  <c:v>28.343591942927127</c:v>
                </c:pt>
                <c:pt idx="46772">
                  <c:v>16.923894303402516</c:v>
                </c:pt>
                <c:pt idx="46773">
                  <c:v>19.599098268887431</c:v>
                </c:pt>
                <c:pt idx="46774">
                  <c:v>28.968885447897382</c:v>
                </c:pt>
                <c:pt idx="46775">
                  <c:v>31.823016701368118</c:v>
                </c:pt>
                <c:pt idx="46776">
                  <c:v>28.578111674256725</c:v>
                </c:pt>
                <c:pt idx="46777">
                  <c:v>38.138337687057422</c:v>
                </c:pt>
                <c:pt idx="46778">
                  <c:v>22.002459207115756</c:v>
                </c:pt>
                <c:pt idx="46779">
                  <c:v>30.373061855699934</c:v>
                </c:pt>
                <c:pt idx="46780">
                  <c:v>46.276659181540516</c:v>
                </c:pt>
                <c:pt idx="46781">
                  <c:v>20.161237553538026</c:v>
                </c:pt>
                <c:pt idx="46782">
                  <c:v>31.687488473414721</c:v>
                </c:pt>
                <c:pt idx="46783">
                  <c:v>42.049134077821321</c:v>
                </c:pt>
                <c:pt idx="46784">
                  <c:v>47.881388518438825</c:v>
                </c:pt>
                <c:pt idx="46785">
                  <c:v>21.704661884461757</c:v>
                </c:pt>
                <c:pt idx="46786">
                  <c:v>47.884509518852411</c:v>
                </c:pt>
                <c:pt idx="46787">
                  <c:v>23.184254067739669</c:v>
                </c:pt>
                <c:pt idx="46788">
                  <c:v>38.487610595501593</c:v>
                </c:pt>
                <c:pt idx="46789">
                  <c:v>48.468657796719796</c:v>
                </c:pt>
                <c:pt idx="46790">
                  <c:v>27.31869289534071</c:v>
                </c:pt>
                <c:pt idx="46791">
                  <c:v>21.10789472106979</c:v>
                </c:pt>
                <c:pt idx="46792">
                  <c:v>18.74186575591871</c:v>
                </c:pt>
                <c:pt idx="46793">
                  <c:v>23.4434116595395</c:v>
                </c:pt>
                <c:pt idx="46794">
                  <c:v>34.342363943168465</c:v>
                </c:pt>
                <c:pt idx="46795">
                  <c:v>27.159154743830289</c:v>
                </c:pt>
                <c:pt idx="46796">
                  <c:v>46.434941844855537</c:v>
                </c:pt>
                <c:pt idx="46797">
                  <c:v>39.681183970378683</c:v>
                </c:pt>
                <c:pt idx="46798">
                  <c:v>30.197180698552508</c:v>
                </c:pt>
                <c:pt idx="46799">
                  <c:v>37.000619302609039</c:v>
                </c:pt>
                <c:pt idx="46800">
                  <c:v>29.897195492427411</c:v>
                </c:pt>
                <c:pt idx="46801">
                  <c:v>23.787247897210232</c:v>
                </c:pt>
                <c:pt idx="46802">
                  <c:v>19.4802488774924</c:v>
                </c:pt>
                <c:pt idx="46803">
                  <c:v>35.765764025683801</c:v>
                </c:pt>
                <c:pt idx="46804">
                  <c:v>35.573145507953129</c:v>
                </c:pt>
                <c:pt idx="46805">
                  <c:v>22.151481095589101</c:v>
                </c:pt>
                <c:pt idx="46806">
                  <c:v>30.183136389152516</c:v>
                </c:pt>
                <c:pt idx="46807">
                  <c:v>50.535050972760992</c:v>
                </c:pt>
                <c:pt idx="46808">
                  <c:v>46.449940269920511</c:v>
                </c:pt>
                <c:pt idx="46809">
                  <c:v>42.459953340143613</c:v>
                </c:pt>
                <c:pt idx="46810">
                  <c:v>19.948659965243284</c:v>
                </c:pt>
                <c:pt idx="46811">
                  <c:v>39.559285332531672</c:v>
                </c:pt>
                <c:pt idx="46812">
                  <c:v>27.890583739561649</c:v>
                </c:pt>
                <c:pt idx="46813">
                  <c:v>27.286233008736748</c:v>
                </c:pt>
                <c:pt idx="46814">
                  <c:v>41.344936489297794</c:v>
                </c:pt>
                <c:pt idx="46815">
                  <c:v>23.726824405644365</c:v>
                </c:pt>
                <c:pt idx="46816">
                  <c:v>43.093942757962608</c:v>
                </c:pt>
                <c:pt idx="46817">
                  <c:v>37.242822217306596</c:v>
                </c:pt>
                <c:pt idx="46818">
                  <c:v>28.908989527826861</c:v>
                </c:pt>
                <c:pt idx="46819">
                  <c:v>35.423351821637084</c:v>
                </c:pt>
                <c:pt idx="46820">
                  <c:v>25.562769863145814</c:v>
                </c:pt>
                <c:pt idx="46821">
                  <c:v>27.316311722067745</c:v>
                </c:pt>
                <c:pt idx="46822">
                  <c:v>36.480440317869288</c:v>
                </c:pt>
                <c:pt idx="46823">
                  <c:v>30.648353046404644</c:v>
                </c:pt>
                <c:pt idx="46824">
                  <c:v>35.727232266367189</c:v>
                </c:pt>
                <c:pt idx="46825">
                  <c:v>48.573501520364083</c:v>
                </c:pt>
                <c:pt idx="46826">
                  <c:v>35.383239094867683</c:v>
                </c:pt>
                <c:pt idx="46827">
                  <c:v>52.094458171775386</c:v>
                </c:pt>
                <c:pt idx="46828">
                  <c:v>28.289064755845217</c:v>
                </c:pt>
                <c:pt idx="46829">
                  <c:v>23.592508830198916</c:v>
                </c:pt>
                <c:pt idx="46830">
                  <c:v>22.98345128724646</c:v>
                </c:pt>
                <c:pt idx="46831">
                  <c:v>24.27863164788744</c:v>
                </c:pt>
                <c:pt idx="46832">
                  <c:v>30.419646287271537</c:v>
                </c:pt>
                <c:pt idx="46833">
                  <c:v>28.564698306037652</c:v>
                </c:pt>
                <c:pt idx="46834">
                  <c:v>23.918169780630365</c:v>
                </c:pt>
                <c:pt idx="46835">
                  <c:v>23.223142894561658</c:v>
                </c:pt>
                <c:pt idx="46836">
                  <c:v>31.996337989767696</c:v>
                </c:pt>
                <c:pt idx="46837">
                  <c:v>27.392768647202651</c:v>
                </c:pt>
                <c:pt idx="46838">
                  <c:v>58.465645595785453</c:v>
                </c:pt>
                <c:pt idx="46839">
                  <c:v>44.725390510505783</c:v>
                </c:pt>
                <c:pt idx="46840">
                  <c:v>33.743671665448609</c:v>
                </c:pt>
                <c:pt idx="46841">
                  <c:v>48.776623857555329</c:v>
                </c:pt>
                <c:pt idx="46842">
                  <c:v>41.997469549533541</c:v>
                </c:pt>
                <c:pt idx="46843">
                  <c:v>24.542259310494995</c:v>
                </c:pt>
                <c:pt idx="46844">
                  <c:v>32.622429870137836</c:v>
                </c:pt>
                <c:pt idx="46845">
                  <c:v>56.829541990693308</c:v>
                </c:pt>
                <c:pt idx="46846">
                  <c:v>41.147452307511415</c:v>
                </c:pt>
                <c:pt idx="46847">
                  <c:v>21.568207004058515</c:v>
                </c:pt>
                <c:pt idx="46848">
                  <c:v>35.58345589746439</c:v>
                </c:pt>
                <c:pt idx="46849">
                  <c:v>21.250641584184869</c:v>
                </c:pt>
                <c:pt idx="46850">
                  <c:v>24.927111696276022</c:v>
                </c:pt>
                <c:pt idx="46851">
                  <c:v>19.530196031590357</c:v>
                </c:pt>
                <c:pt idx="46852">
                  <c:v>29.226016853924435</c:v>
                </c:pt>
                <c:pt idx="46853">
                  <c:v>19.713404280436816</c:v>
                </c:pt>
                <c:pt idx="46854">
                  <c:v>49.554828718571528</c:v>
                </c:pt>
                <c:pt idx="46855">
                  <c:v>27.955763353543976</c:v>
                </c:pt>
                <c:pt idx="46856">
                  <c:v>21.810580106619575</c:v>
                </c:pt>
                <c:pt idx="46857">
                  <c:v>22.993097162685302</c:v>
                </c:pt>
                <c:pt idx="46858">
                  <c:v>19.264645892075613</c:v>
                </c:pt>
                <c:pt idx="46859">
                  <c:v>48.987354581512776</c:v>
                </c:pt>
                <c:pt idx="46860">
                  <c:v>36.196874458077758</c:v>
                </c:pt>
                <c:pt idx="46861">
                  <c:v>24.335289889238872</c:v>
                </c:pt>
                <c:pt idx="46862">
                  <c:v>20.306372228017317</c:v>
                </c:pt>
                <c:pt idx="46863">
                  <c:v>41.575467470459174</c:v>
                </c:pt>
                <c:pt idx="46864">
                  <c:v>33.784824506595236</c:v>
                </c:pt>
                <c:pt idx="46865">
                  <c:v>36.706872350668249</c:v>
                </c:pt>
                <c:pt idx="46866">
                  <c:v>43.845994596662294</c:v>
                </c:pt>
                <c:pt idx="46867">
                  <c:v>24.621654727237079</c:v>
                </c:pt>
                <c:pt idx="46868">
                  <c:v>38.341575522789647</c:v>
                </c:pt>
                <c:pt idx="46869">
                  <c:v>24.081435197557521</c:v>
                </c:pt>
                <c:pt idx="46870">
                  <c:v>39.364980968571842</c:v>
                </c:pt>
                <c:pt idx="46871">
                  <c:v>25.449241662903137</c:v>
                </c:pt>
                <c:pt idx="46872">
                  <c:v>28.824926780528024</c:v>
                </c:pt>
                <c:pt idx="46873">
                  <c:v>18.270611834545939</c:v>
                </c:pt>
                <c:pt idx="46874">
                  <c:v>42.462889904462251</c:v>
                </c:pt>
                <c:pt idx="46875">
                  <c:v>51.011538802350138</c:v>
                </c:pt>
                <c:pt idx="46876">
                  <c:v>26.256593178239882</c:v>
                </c:pt>
                <c:pt idx="46877">
                  <c:v>28.042183650075028</c:v>
                </c:pt>
                <c:pt idx="46878">
                  <c:v>45.392979036730104</c:v>
                </c:pt>
                <c:pt idx="46879">
                  <c:v>36.451566740525081</c:v>
                </c:pt>
                <c:pt idx="46880">
                  <c:v>26.361289683053698</c:v>
                </c:pt>
                <c:pt idx="46881">
                  <c:v>22.364355555889727</c:v>
                </c:pt>
                <c:pt idx="46882">
                  <c:v>31.324431478695807</c:v>
                </c:pt>
                <c:pt idx="46883">
                  <c:v>27.178592428074985</c:v>
                </c:pt>
                <c:pt idx="46884">
                  <c:v>22.480993030877478</c:v>
                </c:pt>
                <c:pt idx="46885">
                  <c:v>32.222907085593235</c:v>
                </c:pt>
                <c:pt idx="46886">
                  <c:v>27.579642760750328</c:v>
                </c:pt>
                <c:pt idx="46887">
                  <c:v>24.454292117769707</c:v>
                </c:pt>
                <c:pt idx="46888">
                  <c:v>26.441390191770797</c:v>
                </c:pt>
                <c:pt idx="46889">
                  <c:v>26.038449819737572</c:v>
                </c:pt>
                <c:pt idx="46890">
                  <c:v>30.790356745496275</c:v>
                </c:pt>
                <c:pt idx="46891">
                  <c:v>19.849116835098432</c:v>
                </c:pt>
                <c:pt idx="46892">
                  <c:v>22.130034574522398</c:v>
                </c:pt>
                <c:pt idx="46893">
                  <c:v>44.473544344863363</c:v>
                </c:pt>
                <c:pt idx="46894">
                  <c:v>21.207636682611614</c:v>
                </c:pt>
                <c:pt idx="46895">
                  <c:v>23.012559416872548</c:v>
                </c:pt>
                <c:pt idx="46896">
                  <c:v>22.266489066998705</c:v>
                </c:pt>
                <c:pt idx="46897">
                  <c:v>27.608218401342146</c:v>
                </c:pt>
                <c:pt idx="46898">
                  <c:v>25.182942061011168</c:v>
                </c:pt>
                <c:pt idx="46899">
                  <c:v>28.796818238757837</c:v>
                </c:pt>
                <c:pt idx="46900">
                  <c:v>23.027298280354064</c:v>
                </c:pt>
                <c:pt idx="46901">
                  <c:v>26.063559237988159</c:v>
                </c:pt>
                <c:pt idx="46902">
                  <c:v>18.665926884535097</c:v>
                </c:pt>
                <c:pt idx="46903">
                  <c:v>50.880374560250601</c:v>
                </c:pt>
                <c:pt idx="46904">
                  <c:v>24.658677258949709</c:v>
                </c:pt>
                <c:pt idx="46905">
                  <c:v>52.220699702253881</c:v>
                </c:pt>
                <c:pt idx="46906">
                  <c:v>23.350571638036467</c:v>
                </c:pt>
                <c:pt idx="46907">
                  <c:v>50.178277519691491</c:v>
                </c:pt>
                <c:pt idx="46908">
                  <c:v>25.407099731264182</c:v>
                </c:pt>
                <c:pt idx="46909">
                  <c:v>24.114716835844355</c:v>
                </c:pt>
                <c:pt idx="46910">
                  <c:v>14.938232707637251</c:v>
                </c:pt>
                <c:pt idx="46911">
                  <c:v>44.320758419552888</c:v>
                </c:pt>
                <c:pt idx="46912">
                  <c:v>27.343108801728985</c:v>
                </c:pt>
                <c:pt idx="46913">
                  <c:v>25.259394304507779</c:v>
                </c:pt>
                <c:pt idx="46914">
                  <c:v>22.116400390053805</c:v>
                </c:pt>
                <c:pt idx="46915">
                  <c:v>20.557732297606826</c:v>
                </c:pt>
                <c:pt idx="46916">
                  <c:v>20.315919205147871</c:v>
                </c:pt>
                <c:pt idx="46917">
                  <c:v>48.840533181622952</c:v>
                </c:pt>
                <c:pt idx="46918">
                  <c:v>42.179284139040192</c:v>
                </c:pt>
                <c:pt idx="46919">
                  <c:v>39.62098314846493</c:v>
                </c:pt>
                <c:pt idx="46920">
                  <c:v>26.028718054059777</c:v>
                </c:pt>
                <c:pt idx="46921">
                  <c:v>22.641786710271546</c:v>
                </c:pt>
                <c:pt idx="46922">
                  <c:v>53.15816226475976</c:v>
                </c:pt>
                <c:pt idx="46923">
                  <c:v>18.577179469086591</c:v>
                </c:pt>
                <c:pt idx="46924">
                  <c:v>27.662381132555151</c:v>
                </c:pt>
                <c:pt idx="46925">
                  <c:v>52.870850534347895</c:v>
                </c:pt>
                <c:pt idx="46926">
                  <c:v>46.38003652637218</c:v>
                </c:pt>
                <c:pt idx="46927">
                  <c:v>47.699240205065365</c:v>
                </c:pt>
                <c:pt idx="46928">
                  <c:v>27.784551056602538</c:v>
                </c:pt>
                <c:pt idx="46929">
                  <c:v>30.397281659708696</c:v>
                </c:pt>
                <c:pt idx="46930">
                  <c:v>41.92788689699227</c:v>
                </c:pt>
                <c:pt idx="46931">
                  <c:v>25.201893285710604</c:v>
                </c:pt>
                <c:pt idx="46932">
                  <c:v>19.929813494792604</c:v>
                </c:pt>
                <c:pt idx="46933">
                  <c:v>29.385399222132428</c:v>
                </c:pt>
                <c:pt idx="46934">
                  <c:v>31.993313771074504</c:v>
                </c:pt>
                <c:pt idx="46935">
                  <c:v>24.538684788871887</c:v>
                </c:pt>
                <c:pt idx="46936">
                  <c:v>25.71410598552124</c:v>
                </c:pt>
                <c:pt idx="46937">
                  <c:v>25.213838925215203</c:v>
                </c:pt>
                <c:pt idx="46938">
                  <c:v>33.09042607981003</c:v>
                </c:pt>
                <c:pt idx="46939">
                  <c:v>47.612713359710121</c:v>
                </c:pt>
                <c:pt idx="46940">
                  <c:v>31.270589286677968</c:v>
                </c:pt>
                <c:pt idx="46941">
                  <c:v>29.094825907490815</c:v>
                </c:pt>
                <c:pt idx="46942">
                  <c:v>26.997693516125057</c:v>
                </c:pt>
                <c:pt idx="46943">
                  <c:v>61.983815338274539</c:v>
                </c:pt>
                <c:pt idx="46944">
                  <c:v>30.893779733265429</c:v>
                </c:pt>
                <c:pt idx="46945">
                  <c:v>26.443433165082595</c:v>
                </c:pt>
                <c:pt idx="46946">
                  <c:v>33.278766509660393</c:v>
                </c:pt>
                <c:pt idx="46947">
                  <c:v>27.794557546070585</c:v>
                </c:pt>
                <c:pt idx="46948">
                  <c:v>36.894070449732425</c:v>
                </c:pt>
                <c:pt idx="46949">
                  <c:v>48.025545758928665</c:v>
                </c:pt>
                <c:pt idx="46950">
                  <c:v>46.439139125307918</c:v>
                </c:pt>
                <c:pt idx="46951">
                  <c:v>33.221209742305113</c:v>
                </c:pt>
                <c:pt idx="46952">
                  <c:v>48.498136815056746</c:v>
                </c:pt>
                <c:pt idx="46953">
                  <c:v>23.184724712236093</c:v>
                </c:pt>
                <c:pt idx="46954">
                  <c:v>43.143082679577944</c:v>
                </c:pt>
                <c:pt idx="46955">
                  <c:v>42.858115161097309</c:v>
                </c:pt>
                <c:pt idx="46956">
                  <c:v>39.71514011238213</c:v>
                </c:pt>
                <c:pt idx="46957">
                  <c:v>16.326508889310499</c:v>
                </c:pt>
                <c:pt idx="46958">
                  <c:v>29.999545622669896</c:v>
                </c:pt>
                <c:pt idx="46959">
                  <c:v>24.634613762035769</c:v>
                </c:pt>
                <c:pt idx="46960">
                  <c:v>20.156984922733997</c:v>
                </c:pt>
                <c:pt idx="46961">
                  <c:v>31.062293111170732</c:v>
                </c:pt>
                <c:pt idx="46962">
                  <c:v>37.216179745910203</c:v>
                </c:pt>
                <c:pt idx="46963">
                  <c:v>22.575168646491854</c:v>
                </c:pt>
                <c:pt idx="46964">
                  <c:v>34.33626152570497</c:v>
                </c:pt>
                <c:pt idx="46965">
                  <c:v>24.514115775086907</c:v>
                </c:pt>
                <c:pt idx="46966">
                  <c:v>29.807455079143217</c:v>
                </c:pt>
                <c:pt idx="46967">
                  <c:v>21.60713879608139</c:v>
                </c:pt>
                <c:pt idx="46968">
                  <c:v>43.170398698385604</c:v>
                </c:pt>
                <c:pt idx="46969">
                  <c:v>21.264675691299637</c:v>
                </c:pt>
                <c:pt idx="46970">
                  <c:v>46.250330654827636</c:v>
                </c:pt>
                <c:pt idx="46971">
                  <c:v>47.48224177537147</c:v>
                </c:pt>
                <c:pt idx="46972">
                  <c:v>41.795733246464302</c:v>
                </c:pt>
                <c:pt idx="46973">
                  <c:v>28.205763553839816</c:v>
                </c:pt>
                <c:pt idx="46974">
                  <c:v>33.881131754438215</c:v>
                </c:pt>
                <c:pt idx="46975">
                  <c:v>27.330192721006959</c:v>
                </c:pt>
                <c:pt idx="46976">
                  <c:v>26.958669816253192</c:v>
                </c:pt>
                <c:pt idx="46977">
                  <c:v>26.854695001990482</c:v>
                </c:pt>
                <c:pt idx="46978">
                  <c:v>32.262935978551795</c:v>
                </c:pt>
                <c:pt idx="46979">
                  <c:v>44.217987669862794</c:v>
                </c:pt>
                <c:pt idx="46980">
                  <c:v>22.468075163226167</c:v>
                </c:pt>
                <c:pt idx="46981">
                  <c:v>33.414765271383466</c:v>
                </c:pt>
                <c:pt idx="46982">
                  <c:v>43.304115174826094</c:v>
                </c:pt>
                <c:pt idx="46983">
                  <c:v>25.931067398560316</c:v>
                </c:pt>
                <c:pt idx="46984">
                  <c:v>26.356358961194562</c:v>
                </c:pt>
                <c:pt idx="46985">
                  <c:v>26.356485368296674</c:v>
                </c:pt>
                <c:pt idx="46986">
                  <c:v>42.424768067687189</c:v>
                </c:pt>
                <c:pt idx="46987">
                  <c:v>20.033156760132734</c:v>
                </c:pt>
                <c:pt idx="46988">
                  <c:v>36.859734603131372</c:v>
                </c:pt>
                <c:pt idx="46989">
                  <c:v>25.214706725701436</c:v>
                </c:pt>
                <c:pt idx="46990">
                  <c:v>27.689823095258635</c:v>
                </c:pt>
                <c:pt idx="46991">
                  <c:v>27.605260770943971</c:v>
                </c:pt>
                <c:pt idx="46992">
                  <c:v>22.129280463853561</c:v>
                </c:pt>
                <c:pt idx="46993">
                  <c:v>31.978656320434855</c:v>
                </c:pt>
                <c:pt idx="46994">
                  <c:v>26.605364318810757</c:v>
                </c:pt>
                <c:pt idx="46995">
                  <c:v>28.068597482299726</c:v>
                </c:pt>
                <c:pt idx="46996">
                  <c:v>27.439908548078243</c:v>
                </c:pt>
                <c:pt idx="46997">
                  <c:v>20.53850205382016</c:v>
                </c:pt>
                <c:pt idx="46998">
                  <c:v>47.18300092913389</c:v>
                </c:pt>
                <c:pt idx="46999">
                  <c:v>34.967974800773533</c:v>
                </c:pt>
                <c:pt idx="47000">
                  <c:v>25.233266489702231</c:v>
                </c:pt>
                <c:pt idx="47001">
                  <c:v>26.390625368369278</c:v>
                </c:pt>
                <c:pt idx="47002">
                  <c:v>28.904367965969897</c:v>
                </c:pt>
                <c:pt idx="47003">
                  <c:v>35.015567502580787</c:v>
                </c:pt>
                <c:pt idx="47004">
                  <c:v>22.904832234253107</c:v>
                </c:pt>
                <c:pt idx="47005">
                  <c:v>30.296705756839184</c:v>
                </c:pt>
                <c:pt idx="47006">
                  <c:v>28.39060777764945</c:v>
                </c:pt>
                <c:pt idx="47007">
                  <c:v>27.094794985490495</c:v>
                </c:pt>
                <c:pt idx="47008">
                  <c:v>22.052938537270816</c:v>
                </c:pt>
                <c:pt idx="47009">
                  <c:v>37.555132565342831</c:v>
                </c:pt>
                <c:pt idx="47010">
                  <c:v>50.935169889181758</c:v>
                </c:pt>
                <c:pt idx="47011">
                  <c:v>56.649911991347928</c:v>
                </c:pt>
                <c:pt idx="47012">
                  <c:v>22.555703987217434</c:v>
                </c:pt>
                <c:pt idx="47013">
                  <c:v>18.540420366462364</c:v>
                </c:pt>
                <c:pt idx="47014">
                  <c:v>20.548313734235336</c:v>
                </c:pt>
                <c:pt idx="47015">
                  <c:v>43.637473876903151</c:v>
                </c:pt>
                <c:pt idx="47016">
                  <c:v>34.469132602356986</c:v>
                </c:pt>
                <c:pt idx="47017">
                  <c:v>31.958556574381912</c:v>
                </c:pt>
                <c:pt idx="47018">
                  <c:v>24.322075844229108</c:v>
                </c:pt>
                <c:pt idx="47019">
                  <c:v>19.056580242696509</c:v>
                </c:pt>
                <c:pt idx="47020">
                  <c:v>34.700057143891925</c:v>
                </c:pt>
                <c:pt idx="47021">
                  <c:v>26.502918754469668</c:v>
                </c:pt>
                <c:pt idx="47022">
                  <c:v>30.932807251271971</c:v>
                </c:pt>
                <c:pt idx="47023">
                  <c:v>33.919316164424501</c:v>
                </c:pt>
                <c:pt idx="47024">
                  <c:v>65.24965786239494</c:v>
                </c:pt>
                <c:pt idx="47025">
                  <c:v>35.769906152773096</c:v>
                </c:pt>
                <c:pt idx="47026">
                  <c:v>18.086437486521724</c:v>
                </c:pt>
                <c:pt idx="47027">
                  <c:v>47.28668055207882</c:v>
                </c:pt>
                <c:pt idx="47028">
                  <c:v>25.038221508059479</c:v>
                </c:pt>
                <c:pt idx="47029">
                  <c:v>27.854261452384982</c:v>
                </c:pt>
                <c:pt idx="47030">
                  <c:v>22.459462547934603</c:v>
                </c:pt>
                <c:pt idx="47031">
                  <c:v>29.542034414241009</c:v>
                </c:pt>
                <c:pt idx="47032">
                  <c:v>26.041625429213443</c:v>
                </c:pt>
                <c:pt idx="47033">
                  <c:v>21.033308259793785</c:v>
                </c:pt>
                <c:pt idx="47034">
                  <c:v>30.563435159411746</c:v>
                </c:pt>
                <c:pt idx="47035">
                  <c:v>25.95993345634982</c:v>
                </c:pt>
                <c:pt idx="47036">
                  <c:v>29.440828809890192</c:v>
                </c:pt>
                <c:pt idx="47037">
                  <c:v>45.041039994304263</c:v>
                </c:pt>
                <c:pt idx="47038">
                  <c:v>27.312817367396384</c:v>
                </c:pt>
                <c:pt idx="47039">
                  <c:v>45.888240965550516</c:v>
                </c:pt>
                <c:pt idx="47040">
                  <c:v>31.747625410379889</c:v>
                </c:pt>
                <c:pt idx="47041">
                  <c:v>38.150714955000069</c:v>
                </c:pt>
                <c:pt idx="47042">
                  <c:v>25.063497441684987</c:v>
                </c:pt>
                <c:pt idx="47043">
                  <c:v>27.239391378058087</c:v>
                </c:pt>
                <c:pt idx="47044">
                  <c:v>32.593868323571385</c:v>
                </c:pt>
                <c:pt idx="47045">
                  <c:v>25.46326066426748</c:v>
                </c:pt>
                <c:pt idx="47046">
                  <c:v>24.864367638455089</c:v>
                </c:pt>
                <c:pt idx="47047">
                  <c:v>25.83094197327739</c:v>
                </c:pt>
                <c:pt idx="47048">
                  <c:v>41.591063575109651</c:v>
                </c:pt>
                <c:pt idx="47049">
                  <c:v>16.784897042399077</c:v>
                </c:pt>
                <c:pt idx="47050">
                  <c:v>34.656445222640208</c:v>
                </c:pt>
                <c:pt idx="47051">
                  <c:v>21.903977887228592</c:v>
                </c:pt>
                <c:pt idx="47052">
                  <c:v>34.582975036880725</c:v>
                </c:pt>
                <c:pt idx="47053">
                  <c:v>20.89550064949691</c:v>
                </c:pt>
                <c:pt idx="47054">
                  <c:v>29.770153228414216</c:v>
                </c:pt>
                <c:pt idx="47055">
                  <c:v>56.737686662918925</c:v>
                </c:pt>
                <c:pt idx="47056">
                  <c:v>26.539244762392592</c:v>
                </c:pt>
                <c:pt idx="47057">
                  <c:v>28.88941202126508</c:v>
                </c:pt>
                <c:pt idx="47058">
                  <c:v>29.694316576820988</c:v>
                </c:pt>
                <c:pt idx="47059">
                  <c:v>23.461788636930102</c:v>
                </c:pt>
                <c:pt idx="47060">
                  <c:v>26.526582952909003</c:v>
                </c:pt>
                <c:pt idx="47061">
                  <c:v>33.672907200413562</c:v>
                </c:pt>
                <c:pt idx="47062">
                  <c:v>27.960688193879623</c:v>
                </c:pt>
                <c:pt idx="47063">
                  <c:v>43.341330221418367</c:v>
                </c:pt>
                <c:pt idx="47064">
                  <c:v>55.105107648122484</c:v>
                </c:pt>
                <c:pt idx="47065">
                  <c:v>36.3605577731973</c:v>
                </c:pt>
                <c:pt idx="47066">
                  <c:v>43.452087122919394</c:v>
                </c:pt>
                <c:pt idx="47067">
                  <c:v>24.862874447030205</c:v>
                </c:pt>
                <c:pt idx="47068">
                  <c:v>36.618955751022703</c:v>
                </c:pt>
                <c:pt idx="47069">
                  <c:v>20.016414223846422</c:v>
                </c:pt>
                <c:pt idx="47070">
                  <c:v>21.65342538669714</c:v>
                </c:pt>
                <c:pt idx="47071">
                  <c:v>22.169693808465638</c:v>
                </c:pt>
                <c:pt idx="47072">
                  <c:v>24.318443071796455</c:v>
                </c:pt>
                <c:pt idx="47073">
                  <c:v>45.228464893329793</c:v>
                </c:pt>
                <c:pt idx="47074">
                  <c:v>25.385656157174235</c:v>
                </c:pt>
                <c:pt idx="47075">
                  <c:v>37.364417126182346</c:v>
                </c:pt>
                <c:pt idx="47076">
                  <c:v>52.243049810761839</c:v>
                </c:pt>
                <c:pt idx="47077">
                  <c:v>23.468304721106318</c:v>
                </c:pt>
                <c:pt idx="47078">
                  <c:v>27.247401025479274</c:v>
                </c:pt>
                <c:pt idx="47079">
                  <c:v>29.134228894699429</c:v>
                </c:pt>
                <c:pt idx="47080">
                  <c:v>28.43569377580943</c:v>
                </c:pt>
                <c:pt idx="47081">
                  <c:v>39.640737922364394</c:v>
                </c:pt>
                <c:pt idx="47082">
                  <c:v>23.333246056183658</c:v>
                </c:pt>
                <c:pt idx="47083">
                  <c:v>24.382114380202413</c:v>
                </c:pt>
                <c:pt idx="47084">
                  <c:v>23.157236821978273</c:v>
                </c:pt>
                <c:pt idx="47085">
                  <c:v>34.420370636185083</c:v>
                </c:pt>
                <c:pt idx="47086">
                  <c:v>21.252371230246137</c:v>
                </c:pt>
                <c:pt idx="47087">
                  <c:v>34.878436351841323</c:v>
                </c:pt>
                <c:pt idx="47088">
                  <c:v>31.397239218242319</c:v>
                </c:pt>
                <c:pt idx="47089">
                  <c:v>38.906967349037693</c:v>
                </c:pt>
                <c:pt idx="47090">
                  <c:v>27.232192422986117</c:v>
                </c:pt>
                <c:pt idx="47091">
                  <c:v>29.268896275907487</c:v>
                </c:pt>
                <c:pt idx="47092">
                  <c:v>23.139159708477393</c:v>
                </c:pt>
                <c:pt idx="47093">
                  <c:v>41.159047806788962</c:v>
                </c:pt>
                <c:pt idx="47094">
                  <c:v>57.021257729071202</c:v>
                </c:pt>
                <c:pt idx="47095">
                  <c:v>25.038981858688068</c:v>
                </c:pt>
                <c:pt idx="47096">
                  <c:v>23.013078031077054</c:v>
                </c:pt>
                <c:pt idx="47097">
                  <c:v>42.595016303940064</c:v>
                </c:pt>
                <c:pt idx="47098">
                  <c:v>44.643830875064531</c:v>
                </c:pt>
                <c:pt idx="47099">
                  <c:v>33.012695813719084</c:v>
                </c:pt>
                <c:pt idx="47100">
                  <c:v>31.129272937670745</c:v>
                </c:pt>
                <c:pt idx="47101">
                  <c:v>29.722627583597269</c:v>
                </c:pt>
                <c:pt idx="47102">
                  <c:v>50.814910103315484</c:v>
                </c:pt>
                <c:pt idx="47103">
                  <c:v>24.610190119850301</c:v>
                </c:pt>
                <c:pt idx="47104">
                  <c:v>58.7243112729928</c:v>
                </c:pt>
                <c:pt idx="47105">
                  <c:v>42.266643962611106</c:v>
                </c:pt>
                <c:pt idx="47106">
                  <c:v>26.602451190446981</c:v>
                </c:pt>
                <c:pt idx="47107">
                  <c:v>50.718934148561047</c:v>
                </c:pt>
                <c:pt idx="47108">
                  <c:v>23.568355238472513</c:v>
                </c:pt>
                <c:pt idx="47109">
                  <c:v>31.856856295244476</c:v>
                </c:pt>
                <c:pt idx="47110">
                  <c:v>29.295627202547301</c:v>
                </c:pt>
                <c:pt idx="47111">
                  <c:v>34.05936921799055</c:v>
                </c:pt>
                <c:pt idx="47112">
                  <c:v>23.932652685864728</c:v>
                </c:pt>
                <c:pt idx="47113">
                  <c:v>21.703062935317821</c:v>
                </c:pt>
                <c:pt idx="47114">
                  <c:v>34.891885884762381</c:v>
                </c:pt>
                <c:pt idx="47115">
                  <c:v>48.320539249244312</c:v>
                </c:pt>
                <c:pt idx="47116">
                  <c:v>51.285889842125179</c:v>
                </c:pt>
                <c:pt idx="47117">
                  <c:v>32.51826768712705</c:v>
                </c:pt>
                <c:pt idx="47118">
                  <c:v>26.793550595925979</c:v>
                </c:pt>
                <c:pt idx="47119">
                  <c:v>19.150023074101064</c:v>
                </c:pt>
                <c:pt idx="47120">
                  <c:v>23.393049813056024</c:v>
                </c:pt>
                <c:pt idx="47121">
                  <c:v>27.243689975842443</c:v>
                </c:pt>
                <c:pt idx="47122">
                  <c:v>26.559737237748489</c:v>
                </c:pt>
                <c:pt idx="47123">
                  <c:v>46.445844137279607</c:v>
                </c:pt>
                <c:pt idx="47124">
                  <c:v>49.93987040157527</c:v>
                </c:pt>
                <c:pt idx="47125">
                  <c:v>26.615840793180826</c:v>
                </c:pt>
                <c:pt idx="47126">
                  <c:v>23.268429817702248</c:v>
                </c:pt>
                <c:pt idx="47127">
                  <c:v>53.264604098116934</c:v>
                </c:pt>
                <c:pt idx="47128">
                  <c:v>21.566625172639721</c:v>
                </c:pt>
                <c:pt idx="47129">
                  <c:v>27.348615858648031</c:v>
                </c:pt>
                <c:pt idx="47130">
                  <c:v>24.747289863134441</c:v>
                </c:pt>
                <c:pt idx="47131">
                  <c:v>24.091169961953383</c:v>
                </c:pt>
                <c:pt idx="47132">
                  <c:v>53.93424642362308</c:v>
                </c:pt>
                <c:pt idx="47133">
                  <c:v>27.156401636833458</c:v>
                </c:pt>
                <c:pt idx="47134">
                  <c:v>38.566499087502379</c:v>
                </c:pt>
                <c:pt idx="47135">
                  <c:v>50.433649323563792</c:v>
                </c:pt>
                <c:pt idx="47136">
                  <c:v>24.512657912025034</c:v>
                </c:pt>
                <c:pt idx="47137">
                  <c:v>41.634422473482907</c:v>
                </c:pt>
                <c:pt idx="47138">
                  <c:v>45.435507807294108</c:v>
                </c:pt>
                <c:pt idx="47139">
                  <c:v>26.338162476170126</c:v>
                </c:pt>
                <c:pt idx="47140">
                  <c:v>21.76214839587184</c:v>
                </c:pt>
                <c:pt idx="47141">
                  <c:v>49.736056152881368</c:v>
                </c:pt>
                <c:pt idx="47142">
                  <c:v>26.892318789095661</c:v>
                </c:pt>
                <c:pt idx="47143">
                  <c:v>51.521441268300315</c:v>
                </c:pt>
                <c:pt idx="47144">
                  <c:v>26.004057891244383</c:v>
                </c:pt>
                <c:pt idx="47145">
                  <c:v>25.369200712044929</c:v>
                </c:pt>
                <c:pt idx="47146">
                  <c:v>62.796982743004733</c:v>
                </c:pt>
                <c:pt idx="47147">
                  <c:v>48.497903374820922</c:v>
                </c:pt>
                <c:pt idx="47148">
                  <c:v>47.762043827658317</c:v>
                </c:pt>
                <c:pt idx="47149">
                  <c:v>28.891293256276015</c:v>
                </c:pt>
                <c:pt idx="47150">
                  <c:v>26.397605309272617</c:v>
                </c:pt>
                <c:pt idx="47151">
                  <c:v>31.882454849767665</c:v>
                </c:pt>
                <c:pt idx="47152">
                  <c:v>24.569960231177024</c:v>
                </c:pt>
                <c:pt idx="47153">
                  <c:v>48.780673378522671</c:v>
                </c:pt>
                <c:pt idx="47154">
                  <c:v>25.800461544613981</c:v>
                </c:pt>
                <c:pt idx="47155">
                  <c:v>46.029970133169805</c:v>
                </c:pt>
                <c:pt idx="47156">
                  <c:v>28.000021503126465</c:v>
                </c:pt>
                <c:pt idx="47157">
                  <c:v>22.149407022292994</c:v>
                </c:pt>
                <c:pt idx="47158">
                  <c:v>31.492399386338082</c:v>
                </c:pt>
                <c:pt idx="47159">
                  <c:v>45.238338908228869</c:v>
                </c:pt>
                <c:pt idx="47160">
                  <c:v>17.050042719536986</c:v>
                </c:pt>
                <c:pt idx="47161">
                  <c:v>32.719709596699218</c:v>
                </c:pt>
                <c:pt idx="47162">
                  <c:v>24.573334025705762</c:v>
                </c:pt>
                <c:pt idx="47163">
                  <c:v>39.113751706497098</c:v>
                </c:pt>
                <c:pt idx="47164">
                  <c:v>25.305130992182828</c:v>
                </c:pt>
                <c:pt idx="47165">
                  <c:v>41.857602921419115</c:v>
                </c:pt>
                <c:pt idx="47166">
                  <c:v>39.050617561370714</c:v>
                </c:pt>
                <c:pt idx="47167">
                  <c:v>33.91191318753809</c:v>
                </c:pt>
                <c:pt idx="47168">
                  <c:v>23.859504848752749</c:v>
                </c:pt>
                <c:pt idx="47169">
                  <c:v>26.842939661311149</c:v>
                </c:pt>
                <c:pt idx="47170">
                  <c:v>29.55381573337154</c:v>
                </c:pt>
                <c:pt idx="47171">
                  <c:v>26.362107129152449</c:v>
                </c:pt>
                <c:pt idx="47172">
                  <c:v>25.505576087541641</c:v>
                </c:pt>
                <c:pt idx="47173">
                  <c:v>19.592295304522818</c:v>
                </c:pt>
                <c:pt idx="47174">
                  <c:v>20.539670457510425</c:v>
                </c:pt>
                <c:pt idx="47175">
                  <c:v>24.519544835228771</c:v>
                </c:pt>
                <c:pt idx="47176">
                  <c:v>20.406982804189198</c:v>
                </c:pt>
                <c:pt idx="47177">
                  <c:v>21.791229297655846</c:v>
                </c:pt>
                <c:pt idx="47178">
                  <c:v>24.448275443889852</c:v>
                </c:pt>
                <c:pt idx="47179">
                  <c:v>40.388942640818399</c:v>
                </c:pt>
                <c:pt idx="47180">
                  <c:v>25.924694357029921</c:v>
                </c:pt>
                <c:pt idx="47181">
                  <c:v>32.15385916530655</c:v>
                </c:pt>
                <c:pt idx="47182">
                  <c:v>25.244521261024097</c:v>
                </c:pt>
                <c:pt idx="47183">
                  <c:v>57.573306274095017</c:v>
                </c:pt>
                <c:pt idx="47184">
                  <c:v>28.647565397232071</c:v>
                </c:pt>
                <c:pt idx="47185">
                  <c:v>38.918420212450229</c:v>
                </c:pt>
                <c:pt idx="47186">
                  <c:v>29.686457647934184</c:v>
                </c:pt>
                <c:pt idx="47187">
                  <c:v>24.006359856493361</c:v>
                </c:pt>
                <c:pt idx="47188">
                  <c:v>27.110307253488539</c:v>
                </c:pt>
                <c:pt idx="47189">
                  <c:v>33.537994978521382</c:v>
                </c:pt>
                <c:pt idx="47190">
                  <c:v>22.758874422955163</c:v>
                </c:pt>
                <c:pt idx="47191">
                  <c:v>32.885871270843353</c:v>
                </c:pt>
                <c:pt idx="47192">
                  <c:v>43.801191072843459</c:v>
                </c:pt>
                <c:pt idx="47193">
                  <c:v>29.711454881999884</c:v>
                </c:pt>
                <c:pt idx="47194">
                  <c:v>22.362181145540198</c:v>
                </c:pt>
                <c:pt idx="47195">
                  <c:v>26.808423372551449</c:v>
                </c:pt>
                <c:pt idx="47196">
                  <c:v>21.642902145848929</c:v>
                </c:pt>
                <c:pt idx="47197">
                  <c:v>18.825529339216121</c:v>
                </c:pt>
                <c:pt idx="47198">
                  <c:v>40.874060171594252</c:v>
                </c:pt>
                <c:pt idx="47199">
                  <c:v>37.123065164047858</c:v>
                </c:pt>
                <c:pt idx="47200">
                  <c:v>55.763527857266922</c:v>
                </c:pt>
                <c:pt idx="47201">
                  <c:v>48.612007778571638</c:v>
                </c:pt>
                <c:pt idx="47202">
                  <c:v>18.633439984895571</c:v>
                </c:pt>
                <c:pt idx="47203">
                  <c:v>24.174228688511857</c:v>
                </c:pt>
                <c:pt idx="47204">
                  <c:v>30.626442679912635</c:v>
                </c:pt>
                <c:pt idx="47205">
                  <c:v>24.835012872430454</c:v>
                </c:pt>
                <c:pt idx="47206">
                  <c:v>20.814381992732592</c:v>
                </c:pt>
                <c:pt idx="47207">
                  <c:v>17.796801079242098</c:v>
                </c:pt>
                <c:pt idx="47208">
                  <c:v>59.657674005666735</c:v>
                </c:pt>
                <c:pt idx="47209">
                  <c:v>25.846259852121612</c:v>
                </c:pt>
                <c:pt idx="47210">
                  <c:v>45.028636330888183</c:v>
                </c:pt>
                <c:pt idx="47211">
                  <c:v>49.432827966902508</c:v>
                </c:pt>
                <c:pt idx="47212">
                  <c:v>42.73076266472691</c:v>
                </c:pt>
                <c:pt idx="47213">
                  <c:v>60.431661220609591</c:v>
                </c:pt>
                <c:pt idx="47214">
                  <c:v>22.253805857399353</c:v>
                </c:pt>
                <c:pt idx="47215">
                  <c:v>23.810496808245901</c:v>
                </c:pt>
                <c:pt idx="47216">
                  <c:v>52.606050906459615</c:v>
                </c:pt>
                <c:pt idx="47217">
                  <c:v>42.578451299986767</c:v>
                </c:pt>
                <c:pt idx="47218">
                  <c:v>23.328261381896901</c:v>
                </c:pt>
                <c:pt idx="47219">
                  <c:v>25.574229107874029</c:v>
                </c:pt>
                <c:pt idx="47220">
                  <c:v>19.541136878156831</c:v>
                </c:pt>
                <c:pt idx="47221">
                  <c:v>25.615342706193875</c:v>
                </c:pt>
                <c:pt idx="47222">
                  <c:v>44.603502783507338</c:v>
                </c:pt>
                <c:pt idx="47223">
                  <c:v>17.707685584916941</c:v>
                </c:pt>
                <c:pt idx="47224">
                  <c:v>17.665718000366709</c:v>
                </c:pt>
                <c:pt idx="47225">
                  <c:v>34.10505394531792</c:v>
                </c:pt>
                <c:pt idx="47226">
                  <c:v>27.664239268417489</c:v>
                </c:pt>
                <c:pt idx="47227">
                  <c:v>28.668426063140853</c:v>
                </c:pt>
                <c:pt idx="47228">
                  <c:v>22.315709963203528</c:v>
                </c:pt>
                <c:pt idx="47229">
                  <c:v>20.511469134858473</c:v>
                </c:pt>
                <c:pt idx="47230">
                  <c:v>27.171562898933175</c:v>
                </c:pt>
                <c:pt idx="47231">
                  <c:v>33.377801985031674</c:v>
                </c:pt>
                <c:pt idx="47232">
                  <c:v>20.641694017913444</c:v>
                </c:pt>
                <c:pt idx="47233">
                  <c:v>27.955736941059861</c:v>
                </c:pt>
                <c:pt idx="47234">
                  <c:v>23.227873170088611</c:v>
                </c:pt>
                <c:pt idx="47235">
                  <c:v>25.590420337232253</c:v>
                </c:pt>
                <c:pt idx="47236">
                  <c:v>45.005469010425571</c:v>
                </c:pt>
                <c:pt idx="47237">
                  <c:v>30.442811673500842</c:v>
                </c:pt>
                <c:pt idx="47238">
                  <c:v>41.898189333990508</c:v>
                </c:pt>
                <c:pt idx="47239">
                  <c:v>25.418956170767522</c:v>
                </c:pt>
                <c:pt idx="47240">
                  <c:v>20.613241695357981</c:v>
                </c:pt>
                <c:pt idx="47241">
                  <c:v>24.437125823102456</c:v>
                </c:pt>
                <c:pt idx="47242">
                  <c:v>22.551692837603582</c:v>
                </c:pt>
                <c:pt idx="47243">
                  <c:v>21.298408074009146</c:v>
                </c:pt>
                <c:pt idx="47244">
                  <c:v>23.816289714881197</c:v>
                </c:pt>
                <c:pt idx="47245">
                  <c:v>32.344441274055029</c:v>
                </c:pt>
                <c:pt idx="47246">
                  <c:v>24.94976262733487</c:v>
                </c:pt>
                <c:pt idx="47247">
                  <c:v>31.646324021624451</c:v>
                </c:pt>
                <c:pt idx="47248">
                  <c:v>23.626144765583586</c:v>
                </c:pt>
                <c:pt idx="47249">
                  <c:v>37.904285579810825</c:v>
                </c:pt>
                <c:pt idx="47250">
                  <c:v>24.847053231823928</c:v>
                </c:pt>
                <c:pt idx="47251">
                  <c:v>31.713211190129549</c:v>
                </c:pt>
                <c:pt idx="47252">
                  <c:v>25.672368616184738</c:v>
                </c:pt>
                <c:pt idx="47253">
                  <c:v>48.755170762993366</c:v>
                </c:pt>
                <c:pt idx="47254">
                  <c:v>32.215267316540533</c:v>
                </c:pt>
                <c:pt idx="47255">
                  <c:v>25.183432049280256</c:v>
                </c:pt>
                <c:pt idx="47256">
                  <c:v>26.783713330171096</c:v>
                </c:pt>
                <c:pt idx="47257">
                  <c:v>27.50905757785549</c:v>
                </c:pt>
                <c:pt idx="47258">
                  <c:v>54.646243495225235</c:v>
                </c:pt>
                <c:pt idx="47259">
                  <c:v>23.590412575413922</c:v>
                </c:pt>
                <c:pt idx="47260">
                  <c:v>49.653467338593686</c:v>
                </c:pt>
                <c:pt idx="47261">
                  <c:v>27.66584295573292</c:v>
                </c:pt>
                <c:pt idx="47262">
                  <c:v>22.356604719981718</c:v>
                </c:pt>
                <c:pt idx="47263">
                  <c:v>30.812452457624655</c:v>
                </c:pt>
                <c:pt idx="47264">
                  <c:v>25.395901644658064</c:v>
                </c:pt>
                <c:pt idx="47265">
                  <c:v>37.536244312237933</c:v>
                </c:pt>
                <c:pt idx="47266">
                  <c:v>26.751906104276689</c:v>
                </c:pt>
                <c:pt idx="47267">
                  <c:v>31.31657450064273</c:v>
                </c:pt>
                <c:pt idx="47268">
                  <c:v>25.250930296898058</c:v>
                </c:pt>
                <c:pt idx="47269">
                  <c:v>40.350411795329542</c:v>
                </c:pt>
                <c:pt idx="47270">
                  <c:v>28.736689882698656</c:v>
                </c:pt>
                <c:pt idx="47271">
                  <c:v>31.63508113355093</c:v>
                </c:pt>
                <c:pt idx="47272">
                  <c:v>42.197083947311967</c:v>
                </c:pt>
                <c:pt idx="47273">
                  <c:v>24.208692815325474</c:v>
                </c:pt>
                <c:pt idx="47274">
                  <c:v>36.061627928806288</c:v>
                </c:pt>
                <c:pt idx="47275">
                  <c:v>22.627488876948696</c:v>
                </c:pt>
                <c:pt idx="47276">
                  <c:v>22.672863115760904</c:v>
                </c:pt>
                <c:pt idx="47277">
                  <c:v>43.584414369592544</c:v>
                </c:pt>
                <c:pt idx="47278">
                  <c:v>24.960111830810654</c:v>
                </c:pt>
                <c:pt idx="47279">
                  <c:v>50.866033473667741</c:v>
                </c:pt>
                <c:pt idx="47280">
                  <c:v>43.79971407358385</c:v>
                </c:pt>
                <c:pt idx="47281">
                  <c:v>24.03323050811116</c:v>
                </c:pt>
                <c:pt idx="47282">
                  <c:v>17.574457308981717</c:v>
                </c:pt>
                <c:pt idx="47283">
                  <c:v>52.198832830579491</c:v>
                </c:pt>
                <c:pt idx="47284">
                  <c:v>23.089163632213978</c:v>
                </c:pt>
                <c:pt idx="47285">
                  <c:v>45.106437414336256</c:v>
                </c:pt>
                <c:pt idx="47286">
                  <c:v>32.150908703999114</c:v>
                </c:pt>
                <c:pt idx="47287">
                  <c:v>24.503089269328854</c:v>
                </c:pt>
                <c:pt idx="47288">
                  <c:v>28.090403223843417</c:v>
                </c:pt>
                <c:pt idx="47289">
                  <c:v>47.344807833674317</c:v>
                </c:pt>
                <c:pt idx="47290">
                  <c:v>31.632144941925951</c:v>
                </c:pt>
                <c:pt idx="47291">
                  <c:v>27.65651065387793</c:v>
                </c:pt>
                <c:pt idx="47292">
                  <c:v>29.590997510260522</c:v>
                </c:pt>
                <c:pt idx="47293">
                  <c:v>18.233607697226304</c:v>
                </c:pt>
                <c:pt idx="47294">
                  <c:v>21.472940851438288</c:v>
                </c:pt>
                <c:pt idx="47295">
                  <c:v>60.771521587536157</c:v>
                </c:pt>
                <c:pt idx="47296">
                  <c:v>22.988582946010361</c:v>
                </c:pt>
                <c:pt idx="47297">
                  <c:v>42.489146527365207</c:v>
                </c:pt>
                <c:pt idx="47298">
                  <c:v>32.387160057343159</c:v>
                </c:pt>
                <c:pt idx="47299">
                  <c:v>47.967210294908135</c:v>
                </c:pt>
                <c:pt idx="47300">
                  <c:v>26.282731902535247</c:v>
                </c:pt>
                <c:pt idx="47301">
                  <c:v>28.563185275750332</c:v>
                </c:pt>
                <c:pt idx="47302">
                  <c:v>21.598560108984834</c:v>
                </c:pt>
                <c:pt idx="47303">
                  <c:v>24.444334478385585</c:v>
                </c:pt>
                <c:pt idx="47304">
                  <c:v>32.228091299118319</c:v>
                </c:pt>
                <c:pt idx="47305">
                  <c:v>49.448252870367156</c:v>
                </c:pt>
                <c:pt idx="47306">
                  <c:v>52.086913991951413</c:v>
                </c:pt>
                <c:pt idx="47307">
                  <c:v>24.402703081138334</c:v>
                </c:pt>
                <c:pt idx="47308">
                  <c:v>25.990196034652179</c:v>
                </c:pt>
                <c:pt idx="47309">
                  <c:v>22.610413857548863</c:v>
                </c:pt>
                <c:pt idx="47310">
                  <c:v>32.850361984841669</c:v>
                </c:pt>
                <c:pt idx="47311">
                  <c:v>50.944681590576451</c:v>
                </c:pt>
                <c:pt idx="47312">
                  <c:v>19.03420242322948</c:v>
                </c:pt>
                <c:pt idx="47313">
                  <c:v>33.987893091953985</c:v>
                </c:pt>
                <c:pt idx="47314">
                  <c:v>37.059280694040211</c:v>
                </c:pt>
                <c:pt idx="47315">
                  <c:v>29.844260048644635</c:v>
                </c:pt>
                <c:pt idx="47316">
                  <c:v>21.151763137759378</c:v>
                </c:pt>
                <c:pt idx="47317">
                  <c:v>46.125754958200915</c:v>
                </c:pt>
                <c:pt idx="47318">
                  <c:v>30.136728265822597</c:v>
                </c:pt>
                <c:pt idx="47319">
                  <c:v>35.39419394824067</c:v>
                </c:pt>
                <c:pt idx="47320">
                  <c:v>19.112646169719035</c:v>
                </c:pt>
                <c:pt idx="47321">
                  <c:v>26.091315331703818</c:v>
                </c:pt>
                <c:pt idx="47322">
                  <c:v>37.248256180903184</c:v>
                </c:pt>
                <c:pt idx="47323">
                  <c:v>32.412410973342034</c:v>
                </c:pt>
                <c:pt idx="47324">
                  <c:v>20.061146967455571</c:v>
                </c:pt>
                <c:pt idx="47325">
                  <c:v>23.443455149394861</c:v>
                </c:pt>
                <c:pt idx="47326">
                  <c:v>31.393926627434762</c:v>
                </c:pt>
                <c:pt idx="47327">
                  <c:v>26.619086019430302</c:v>
                </c:pt>
                <c:pt idx="47328">
                  <c:v>23.559946613842108</c:v>
                </c:pt>
                <c:pt idx="47329">
                  <c:v>26.137291813117173</c:v>
                </c:pt>
                <c:pt idx="47330">
                  <c:v>27.722465663066174</c:v>
                </c:pt>
                <c:pt idx="47331">
                  <c:v>22.404136664379031</c:v>
                </c:pt>
                <c:pt idx="47332">
                  <c:v>50.332379331622676</c:v>
                </c:pt>
                <c:pt idx="47333">
                  <c:v>28.304032703607046</c:v>
                </c:pt>
                <c:pt idx="47334">
                  <c:v>47.383908041879231</c:v>
                </c:pt>
                <c:pt idx="47335">
                  <c:v>17.919072058951436</c:v>
                </c:pt>
                <c:pt idx="47336">
                  <c:v>17.984789031463958</c:v>
                </c:pt>
                <c:pt idx="47337">
                  <c:v>16.430472181951991</c:v>
                </c:pt>
                <c:pt idx="47338">
                  <c:v>27.628895352593101</c:v>
                </c:pt>
                <c:pt idx="47339">
                  <c:v>49.24199776741338</c:v>
                </c:pt>
                <c:pt idx="47340">
                  <c:v>25.335099488407558</c:v>
                </c:pt>
                <c:pt idx="47341">
                  <c:v>25.83542361351979</c:v>
                </c:pt>
                <c:pt idx="47342">
                  <c:v>48.049675198467796</c:v>
                </c:pt>
                <c:pt idx="47343">
                  <c:v>24.815826810149822</c:v>
                </c:pt>
                <c:pt idx="47344">
                  <c:v>41.120240050993928</c:v>
                </c:pt>
                <c:pt idx="47345">
                  <c:v>23.246644095963145</c:v>
                </c:pt>
                <c:pt idx="47346">
                  <c:v>20.341387684732023</c:v>
                </c:pt>
                <c:pt idx="47347">
                  <c:v>24.237704391285153</c:v>
                </c:pt>
                <c:pt idx="47348">
                  <c:v>35.697759018334473</c:v>
                </c:pt>
                <c:pt idx="47349">
                  <c:v>23.803285022522076</c:v>
                </c:pt>
                <c:pt idx="47350">
                  <c:v>33.495237717748303</c:v>
                </c:pt>
                <c:pt idx="47351">
                  <c:v>28.85137503596242</c:v>
                </c:pt>
                <c:pt idx="47352">
                  <c:v>22.587311688672997</c:v>
                </c:pt>
                <c:pt idx="47353">
                  <c:v>26.563570471701059</c:v>
                </c:pt>
                <c:pt idx="47354">
                  <c:v>29.107100662779427</c:v>
                </c:pt>
                <c:pt idx="47355">
                  <c:v>44.149947124204964</c:v>
                </c:pt>
                <c:pt idx="47356">
                  <c:v>59.677730120020954</c:v>
                </c:pt>
                <c:pt idx="47357">
                  <c:v>24.670748722705554</c:v>
                </c:pt>
                <c:pt idx="47358">
                  <c:v>25.495501315178565</c:v>
                </c:pt>
                <c:pt idx="47359">
                  <c:v>50.465361550408375</c:v>
                </c:pt>
                <c:pt idx="47360">
                  <c:v>27.066787422737178</c:v>
                </c:pt>
                <c:pt idx="47361">
                  <c:v>37.435730821882665</c:v>
                </c:pt>
                <c:pt idx="47362">
                  <c:v>53.748320208205008</c:v>
                </c:pt>
                <c:pt idx="47363">
                  <c:v>23.116950646214256</c:v>
                </c:pt>
                <c:pt idx="47364">
                  <c:v>30.56241517501137</c:v>
                </c:pt>
                <c:pt idx="47365">
                  <c:v>19.193073172394033</c:v>
                </c:pt>
                <c:pt idx="47366">
                  <c:v>33.566923497681998</c:v>
                </c:pt>
                <c:pt idx="47367">
                  <c:v>20.600853275615023</c:v>
                </c:pt>
                <c:pt idx="47368">
                  <c:v>30.279864262224748</c:v>
                </c:pt>
                <c:pt idx="47369">
                  <c:v>26.369787735166089</c:v>
                </c:pt>
                <c:pt idx="47370">
                  <c:v>49.009463324626061</c:v>
                </c:pt>
                <c:pt idx="47371">
                  <c:v>33.119232853218449</c:v>
                </c:pt>
                <c:pt idx="47372">
                  <c:v>35.263559694948313</c:v>
                </c:pt>
                <c:pt idx="47373">
                  <c:v>26.76890011999523</c:v>
                </c:pt>
                <c:pt idx="47374">
                  <c:v>14.268704743464626</c:v>
                </c:pt>
                <c:pt idx="47375">
                  <c:v>33.306503113861432</c:v>
                </c:pt>
                <c:pt idx="47376">
                  <c:v>25.697725014166611</c:v>
                </c:pt>
                <c:pt idx="47377">
                  <c:v>24.947103884880761</c:v>
                </c:pt>
                <c:pt idx="47378">
                  <c:v>35.368985593885242</c:v>
                </c:pt>
                <c:pt idx="47379">
                  <c:v>44.570374020856917</c:v>
                </c:pt>
                <c:pt idx="47380">
                  <c:v>24.971184589247905</c:v>
                </c:pt>
                <c:pt idx="47381">
                  <c:v>28.151144027330165</c:v>
                </c:pt>
                <c:pt idx="47382">
                  <c:v>24.655752778170687</c:v>
                </c:pt>
                <c:pt idx="47383">
                  <c:v>40.288330912198049</c:v>
                </c:pt>
                <c:pt idx="47384">
                  <c:v>22.990717646400405</c:v>
                </c:pt>
                <c:pt idx="47385">
                  <c:v>17.995873690346528</c:v>
                </c:pt>
                <c:pt idx="47386">
                  <c:v>52.256087693756569</c:v>
                </c:pt>
                <c:pt idx="47387">
                  <c:v>23.943910168345404</c:v>
                </c:pt>
                <c:pt idx="47388">
                  <c:v>27.688425727568728</c:v>
                </c:pt>
                <c:pt idx="47389">
                  <c:v>27.136581769121882</c:v>
                </c:pt>
                <c:pt idx="47390">
                  <c:v>34.787286206697992</c:v>
                </c:pt>
                <c:pt idx="47391">
                  <c:v>22.993535409274244</c:v>
                </c:pt>
                <c:pt idx="47392">
                  <c:v>26.544264850735381</c:v>
                </c:pt>
                <c:pt idx="47393">
                  <c:v>31.353869931845903</c:v>
                </c:pt>
                <c:pt idx="47394">
                  <c:v>30.632593297073768</c:v>
                </c:pt>
                <c:pt idx="47395">
                  <c:v>31.137945796703953</c:v>
                </c:pt>
                <c:pt idx="47396">
                  <c:v>21.834727485143638</c:v>
                </c:pt>
                <c:pt idx="47397">
                  <c:v>52.200763436022932</c:v>
                </c:pt>
                <c:pt idx="47398">
                  <c:v>53.00955367592109</c:v>
                </c:pt>
                <c:pt idx="47399">
                  <c:v>32.516386753735873</c:v>
                </c:pt>
                <c:pt idx="47400">
                  <c:v>42.529470560025132</c:v>
                </c:pt>
                <c:pt idx="47401">
                  <c:v>25.301885456285486</c:v>
                </c:pt>
                <c:pt idx="47402">
                  <c:v>25.148682403984029</c:v>
                </c:pt>
                <c:pt idx="47403">
                  <c:v>27.007079357258011</c:v>
                </c:pt>
                <c:pt idx="47404">
                  <c:v>24.466824552993128</c:v>
                </c:pt>
                <c:pt idx="47405">
                  <c:v>24.840998060744525</c:v>
                </c:pt>
                <c:pt idx="47406">
                  <c:v>18.425258226859054</c:v>
                </c:pt>
                <c:pt idx="47407">
                  <c:v>33.594949311176002</c:v>
                </c:pt>
                <c:pt idx="47408">
                  <c:v>29.743823771545422</c:v>
                </c:pt>
                <c:pt idx="47409">
                  <c:v>26.323524281235155</c:v>
                </c:pt>
                <c:pt idx="47410">
                  <c:v>31.086745590437012</c:v>
                </c:pt>
                <c:pt idx="47411">
                  <c:v>23.650790528108566</c:v>
                </c:pt>
                <c:pt idx="47412">
                  <c:v>31.996534543614771</c:v>
                </c:pt>
                <c:pt idx="47413">
                  <c:v>44.658631666655666</c:v>
                </c:pt>
                <c:pt idx="47414">
                  <c:v>34.912728605433152</c:v>
                </c:pt>
                <c:pt idx="47415">
                  <c:v>49.805121990033314</c:v>
                </c:pt>
                <c:pt idx="47416">
                  <c:v>20.920083583422411</c:v>
                </c:pt>
                <c:pt idx="47417">
                  <c:v>26.856853644787378</c:v>
                </c:pt>
                <c:pt idx="47418">
                  <c:v>38.36678604429413</c:v>
                </c:pt>
                <c:pt idx="47419">
                  <c:v>30.438282123215131</c:v>
                </c:pt>
                <c:pt idx="47420">
                  <c:v>27.696360249356434</c:v>
                </c:pt>
                <c:pt idx="47421">
                  <c:v>39.889493981439458</c:v>
                </c:pt>
                <c:pt idx="47422">
                  <c:v>29.602125845982453</c:v>
                </c:pt>
                <c:pt idx="47423">
                  <c:v>28.96960649133802</c:v>
                </c:pt>
                <c:pt idx="47424">
                  <c:v>38.046825806709478</c:v>
                </c:pt>
                <c:pt idx="47425">
                  <c:v>33.950632134734541</c:v>
                </c:pt>
                <c:pt idx="47426">
                  <c:v>39.409776020061614</c:v>
                </c:pt>
                <c:pt idx="47427">
                  <c:v>22.867989886768196</c:v>
                </c:pt>
                <c:pt idx="47428">
                  <c:v>54.729236229909802</c:v>
                </c:pt>
                <c:pt idx="47429">
                  <c:v>30.66753013344567</c:v>
                </c:pt>
                <c:pt idx="47430">
                  <c:v>51.052787106030252</c:v>
                </c:pt>
                <c:pt idx="47431">
                  <c:v>29.364917891288858</c:v>
                </c:pt>
                <c:pt idx="47432">
                  <c:v>25.060471685434148</c:v>
                </c:pt>
                <c:pt idx="47433">
                  <c:v>21.161781527792968</c:v>
                </c:pt>
                <c:pt idx="47434">
                  <c:v>70.110734345847916</c:v>
                </c:pt>
                <c:pt idx="47435">
                  <c:v>25.597359132065225</c:v>
                </c:pt>
                <c:pt idx="47436">
                  <c:v>19.477388834970746</c:v>
                </c:pt>
                <c:pt idx="47437">
                  <c:v>18.915287758903002</c:v>
                </c:pt>
                <c:pt idx="47438">
                  <c:v>27.789029644798465</c:v>
                </c:pt>
                <c:pt idx="47439">
                  <c:v>35.847059985521661</c:v>
                </c:pt>
                <c:pt idx="47440">
                  <c:v>44.493825712519396</c:v>
                </c:pt>
                <c:pt idx="47441">
                  <c:v>51.384590594081615</c:v>
                </c:pt>
                <c:pt idx="47442">
                  <c:v>35.511529141824106</c:v>
                </c:pt>
                <c:pt idx="47443">
                  <c:v>22.123858834340318</c:v>
                </c:pt>
                <c:pt idx="47444">
                  <c:v>44.618182865275905</c:v>
                </c:pt>
                <c:pt idx="47445">
                  <c:v>32.564374827202798</c:v>
                </c:pt>
                <c:pt idx="47446">
                  <c:v>31.89366450251627</c:v>
                </c:pt>
                <c:pt idx="47447">
                  <c:v>21.338259734101634</c:v>
                </c:pt>
                <c:pt idx="47448">
                  <c:v>31.886673904086638</c:v>
                </c:pt>
                <c:pt idx="47449">
                  <c:v>31.080830503917831</c:v>
                </c:pt>
                <c:pt idx="47450">
                  <c:v>50.668592144824615</c:v>
                </c:pt>
                <c:pt idx="47451">
                  <c:v>29.767219953870207</c:v>
                </c:pt>
                <c:pt idx="47452">
                  <c:v>50.580420443045583</c:v>
                </c:pt>
                <c:pt idx="47453">
                  <c:v>23.107686841081424</c:v>
                </c:pt>
                <c:pt idx="47454">
                  <c:v>25.420043395407021</c:v>
                </c:pt>
                <c:pt idx="47455">
                  <c:v>35.27274474611847</c:v>
                </c:pt>
                <c:pt idx="47456">
                  <c:v>27.278324336544419</c:v>
                </c:pt>
                <c:pt idx="47457">
                  <c:v>45.176168904375814</c:v>
                </c:pt>
                <c:pt idx="47458">
                  <c:v>28.815020171002843</c:v>
                </c:pt>
                <c:pt idx="47459">
                  <c:v>31.619438667064212</c:v>
                </c:pt>
                <c:pt idx="47460">
                  <c:v>29.402163984202847</c:v>
                </c:pt>
                <c:pt idx="47461">
                  <c:v>27.358610014127962</c:v>
                </c:pt>
                <c:pt idx="47462">
                  <c:v>36.336524013468555</c:v>
                </c:pt>
                <c:pt idx="47463">
                  <c:v>19.132031933929561</c:v>
                </c:pt>
                <c:pt idx="47464">
                  <c:v>33.881383686854321</c:v>
                </c:pt>
                <c:pt idx="47465">
                  <c:v>36.940028520306178</c:v>
                </c:pt>
                <c:pt idx="47466">
                  <c:v>26.206776948026128</c:v>
                </c:pt>
                <c:pt idx="47467">
                  <c:v>23.814826625921164</c:v>
                </c:pt>
                <c:pt idx="47468">
                  <c:v>42.063596704296891</c:v>
                </c:pt>
                <c:pt idx="47469">
                  <c:v>22.138487710422218</c:v>
                </c:pt>
                <c:pt idx="47470">
                  <c:v>27.668981438367044</c:v>
                </c:pt>
                <c:pt idx="47471">
                  <c:v>44.340895596740772</c:v>
                </c:pt>
                <c:pt idx="47472">
                  <c:v>30.998044378810867</c:v>
                </c:pt>
                <c:pt idx="47473">
                  <c:v>48.894514057103166</c:v>
                </c:pt>
                <c:pt idx="47474">
                  <c:v>35.048740022855682</c:v>
                </c:pt>
                <c:pt idx="47475">
                  <c:v>29.014003638738743</c:v>
                </c:pt>
                <c:pt idx="47476">
                  <c:v>30.668929040216231</c:v>
                </c:pt>
                <c:pt idx="47477">
                  <c:v>49.592465019836887</c:v>
                </c:pt>
                <c:pt idx="47478">
                  <c:v>32.683558749176484</c:v>
                </c:pt>
                <c:pt idx="47479">
                  <c:v>49.675205090957057</c:v>
                </c:pt>
                <c:pt idx="47480">
                  <c:v>21.605584938534211</c:v>
                </c:pt>
                <c:pt idx="47481">
                  <c:v>38.949091371713081</c:v>
                </c:pt>
                <c:pt idx="47482">
                  <c:v>53.771082183132442</c:v>
                </c:pt>
                <c:pt idx="47483">
                  <c:v>21.920010985093363</c:v>
                </c:pt>
                <c:pt idx="47484">
                  <c:v>27.584340466640207</c:v>
                </c:pt>
                <c:pt idx="47485">
                  <c:v>34.989924725299076</c:v>
                </c:pt>
                <c:pt idx="47486">
                  <c:v>28.534953969186674</c:v>
                </c:pt>
                <c:pt idx="47487">
                  <c:v>44.62108718679697</c:v>
                </c:pt>
                <c:pt idx="47488">
                  <c:v>30.145736243914548</c:v>
                </c:pt>
                <c:pt idx="47489">
                  <c:v>23.151129014212145</c:v>
                </c:pt>
                <c:pt idx="47490">
                  <c:v>21.345906801054554</c:v>
                </c:pt>
                <c:pt idx="47491">
                  <c:v>37.91183687944919</c:v>
                </c:pt>
                <c:pt idx="47492">
                  <c:v>34.983303101231158</c:v>
                </c:pt>
                <c:pt idx="47493">
                  <c:v>27.177317679829255</c:v>
                </c:pt>
                <c:pt idx="47494">
                  <c:v>24.445001937122584</c:v>
                </c:pt>
                <c:pt idx="47495">
                  <c:v>23.521151738493955</c:v>
                </c:pt>
                <c:pt idx="47496">
                  <c:v>33.998610514477662</c:v>
                </c:pt>
                <c:pt idx="47497">
                  <c:v>24.705106815972123</c:v>
                </c:pt>
                <c:pt idx="47498">
                  <c:v>21.264994019463693</c:v>
                </c:pt>
                <c:pt idx="47499">
                  <c:v>35.151171113408459</c:v>
                </c:pt>
                <c:pt idx="47500">
                  <c:v>24.840456180784422</c:v>
                </c:pt>
                <c:pt idx="47501">
                  <c:v>41.694628173972532</c:v>
                </c:pt>
                <c:pt idx="47502">
                  <c:v>46.515002016566612</c:v>
                </c:pt>
                <c:pt idx="47503">
                  <c:v>16.678476791673873</c:v>
                </c:pt>
                <c:pt idx="47504">
                  <c:v>25.197787950094856</c:v>
                </c:pt>
                <c:pt idx="47505">
                  <c:v>31.37413931472549</c:v>
                </c:pt>
                <c:pt idx="47506">
                  <c:v>28.025356685240865</c:v>
                </c:pt>
                <c:pt idx="47507">
                  <c:v>49.11416899331337</c:v>
                </c:pt>
                <c:pt idx="47508">
                  <c:v>23.838360672282509</c:v>
                </c:pt>
                <c:pt idx="47509">
                  <c:v>20.86086542119326</c:v>
                </c:pt>
                <c:pt idx="47510">
                  <c:v>39.13017091290714</c:v>
                </c:pt>
                <c:pt idx="47511">
                  <c:v>20.721553114341901</c:v>
                </c:pt>
                <c:pt idx="47512">
                  <c:v>29.131012050990677</c:v>
                </c:pt>
                <c:pt idx="47513">
                  <c:v>27.866417124954047</c:v>
                </c:pt>
                <c:pt idx="47514">
                  <c:v>56.01283498514924</c:v>
                </c:pt>
                <c:pt idx="47515">
                  <c:v>27.785794887673738</c:v>
                </c:pt>
                <c:pt idx="47516">
                  <c:v>44.691515207789536</c:v>
                </c:pt>
                <c:pt idx="47517">
                  <c:v>33.337980626260382</c:v>
                </c:pt>
                <c:pt idx="47518">
                  <c:v>34.183573938956634</c:v>
                </c:pt>
                <c:pt idx="47519">
                  <c:v>21.314083661445697</c:v>
                </c:pt>
                <c:pt idx="47520">
                  <c:v>25.148080522330954</c:v>
                </c:pt>
                <c:pt idx="47521">
                  <c:v>28.329810788073612</c:v>
                </c:pt>
                <c:pt idx="47522">
                  <c:v>25.856057745779765</c:v>
                </c:pt>
                <c:pt idx="47523">
                  <c:v>22.725700132120167</c:v>
                </c:pt>
                <c:pt idx="47524">
                  <c:v>29.566968671316921</c:v>
                </c:pt>
                <c:pt idx="47525">
                  <c:v>29.19270883663151</c:v>
                </c:pt>
                <c:pt idx="47526">
                  <c:v>26.642087059113511</c:v>
                </c:pt>
                <c:pt idx="47527">
                  <c:v>24.627994753059333</c:v>
                </c:pt>
                <c:pt idx="47528">
                  <c:v>41.142425718259034</c:v>
                </c:pt>
                <c:pt idx="47529">
                  <c:v>22.467279269108289</c:v>
                </c:pt>
                <c:pt idx="47530">
                  <c:v>24.469994653516604</c:v>
                </c:pt>
                <c:pt idx="47531">
                  <c:v>20.815626794150312</c:v>
                </c:pt>
                <c:pt idx="47532">
                  <c:v>22.767755996541574</c:v>
                </c:pt>
                <c:pt idx="47533">
                  <c:v>32.696838100453036</c:v>
                </c:pt>
                <c:pt idx="47534">
                  <c:v>54.892554170904326</c:v>
                </c:pt>
                <c:pt idx="47535">
                  <c:v>21.483799774176855</c:v>
                </c:pt>
                <c:pt idx="47536">
                  <c:v>28.388019464627494</c:v>
                </c:pt>
                <c:pt idx="47537">
                  <c:v>22.398605687216737</c:v>
                </c:pt>
                <c:pt idx="47538">
                  <c:v>38.038424610578552</c:v>
                </c:pt>
                <c:pt idx="47539">
                  <c:v>32.736622805111104</c:v>
                </c:pt>
                <c:pt idx="47540">
                  <c:v>46.295493457818772</c:v>
                </c:pt>
                <c:pt idx="47541">
                  <c:v>18.621380499965738</c:v>
                </c:pt>
                <c:pt idx="47542">
                  <c:v>49.972767915115782</c:v>
                </c:pt>
                <c:pt idx="47543">
                  <c:v>54.586621793661578</c:v>
                </c:pt>
                <c:pt idx="47544">
                  <c:v>31.497390206770728</c:v>
                </c:pt>
                <c:pt idx="47545">
                  <c:v>35.10325170266146</c:v>
                </c:pt>
                <c:pt idx="47546">
                  <c:v>23.83090523017686</c:v>
                </c:pt>
                <c:pt idx="47547">
                  <c:v>33.687609667223526</c:v>
                </c:pt>
                <c:pt idx="47548">
                  <c:v>21.292061547771389</c:v>
                </c:pt>
                <c:pt idx="47549">
                  <c:v>21.517987167469705</c:v>
                </c:pt>
                <c:pt idx="47550">
                  <c:v>22.434985170411736</c:v>
                </c:pt>
                <c:pt idx="47551">
                  <c:v>36.482024138265658</c:v>
                </c:pt>
                <c:pt idx="47552">
                  <c:v>24.296303806198075</c:v>
                </c:pt>
                <c:pt idx="47553">
                  <c:v>29.242187326629157</c:v>
                </c:pt>
                <c:pt idx="47554">
                  <c:v>32.169225007801337</c:v>
                </c:pt>
                <c:pt idx="47555">
                  <c:v>22.18705043130722</c:v>
                </c:pt>
                <c:pt idx="47556">
                  <c:v>18.761729642323314</c:v>
                </c:pt>
                <c:pt idx="47557">
                  <c:v>23.673951040139286</c:v>
                </c:pt>
                <c:pt idx="47558">
                  <c:v>16.109273001203626</c:v>
                </c:pt>
                <c:pt idx="47559">
                  <c:v>38.75073584773623</c:v>
                </c:pt>
                <c:pt idx="47560">
                  <c:v>25.342748530948494</c:v>
                </c:pt>
                <c:pt idx="47561">
                  <c:v>27.580680094864192</c:v>
                </c:pt>
                <c:pt idx="47562">
                  <c:v>35.524304588751669</c:v>
                </c:pt>
                <c:pt idx="47563">
                  <c:v>33.053239889014357</c:v>
                </c:pt>
                <c:pt idx="47564">
                  <c:v>21.03029664799222</c:v>
                </c:pt>
                <c:pt idx="47565">
                  <c:v>32.146217139243056</c:v>
                </c:pt>
                <c:pt idx="47566">
                  <c:v>44.939369433614743</c:v>
                </c:pt>
                <c:pt idx="47567">
                  <c:v>33.544087422352462</c:v>
                </c:pt>
                <c:pt idx="47568">
                  <c:v>25.878456139976606</c:v>
                </c:pt>
                <c:pt idx="47569">
                  <c:v>36.846045216332243</c:v>
                </c:pt>
                <c:pt idx="47570">
                  <c:v>22.817764900213113</c:v>
                </c:pt>
                <c:pt idx="47571">
                  <c:v>27.400083249354545</c:v>
                </c:pt>
                <c:pt idx="47572">
                  <c:v>24.408520639836485</c:v>
                </c:pt>
                <c:pt idx="47573">
                  <c:v>22.658202699972819</c:v>
                </c:pt>
                <c:pt idx="47574">
                  <c:v>23.997775443186921</c:v>
                </c:pt>
                <c:pt idx="47575">
                  <c:v>24.813643441139963</c:v>
                </c:pt>
                <c:pt idx="47576">
                  <c:v>48.04475543039495</c:v>
                </c:pt>
                <c:pt idx="47577">
                  <c:v>24.345731345525124</c:v>
                </c:pt>
                <c:pt idx="47578">
                  <c:v>16.596205863499616</c:v>
                </c:pt>
                <c:pt idx="47579">
                  <c:v>17.071957086361124</c:v>
                </c:pt>
                <c:pt idx="47580">
                  <c:v>26.962758120478835</c:v>
                </c:pt>
                <c:pt idx="47581">
                  <c:v>19.852140091425149</c:v>
                </c:pt>
                <c:pt idx="47582">
                  <c:v>33.700577930328684</c:v>
                </c:pt>
                <c:pt idx="47583">
                  <c:v>29.387208632605443</c:v>
                </c:pt>
                <c:pt idx="47584">
                  <c:v>27.508426783491569</c:v>
                </c:pt>
                <c:pt idx="47585">
                  <c:v>27.942533066984453</c:v>
                </c:pt>
                <c:pt idx="47586">
                  <c:v>21.377452342969441</c:v>
                </c:pt>
                <c:pt idx="47587">
                  <c:v>32.736023605038973</c:v>
                </c:pt>
                <c:pt idx="47588">
                  <c:v>51.966246700481555</c:v>
                </c:pt>
                <c:pt idx="47589">
                  <c:v>26.485648015433974</c:v>
                </c:pt>
                <c:pt idx="47590">
                  <c:v>24.252477568035637</c:v>
                </c:pt>
                <c:pt idx="47591">
                  <c:v>22.481768053317104</c:v>
                </c:pt>
                <c:pt idx="47592">
                  <c:v>48.978859959641817</c:v>
                </c:pt>
                <c:pt idx="47593">
                  <c:v>22.203341296080122</c:v>
                </c:pt>
                <c:pt idx="47594">
                  <c:v>34.565113141169292</c:v>
                </c:pt>
                <c:pt idx="47595">
                  <c:v>35.230736092158139</c:v>
                </c:pt>
                <c:pt idx="47596">
                  <c:v>43.82804906737681</c:v>
                </c:pt>
                <c:pt idx="47597">
                  <c:v>21.351162901941674</c:v>
                </c:pt>
                <c:pt idx="47598">
                  <c:v>29.813166427075764</c:v>
                </c:pt>
                <c:pt idx="47599">
                  <c:v>38.111366647030209</c:v>
                </c:pt>
                <c:pt idx="47600">
                  <c:v>49.38577319033589</c:v>
                </c:pt>
                <c:pt idx="47601">
                  <c:v>55.22072879846575</c:v>
                </c:pt>
                <c:pt idx="47602">
                  <c:v>40.823475282605166</c:v>
                </c:pt>
                <c:pt idx="47603">
                  <c:v>26.968065373811921</c:v>
                </c:pt>
                <c:pt idx="47604">
                  <c:v>50.593939279273009</c:v>
                </c:pt>
                <c:pt idx="47605">
                  <c:v>21.17201565000634</c:v>
                </c:pt>
                <c:pt idx="47606">
                  <c:v>26.521463805481936</c:v>
                </c:pt>
                <c:pt idx="47607">
                  <c:v>27.348620037267132</c:v>
                </c:pt>
                <c:pt idx="47608">
                  <c:v>30.266349115617956</c:v>
                </c:pt>
                <c:pt idx="47609">
                  <c:v>16.368947700656079</c:v>
                </c:pt>
                <c:pt idx="47610">
                  <c:v>29.655040693809198</c:v>
                </c:pt>
                <c:pt idx="47611">
                  <c:v>20.846988087542876</c:v>
                </c:pt>
                <c:pt idx="47612">
                  <c:v>23.635885036121458</c:v>
                </c:pt>
                <c:pt idx="47613">
                  <c:v>39.109721117843989</c:v>
                </c:pt>
                <c:pt idx="47614">
                  <c:v>22.927107720295297</c:v>
                </c:pt>
                <c:pt idx="47615">
                  <c:v>28.48238171062286</c:v>
                </c:pt>
                <c:pt idx="47616">
                  <c:v>29.102104124873158</c:v>
                </c:pt>
                <c:pt idx="47617">
                  <c:v>33.866768006366513</c:v>
                </c:pt>
                <c:pt idx="47618">
                  <c:v>31.240352374169344</c:v>
                </c:pt>
                <c:pt idx="47619">
                  <c:v>37.117057411255594</c:v>
                </c:pt>
                <c:pt idx="47620">
                  <c:v>52.414998730215771</c:v>
                </c:pt>
                <c:pt idx="47621">
                  <c:v>37.344208922842469</c:v>
                </c:pt>
                <c:pt idx="47622">
                  <c:v>35.804112366292799</c:v>
                </c:pt>
                <c:pt idx="47623">
                  <c:v>28.472128879222076</c:v>
                </c:pt>
                <c:pt idx="47624">
                  <c:v>23.982164251042633</c:v>
                </c:pt>
                <c:pt idx="47625">
                  <c:v>36.174977864936409</c:v>
                </c:pt>
                <c:pt idx="47626">
                  <c:v>46.157214221479769</c:v>
                </c:pt>
                <c:pt idx="47627">
                  <c:v>24.875539210279527</c:v>
                </c:pt>
                <c:pt idx="47628">
                  <c:v>27.799051729349959</c:v>
                </c:pt>
                <c:pt idx="47629">
                  <c:v>23.34186855355896</c:v>
                </c:pt>
                <c:pt idx="47630">
                  <c:v>35.00840207405534</c:v>
                </c:pt>
                <c:pt idx="47631">
                  <c:v>23.345223148495073</c:v>
                </c:pt>
                <c:pt idx="47632">
                  <c:v>28.513003476394967</c:v>
                </c:pt>
                <c:pt idx="47633">
                  <c:v>44.616212176635528</c:v>
                </c:pt>
                <c:pt idx="47634">
                  <c:v>47.369456141230522</c:v>
                </c:pt>
                <c:pt idx="47635">
                  <c:v>28.035259021726414</c:v>
                </c:pt>
                <c:pt idx="47636">
                  <c:v>34.278802124064391</c:v>
                </c:pt>
                <c:pt idx="47637">
                  <c:v>17.392510129353401</c:v>
                </c:pt>
                <c:pt idx="47638">
                  <c:v>24.785934216832871</c:v>
                </c:pt>
                <c:pt idx="47639">
                  <c:v>24.049329667152314</c:v>
                </c:pt>
                <c:pt idx="47640">
                  <c:v>19.485016604438908</c:v>
                </c:pt>
                <c:pt idx="47641">
                  <c:v>30.077158836800699</c:v>
                </c:pt>
                <c:pt idx="47642">
                  <c:v>22.535172469784367</c:v>
                </c:pt>
                <c:pt idx="47643">
                  <c:v>34.031594131312012</c:v>
                </c:pt>
                <c:pt idx="47644">
                  <c:v>21.506951154410871</c:v>
                </c:pt>
                <c:pt idx="47645">
                  <c:v>32.217761104685621</c:v>
                </c:pt>
                <c:pt idx="47646">
                  <c:v>26.850265463308098</c:v>
                </c:pt>
                <c:pt idx="47647">
                  <c:v>43.872147127644801</c:v>
                </c:pt>
                <c:pt idx="47648">
                  <c:v>33.502957595542497</c:v>
                </c:pt>
                <c:pt idx="47649">
                  <c:v>25.568322104664254</c:v>
                </c:pt>
                <c:pt idx="47650">
                  <c:v>52.042649365539816</c:v>
                </c:pt>
                <c:pt idx="47651">
                  <c:v>27.147094554483616</c:v>
                </c:pt>
                <c:pt idx="47652">
                  <c:v>20.700490163881923</c:v>
                </c:pt>
                <c:pt idx="47653">
                  <c:v>22.964522328930371</c:v>
                </c:pt>
                <c:pt idx="47654">
                  <c:v>31.623948639442425</c:v>
                </c:pt>
                <c:pt idx="47655">
                  <c:v>24.188024815703901</c:v>
                </c:pt>
                <c:pt idx="47656">
                  <c:v>28.193465029451634</c:v>
                </c:pt>
                <c:pt idx="47657">
                  <c:v>23.456401191658752</c:v>
                </c:pt>
                <c:pt idx="47658">
                  <c:v>27.179224666887677</c:v>
                </c:pt>
                <c:pt idx="47659">
                  <c:v>29.747242326549955</c:v>
                </c:pt>
                <c:pt idx="47660">
                  <c:v>34.519058855977399</c:v>
                </c:pt>
                <c:pt idx="47661">
                  <c:v>21.409901523530849</c:v>
                </c:pt>
                <c:pt idx="47662">
                  <c:v>23.656365586027562</c:v>
                </c:pt>
                <c:pt idx="47663">
                  <c:v>33.668783440622697</c:v>
                </c:pt>
                <c:pt idx="47664">
                  <c:v>50.244596212878569</c:v>
                </c:pt>
                <c:pt idx="47665">
                  <c:v>27.186967979143795</c:v>
                </c:pt>
                <c:pt idx="47666">
                  <c:v>23.990817164358234</c:v>
                </c:pt>
                <c:pt idx="47667">
                  <c:v>31.041145045640029</c:v>
                </c:pt>
                <c:pt idx="47668">
                  <c:v>47.177713062974028</c:v>
                </c:pt>
                <c:pt idx="47669">
                  <c:v>23.744895938854842</c:v>
                </c:pt>
                <c:pt idx="47670">
                  <c:v>27.503462925853317</c:v>
                </c:pt>
                <c:pt idx="47671">
                  <c:v>27.11372667919089</c:v>
                </c:pt>
                <c:pt idx="47672">
                  <c:v>42.94616966969572</c:v>
                </c:pt>
                <c:pt idx="47673">
                  <c:v>42.966198158154349</c:v>
                </c:pt>
                <c:pt idx="47674">
                  <c:v>24.213917942529303</c:v>
                </c:pt>
                <c:pt idx="47675">
                  <c:v>31.32045125971274</c:v>
                </c:pt>
                <c:pt idx="47676">
                  <c:v>31.751006523991755</c:v>
                </c:pt>
                <c:pt idx="47677">
                  <c:v>24.869952876513654</c:v>
                </c:pt>
                <c:pt idx="47678">
                  <c:v>26.202261667448116</c:v>
                </c:pt>
                <c:pt idx="47679">
                  <c:v>33.843383827230902</c:v>
                </c:pt>
                <c:pt idx="47680">
                  <c:v>30.541704238329277</c:v>
                </c:pt>
                <c:pt idx="47681">
                  <c:v>46.036074306616278</c:v>
                </c:pt>
                <c:pt idx="47682">
                  <c:v>26.127715115965891</c:v>
                </c:pt>
                <c:pt idx="47683">
                  <c:v>24.152908286736572</c:v>
                </c:pt>
                <c:pt idx="47684">
                  <c:v>29.735613273662985</c:v>
                </c:pt>
                <c:pt idx="47685">
                  <c:v>21.947976732248847</c:v>
                </c:pt>
                <c:pt idx="47686">
                  <c:v>28.975837177275036</c:v>
                </c:pt>
                <c:pt idx="47687">
                  <c:v>20.677558346911091</c:v>
                </c:pt>
                <c:pt idx="47688">
                  <c:v>22.582568279129163</c:v>
                </c:pt>
                <c:pt idx="47689">
                  <c:v>28.925303653390316</c:v>
                </c:pt>
                <c:pt idx="47690">
                  <c:v>34.142757175119179</c:v>
                </c:pt>
                <c:pt idx="47691">
                  <c:v>28.043942478761846</c:v>
                </c:pt>
                <c:pt idx="47692">
                  <c:v>22.306874419835303</c:v>
                </c:pt>
                <c:pt idx="47693">
                  <c:v>34.328845420306884</c:v>
                </c:pt>
                <c:pt idx="47694">
                  <c:v>41.485661676846554</c:v>
                </c:pt>
                <c:pt idx="47695">
                  <c:v>24.478247660336887</c:v>
                </c:pt>
                <c:pt idx="47696">
                  <c:v>19.984573846489621</c:v>
                </c:pt>
                <c:pt idx="47697">
                  <c:v>27.672127622840875</c:v>
                </c:pt>
                <c:pt idx="47698">
                  <c:v>25.078899734367333</c:v>
                </c:pt>
                <c:pt idx="47699">
                  <c:v>31.335505257851718</c:v>
                </c:pt>
                <c:pt idx="47700">
                  <c:v>25.784046732688299</c:v>
                </c:pt>
                <c:pt idx="47701">
                  <c:v>39.183719675100264</c:v>
                </c:pt>
                <c:pt idx="47702">
                  <c:v>59.86556287307306</c:v>
                </c:pt>
                <c:pt idx="47703">
                  <c:v>39.85877949023304</c:v>
                </c:pt>
                <c:pt idx="47704">
                  <c:v>30.901686822051445</c:v>
                </c:pt>
                <c:pt idx="47705">
                  <c:v>46.371991874697173</c:v>
                </c:pt>
                <c:pt idx="47706">
                  <c:v>21.374928335662233</c:v>
                </c:pt>
                <c:pt idx="47707">
                  <c:v>23.398525364511691</c:v>
                </c:pt>
                <c:pt idx="47708">
                  <c:v>26.494965483118023</c:v>
                </c:pt>
                <c:pt idx="47709">
                  <c:v>26.230387862863125</c:v>
                </c:pt>
                <c:pt idx="47710">
                  <c:v>57.58637395956616</c:v>
                </c:pt>
                <c:pt idx="47711">
                  <c:v>28.847729216851185</c:v>
                </c:pt>
                <c:pt idx="47712">
                  <c:v>26.883877976075478</c:v>
                </c:pt>
                <c:pt idx="47713">
                  <c:v>29.550472022318637</c:v>
                </c:pt>
                <c:pt idx="47714">
                  <c:v>24.314497319657534</c:v>
                </c:pt>
                <c:pt idx="47715">
                  <c:v>36.346079653318711</c:v>
                </c:pt>
                <c:pt idx="47716">
                  <c:v>60.643265387774093</c:v>
                </c:pt>
                <c:pt idx="47717">
                  <c:v>33.285348524503362</c:v>
                </c:pt>
                <c:pt idx="47718">
                  <c:v>26.474389825093468</c:v>
                </c:pt>
                <c:pt idx="47719">
                  <c:v>26.833131798121293</c:v>
                </c:pt>
                <c:pt idx="47720">
                  <c:v>28.037775579994094</c:v>
                </c:pt>
                <c:pt idx="47721">
                  <c:v>21.762429719765478</c:v>
                </c:pt>
                <c:pt idx="47722">
                  <c:v>17.064511674931541</c:v>
                </c:pt>
                <c:pt idx="47723">
                  <c:v>55.244394971247672</c:v>
                </c:pt>
                <c:pt idx="47724">
                  <c:v>25.90505140875705</c:v>
                </c:pt>
                <c:pt idx="47725">
                  <c:v>29.267630046177402</c:v>
                </c:pt>
                <c:pt idx="47726">
                  <c:v>23.508139340960614</c:v>
                </c:pt>
                <c:pt idx="47727">
                  <c:v>10.744997732823329</c:v>
                </c:pt>
                <c:pt idx="47728">
                  <c:v>22.298478408912182</c:v>
                </c:pt>
                <c:pt idx="47729">
                  <c:v>28.668289450578236</c:v>
                </c:pt>
                <c:pt idx="47730">
                  <c:v>27.464003305974096</c:v>
                </c:pt>
                <c:pt idx="47731">
                  <c:v>28.636462717005429</c:v>
                </c:pt>
                <c:pt idx="47732">
                  <c:v>24.732733325906956</c:v>
                </c:pt>
                <c:pt idx="47733">
                  <c:v>24.1110610385985</c:v>
                </c:pt>
                <c:pt idx="47734">
                  <c:v>26.766401232894445</c:v>
                </c:pt>
                <c:pt idx="47735">
                  <c:v>17.000174912616814</c:v>
                </c:pt>
                <c:pt idx="47736">
                  <c:v>23.187491387327189</c:v>
                </c:pt>
                <c:pt idx="47737">
                  <c:v>23.153393325644451</c:v>
                </c:pt>
                <c:pt idx="47738">
                  <c:v>18.698089976712016</c:v>
                </c:pt>
                <c:pt idx="47739">
                  <c:v>26.665574028376028</c:v>
                </c:pt>
                <c:pt idx="47740">
                  <c:v>22.98714372237454</c:v>
                </c:pt>
                <c:pt idx="47741">
                  <c:v>35.96522960445207</c:v>
                </c:pt>
                <c:pt idx="47742">
                  <c:v>43.982165567001395</c:v>
                </c:pt>
                <c:pt idx="47743">
                  <c:v>34.163759460643604</c:v>
                </c:pt>
                <c:pt idx="47744">
                  <c:v>28.329824043986331</c:v>
                </c:pt>
                <c:pt idx="47745">
                  <c:v>21.729760381261691</c:v>
                </c:pt>
                <c:pt idx="47746">
                  <c:v>30.56286777533569</c:v>
                </c:pt>
                <c:pt idx="47747">
                  <c:v>25.561710594141324</c:v>
                </c:pt>
                <c:pt idx="47748">
                  <c:v>30.487649435337733</c:v>
                </c:pt>
                <c:pt idx="47749">
                  <c:v>30.231800290648017</c:v>
                </c:pt>
                <c:pt idx="47750">
                  <c:v>28.05768928198945</c:v>
                </c:pt>
                <c:pt idx="47751">
                  <c:v>26.373257111825065</c:v>
                </c:pt>
                <c:pt idx="47752">
                  <c:v>48.698765766893111</c:v>
                </c:pt>
                <c:pt idx="47753">
                  <c:v>24.801721192348939</c:v>
                </c:pt>
                <c:pt idx="47754">
                  <c:v>20.235210610758632</c:v>
                </c:pt>
                <c:pt idx="47755">
                  <c:v>48.168572550909794</c:v>
                </c:pt>
                <c:pt idx="47756">
                  <c:v>25.183359251552773</c:v>
                </c:pt>
                <c:pt idx="47757">
                  <c:v>44.021321347261313</c:v>
                </c:pt>
                <c:pt idx="47758">
                  <c:v>26.847775696959609</c:v>
                </c:pt>
                <c:pt idx="47759">
                  <c:v>30.065915701227429</c:v>
                </c:pt>
                <c:pt idx="47760">
                  <c:v>27.838260694162642</c:v>
                </c:pt>
                <c:pt idx="47761">
                  <c:v>23.680852679691146</c:v>
                </c:pt>
                <c:pt idx="47762">
                  <c:v>28.896043861043708</c:v>
                </c:pt>
                <c:pt idx="47763">
                  <c:v>29.559687602571572</c:v>
                </c:pt>
                <c:pt idx="47764">
                  <c:v>26.612078578041952</c:v>
                </c:pt>
                <c:pt idx="47765">
                  <c:v>29.442467994876303</c:v>
                </c:pt>
                <c:pt idx="47766">
                  <c:v>20.1991739383169</c:v>
                </c:pt>
                <c:pt idx="47767">
                  <c:v>29.169893197607458</c:v>
                </c:pt>
                <c:pt idx="47768">
                  <c:v>41.500525660272288</c:v>
                </c:pt>
                <c:pt idx="47769">
                  <c:v>50.95515622111342</c:v>
                </c:pt>
                <c:pt idx="47770">
                  <c:v>44.854435940256344</c:v>
                </c:pt>
                <c:pt idx="47771">
                  <c:v>35.156685420027259</c:v>
                </c:pt>
                <c:pt idx="47772">
                  <c:v>22.697445689320652</c:v>
                </c:pt>
                <c:pt idx="47773">
                  <c:v>19.717238438619074</c:v>
                </c:pt>
                <c:pt idx="47774">
                  <c:v>26.176263872266084</c:v>
                </c:pt>
                <c:pt idx="47775">
                  <c:v>64.246819015127642</c:v>
                </c:pt>
                <c:pt idx="47776">
                  <c:v>23.414740857781673</c:v>
                </c:pt>
                <c:pt idx="47777">
                  <c:v>25.051066003840866</c:v>
                </c:pt>
                <c:pt idx="47778">
                  <c:v>25.775652962860299</c:v>
                </c:pt>
                <c:pt idx="47779">
                  <c:v>46.372066366517394</c:v>
                </c:pt>
                <c:pt idx="47780">
                  <c:v>42.156849417440071</c:v>
                </c:pt>
                <c:pt idx="47781">
                  <c:v>21.64422969111779</c:v>
                </c:pt>
                <c:pt idx="47782">
                  <c:v>45.243896418237249</c:v>
                </c:pt>
                <c:pt idx="47783">
                  <c:v>26.013572391730477</c:v>
                </c:pt>
                <c:pt idx="47784">
                  <c:v>26.482815379240371</c:v>
                </c:pt>
                <c:pt idx="47785">
                  <c:v>28.988144498550977</c:v>
                </c:pt>
                <c:pt idx="47786">
                  <c:v>52.060015367354133</c:v>
                </c:pt>
                <c:pt idx="47787">
                  <c:v>25.510166151897199</c:v>
                </c:pt>
                <c:pt idx="47788">
                  <c:v>27.825112030487027</c:v>
                </c:pt>
                <c:pt idx="47789">
                  <c:v>23.60726790851723</c:v>
                </c:pt>
                <c:pt idx="47790">
                  <c:v>30.592150490725579</c:v>
                </c:pt>
                <c:pt idx="47791">
                  <c:v>29.626080649550001</c:v>
                </c:pt>
                <c:pt idx="47792">
                  <c:v>32.91879993404018</c:v>
                </c:pt>
                <c:pt idx="47793">
                  <c:v>24.200948779674711</c:v>
                </c:pt>
                <c:pt idx="47794">
                  <c:v>33.175304791323789</c:v>
                </c:pt>
                <c:pt idx="47795">
                  <c:v>40.124942284353338</c:v>
                </c:pt>
                <c:pt idx="47796">
                  <c:v>45.55014421039062</c:v>
                </c:pt>
                <c:pt idx="47797">
                  <c:v>30.559621719660353</c:v>
                </c:pt>
                <c:pt idx="47798">
                  <c:v>48.44443861036784</c:v>
                </c:pt>
                <c:pt idx="47799">
                  <c:v>32.127103356052352</c:v>
                </c:pt>
                <c:pt idx="47800">
                  <c:v>44.874955420316233</c:v>
                </c:pt>
                <c:pt idx="47801">
                  <c:v>25.075825689383272</c:v>
                </c:pt>
                <c:pt idx="47802">
                  <c:v>33.29092731793645</c:v>
                </c:pt>
                <c:pt idx="47803">
                  <c:v>25.046070819137842</c:v>
                </c:pt>
                <c:pt idx="47804">
                  <c:v>44.860211711304693</c:v>
                </c:pt>
                <c:pt idx="47805">
                  <c:v>27.763865840151109</c:v>
                </c:pt>
                <c:pt idx="47806">
                  <c:v>21.539739516798811</c:v>
                </c:pt>
                <c:pt idx="47807">
                  <c:v>45.530967219152878</c:v>
                </c:pt>
                <c:pt idx="47808">
                  <c:v>20.86842179801674</c:v>
                </c:pt>
                <c:pt idx="47809">
                  <c:v>25.795830705694346</c:v>
                </c:pt>
                <c:pt idx="47810">
                  <c:v>26.860273837417893</c:v>
                </c:pt>
                <c:pt idx="47811">
                  <c:v>21.089561037302541</c:v>
                </c:pt>
                <c:pt idx="47812">
                  <c:v>32.734025069192711</c:v>
                </c:pt>
                <c:pt idx="47813">
                  <c:v>43.999823613379547</c:v>
                </c:pt>
                <c:pt idx="47814">
                  <c:v>23.066584746795371</c:v>
                </c:pt>
                <c:pt idx="47815">
                  <c:v>24.844612526846067</c:v>
                </c:pt>
                <c:pt idx="47816">
                  <c:v>22.386994665394642</c:v>
                </c:pt>
                <c:pt idx="47817">
                  <c:v>50.840876445618989</c:v>
                </c:pt>
                <c:pt idx="47818">
                  <c:v>25.155314847143813</c:v>
                </c:pt>
                <c:pt idx="47819">
                  <c:v>29.331174192635689</c:v>
                </c:pt>
                <c:pt idx="47820">
                  <c:v>48.443278175120419</c:v>
                </c:pt>
                <c:pt idx="47821">
                  <c:v>49.280704938531862</c:v>
                </c:pt>
                <c:pt idx="47822">
                  <c:v>23.431555335446603</c:v>
                </c:pt>
                <c:pt idx="47823">
                  <c:v>39.438790643501292</c:v>
                </c:pt>
                <c:pt idx="47824">
                  <c:v>32.697588575650215</c:v>
                </c:pt>
                <c:pt idx="47825">
                  <c:v>50.290812212331815</c:v>
                </c:pt>
                <c:pt idx="47826">
                  <c:v>24.528183957489468</c:v>
                </c:pt>
                <c:pt idx="47827">
                  <c:v>51.604281037146592</c:v>
                </c:pt>
                <c:pt idx="47828">
                  <c:v>25.1865235428182</c:v>
                </c:pt>
                <c:pt idx="47829">
                  <c:v>56.170751582022703</c:v>
                </c:pt>
                <c:pt idx="47830">
                  <c:v>24.730990058857962</c:v>
                </c:pt>
                <c:pt idx="47831">
                  <c:v>29.051539902366212</c:v>
                </c:pt>
                <c:pt idx="47832">
                  <c:v>22.912942978323329</c:v>
                </c:pt>
                <c:pt idx="47833">
                  <c:v>31.588098348688543</c:v>
                </c:pt>
                <c:pt idx="47834">
                  <c:v>23.900618947707599</c:v>
                </c:pt>
                <c:pt idx="47835">
                  <c:v>22.138737228502247</c:v>
                </c:pt>
                <c:pt idx="47836">
                  <c:v>43.713813508983577</c:v>
                </c:pt>
                <c:pt idx="47837">
                  <c:v>19.089655342664543</c:v>
                </c:pt>
                <c:pt idx="47838">
                  <c:v>44.351088863054002</c:v>
                </c:pt>
                <c:pt idx="47839">
                  <c:v>32.747210027928368</c:v>
                </c:pt>
                <c:pt idx="47840">
                  <c:v>25.422342688328438</c:v>
                </c:pt>
                <c:pt idx="47841">
                  <c:v>28.653500033858542</c:v>
                </c:pt>
                <c:pt idx="47842">
                  <c:v>29.341656753820708</c:v>
                </c:pt>
                <c:pt idx="47843">
                  <c:v>27.217736167399622</c:v>
                </c:pt>
                <c:pt idx="47844">
                  <c:v>28.750153622242518</c:v>
                </c:pt>
                <c:pt idx="47845">
                  <c:v>20.290899591553902</c:v>
                </c:pt>
                <c:pt idx="47846">
                  <c:v>19.920759481811498</c:v>
                </c:pt>
                <c:pt idx="47847">
                  <c:v>27.410035796568437</c:v>
                </c:pt>
                <c:pt idx="47848">
                  <c:v>34.081035965079131</c:v>
                </c:pt>
                <c:pt idx="47849">
                  <c:v>46.170555158391537</c:v>
                </c:pt>
                <c:pt idx="47850">
                  <c:v>33.512041889241488</c:v>
                </c:pt>
                <c:pt idx="47851">
                  <c:v>40.802093351707839</c:v>
                </c:pt>
                <c:pt idx="47852">
                  <c:v>35.47216644465459</c:v>
                </c:pt>
                <c:pt idx="47853">
                  <c:v>35.038755890187701</c:v>
                </c:pt>
                <c:pt idx="47854">
                  <c:v>49.947156173645652</c:v>
                </c:pt>
                <c:pt idx="47855">
                  <c:v>51.123596481363215</c:v>
                </c:pt>
                <c:pt idx="47856">
                  <c:v>40.621945659401952</c:v>
                </c:pt>
                <c:pt idx="47857">
                  <c:v>32.278963873399128</c:v>
                </c:pt>
                <c:pt idx="47858">
                  <c:v>22.466449967624605</c:v>
                </c:pt>
                <c:pt idx="47859">
                  <c:v>32.654028959583719</c:v>
                </c:pt>
                <c:pt idx="47860">
                  <c:v>50.754126102316242</c:v>
                </c:pt>
                <c:pt idx="47861">
                  <c:v>32.748508184219673</c:v>
                </c:pt>
                <c:pt idx="47862">
                  <c:v>27.803785203064919</c:v>
                </c:pt>
                <c:pt idx="47863">
                  <c:v>36.177901157759621</c:v>
                </c:pt>
                <c:pt idx="47864">
                  <c:v>22.698278134537041</c:v>
                </c:pt>
                <c:pt idx="47865">
                  <c:v>42.582249973022257</c:v>
                </c:pt>
                <c:pt idx="47866">
                  <c:v>29.049840742533416</c:v>
                </c:pt>
                <c:pt idx="47867">
                  <c:v>29.460572993179436</c:v>
                </c:pt>
                <c:pt idx="47868">
                  <c:v>27.068176146745856</c:v>
                </c:pt>
                <c:pt idx="47869">
                  <c:v>21.569786808047724</c:v>
                </c:pt>
                <c:pt idx="47870">
                  <c:v>27.785131034544371</c:v>
                </c:pt>
                <c:pt idx="47871">
                  <c:v>23.760489275077799</c:v>
                </c:pt>
                <c:pt idx="47872">
                  <c:v>27.686954200447698</c:v>
                </c:pt>
                <c:pt idx="47873">
                  <c:v>29.461266807643163</c:v>
                </c:pt>
                <c:pt idx="47874">
                  <c:v>33.212797650312744</c:v>
                </c:pt>
                <c:pt idx="47875">
                  <c:v>31.405380312597547</c:v>
                </c:pt>
                <c:pt idx="47876">
                  <c:v>27.511175867435945</c:v>
                </c:pt>
                <c:pt idx="47877">
                  <c:v>44.264182563329655</c:v>
                </c:pt>
                <c:pt idx="47878">
                  <c:v>27.982178222334721</c:v>
                </c:pt>
                <c:pt idx="47879">
                  <c:v>35.183127857629493</c:v>
                </c:pt>
                <c:pt idx="47880">
                  <c:v>39.327653732862558</c:v>
                </c:pt>
                <c:pt idx="47881">
                  <c:v>37.090272296432232</c:v>
                </c:pt>
                <c:pt idx="47882">
                  <c:v>55.116747312113674</c:v>
                </c:pt>
                <c:pt idx="47883">
                  <c:v>24.373593539796317</c:v>
                </c:pt>
                <c:pt idx="47884">
                  <c:v>26.070932348899571</c:v>
                </c:pt>
                <c:pt idx="47885">
                  <c:v>23.950028369174575</c:v>
                </c:pt>
                <c:pt idx="47886">
                  <c:v>24.636969646039432</c:v>
                </c:pt>
                <c:pt idx="47887">
                  <c:v>20.781779845468002</c:v>
                </c:pt>
                <c:pt idx="47888">
                  <c:v>28.944651162524853</c:v>
                </c:pt>
                <c:pt idx="47889">
                  <c:v>23.126944860014124</c:v>
                </c:pt>
                <c:pt idx="47890">
                  <c:v>18.962061349030293</c:v>
                </c:pt>
                <c:pt idx="47891">
                  <c:v>18.618174430484469</c:v>
                </c:pt>
                <c:pt idx="47892">
                  <c:v>22.518034472266589</c:v>
                </c:pt>
                <c:pt idx="47893">
                  <c:v>46.108441761735655</c:v>
                </c:pt>
                <c:pt idx="47894">
                  <c:v>29.094653331902634</c:v>
                </c:pt>
                <c:pt idx="47895">
                  <c:v>51.492837446336878</c:v>
                </c:pt>
                <c:pt idx="47896">
                  <c:v>20.656043768291802</c:v>
                </c:pt>
                <c:pt idx="47897">
                  <c:v>22.298403751807438</c:v>
                </c:pt>
                <c:pt idx="47898">
                  <c:v>55.324030802800657</c:v>
                </c:pt>
                <c:pt idx="47899">
                  <c:v>54.497626730311246</c:v>
                </c:pt>
                <c:pt idx="47900">
                  <c:v>28.881719772706223</c:v>
                </c:pt>
                <c:pt idx="47901">
                  <c:v>40.365935458060896</c:v>
                </c:pt>
                <c:pt idx="47902">
                  <c:v>27.287339144562171</c:v>
                </c:pt>
                <c:pt idx="47903">
                  <c:v>25.794630002415357</c:v>
                </c:pt>
                <c:pt idx="47904">
                  <c:v>13.010901120811781</c:v>
                </c:pt>
                <c:pt idx="47905">
                  <c:v>35.074806302231877</c:v>
                </c:pt>
                <c:pt idx="47906">
                  <c:v>27.602432975233306</c:v>
                </c:pt>
                <c:pt idx="47907">
                  <c:v>35.415723749620263</c:v>
                </c:pt>
                <c:pt idx="47908">
                  <c:v>23.871690620107778</c:v>
                </c:pt>
                <c:pt idx="47909">
                  <c:v>43.468175161921536</c:v>
                </c:pt>
                <c:pt idx="47910">
                  <c:v>30.809959434261195</c:v>
                </c:pt>
                <c:pt idx="47911">
                  <c:v>23.353930311739404</c:v>
                </c:pt>
                <c:pt idx="47912">
                  <c:v>43.40041472623794</c:v>
                </c:pt>
                <c:pt idx="47913">
                  <c:v>26.229091075453059</c:v>
                </c:pt>
                <c:pt idx="47914">
                  <c:v>30.547914627395901</c:v>
                </c:pt>
                <c:pt idx="47915">
                  <c:v>29.682073117265528</c:v>
                </c:pt>
                <c:pt idx="47916">
                  <c:v>61.055151673948927</c:v>
                </c:pt>
                <c:pt idx="47917">
                  <c:v>22.889443925962656</c:v>
                </c:pt>
                <c:pt idx="47918">
                  <c:v>29.349707773812138</c:v>
                </c:pt>
                <c:pt idx="47919">
                  <c:v>24.73829736260058</c:v>
                </c:pt>
                <c:pt idx="47920">
                  <c:v>34.424330196930228</c:v>
                </c:pt>
                <c:pt idx="47921">
                  <c:v>50.012159250818272</c:v>
                </c:pt>
                <c:pt idx="47922">
                  <c:v>22.364137952234685</c:v>
                </c:pt>
                <c:pt idx="47923">
                  <c:v>58.747048401441148</c:v>
                </c:pt>
                <c:pt idx="47924">
                  <c:v>24.393295411621104</c:v>
                </c:pt>
                <c:pt idx="47925">
                  <c:v>42.92366883237063</c:v>
                </c:pt>
                <c:pt idx="47926">
                  <c:v>38.882733293360374</c:v>
                </c:pt>
                <c:pt idx="47927">
                  <c:v>19.937018285745047</c:v>
                </c:pt>
                <c:pt idx="47928">
                  <c:v>31.363834961964454</c:v>
                </c:pt>
                <c:pt idx="47929">
                  <c:v>28.790650495945002</c:v>
                </c:pt>
                <c:pt idx="47930">
                  <c:v>30.986047937733648</c:v>
                </c:pt>
                <c:pt idx="47931">
                  <c:v>24.793184308076853</c:v>
                </c:pt>
                <c:pt idx="47932">
                  <c:v>26.546065160536205</c:v>
                </c:pt>
                <c:pt idx="47933">
                  <c:v>23.704044924864064</c:v>
                </c:pt>
                <c:pt idx="47934">
                  <c:v>26.631315864094287</c:v>
                </c:pt>
                <c:pt idx="47935">
                  <c:v>29.581586802960341</c:v>
                </c:pt>
                <c:pt idx="47936">
                  <c:v>27.157877223055788</c:v>
                </c:pt>
                <c:pt idx="47937">
                  <c:v>24.428978750792869</c:v>
                </c:pt>
                <c:pt idx="47938">
                  <c:v>29.937108941849875</c:v>
                </c:pt>
                <c:pt idx="47939">
                  <c:v>21.218960163057744</c:v>
                </c:pt>
                <c:pt idx="47940">
                  <c:v>44.452015205919601</c:v>
                </c:pt>
                <c:pt idx="47941">
                  <c:v>30.878472627021196</c:v>
                </c:pt>
                <c:pt idx="47942">
                  <c:v>41.684190373871353</c:v>
                </c:pt>
                <c:pt idx="47943">
                  <c:v>24.771605844188663</c:v>
                </c:pt>
                <c:pt idx="47944">
                  <c:v>43.665939083888333</c:v>
                </c:pt>
                <c:pt idx="47945">
                  <c:v>30.113410907390268</c:v>
                </c:pt>
                <c:pt idx="47946">
                  <c:v>20.061887959343171</c:v>
                </c:pt>
                <c:pt idx="47947">
                  <c:v>47.779508073597221</c:v>
                </c:pt>
                <c:pt idx="47948">
                  <c:v>30.714679329755153</c:v>
                </c:pt>
                <c:pt idx="47949">
                  <c:v>47.675164665789573</c:v>
                </c:pt>
                <c:pt idx="47950">
                  <c:v>35.776669136641168</c:v>
                </c:pt>
                <c:pt idx="47951">
                  <c:v>43.920007501474188</c:v>
                </c:pt>
                <c:pt idx="47952">
                  <c:v>35.820596956992055</c:v>
                </c:pt>
                <c:pt idx="47953">
                  <c:v>37.786024247127678</c:v>
                </c:pt>
                <c:pt idx="47954">
                  <c:v>22.672346183318787</c:v>
                </c:pt>
                <c:pt idx="47955">
                  <c:v>41.31525931755727</c:v>
                </c:pt>
                <c:pt idx="47956">
                  <c:v>41.647791278748208</c:v>
                </c:pt>
                <c:pt idx="47957">
                  <c:v>27.643084326442221</c:v>
                </c:pt>
                <c:pt idx="47958">
                  <c:v>25.754511926113832</c:v>
                </c:pt>
                <c:pt idx="47959">
                  <c:v>28.711472529826075</c:v>
                </c:pt>
                <c:pt idx="47960">
                  <c:v>21.708360388425547</c:v>
                </c:pt>
                <c:pt idx="47961">
                  <c:v>26.389390384019862</c:v>
                </c:pt>
                <c:pt idx="47962">
                  <c:v>40.422980239018266</c:v>
                </c:pt>
                <c:pt idx="47963">
                  <c:v>50.408834093439943</c:v>
                </c:pt>
                <c:pt idx="47964">
                  <c:v>25.802912666246186</c:v>
                </c:pt>
                <c:pt idx="47965">
                  <c:v>47.821805325573308</c:v>
                </c:pt>
                <c:pt idx="47966">
                  <c:v>32.091977948013096</c:v>
                </c:pt>
                <c:pt idx="47967">
                  <c:v>33.685343268730264</c:v>
                </c:pt>
                <c:pt idx="47968">
                  <c:v>24.95623763576846</c:v>
                </c:pt>
                <c:pt idx="47969">
                  <c:v>50.860187510141003</c:v>
                </c:pt>
                <c:pt idx="47970">
                  <c:v>42.038243034815721</c:v>
                </c:pt>
                <c:pt idx="47971">
                  <c:v>37.47767235971731</c:v>
                </c:pt>
                <c:pt idx="47972">
                  <c:v>28.002855473114565</c:v>
                </c:pt>
                <c:pt idx="47973">
                  <c:v>46.288686596144885</c:v>
                </c:pt>
                <c:pt idx="47974">
                  <c:v>25.229658939168424</c:v>
                </c:pt>
                <c:pt idx="47975">
                  <c:v>29.705184938544221</c:v>
                </c:pt>
                <c:pt idx="47976">
                  <c:v>24.301285146410333</c:v>
                </c:pt>
                <c:pt idx="47977">
                  <c:v>31.615571713427414</c:v>
                </c:pt>
                <c:pt idx="47978">
                  <c:v>34.37732282643843</c:v>
                </c:pt>
                <c:pt idx="47979">
                  <c:v>21.075667959374655</c:v>
                </c:pt>
                <c:pt idx="47980">
                  <c:v>22.592722354525339</c:v>
                </c:pt>
                <c:pt idx="47981">
                  <c:v>19.270031095272039</c:v>
                </c:pt>
                <c:pt idx="47982">
                  <c:v>29.325929259032428</c:v>
                </c:pt>
                <c:pt idx="47983">
                  <c:v>24.765108437784047</c:v>
                </c:pt>
                <c:pt idx="47984">
                  <c:v>27.509614946553071</c:v>
                </c:pt>
                <c:pt idx="47985">
                  <c:v>13.991394989887022</c:v>
                </c:pt>
                <c:pt idx="47986">
                  <c:v>38.539960944324562</c:v>
                </c:pt>
                <c:pt idx="47987">
                  <c:v>36.769470078207597</c:v>
                </c:pt>
                <c:pt idx="47988">
                  <c:v>37.830618209795389</c:v>
                </c:pt>
                <c:pt idx="47989">
                  <c:v>27.757432303596111</c:v>
                </c:pt>
                <c:pt idx="47990">
                  <c:v>42.42392114566038</c:v>
                </c:pt>
                <c:pt idx="47991">
                  <c:v>35.899907492588859</c:v>
                </c:pt>
                <c:pt idx="47992">
                  <c:v>50.106809272385995</c:v>
                </c:pt>
                <c:pt idx="47993">
                  <c:v>30.177650195623414</c:v>
                </c:pt>
                <c:pt idx="47994">
                  <c:v>58.717264584953504</c:v>
                </c:pt>
                <c:pt idx="47995">
                  <c:v>47.425914433938104</c:v>
                </c:pt>
                <c:pt idx="47996">
                  <c:v>22.135137159723918</c:v>
                </c:pt>
                <c:pt idx="47997">
                  <c:v>22.79986861185024</c:v>
                </c:pt>
                <c:pt idx="47998">
                  <c:v>28.521787169369397</c:v>
                </c:pt>
                <c:pt idx="47999">
                  <c:v>54.176275861203564</c:v>
                </c:pt>
                <c:pt idx="48000">
                  <c:v>40.962266324002833</c:v>
                </c:pt>
                <c:pt idx="48001">
                  <c:v>20.33078311990376</c:v>
                </c:pt>
                <c:pt idx="48002">
                  <c:v>27.906101975286909</c:v>
                </c:pt>
                <c:pt idx="48003">
                  <c:v>39.201454950826388</c:v>
                </c:pt>
                <c:pt idx="48004">
                  <c:v>20.732319995415324</c:v>
                </c:pt>
                <c:pt idx="48005">
                  <c:v>31.140682278785192</c:v>
                </c:pt>
                <c:pt idx="48006">
                  <c:v>24.202475907349971</c:v>
                </c:pt>
                <c:pt idx="48007">
                  <c:v>50.984362051187709</c:v>
                </c:pt>
                <c:pt idx="48008">
                  <c:v>52.166417443814616</c:v>
                </c:pt>
                <c:pt idx="48009">
                  <c:v>34.460403798297804</c:v>
                </c:pt>
                <c:pt idx="48010">
                  <c:v>26.999299742694255</c:v>
                </c:pt>
                <c:pt idx="48011">
                  <c:v>20.901270147666175</c:v>
                </c:pt>
                <c:pt idx="48012">
                  <c:v>43.008772713941887</c:v>
                </c:pt>
                <c:pt idx="48013">
                  <c:v>45.86550539432978</c:v>
                </c:pt>
                <c:pt idx="48014">
                  <c:v>35.674927882697418</c:v>
                </c:pt>
                <c:pt idx="48015">
                  <c:v>53.172885345821818</c:v>
                </c:pt>
                <c:pt idx="48016">
                  <c:v>21.933638103532118</c:v>
                </c:pt>
                <c:pt idx="48017">
                  <c:v>35.079341678483523</c:v>
                </c:pt>
                <c:pt idx="48018">
                  <c:v>32.246180190194011</c:v>
                </c:pt>
                <c:pt idx="48019">
                  <c:v>28.429866290981284</c:v>
                </c:pt>
                <c:pt idx="48020">
                  <c:v>21.675613961105558</c:v>
                </c:pt>
                <c:pt idx="48021">
                  <c:v>33.964371099626597</c:v>
                </c:pt>
                <c:pt idx="48022">
                  <c:v>27.823004775762499</c:v>
                </c:pt>
                <c:pt idx="48023">
                  <c:v>49.125857768461913</c:v>
                </c:pt>
                <c:pt idx="48024">
                  <c:v>24.523700975698169</c:v>
                </c:pt>
                <c:pt idx="48025">
                  <c:v>31.242723206333434</c:v>
                </c:pt>
                <c:pt idx="48026">
                  <c:v>17.874760935476086</c:v>
                </c:pt>
                <c:pt idx="48027">
                  <c:v>25.276048683695581</c:v>
                </c:pt>
                <c:pt idx="48028">
                  <c:v>24.804192950837873</c:v>
                </c:pt>
                <c:pt idx="48029">
                  <c:v>24.671199574048934</c:v>
                </c:pt>
                <c:pt idx="48030">
                  <c:v>27.514446508418871</c:v>
                </c:pt>
                <c:pt idx="48031">
                  <c:v>52.469927796470081</c:v>
                </c:pt>
                <c:pt idx="48032">
                  <c:v>31.714983193175982</c:v>
                </c:pt>
                <c:pt idx="48033">
                  <c:v>29.302319038464411</c:v>
                </c:pt>
                <c:pt idx="48034">
                  <c:v>20.023795258740634</c:v>
                </c:pt>
                <c:pt idx="48035">
                  <c:v>25.654867230406595</c:v>
                </c:pt>
                <c:pt idx="48036">
                  <c:v>40.721305870993987</c:v>
                </c:pt>
                <c:pt idx="48037">
                  <c:v>25.422391497119829</c:v>
                </c:pt>
                <c:pt idx="48038">
                  <c:v>30.7848993675134</c:v>
                </c:pt>
                <c:pt idx="48039">
                  <c:v>23.751655446392252</c:v>
                </c:pt>
                <c:pt idx="48040">
                  <c:v>41.687493315962541</c:v>
                </c:pt>
                <c:pt idx="48041">
                  <c:v>46.568191473475693</c:v>
                </c:pt>
                <c:pt idx="48042">
                  <c:v>25.270928472526535</c:v>
                </c:pt>
                <c:pt idx="48043">
                  <c:v>27.667853023070947</c:v>
                </c:pt>
                <c:pt idx="48044">
                  <c:v>40.834592785859229</c:v>
                </c:pt>
                <c:pt idx="48045">
                  <c:v>24.700689062195615</c:v>
                </c:pt>
                <c:pt idx="48046">
                  <c:v>30.664948805725828</c:v>
                </c:pt>
                <c:pt idx="48047">
                  <c:v>24.122004754613222</c:v>
                </c:pt>
                <c:pt idx="48048">
                  <c:v>17.261063523116292</c:v>
                </c:pt>
                <c:pt idx="48049">
                  <c:v>24.59355599745188</c:v>
                </c:pt>
                <c:pt idx="48050">
                  <c:v>19.483179774405006</c:v>
                </c:pt>
                <c:pt idx="48051">
                  <c:v>31.427172396862971</c:v>
                </c:pt>
                <c:pt idx="48052">
                  <c:v>26.008916322131839</c:v>
                </c:pt>
                <c:pt idx="48053">
                  <c:v>24.820236318557264</c:v>
                </c:pt>
                <c:pt idx="48054">
                  <c:v>14.229597808569476</c:v>
                </c:pt>
                <c:pt idx="48055">
                  <c:v>23.173317334130477</c:v>
                </c:pt>
                <c:pt idx="48056">
                  <c:v>26.988012513923636</c:v>
                </c:pt>
                <c:pt idx="48057">
                  <c:v>30.196196711087151</c:v>
                </c:pt>
                <c:pt idx="48058">
                  <c:v>29.358290250410136</c:v>
                </c:pt>
                <c:pt idx="48059">
                  <c:v>28.50780934560747</c:v>
                </c:pt>
                <c:pt idx="48060">
                  <c:v>26.597712338992757</c:v>
                </c:pt>
                <c:pt idx="48061">
                  <c:v>29.068802286248079</c:v>
                </c:pt>
                <c:pt idx="48062">
                  <c:v>30.866984579207788</c:v>
                </c:pt>
                <c:pt idx="48063">
                  <c:v>16.946562412881441</c:v>
                </c:pt>
                <c:pt idx="48064">
                  <c:v>30.177950947767119</c:v>
                </c:pt>
                <c:pt idx="48065">
                  <c:v>24.807933261716233</c:v>
                </c:pt>
                <c:pt idx="48066">
                  <c:v>51.622684868931159</c:v>
                </c:pt>
                <c:pt idx="48067">
                  <c:v>30.514776709449777</c:v>
                </c:pt>
                <c:pt idx="48068">
                  <c:v>37.150415400034035</c:v>
                </c:pt>
                <c:pt idx="48069">
                  <c:v>35.11671823383287</c:v>
                </c:pt>
                <c:pt idx="48070">
                  <c:v>40.727998388570278</c:v>
                </c:pt>
                <c:pt idx="48071">
                  <c:v>31.141684837503234</c:v>
                </c:pt>
                <c:pt idx="48072">
                  <c:v>30.877467993946098</c:v>
                </c:pt>
                <c:pt idx="48073">
                  <c:v>26.069872352449334</c:v>
                </c:pt>
                <c:pt idx="48074">
                  <c:v>29.796045642754212</c:v>
                </c:pt>
                <c:pt idx="48075">
                  <c:v>48.170615747484661</c:v>
                </c:pt>
                <c:pt idx="48076">
                  <c:v>40.735853612926299</c:v>
                </c:pt>
                <c:pt idx="48077">
                  <c:v>35.145296723755045</c:v>
                </c:pt>
                <c:pt idx="48078">
                  <c:v>21.116750389749615</c:v>
                </c:pt>
                <c:pt idx="48079">
                  <c:v>27.068417230909418</c:v>
                </c:pt>
                <c:pt idx="48080">
                  <c:v>27.208135871676745</c:v>
                </c:pt>
                <c:pt idx="48081">
                  <c:v>58.269874772649366</c:v>
                </c:pt>
                <c:pt idx="48082">
                  <c:v>26.753857475999283</c:v>
                </c:pt>
                <c:pt idx="48083">
                  <c:v>30.756216026406832</c:v>
                </c:pt>
                <c:pt idx="48084">
                  <c:v>39.167443079055644</c:v>
                </c:pt>
                <c:pt idx="48085">
                  <c:v>44.455552054896657</c:v>
                </c:pt>
                <c:pt idx="48086">
                  <c:v>51.195479069329529</c:v>
                </c:pt>
                <c:pt idx="48087">
                  <c:v>30.907031472450004</c:v>
                </c:pt>
                <c:pt idx="48088">
                  <c:v>27.495261330753902</c:v>
                </c:pt>
                <c:pt idx="48089">
                  <c:v>23.992148029992091</c:v>
                </c:pt>
                <c:pt idx="48090">
                  <c:v>24.086055871633008</c:v>
                </c:pt>
                <c:pt idx="48091">
                  <c:v>33.671394795616933</c:v>
                </c:pt>
                <c:pt idx="48092">
                  <c:v>21.189954975271228</c:v>
                </c:pt>
                <c:pt idx="48093">
                  <c:v>29.498409817114279</c:v>
                </c:pt>
                <c:pt idx="48094">
                  <c:v>29.926213065176441</c:v>
                </c:pt>
                <c:pt idx="48095">
                  <c:v>29.320665386884325</c:v>
                </c:pt>
                <c:pt idx="48096">
                  <c:v>22.584574091963091</c:v>
                </c:pt>
                <c:pt idx="48097">
                  <c:v>22.278845837649055</c:v>
                </c:pt>
                <c:pt idx="48098">
                  <c:v>38.04259862169134</c:v>
                </c:pt>
                <c:pt idx="48099">
                  <c:v>21.702945960932226</c:v>
                </c:pt>
                <c:pt idx="48100">
                  <c:v>26.520738350685765</c:v>
                </c:pt>
                <c:pt idx="48101">
                  <c:v>24.959501954884317</c:v>
                </c:pt>
                <c:pt idx="48102">
                  <c:v>27.931559557032653</c:v>
                </c:pt>
                <c:pt idx="48103">
                  <c:v>32.52464543543806</c:v>
                </c:pt>
                <c:pt idx="48104">
                  <c:v>30.379661626279493</c:v>
                </c:pt>
                <c:pt idx="48105">
                  <c:v>36.006842950632603</c:v>
                </c:pt>
                <c:pt idx="48106">
                  <c:v>25.808880282752224</c:v>
                </c:pt>
                <c:pt idx="48107">
                  <c:v>29.945298990604385</c:v>
                </c:pt>
                <c:pt idx="48108">
                  <c:v>25.271266499914002</c:v>
                </c:pt>
                <c:pt idx="48109">
                  <c:v>21.857727509265384</c:v>
                </c:pt>
                <c:pt idx="48110">
                  <c:v>28.075513058131651</c:v>
                </c:pt>
                <c:pt idx="48111">
                  <c:v>30.059205148017231</c:v>
                </c:pt>
                <c:pt idx="48112">
                  <c:v>31.073581403189568</c:v>
                </c:pt>
                <c:pt idx="48113">
                  <c:v>41.566584869452981</c:v>
                </c:pt>
                <c:pt idx="48114">
                  <c:v>33.814906541476859</c:v>
                </c:pt>
                <c:pt idx="48115">
                  <c:v>29.071723239962964</c:v>
                </c:pt>
                <c:pt idx="48116">
                  <c:v>39.476309058800624</c:v>
                </c:pt>
                <c:pt idx="48117">
                  <c:v>28.497979592813149</c:v>
                </c:pt>
                <c:pt idx="48118">
                  <c:v>43.784661893371748</c:v>
                </c:pt>
                <c:pt idx="48119">
                  <c:v>24.366746896593</c:v>
                </c:pt>
                <c:pt idx="48120">
                  <c:v>21.765026838442527</c:v>
                </c:pt>
                <c:pt idx="48121">
                  <c:v>28.094637090811972</c:v>
                </c:pt>
                <c:pt idx="48122">
                  <c:v>42.765138614067993</c:v>
                </c:pt>
                <c:pt idx="48123">
                  <c:v>24.952589926022846</c:v>
                </c:pt>
                <c:pt idx="48124">
                  <c:v>23.860811902999039</c:v>
                </c:pt>
                <c:pt idx="48125">
                  <c:v>50.128091008698895</c:v>
                </c:pt>
                <c:pt idx="48126">
                  <c:v>49.520408016530169</c:v>
                </c:pt>
                <c:pt idx="48127">
                  <c:v>21.485502810133724</c:v>
                </c:pt>
                <c:pt idx="48128">
                  <c:v>22.178436262189834</c:v>
                </c:pt>
                <c:pt idx="48129">
                  <c:v>29.007947086090248</c:v>
                </c:pt>
                <c:pt idx="48130">
                  <c:v>30.970297145226382</c:v>
                </c:pt>
                <c:pt idx="48131">
                  <c:v>29.023047227025252</c:v>
                </c:pt>
                <c:pt idx="48132">
                  <c:v>21.833644371079089</c:v>
                </c:pt>
                <c:pt idx="48133">
                  <c:v>29.838239645953916</c:v>
                </c:pt>
                <c:pt idx="48134">
                  <c:v>42.808242656102664</c:v>
                </c:pt>
                <c:pt idx="48135">
                  <c:v>42.277359218940468</c:v>
                </c:pt>
                <c:pt idx="48136">
                  <c:v>25.500595684082363</c:v>
                </c:pt>
                <c:pt idx="48137">
                  <c:v>22.405272084259536</c:v>
                </c:pt>
                <c:pt idx="48138">
                  <c:v>35.78616954734629</c:v>
                </c:pt>
                <c:pt idx="48139">
                  <c:v>24.317803285689898</c:v>
                </c:pt>
                <c:pt idx="48140">
                  <c:v>28.428362726063767</c:v>
                </c:pt>
                <c:pt idx="48141">
                  <c:v>21.624995319454005</c:v>
                </c:pt>
                <c:pt idx="48142">
                  <c:v>32.631315297346035</c:v>
                </c:pt>
                <c:pt idx="48143">
                  <c:v>29.482881840829197</c:v>
                </c:pt>
                <c:pt idx="48144">
                  <c:v>49.374129106244872</c:v>
                </c:pt>
                <c:pt idx="48145">
                  <c:v>43.784347834658533</c:v>
                </c:pt>
                <c:pt idx="48146">
                  <c:v>27.944402010885746</c:v>
                </c:pt>
                <c:pt idx="48147">
                  <c:v>22.290782292763904</c:v>
                </c:pt>
                <c:pt idx="48148">
                  <c:v>44.616154544142944</c:v>
                </c:pt>
                <c:pt idx="48149">
                  <c:v>32.53792280918919</c:v>
                </c:pt>
                <c:pt idx="48150">
                  <c:v>30.410473350286672</c:v>
                </c:pt>
                <c:pt idx="48151">
                  <c:v>27.612607975775795</c:v>
                </c:pt>
                <c:pt idx="48152">
                  <c:v>31.828687039579425</c:v>
                </c:pt>
                <c:pt idx="48153">
                  <c:v>23.531836325728829</c:v>
                </c:pt>
                <c:pt idx="48154">
                  <c:v>33.520718977581332</c:v>
                </c:pt>
                <c:pt idx="48155">
                  <c:v>68.126502768157422</c:v>
                </c:pt>
                <c:pt idx="48156">
                  <c:v>32.739698180517372</c:v>
                </c:pt>
                <c:pt idx="48157">
                  <c:v>45.501309755875461</c:v>
                </c:pt>
                <c:pt idx="48158">
                  <c:v>28.448921641642205</c:v>
                </c:pt>
                <c:pt idx="48159">
                  <c:v>17.608328620928543</c:v>
                </c:pt>
                <c:pt idx="48160">
                  <c:v>37.385733709705171</c:v>
                </c:pt>
                <c:pt idx="48161">
                  <c:v>34.625965825274513</c:v>
                </c:pt>
                <c:pt idx="48162">
                  <c:v>27.3172425881428</c:v>
                </c:pt>
                <c:pt idx="48163">
                  <c:v>32.998959544609974</c:v>
                </c:pt>
                <c:pt idx="48164">
                  <c:v>24.957278061723589</c:v>
                </c:pt>
                <c:pt idx="48165">
                  <c:v>20.355116715888311</c:v>
                </c:pt>
                <c:pt idx="48166">
                  <c:v>27.574986001476347</c:v>
                </c:pt>
                <c:pt idx="48167">
                  <c:v>41.836969112285729</c:v>
                </c:pt>
                <c:pt idx="48168">
                  <c:v>31.571694209514391</c:v>
                </c:pt>
                <c:pt idx="48169">
                  <c:v>21.455555577118837</c:v>
                </c:pt>
                <c:pt idx="48170">
                  <c:v>47.24981311221692</c:v>
                </c:pt>
                <c:pt idx="48171">
                  <c:v>28.18590140561593</c:v>
                </c:pt>
                <c:pt idx="48172">
                  <c:v>31.04212496280946</c:v>
                </c:pt>
                <c:pt idx="48173">
                  <c:v>37.283040496621403</c:v>
                </c:pt>
                <c:pt idx="48174">
                  <c:v>48.906008160139159</c:v>
                </c:pt>
                <c:pt idx="48175">
                  <c:v>22.086009388912082</c:v>
                </c:pt>
                <c:pt idx="48176">
                  <c:v>33.841322817263659</c:v>
                </c:pt>
                <c:pt idx="48177">
                  <c:v>20.461566413543441</c:v>
                </c:pt>
                <c:pt idx="48178">
                  <c:v>49.056297520272516</c:v>
                </c:pt>
                <c:pt idx="48179">
                  <c:v>26.507230207324195</c:v>
                </c:pt>
                <c:pt idx="48180">
                  <c:v>51.277160764612482</c:v>
                </c:pt>
                <c:pt idx="48181">
                  <c:v>25.055251885015963</c:v>
                </c:pt>
                <c:pt idx="48182">
                  <c:v>28.963375862825334</c:v>
                </c:pt>
                <c:pt idx="48183">
                  <c:v>28.996152302221656</c:v>
                </c:pt>
                <c:pt idx="48184">
                  <c:v>23.856487226640454</c:v>
                </c:pt>
                <c:pt idx="48185">
                  <c:v>45.105856874033108</c:v>
                </c:pt>
                <c:pt idx="48186">
                  <c:v>22.884134112632495</c:v>
                </c:pt>
                <c:pt idx="48187">
                  <c:v>22.94025225556215</c:v>
                </c:pt>
                <c:pt idx="48188">
                  <c:v>38.510651906181089</c:v>
                </c:pt>
                <c:pt idx="48189">
                  <c:v>26.722220306937839</c:v>
                </c:pt>
                <c:pt idx="48190">
                  <c:v>44.308773265647304</c:v>
                </c:pt>
                <c:pt idx="48191">
                  <c:v>47.841799416373689</c:v>
                </c:pt>
                <c:pt idx="48192">
                  <c:v>44.120875522989202</c:v>
                </c:pt>
                <c:pt idx="48193">
                  <c:v>45.450467407107773</c:v>
                </c:pt>
                <c:pt idx="48194">
                  <c:v>30.059170794536911</c:v>
                </c:pt>
                <c:pt idx="48195">
                  <c:v>60.949267171137308</c:v>
                </c:pt>
                <c:pt idx="48196">
                  <c:v>29.121951444268454</c:v>
                </c:pt>
                <c:pt idx="48197">
                  <c:v>23.906583983308607</c:v>
                </c:pt>
                <c:pt idx="48198">
                  <c:v>24.915153715832652</c:v>
                </c:pt>
                <c:pt idx="48199">
                  <c:v>30.841817689817535</c:v>
                </c:pt>
                <c:pt idx="48200">
                  <c:v>26.969016977905031</c:v>
                </c:pt>
                <c:pt idx="48201">
                  <c:v>29.045813508246351</c:v>
                </c:pt>
                <c:pt idx="48202">
                  <c:v>25.8299826126486</c:v>
                </c:pt>
                <c:pt idx="48203">
                  <c:v>34.898732478907959</c:v>
                </c:pt>
                <c:pt idx="48204">
                  <c:v>47.148127655904332</c:v>
                </c:pt>
                <c:pt idx="48205">
                  <c:v>20.868370620148877</c:v>
                </c:pt>
                <c:pt idx="48206">
                  <c:v>25.01296916657396</c:v>
                </c:pt>
                <c:pt idx="48207">
                  <c:v>23.870225916525861</c:v>
                </c:pt>
                <c:pt idx="48208">
                  <c:v>28.997304990690878</c:v>
                </c:pt>
                <c:pt idx="48209">
                  <c:v>27.16290963882194</c:v>
                </c:pt>
                <c:pt idx="48210">
                  <c:v>28.865484630624596</c:v>
                </c:pt>
                <c:pt idx="48211">
                  <c:v>21.70433925733504</c:v>
                </c:pt>
                <c:pt idx="48212">
                  <c:v>46.055279012485762</c:v>
                </c:pt>
                <c:pt idx="48213">
                  <c:v>22.18262107277722</c:v>
                </c:pt>
                <c:pt idx="48214">
                  <c:v>31.340486032695441</c:v>
                </c:pt>
                <c:pt idx="48215">
                  <c:v>20.869737411193146</c:v>
                </c:pt>
                <c:pt idx="48216">
                  <c:v>21.476951773003474</c:v>
                </c:pt>
                <c:pt idx="48217">
                  <c:v>19.492304580568625</c:v>
                </c:pt>
                <c:pt idx="48218">
                  <c:v>32.191451149830144</c:v>
                </c:pt>
                <c:pt idx="48219">
                  <c:v>24.027668047261855</c:v>
                </c:pt>
                <c:pt idx="48220">
                  <c:v>24.82267570982679</c:v>
                </c:pt>
                <c:pt idx="48221">
                  <c:v>31.312781358682148</c:v>
                </c:pt>
                <c:pt idx="48222">
                  <c:v>30.693441185759493</c:v>
                </c:pt>
                <c:pt idx="48223">
                  <c:v>29.901616284582424</c:v>
                </c:pt>
                <c:pt idx="48224">
                  <c:v>28.654289239608961</c:v>
                </c:pt>
                <c:pt idx="48225">
                  <c:v>22.431091063912763</c:v>
                </c:pt>
                <c:pt idx="48226">
                  <c:v>26.657455962488157</c:v>
                </c:pt>
                <c:pt idx="48227">
                  <c:v>41.313153082536161</c:v>
                </c:pt>
                <c:pt idx="48228">
                  <c:v>46.109150432835655</c:v>
                </c:pt>
                <c:pt idx="48229">
                  <c:v>19.892982677630922</c:v>
                </c:pt>
                <c:pt idx="48230">
                  <c:v>22.842011949546276</c:v>
                </c:pt>
                <c:pt idx="48231">
                  <c:v>25.797271732041025</c:v>
                </c:pt>
                <c:pt idx="48232">
                  <c:v>24.731539809998537</c:v>
                </c:pt>
                <c:pt idx="48233">
                  <c:v>25.846952648959959</c:v>
                </c:pt>
                <c:pt idx="48234">
                  <c:v>39.137534028456614</c:v>
                </c:pt>
                <c:pt idx="48235">
                  <c:v>42.456238402422969</c:v>
                </c:pt>
                <c:pt idx="48236">
                  <c:v>50.152807544601387</c:v>
                </c:pt>
                <c:pt idx="48237">
                  <c:v>25.261207677961181</c:v>
                </c:pt>
                <c:pt idx="48238">
                  <c:v>49.685202369046721</c:v>
                </c:pt>
                <c:pt idx="48239">
                  <c:v>31.267857467744658</c:v>
                </c:pt>
                <c:pt idx="48240">
                  <c:v>24.028256652729667</c:v>
                </c:pt>
                <c:pt idx="48241">
                  <c:v>44.504560474222593</c:v>
                </c:pt>
                <c:pt idx="48242">
                  <c:v>29.180202417418087</c:v>
                </c:pt>
                <c:pt idx="48243">
                  <c:v>27.933442456922648</c:v>
                </c:pt>
                <c:pt idx="48244">
                  <c:v>27.103713336131122</c:v>
                </c:pt>
                <c:pt idx="48245">
                  <c:v>21.06930083852885</c:v>
                </c:pt>
                <c:pt idx="48246">
                  <c:v>45.249415043726245</c:v>
                </c:pt>
                <c:pt idx="48247">
                  <c:v>34.202156330215317</c:v>
                </c:pt>
                <c:pt idx="48248">
                  <c:v>14.606188996623636</c:v>
                </c:pt>
                <c:pt idx="48249">
                  <c:v>41.803857156848544</c:v>
                </c:pt>
                <c:pt idx="48250">
                  <c:v>40.715711552987621</c:v>
                </c:pt>
                <c:pt idx="48251">
                  <c:v>19.512888431161993</c:v>
                </c:pt>
                <c:pt idx="48252">
                  <c:v>27.794056569489495</c:v>
                </c:pt>
                <c:pt idx="48253">
                  <c:v>23.811667578387784</c:v>
                </c:pt>
                <c:pt idx="48254">
                  <c:v>38.665541312011804</c:v>
                </c:pt>
                <c:pt idx="48255">
                  <c:v>22.749573586520992</c:v>
                </c:pt>
                <c:pt idx="48256">
                  <c:v>26.875957189867279</c:v>
                </c:pt>
                <c:pt idx="48257">
                  <c:v>27.255173196673148</c:v>
                </c:pt>
                <c:pt idx="48258">
                  <c:v>23.784110058347995</c:v>
                </c:pt>
                <c:pt idx="48259">
                  <c:v>21.303799374798245</c:v>
                </c:pt>
                <c:pt idx="48260">
                  <c:v>20.934160933450862</c:v>
                </c:pt>
                <c:pt idx="48261">
                  <c:v>23.84746923118545</c:v>
                </c:pt>
                <c:pt idx="48262">
                  <c:v>21.425279241478151</c:v>
                </c:pt>
                <c:pt idx="48263">
                  <c:v>38.745292388663493</c:v>
                </c:pt>
                <c:pt idx="48264">
                  <c:v>37.503422507792052</c:v>
                </c:pt>
                <c:pt idx="48265">
                  <c:v>28.205880998401788</c:v>
                </c:pt>
                <c:pt idx="48266">
                  <c:v>32.021879687518329</c:v>
                </c:pt>
                <c:pt idx="48267">
                  <c:v>38.52240572338583</c:v>
                </c:pt>
                <c:pt idx="48268">
                  <c:v>29.61531696488553</c:v>
                </c:pt>
                <c:pt idx="48269">
                  <c:v>62.993372600684928</c:v>
                </c:pt>
                <c:pt idx="48270">
                  <c:v>49.880138142032202</c:v>
                </c:pt>
                <c:pt idx="48271">
                  <c:v>39.042565573422387</c:v>
                </c:pt>
                <c:pt idx="48272">
                  <c:v>26.243386005756729</c:v>
                </c:pt>
                <c:pt idx="48273">
                  <c:v>27.835700935332408</c:v>
                </c:pt>
                <c:pt idx="48274">
                  <c:v>30.953657255239271</c:v>
                </c:pt>
                <c:pt idx="48275">
                  <c:v>18.384924449677055</c:v>
                </c:pt>
                <c:pt idx="48276">
                  <c:v>23.678630820792247</c:v>
                </c:pt>
                <c:pt idx="48277">
                  <c:v>42.147833767684361</c:v>
                </c:pt>
                <c:pt idx="48278">
                  <c:v>24.308189527633893</c:v>
                </c:pt>
                <c:pt idx="48279">
                  <c:v>22.028036257028688</c:v>
                </c:pt>
                <c:pt idx="48280">
                  <c:v>25.029412179842325</c:v>
                </c:pt>
                <c:pt idx="48281">
                  <c:v>28.632465982412846</c:v>
                </c:pt>
                <c:pt idx="48282">
                  <c:v>32.449394385204542</c:v>
                </c:pt>
                <c:pt idx="48283">
                  <c:v>28.911451414872566</c:v>
                </c:pt>
                <c:pt idx="48284">
                  <c:v>50.793711502625797</c:v>
                </c:pt>
                <c:pt idx="48285">
                  <c:v>21.519395373547987</c:v>
                </c:pt>
                <c:pt idx="48286">
                  <c:v>46.31352541148479</c:v>
                </c:pt>
                <c:pt idx="48287">
                  <c:v>40.32070701342009</c:v>
                </c:pt>
                <c:pt idx="48288">
                  <c:v>31.422384358377936</c:v>
                </c:pt>
                <c:pt idx="48289">
                  <c:v>23.070325021102708</c:v>
                </c:pt>
                <c:pt idx="48290">
                  <c:v>21.128632823215383</c:v>
                </c:pt>
                <c:pt idx="48291">
                  <c:v>34.561368934335349</c:v>
                </c:pt>
                <c:pt idx="48292">
                  <c:v>39.271797215983383</c:v>
                </c:pt>
                <c:pt idx="48293">
                  <c:v>36.438454466963144</c:v>
                </c:pt>
                <c:pt idx="48294">
                  <c:v>32.835049111139128</c:v>
                </c:pt>
                <c:pt idx="48295">
                  <c:v>25.997805603193584</c:v>
                </c:pt>
                <c:pt idx="48296">
                  <c:v>31.994751192040795</c:v>
                </c:pt>
                <c:pt idx="48297">
                  <c:v>48.668138277902536</c:v>
                </c:pt>
                <c:pt idx="48298">
                  <c:v>47.261172239177768</c:v>
                </c:pt>
                <c:pt idx="48299">
                  <c:v>21.226798099339575</c:v>
                </c:pt>
                <c:pt idx="48300">
                  <c:v>29.95173200653975</c:v>
                </c:pt>
                <c:pt idx="48301">
                  <c:v>44.648540990499839</c:v>
                </c:pt>
                <c:pt idx="48302">
                  <c:v>19.092208380099578</c:v>
                </c:pt>
                <c:pt idx="48303">
                  <c:v>28.524029808113617</c:v>
                </c:pt>
                <c:pt idx="48304">
                  <c:v>23.452914628989816</c:v>
                </c:pt>
                <c:pt idx="48305">
                  <c:v>33.529292224757306</c:v>
                </c:pt>
                <c:pt idx="48306">
                  <c:v>23.647393955248941</c:v>
                </c:pt>
                <c:pt idx="48307">
                  <c:v>31.38926848922528</c:v>
                </c:pt>
                <c:pt idx="48308">
                  <c:v>25.432594960912027</c:v>
                </c:pt>
                <c:pt idx="48309">
                  <c:v>42.393531145285444</c:v>
                </c:pt>
                <c:pt idx="48310">
                  <c:v>30.685070215394234</c:v>
                </c:pt>
                <c:pt idx="48311">
                  <c:v>31.175918544873756</c:v>
                </c:pt>
                <c:pt idx="48312">
                  <c:v>26.682531618909202</c:v>
                </c:pt>
                <c:pt idx="48313">
                  <c:v>55.764655118665608</c:v>
                </c:pt>
                <c:pt idx="48314">
                  <c:v>38.088884660747176</c:v>
                </c:pt>
                <c:pt idx="48315">
                  <c:v>20.772631072480838</c:v>
                </c:pt>
                <c:pt idx="48316">
                  <c:v>46.43104342429595</c:v>
                </c:pt>
                <c:pt idx="48317">
                  <c:v>27.923947664686501</c:v>
                </c:pt>
                <c:pt idx="48318">
                  <c:v>49.968596879668816</c:v>
                </c:pt>
                <c:pt idx="48319">
                  <c:v>46.985253204290188</c:v>
                </c:pt>
                <c:pt idx="48320">
                  <c:v>29.161885082657932</c:v>
                </c:pt>
                <c:pt idx="48321">
                  <c:v>50.456875471235271</c:v>
                </c:pt>
                <c:pt idx="48322">
                  <c:v>26.264214349947387</c:v>
                </c:pt>
                <c:pt idx="48323">
                  <c:v>22.155784358456543</c:v>
                </c:pt>
                <c:pt idx="48324">
                  <c:v>25.696370680065058</c:v>
                </c:pt>
                <c:pt idx="48325">
                  <c:v>19.510631229644282</c:v>
                </c:pt>
                <c:pt idx="48326">
                  <c:v>27.704443115479005</c:v>
                </c:pt>
                <c:pt idx="48327">
                  <c:v>49.248867947525774</c:v>
                </c:pt>
                <c:pt idx="48328">
                  <c:v>25.295249514249871</c:v>
                </c:pt>
                <c:pt idx="48329">
                  <c:v>28.59844306889309</c:v>
                </c:pt>
                <c:pt idx="48330">
                  <c:v>41.649688898302301</c:v>
                </c:pt>
                <c:pt idx="48331">
                  <c:v>26.811891165630279</c:v>
                </c:pt>
                <c:pt idx="48332">
                  <c:v>27.400715080964371</c:v>
                </c:pt>
                <c:pt idx="48333">
                  <c:v>24.070746596739884</c:v>
                </c:pt>
                <c:pt idx="48334">
                  <c:v>30.930447801382858</c:v>
                </c:pt>
                <c:pt idx="48335">
                  <c:v>30.564056499174111</c:v>
                </c:pt>
                <c:pt idx="48336">
                  <c:v>32.548209268720491</c:v>
                </c:pt>
                <c:pt idx="48337">
                  <c:v>21.433534809759742</c:v>
                </c:pt>
                <c:pt idx="48338">
                  <c:v>43.553582049616978</c:v>
                </c:pt>
                <c:pt idx="48339">
                  <c:v>32.695421498387603</c:v>
                </c:pt>
                <c:pt idx="48340">
                  <c:v>41.304634158634535</c:v>
                </c:pt>
                <c:pt idx="48341">
                  <c:v>46.768187245621192</c:v>
                </c:pt>
                <c:pt idx="48342">
                  <c:v>32.930721409320981</c:v>
                </c:pt>
                <c:pt idx="48343">
                  <c:v>27.266758068443181</c:v>
                </c:pt>
                <c:pt idx="48344">
                  <c:v>30.835085815793391</c:v>
                </c:pt>
                <c:pt idx="48345">
                  <c:v>36.37375258642443</c:v>
                </c:pt>
                <c:pt idx="48346">
                  <c:v>24.282033850422245</c:v>
                </c:pt>
                <c:pt idx="48347">
                  <c:v>21.678094088332866</c:v>
                </c:pt>
                <c:pt idx="48348">
                  <c:v>26.026624620655216</c:v>
                </c:pt>
                <c:pt idx="48349">
                  <c:v>23.999198416521924</c:v>
                </c:pt>
                <c:pt idx="48350">
                  <c:v>24.505803753853154</c:v>
                </c:pt>
                <c:pt idx="48351">
                  <c:v>23.115193738956112</c:v>
                </c:pt>
                <c:pt idx="48352">
                  <c:v>35.011352819827174</c:v>
                </c:pt>
                <c:pt idx="48353">
                  <c:v>56.646443404532789</c:v>
                </c:pt>
                <c:pt idx="48354">
                  <c:v>39.173912011656121</c:v>
                </c:pt>
                <c:pt idx="48355">
                  <c:v>20.266487517113958</c:v>
                </c:pt>
                <c:pt idx="48356">
                  <c:v>44.538369002256928</c:v>
                </c:pt>
                <c:pt idx="48357">
                  <c:v>45.738134368024511</c:v>
                </c:pt>
                <c:pt idx="48358">
                  <c:v>19.564884574871538</c:v>
                </c:pt>
                <c:pt idx="48359">
                  <c:v>26.581737407180622</c:v>
                </c:pt>
                <c:pt idx="48360">
                  <c:v>22.981774896340497</c:v>
                </c:pt>
                <c:pt idx="48361">
                  <c:v>29.32763329414432</c:v>
                </c:pt>
                <c:pt idx="48362">
                  <c:v>16.90128897035833</c:v>
                </c:pt>
                <c:pt idx="48363">
                  <c:v>29.580801541920628</c:v>
                </c:pt>
                <c:pt idx="48364">
                  <c:v>28.534520166716348</c:v>
                </c:pt>
                <c:pt idx="48365">
                  <c:v>28.518418385240032</c:v>
                </c:pt>
                <c:pt idx="48366">
                  <c:v>36.326928118899076</c:v>
                </c:pt>
                <c:pt idx="48367">
                  <c:v>22.004823972823452</c:v>
                </c:pt>
                <c:pt idx="48368">
                  <c:v>25.615747204919693</c:v>
                </c:pt>
                <c:pt idx="48369">
                  <c:v>37.566813467801047</c:v>
                </c:pt>
                <c:pt idx="48370">
                  <c:v>51.947771604322924</c:v>
                </c:pt>
                <c:pt idx="48371">
                  <c:v>30.874260874287376</c:v>
                </c:pt>
                <c:pt idx="48372">
                  <c:v>25.786716460000719</c:v>
                </c:pt>
                <c:pt idx="48373">
                  <c:v>20.994201671158773</c:v>
                </c:pt>
                <c:pt idx="48374">
                  <c:v>21.846926101097303</c:v>
                </c:pt>
                <c:pt idx="48375">
                  <c:v>32.255452017858886</c:v>
                </c:pt>
                <c:pt idx="48376">
                  <c:v>21.535158399525638</c:v>
                </c:pt>
                <c:pt idx="48377">
                  <c:v>27.768283063319455</c:v>
                </c:pt>
                <c:pt idx="48378">
                  <c:v>39.650684250830579</c:v>
                </c:pt>
                <c:pt idx="48379">
                  <c:v>26.76134139315355</c:v>
                </c:pt>
                <c:pt idx="48380">
                  <c:v>20.734488735892633</c:v>
                </c:pt>
                <c:pt idx="48381">
                  <c:v>18.135942547548972</c:v>
                </c:pt>
                <c:pt idx="48382">
                  <c:v>21.066654220371852</c:v>
                </c:pt>
                <c:pt idx="48383">
                  <c:v>23.032582236941579</c:v>
                </c:pt>
                <c:pt idx="48384">
                  <c:v>24.514476136083939</c:v>
                </c:pt>
                <c:pt idx="48385">
                  <c:v>23.996040018582889</c:v>
                </c:pt>
                <c:pt idx="48386">
                  <c:v>28.817374416495163</c:v>
                </c:pt>
                <c:pt idx="48387">
                  <c:v>49.56251319300484</c:v>
                </c:pt>
                <c:pt idx="48388">
                  <c:v>19.802758772196995</c:v>
                </c:pt>
                <c:pt idx="48389">
                  <c:v>48.603712266202564</c:v>
                </c:pt>
                <c:pt idx="48390">
                  <c:v>33.297367585597733</c:v>
                </c:pt>
                <c:pt idx="48391">
                  <c:v>31.0654492543202</c:v>
                </c:pt>
                <c:pt idx="48392">
                  <c:v>28.105205324222375</c:v>
                </c:pt>
                <c:pt idx="48393">
                  <c:v>20.979634726971923</c:v>
                </c:pt>
                <c:pt idx="48394">
                  <c:v>21.104761688561943</c:v>
                </c:pt>
                <c:pt idx="48395">
                  <c:v>47.541004174853533</c:v>
                </c:pt>
                <c:pt idx="48396">
                  <c:v>37.301942497350502</c:v>
                </c:pt>
                <c:pt idx="48397">
                  <c:v>24.30966771416211</c:v>
                </c:pt>
                <c:pt idx="48398">
                  <c:v>19.18600902227038</c:v>
                </c:pt>
                <c:pt idx="48399">
                  <c:v>31.606424850361023</c:v>
                </c:pt>
                <c:pt idx="48400">
                  <c:v>46.163094236311899</c:v>
                </c:pt>
                <c:pt idx="48401">
                  <c:v>26.4849928292433</c:v>
                </c:pt>
                <c:pt idx="48402">
                  <c:v>18.760437614343466</c:v>
                </c:pt>
                <c:pt idx="48403">
                  <c:v>38.057558268966957</c:v>
                </c:pt>
                <c:pt idx="48404">
                  <c:v>29.763358136195791</c:v>
                </c:pt>
                <c:pt idx="48405">
                  <c:v>45.869940771575727</c:v>
                </c:pt>
                <c:pt idx="48406">
                  <c:v>15.842193938078816</c:v>
                </c:pt>
                <c:pt idx="48407">
                  <c:v>33.38420852659803</c:v>
                </c:pt>
                <c:pt idx="48408">
                  <c:v>30.101521862005381</c:v>
                </c:pt>
                <c:pt idx="48409">
                  <c:v>32.174691290042837</c:v>
                </c:pt>
                <c:pt idx="48410">
                  <c:v>24.699086320568767</c:v>
                </c:pt>
                <c:pt idx="48411">
                  <c:v>50.712513418288665</c:v>
                </c:pt>
                <c:pt idx="48412">
                  <c:v>40.554042941493961</c:v>
                </c:pt>
                <c:pt idx="48413">
                  <c:v>24.955157999055935</c:v>
                </c:pt>
                <c:pt idx="48414">
                  <c:v>24.188878452226028</c:v>
                </c:pt>
                <c:pt idx="48415">
                  <c:v>49.158472971146459</c:v>
                </c:pt>
                <c:pt idx="48416">
                  <c:v>29.814711050980776</c:v>
                </c:pt>
                <c:pt idx="48417">
                  <c:v>24.91334111748828</c:v>
                </c:pt>
                <c:pt idx="48418">
                  <c:v>26.393206650071676</c:v>
                </c:pt>
                <c:pt idx="48419">
                  <c:v>22.244696718844349</c:v>
                </c:pt>
                <c:pt idx="48420">
                  <c:v>25.968618212336253</c:v>
                </c:pt>
                <c:pt idx="48421">
                  <c:v>30.678722770933483</c:v>
                </c:pt>
                <c:pt idx="48422">
                  <c:v>41.187057130178133</c:v>
                </c:pt>
                <c:pt idx="48423">
                  <c:v>24.164397987707314</c:v>
                </c:pt>
                <c:pt idx="48424">
                  <c:v>25.155234195113998</c:v>
                </c:pt>
                <c:pt idx="48425">
                  <c:v>44.977217325909358</c:v>
                </c:pt>
                <c:pt idx="48426">
                  <c:v>20.449542618315128</c:v>
                </c:pt>
                <c:pt idx="48427">
                  <c:v>36.862053442547086</c:v>
                </c:pt>
                <c:pt idx="48428">
                  <c:v>34.433857429705427</c:v>
                </c:pt>
                <c:pt idx="48429">
                  <c:v>20.983755992214626</c:v>
                </c:pt>
                <c:pt idx="48430">
                  <c:v>43.543019711628446</c:v>
                </c:pt>
                <c:pt idx="48431">
                  <c:v>27.314104129863363</c:v>
                </c:pt>
                <c:pt idx="48432">
                  <c:v>40.182183554496895</c:v>
                </c:pt>
                <c:pt idx="48433">
                  <c:v>28.013979004441172</c:v>
                </c:pt>
                <c:pt idx="48434">
                  <c:v>20.757162557689384</c:v>
                </c:pt>
                <c:pt idx="48435">
                  <c:v>34.083347935140232</c:v>
                </c:pt>
                <c:pt idx="48436">
                  <c:v>28.485915049467273</c:v>
                </c:pt>
                <c:pt idx="48437">
                  <c:v>17.735529680140058</c:v>
                </c:pt>
                <c:pt idx="48438">
                  <c:v>23.268499024226649</c:v>
                </c:pt>
                <c:pt idx="48439">
                  <c:v>25.574774779340871</c:v>
                </c:pt>
                <c:pt idx="48440">
                  <c:v>59.584931149924998</c:v>
                </c:pt>
                <c:pt idx="48441">
                  <c:v>37.466678549220354</c:v>
                </c:pt>
                <c:pt idx="48442">
                  <c:v>28.140904177822836</c:v>
                </c:pt>
                <c:pt idx="48443">
                  <c:v>24.386422862851692</c:v>
                </c:pt>
                <c:pt idx="48444">
                  <c:v>26.059728325392342</c:v>
                </c:pt>
                <c:pt idx="48445">
                  <c:v>58.818130886911355</c:v>
                </c:pt>
                <c:pt idx="48446">
                  <c:v>50.591576044071829</c:v>
                </c:pt>
                <c:pt idx="48447">
                  <c:v>20.032288649430512</c:v>
                </c:pt>
                <c:pt idx="48448">
                  <c:v>45.139359084345315</c:v>
                </c:pt>
                <c:pt idx="48449">
                  <c:v>23.94006846050554</c:v>
                </c:pt>
                <c:pt idx="48450">
                  <c:v>24.250340401079161</c:v>
                </c:pt>
                <c:pt idx="48451">
                  <c:v>29.271875380014698</c:v>
                </c:pt>
                <c:pt idx="48452">
                  <c:v>47.969033612631534</c:v>
                </c:pt>
                <c:pt idx="48453">
                  <c:v>25.654731995144669</c:v>
                </c:pt>
                <c:pt idx="48454">
                  <c:v>33.897424706407449</c:v>
                </c:pt>
                <c:pt idx="48455">
                  <c:v>17.80929501559897</c:v>
                </c:pt>
                <c:pt idx="48456">
                  <c:v>46.797567830211435</c:v>
                </c:pt>
                <c:pt idx="48457">
                  <c:v>17.378948076316235</c:v>
                </c:pt>
                <c:pt idx="48458">
                  <c:v>21.648305235727435</c:v>
                </c:pt>
                <c:pt idx="48459">
                  <c:v>46.696184579533522</c:v>
                </c:pt>
                <c:pt idx="48460">
                  <c:v>48.173848075212369</c:v>
                </c:pt>
                <c:pt idx="48461">
                  <c:v>33.560140236494199</c:v>
                </c:pt>
                <c:pt idx="48462">
                  <c:v>30.478664882881645</c:v>
                </c:pt>
                <c:pt idx="48463">
                  <c:v>19.066065482960262</c:v>
                </c:pt>
                <c:pt idx="48464">
                  <c:v>48.36969738848628</c:v>
                </c:pt>
                <c:pt idx="48465">
                  <c:v>30.350131582956678</c:v>
                </c:pt>
                <c:pt idx="48466">
                  <c:v>33.312556186552328</c:v>
                </c:pt>
                <c:pt idx="48467">
                  <c:v>23.002151583235651</c:v>
                </c:pt>
                <c:pt idx="48468">
                  <c:v>26.839116042569259</c:v>
                </c:pt>
                <c:pt idx="48469">
                  <c:v>39.931381908355334</c:v>
                </c:pt>
                <c:pt idx="48470">
                  <c:v>24.283752623939378</c:v>
                </c:pt>
                <c:pt idx="48471">
                  <c:v>17.62197707498725</c:v>
                </c:pt>
                <c:pt idx="48472">
                  <c:v>29.020070213493124</c:v>
                </c:pt>
                <c:pt idx="48473">
                  <c:v>30.067137328117589</c:v>
                </c:pt>
                <c:pt idx="48474">
                  <c:v>46.066582397859705</c:v>
                </c:pt>
                <c:pt idx="48475">
                  <c:v>29.515984185189115</c:v>
                </c:pt>
                <c:pt idx="48476">
                  <c:v>34.22616834161704</c:v>
                </c:pt>
                <c:pt idx="48477">
                  <c:v>59.033440447863647</c:v>
                </c:pt>
                <c:pt idx="48478">
                  <c:v>28.068257913676764</c:v>
                </c:pt>
                <c:pt idx="48479">
                  <c:v>37.302955942298951</c:v>
                </c:pt>
                <c:pt idx="48480">
                  <c:v>26.063693345254208</c:v>
                </c:pt>
                <c:pt idx="48481">
                  <c:v>51.343274444680461</c:v>
                </c:pt>
                <c:pt idx="48482">
                  <c:v>27.481047913530205</c:v>
                </c:pt>
                <c:pt idx="48483">
                  <c:v>27.008352877782684</c:v>
                </c:pt>
                <c:pt idx="48484">
                  <c:v>23.053963735290303</c:v>
                </c:pt>
                <c:pt idx="48485">
                  <c:v>27.09362134458425</c:v>
                </c:pt>
                <c:pt idx="48486">
                  <c:v>31.17357124858658</c:v>
                </c:pt>
                <c:pt idx="48487">
                  <c:v>24.037432530337668</c:v>
                </c:pt>
                <c:pt idx="48488">
                  <c:v>27.48737417375968</c:v>
                </c:pt>
                <c:pt idx="48489">
                  <c:v>52.680363271910117</c:v>
                </c:pt>
                <c:pt idx="48490">
                  <c:v>30.716156964008981</c:v>
                </c:pt>
                <c:pt idx="48491">
                  <c:v>32.672390529881412</c:v>
                </c:pt>
                <c:pt idx="48492">
                  <c:v>23.616402501043616</c:v>
                </c:pt>
                <c:pt idx="48493">
                  <c:v>25.025977276343646</c:v>
                </c:pt>
                <c:pt idx="48494">
                  <c:v>22.91627029206203</c:v>
                </c:pt>
                <c:pt idx="48495">
                  <c:v>25.554554143889391</c:v>
                </c:pt>
                <c:pt idx="48496">
                  <c:v>26.58530009611497</c:v>
                </c:pt>
                <c:pt idx="48497">
                  <c:v>25.965833107959988</c:v>
                </c:pt>
                <c:pt idx="48498">
                  <c:v>29.399633893641514</c:v>
                </c:pt>
                <c:pt idx="48499">
                  <c:v>19.442771634524149</c:v>
                </c:pt>
                <c:pt idx="48500">
                  <c:v>26.123728639890533</c:v>
                </c:pt>
                <c:pt idx="48501">
                  <c:v>23.115914031075448</c:v>
                </c:pt>
                <c:pt idx="48502">
                  <c:v>26.650829995670968</c:v>
                </c:pt>
                <c:pt idx="48503">
                  <c:v>28.52234011853394</c:v>
                </c:pt>
                <c:pt idx="48504">
                  <c:v>23.239802597304976</c:v>
                </c:pt>
                <c:pt idx="48505">
                  <c:v>22.213634465083885</c:v>
                </c:pt>
                <c:pt idx="48506">
                  <c:v>22.501589787458997</c:v>
                </c:pt>
                <c:pt idx="48507">
                  <c:v>28.249161788145123</c:v>
                </c:pt>
                <c:pt idx="48508">
                  <c:v>24.123389543011186</c:v>
                </c:pt>
                <c:pt idx="48509">
                  <c:v>26.991890598459221</c:v>
                </c:pt>
                <c:pt idx="48510">
                  <c:v>52.906654551337184</c:v>
                </c:pt>
                <c:pt idx="48511">
                  <c:v>46.301108273282097</c:v>
                </c:pt>
                <c:pt idx="48512">
                  <c:v>23.872173826023669</c:v>
                </c:pt>
                <c:pt idx="48513">
                  <c:v>26.416172477984798</c:v>
                </c:pt>
                <c:pt idx="48514">
                  <c:v>27.06814647902112</c:v>
                </c:pt>
                <c:pt idx="48515">
                  <c:v>55.340471987826113</c:v>
                </c:pt>
                <c:pt idx="48516">
                  <c:v>26.077174850002713</c:v>
                </c:pt>
                <c:pt idx="48517">
                  <c:v>28.325682891862364</c:v>
                </c:pt>
                <c:pt idx="48518">
                  <c:v>40.402254734144357</c:v>
                </c:pt>
                <c:pt idx="48519">
                  <c:v>23.353877273354311</c:v>
                </c:pt>
                <c:pt idx="48520">
                  <c:v>27.846000747744881</c:v>
                </c:pt>
                <c:pt idx="48521">
                  <c:v>51.769473824919181</c:v>
                </c:pt>
                <c:pt idx="48522">
                  <c:v>60.746464936053613</c:v>
                </c:pt>
                <c:pt idx="48523">
                  <c:v>46.462644491586275</c:v>
                </c:pt>
                <c:pt idx="48524">
                  <c:v>27.403359751443592</c:v>
                </c:pt>
                <c:pt idx="48525">
                  <c:v>20.557635450529055</c:v>
                </c:pt>
                <c:pt idx="48526">
                  <c:v>26.540902333538988</c:v>
                </c:pt>
                <c:pt idx="48527">
                  <c:v>52.648290689976953</c:v>
                </c:pt>
                <c:pt idx="48528">
                  <c:v>15.187090921337308</c:v>
                </c:pt>
                <c:pt idx="48529">
                  <c:v>27.007433899082532</c:v>
                </c:pt>
                <c:pt idx="48530">
                  <c:v>26.982428984205342</c:v>
                </c:pt>
                <c:pt idx="48531">
                  <c:v>24.694604211905784</c:v>
                </c:pt>
                <c:pt idx="48532">
                  <c:v>31.698530371949232</c:v>
                </c:pt>
                <c:pt idx="48533">
                  <c:v>23.57249963263628</c:v>
                </c:pt>
                <c:pt idx="48534">
                  <c:v>21.834039107458992</c:v>
                </c:pt>
                <c:pt idx="48535">
                  <c:v>30.418506872063851</c:v>
                </c:pt>
                <c:pt idx="48536">
                  <c:v>18.585311589695269</c:v>
                </c:pt>
                <c:pt idx="48537">
                  <c:v>24.472751498695686</c:v>
                </c:pt>
                <c:pt idx="48538">
                  <c:v>28.96808818177594</c:v>
                </c:pt>
                <c:pt idx="48539">
                  <c:v>54.732210780157331</c:v>
                </c:pt>
                <c:pt idx="48540">
                  <c:v>30.573401857797819</c:v>
                </c:pt>
                <c:pt idx="48541">
                  <c:v>27.065885806501161</c:v>
                </c:pt>
                <c:pt idx="48542">
                  <c:v>19.401238507666072</c:v>
                </c:pt>
                <c:pt idx="48543">
                  <c:v>21.612839903412365</c:v>
                </c:pt>
                <c:pt idx="48544">
                  <c:v>22.377994106322667</c:v>
                </c:pt>
                <c:pt idx="48545">
                  <c:v>27.840533366982235</c:v>
                </c:pt>
                <c:pt idx="48546">
                  <c:v>38.704140878982329</c:v>
                </c:pt>
                <c:pt idx="48547">
                  <c:v>27.473384993536008</c:v>
                </c:pt>
                <c:pt idx="48548">
                  <c:v>27.950663526546911</c:v>
                </c:pt>
                <c:pt idx="48549">
                  <c:v>58.829130265697181</c:v>
                </c:pt>
                <c:pt idx="48550">
                  <c:v>39.356580992697303</c:v>
                </c:pt>
                <c:pt idx="48551">
                  <c:v>26.04755483094068</c:v>
                </c:pt>
                <c:pt idx="48552">
                  <c:v>31.493757810154218</c:v>
                </c:pt>
                <c:pt idx="48553">
                  <c:v>22.591248782795841</c:v>
                </c:pt>
                <c:pt idx="48554">
                  <c:v>29.501662922364144</c:v>
                </c:pt>
                <c:pt idx="48555">
                  <c:v>34.373811223008516</c:v>
                </c:pt>
                <c:pt idx="48556">
                  <c:v>28.335298880621259</c:v>
                </c:pt>
                <c:pt idx="48557">
                  <c:v>29.267541946189606</c:v>
                </c:pt>
                <c:pt idx="48558">
                  <c:v>34.783893148727827</c:v>
                </c:pt>
                <c:pt idx="48559">
                  <c:v>32.992113949841894</c:v>
                </c:pt>
                <c:pt idx="48560">
                  <c:v>26.402959782375316</c:v>
                </c:pt>
                <c:pt idx="48561">
                  <c:v>27.053136431673426</c:v>
                </c:pt>
                <c:pt idx="48562">
                  <c:v>30.10807003965083</c:v>
                </c:pt>
                <c:pt idx="48563">
                  <c:v>25.279415418930718</c:v>
                </c:pt>
                <c:pt idx="48564">
                  <c:v>24.273107714278339</c:v>
                </c:pt>
                <c:pt idx="48565">
                  <c:v>37.713433931001077</c:v>
                </c:pt>
                <c:pt idx="48566">
                  <c:v>33.007010242260364</c:v>
                </c:pt>
                <c:pt idx="48567">
                  <c:v>19.197402556190077</c:v>
                </c:pt>
                <c:pt idx="48568">
                  <c:v>25.316742807061857</c:v>
                </c:pt>
                <c:pt idx="48569">
                  <c:v>29.433182486196173</c:v>
                </c:pt>
                <c:pt idx="48570">
                  <c:v>44.26922346050528</c:v>
                </c:pt>
                <c:pt idx="48571">
                  <c:v>34.197334593586447</c:v>
                </c:pt>
                <c:pt idx="48572">
                  <c:v>25.336634998534869</c:v>
                </c:pt>
                <c:pt idx="48573">
                  <c:v>26.299069478301046</c:v>
                </c:pt>
                <c:pt idx="48574">
                  <c:v>25.194125175070873</c:v>
                </c:pt>
                <c:pt idx="48575">
                  <c:v>18.454344999362025</c:v>
                </c:pt>
                <c:pt idx="48576">
                  <c:v>22.985343677305607</c:v>
                </c:pt>
                <c:pt idx="48577">
                  <c:v>23.991115837477686</c:v>
                </c:pt>
                <c:pt idx="48578">
                  <c:v>24.389569778764468</c:v>
                </c:pt>
                <c:pt idx="48579">
                  <c:v>54.530305695501688</c:v>
                </c:pt>
                <c:pt idx="48580">
                  <c:v>27.566577603169257</c:v>
                </c:pt>
                <c:pt idx="48581">
                  <c:v>44.038030514905664</c:v>
                </c:pt>
                <c:pt idx="48582">
                  <c:v>33.15874879712932</c:v>
                </c:pt>
                <c:pt idx="48583">
                  <c:v>31.513936883716763</c:v>
                </c:pt>
                <c:pt idx="48584">
                  <c:v>34.321466184203267</c:v>
                </c:pt>
                <c:pt idx="48585">
                  <c:v>26.109313494324294</c:v>
                </c:pt>
                <c:pt idx="48586">
                  <c:v>29.202789013663246</c:v>
                </c:pt>
                <c:pt idx="48587">
                  <c:v>28.060499825648428</c:v>
                </c:pt>
                <c:pt idx="48588">
                  <c:v>23.039990673505365</c:v>
                </c:pt>
                <c:pt idx="48589">
                  <c:v>41.648521284394377</c:v>
                </c:pt>
                <c:pt idx="48590">
                  <c:v>24.35267279164546</c:v>
                </c:pt>
                <c:pt idx="48591">
                  <c:v>30.286765752581957</c:v>
                </c:pt>
                <c:pt idx="48592">
                  <c:v>24.588924158048172</c:v>
                </c:pt>
                <c:pt idx="48593">
                  <c:v>62.747494365474694</c:v>
                </c:pt>
                <c:pt idx="48594">
                  <c:v>42.002937083736498</c:v>
                </c:pt>
                <c:pt idx="48595">
                  <c:v>20.857518110065875</c:v>
                </c:pt>
                <c:pt idx="48596">
                  <c:v>27.871937885967391</c:v>
                </c:pt>
                <c:pt idx="48597">
                  <c:v>32.049904703051681</c:v>
                </c:pt>
                <c:pt idx="48598">
                  <c:v>24.978771404372136</c:v>
                </c:pt>
                <c:pt idx="48599">
                  <c:v>20.16565353887141</c:v>
                </c:pt>
                <c:pt idx="48600">
                  <c:v>26.449568688102389</c:v>
                </c:pt>
                <c:pt idx="48601">
                  <c:v>33.000969695438336</c:v>
                </c:pt>
                <c:pt idx="48602">
                  <c:v>41.028530817215888</c:v>
                </c:pt>
                <c:pt idx="48603">
                  <c:v>41.689000936393001</c:v>
                </c:pt>
                <c:pt idx="48604">
                  <c:v>23.773150408606313</c:v>
                </c:pt>
                <c:pt idx="48605">
                  <c:v>28.415902458668388</c:v>
                </c:pt>
                <c:pt idx="48606">
                  <c:v>18.969534841087949</c:v>
                </c:pt>
                <c:pt idx="48607">
                  <c:v>28.241492974319208</c:v>
                </c:pt>
                <c:pt idx="48608">
                  <c:v>22.868056016336599</c:v>
                </c:pt>
                <c:pt idx="48609">
                  <c:v>43.00631173396873</c:v>
                </c:pt>
                <c:pt idx="48610">
                  <c:v>51.480252483668238</c:v>
                </c:pt>
                <c:pt idx="48611">
                  <c:v>44.053844180643182</c:v>
                </c:pt>
                <c:pt idx="48612">
                  <c:v>41.915701611292484</c:v>
                </c:pt>
                <c:pt idx="48613">
                  <c:v>24.690399050276511</c:v>
                </c:pt>
                <c:pt idx="48614">
                  <c:v>36.599059192534838</c:v>
                </c:pt>
                <c:pt idx="48615">
                  <c:v>29.031475131122257</c:v>
                </c:pt>
                <c:pt idx="48616">
                  <c:v>25.83687617322591</c:v>
                </c:pt>
                <c:pt idx="48617">
                  <c:v>27.45885613098562</c:v>
                </c:pt>
                <c:pt idx="48618">
                  <c:v>24.053747823509966</c:v>
                </c:pt>
                <c:pt idx="48619">
                  <c:v>22.290977921720447</c:v>
                </c:pt>
                <c:pt idx="48620">
                  <c:v>25.859542079079368</c:v>
                </c:pt>
                <c:pt idx="48621">
                  <c:v>28.64798045694635</c:v>
                </c:pt>
                <c:pt idx="48622">
                  <c:v>24.529384518613849</c:v>
                </c:pt>
                <c:pt idx="48623">
                  <c:v>21.953012886359751</c:v>
                </c:pt>
                <c:pt idx="48624">
                  <c:v>19.179473017957523</c:v>
                </c:pt>
                <c:pt idx="48625">
                  <c:v>44.38357290809499</c:v>
                </c:pt>
                <c:pt idx="48626">
                  <c:v>29.294923701188736</c:v>
                </c:pt>
                <c:pt idx="48627">
                  <c:v>44.111175624100397</c:v>
                </c:pt>
                <c:pt idx="48628">
                  <c:v>32.070035160638447</c:v>
                </c:pt>
                <c:pt idx="48629">
                  <c:v>31.208951146991023</c:v>
                </c:pt>
                <c:pt idx="48630">
                  <c:v>24.521359311631283</c:v>
                </c:pt>
                <c:pt idx="48631">
                  <c:v>45.843783214041196</c:v>
                </c:pt>
                <c:pt idx="48632">
                  <c:v>47.320704507957018</c:v>
                </c:pt>
                <c:pt idx="48633">
                  <c:v>25.653226944735511</c:v>
                </c:pt>
                <c:pt idx="48634">
                  <c:v>19.79599915261047</c:v>
                </c:pt>
                <c:pt idx="48635">
                  <c:v>28.637624590613974</c:v>
                </c:pt>
                <c:pt idx="48636">
                  <c:v>21.453502189935058</c:v>
                </c:pt>
                <c:pt idx="48637">
                  <c:v>31.412404466859023</c:v>
                </c:pt>
                <c:pt idx="48638">
                  <c:v>17.660361244303868</c:v>
                </c:pt>
                <c:pt idx="48639">
                  <c:v>30.802004809394774</c:v>
                </c:pt>
                <c:pt idx="48640">
                  <c:v>26.998663899535508</c:v>
                </c:pt>
                <c:pt idx="48641">
                  <c:v>24.754438647667008</c:v>
                </c:pt>
                <c:pt idx="48642">
                  <c:v>31.08229028174112</c:v>
                </c:pt>
                <c:pt idx="48643">
                  <c:v>26.22004373899469</c:v>
                </c:pt>
                <c:pt idx="48644">
                  <c:v>44.901453269997795</c:v>
                </c:pt>
                <c:pt idx="48645">
                  <c:v>22.831285544911985</c:v>
                </c:pt>
                <c:pt idx="48646">
                  <c:v>31.69384147900286</c:v>
                </c:pt>
                <c:pt idx="48647">
                  <c:v>33.271953262237147</c:v>
                </c:pt>
                <c:pt idx="48648">
                  <c:v>29.736102763353205</c:v>
                </c:pt>
                <c:pt idx="48649">
                  <c:v>18.98488521957832</c:v>
                </c:pt>
                <c:pt idx="48650">
                  <c:v>37.589945803832208</c:v>
                </c:pt>
                <c:pt idx="48651">
                  <c:v>37.497665467464209</c:v>
                </c:pt>
                <c:pt idx="48652">
                  <c:v>39.268522877078325</c:v>
                </c:pt>
                <c:pt idx="48653">
                  <c:v>33.693519206142795</c:v>
                </c:pt>
                <c:pt idx="48654">
                  <c:v>28.383169246917841</c:v>
                </c:pt>
                <c:pt idx="48655">
                  <c:v>20.095760867817781</c:v>
                </c:pt>
                <c:pt idx="48656">
                  <c:v>31.082909250293387</c:v>
                </c:pt>
                <c:pt idx="48657">
                  <c:v>55.809034144829596</c:v>
                </c:pt>
                <c:pt idx="48658">
                  <c:v>53.715739716278456</c:v>
                </c:pt>
                <c:pt idx="48659">
                  <c:v>27.258126592615429</c:v>
                </c:pt>
                <c:pt idx="48660">
                  <c:v>18.642054770822778</c:v>
                </c:pt>
                <c:pt idx="48661">
                  <c:v>40.135774783054792</c:v>
                </c:pt>
                <c:pt idx="48662">
                  <c:v>36.820137718785226</c:v>
                </c:pt>
                <c:pt idx="48663">
                  <c:v>26.253770856383476</c:v>
                </c:pt>
                <c:pt idx="48664">
                  <c:v>24.288935056842821</c:v>
                </c:pt>
                <c:pt idx="48665">
                  <c:v>51.437215877249251</c:v>
                </c:pt>
                <c:pt idx="48666">
                  <c:v>14.657514176111958</c:v>
                </c:pt>
                <c:pt idx="48667">
                  <c:v>21.312734890898419</c:v>
                </c:pt>
                <c:pt idx="48668">
                  <c:v>26.577035106949076</c:v>
                </c:pt>
                <c:pt idx="48669">
                  <c:v>42.734346093323673</c:v>
                </c:pt>
                <c:pt idx="48670">
                  <c:v>30.807732093945653</c:v>
                </c:pt>
                <c:pt idx="48671">
                  <c:v>30.702324303455338</c:v>
                </c:pt>
                <c:pt idx="48672">
                  <c:v>20.548050085040778</c:v>
                </c:pt>
                <c:pt idx="48673">
                  <c:v>48.620324062662327</c:v>
                </c:pt>
                <c:pt idx="48674">
                  <c:v>42.881793668829957</c:v>
                </c:pt>
                <c:pt idx="48675">
                  <c:v>62.766746500369123</c:v>
                </c:pt>
                <c:pt idx="48676">
                  <c:v>49.648757996691643</c:v>
                </c:pt>
                <c:pt idx="48677">
                  <c:v>21.975696151300891</c:v>
                </c:pt>
                <c:pt idx="48678">
                  <c:v>21.942005233912113</c:v>
                </c:pt>
                <c:pt idx="48679">
                  <c:v>32.412881765330617</c:v>
                </c:pt>
                <c:pt idx="48680">
                  <c:v>48.24969972037232</c:v>
                </c:pt>
                <c:pt idx="48681">
                  <c:v>35.872234385568007</c:v>
                </c:pt>
                <c:pt idx="48682">
                  <c:v>36.965290380767108</c:v>
                </c:pt>
                <c:pt idx="48683">
                  <c:v>43.107056785781054</c:v>
                </c:pt>
                <c:pt idx="48684">
                  <c:v>50.874238547091331</c:v>
                </c:pt>
                <c:pt idx="48685">
                  <c:v>30.359547501617463</c:v>
                </c:pt>
                <c:pt idx="48686">
                  <c:v>53.561870988726703</c:v>
                </c:pt>
                <c:pt idx="48687">
                  <c:v>24.237364573346003</c:v>
                </c:pt>
                <c:pt idx="48688">
                  <c:v>35.407479806434964</c:v>
                </c:pt>
                <c:pt idx="48689">
                  <c:v>25.690123605854406</c:v>
                </c:pt>
                <c:pt idx="48690">
                  <c:v>26.558946815675544</c:v>
                </c:pt>
                <c:pt idx="48691">
                  <c:v>50.008915666838639</c:v>
                </c:pt>
                <c:pt idx="48692">
                  <c:v>46.445276710199259</c:v>
                </c:pt>
                <c:pt idx="48693">
                  <c:v>25.211773965802553</c:v>
                </c:pt>
                <c:pt idx="48694">
                  <c:v>24.601022383135838</c:v>
                </c:pt>
                <c:pt idx="48695">
                  <c:v>34.597867467252676</c:v>
                </c:pt>
                <c:pt idx="48696">
                  <c:v>26.963232800793577</c:v>
                </c:pt>
                <c:pt idx="48697">
                  <c:v>28.648251404919776</c:v>
                </c:pt>
                <c:pt idx="48698">
                  <c:v>28.042811418357399</c:v>
                </c:pt>
                <c:pt idx="48699">
                  <c:v>24.366784585051786</c:v>
                </c:pt>
                <c:pt idx="48700">
                  <c:v>30.035104608131959</c:v>
                </c:pt>
                <c:pt idx="48701">
                  <c:v>22.100149319514024</c:v>
                </c:pt>
                <c:pt idx="48702">
                  <c:v>45.68005592073122</c:v>
                </c:pt>
                <c:pt idx="48703">
                  <c:v>19.410784468717129</c:v>
                </c:pt>
                <c:pt idx="48704">
                  <c:v>28.526339503314013</c:v>
                </c:pt>
                <c:pt idx="48705">
                  <c:v>33.27590957128276</c:v>
                </c:pt>
                <c:pt idx="48706">
                  <c:v>20.261268647485519</c:v>
                </c:pt>
                <c:pt idx="48707">
                  <c:v>32.915829674199841</c:v>
                </c:pt>
                <c:pt idx="48708">
                  <c:v>23.427762307605136</c:v>
                </c:pt>
                <c:pt idx="48709">
                  <c:v>46.687948280652208</c:v>
                </c:pt>
                <c:pt idx="48710">
                  <c:v>26.227320577408985</c:v>
                </c:pt>
                <c:pt idx="48711">
                  <c:v>53.235655200301274</c:v>
                </c:pt>
                <c:pt idx="48712">
                  <c:v>22.93152017279689</c:v>
                </c:pt>
                <c:pt idx="48713">
                  <c:v>20.088108845763966</c:v>
                </c:pt>
                <c:pt idx="48714">
                  <c:v>25.561345240045814</c:v>
                </c:pt>
                <c:pt idx="48715">
                  <c:v>31.292764566198038</c:v>
                </c:pt>
                <c:pt idx="48716">
                  <c:v>30.76087530357702</c:v>
                </c:pt>
                <c:pt idx="48717">
                  <c:v>42.208410249961261</c:v>
                </c:pt>
                <c:pt idx="48718">
                  <c:v>26.079949037517132</c:v>
                </c:pt>
                <c:pt idx="48719">
                  <c:v>30.135754535486676</c:v>
                </c:pt>
                <c:pt idx="48720">
                  <c:v>30.288677607514519</c:v>
                </c:pt>
                <c:pt idx="48721">
                  <c:v>28.691197139514447</c:v>
                </c:pt>
                <c:pt idx="48722">
                  <c:v>32.8589629596989</c:v>
                </c:pt>
                <c:pt idx="48723">
                  <c:v>40.386552233005609</c:v>
                </c:pt>
                <c:pt idx="48724">
                  <c:v>46.958343329675927</c:v>
                </c:pt>
                <c:pt idx="48725">
                  <c:v>29.000705722621813</c:v>
                </c:pt>
                <c:pt idx="48726">
                  <c:v>21.80323995519262</c:v>
                </c:pt>
                <c:pt idx="48727">
                  <c:v>30.460914243764609</c:v>
                </c:pt>
                <c:pt idx="48728">
                  <c:v>32.061366564084679</c:v>
                </c:pt>
                <c:pt idx="48729">
                  <c:v>23.00157259208855</c:v>
                </c:pt>
                <c:pt idx="48730">
                  <c:v>30.832197833090081</c:v>
                </c:pt>
                <c:pt idx="48731">
                  <c:v>24.913202187229068</c:v>
                </c:pt>
                <c:pt idx="48732">
                  <c:v>27.665358493974118</c:v>
                </c:pt>
                <c:pt idx="48733">
                  <c:v>33.172411041307775</c:v>
                </c:pt>
                <c:pt idx="48734">
                  <c:v>20.927230966389953</c:v>
                </c:pt>
                <c:pt idx="48735">
                  <c:v>49.244524545664632</c:v>
                </c:pt>
                <c:pt idx="48736">
                  <c:v>37.025516975588637</c:v>
                </c:pt>
                <c:pt idx="48737">
                  <c:v>21.328411314042206</c:v>
                </c:pt>
                <c:pt idx="48738">
                  <c:v>24.42792347240718</c:v>
                </c:pt>
                <c:pt idx="48739">
                  <c:v>32.302852493709111</c:v>
                </c:pt>
                <c:pt idx="48740">
                  <c:v>28.370707734109097</c:v>
                </c:pt>
                <c:pt idx="48741">
                  <c:v>48.043874710234768</c:v>
                </c:pt>
                <c:pt idx="48742">
                  <c:v>28.021719705480649</c:v>
                </c:pt>
                <c:pt idx="48743">
                  <c:v>33.614618136042679</c:v>
                </c:pt>
                <c:pt idx="48744">
                  <c:v>21.25065859458914</c:v>
                </c:pt>
                <c:pt idx="48745">
                  <c:v>28.352553920838695</c:v>
                </c:pt>
                <c:pt idx="48746">
                  <c:v>21.132088411211292</c:v>
                </c:pt>
                <c:pt idx="48747">
                  <c:v>50.450645712804985</c:v>
                </c:pt>
                <c:pt idx="48748">
                  <c:v>45.062760661666658</c:v>
                </c:pt>
                <c:pt idx="48749">
                  <c:v>24.84360326091852</c:v>
                </c:pt>
                <c:pt idx="48750">
                  <c:v>37.469030429825807</c:v>
                </c:pt>
                <c:pt idx="48751">
                  <c:v>32.874902634453242</c:v>
                </c:pt>
                <c:pt idx="48752">
                  <c:v>27.227479307240326</c:v>
                </c:pt>
                <c:pt idx="48753">
                  <c:v>22.432324583976943</c:v>
                </c:pt>
                <c:pt idx="48754">
                  <c:v>24.36757083183879</c:v>
                </c:pt>
                <c:pt idx="48755">
                  <c:v>30.119192446095209</c:v>
                </c:pt>
                <c:pt idx="48756">
                  <c:v>48.373899496750013</c:v>
                </c:pt>
                <c:pt idx="48757">
                  <c:v>25.577153845820835</c:v>
                </c:pt>
                <c:pt idx="48758">
                  <c:v>42.983523334212094</c:v>
                </c:pt>
                <c:pt idx="48759">
                  <c:v>27.572434664081975</c:v>
                </c:pt>
                <c:pt idx="48760">
                  <c:v>16.760135899920098</c:v>
                </c:pt>
                <c:pt idx="48761">
                  <c:v>40.504265445643469</c:v>
                </c:pt>
                <c:pt idx="48762">
                  <c:v>27.771737972316384</c:v>
                </c:pt>
                <c:pt idx="48763">
                  <c:v>29.422103959820795</c:v>
                </c:pt>
                <c:pt idx="48764">
                  <c:v>22.465315914261836</c:v>
                </c:pt>
                <c:pt idx="48765">
                  <c:v>54.052023820700612</c:v>
                </c:pt>
                <c:pt idx="48766">
                  <c:v>54.574784996439128</c:v>
                </c:pt>
                <c:pt idx="48767">
                  <c:v>28.123300294096143</c:v>
                </c:pt>
                <c:pt idx="48768">
                  <c:v>29.654185819407495</c:v>
                </c:pt>
                <c:pt idx="48769">
                  <c:v>27.155468491933895</c:v>
                </c:pt>
                <c:pt idx="48770">
                  <c:v>24.766296256009532</c:v>
                </c:pt>
                <c:pt idx="48771">
                  <c:v>28.267638905288869</c:v>
                </c:pt>
                <c:pt idx="48772">
                  <c:v>28.297060742069931</c:v>
                </c:pt>
                <c:pt idx="48773">
                  <c:v>36.353293782180529</c:v>
                </c:pt>
                <c:pt idx="48774">
                  <c:v>33.128899214627772</c:v>
                </c:pt>
                <c:pt idx="48775">
                  <c:v>30.143533799609305</c:v>
                </c:pt>
                <c:pt idx="48776">
                  <c:v>27.419587524347577</c:v>
                </c:pt>
                <c:pt idx="48777">
                  <c:v>24.986710089336018</c:v>
                </c:pt>
                <c:pt idx="48778">
                  <c:v>24.393265978474989</c:v>
                </c:pt>
                <c:pt idx="48779">
                  <c:v>24.930982555159808</c:v>
                </c:pt>
                <c:pt idx="48780">
                  <c:v>25.629983971495854</c:v>
                </c:pt>
                <c:pt idx="48781">
                  <c:v>25.173332607226772</c:v>
                </c:pt>
                <c:pt idx="48782">
                  <c:v>26.810775315391989</c:v>
                </c:pt>
                <c:pt idx="48783">
                  <c:v>17.500313908257411</c:v>
                </c:pt>
                <c:pt idx="48784">
                  <c:v>29.530652022101407</c:v>
                </c:pt>
                <c:pt idx="48785">
                  <c:v>24.260876555006785</c:v>
                </c:pt>
                <c:pt idx="48786">
                  <c:v>48.368973796783308</c:v>
                </c:pt>
                <c:pt idx="48787">
                  <c:v>24.274474104310642</c:v>
                </c:pt>
                <c:pt idx="48788">
                  <c:v>51.158087003059123</c:v>
                </c:pt>
                <c:pt idx="48789">
                  <c:v>31.847755256774906</c:v>
                </c:pt>
                <c:pt idx="48790">
                  <c:v>30.477553510796778</c:v>
                </c:pt>
                <c:pt idx="48791">
                  <c:v>27.31381765562487</c:v>
                </c:pt>
                <c:pt idx="48792">
                  <c:v>24.254801861609963</c:v>
                </c:pt>
                <c:pt idx="48793">
                  <c:v>32.337322119582254</c:v>
                </c:pt>
                <c:pt idx="48794">
                  <c:v>25.199569122547999</c:v>
                </c:pt>
                <c:pt idx="48795">
                  <c:v>42.368021279963145</c:v>
                </c:pt>
                <c:pt idx="48796">
                  <c:v>27.370593287536636</c:v>
                </c:pt>
                <c:pt idx="48797">
                  <c:v>46.984231728413299</c:v>
                </c:pt>
                <c:pt idx="48798">
                  <c:v>33.999563701644135</c:v>
                </c:pt>
                <c:pt idx="48799">
                  <c:v>42.143286483727522</c:v>
                </c:pt>
                <c:pt idx="48800">
                  <c:v>20.368566262115699</c:v>
                </c:pt>
                <c:pt idx="48801">
                  <c:v>32.227895514954831</c:v>
                </c:pt>
                <c:pt idx="48802">
                  <c:v>32.312849390862979</c:v>
                </c:pt>
                <c:pt idx="48803">
                  <c:v>32.985677760885743</c:v>
                </c:pt>
                <c:pt idx="48804">
                  <c:v>28.151999776561716</c:v>
                </c:pt>
                <c:pt idx="48805">
                  <c:v>27.911769314100098</c:v>
                </c:pt>
                <c:pt idx="48806">
                  <c:v>28.810681456843028</c:v>
                </c:pt>
                <c:pt idx="48807">
                  <c:v>21.96124809823602</c:v>
                </c:pt>
                <c:pt idx="48808">
                  <c:v>25.89050632736296</c:v>
                </c:pt>
                <c:pt idx="48809">
                  <c:v>21.68478838304404</c:v>
                </c:pt>
                <c:pt idx="48810">
                  <c:v>21.971101833251588</c:v>
                </c:pt>
                <c:pt idx="48811">
                  <c:v>35.218106520630087</c:v>
                </c:pt>
                <c:pt idx="48812">
                  <c:v>22.27556152018753</c:v>
                </c:pt>
                <c:pt idx="48813">
                  <c:v>39.406453545035916</c:v>
                </c:pt>
                <c:pt idx="48814">
                  <c:v>30.496561742293256</c:v>
                </c:pt>
                <c:pt idx="48815">
                  <c:v>29.13621796646051</c:v>
                </c:pt>
                <c:pt idx="48816">
                  <c:v>28.282487939490295</c:v>
                </c:pt>
                <c:pt idx="48817">
                  <c:v>22.684823069136851</c:v>
                </c:pt>
                <c:pt idx="48818">
                  <c:v>22.20522602103167</c:v>
                </c:pt>
                <c:pt idx="48819">
                  <c:v>22.645502217783815</c:v>
                </c:pt>
                <c:pt idx="48820">
                  <c:v>27.575689090087341</c:v>
                </c:pt>
                <c:pt idx="48821">
                  <c:v>34.75320412073691</c:v>
                </c:pt>
                <c:pt idx="48822">
                  <c:v>27.462966563733389</c:v>
                </c:pt>
                <c:pt idx="48823">
                  <c:v>49.555609419810423</c:v>
                </c:pt>
                <c:pt idx="48824">
                  <c:v>24.003740833628555</c:v>
                </c:pt>
                <c:pt idx="48825">
                  <c:v>25.561436342253916</c:v>
                </c:pt>
                <c:pt idx="48826">
                  <c:v>34.700100227730154</c:v>
                </c:pt>
                <c:pt idx="48827">
                  <c:v>18.698024755402692</c:v>
                </c:pt>
                <c:pt idx="48828">
                  <c:v>32.958555253159282</c:v>
                </c:pt>
                <c:pt idx="48829">
                  <c:v>26.195579548382103</c:v>
                </c:pt>
                <c:pt idx="48830">
                  <c:v>27.580141427996701</c:v>
                </c:pt>
                <c:pt idx="48831">
                  <c:v>19.209871354930726</c:v>
                </c:pt>
                <c:pt idx="48832">
                  <c:v>51.218230073768162</c:v>
                </c:pt>
                <c:pt idx="48833">
                  <c:v>37.395261724798232</c:v>
                </c:pt>
                <c:pt idx="48834">
                  <c:v>22.603095710585904</c:v>
                </c:pt>
                <c:pt idx="48835">
                  <c:v>22.705716586404836</c:v>
                </c:pt>
                <c:pt idx="48836">
                  <c:v>27.46975067225258</c:v>
                </c:pt>
                <c:pt idx="48837">
                  <c:v>44.696567511904583</c:v>
                </c:pt>
                <c:pt idx="48838">
                  <c:v>26.993131035391489</c:v>
                </c:pt>
                <c:pt idx="48839">
                  <c:v>21.654322992379601</c:v>
                </c:pt>
                <c:pt idx="48840">
                  <c:v>25.688224514840311</c:v>
                </c:pt>
                <c:pt idx="48841">
                  <c:v>23.128458876600916</c:v>
                </c:pt>
                <c:pt idx="48842">
                  <c:v>30.095043930641459</c:v>
                </c:pt>
                <c:pt idx="48843">
                  <c:v>36.774810084088223</c:v>
                </c:pt>
                <c:pt idx="48844">
                  <c:v>33.453375024093631</c:v>
                </c:pt>
                <c:pt idx="48845">
                  <c:v>28.847109626436534</c:v>
                </c:pt>
                <c:pt idx="48846">
                  <c:v>58.708340036619127</c:v>
                </c:pt>
                <c:pt idx="48847">
                  <c:v>31.075206073462653</c:v>
                </c:pt>
                <c:pt idx="48848">
                  <c:v>32.926098998399446</c:v>
                </c:pt>
                <c:pt idx="48849">
                  <c:v>46.268061510142118</c:v>
                </c:pt>
                <c:pt idx="48850">
                  <c:v>38.933667606854016</c:v>
                </c:pt>
                <c:pt idx="48851">
                  <c:v>22.259411701756967</c:v>
                </c:pt>
                <c:pt idx="48852">
                  <c:v>29.162355881866795</c:v>
                </c:pt>
                <c:pt idx="48853">
                  <c:v>23.216916437333943</c:v>
                </c:pt>
                <c:pt idx="48854">
                  <c:v>24.099996669311896</c:v>
                </c:pt>
                <c:pt idx="48855">
                  <c:v>28.363372849149922</c:v>
                </c:pt>
                <c:pt idx="48856">
                  <c:v>25.380423850951971</c:v>
                </c:pt>
                <c:pt idx="48857">
                  <c:v>52.025331270400066</c:v>
                </c:pt>
                <c:pt idx="48858">
                  <c:v>48.215496769041899</c:v>
                </c:pt>
                <c:pt idx="48859">
                  <c:v>31.712910771291583</c:v>
                </c:pt>
                <c:pt idx="48860">
                  <c:v>21.675602919129553</c:v>
                </c:pt>
                <c:pt idx="48861">
                  <c:v>26.61622356061336</c:v>
                </c:pt>
                <c:pt idx="48862">
                  <c:v>30.380797850761812</c:v>
                </c:pt>
                <c:pt idx="48863">
                  <c:v>24.913777279442396</c:v>
                </c:pt>
                <c:pt idx="48864">
                  <c:v>33.768413443579114</c:v>
                </c:pt>
                <c:pt idx="48865">
                  <c:v>46.622209319556575</c:v>
                </c:pt>
                <c:pt idx="48866">
                  <c:v>27.32753034127235</c:v>
                </c:pt>
                <c:pt idx="48867">
                  <c:v>26.478709568812583</c:v>
                </c:pt>
                <c:pt idx="48868">
                  <c:v>22.876442512866216</c:v>
                </c:pt>
                <c:pt idx="48869">
                  <c:v>34.691088882792236</c:v>
                </c:pt>
                <c:pt idx="48870">
                  <c:v>34.537107492116554</c:v>
                </c:pt>
                <c:pt idx="48871">
                  <c:v>55.221394802589529</c:v>
                </c:pt>
                <c:pt idx="48872">
                  <c:v>21.88831460094508</c:v>
                </c:pt>
                <c:pt idx="48873">
                  <c:v>27.692283291516251</c:v>
                </c:pt>
                <c:pt idx="48874">
                  <c:v>31.530443636246705</c:v>
                </c:pt>
                <c:pt idx="48875">
                  <c:v>29.171555700726103</c:v>
                </c:pt>
                <c:pt idx="48876">
                  <c:v>29.208620108090781</c:v>
                </c:pt>
                <c:pt idx="48877">
                  <c:v>22.689157378323021</c:v>
                </c:pt>
                <c:pt idx="48878">
                  <c:v>40.89987993192365</c:v>
                </c:pt>
                <c:pt idx="48879">
                  <c:v>26.114274093051343</c:v>
                </c:pt>
                <c:pt idx="48880">
                  <c:v>49.22098102148481</c:v>
                </c:pt>
                <c:pt idx="48881">
                  <c:v>35.674170290191469</c:v>
                </c:pt>
                <c:pt idx="48882">
                  <c:v>31.043529417632964</c:v>
                </c:pt>
                <c:pt idx="48883">
                  <c:v>29.599707248137779</c:v>
                </c:pt>
                <c:pt idx="48884">
                  <c:v>19.514277567990959</c:v>
                </c:pt>
                <c:pt idx="48885">
                  <c:v>28.249336916204104</c:v>
                </c:pt>
                <c:pt idx="48886">
                  <c:v>37.175580189218358</c:v>
                </c:pt>
                <c:pt idx="48887">
                  <c:v>32.657096049526977</c:v>
                </c:pt>
                <c:pt idx="48888">
                  <c:v>44.395863972769376</c:v>
                </c:pt>
                <c:pt idx="48889">
                  <c:v>24.150095929439185</c:v>
                </c:pt>
                <c:pt idx="48890">
                  <c:v>30.355048635073498</c:v>
                </c:pt>
                <c:pt idx="48891">
                  <c:v>27.023269232185896</c:v>
                </c:pt>
                <c:pt idx="48892">
                  <c:v>26.202174469727026</c:v>
                </c:pt>
                <c:pt idx="48893">
                  <c:v>23.733104730635841</c:v>
                </c:pt>
                <c:pt idx="48894">
                  <c:v>24.485832108265029</c:v>
                </c:pt>
                <c:pt idx="48895">
                  <c:v>42.384762555557828</c:v>
                </c:pt>
                <c:pt idx="48896">
                  <c:v>23.229403045381471</c:v>
                </c:pt>
                <c:pt idx="48897">
                  <c:v>25.558580003247407</c:v>
                </c:pt>
                <c:pt idx="48898">
                  <c:v>26.964449814147095</c:v>
                </c:pt>
                <c:pt idx="48899">
                  <c:v>45.038870120250046</c:v>
                </c:pt>
                <c:pt idx="48900">
                  <c:v>36.608491694865236</c:v>
                </c:pt>
                <c:pt idx="48901">
                  <c:v>22.671859384047018</c:v>
                </c:pt>
                <c:pt idx="48902">
                  <c:v>38.580018435077221</c:v>
                </c:pt>
                <c:pt idx="48903">
                  <c:v>20.531835553290289</c:v>
                </c:pt>
                <c:pt idx="48904">
                  <c:v>48.302899378666368</c:v>
                </c:pt>
                <c:pt idx="48905">
                  <c:v>32.810759331913083</c:v>
                </c:pt>
                <c:pt idx="48906">
                  <c:v>43.715270398479412</c:v>
                </c:pt>
                <c:pt idx="48907">
                  <c:v>28.521745627516385</c:v>
                </c:pt>
                <c:pt idx="48908">
                  <c:v>49.255954699123265</c:v>
                </c:pt>
                <c:pt idx="48909">
                  <c:v>32.688312290044422</c:v>
                </c:pt>
                <c:pt idx="48910">
                  <c:v>23.301760588314156</c:v>
                </c:pt>
                <c:pt idx="48911">
                  <c:v>23.432997487276719</c:v>
                </c:pt>
                <c:pt idx="48912">
                  <c:v>39.692650335782162</c:v>
                </c:pt>
                <c:pt idx="48913">
                  <c:v>37.66980481577356</c:v>
                </c:pt>
                <c:pt idx="48914">
                  <c:v>39.841069024547672</c:v>
                </c:pt>
                <c:pt idx="48915">
                  <c:v>22.542595920067129</c:v>
                </c:pt>
                <c:pt idx="48916">
                  <c:v>39.137241861208373</c:v>
                </c:pt>
                <c:pt idx="48917">
                  <c:v>19.814048713288688</c:v>
                </c:pt>
                <c:pt idx="48918">
                  <c:v>22.016762923245434</c:v>
                </c:pt>
                <c:pt idx="48919">
                  <c:v>33.349639803215553</c:v>
                </c:pt>
                <c:pt idx="48920">
                  <c:v>49.820607373592203</c:v>
                </c:pt>
                <c:pt idx="48921">
                  <c:v>48.664228340972478</c:v>
                </c:pt>
                <c:pt idx="48922">
                  <c:v>26.136031649503078</c:v>
                </c:pt>
                <c:pt idx="48923">
                  <c:v>26.91930720302134</c:v>
                </c:pt>
                <c:pt idx="48924">
                  <c:v>31.897826253693907</c:v>
                </c:pt>
                <c:pt idx="48925">
                  <c:v>22.558372002074197</c:v>
                </c:pt>
                <c:pt idx="48926">
                  <c:v>50.187946672565943</c:v>
                </c:pt>
                <c:pt idx="48927">
                  <c:v>35.096862993614081</c:v>
                </c:pt>
                <c:pt idx="48928">
                  <c:v>27.717529976979783</c:v>
                </c:pt>
                <c:pt idx="48929">
                  <c:v>48.753059497316436</c:v>
                </c:pt>
                <c:pt idx="48930">
                  <c:v>26.560938773462322</c:v>
                </c:pt>
                <c:pt idx="48931">
                  <c:v>39.600051871206929</c:v>
                </c:pt>
                <c:pt idx="48932">
                  <c:v>33.768500021442335</c:v>
                </c:pt>
                <c:pt idx="48933">
                  <c:v>42.664754799471829</c:v>
                </c:pt>
                <c:pt idx="48934">
                  <c:v>23.46730845053122</c:v>
                </c:pt>
                <c:pt idx="48935">
                  <c:v>55.29895823472593</c:v>
                </c:pt>
                <c:pt idx="48936">
                  <c:v>47.211817372074762</c:v>
                </c:pt>
                <c:pt idx="48937">
                  <c:v>50.263379767472031</c:v>
                </c:pt>
                <c:pt idx="48938">
                  <c:v>43.668277903039026</c:v>
                </c:pt>
                <c:pt idx="48939">
                  <c:v>19.948816106757313</c:v>
                </c:pt>
                <c:pt idx="48940">
                  <c:v>40.352700467683505</c:v>
                </c:pt>
                <c:pt idx="48941">
                  <c:v>24.163506053508314</c:v>
                </c:pt>
                <c:pt idx="48942">
                  <c:v>27.45208724255664</c:v>
                </c:pt>
                <c:pt idx="48943">
                  <c:v>32.722730259460306</c:v>
                </c:pt>
                <c:pt idx="48944">
                  <c:v>28.344017444165694</c:v>
                </c:pt>
                <c:pt idx="48945">
                  <c:v>48.532456941466862</c:v>
                </c:pt>
                <c:pt idx="48946">
                  <c:v>20.327419021262298</c:v>
                </c:pt>
                <c:pt idx="48947">
                  <c:v>22.896649989561006</c:v>
                </c:pt>
                <c:pt idx="48948">
                  <c:v>29.297921113701456</c:v>
                </c:pt>
                <c:pt idx="48949">
                  <c:v>35.056332272265863</c:v>
                </c:pt>
                <c:pt idx="48950">
                  <c:v>25.621077229928698</c:v>
                </c:pt>
                <c:pt idx="48951">
                  <c:v>21.53894915287685</c:v>
                </c:pt>
                <c:pt idx="48952">
                  <c:v>30.885628175194192</c:v>
                </c:pt>
                <c:pt idx="48953">
                  <c:v>23.254964930047361</c:v>
                </c:pt>
                <c:pt idx="48954">
                  <c:v>31.092746525112496</c:v>
                </c:pt>
                <c:pt idx="48955">
                  <c:v>37.346232595693124</c:v>
                </c:pt>
                <c:pt idx="48956">
                  <c:v>50.521682626990462</c:v>
                </c:pt>
                <c:pt idx="48957">
                  <c:v>48.851769704780004</c:v>
                </c:pt>
                <c:pt idx="48958">
                  <c:v>31.51052825425916</c:v>
                </c:pt>
                <c:pt idx="48959">
                  <c:v>54.723810365104192</c:v>
                </c:pt>
                <c:pt idx="48960">
                  <c:v>26.284485109705734</c:v>
                </c:pt>
                <c:pt idx="48961">
                  <c:v>18.827149094583863</c:v>
                </c:pt>
                <c:pt idx="48962">
                  <c:v>24.839945440706305</c:v>
                </c:pt>
                <c:pt idx="48963">
                  <c:v>33.182833377676353</c:v>
                </c:pt>
                <c:pt idx="48964">
                  <c:v>20.769945967151777</c:v>
                </c:pt>
                <c:pt idx="48965">
                  <c:v>24.789746515526108</c:v>
                </c:pt>
                <c:pt idx="48966">
                  <c:v>30.697122527704735</c:v>
                </c:pt>
                <c:pt idx="48967">
                  <c:v>38.524829850013859</c:v>
                </c:pt>
                <c:pt idx="48968">
                  <c:v>26.75871497173782</c:v>
                </c:pt>
                <c:pt idx="48969">
                  <c:v>30.289309860525492</c:v>
                </c:pt>
                <c:pt idx="48970">
                  <c:v>49.309874843541252</c:v>
                </c:pt>
                <c:pt idx="48971">
                  <c:v>40.225526508664224</c:v>
                </c:pt>
                <c:pt idx="48972">
                  <c:v>34.300149411278625</c:v>
                </c:pt>
                <c:pt idx="48973">
                  <c:v>32.759010124797761</c:v>
                </c:pt>
                <c:pt idx="48974">
                  <c:v>39.405029403125411</c:v>
                </c:pt>
                <c:pt idx="48975">
                  <c:v>40.895817378808061</c:v>
                </c:pt>
                <c:pt idx="48976">
                  <c:v>29.621769091540671</c:v>
                </c:pt>
                <c:pt idx="48977">
                  <c:v>31.279911101856388</c:v>
                </c:pt>
                <c:pt idx="48978">
                  <c:v>29.462306647136071</c:v>
                </c:pt>
                <c:pt idx="48979">
                  <c:v>25.060734785811821</c:v>
                </c:pt>
                <c:pt idx="48980">
                  <c:v>33.86878467328539</c:v>
                </c:pt>
                <c:pt idx="48981">
                  <c:v>26.238427163206957</c:v>
                </c:pt>
                <c:pt idx="48982">
                  <c:v>27.154253826131953</c:v>
                </c:pt>
                <c:pt idx="48983">
                  <c:v>37.444057092403668</c:v>
                </c:pt>
                <c:pt idx="48984">
                  <c:v>24.499831899388433</c:v>
                </c:pt>
                <c:pt idx="48985">
                  <c:v>27.685452233803545</c:v>
                </c:pt>
                <c:pt idx="48986">
                  <c:v>28.69856196121173</c:v>
                </c:pt>
                <c:pt idx="48987">
                  <c:v>23.751001707654545</c:v>
                </c:pt>
                <c:pt idx="48988">
                  <c:v>33.02136776647648</c:v>
                </c:pt>
                <c:pt idx="48989">
                  <c:v>32.136785953456844</c:v>
                </c:pt>
                <c:pt idx="48990">
                  <c:v>31.431990987095134</c:v>
                </c:pt>
                <c:pt idx="48991">
                  <c:v>34.832480442732518</c:v>
                </c:pt>
                <c:pt idx="48992">
                  <c:v>51.404603356423124</c:v>
                </c:pt>
                <c:pt idx="48993">
                  <c:v>24.565603331470847</c:v>
                </c:pt>
                <c:pt idx="48994">
                  <c:v>35.248038542581298</c:v>
                </c:pt>
                <c:pt idx="48995">
                  <c:v>21.467984000455388</c:v>
                </c:pt>
                <c:pt idx="48996">
                  <c:v>38.569575263872956</c:v>
                </c:pt>
                <c:pt idx="48997">
                  <c:v>22.79694133021432</c:v>
                </c:pt>
                <c:pt idx="48998">
                  <c:v>18.161493849523207</c:v>
                </c:pt>
                <c:pt idx="48999">
                  <c:v>29.030733170112413</c:v>
                </c:pt>
                <c:pt idx="49000">
                  <c:v>24.547952736346847</c:v>
                </c:pt>
                <c:pt idx="49001">
                  <c:v>28.552343232844301</c:v>
                </c:pt>
                <c:pt idx="49002">
                  <c:v>35.756686569932583</c:v>
                </c:pt>
                <c:pt idx="49003">
                  <c:v>23.431544011219898</c:v>
                </c:pt>
                <c:pt idx="49004">
                  <c:v>29.844953288269803</c:v>
                </c:pt>
                <c:pt idx="49005">
                  <c:v>26.733978015106423</c:v>
                </c:pt>
                <c:pt idx="49006">
                  <c:v>33.005510070339589</c:v>
                </c:pt>
                <c:pt idx="49007">
                  <c:v>25.010289753230207</c:v>
                </c:pt>
                <c:pt idx="49008">
                  <c:v>16.719496196695232</c:v>
                </c:pt>
                <c:pt idx="49009">
                  <c:v>20.459004591182243</c:v>
                </c:pt>
                <c:pt idx="49010">
                  <c:v>23.999238923472028</c:v>
                </c:pt>
                <c:pt idx="49011">
                  <c:v>24.781970301216084</c:v>
                </c:pt>
                <c:pt idx="49012">
                  <c:v>27.689325300259746</c:v>
                </c:pt>
                <c:pt idx="49013">
                  <c:v>27.712688911204317</c:v>
                </c:pt>
                <c:pt idx="49014">
                  <c:v>26.789011557019361</c:v>
                </c:pt>
                <c:pt idx="49015">
                  <c:v>45.727299279852545</c:v>
                </c:pt>
                <c:pt idx="49016">
                  <c:v>28.167940464339022</c:v>
                </c:pt>
                <c:pt idx="49017">
                  <c:v>23.119816459713572</c:v>
                </c:pt>
                <c:pt idx="49018">
                  <c:v>38.208433917600118</c:v>
                </c:pt>
                <c:pt idx="49019">
                  <c:v>24.13701906868863</c:v>
                </c:pt>
                <c:pt idx="49020">
                  <c:v>33.94330039616429</c:v>
                </c:pt>
                <c:pt idx="49021">
                  <c:v>23.039028586962939</c:v>
                </c:pt>
                <c:pt idx="49022">
                  <c:v>31.087905975514076</c:v>
                </c:pt>
                <c:pt idx="49023">
                  <c:v>27.479125831887369</c:v>
                </c:pt>
                <c:pt idx="49024">
                  <c:v>46.081626892920717</c:v>
                </c:pt>
                <c:pt idx="49025">
                  <c:v>29.187302435783387</c:v>
                </c:pt>
                <c:pt idx="49026">
                  <c:v>24.83534188054319</c:v>
                </c:pt>
                <c:pt idx="49027">
                  <c:v>53.769648046347513</c:v>
                </c:pt>
                <c:pt idx="49028">
                  <c:v>31.451899156941611</c:v>
                </c:pt>
                <c:pt idx="49029">
                  <c:v>29.855379171011297</c:v>
                </c:pt>
                <c:pt idx="49030">
                  <c:v>28.270577509886483</c:v>
                </c:pt>
                <c:pt idx="49031">
                  <c:v>25.877782654582742</c:v>
                </c:pt>
                <c:pt idx="49032">
                  <c:v>19.520085221276041</c:v>
                </c:pt>
                <c:pt idx="49033">
                  <c:v>26.098907300237283</c:v>
                </c:pt>
                <c:pt idx="49034">
                  <c:v>23.983441431576068</c:v>
                </c:pt>
                <c:pt idx="49035">
                  <c:v>34.085320790024994</c:v>
                </c:pt>
                <c:pt idx="49036">
                  <c:v>56.147678669713336</c:v>
                </c:pt>
                <c:pt idx="49037">
                  <c:v>30.067626540633071</c:v>
                </c:pt>
                <c:pt idx="49038">
                  <c:v>31.724469386176317</c:v>
                </c:pt>
                <c:pt idx="49039">
                  <c:v>38.26251757538391</c:v>
                </c:pt>
                <c:pt idx="49040">
                  <c:v>25.395658774995084</c:v>
                </c:pt>
                <c:pt idx="49041">
                  <c:v>23.063805544852251</c:v>
                </c:pt>
                <c:pt idx="49042">
                  <c:v>29.605696730564532</c:v>
                </c:pt>
                <c:pt idx="49043">
                  <c:v>30.691917674473689</c:v>
                </c:pt>
                <c:pt idx="49044">
                  <c:v>33.283434417315554</c:v>
                </c:pt>
                <c:pt idx="49045">
                  <c:v>50.631598709365498</c:v>
                </c:pt>
                <c:pt idx="49046">
                  <c:v>38.423317470345943</c:v>
                </c:pt>
                <c:pt idx="49047">
                  <c:v>21.757709106528651</c:v>
                </c:pt>
                <c:pt idx="49048">
                  <c:v>26.181213572387882</c:v>
                </c:pt>
                <c:pt idx="49049">
                  <c:v>51.104489995936639</c:v>
                </c:pt>
                <c:pt idx="49050">
                  <c:v>32.32884690614447</c:v>
                </c:pt>
                <c:pt idx="49051">
                  <c:v>44.235881108270242</c:v>
                </c:pt>
                <c:pt idx="49052">
                  <c:v>34.818466228239757</c:v>
                </c:pt>
                <c:pt idx="49053">
                  <c:v>23.150468303312884</c:v>
                </c:pt>
                <c:pt idx="49054">
                  <c:v>23.931105855897719</c:v>
                </c:pt>
                <c:pt idx="49055">
                  <c:v>24.306355903365915</c:v>
                </c:pt>
                <c:pt idx="49056">
                  <c:v>15.117757934747495</c:v>
                </c:pt>
                <c:pt idx="49057">
                  <c:v>39.727087092752562</c:v>
                </c:pt>
                <c:pt idx="49058">
                  <c:v>35.21941264121196</c:v>
                </c:pt>
                <c:pt idx="49059">
                  <c:v>39.441177776385523</c:v>
                </c:pt>
                <c:pt idx="49060">
                  <c:v>23.054619856431483</c:v>
                </c:pt>
                <c:pt idx="49061">
                  <c:v>30.148436716807975</c:v>
                </c:pt>
                <c:pt idx="49062">
                  <c:v>46.392829249838861</c:v>
                </c:pt>
                <c:pt idx="49063">
                  <c:v>17.683690007538946</c:v>
                </c:pt>
                <c:pt idx="49064">
                  <c:v>33.763567258806717</c:v>
                </c:pt>
                <c:pt idx="49065">
                  <c:v>29.323518307366797</c:v>
                </c:pt>
                <c:pt idx="49066">
                  <c:v>29.933044367734219</c:v>
                </c:pt>
                <c:pt idx="49067">
                  <c:v>43.98314375573446</c:v>
                </c:pt>
                <c:pt idx="49068">
                  <c:v>24.704815497951905</c:v>
                </c:pt>
                <c:pt idx="49069">
                  <c:v>30.665165072125959</c:v>
                </c:pt>
                <c:pt idx="49070">
                  <c:v>24.286666856574584</c:v>
                </c:pt>
                <c:pt idx="49071">
                  <c:v>29.680819580815925</c:v>
                </c:pt>
                <c:pt idx="49072">
                  <c:v>22.66956563542373</c:v>
                </c:pt>
                <c:pt idx="49073">
                  <c:v>28.577078686668756</c:v>
                </c:pt>
                <c:pt idx="49074">
                  <c:v>27.327586198350158</c:v>
                </c:pt>
                <c:pt idx="49075">
                  <c:v>26.743828559386415</c:v>
                </c:pt>
                <c:pt idx="49076">
                  <c:v>29.454686207054678</c:v>
                </c:pt>
                <c:pt idx="49077">
                  <c:v>27.890454047836712</c:v>
                </c:pt>
                <c:pt idx="49078">
                  <c:v>21.593953305091343</c:v>
                </c:pt>
                <c:pt idx="49079">
                  <c:v>28.363013564764955</c:v>
                </c:pt>
                <c:pt idx="49080">
                  <c:v>29.697879868635091</c:v>
                </c:pt>
                <c:pt idx="49081">
                  <c:v>22.172187264097602</c:v>
                </c:pt>
                <c:pt idx="49082">
                  <c:v>19.688613850244383</c:v>
                </c:pt>
                <c:pt idx="49083">
                  <c:v>26.929950457619313</c:v>
                </c:pt>
                <c:pt idx="49084">
                  <c:v>42.335708598775831</c:v>
                </c:pt>
                <c:pt idx="49085">
                  <c:v>34.10598478117732</c:v>
                </c:pt>
                <c:pt idx="49086">
                  <c:v>25.255689552654829</c:v>
                </c:pt>
                <c:pt idx="49087">
                  <c:v>25.627586650631766</c:v>
                </c:pt>
                <c:pt idx="49088">
                  <c:v>29.146476471636927</c:v>
                </c:pt>
                <c:pt idx="49089">
                  <c:v>28.45877479516647</c:v>
                </c:pt>
                <c:pt idx="49090">
                  <c:v>23.356821164476955</c:v>
                </c:pt>
                <c:pt idx="49091">
                  <c:v>23.123092905410729</c:v>
                </c:pt>
                <c:pt idx="49092">
                  <c:v>41.680171122508646</c:v>
                </c:pt>
                <c:pt idx="49093">
                  <c:v>18.347322705828581</c:v>
                </c:pt>
                <c:pt idx="49094">
                  <c:v>26.187762751064064</c:v>
                </c:pt>
                <c:pt idx="49095">
                  <c:v>44.238877533629825</c:v>
                </c:pt>
                <c:pt idx="49096">
                  <c:v>39.153536316209241</c:v>
                </c:pt>
                <c:pt idx="49097">
                  <c:v>32.259295490352692</c:v>
                </c:pt>
                <c:pt idx="49098">
                  <c:v>20.970691861924955</c:v>
                </c:pt>
                <c:pt idx="49099">
                  <c:v>24.244814884496748</c:v>
                </c:pt>
                <c:pt idx="49100">
                  <c:v>22.133157641348419</c:v>
                </c:pt>
                <c:pt idx="49101">
                  <c:v>24.882921252449492</c:v>
                </c:pt>
                <c:pt idx="49102">
                  <c:v>32.708068163015881</c:v>
                </c:pt>
                <c:pt idx="49103">
                  <c:v>23.719588311029348</c:v>
                </c:pt>
                <c:pt idx="49104">
                  <c:v>51.458955149255424</c:v>
                </c:pt>
                <c:pt idx="49105">
                  <c:v>23.660381256609618</c:v>
                </c:pt>
                <c:pt idx="49106">
                  <c:v>30.770281284714734</c:v>
                </c:pt>
                <c:pt idx="49107">
                  <c:v>22.778917091248971</c:v>
                </c:pt>
                <c:pt idx="49108">
                  <c:v>31.163294264475798</c:v>
                </c:pt>
                <c:pt idx="49109">
                  <c:v>25.76055003495491</c:v>
                </c:pt>
                <c:pt idx="49110">
                  <c:v>23.428652859898314</c:v>
                </c:pt>
                <c:pt idx="49111">
                  <c:v>22.113027629166229</c:v>
                </c:pt>
                <c:pt idx="49112">
                  <c:v>27.359784298563088</c:v>
                </c:pt>
                <c:pt idx="49113">
                  <c:v>31.630188755587451</c:v>
                </c:pt>
                <c:pt idx="49114">
                  <c:v>22.975783381845009</c:v>
                </c:pt>
                <c:pt idx="49115">
                  <c:v>28.384059545274273</c:v>
                </c:pt>
                <c:pt idx="49116">
                  <c:v>31.440578004058128</c:v>
                </c:pt>
                <c:pt idx="49117">
                  <c:v>33.361232463809429</c:v>
                </c:pt>
                <c:pt idx="49118">
                  <c:v>31.826970019868813</c:v>
                </c:pt>
                <c:pt idx="49119">
                  <c:v>31.025020571531741</c:v>
                </c:pt>
                <c:pt idx="49120">
                  <c:v>31.275960714545313</c:v>
                </c:pt>
                <c:pt idx="49121">
                  <c:v>25.453529022623052</c:v>
                </c:pt>
                <c:pt idx="49122">
                  <c:v>29.181615725677513</c:v>
                </c:pt>
                <c:pt idx="49123">
                  <c:v>27.344190357550868</c:v>
                </c:pt>
                <c:pt idx="49124">
                  <c:v>23.447626696056833</c:v>
                </c:pt>
                <c:pt idx="49125">
                  <c:v>38.204826251403901</c:v>
                </c:pt>
                <c:pt idx="49126">
                  <c:v>30.879508865271859</c:v>
                </c:pt>
                <c:pt idx="49127">
                  <c:v>25.790894504859452</c:v>
                </c:pt>
                <c:pt idx="49128">
                  <c:v>22.56067009014761</c:v>
                </c:pt>
                <c:pt idx="49129">
                  <c:v>22.322526365920027</c:v>
                </c:pt>
                <c:pt idx="49130">
                  <c:v>37.681279481405795</c:v>
                </c:pt>
                <c:pt idx="49131">
                  <c:v>49.726635077591062</c:v>
                </c:pt>
                <c:pt idx="49132">
                  <c:v>21.777886773537624</c:v>
                </c:pt>
                <c:pt idx="49133">
                  <c:v>22.551956069642582</c:v>
                </c:pt>
                <c:pt idx="49134">
                  <c:v>20.077383535222122</c:v>
                </c:pt>
                <c:pt idx="49135">
                  <c:v>22.96277652801113</c:v>
                </c:pt>
                <c:pt idx="49136">
                  <c:v>30.765745051699028</c:v>
                </c:pt>
                <c:pt idx="49137">
                  <c:v>28.814179780671587</c:v>
                </c:pt>
                <c:pt idx="49138">
                  <c:v>21.042013019871302</c:v>
                </c:pt>
                <c:pt idx="49139">
                  <c:v>45.030434683400799</c:v>
                </c:pt>
                <c:pt idx="49140">
                  <c:v>31.365542992993618</c:v>
                </c:pt>
                <c:pt idx="49141">
                  <c:v>23.95612985944636</c:v>
                </c:pt>
                <c:pt idx="49142">
                  <c:v>27.105512718165414</c:v>
                </c:pt>
                <c:pt idx="49143">
                  <c:v>40.612307605279575</c:v>
                </c:pt>
                <c:pt idx="49144">
                  <c:v>27.718265946790765</c:v>
                </c:pt>
                <c:pt idx="49145">
                  <c:v>56.327628081779828</c:v>
                </c:pt>
                <c:pt idx="49146">
                  <c:v>21.101613863627463</c:v>
                </c:pt>
                <c:pt idx="49147">
                  <c:v>44.828009638935626</c:v>
                </c:pt>
                <c:pt idx="49148">
                  <c:v>39.920573797329027</c:v>
                </c:pt>
                <c:pt idx="49149">
                  <c:v>46.827862916745339</c:v>
                </c:pt>
                <c:pt idx="49150">
                  <c:v>24.341456355869322</c:v>
                </c:pt>
                <c:pt idx="49151">
                  <c:v>60.475589258223877</c:v>
                </c:pt>
                <c:pt idx="49152">
                  <c:v>30.467530048865928</c:v>
                </c:pt>
                <c:pt idx="49153">
                  <c:v>31.453647538049157</c:v>
                </c:pt>
                <c:pt idx="49154">
                  <c:v>34.701689748295031</c:v>
                </c:pt>
                <c:pt idx="49155">
                  <c:v>22.991221080319679</c:v>
                </c:pt>
                <c:pt idx="49156">
                  <c:v>58.995621584156552</c:v>
                </c:pt>
                <c:pt idx="49157">
                  <c:v>21.400864675161017</c:v>
                </c:pt>
                <c:pt idx="49158">
                  <c:v>26.057841950219657</c:v>
                </c:pt>
                <c:pt idx="49159">
                  <c:v>23.191098947945587</c:v>
                </c:pt>
                <c:pt idx="49160">
                  <c:v>45.588345793300377</c:v>
                </c:pt>
                <c:pt idx="49161">
                  <c:v>27.405462812423718</c:v>
                </c:pt>
                <c:pt idx="49162">
                  <c:v>18.137872845045955</c:v>
                </c:pt>
                <c:pt idx="49163">
                  <c:v>21.827569216766442</c:v>
                </c:pt>
                <c:pt idx="49164">
                  <c:v>44.345814470431456</c:v>
                </c:pt>
                <c:pt idx="49165">
                  <c:v>25.792562541889239</c:v>
                </c:pt>
                <c:pt idx="49166">
                  <c:v>21.036154552076141</c:v>
                </c:pt>
                <c:pt idx="49167">
                  <c:v>37.462919349015301</c:v>
                </c:pt>
                <c:pt idx="49168">
                  <c:v>24.160733108994837</c:v>
                </c:pt>
                <c:pt idx="49169">
                  <c:v>38.774626003051473</c:v>
                </c:pt>
                <c:pt idx="49170">
                  <c:v>18.235715598216085</c:v>
                </c:pt>
                <c:pt idx="49171">
                  <c:v>33.886488593953544</c:v>
                </c:pt>
                <c:pt idx="49172">
                  <c:v>34.945403715634008</c:v>
                </c:pt>
                <c:pt idx="49173">
                  <c:v>49.862053353941299</c:v>
                </c:pt>
                <c:pt idx="49174">
                  <c:v>32.789647767169882</c:v>
                </c:pt>
                <c:pt idx="49175">
                  <c:v>45.084245079110161</c:v>
                </c:pt>
                <c:pt idx="49176">
                  <c:v>30.512478626460247</c:v>
                </c:pt>
                <c:pt idx="49177">
                  <c:v>26.006518334040589</c:v>
                </c:pt>
                <c:pt idx="49178">
                  <c:v>23.26792181826638</c:v>
                </c:pt>
                <c:pt idx="49179">
                  <c:v>37.353573948791251</c:v>
                </c:pt>
                <c:pt idx="49180">
                  <c:v>25.486653706772902</c:v>
                </c:pt>
                <c:pt idx="49181">
                  <c:v>20.205459439852266</c:v>
                </c:pt>
                <c:pt idx="49182">
                  <c:v>44.305569801953219</c:v>
                </c:pt>
                <c:pt idx="49183">
                  <c:v>21.01484913356127</c:v>
                </c:pt>
                <c:pt idx="49184">
                  <c:v>29.417927680636051</c:v>
                </c:pt>
                <c:pt idx="49185">
                  <c:v>23.223449586598374</c:v>
                </c:pt>
                <c:pt idx="49186">
                  <c:v>27.828133629340797</c:v>
                </c:pt>
                <c:pt idx="49187">
                  <c:v>53.588418946603582</c:v>
                </c:pt>
                <c:pt idx="49188">
                  <c:v>25.298443927913237</c:v>
                </c:pt>
                <c:pt idx="49189">
                  <c:v>28.46859957653146</c:v>
                </c:pt>
                <c:pt idx="49190">
                  <c:v>26.652627419679799</c:v>
                </c:pt>
                <c:pt idx="49191">
                  <c:v>28.1914264753953</c:v>
                </c:pt>
                <c:pt idx="49192">
                  <c:v>42.979441053825397</c:v>
                </c:pt>
                <c:pt idx="49193">
                  <c:v>29.530669814913441</c:v>
                </c:pt>
                <c:pt idx="49194">
                  <c:v>37.391303663437498</c:v>
                </c:pt>
                <c:pt idx="49195">
                  <c:v>17.392902072950093</c:v>
                </c:pt>
                <c:pt idx="49196">
                  <c:v>22.948646837155135</c:v>
                </c:pt>
                <c:pt idx="49197">
                  <c:v>26.731968976859687</c:v>
                </c:pt>
                <c:pt idx="49198">
                  <c:v>40.314030409181441</c:v>
                </c:pt>
                <c:pt idx="49199">
                  <c:v>32.164375296850103</c:v>
                </c:pt>
                <c:pt idx="49200">
                  <c:v>29.359961510548935</c:v>
                </c:pt>
                <c:pt idx="49201">
                  <c:v>28.669568399470428</c:v>
                </c:pt>
                <c:pt idx="49202">
                  <c:v>31.667671345386395</c:v>
                </c:pt>
                <c:pt idx="49203">
                  <c:v>29.973772586582854</c:v>
                </c:pt>
                <c:pt idx="49204">
                  <c:v>19.886911856852095</c:v>
                </c:pt>
                <c:pt idx="49205">
                  <c:v>53.516394355978434</c:v>
                </c:pt>
                <c:pt idx="49206">
                  <c:v>22.978028812125654</c:v>
                </c:pt>
                <c:pt idx="49207">
                  <c:v>28.695595407728739</c:v>
                </c:pt>
                <c:pt idx="49208">
                  <c:v>26.81602062400616</c:v>
                </c:pt>
                <c:pt idx="49209">
                  <c:v>51.421391180233172</c:v>
                </c:pt>
                <c:pt idx="49210">
                  <c:v>22.83771711472022</c:v>
                </c:pt>
                <c:pt idx="49211">
                  <c:v>38.989199579579783</c:v>
                </c:pt>
                <c:pt idx="49212">
                  <c:v>19.919416948200837</c:v>
                </c:pt>
                <c:pt idx="49213">
                  <c:v>34.283204555965469</c:v>
                </c:pt>
                <c:pt idx="49214">
                  <c:v>53.93591383461635</c:v>
                </c:pt>
                <c:pt idx="49215">
                  <c:v>31.271101723805195</c:v>
                </c:pt>
                <c:pt idx="49216">
                  <c:v>22.537602687980925</c:v>
                </c:pt>
                <c:pt idx="49217">
                  <c:v>47.755872181873528</c:v>
                </c:pt>
                <c:pt idx="49218">
                  <c:v>43.57775818069144</c:v>
                </c:pt>
                <c:pt idx="49219">
                  <c:v>45.339409571707385</c:v>
                </c:pt>
                <c:pt idx="49220">
                  <c:v>41.216948016475285</c:v>
                </c:pt>
                <c:pt idx="49221">
                  <c:v>21.763426619838761</c:v>
                </c:pt>
                <c:pt idx="49222">
                  <c:v>22.369408041076927</c:v>
                </c:pt>
                <c:pt idx="49223">
                  <c:v>33.319317494636913</c:v>
                </c:pt>
                <c:pt idx="49224">
                  <c:v>32.250058845185315</c:v>
                </c:pt>
                <c:pt idx="49225">
                  <c:v>28.662394555076261</c:v>
                </c:pt>
                <c:pt idx="49226">
                  <c:v>54.607225653192749</c:v>
                </c:pt>
                <c:pt idx="49227">
                  <c:v>28.048413607600164</c:v>
                </c:pt>
                <c:pt idx="49228">
                  <c:v>23.92648531648824</c:v>
                </c:pt>
                <c:pt idx="49229">
                  <c:v>26.310324404630933</c:v>
                </c:pt>
                <c:pt idx="49230">
                  <c:v>34.19870742891564</c:v>
                </c:pt>
                <c:pt idx="49231">
                  <c:v>23.983526772189876</c:v>
                </c:pt>
                <c:pt idx="49232">
                  <c:v>21.749099345983531</c:v>
                </c:pt>
                <c:pt idx="49233">
                  <c:v>29.77511555216212</c:v>
                </c:pt>
                <c:pt idx="49234">
                  <c:v>21.740326234073649</c:v>
                </c:pt>
                <c:pt idx="49235">
                  <c:v>27.664331211367738</c:v>
                </c:pt>
                <c:pt idx="49236">
                  <c:v>29.692699086517536</c:v>
                </c:pt>
                <c:pt idx="49237">
                  <c:v>30.228398711234092</c:v>
                </c:pt>
                <c:pt idx="49238">
                  <c:v>54.446201623464063</c:v>
                </c:pt>
                <c:pt idx="49239">
                  <c:v>25.216222967623974</c:v>
                </c:pt>
                <c:pt idx="49240">
                  <c:v>47.512139425092684</c:v>
                </c:pt>
                <c:pt idx="49241">
                  <c:v>45.963894633791341</c:v>
                </c:pt>
                <c:pt idx="49242">
                  <c:v>19.457967043860993</c:v>
                </c:pt>
                <c:pt idx="49243">
                  <c:v>40.950724202503615</c:v>
                </c:pt>
                <c:pt idx="49244">
                  <c:v>24.378837338055284</c:v>
                </c:pt>
                <c:pt idx="49245">
                  <c:v>27.612423678484731</c:v>
                </c:pt>
                <c:pt idx="49246">
                  <c:v>27.642671516945487</c:v>
                </c:pt>
                <c:pt idx="49247">
                  <c:v>23.728852284314211</c:v>
                </c:pt>
                <c:pt idx="49248">
                  <c:v>23.201652103843941</c:v>
                </c:pt>
                <c:pt idx="49249">
                  <c:v>29.926226576272715</c:v>
                </c:pt>
                <c:pt idx="49250">
                  <c:v>38.081232963149766</c:v>
                </c:pt>
                <c:pt idx="49251">
                  <c:v>29.045109342170363</c:v>
                </c:pt>
                <c:pt idx="49252">
                  <c:v>29.453501787198896</c:v>
                </c:pt>
                <c:pt idx="49253">
                  <c:v>20.407045012918164</c:v>
                </c:pt>
                <c:pt idx="49254">
                  <c:v>31.788678349655207</c:v>
                </c:pt>
                <c:pt idx="49255">
                  <c:v>26.708690338788543</c:v>
                </c:pt>
                <c:pt idx="49256">
                  <c:v>49.90735622783933</c:v>
                </c:pt>
                <c:pt idx="49257">
                  <c:v>25.000266048670181</c:v>
                </c:pt>
                <c:pt idx="49258">
                  <c:v>20.856760147816395</c:v>
                </c:pt>
                <c:pt idx="49259">
                  <c:v>26.336224419456897</c:v>
                </c:pt>
                <c:pt idx="49260">
                  <c:v>26.305200580498202</c:v>
                </c:pt>
                <c:pt idx="49261">
                  <c:v>21.367632437520179</c:v>
                </c:pt>
                <c:pt idx="49262">
                  <c:v>22.211416275544281</c:v>
                </c:pt>
                <c:pt idx="49263">
                  <c:v>33.649222269799047</c:v>
                </c:pt>
                <c:pt idx="49264">
                  <c:v>24.108211612366528</c:v>
                </c:pt>
                <c:pt idx="49265">
                  <c:v>29.525599990384734</c:v>
                </c:pt>
                <c:pt idx="49266">
                  <c:v>37.176169606972223</c:v>
                </c:pt>
                <c:pt idx="49267">
                  <c:v>28.546337271642873</c:v>
                </c:pt>
                <c:pt idx="49268">
                  <c:v>47.488492771010691</c:v>
                </c:pt>
                <c:pt idx="49269">
                  <c:v>20.403695436780644</c:v>
                </c:pt>
                <c:pt idx="49270">
                  <c:v>30.160118592122444</c:v>
                </c:pt>
                <c:pt idx="49271">
                  <c:v>30.668607870630566</c:v>
                </c:pt>
                <c:pt idx="49272">
                  <c:v>47.847379475272618</c:v>
                </c:pt>
                <c:pt idx="49273">
                  <c:v>33.3815360264486</c:v>
                </c:pt>
                <c:pt idx="49274">
                  <c:v>34.432379420203866</c:v>
                </c:pt>
                <c:pt idx="49275">
                  <c:v>31.97146269784362</c:v>
                </c:pt>
                <c:pt idx="49276">
                  <c:v>37.214202330624289</c:v>
                </c:pt>
                <c:pt idx="49277">
                  <c:v>26.012639175109278</c:v>
                </c:pt>
                <c:pt idx="49278">
                  <c:v>43.152138209420578</c:v>
                </c:pt>
                <c:pt idx="49279">
                  <c:v>24.953125595007609</c:v>
                </c:pt>
                <c:pt idx="49280">
                  <c:v>49.811582112600611</c:v>
                </c:pt>
                <c:pt idx="49281">
                  <c:v>22.961664089409123</c:v>
                </c:pt>
                <c:pt idx="49282">
                  <c:v>24.222609353833782</c:v>
                </c:pt>
                <c:pt idx="49283">
                  <c:v>26.155246389094827</c:v>
                </c:pt>
                <c:pt idx="49284">
                  <c:v>28.938727930360585</c:v>
                </c:pt>
                <c:pt idx="49285">
                  <c:v>27.543785039829771</c:v>
                </c:pt>
                <c:pt idx="49286">
                  <c:v>24.762097857357038</c:v>
                </c:pt>
                <c:pt idx="49287">
                  <c:v>22.461697830031213</c:v>
                </c:pt>
                <c:pt idx="49288">
                  <c:v>35.549184760653617</c:v>
                </c:pt>
                <c:pt idx="49289">
                  <c:v>24.810896315786309</c:v>
                </c:pt>
                <c:pt idx="49290">
                  <c:v>18.91359740019367</c:v>
                </c:pt>
                <c:pt idx="49291">
                  <c:v>44.89809286329794</c:v>
                </c:pt>
                <c:pt idx="49292">
                  <c:v>22.693175627028804</c:v>
                </c:pt>
                <c:pt idx="49293">
                  <c:v>23.208901439709759</c:v>
                </c:pt>
                <c:pt idx="49294">
                  <c:v>24.187790790714793</c:v>
                </c:pt>
                <c:pt idx="49295">
                  <c:v>30.879667000936134</c:v>
                </c:pt>
                <c:pt idx="49296">
                  <c:v>41.98596575416132</c:v>
                </c:pt>
                <c:pt idx="49297">
                  <c:v>41.779086724635661</c:v>
                </c:pt>
                <c:pt idx="49298">
                  <c:v>21.74970387885211</c:v>
                </c:pt>
                <c:pt idx="49299">
                  <c:v>55.524946866276231</c:v>
                </c:pt>
                <c:pt idx="49300">
                  <c:v>21.664273367634912</c:v>
                </c:pt>
                <c:pt idx="49301">
                  <c:v>51.649553348509833</c:v>
                </c:pt>
                <c:pt idx="49302">
                  <c:v>53.918160223393954</c:v>
                </c:pt>
                <c:pt idx="49303">
                  <c:v>57.87621897483664</c:v>
                </c:pt>
                <c:pt idx="49304">
                  <c:v>21.483143296605739</c:v>
                </c:pt>
                <c:pt idx="49305">
                  <c:v>34.585900455354434</c:v>
                </c:pt>
                <c:pt idx="49306">
                  <c:v>45.420194807955355</c:v>
                </c:pt>
                <c:pt idx="49307">
                  <c:v>39.526906754786843</c:v>
                </c:pt>
                <c:pt idx="49308">
                  <c:v>20.051936016555992</c:v>
                </c:pt>
                <c:pt idx="49309">
                  <c:v>26.492270342465268</c:v>
                </c:pt>
                <c:pt idx="49310">
                  <c:v>32.731725584815379</c:v>
                </c:pt>
                <c:pt idx="49311">
                  <c:v>38.232830970818483</c:v>
                </c:pt>
                <c:pt idx="49312">
                  <c:v>25.327651191392064</c:v>
                </c:pt>
                <c:pt idx="49313">
                  <c:v>28.542063923831304</c:v>
                </c:pt>
                <c:pt idx="49314">
                  <c:v>35.018456711054711</c:v>
                </c:pt>
                <c:pt idx="49315">
                  <c:v>44.500591522573508</c:v>
                </c:pt>
                <c:pt idx="49316">
                  <c:v>25.896698588591324</c:v>
                </c:pt>
                <c:pt idx="49317">
                  <c:v>28.170534225388462</c:v>
                </c:pt>
                <c:pt idx="49318">
                  <c:v>26.643954394475813</c:v>
                </c:pt>
                <c:pt idx="49319">
                  <c:v>47.27499081143884</c:v>
                </c:pt>
                <c:pt idx="49320">
                  <c:v>28.132833663371255</c:v>
                </c:pt>
                <c:pt idx="49321">
                  <c:v>29.887606113938773</c:v>
                </c:pt>
                <c:pt idx="49322">
                  <c:v>42.179013667265515</c:v>
                </c:pt>
                <c:pt idx="49323">
                  <c:v>22.2372879588548</c:v>
                </c:pt>
                <c:pt idx="49324">
                  <c:v>30.938694056161854</c:v>
                </c:pt>
                <c:pt idx="49325">
                  <c:v>40.436913449468918</c:v>
                </c:pt>
                <c:pt idx="49326">
                  <c:v>28.664553114547637</c:v>
                </c:pt>
                <c:pt idx="49327">
                  <c:v>25.283114393395252</c:v>
                </c:pt>
                <c:pt idx="49328">
                  <c:v>40.032656371478978</c:v>
                </c:pt>
                <c:pt idx="49329">
                  <c:v>18.808630603367636</c:v>
                </c:pt>
                <c:pt idx="49330">
                  <c:v>32.768942429529211</c:v>
                </c:pt>
                <c:pt idx="49331">
                  <c:v>27.211551843038144</c:v>
                </c:pt>
                <c:pt idx="49332">
                  <c:v>50.961274573164907</c:v>
                </c:pt>
                <c:pt idx="49333">
                  <c:v>53.689409652422697</c:v>
                </c:pt>
                <c:pt idx="49334">
                  <c:v>18.611208366089532</c:v>
                </c:pt>
                <c:pt idx="49335">
                  <c:v>25.428431423769638</c:v>
                </c:pt>
                <c:pt idx="49336">
                  <c:v>28.083579792261641</c:v>
                </c:pt>
                <c:pt idx="49337">
                  <c:v>48.515814579979974</c:v>
                </c:pt>
                <c:pt idx="49338">
                  <c:v>41.327350515591057</c:v>
                </c:pt>
                <c:pt idx="49339">
                  <c:v>23.25725415539225</c:v>
                </c:pt>
                <c:pt idx="49340">
                  <c:v>38.734181301336449</c:v>
                </c:pt>
                <c:pt idx="49341">
                  <c:v>53.783855066011988</c:v>
                </c:pt>
                <c:pt idx="49342">
                  <c:v>38.023069554349703</c:v>
                </c:pt>
                <c:pt idx="49343">
                  <c:v>46.302018327029408</c:v>
                </c:pt>
                <c:pt idx="49344">
                  <c:v>37.99179969236738</c:v>
                </c:pt>
                <c:pt idx="49345">
                  <c:v>43.141963095998733</c:v>
                </c:pt>
                <c:pt idx="49346">
                  <c:v>30.640190831320933</c:v>
                </c:pt>
                <c:pt idx="49347">
                  <c:v>30.161668017627054</c:v>
                </c:pt>
                <c:pt idx="49348">
                  <c:v>41.6856734470432</c:v>
                </c:pt>
                <c:pt idx="49349">
                  <c:v>29.692650570558062</c:v>
                </c:pt>
                <c:pt idx="49350">
                  <c:v>28.555553791314029</c:v>
                </c:pt>
                <c:pt idx="49351">
                  <c:v>20.764429260119506</c:v>
                </c:pt>
                <c:pt idx="49352">
                  <c:v>40.300761656019894</c:v>
                </c:pt>
                <c:pt idx="49353">
                  <c:v>31.199747193164267</c:v>
                </c:pt>
                <c:pt idx="49354">
                  <c:v>32.026267682248246</c:v>
                </c:pt>
                <c:pt idx="49355">
                  <c:v>28.138973670218796</c:v>
                </c:pt>
                <c:pt idx="49356">
                  <c:v>39.982095188415435</c:v>
                </c:pt>
                <c:pt idx="49357">
                  <c:v>22.275478313996608</c:v>
                </c:pt>
                <c:pt idx="49358">
                  <c:v>20.34479980007454</c:v>
                </c:pt>
                <c:pt idx="49359">
                  <c:v>31.255693685776986</c:v>
                </c:pt>
                <c:pt idx="49360">
                  <c:v>37.307970333139622</c:v>
                </c:pt>
                <c:pt idx="49361">
                  <c:v>23.536034745521182</c:v>
                </c:pt>
                <c:pt idx="49362">
                  <c:v>22.619264976206257</c:v>
                </c:pt>
                <c:pt idx="49363">
                  <c:v>39.458405205099126</c:v>
                </c:pt>
                <c:pt idx="49364">
                  <c:v>21.362964716339953</c:v>
                </c:pt>
                <c:pt idx="49365">
                  <c:v>41.928355520735138</c:v>
                </c:pt>
                <c:pt idx="49366">
                  <c:v>22.542910041982545</c:v>
                </c:pt>
                <c:pt idx="49367">
                  <c:v>20.786465039536129</c:v>
                </c:pt>
                <c:pt idx="49368">
                  <c:v>38.372423073576741</c:v>
                </c:pt>
                <c:pt idx="49369">
                  <c:v>44.832030770563534</c:v>
                </c:pt>
                <c:pt idx="49370">
                  <c:v>57.986508926625902</c:v>
                </c:pt>
                <c:pt idx="49371">
                  <c:v>20.280507698968552</c:v>
                </c:pt>
                <c:pt idx="49372">
                  <c:v>58.867622993316388</c:v>
                </c:pt>
                <c:pt idx="49373">
                  <c:v>35.18482909012517</c:v>
                </c:pt>
                <c:pt idx="49374">
                  <c:v>29.837490575858226</c:v>
                </c:pt>
                <c:pt idx="49375">
                  <c:v>19.734782935279501</c:v>
                </c:pt>
                <c:pt idx="49376">
                  <c:v>26.389571546896175</c:v>
                </c:pt>
                <c:pt idx="49377">
                  <c:v>19.207001767686847</c:v>
                </c:pt>
                <c:pt idx="49378">
                  <c:v>24.858050866035509</c:v>
                </c:pt>
                <c:pt idx="49379">
                  <c:v>47.487807252996518</c:v>
                </c:pt>
                <c:pt idx="49380">
                  <c:v>20.377923260289936</c:v>
                </c:pt>
                <c:pt idx="49381">
                  <c:v>30.826520957487944</c:v>
                </c:pt>
                <c:pt idx="49382">
                  <c:v>25.013462415948627</c:v>
                </c:pt>
                <c:pt idx="49383">
                  <c:v>30.012335843588318</c:v>
                </c:pt>
                <c:pt idx="49384">
                  <c:v>44.991016597456074</c:v>
                </c:pt>
                <c:pt idx="49385">
                  <c:v>26.465986675814349</c:v>
                </c:pt>
                <c:pt idx="49386">
                  <c:v>31.246390624301</c:v>
                </c:pt>
                <c:pt idx="49387">
                  <c:v>19.090130942628502</c:v>
                </c:pt>
                <c:pt idx="49388">
                  <c:v>49.727640263157433</c:v>
                </c:pt>
                <c:pt idx="49389">
                  <c:v>50.884861531852167</c:v>
                </c:pt>
                <c:pt idx="49390">
                  <c:v>46.101231300186001</c:v>
                </c:pt>
                <c:pt idx="49391">
                  <c:v>31.141888490407631</c:v>
                </c:pt>
                <c:pt idx="49392">
                  <c:v>19.374737253534242</c:v>
                </c:pt>
                <c:pt idx="49393">
                  <c:v>19.450745228091787</c:v>
                </c:pt>
                <c:pt idx="49394">
                  <c:v>21.101865603649053</c:v>
                </c:pt>
                <c:pt idx="49395">
                  <c:v>46.154642818959481</c:v>
                </c:pt>
                <c:pt idx="49396">
                  <c:v>30.622640764237978</c:v>
                </c:pt>
                <c:pt idx="49397">
                  <c:v>50.154840429985356</c:v>
                </c:pt>
                <c:pt idx="49398">
                  <c:v>27.542284457762833</c:v>
                </c:pt>
                <c:pt idx="49399">
                  <c:v>32.649259439880254</c:v>
                </c:pt>
                <c:pt idx="49400">
                  <c:v>48.187266834027923</c:v>
                </c:pt>
                <c:pt idx="49401">
                  <c:v>17.883752095313877</c:v>
                </c:pt>
                <c:pt idx="49402">
                  <c:v>25.660334684990637</c:v>
                </c:pt>
                <c:pt idx="49403">
                  <c:v>48.650245206844922</c:v>
                </c:pt>
                <c:pt idx="49404">
                  <c:v>26.185521642309695</c:v>
                </c:pt>
                <c:pt idx="49405">
                  <c:v>29.3395005886299</c:v>
                </c:pt>
                <c:pt idx="49406">
                  <c:v>21.053210323304299</c:v>
                </c:pt>
                <c:pt idx="49407">
                  <c:v>24.536643879445492</c:v>
                </c:pt>
                <c:pt idx="49408">
                  <c:v>27.75329369016859</c:v>
                </c:pt>
                <c:pt idx="49409">
                  <c:v>41.237545740276786</c:v>
                </c:pt>
                <c:pt idx="49410">
                  <c:v>32.695744941210513</c:v>
                </c:pt>
                <c:pt idx="49411">
                  <c:v>53.543168938906859</c:v>
                </c:pt>
                <c:pt idx="49412">
                  <c:v>30.889260851359701</c:v>
                </c:pt>
                <c:pt idx="49413">
                  <c:v>49.992326100360053</c:v>
                </c:pt>
                <c:pt idx="49414">
                  <c:v>22.709427522155977</c:v>
                </c:pt>
                <c:pt idx="49415">
                  <c:v>20.339567424898888</c:v>
                </c:pt>
                <c:pt idx="49416">
                  <c:v>55.442876763666973</c:v>
                </c:pt>
                <c:pt idx="49417">
                  <c:v>19.150239212889307</c:v>
                </c:pt>
                <c:pt idx="49418">
                  <c:v>36.89650297341084</c:v>
                </c:pt>
                <c:pt idx="49419">
                  <c:v>19.065246959987604</c:v>
                </c:pt>
                <c:pt idx="49420">
                  <c:v>50.348865080404508</c:v>
                </c:pt>
                <c:pt idx="49421">
                  <c:v>57.308333066438117</c:v>
                </c:pt>
                <c:pt idx="49422">
                  <c:v>27.9630915861161</c:v>
                </c:pt>
                <c:pt idx="49423">
                  <c:v>49.134205301178035</c:v>
                </c:pt>
                <c:pt idx="49424">
                  <c:v>39.384575301425642</c:v>
                </c:pt>
                <c:pt idx="49425">
                  <c:v>29.39468515242676</c:v>
                </c:pt>
                <c:pt idx="49426">
                  <c:v>50.740214061626084</c:v>
                </c:pt>
                <c:pt idx="49427">
                  <c:v>23.63243469650363</c:v>
                </c:pt>
                <c:pt idx="49428">
                  <c:v>26.948632833913042</c:v>
                </c:pt>
                <c:pt idx="49429">
                  <c:v>21.346206580698777</c:v>
                </c:pt>
                <c:pt idx="49430">
                  <c:v>26.24843947406551</c:v>
                </c:pt>
                <c:pt idx="49431">
                  <c:v>36.05652943824893</c:v>
                </c:pt>
                <c:pt idx="49432">
                  <c:v>30.551668121588598</c:v>
                </c:pt>
                <c:pt idx="49433">
                  <c:v>28.936076451495001</c:v>
                </c:pt>
                <c:pt idx="49434">
                  <c:v>28.45988408857648</c:v>
                </c:pt>
                <c:pt idx="49435">
                  <c:v>18.541331806233245</c:v>
                </c:pt>
                <c:pt idx="49436">
                  <c:v>29.60360065517013</c:v>
                </c:pt>
                <c:pt idx="49437">
                  <c:v>33.195783136753747</c:v>
                </c:pt>
                <c:pt idx="49438">
                  <c:v>52.712153680726786</c:v>
                </c:pt>
                <c:pt idx="49439">
                  <c:v>27.900197582842384</c:v>
                </c:pt>
                <c:pt idx="49440">
                  <c:v>20.690141079728789</c:v>
                </c:pt>
                <c:pt idx="49441">
                  <c:v>46.790938802715502</c:v>
                </c:pt>
                <c:pt idx="49442">
                  <c:v>27.088526036280708</c:v>
                </c:pt>
                <c:pt idx="49443">
                  <c:v>31.040876328398411</c:v>
                </c:pt>
                <c:pt idx="49444">
                  <c:v>40.917984316648024</c:v>
                </c:pt>
                <c:pt idx="49445">
                  <c:v>23.379382875265989</c:v>
                </c:pt>
                <c:pt idx="49446">
                  <c:v>16.746035993007013</c:v>
                </c:pt>
                <c:pt idx="49447">
                  <c:v>21.586970549570168</c:v>
                </c:pt>
                <c:pt idx="49448">
                  <c:v>35.677016981556726</c:v>
                </c:pt>
                <c:pt idx="49449">
                  <c:v>26.586174716569694</c:v>
                </c:pt>
                <c:pt idx="49450">
                  <c:v>26.419621109872317</c:v>
                </c:pt>
                <c:pt idx="49451">
                  <c:v>22.673173879213188</c:v>
                </c:pt>
                <c:pt idx="49452">
                  <c:v>20.324770590363098</c:v>
                </c:pt>
                <c:pt idx="49453">
                  <c:v>25.647427406034819</c:v>
                </c:pt>
                <c:pt idx="49454">
                  <c:v>44.075488357132556</c:v>
                </c:pt>
                <c:pt idx="49455">
                  <c:v>19.685900905345836</c:v>
                </c:pt>
                <c:pt idx="49456">
                  <c:v>29.96671446726555</c:v>
                </c:pt>
                <c:pt idx="49457">
                  <c:v>50.901080494886727</c:v>
                </c:pt>
                <c:pt idx="49458">
                  <c:v>45.794713135922017</c:v>
                </c:pt>
                <c:pt idx="49459">
                  <c:v>23.371312881550232</c:v>
                </c:pt>
                <c:pt idx="49460">
                  <c:v>26.788809159534654</c:v>
                </c:pt>
                <c:pt idx="49461">
                  <c:v>49.772736375363621</c:v>
                </c:pt>
                <c:pt idx="49462">
                  <c:v>35.974755848373718</c:v>
                </c:pt>
                <c:pt idx="49463">
                  <c:v>28.328677059108269</c:v>
                </c:pt>
                <c:pt idx="49464">
                  <c:v>27.552461207518895</c:v>
                </c:pt>
                <c:pt idx="49465">
                  <c:v>21.093195622657547</c:v>
                </c:pt>
                <c:pt idx="49466">
                  <c:v>35.75066917323042</c:v>
                </c:pt>
                <c:pt idx="49467">
                  <c:v>25.132594468759251</c:v>
                </c:pt>
                <c:pt idx="49468">
                  <c:v>53.358492276208636</c:v>
                </c:pt>
                <c:pt idx="49469">
                  <c:v>26.293571109121498</c:v>
                </c:pt>
                <c:pt idx="49470">
                  <c:v>30.785775804618801</c:v>
                </c:pt>
                <c:pt idx="49471">
                  <c:v>28.851399795977933</c:v>
                </c:pt>
                <c:pt idx="49472">
                  <c:v>26.320798893419809</c:v>
                </c:pt>
                <c:pt idx="49473">
                  <c:v>55.503497461993433</c:v>
                </c:pt>
                <c:pt idx="49474">
                  <c:v>37.949133526522523</c:v>
                </c:pt>
                <c:pt idx="49475">
                  <c:v>50.393451603803634</c:v>
                </c:pt>
                <c:pt idx="49476">
                  <c:v>26.101068041401216</c:v>
                </c:pt>
                <c:pt idx="49477">
                  <c:v>34.876903897437828</c:v>
                </c:pt>
                <c:pt idx="49478">
                  <c:v>21.154741417671726</c:v>
                </c:pt>
                <c:pt idx="49479">
                  <c:v>47.693087537663843</c:v>
                </c:pt>
                <c:pt idx="49480">
                  <c:v>32.171018785749034</c:v>
                </c:pt>
                <c:pt idx="49481">
                  <c:v>46.322401975974394</c:v>
                </c:pt>
                <c:pt idx="49482">
                  <c:v>32.579235130394324</c:v>
                </c:pt>
                <c:pt idx="49483">
                  <c:v>34.423597776797706</c:v>
                </c:pt>
                <c:pt idx="49484">
                  <c:v>19.913272615154515</c:v>
                </c:pt>
                <c:pt idx="49485">
                  <c:v>22.748356242422126</c:v>
                </c:pt>
                <c:pt idx="49486">
                  <c:v>27.430251510275404</c:v>
                </c:pt>
                <c:pt idx="49487">
                  <c:v>30.365596262099277</c:v>
                </c:pt>
                <c:pt idx="49488">
                  <c:v>29.487337595035147</c:v>
                </c:pt>
                <c:pt idx="49489">
                  <c:v>46.881607837473084</c:v>
                </c:pt>
                <c:pt idx="49490">
                  <c:v>20.096895813820872</c:v>
                </c:pt>
                <c:pt idx="49491">
                  <c:v>49.23200715079431</c:v>
                </c:pt>
                <c:pt idx="49492">
                  <c:v>22.359174518946915</c:v>
                </c:pt>
                <c:pt idx="49493">
                  <c:v>24.308578323872563</c:v>
                </c:pt>
                <c:pt idx="49494">
                  <c:v>52.385105920858827</c:v>
                </c:pt>
                <c:pt idx="49495">
                  <c:v>20.786763270234314</c:v>
                </c:pt>
                <c:pt idx="49496">
                  <c:v>31.635660476370443</c:v>
                </c:pt>
                <c:pt idx="49497">
                  <c:v>17.534745437948544</c:v>
                </c:pt>
                <c:pt idx="49498">
                  <c:v>23.223890461977703</c:v>
                </c:pt>
                <c:pt idx="49499">
                  <c:v>22.953397784926331</c:v>
                </c:pt>
                <c:pt idx="49500">
                  <c:v>24.811229692284353</c:v>
                </c:pt>
                <c:pt idx="49501">
                  <c:v>23.789346868854732</c:v>
                </c:pt>
                <c:pt idx="49502">
                  <c:v>33.698425424668152</c:v>
                </c:pt>
                <c:pt idx="49503">
                  <c:v>21.477082249016977</c:v>
                </c:pt>
                <c:pt idx="49504">
                  <c:v>23.561337052516958</c:v>
                </c:pt>
                <c:pt idx="49505">
                  <c:v>35.518846851729847</c:v>
                </c:pt>
                <c:pt idx="49506">
                  <c:v>41.422344624972759</c:v>
                </c:pt>
                <c:pt idx="49507">
                  <c:v>27.903811020595111</c:v>
                </c:pt>
                <c:pt idx="49508">
                  <c:v>47.834261292204104</c:v>
                </c:pt>
                <c:pt idx="49509">
                  <c:v>57.236751573636006</c:v>
                </c:pt>
                <c:pt idx="49510">
                  <c:v>36.911414579338299</c:v>
                </c:pt>
                <c:pt idx="49511">
                  <c:v>30.813569005868235</c:v>
                </c:pt>
                <c:pt idx="49512">
                  <c:v>22.720867120737381</c:v>
                </c:pt>
                <c:pt idx="49513">
                  <c:v>24.30354004421309</c:v>
                </c:pt>
                <c:pt idx="49514">
                  <c:v>44.514790562000698</c:v>
                </c:pt>
                <c:pt idx="49515">
                  <c:v>50.459422079862968</c:v>
                </c:pt>
                <c:pt idx="49516">
                  <c:v>62.722026834423176</c:v>
                </c:pt>
                <c:pt idx="49517">
                  <c:v>56.211354331322788</c:v>
                </c:pt>
                <c:pt idx="49518">
                  <c:v>24.250238055107079</c:v>
                </c:pt>
                <c:pt idx="49519">
                  <c:v>20.310661839783069</c:v>
                </c:pt>
                <c:pt idx="49520">
                  <c:v>37.97003758280961</c:v>
                </c:pt>
                <c:pt idx="49521">
                  <c:v>23.599164007438269</c:v>
                </c:pt>
                <c:pt idx="49522">
                  <c:v>57.130411444325958</c:v>
                </c:pt>
                <c:pt idx="49523">
                  <c:v>26.181636580099031</c:v>
                </c:pt>
                <c:pt idx="49524">
                  <c:v>16.0540031881564</c:v>
                </c:pt>
                <c:pt idx="49525">
                  <c:v>28.528945185586196</c:v>
                </c:pt>
                <c:pt idx="49526">
                  <c:v>34.315013637583093</c:v>
                </c:pt>
                <c:pt idx="49527">
                  <c:v>30.757363623731141</c:v>
                </c:pt>
                <c:pt idx="49528">
                  <c:v>23.148902353107349</c:v>
                </c:pt>
                <c:pt idx="49529">
                  <c:v>25.571320766268926</c:v>
                </c:pt>
                <c:pt idx="49530">
                  <c:v>55.134044056203059</c:v>
                </c:pt>
                <c:pt idx="49531">
                  <c:v>16.708654771816185</c:v>
                </c:pt>
                <c:pt idx="49532">
                  <c:v>24.032369968334319</c:v>
                </c:pt>
                <c:pt idx="49533">
                  <c:v>35.015932636671984</c:v>
                </c:pt>
                <c:pt idx="49534">
                  <c:v>19.274797052689301</c:v>
                </c:pt>
                <c:pt idx="49535">
                  <c:v>45.403178968891496</c:v>
                </c:pt>
                <c:pt idx="49536">
                  <c:v>37.824275507393466</c:v>
                </c:pt>
                <c:pt idx="49537">
                  <c:v>23.528000043469465</c:v>
                </c:pt>
                <c:pt idx="49538">
                  <c:v>33.601249176778836</c:v>
                </c:pt>
                <c:pt idx="49539">
                  <c:v>48.679080754741605</c:v>
                </c:pt>
                <c:pt idx="49540">
                  <c:v>50.536036835116896</c:v>
                </c:pt>
                <c:pt idx="49541">
                  <c:v>22.219070146040554</c:v>
                </c:pt>
                <c:pt idx="49542">
                  <c:v>35.01923685082398</c:v>
                </c:pt>
                <c:pt idx="49543">
                  <c:v>31.721244466483292</c:v>
                </c:pt>
                <c:pt idx="49544">
                  <c:v>23.837215477378727</c:v>
                </c:pt>
                <c:pt idx="49545">
                  <c:v>32.857712096505864</c:v>
                </c:pt>
                <c:pt idx="49546">
                  <c:v>24.819896896336569</c:v>
                </c:pt>
                <c:pt idx="49547">
                  <c:v>61.042641377571634</c:v>
                </c:pt>
                <c:pt idx="49548">
                  <c:v>34.72289032917557</c:v>
                </c:pt>
                <c:pt idx="49549">
                  <c:v>27.520671256874657</c:v>
                </c:pt>
                <c:pt idx="49550">
                  <c:v>30.705156378382505</c:v>
                </c:pt>
                <c:pt idx="49551">
                  <c:v>25.036432449320635</c:v>
                </c:pt>
                <c:pt idx="49552">
                  <c:v>29.49721706522822</c:v>
                </c:pt>
                <c:pt idx="49553">
                  <c:v>30.845499544285236</c:v>
                </c:pt>
                <c:pt idx="49554">
                  <c:v>30.071067007692562</c:v>
                </c:pt>
                <c:pt idx="49555">
                  <c:v>28.13285674833535</c:v>
                </c:pt>
                <c:pt idx="49556">
                  <c:v>25.054764683900192</c:v>
                </c:pt>
                <c:pt idx="49557">
                  <c:v>32.537037618192869</c:v>
                </c:pt>
                <c:pt idx="49558">
                  <c:v>21.889654906599979</c:v>
                </c:pt>
                <c:pt idx="49559">
                  <c:v>22.559603306805229</c:v>
                </c:pt>
                <c:pt idx="49560">
                  <c:v>25.695587086243016</c:v>
                </c:pt>
                <c:pt idx="49561">
                  <c:v>28.666026497027854</c:v>
                </c:pt>
                <c:pt idx="49562">
                  <c:v>37.196171836929842</c:v>
                </c:pt>
                <c:pt idx="49563">
                  <c:v>43.342519983091798</c:v>
                </c:pt>
                <c:pt idx="49564">
                  <c:v>22.679185573629361</c:v>
                </c:pt>
                <c:pt idx="49565">
                  <c:v>35.772078959971033</c:v>
                </c:pt>
                <c:pt idx="49566">
                  <c:v>18.993058566549063</c:v>
                </c:pt>
                <c:pt idx="49567">
                  <c:v>34.188684101817643</c:v>
                </c:pt>
                <c:pt idx="49568">
                  <c:v>25.657769589926311</c:v>
                </c:pt>
                <c:pt idx="49569">
                  <c:v>41.39753723275102</c:v>
                </c:pt>
                <c:pt idx="49570">
                  <c:v>28.992297257129778</c:v>
                </c:pt>
                <c:pt idx="49571">
                  <c:v>25.583789835093025</c:v>
                </c:pt>
                <c:pt idx="49572">
                  <c:v>44.223460926534315</c:v>
                </c:pt>
                <c:pt idx="49573">
                  <c:v>29.226586266060345</c:v>
                </c:pt>
                <c:pt idx="49574">
                  <c:v>23.804912394053574</c:v>
                </c:pt>
                <c:pt idx="49575">
                  <c:v>24.809420771534537</c:v>
                </c:pt>
                <c:pt idx="49576">
                  <c:v>33.650981722473759</c:v>
                </c:pt>
                <c:pt idx="49577">
                  <c:v>34.48360917873184</c:v>
                </c:pt>
                <c:pt idx="49578">
                  <c:v>21.064801978308459</c:v>
                </c:pt>
                <c:pt idx="49579">
                  <c:v>27.909203912880805</c:v>
                </c:pt>
                <c:pt idx="49580">
                  <c:v>19.297616537150255</c:v>
                </c:pt>
                <c:pt idx="49581">
                  <c:v>29.26043050466717</c:v>
                </c:pt>
                <c:pt idx="49582">
                  <c:v>24.146329151049187</c:v>
                </c:pt>
                <c:pt idx="49583">
                  <c:v>24.521226993335858</c:v>
                </c:pt>
                <c:pt idx="49584">
                  <c:v>38.091683336375013</c:v>
                </c:pt>
                <c:pt idx="49585">
                  <c:v>54.410673317998025</c:v>
                </c:pt>
                <c:pt idx="49586">
                  <c:v>48.857560417144008</c:v>
                </c:pt>
                <c:pt idx="49587">
                  <c:v>23.123871811329845</c:v>
                </c:pt>
                <c:pt idx="49588">
                  <c:v>20.288534101968317</c:v>
                </c:pt>
                <c:pt idx="49589">
                  <c:v>30.845274476592401</c:v>
                </c:pt>
                <c:pt idx="49590">
                  <c:v>39.094733602465112</c:v>
                </c:pt>
                <c:pt idx="49591">
                  <c:v>24.967616607901817</c:v>
                </c:pt>
                <c:pt idx="49592">
                  <c:v>48.38740966623962</c:v>
                </c:pt>
                <c:pt idx="49593">
                  <c:v>27.128247013572043</c:v>
                </c:pt>
                <c:pt idx="49594">
                  <c:v>33.36481496719918</c:v>
                </c:pt>
                <c:pt idx="49595">
                  <c:v>22.898353478152096</c:v>
                </c:pt>
                <c:pt idx="49596">
                  <c:v>36.507245206217497</c:v>
                </c:pt>
                <c:pt idx="49597">
                  <c:v>21.30795221851524</c:v>
                </c:pt>
                <c:pt idx="49598">
                  <c:v>31.116847130085535</c:v>
                </c:pt>
                <c:pt idx="49599">
                  <c:v>30.815051971964827</c:v>
                </c:pt>
                <c:pt idx="49600">
                  <c:v>35.492318692459882</c:v>
                </c:pt>
                <c:pt idx="49601">
                  <c:v>46.365994964264104</c:v>
                </c:pt>
                <c:pt idx="49602">
                  <c:v>19.033521780307808</c:v>
                </c:pt>
                <c:pt idx="49603">
                  <c:v>26.020011806392144</c:v>
                </c:pt>
                <c:pt idx="49604">
                  <c:v>27.358630285977206</c:v>
                </c:pt>
                <c:pt idx="49605">
                  <c:v>20.124493528147983</c:v>
                </c:pt>
                <c:pt idx="49606">
                  <c:v>46.454353752743842</c:v>
                </c:pt>
                <c:pt idx="49607">
                  <c:v>29.568535925261386</c:v>
                </c:pt>
                <c:pt idx="49608">
                  <c:v>39.914491875167343</c:v>
                </c:pt>
                <c:pt idx="49609">
                  <c:v>39.734022604562455</c:v>
                </c:pt>
                <c:pt idx="49610">
                  <c:v>29.720181213281055</c:v>
                </c:pt>
                <c:pt idx="49611">
                  <c:v>23.02874813749235</c:v>
                </c:pt>
                <c:pt idx="49612">
                  <c:v>26.528113668364107</c:v>
                </c:pt>
                <c:pt idx="49613">
                  <c:v>22.015044139737629</c:v>
                </c:pt>
                <c:pt idx="49614">
                  <c:v>24.120461358642093</c:v>
                </c:pt>
                <c:pt idx="49615">
                  <c:v>24.708577434381784</c:v>
                </c:pt>
                <c:pt idx="49616">
                  <c:v>44.022163144509918</c:v>
                </c:pt>
                <c:pt idx="49617">
                  <c:v>26.434469043964146</c:v>
                </c:pt>
                <c:pt idx="49618">
                  <c:v>46.524946835415221</c:v>
                </c:pt>
                <c:pt idx="49619">
                  <c:v>27.902927155912451</c:v>
                </c:pt>
                <c:pt idx="49620">
                  <c:v>27.131545126225639</c:v>
                </c:pt>
                <c:pt idx="49621">
                  <c:v>19.915782151246052</c:v>
                </c:pt>
                <c:pt idx="49622">
                  <c:v>37.471643821831087</c:v>
                </c:pt>
                <c:pt idx="49623">
                  <c:v>30.903435296621392</c:v>
                </c:pt>
                <c:pt idx="49624">
                  <c:v>22.296315113770397</c:v>
                </c:pt>
                <c:pt idx="49625">
                  <c:v>25.399455353178553</c:v>
                </c:pt>
                <c:pt idx="49626">
                  <c:v>35.337003757305077</c:v>
                </c:pt>
                <c:pt idx="49627">
                  <c:v>29.275128415433546</c:v>
                </c:pt>
                <c:pt idx="49628">
                  <c:v>30.515436676410204</c:v>
                </c:pt>
                <c:pt idx="49629">
                  <c:v>23.98952997934958</c:v>
                </c:pt>
                <c:pt idx="49630">
                  <c:v>28.116349626991386</c:v>
                </c:pt>
                <c:pt idx="49631">
                  <c:v>22.349370532298124</c:v>
                </c:pt>
                <c:pt idx="49632">
                  <c:v>27.877466975452112</c:v>
                </c:pt>
                <c:pt idx="49633">
                  <c:v>29.404124827441894</c:v>
                </c:pt>
                <c:pt idx="49634">
                  <c:v>27.785897819036883</c:v>
                </c:pt>
                <c:pt idx="49635">
                  <c:v>40.84668073014344</c:v>
                </c:pt>
                <c:pt idx="49636">
                  <c:v>18.856761058723261</c:v>
                </c:pt>
                <c:pt idx="49637">
                  <c:v>68.222277672048946</c:v>
                </c:pt>
                <c:pt idx="49638">
                  <c:v>34.28662388593402</c:v>
                </c:pt>
                <c:pt idx="49639">
                  <c:v>38.667600242988989</c:v>
                </c:pt>
                <c:pt idx="49640">
                  <c:v>45.416475530592116</c:v>
                </c:pt>
                <c:pt idx="49641">
                  <c:v>21.520063424209518</c:v>
                </c:pt>
                <c:pt idx="49642">
                  <c:v>46.190499369116623</c:v>
                </c:pt>
                <c:pt idx="49643">
                  <c:v>26.139787742855546</c:v>
                </c:pt>
                <c:pt idx="49644">
                  <c:v>23.349684273159244</c:v>
                </c:pt>
                <c:pt idx="49645">
                  <c:v>26.879937699273423</c:v>
                </c:pt>
                <c:pt idx="49646">
                  <c:v>34.304822814040577</c:v>
                </c:pt>
                <c:pt idx="49647">
                  <c:v>35.670233431144482</c:v>
                </c:pt>
                <c:pt idx="49648">
                  <c:v>25.191320040300063</c:v>
                </c:pt>
                <c:pt idx="49649">
                  <c:v>33.790237762988966</c:v>
                </c:pt>
                <c:pt idx="49650">
                  <c:v>30.676137501656005</c:v>
                </c:pt>
                <c:pt idx="49651">
                  <c:v>18.371145448166896</c:v>
                </c:pt>
                <c:pt idx="49652">
                  <c:v>29.912146062272058</c:v>
                </c:pt>
                <c:pt idx="49653">
                  <c:v>41.113338036040382</c:v>
                </c:pt>
                <c:pt idx="49654">
                  <c:v>26.278791196748049</c:v>
                </c:pt>
                <c:pt idx="49655">
                  <c:v>21.908424716228488</c:v>
                </c:pt>
                <c:pt idx="49656">
                  <c:v>43.240622638831525</c:v>
                </c:pt>
                <c:pt idx="49657">
                  <c:v>32.164308495584834</c:v>
                </c:pt>
                <c:pt idx="49658">
                  <c:v>33.775474376917629</c:v>
                </c:pt>
                <c:pt idx="49659">
                  <c:v>25.748060738290565</c:v>
                </c:pt>
                <c:pt idx="49660">
                  <c:v>50.009016810940409</c:v>
                </c:pt>
                <c:pt idx="49661">
                  <c:v>36.046776786167371</c:v>
                </c:pt>
                <c:pt idx="49662">
                  <c:v>33.623678660376946</c:v>
                </c:pt>
                <c:pt idx="49663">
                  <c:v>27.085747159089486</c:v>
                </c:pt>
                <c:pt idx="49664">
                  <c:v>26.004461142928985</c:v>
                </c:pt>
                <c:pt idx="49665">
                  <c:v>26.697112283034127</c:v>
                </c:pt>
                <c:pt idx="49666">
                  <c:v>26.35204391086814</c:v>
                </c:pt>
                <c:pt idx="49667">
                  <c:v>30.512364427006986</c:v>
                </c:pt>
                <c:pt idx="49668">
                  <c:v>23.839106429980276</c:v>
                </c:pt>
                <c:pt idx="49669">
                  <c:v>28.419507763186555</c:v>
                </c:pt>
                <c:pt idx="49670">
                  <c:v>20.966316758992946</c:v>
                </c:pt>
                <c:pt idx="49671">
                  <c:v>17.908751280240324</c:v>
                </c:pt>
                <c:pt idx="49672">
                  <c:v>23.257559400298359</c:v>
                </c:pt>
                <c:pt idx="49673">
                  <c:v>28.469849258607432</c:v>
                </c:pt>
                <c:pt idx="49674">
                  <c:v>38.02824974254014</c:v>
                </c:pt>
                <c:pt idx="49675">
                  <c:v>36.682108493582966</c:v>
                </c:pt>
                <c:pt idx="49676">
                  <c:v>45.605694331095187</c:v>
                </c:pt>
                <c:pt idx="49677">
                  <c:v>30.140922740639244</c:v>
                </c:pt>
                <c:pt idx="49678">
                  <c:v>25.50637201007445</c:v>
                </c:pt>
                <c:pt idx="49679">
                  <c:v>36.544757076468805</c:v>
                </c:pt>
                <c:pt idx="49680">
                  <c:v>28.451809924742552</c:v>
                </c:pt>
                <c:pt idx="49681">
                  <c:v>54.155201410178371</c:v>
                </c:pt>
                <c:pt idx="49682">
                  <c:v>27.106586913994104</c:v>
                </c:pt>
                <c:pt idx="49683">
                  <c:v>38.597879896081864</c:v>
                </c:pt>
                <c:pt idx="49684">
                  <c:v>46.915222981466449</c:v>
                </c:pt>
                <c:pt idx="49685">
                  <c:v>23.802629261234088</c:v>
                </c:pt>
                <c:pt idx="49686">
                  <c:v>31.030193552529568</c:v>
                </c:pt>
                <c:pt idx="49687">
                  <c:v>35.844909517851107</c:v>
                </c:pt>
                <c:pt idx="49688">
                  <c:v>23.994794498248517</c:v>
                </c:pt>
                <c:pt idx="49689">
                  <c:v>32.761826204199913</c:v>
                </c:pt>
                <c:pt idx="49690">
                  <c:v>45.051684081160509</c:v>
                </c:pt>
                <c:pt idx="49691">
                  <c:v>29.028623653032742</c:v>
                </c:pt>
                <c:pt idx="49692">
                  <c:v>27.97636632715648</c:v>
                </c:pt>
                <c:pt idx="49693">
                  <c:v>32.068802276742801</c:v>
                </c:pt>
                <c:pt idx="49694">
                  <c:v>24.955933322825665</c:v>
                </c:pt>
                <c:pt idx="49695">
                  <c:v>24.984369463511616</c:v>
                </c:pt>
                <c:pt idx="49696">
                  <c:v>27.935066526673893</c:v>
                </c:pt>
                <c:pt idx="49697">
                  <c:v>20.398733147228675</c:v>
                </c:pt>
                <c:pt idx="49698">
                  <c:v>26.133557632253364</c:v>
                </c:pt>
                <c:pt idx="49699">
                  <c:v>21.85861349234554</c:v>
                </c:pt>
                <c:pt idx="49700">
                  <c:v>32.578858383865224</c:v>
                </c:pt>
                <c:pt idx="49701">
                  <c:v>26.270421431198677</c:v>
                </c:pt>
                <c:pt idx="49702">
                  <c:v>32.296259629973463</c:v>
                </c:pt>
                <c:pt idx="49703">
                  <c:v>22.972047579013385</c:v>
                </c:pt>
                <c:pt idx="49704">
                  <c:v>25.117955713153389</c:v>
                </c:pt>
                <c:pt idx="49705">
                  <c:v>20.948348594665418</c:v>
                </c:pt>
                <c:pt idx="49706">
                  <c:v>46.325940970994345</c:v>
                </c:pt>
                <c:pt idx="49707">
                  <c:v>36.925878038932169</c:v>
                </c:pt>
                <c:pt idx="49708">
                  <c:v>30.05430844761306</c:v>
                </c:pt>
                <c:pt idx="49709">
                  <c:v>30.016951315209795</c:v>
                </c:pt>
                <c:pt idx="49710">
                  <c:v>29.276515873937193</c:v>
                </c:pt>
                <c:pt idx="49711">
                  <c:v>46.731444514892004</c:v>
                </c:pt>
                <c:pt idx="49712">
                  <c:v>24.407996490969349</c:v>
                </c:pt>
                <c:pt idx="49713">
                  <c:v>24.687118848344141</c:v>
                </c:pt>
                <c:pt idx="49714">
                  <c:v>23.39844914632058</c:v>
                </c:pt>
                <c:pt idx="49715">
                  <c:v>29.148679620344708</c:v>
                </c:pt>
                <c:pt idx="49716">
                  <c:v>33.13034536030375</c:v>
                </c:pt>
                <c:pt idx="49717">
                  <c:v>25.07539857504683</c:v>
                </c:pt>
                <c:pt idx="49718">
                  <c:v>52.064078632163927</c:v>
                </c:pt>
                <c:pt idx="49719">
                  <c:v>22.973551393392221</c:v>
                </c:pt>
                <c:pt idx="49720">
                  <c:v>30.441444076829935</c:v>
                </c:pt>
                <c:pt idx="49721">
                  <c:v>23.208226189772827</c:v>
                </c:pt>
                <c:pt idx="49722">
                  <c:v>47.164729873291456</c:v>
                </c:pt>
                <c:pt idx="49723">
                  <c:v>26.102503474950627</c:v>
                </c:pt>
                <c:pt idx="49724">
                  <c:v>45.26019757950796</c:v>
                </c:pt>
                <c:pt idx="49725">
                  <c:v>29.912539301569698</c:v>
                </c:pt>
                <c:pt idx="49726">
                  <c:v>22.039311896001266</c:v>
                </c:pt>
                <c:pt idx="49727">
                  <c:v>31.905941034279344</c:v>
                </c:pt>
                <c:pt idx="49728">
                  <c:v>33.757160228733731</c:v>
                </c:pt>
                <c:pt idx="49729">
                  <c:v>48.556730324203542</c:v>
                </c:pt>
                <c:pt idx="49730">
                  <c:v>33.879468280367838</c:v>
                </c:pt>
                <c:pt idx="49731">
                  <c:v>25.878781073442688</c:v>
                </c:pt>
                <c:pt idx="49732">
                  <c:v>26.65856591203756</c:v>
                </c:pt>
                <c:pt idx="49733">
                  <c:v>20.697705320276029</c:v>
                </c:pt>
                <c:pt idx="49734">
                  <c:v>22.21306593321323</c:v>
                </c:pt>
                <c:pt idx="49735">
                  <c:v>26.865772476913921</c:v>
                </c:pt>
                <c:pt idx="49736">
                  <c:v>44.59563930087559</c:v>
                </c:pt>
                <c:pt idx="49737">
                  <c:v>22.137291876335468</c:v>
                </c:pt>
                <c:pt idx="49738">
                  <c:v>52.495876828682682</c:v>
                </c:pt>
                <c:pt idx="49739">
                  <c:v>28.531733067051658</c:v>
                </c:pt>
                <c:pt idx="49740">
                  <c:v>53.394914450640101</c:v>
                </c:pt>
                <c:pt idx="49741">
                  <c:v>25.103856984541601</c:v>
                </c:pt>
                <c:pt idx="49742">
                  <c:v>26.223272077770957</c:v>
                </c:pt>
                <c:pt idx="49743">
                  <c:v>20.931493394390785</c:v>
                </c:pt>
                <c:pt idx="49744">
                  <c:v>24.15172210739372</c:v>
                </c:pt>
                <c:pt idx="49745">
                  <c:v>29.549221952077986</c:v>
                </c:pt>
                <c:pt idx="49746">
                  <c:v>30.894124004713579</c:v>
                </c:pt>
                <c:pt idx="49747">
                  <c:v>25.353756135608993</c:v>
                </c:pt>
                <c:pt idx="49748">
                  <c:v>25.795410572278247</c:v>
                </c:pt>
                <c:pt idx="49749">
                  <c:v>20.896483315775345</c:v>
                </c:pt>
                <c:pt idx="49750">
                  <c:v>28.311202693102903</c:v>
                </c:pt>
                <c:pt idx="49751">
                  <c:v>32.959416303299463</c:v>
                </c:pt>
                <c:pt idx="49752">
                  <c:v>20.160907390286038</c:v>
                </c:pt>
                <c:pt idx="49753">
                  <c:v>26.435692701756597</c:v>
                </c:pt>
                <c:pt idx="49754">
                  <c:v>44.014426937574271</c:v>
                </c:pt>
                <c:pt idx="49755">
                  <c:v>33.73708435503751</c:v>
                </c:pt>
                <c:pt idx="49756">
                  <c:v>29.091665453338614</c:v>
                </c:pt>
                <c:pt idx="49757">
                  <c:v>31.227694822946617</c:v>
                </c:pt>
                <c:pt idx="49758">
                  <c:v>31.58746265288546</c:v>
                </c:pt>
                <c:pt idx="49759">
                  <c:v>28.950138155995404</c:v>
                </c:pt>
                <c:pt idx="49760">
                  <c:v>28.757806704515865</c:v>
                </c:pt>
                <c:pt idx="49761">
                  <c:v>25.027396906810019</c:v>
                </c:pt>
                <c:pt idx="49762">
                  <c:v>47.15780683864201</c:v>
                </c:pt>
                <c:pt idx="49763">
                  <c:v>27.69588317208953</c:v>
                </c:pt>
                <c:pt idx="49764">
                  <c:v>32.854804988451718</c:v>
                </c:pt>
                <c:pt idx="49765">
                  <c:v>24.380913522593172</c:v>
                </c:pt>
                <c:pt idx="49766">
                  <c:v>29.097709022659036</c:v>
                </c:pt>
                <c:pt idx="49767">
                  <c:v>45.350086603904721</c:v>
                </c:pt>
                <c:pt idx="49768">
                  <c:v>24.267136666270144</c:v>
                </c:pt>
                <c:pt idx="49769">
                  <c:v>40.884847993269155</c:v>
                </c:pt>
                <c:pt idx="49770">
                  <c:v>44.537089417404104</c:v>
                </c:pt>
                <c:pt idx="49771">
                  <c:v>44.558548484770839</c:v>
                </c:pt>
                <c:pt idx="49772">
                  <c:v>52.968223525418118</c:v>
                </c:pt>
                <c:pt idx="49773">
                  <c:v>31.913243147826794</c:v>
                </c:pt>
                <c:pt idx="49774">
                  <c:v>24.980859074605021</c:v>
                </c:pt>
                <c:pt idx="49775">
                  <c:v>51.074171370850088</c:v>
                </c:pt>
                <c:pt idx="49776">
                  <c:v>23.250541699954905</c:v>
                </c:pt>
                <c:pt idx="49777">
                  <c:v>27.892649207796136</c:v>
                </c:pt>
                <c:pt idx="49778">
                  <c:v>28.015358347874191</c:v>
                </c:pt>
                <c:pt idx="49779">
                  <c:v>43.855720877084217</c:v>
                </c:pt>
                <c:pt idx="49780">
                  <c:v>30.570101671092903</c:v>
                </c:pt>
                <c:pt idx="49781">
                  <c:v>25.99912380887686</c:v>
                </c:pt>
                <c:pt idx="49782">
                  <c:v>35.377207263065685</c:v>
                </c:pt>
                <c:pt idx="49783">
                  <c:v>30.630018359325103</c:v>
                </c:pt>
                <c:pt idx="49784">
                  <c:v>47.99899767726891</c:v>
                </c:pt>
                <c:pt idx="49785">
                  <c:v>23.833326116063738</c:v>
                </c:pt>
                <c:pt idx="49786">
                  <c:v>41.4404336880363</c:v>
                </c:pt>
                <c:pt idx="49787">
                  <c:v>50.821824317020216</c:v>
                </c:pt>
                <c:pt idx="49788">
                  <c:v>21.942022384235941</c:v>
                </c:pt>
                <c:pt idx="49789">
                  <c:v>31.637607045489105</c:v>
                </c:pt>
                <c:pt idx="49790">
                  <c:v>14.067057562459109</c:v>
                </c:pt>
                <c:pt idx="49791">
                  <c:v>21.114220553880852</c:v>
                </c:pt>
                <c:pt idx="49792">
                  <c:v>43.755889673202333</c:v>
                </c:pt>
                <c:pt idx="49793">
                  <c:v>29.982965719685804</c:v>
                </c:pt>
                <c:pt idx="49794">
                  <c:v>31.760890938425685</c:v>
                </c:pt>
                <c:pt idx="49795">
                  <c:v>28.190837483925634</c:v>
                </c:pt>
                <c:pt idx="49796">
                  <c:v>30.770215210290676</c:v>
                </c:pt>
                <c:pt idx="49797">
                  <c:v>23.222832439586089</c:v>
                </c:pt>
                <c:pt idx="49798">
                  <c:v>25.991944300135888</c:v>
                </c:pt>
                <c:pt idx="49799">
                  <c:v>38.112289854828369</c:v>
                </c:pt>
                <c:pt idx="49800">
                  <c:v>28.637370235144527</c:v>
                </c:pt>
                <c:pt idx="49801">
                  <c:v>57.18652375488044</c:v>
                </c:pt>
                <c:pt idx="49802">
                  <c:v>31.877555941401369</c:v>
                </c:pt>
                <c:pt idx="49803">
                  <c:v>51.00316358204141</c:v>
                </c:pt>
                <c:pt idx="49804">
                  <c:v>41.967357495538778</c:v>
                </c:pt>
                <c:pt idx="49805">
                  <c:v>36.771454751202882</c:v>
                </c:pt>
                <c:pt idx="49806">
                  <c:v>24.406981962105743</c:v>
                </c:pt>
                <c:pt idx="49807">
                  <c:v>32.201176753732057</c:v>
                </c:pt>
                <c:pt idx="49808">
                  <c:v>21.271317154688649</c:v>
                </c:pt>
                <c:pt idx="49809">
                  <c:v>36.333819695162013</c:v>
                </c:pt>
                <c:pt idx="49810">
                  <c:v>22.355512229605907</c:v>
                </c:pt>
                <c:pt idx="49811">
                  <c:v>24.952533343520713</c:v>
                </c:pt>
                <c:pt idx="49812">
                  <c:v>22.612423043088445</c:v>
                </c:pt>
                <c:pt idx="49813">
                  <c:v>29.405078569936602</c:v>
                </c:pt>
                <c:pt idx="49814">
                  <c:v>27.398344924019192</c:v>
                </c:pt>
                <c:pt idx="49815">
                  <c:v>31.114939131354209</c:v>
                </c:pt>
                <c:pt idx="49816">
                  <c:v>35.118415330888205</c:v>
                </c:pt>
                <c:pt idx="49817">
                  <c:v>13.922521165192839</c:v>
                </c:pt>
                <c:pt idx="49818">
                  <c:v>37.138627902760796</c:v>
                </c:pt>
                <c:pt idx="49819">
                  <c:v>42.78862989794483</c:v>
                </c:pt>
                <c:pt idx="49820">
                  <c:v>35.018633559842606</c:v>
                </c:pt>
                <c:pt idx="49821">
                  <c:v>23.700824819005277</c:v>
                </c:pt>
                <c:pt idx="49822">
                  <c:v>45.741389785482802</c:v>
                </c:pt>
                <c:pt idx="49823">
                  <c:v>23.988095651711667</c:v>
                </c:pt>
                <c:pt idx="49824">
                  <c:v>45.31855269882049</c:v>
                </c:pt>
                <c:pt idx="49825">
                  <c:v>24.660917757217568</c:v>
                </c:pt>
                <c:pt idx="49826">
                  <c:v>26.805442684957267</c:v>
                </c:pt>
                <c:pt idx="49827">
                  <c:v>26.655064610846487</c:v>
                </c:pt>
                <c:pt idx="49828">
                  <c:v>29.136500084959494</c:v>
                </c:pt>
                <c:pt idx="49829">
                  <c:v>30.792016123952607</c:v>
                </c:pt>
                <c:pt idx="49830">
                  <c:v>27.188479691877493</c:v>
                </c:pt>
                <c:pt idx="49831">
                  <c:v>28.562014193368164</c:v>
                </c:pt>
                <c:pt idx="49832">
                  <c:v>21.145212553831982</c:v>
                </c:pt>
                <c:pt idx="49833">
                  <c:v>29.467967678485135</c:v>
                </c:pt>
                <c:pt idx="49834">
                  <c:v>51.107829499096091</c:v>
                </c:pt>
                <c:pt idx="49835">
                  <c:v>31.286631753585663</c:v>
                </c:pt>
                <c:pt idx="49836">
                  <c:v>23.99315020828482</c:v>
                </c:pt>
                <c:pt idx="49837">
                  <c:v>57.093014585889648</c:v>
                </c:pt>
                <c:pt idx="49838">
                  <c:v>22.088059576506222</c:v>
                </c:pt>
                <c:pt idx="49839">
                  <c:v>17.694569441567172</c:v>
                </c:pt>
                <c:pt idx="49840">
                  <c:v>21.16899608752605</c:v>
                </c:pt>
                <c:pt idx="49841">
                  <c:v>46.035392908573151</c:v>
                </c:pt>
                <c:pt idx="49842">
                  <c:v>19.738110645028115</c:v>
                </c:pt>
                <c:pt idx="49843">
                  <c:v>28.261035220933568</c:v>
                </c:pt>
                <c:pt idx="49844">
                  <c:v>32.696709973231165</c:v>
                </c:pt>
                <c:pt idx="49845">
                  <c:v>37.578683945481927</c:v>
                </c:pt>
                <c:pt idx="49846">
                  <c:v>23.71733462288913</c:v>
                </c:pt>
                <c:pt idx="49847">
                  <c:v>36.316284122464168</c:v>
                </c:pt>
                <c:pt idx="49848">
                  <c:v>47.038651428814305</c:v>
                </c:pt>
                <c:pt idx="49849">
                  <c:v>25.880268499133884</c:v>
                </c:pt>
                <c:pt idx="49850">
                  <c:v>32.004102041671764</c:v>
                </c:pt>
                <c:pt idx="49851">
                  <c:v>29.122614158529295</c:v>
                </c:pt>
                <c:pt idx="49852">
                  <c:v>18.3701567171688</c:v>
                </c:pt>
                <c:pt idx="49853">
                  <c:v>23.427498393157776</c:v>
                </c:pt>
                <c:pt idx="49854">
                  <c:v>24.851465230068502</c:v>
                </c:pt>
                <c:pt idx="49855">
                  <c:v>31.827778711044871</c:v>
                </c:pt>
                <c:pt idx="49856">
                  <c:v>30.049834953668405</c:v>
                </c:pt>
                <c:pt idx="49857">
                  <c:v>46.492490897450075</c:v>
                </c:pt>
                <c:pt idx="49858">
                  <c:v>27.199408930259867</c:v>
                </c:pt>
                <c:pt idx="49859">
                  <c:v>35.03273131830862</c:v>
                </c:pt>
                <c:pt idx="49860">
                  <c:v>37.4382137564114</c:v>
                </c:pt>
                <c:pt idx="49861">
                  <c:v>32.241039452143667</c:v>
                </c:pt>
                <c:pt idx="49862">
                  <c:v>24.800494710195856</c:v>
                </c:pt>
                <c:pt idx="49863">
                  <c:v>39.685699012216055</c:v>
                </c:pt>
                <c:pt idx="49864">
                  <c:v>17.195790678430416</c:v>
                </c:pt>
                <c:pt idx="49865">
                  <c:v>32.579128797208192</c:v>
                </c:pt>
                <c:pt idx="49866">
                  <c:v>31.742949342132118</c:v>
                </c:pt>
                <c:pt idx="49867">
                  <c:v>52.955129669984707</c:v>
                </c:pt>
                <c:pt idx="49868">
                  <c:v>25.072783205260038</c:v>
                </c:pt>
                <c:pt idx="49869">
                  <c:v>30.522538571628889</c:v>
                </c:pt>
                <c:pt idx="49870">
                  <c:v>58.728481221694487</c:v>
                </c:pt>
                <c:pt idx="49871">
                  <c:v>26.034199972999144</c:v>
                </c:pt>
                <c:pt idx="49872">
                  <c:v>28.28604607475101</c:v>
                </c:pt>
                <c:pt idx="49873">
                  <c:v>35.586771840452187</c:v>
                </c:pt>
                <c:pt idx="49874">
                  <c:v>39.103622650863926</c:v>
                </c:pt>
                <c:pt idx="49875">
                  <c:v>19.745827379426668</c:v>
                </c:pt>
                <c:pt idx="49876">
                  <c:v>28.177031045462002</c:v>
                </c:pt>
                <c:pt idx="49877">
                  <c:v>25.933005980032281</c:v>
                </c:pt>
                <c:pt idx="49878">
                  <c:v>24.646611363289047</c:v>
                </c:pt>
                <c:pt idx="49879">
                  <c:v>27.294741618606984</c:v>
                </c:pt>
                <c:pt idx="49880">
                  <c:v>25.314163296956888</c:v>
                </c:pt>
                <c:pt idx="49881">
                  <c:v>44.688516441438438</c:v>
                </c:pt>
                <c:pt idx="49882">
                  <c:v>23.919484847260467</c:v>
                </c:pt>
                <c:pt idx="49883">
                  <c:v>33.24378443557282</c:v>
                </c:pt>
                <c:pt idx="49884">
                  <c:v>33.908127788990278</c:v>
                </c:pt>
                <c:pt idx="49885">
                  <c:v>23.837592658621482</c:v>
                </c:pt>
                <c:pt idx="49886">
                  <c:v>27.341856047935675</c:v>
                </c:pt>
                <c:pt idx="49887">
                  <c:v>33.025365148177642</c:v>
                </c:pt>
                <c:pt idx="49888">
                  <c:v>28.2516513555227</c:v>
                </c:pt>
                <c:pt idx="49889">
                  <c:v>22.872854217719642</c:v>
                </c:pt>
                <c:pt idx="49890">
                  <c:v>22.471527652281548</c:v>
                </c:pt>
                <c:pt idx="49891">
                  <c:v>33.599296460664775</c:v>
                </c:pt>
                <c:pt idx="49892">
                  <c:v>35.699180054881396</c:v>
                </c:pt>
                <c:pt idx="49893">
                  <c:v>43.95450254031983</c:v>
                </c:pt>
                <c:pt idx="49894">
                  <c:v>27.305101241269409</c:v>
                </c:pt>
                <c:pt idx="49895">
                  <c:v>30.829504484144778</c:v>
                </c:pt>
                <c:pt idx="49896">
                  <c:v>27.619941003230487</c:v>
                </c:pt>
                <c:pt idx="49897">
                  <c:v>60.990647844742917</c:v>
                </c:pt>
                <c:pt idx="49898">
                  <c:v>27.867303073689602</c:v>
                </c:pt>
                <c:pt idx="49899">
                  <c:v>30.860296126199927</c:v>
                </c:pt>
                <c:pt idx="49900">
                  <c:v>27.309631232043717</c:v>
                </c:pt>
                <c:pt idx="49901">
                  <c:v>22.418997693432217</c:v>
                </c:pt>
                <c:pt idx="49902">
                  <c:v>34.041639068171975</c:v>
                </c:pt>
                <c:pt idx="49903">
                  <c:v>39.689380910296677</c:v>
                </c:pt>
                <c:pt idx="49904">
                  <c:v>49.463903021768637</c:v>
                </c:pt>
                <c:pt idx="49905">
                  <c:v>25.412569726579367</c:v>
                </c:pt>
                <c:pt idx="49906">
                  <c:v>29.571392905164718</c:v>
                </c:pt>
                <c:pt idx="49907">
                  <c:v>29.529696628469054</c:v>
                </c:pt>
                <c:pt idx="49908">
                  <c:v>32.701144978113362</c:v>
                </c:pt>
                <c:pt idx="49909">
                  <c:v>32.158171683029465</c:v>
                </c:pt>
                <c:pt idx="49910">
                  <c:v>24.63673831625767</c:v>
                </c:pt>
                <c:pt idx="49911">
                  <c:v>36.027461839928961</c:v>
                </c:pt>
                <c:pt idx="49912">
                  <c:v>19.873917960855984</c:v>
                </c:pt>
                <c:pt idx="49913">
                  <c:v>28.111965853851661</c:v>
                </c:pt>
                <c:pt idx="49914">
                  <c:v>20.339504796894239</c:v>
                </c:pt>
                <c:pt idx="49915">
                  <c:v>37.202868539165955</c:v>
                </c:pt>
                <c:pt idx="49916">
                  <c:v>47.878610854529121</c:v>
                </c:pt>
                <c:pt idx="49917">
                  <c:v>42.163658115724672</c:v>
                </c:pt>
                <c:pt idx="49918">
                  <c:v>26.342914368028268</c:v>
                </c:pt>
                <c:pt idx="49919">
                  <c:v>24.841350772201356</c:v>
                </c:pt>
                <c:pt idx="49920">
                  <c:v>21.9088801410321</c:v>
                </c:pt>
                <c:pt idx="49921">
                  <c:v>31.087256876121984</c:v>
                </c:pt>
                <c:pt idx="49922">
                  <c:v>23.995423867108187</c:v>
                </c:pt>
                <c:pt idx="49923">
                  <c:v>25.456966770890446</c:v>
                </c:pt>
                <c:pt idx="49924">
                  <c:v>42.486849856376168</c:v>
                </c:pt>
                <c:pt idx="49925">
                  <c:v>25.286908643534652</c:v>
                </c:pt>
                <c:pt idx="49926">
                  <c:v>30.017997297539662</c:v>
                </c:pt>
                <c:pt idx="49927">
                  <c:v>17.824815339869275</c:v>
                </c:pt>
                <c:pt idx="49928">
                  <c:v>24.29861705727572</c:v>
                </c:pt>
                <c:pt idx="49929">
                  <c:v>22.017533619097197</c:v>
                </c:pt>
                <c:pt idx="49930">
                  <c:v>46.769224158610896</c:v>
                </c:pt>
                <c:pt idx="49931">
                  <c:v>19.737438628466741</c:v>
                </c:pt>
                <c:pt idx="49932">
                  <c:v>43.760056339145443</c:v>
                </c:pt>
                <c:pt idx="49933">
                  <c:v>40.349559187923312</c:v>
                </c:pt>
                <c:pt idx="49934">
                  <c:v>25.008491436899835</c:v>
                </c:pt>
                <c:pt idx="49935">
                  <c:v>35.53191243174733</c:v>
                </c:pt>
                <c:pt idx="49936">
                  <c:v>28.977942486285762</c:v>
                </c:pt>
                <c:pt idx="49937">
                  <c:v>22.643687315784959</c:v>
                </c:pt>
                <c:pt idx="49938">
                  <c:v>63.482558583103902</c:v>
                </c:pt>
                <c:pt idx="49939">
                  <c:v>25.88100485754244</c:v>
                </c:pt>
                <c:pt idx="49940">
                  <c:v>23.266100816691811</c:v>
                </c:pt>
                <c:pt idx="49941">
                  <c:v>20.945337336696312</c:v>
                </c:pt>
                <c:pt idx="49942">
                  <c:v>32.41034824963257</c:v>
                </c:pt>
                <c:pt idx="49943">
                  <c:v>19.916160295061569</c:v>
                </c:pt>
                <c:pt idx="49944">
                  <c:v>29.339557519951459</c:v>
                </c:pt>
                <c:pt idx="49945">
                  <c:v>22.051992829950354</c:v>
                </c:pt>
                <c:pt idx="49946">
                  <c:v>27.894211393403747</c:v>
                </c:pt>
                <c:pt idx="49947">
                  <c:v>38.865493766647838</c:v>
                </c:pt>
                <c:pt idx="49948">
                  <c:v>32.222106304246616</c:v>
                </c:pt>
                <c:pt idx="49949">
                  <c:v>25.574470584659455</c:v>
                </c:pt>
                <c:pt idx="49950">
                  <c:v>26.185004837701992</c:v>
                </c:pt>
                <c:pt idx="49951">
                  <c:v>19.430572574883577</c:v>
                </c:pt>
                <c:pt idx="49952">
                  <c:v>22.146996801665722</c:v>
                </c:pt>
                <c:pt idx="49953">
                  <c:v>28.976797324878948</c:v>
                </c:pt>
                <c:pt idx="49954">
                  <c:v>53.215229532297947</c:v>
                </c:pt>
                <c:pt idx="49955">
                  <c:v>29.13930031268027</c:v>
                </c:pt>
                <c:pt idx="49956">
                  <c:v>38.210413230818872</c:v>
                </c:pt>
                <c:pt idx="49957">
                  <c:v>33.334356713683704</c:v>
                </c:pt>
                <c:pt idx="49958">
                  <c:v>25.78652027739394</c:v>
                </c:pt>
                <c:pt idx="49959">
                  <c:v>47.657251944506413</c:v>
                </c:pt>
                <c:pt idx="49960">
                  <c:v>28.566169771176838</c:v>
                </c:pt>
                <c:pt idx="49961">
                  <c:v>39.192996315213684</c:v>
                </c:pt>
                <c:pt idx="49962">
                  <c:v>28.995115002515618</c:v>
                </c:pt>
                <c:pt idx="49963">
                  <c:v>23.427512036017781</c:v>
                </c:pt>
                <c:pt idx="49964">
                  <c:v>26.606675613159688</c:v>
                </c:pt>
                <c:pt idx="49965">
                  <c:v>37.040691852483029</c:v>
                </c:pt>
                <c:pt idx="49966">
                  <c:v>25.953811063021121</c:v>
                </c:pt>
                <c:pt idx="49967">
                  <c:v>26.64742863818941</c:v>
                </c:pt>
                <c:pt idx="49968">
                  <c:v>32.884565403006761</c:v>
                </c:pt>
                <c:pt idx="49969">
                  <c:v>51.952245872439498</c:v>
                </c:pt>
                <c:pt idx="49970">
                  <c:v>27.720677547643589</c:v>
                </c:pt>
                <c:pt idx="49971">
                  <c:v>42.557060445623677</c:v>
                </c:pt>
                <c:pt idx="49972">
                  <c:v>23.18900504485385</c:v>
                </c:pt>
                <c:pt idx="49973">
                  <c:v>30.082592337513915</c:v>
                </c:pt>
                <c:pt idx="49974">
                  <c:v>22.475794390292673</c:v>
                </c:pt>
                <c:pt idx="49975">
                  <c:v>39.146147580736582</c:v>
                </c:pt>
                <c:pt idx="49976">
                  <c:v>28.56226271602484</c:v>
                </c:pt>
                <c:pt idx="49977">
                  <c:v>27.968469039943507</c:v>
                </c:pt>
                <c:pt idx="49978">
                  <c:v>27.352713139095393</c:v>
                </c:pt>
                <c:pt idx="49979">
                  <c:v>26.471675295157155</c:v>
                </c:pt>
                <c:pt idx="49980">
                  <c:v>24.648912961293028</c:v>
                </c:pt>
                <c:pt idx="49981">
                  <c:v>24.490603226843806</c:v>
                </c:pt>
                <c:pt idx="49982">
                  <c:v>51.979475715610128</c:v>
                </c:pt>
                <c:pt idx="49983">
                  <c:v>49.401637972734044</c:v>
                </c:pt>
                <c:pt idx="49984">
                  <c:v>19.816658177800576</c:v>
                </c:pt>
                <c:pt idx="49985">
                  <c:v>25.820011006432019</c:v>
                </c:pt>
                <c:pt idx="49986">
                  <c:v>35.76258782180458</c:v>
                </c:pt>
                <c:pt idx="49987">
                  <c:v>23.413713604309322</c:v>
                </c:pt>
                <c:pt idx="49988">
                  <c:v>23.433797670158029</c:v>
                </c:pt>
                <c:pt idx="49989">
                  <c:v>22.37201917781077</c:v>
                </c:pt>
                <c:pt idx="49990">
                  <c:v>25.352780567123059</c:v>
                </c:pt>
                <c:pt idx="49991">
                  <c:v>29.218321097896496</c:v>
                </c:pt>
                <c:pt idx="49992">
                  <c:v>30.862405738232887</c:v>
                </c:pt>
                <c:pt idx="49993">
                  <c:v>21.536498976271748</c:v>
                </c:pt>
                <c:pt idx="49994">
                  <c:v>32.555472120569647</c:v>
                </c:pt>
                <c:pt idx="49995">
                  <c:v>50.790809518990528</c:v>
                </c:pt>
                <c:pt idx="49996">
                  <c:v>22.366648917301802</c:v>
                </c:pt>
                <c:pt idx="49997">
                  <c:v>53.752636190089923</c:v>
                </c:pt>
                <c:pt idx="49998">
                  <c:v>28.621540215821476</c:v>
                </c:pt>
                <c:pt idx="49999">
                  <c:v>21.669853735893888</c:v>
                </c:pt>
                <c:pt idx="50000">
                  <c:v>29.284963588313271</c:v>
                </c:pt>
                <c:pt idx="50001">
                  <c:v>27.030815896891639</c:v>
                </c:pt>
                <c:pt idx="50002">
                  <c:v>27.743569237717384</c:v>
                </c:pt>
                <c:pt idx="50003">
                  <c:v>29.90179206411598</c:v>
                </c:pt>
                <c:pt idx="50004">
                  <c:v>26.823784772571926</c:v>
                </c:pt>
                <c:pt idx="50005">
                  <c:v>22.290909600533606</c:v>
                </c:pt>
                <c:pt idx="50006">
                  <c:v>30.485511414292759</c:v>
                </c:pt>
                <c:pt idx="50007">
                  <c:v>33.911068508904215</c:v>
                </c:pt>
                <c:pt idx="50008">
                  <c:v>33.786279564945083</c:v>
                </c:pt>
                <c:pt idx="50009">
                  <c:v>60.323600986711902</c:v>
                </c:pt>
                <c:pt idx="50010">
                  <c:v>26.366652860586669</c:v>
                </c:pt>
                <c:pt idx="50011">
                  <c:v>50.948866253937631</c:v>
                </c:pt>
                <c:pt idx="50012">
                  <c:v>17.022813465692344</c:v>
                </c:pt>
                <c:pt idx="50013">
                  <c:v>38.170733382870921</c:v>
                </c:pt>
                <c:pt idx="50014">
                  <c:v>46.904025320465635</c:v>
                </c:pt>
                <c:pt idx="50015">
                  <c:v>28.325622977780178</c:v>
                </c:pt>
                <c:pt idx="50016">
                  <c:v>33.410932671768357</c:v>
                </c:pt>
                <c:pt idx="50017">
                  <c:v>33.697723915226625</c:v>
                </c:pt>
                <c:pt idx="50018">
                  <c:v>27.959347234172025</c:v>
                </c:pt>
                <c:pt idx="50019">
                  <c:v>36.412589609720555</c:v>
                </c:pt>
                <c:pt idx="50020">
                  <c:v>22.846618282551773</c:v>
                </c:pt>
                <c:pt idx="50021">
                  <c:v>36.264941370064783</c:v>
                </c:pt>
                <c:pt idx="50022">
                  <c:v>29.457055061121096</c:v>
                </c:pt>
                <c:pt idx="50023">
                  <c:v>26.899203240543073</c:v>
                </c:pt>
                <c:pt idx="50024">
                  <c:v>31.320598273423606</c:v>
                </c:pt>
                <c:pt idx="50025">
                  <c:v>13.469323814459596</c:v>
                </c:pt>
                <c:pt idx="50026">
                  <c:v>26.025766179572983</c:v>
                </c:pt>
                <c:pt idx="50027">
                  <c:v>29.577809220387365</c:v>
                </c:pt>
                <c:pt idx="50028">
                  <c:v>23.226165546076675</c:v>
                </c:pt>
                <c:pt idx="50029">
                  <c:v>29.337316089193781</c:v>
                </c:pt>
                <c:pt idx="50030">
                  <c:v>21.829548971294589</c:v>
                </c:pt>
                <c:pt idx="50031">
                  <c:v>19.485051781336516</c:v>
                </c:pt>
                <c:pt idx="50032">
                  <c:v>23.86946316189816</c:v>
                </c:pt>
                <c:pt idx="50033">
                  <c:v>24.185655696978188</c:v>
                </c:pt>
                <c:pt idx="50034">
                  <c:v>20.32765764853669</c:v>
                </c:pt>
                <c:pt idx="50035">
                  <c:v>27.263673008774351</c:v>
                </c:pt>
                <c:pt idx="50036">
                  <c:v>32.702466671568828</c:v>
                </c:pt>
                <c:pt idx="50037">
                  <c:v>30.172100777169526</c:v>
                </c:pt>
                <c:pt idx="50038">
                  <c:v>21.256135794948335</c:v>
                </c:pt>
                <c:pt idx="50039">
                  <c:v>52.160652882212894</c:v>
                </c:pt>
                <c:pt idx="50040">
                  <c:v>15.370210316238092</c:v>
                </c:pt>
                <c:pt idx="50041">
                  <c:v>27.452828549728551</c:v>
                </c:pt>
                <c:pt idx="50042">
                  <c:v>48.363899238087576</c:v>
                </c:pt>
                <c:pt idx="50043">
                  <c:v>48.581672665452459</c:v>
                </c:pt>
                <c:pt idx="50044">
                  <c:v>27.940299128073363</c:v>
                </c:pt>
                <c:pt idx="50045">
                  <c:v>31.989202742162679</c:v>
                </c:pt>
                <c:pt idx="50046">
                  <c:v>19.805810597823715</c:v>
                </c:pt>
                <c:pt idx="50047">
                  <c:v>26.672680325695399</c:v>
                </c:pt>
                <c:pt idx="50048">
                  <c:v>27.499439619687173</c:v>
                </c:pt>
                <c:pt idx="50049">
                  <c:v>52.270834253797567</c:v>
                </c:pt>
                <c:pt idx="50050">
                  <c:v>26.094188338461869</c:v>
                </c:pt>
                <c:pt idx="50051">
                  <c:v>29.504816451418417</c:v>
                </c:pt>
                <c:pt idx="50052">
                  <c:v>30.641281982512606</c:v>
                </c:pt>
                <c:pt idx="50053">
                  <c:v>21.694149999743566</c:v>
                </c:pt>
                <c:pt idx="50054">
                  <c:v>33.480645547539496</c:v>
                </c:pt>
                <c:pt idx="50055">
                  <c:v>24.615268659011864</c:v>
                </c:pt>
                <c:pt idx="50056">
                  <c:v>54.659151595233837</c:v>
                </c:pt>
                <c:pt idx="50057">
                  <c:v>35.124311285791848</c:v>
                </c:pt>
                <c:pt idx="50058">
                  <c:v>20.945651133002208</c:v>
                </c:pt>
                <c:pt idx="50059">
                  <c:v>28.626655699643518</c:v>
                </c:pt>
                <c:pt idx="50060">
                  <c:v>25.846064490944446</c:v>
                </c:pt>
                <c:pt idx="50061">
                  <c:v>21.0738949927992</c:v>
                </c:pt>
                <c:pt idx="50062">
                  <c:v>26.671048379865937</c:v>
                </c:pt>
                <c:pt idx="50063">
                  <c:v>34.134269486258894</c:v>
                </c:pt>
                <c:pt idx="50064">
                  <c:v>38.627175480700942</c:v>
                </c:pt>
                <c:pt idx="50065">
                  <c:v>44.772346420345293</c:v>
                </c:pt>
                <c:pt idx="50066">
                  <c:v>52.420836024126679</c:v>
                </c:pt>
                <c:pt idx="50067">
                  <c:v>24.053821784486082</c:v>
                </c:pt>
                <c:pt idx="50068">
                  <c:v>26.423391958526267</c:v>
                </c:pt>
                <c:pt idx="50069">
                  <c:v>24.799823195592918</c:v>
                </c:pt>
                <c:pt idx="50070">
                  <c:v>22.995495072884427</c:v>
                </c:pt>
                <c:pt idx="50071">
                  <c:v>21.217369975923489</c:v>
                </c:pt>
                <c:pt idx="50072">
                  <c:v>27.666308278919249</c:v>
                </c:pt>
                <c:pt idx="50073">
                  <c:v>23.851004030419801</c:v>
                </c:pt>
                <c:pt idx="50074">
                  <c:v>24.420658233471762</c:v>
                </c:pt>
                <c:pt idx="50075">
                  <c:v>34.02534433387239</c:v>
                </c:pt>
                <c:pt idx="50076">
                  <c:v>35.776905178173415</c:v>
                </c:pt>
                <c:pt idx="50077">
                  <c:v>28.567488305141239</c:v>
                </c:pt>
                <c:pt idx="50078">
                  <c:v>39.584191507786436</c:v>
                </c:pt>
                <c:pt idx="50079">
                  <c:v>32.053764240358326</c:v>
                </c:pt>
                <c:pt idx="50080">
                  <c:v>37.512417679681626</c:v>
                </c:pt>
                <c:pt idx="50081">
                  <c:v>24.030031512223101</c:v>
                </c:pt>
                <c:pt idx="50082">
                  <c:v>25.581178999548762</c:v>
                </c:pt>
                <c:pt idx="50083">
                  <c:v>26.652917544336091</c:v>
                </c:pt>
                <c:pt idx="50084">
                  <c:v>16.838560072715232</c:v>
                </c:pt>
                <c:pt idx="50085">
                  <c:v>42.663808877062451</c:v>
                </c:pt>
                <c:pt idx="50086">
                  <c:v>49.22210753132633</c:v>
                </c:pt>
                <c:pt idx="50087">
                  <c:v>30.610885456097307</c:v>
                </c:pt>
                <c:pt idx="50088">
                  <c:v>37.837081112373056</c:v>
                </c:pt>
                <c:pt idx="50089">
                  <c:v>30.162384885582036</c:v>
                </c:pt>
                <c:pt idx="50090">
                  <c:v>39.176066873482299</c:v>
                </c:pt>
                <c:pt idx="50091">
                  <c:v>19.056694486229638</c:v>
                </c:pt>
                <c:pt idx="50092">
                  <c:v>26.731878493524444</c:v>
                </c:pt>
                <c:pt idx="50093">
                  <c:v>30.687572089300808</c:v>
                </c:pt>
                <c:pt idx="50094">
                  <c:v>26.235050627782989</c:v>
                </c:pt>
                <c:pt idx="50095">
                  <c:v>25.027285959614851</c:v>
                </c:pt>
                <c:pt idx="50096">
                  <c:v>26.009096991354216</c:v>
                </c:pt>
                <c:pt idx="50097">
                  <c:v>26.641487018323119</c:v>
                </c:pt>
                <c:pt idx="50098">
                  <c:v>24.235922435968718</c:v>
                </c:pt>
                <c:pt idx="50099">
                  <c:v>26.186325067212302</c:v>
                </c:pt>
                <c:pt idx="50100">
                  <c:v>22.862566356734778</c:v>
                </c:pt>
                <c:pt idx="50101">
                  <c:v>31.218197007736311</c:v>
                </c:pt>
                <c:pt idx="50102">
                  <c:v>26.491077327329378</c:v>
                </c:pt>
                <c:pt idx="50103">
                  <c:v>52.097814449778227</c:v>
                </c:pt>
                <c:pt idx="50104">
                  <c:v>32.228977760898829</c:v>
                </c:pt>
                <c:pt idx="50105">
                  <c:v>24.260996912410626</c:v>
                </c:pt>
                <c:pt idx="50106">
                  <c:v>59.251975521831859</c:v>
                </c:pt>
                <c:pt idx="50107">
                  <c:v>24.790289742307248</c:v>
                </c:pt>
                <c:pt idx="50108">
                  <c:v>23.750422480734123</c:v>
                </c:pt>
                <c:pt idx="50109">
                  <c:v>33.852344027410588</c:v>
                </c:pt>
                <c:pt idx="50110">
                  <c:v>31.361969229545402</c:v>
                </c:pt>
                <c:pt idx="50111">
                  <c:v>27.918629987863049</c:v>
                </c:pt>
                <c:pt idx="50112">
                  <c:v>33.563291792050997</c:v>
                </c:pt>
                <c:pt idx="50113">
                  <c:v>27.757425892705569</c:v>
                </c:pt>
                <c:pt idx="50114">
                  <c:v>30.941039294694239</c:v>
                </c:pt>
                <c:pt idx="50115">
                  <c:v>22.978067126602092</c:v>
                </c:pt>
                <c:pt idx="50116">
                  <c:v>57.027993182581085</c:v>
                </c:pt>
                <c:pt idx="50117">
                  <c:v>31.100359411312592</c:v>
                </c:pt>
                <c:pt idx="50118">
                  <c:v>33.254198965444665</c:v>
                </c:pt>
                <c:pt idx="50119">
                  <c:v>60.968317010787231</c:v>
                </c:pt>
                <c:pt idx="50120">
                  <c:v>19.432317931227946</c:v>
                </c:pt>
                <c:pt idx="50121">
                  <c:v>34.918937779671829</c:v>
                </c:pt>
                <c:pt idx="50122">
                  <c:v>55.542197300906182</c:v>
                </c:pt>
                <c:pt idx="50123">
                  <c:v>30.449701528588022</c:v>
                </c:pt>
                <c:pt idx="50124">
                  <c:v>20.495093689347772</c:v>
                </c:pt>
                <c:pt idx="50125">
                  <c:v>31.675786473731819</c:v>
                </c:pt>
                <c:pt idx="50126">
                  <c:v>24.443902100746158</c:v>
                </c:pt>
                <c:pt idx="50127">
                  <c:v>40.52226199073727</c:v>
                </c:pt>
                <c:pt idx="50128">
                  <c:v>17.280208291559976</c:v>
                </c:pt>
                <c:pt idx="50129">
                  <c:v>31.596061526203837</c:v>
                </c:pt>
                <c:pt idx="50130">
                  <c:v>36.088509559984701</c:v>
                </c:pt>
                <c:pt idx="50131">
                  <c:v>18.955684111443873</c:v>
                </c:pt>
                <c:pt idx="50132">
                  <c:v>45.80785861363384</c:v>
                </c:pt>
                <c:pt idx="50133">
                  <c:v>27.145208973083527</c:v>
                </c:pt>
                <c:pt idx="50134">
                  <c:v>35.596589366578044</c:v>
                </c:pt>
                <c:pt idx="50135">
                  <c:v>24.960810711443827</c:v>
                </c:pt>
                <c:pt idx="50136">
                  <c:v>27.614770219782951</c:v>
                </c:pt>
                <c:pt idx="50137">
                  <c:v>50.100149589553475</c:v>
                </c:pt>
                <c:pt idx="50138">
                  <c:v>30.500327561143795</c:v>
                </c:pt>
                <c:pt idx="50139">
                  <c:v>29.366067871041324</c:v>
                </c:pt>
                <c:pt idx="50140">
                  <c:v>16.65531341566712</c:v>
                </c:pt>
                <c:pt idx="50141">
                  <c:v>27.225920770211779</c:v>
                </c:pt>
                <c:pt idx="50142">
                  <c:v>20.874872660055786</c:v>
                </c:pt>
                <c:pt idx="50143">
                  <c:v>43.058450773302198</c:v>
                </c:pt>
                <c:pt idx="50144">
                  <c:v>24.914069969584322</c:v>
                </c:pt>
                <c:pt idx="50145">
                  <c:v>30.526778060485015</c:v>
                </c:pt>
                <c:pt idx="50146">
                  <c:v>28.456278438332603</c:v>
                </c:pt>
                <c:pt idx="50147">
                  <c:v>33.687033556307547</c:v>
                </c:pt>
                <c:pt idx="50148">
                  <c:v>25.134980644953558</c:v>
                </c:pt>
                <c:pt idx="50149">
                  <c:v>18.687016738207522</c:v>
                </c:pt>
                <c:pt idx="50150">
                  <c:v>26.020445396570139</c:v>
                </c:pt>
                <c:pt idx="50151">
                  <c:v>27.935374593065234</c:v>
                </c:pt>
                <c:pt idx="50152">
                  <c:v>46.648745248903701</c:v>
                </c:pt>
                <c:pt idx="50153">
                  <c:v>31.925040200758083</c:v>
                </c:pt>
                <c:pt idx="50154">
                  <c:v>27.592177189556544</c:v>
                </c:pt>
                <c:pt idx="50155">
                  <c:v>34.443878362767364</c:v>
                </c:pt>
                <c:pt idx="50156">
                  <c:v>31.167007772252898</c:v>
                </c:pt>
                <c:pt idx="50157">
                  <c:v>26.573375865112418</c:v>
                </c:pt>
                <c:pt idx="50158">
                  <c:v>28.883105011633642</c:v>
                </c:pt>
                <c:pt idx="50159">
                  <c:v>26.57244772704011</c:v>
                </c:pt>
                <c:pt idx="50160">
                  <c:v>20.414460416211718</c:v>
                </c:pt>
                <c:pt idx="50161">
                  <c:v>34.820561721118821</c:v>
                </c:pt>
                <c:pt idx="50162">
                  <c:v>28.076804169885939</c:v>
                </c:pt>
                <c:pt idx="50163">
                  <c:v>23.642880011582989</c:v>
                </c:pt>
                <c:pt idx="50164">
                  <c:v>21.955327635974726</c:v>
                </c:pt>
                <c:pt idx="50165">
                  <c:v>29.843830902932559</c:v>
                </c:pt>
                <c:pt idx="50166">
                  <c:v>26.163080147709046</c:v>
                </c:pt>
                <c:pt idx="50167">
                  <c:v>24.527522963738114</c:v>
                </c:pt>
                <c:pt idx="50168">
                  <c:v>37.745803145479634</c:v>
                </c:pt>
                <c:pt idx="50169">
                  <c:v>21.734303648768719</c:v>
                </c:pt>
                <c:pt idx="50170">
                  <c:v>31.219239050067799</c:v>
                </c:pt>
                <c:pt idx="50171">
                  <c:v>34.104802569973145</c:v>
                </c:pt>
                <c:pt idx="50172">
                  <c:v>32.38669308882357</c:v>
                </c:pt>
                <c:pt idx="50173">
                  <c:v>23.3452858445734</c:v>
                </c:pt>
                <c:pt idx="50174">
                  <c:v>31.929769305193446</c:v>
                </c:pt>
                <c:pt idx="50175">
                  <c:v>33.451810032775114</c:v>
                </c:pt>
                <c:pt idx="50176">
                  <c:v>27.623501372227675</c:v>
                </c:pt>
                <c:pt idx="50177">
                  <c:v>35.481506676979791</c:v>
                </c:pt>
                <c:pt idx="50178">
                  <c:v>21.301062225022541</c:v>
                </c:pt>
                <c:pt idx="50179">
                  <c:v>50.544082630123235</c:v>
                </c:pt>
                <c:pt idx="50180">
                  <c:v>27.440916809433837</c:v>
                </c:pt>
                <c:pt idx="50181">
                  <c:v>42.832575486731749</c:v>
                </c:pt>
                <c:pt idx="50182">
                  <c:v>17.873171861004199</c:v>
                </c:pt>
                <c:pt idx="50183">
                  <c:v>30.239910679442595</c:v>
                </c:pt>
                <c:pt idx="50184">
                  <c:v>32.684606513454291</c:v>
                </c:pt>
                <c:pt idx="50185">
                  <c:v>25.598867497131341</c:v>
                </c:pt>
                <c:pt idx="50186">
                  <c:v>25.028601229772601</c:v>
                </c:pt>
                <c:pt idx="50187">
                  <c:v>32.875790917578186</c:v>
                </c:pt>
                <c:pt idx="50188">
                  <c:v>25.876834454056279</c:v>
                </c:pt>
                <c:pt idx="50189">
                  <c:v>22.364621400343314</c:v>
                </c:pt>
                <c:pt idx="50190">
                  <c:v>24.538848319431594</c:v>
                </c:pt>
                <c:pt idx="50191">
                  <c:v>32.327194438771734</c:v>
                </c:pt>
                <c:pt idx="50192">
                  <c:v>34.901480718887981</c:v>
                </c:pt>
                <c:pt idx="50193">
                  <c:v>34.982175726998463</c:v>
                </c:pt>
                <c:pt idx="50194">
                  <c:v>25.440907771374686</c:v>
                </c:pt>
                <c:pt idx="50195">
                  <c:v>44.154036789381699</c:v>
                </c:pt>
                <c:pt idx="50196">
                  <c:v>45.159506626719903</c:v>
                </c:pt>
                <c:pt idx="50197">
                  <c:v>29.826909658798396</c:v>
                </c:pt>
                <c:pt idx="50198">
                  <c:v>26.694384169276084</c:v>
                </c:pt>
                <c:pt idx="50199">
                  <c:v>22.328510710500083</c:v>
                </c:pt>
                <c:pt idx="50200">
                  <c:v>29.568055993237621</c:v>
                </c:pt>
                <c:pt idx="50201">
                  <c:v>21.113056657876676</c:v>
                </c:pt>
                <c:pt idx="50202">
                  <c:v>29.260000247368044</c:v>
                </c:pt>
                <c:pt idx="50203">
                  <c:v>24.930714256967132</c:v>
                </c:pt>
                <c:pt idx="50204">
                  <c:v>40.93909366330066</c:v>
                </c:pt>
                <c:pt idx="50205">
                  <c:v>38.059066670268912</c:v>
                </c:pt>
                <c:pt idx="50206">
                  <c:v>36.186943556886931</c:v>
                </c:pt>
                <c:pt idx="50207">
                  <c:v>25.778354993911766</c:v>
                </c:pt>
                <c:pt idx="50208">
                  <c:v>23.342300050305873</c:v>
                </c:pt>
                <c:pt idx="50209">
                  <c:v>18.30824184482201</c:v>
                </c:pt>
                <c:pt idx="50210">
                  <c:v>24.099434703273509</c:v>
                </c:pt>
                <c:pt idx="50211">
                  <c:v>24.240201915300393</c:v>
                </c:pt>
                <c:pt idx="50212">
                  <c:v>31.932586182444254</c:v>
                </c:pt>
                <c:pt idx="50213">
                  <c:v>37.276173488889285</c:v>
                </c:pt>
                <c:pt idx="50214">
                  <c:v>55.73558175955538</c:v>
                </c:pt>
                <c:pt idx="50215">
                  <c:v>18.38130367955479</c:v>
                </c:pt>
                <c:pt idx="50216">
                  <c:v>31.780409009336378</c:v>
                </c:pt>
                <c:pt idx="50217">
                  <c:v>28.309187026558284</c:v>
                </c:pt>
                <c:pt idx="50218">
                  <c:v>27.36108286909775</c:v>
                </c:pt>
                <c:pt idx="50219">
                  <c:v>25.564426049976134</c:v>
                </c:pt>
                <c:pt idx="50220">
                  <c:v>27.991242085961417</c:v>
                </c:pt>
                <c:pt idx="50221">
                  <c:v>47.645790453074369</c:v>
                </c:pt>
                <c:pt idx="50222">
                  <c:v>55.063992911424741</c:v>
                </c:pt>
                <c:pt idx="50223">
                  <c:v>35.967566983391698</c:v>
                </c:pt>
                <c:pt idx="50224">
                  <c:v>31.32895072200558</c:v>
                </c:pt>
                <c:pt idx="50225">
                  <c:v>24.102982927377603</c:v>
                </c:pt>
                <c:pt idx="50226">
                  <c:v>27.419650336631179</c:v>
                </c:pt>
                <c:pt idx="50227">
                  <c:v>24.384339925906318</c:v>
                </c:pt>
                <c:pt idx="50228">
                  <c:v>22.797985209827548</c:v>
                </c:pt>
                <c:pt idx="50229">
                  <c:v>18.755040831373467</c:v>
                </c:pt>
                <c:pt idx="50230">
                  <c:v>29.196646790507533</c:v>
                </c:pt>
                <c:pt idx="50231">
                  <c:v>22.40818787183067</c:v>
                </c:pt>
                <c:pt idx="50232">
                  <c:v>28.17028967893506</c:v>
                </c:pt>
                <c:pt idx="50233">
                  <c:v>42.963405332553457</c:v>
                </c:pt>
                <c:pt idx="50234">
                  <c:v>33.796028669207985</c:v>
                </c:pt>
                <c:pt idx="50235">
                  <c:v>31.602975518337335</c:v>
                </c:pt>
                <c:pt idx="50236">
                  <c:v>25.089158097266097</c:v>
                </c:pt>
                <c:pt idx="50237">
                  <c:v>25.769811870707823</c:v>
                </c:pt>
                <c:pt idx="50238">
                  <c:v>26.597029541232409</c:v>
                </c:pt>
                <c:pt idx="50239">
                  <c:v>26.621470115357816</c:v>
                </c:pt>
                <c:pt idx="50240">
                  <c:v>51.684894229549954</c:v>
                </c:pt>
                <c:pt idx="50241">
                  <c:v>26.780739781543058</c:v>
                </c:pt>
                <c:pt idx="50242">
                  <c:v>43.705414206403759</c:v>
                </c:pt>
                <c:pt idx="50243">
                  <c:v>43.829662379114119</c:v>
                </c:pt>
                <c:pt idx="50244">
                  <c:v>28.219200108236617</c:v>
                </c:pt>
                <c:pt idx="50245">
                  <c:v>30.352451062964697</c:v>
                </c:pt>
                <c:pt idx="50246">
                  <c:v>24.621055508693665</c:v>
                </c:pt>
                <c:pt idx="50247">
                  <c:v>22.533212676567185</c:v>
                </c:pt>
                <c:pt idx="50248">
                  <c:v>46.75670886625479</c:v>
                </c:pt>
                <c:pt idx="50249">
                  <c:v>36.211749222491456</c:v>
                </c:pt>
                <c:pt idx="50250">
                  <c:v>32.493012059401465</c:v>
                </c:pt>
                <c:pt idx="50251">
                  <c:v>26.648793812062198</c:v>
                </c:pt>
                <c:pt idx="50252">
                  <c:v>20.214272888902386</c:v>
                </c:pt>
                <c:pt idx="50253">
                  <c:v>27.617089085290729</c:v>
                </c:pt>
                <c:pt idx="50254">
                  <c:v>18.408192571934354</c:v>
                </c:pt>
                <c:pt idx="50255">
                  <c:v>33.474580219289969</c:v>
                </c:pt>
                <c:pt idx="50256">
                  <c:v>23.123867240247421</c:v>
                </c:pt>
                <c:pt idx="50257">
                  <c:v>14.955355546152301</c:v>
                </c:pt>
                <c:pt idx="50258">
                  <c:v>25.725871101863468</c:v>
                </c:pt>
                <c:pt idx="50259">
                  <c:v>51.439569229468759</c:v>
                </c:pt>
                <c:pt idx="50260">
                  <c:v>25.364378575124924</c:v>
                </c:pt>
                <c:pt idx="50261">
                  <c:v>42.886696850159218</c:v>
                </c:pt>
                <c:pt idx="50262">
                  <c:v>28.800567588257898</c:v>
                </c:pt>
                <c:pt idx="50263">
                  <c:v>28.963553804366281</c:v>
                </c:pt>
                <c:pt idx="50264">
                  <c:v>24.816731841919541</c:v>
                </c:pt>
                <c:pt idx="50265">
                  <c:v>28.232123789223621</c:v>
                </c:pt>
                <c:pt idx="50266">
                  <c:v>47.402062153815635</c:v>
                </c:pt>
                <c:pt idx="50267">
                  <c:v>35.910081416146951</c:v>
                </c:pt>
                <c:pt idx="50268">
                  <c:v>24.358159650295274</c:v>
                </c:pt>
                <c:pt idx="50269">
                  <c:v>25.880964532321062</c:v>
                </c:pt>
                <c:pt idx="50270">
                  <c:v>26.100771916337639</c:v>
                </c:pt>
                <c:pt idx="50271">
                  <c:v>23.716741174244056</c:v>
                </c:pt>
                <c:pt idx="50272">
                  <c:v>20.094391119179782</c:v>
                </c:pt>
                <c:pt idx="50273">
                  <c:v>19.115725101941806</c:v>
                </c:pt>
                <c:pt idx="50274">
                  <c:v>26.105032788905103</c:v>
                </c:pt>
                <c:pt idx="50275">
                  <c:v>25.290138753416255</c:v>
                </c:pt>
                <c:pt idx="50276">
                  <c:v>35.473533965309876</c:v>
                </c:pt>
                <c:pt idx="50277">
                  <c:v>29.30349257955416</c:v>
                </c:pt>
                <c:pt idx="50278">
                  <c:v>22.215604901469518</c:v>
                </c:pt>
                <c:pt idx="50279">
                  <c:v>49.402776698277727</c:v>
                </c:pt>
                <c:pt idx="50280">
                  <c:v>27.579962600539361</c:v>
                </c:pt>
                <c:pt idx="50281">
                  <c:v>18.709919659750909</c:v>
                </c:pt>
                <c:pt idx="50282">
                  <c:v>18.744731634407636</c:v>
                </c:pt>
                <c:pt idx="50283">
                  <c:v>33.324259918577823</c:v>
                </c:pt>
                <c:pt idx="50284">
                  <c:v>26.023052263265569</c:v>
                </c:pt>
                <c:pt idx="50285">
                  <c:v>28.579286018935004</c:v>
                </c:pt>
                <c:pt idx="50286">
                  <c:v>22.812222518672339</c:v>
                </c:pt>
                <c:pt idx="50287">
                  <c:v>25.984189140065851</c:v>
                </c:pt>
                <c:pt idx="50288">
                  <c:v>28.950894151870067</c:v>
                </c:pt>
                <c:pt idx="50289">
                  <c:v>27.184423365983822</c:v>
                </c:pt>
                <c:pt idx="50290">
                  <c:v>34.656797410658207</c:v>
                </c:pt>
                <c:pt idx="50291">
                  <c:v>28.306355194474886</c:v>
                </c:pt>
                <c:pt idx="50292">
                  <c:v>24.27792809571557</c:v>
                </c:pt>
                <c:pt idx="50293">
                  <c:v>28.689129120615419</c:v>
                </c:pt>
                <c:pt idx="50294">
                  <c:v>19.41411296687528</c:v>
                </c:pt>
                <c:pt idx="50295">
                  <c:v>24.80444828838559</c:v>
                </c:pt>
                <c:pt idx="50296">
                  <c:v>30.248795612660047</c:v>
                </c:pt>
                <c:pt idx="50297">
                  <c:v>50.193020835341528</c:v>
                </c:pt>
                <c:pt idx="50298">
                  <c:v>22.520820646220088</c:v>
                </c:pt>
                <c:pt idx="50299">
                  <c:v>24.978141123576595</c:v>
                </c:pt>
                <c:pt idx="50300">
                  <c:v>52.890733741245931</c:v>
                </c:pt>
                <c:pt idx="50301">
                  <c:v>26.831224611148244</c:v>
                </c:pt>
                <c:pt idx="50302">
                  <c:v>26.529885363123768</c:v>
                </c:pt>
                <c:pt idx="50303">
                  <c:v>32.554392197130547</c:v>
                </c:pt>
                <c:pt idx="50304">
                  <c:v>51.664958158154178</c:v>
                </c:pt>
                <c:pt idx="50305">
                  <c:v>29.274922151455691</c:v>
                </c:pt>
                <c:pt idx="50306">
                  <c:v>31.5281649715109</c:v>
                </c:pt>
                <c:pt idx="50307">
                  <c:v>32.362249769429098</c:v>
                </c:pt>
                <c:pt idx="50308">
                  <c:v>52.108536383933803</c:v>
                </c:pt>
                <c:pt idx="50309">
                  <c:v>34.593011760605819</c:v>
                </c:pt>
                <c:pt idx="50310">
                  <c:v>24.34506898981104</c:v>
                </c:pt>
                <c:pt idx="50311">
                  <c:v>22.913942100957147</c:v>
                </c:pt>
                <c:pt idx="50312">
                  <c:v>27.426188564655192</c:v>
                </c:pt>
                <c:pt idx="50313">
                  <c:v>47.602297484355141</c:v>
                </c:pt>
                <c:pt idx="50314">
                  <c:v>32.036746902098216</c:v>
                </c:pt>
                <c:pt idx="50315">
                  <c:v>53.971623052531015</c:v>
                </c:pt>
                <c:pt idx="50316">
                  <c:v>16.060702014716149</c:v>
                </c:pt>
                <c:pt idx="50317">
                  <c:v>16.310056139338517</c:v>
                </c:pt>
                <c:pt idx="50318">
                  <c:v>28.379934255257659</c:v>
                </c:pt>
                <c:pt idx="50319">
                  <c:v>24.481430434516234</c:v>
                </c:pt>
                <c:pt idx="50320">
                  <c:v>23.551711923836443</c:v>
                </c:pt>
                <c:pt idx="50321">
                  <c:v>16.802646804003174</c:v>
                </c:pt>
                <c:pt idx="50322">
                  <c:v>27.25477878461658</c:v>
                </c:pt>
                <c:pt idx="50323">
                  <c:v>52.595413889625952</c:v>
                </c:pt>
                <c:pt idx="50324">
                  <c:v>51.329697764882134</c:v>
                </c:pt>
                <c:pt idx="50325">
                  <c:v>62.680962865376685</c:v>
                </c:pt>
                <c:pt idx="50326">
                  <c:v>31.879143800456465</c:v>
                </c:pt>
                <c:pt idx="50327">
                  <c:v>34.821059745586332</c:v>
                </c:pt>
                <c:pt idx="50328">
                  <c:v>27.962040342551695</c:v>
                </c:pt>
                <c:pt idx="50329">
                  <c:v>21.131247682226558</c:v>
                </c:pt>
                <c:pt idx="50330">
                  <c:v>43.442597453964595</c:v>
                </c:pt>
                <c:pt idx="50331">
                  <c:v>30.339342812690912</c:v>
                </c:pt>
                <c:pt idx="50332">
                  <c:v>24.573774834516062</c:v>
                </c:pt>
                <c:pt idx="50333">
                  <c:v>48.462204149634687</c:v>
                </c:pt>
                <c:pt idx="50334">
                  <c:v>28.14246702982841</c:v>
                </c:pt>
                <c:pt idx="50335">
                  <c:v>31.533331084391634</c:v>
                </c:pt>
                <c:pt idx="50336">
                  <c:v>59.056902301032281</c:v>
                </c:pt>
                <c:pt idx="50337">
                  <c:v>21.873457714043763</c:v>
                </c:pt>
                <c:pt idx="50338">
                  <c:v>53.46993523811296</c:v>
                </c:pt>
                <c:pt idx="50339">
                  <c:v>19.316321801404506</c:v>
                </c:pt>
                <c:pt idx="50340">
                  <c:v>20.800019587889153</c:v>
                </c:pt>
                <c:pt idx="50341">
                  <c:v>25.305042511714671</c:v>
                </c:pt>
                <c:pt idx="50342">
                  <c:v>43.581905794982411</c:v>
                </c:pt>
                <c:pt idx="50343">
                  <c:v>16.599571917492998</c:v>
                </c:pt>
                <c:pt idx="50344">
                  <c:v>30.0441416139521</c:v>
                </c:pt>
                <c:pt idx="50345">
                  <c:v>24.963956552232602</c:v>
                </c:pt>
                <c:pt idx="50346">
                  <c:v>23.449127422233918</c:v>
                </c:pt>
                <c:pt idx="50347">
                  <c:v>26.236891288324092</c:v>
                </c:pt>
                <c:pt idx="50348">
                  <c:v>24.789676930545777</c:v>
                </c:pt>
                <c:pt idx="50349">
                  <c:v>35.428974956716274</c:v>
                </c:pt>
                <c:pt idx="50350">
                  <c:v>39.591143977278612</c:v>
                </c:pt>
                <c:pt idx="50351">
                  <c:v>26.450866027283162</c:v>
                </c:pt>
                <c:pt idx="50352">
                  <c:v>28.34146179814671</c:v>
                </c:pt>
                <c:pt idx="50353">
                  <c:v>27.61042819418638</c:v>
                </c:pt>
                <c:pt idx="50354">
                  <c:v>31.388706231596309</c:v>
                </c:pt>
                <c:pt idx="50355">
                  <c:v>22.206998360345832</c:v>
                </c:pt>
                <c:pt idx="50356">
                  <c:v>34.908954942816635</c:v>
                </c:pt>
                <c:pt idx="50357">
                  <c:v>36.82954917919055</c:v>
                </c:pt>
                <c:pt idx="50358">
                  <c:v>21.762238885712662</c:v>
                </c:pt>
                <c:pt idx="50359">
                  <c:v>27.452036375538075</c:v>
                </c:pt>
                <c:pt idx="50360">
                  <c:v>23.33585185398433</c:v>
                </c:pt>
                <c:pt idx="50361">
                  <c:v>35.040727370184896</c:v>
                </c:pt>
                <c:pt idx="50362">
                  <c:v>25.832579709100987</c:v>
                </c:pt>
                <c:pt idx="50363">
                  <c:v>31.654923614504348</c:v>
                </c:pt>
                <c:pt idx="50364">
                  <c:v>20.517086706579789</c:v>
                </c:pt>
                <c:pt idx="50365">
                  <c:v>33.841855886977825</c:v>
                </c:pt>
                <c:pt idx="50366">
                  <c:v>17.692966707750148</c:v>
                </c:pt>
                <c:pt idx="50367">
                  <c:v>29.219054268219708</c:v>
                </c:pt>
                <c:pt idx="50368">
                  <c:v>25.790629372796516</c:v>
                </c:pt>
                <c:pt idx="50369">
                  <c:v>37.251202521172232</c:v>
                </c:pt>
                <c:pt idx="50370">
                  <c:v>22.883011832638672</c:v>
                </c:pt>
                <c:pt idx="50371">
                  <c:v>61.652158318044613</c:v>
                </c:pt>
                <c:pt idx="50372">
                  <c:v>28.277094521282137</c:v>
                </c:pt>
                <c:pt idx="50373">
                  <c:v>50.523941810820958</c:v>
                </c:pt>
                <c:pt idx="50374">
                  <c:v>26.785886111784965</c:v>
                </c:pt>
                <c:pt idx="50375">
                  <c:v>43.535715949940681</c:v>
                </c:pt>
                <c:pt idx="50376">
                  <c:v>28.652899625982691</c:v>
                </c:pt>
                <c:pt idx="50377">
                  <c:v>29.542698564727619</c:v>
                </c:pt>
                <c:pt idx="50378">
                  <c:v>53.905918280666526</c:v>
                </c:pt>
                <c:pt idx="50379">
                  <c:v>25.766744141036195</c:v>
                </c:pt>
                <c:pt idx="50380">
                  <c:v>46.836574864490871</c:v>
                </c:pt>
                <c:pt idx="50381">
                  <c:v>32.482075266966767</c:v>
                </c:pt>
                <c:pt idx="50382">
                  <c:v>35.359325098852146</c:v>
                </c:pt>
                <c:pt idx="50383">
                  <c:v>55.156862020131918</c:v>
                </c:pt>
                <c:pt idx="50384">
                  <c:v>18.016887422738765</c:v>
                </c:pt>
                <c:pt idx="50385">
                  <c:v>21.5857537269627</c:v>
                </c:pt>
                <c:pt idx="50386">
                  <c:v>33.287346039522994</c:v>
                </c:pt>
                <c:pt idx="50387">
                  <c:v>49.943033034242347</c:v>
                </c:pt>
                <c:pt idx="50388">
                  <c:v>23.595822329594199</c:v>
                </c:pt>
                <c:pt idx="50389">
                  <c:v>21.007270226398809</c:v>
                </c:pt>
                <c:pt idx="50390">
                  <c:v>23.102219658102612</c:v>
                </c:pt>
                <c:pt idx="50391">
                  <c:v>16.232363313186962</c:v>
                </c:pt>
                <c:pt idx="50392">
                  <c:v>33.67734453249718</c:v>
                </c:pt>
                <c:pt idx="50393">
                  <c:v>66.700348988653147</c:v>
                </c:pt>
                <c:pt idx="50394">
                  <c:v>24.286041453998291</c:v>
                </c:pt>
                <c:pt idx="50395">
                  <c:v>15.648483025584191</c:v>
                </c:pt>
                <c:pt idx="50396">
                  <c:v>20.820686233012768</c:v>
                </c:pt>
                <c:pt idx="50397">
                  <c:v>26.70909165996547</c:v>
                </c:pt>
                <c:pt idx="50398">
                  <c:v>45.965872756075456</c:v>
                </c:pt>
                <c:pt idx="50399">
                  <c:v>23.148266809666239</c:v>
                </c:pt>
                <c:pt idx="50400">
                  <c:v>24.283409116337946</c:v>
                </c:pt>
                <c:pt idx="50401">
                  <c:v>36.814471814697718</c:v>
                </c:pt>
                <c:pt idx="50402">
                  <c:v>17.982002805079581</c:v>
                </c:pt>
                <c:pt idx="50403">
                  <c:v>33.258287856085225</c:v>
                </c:pt>
                <c:pt idx="50404">
                  <c:v>26.532940895339237</c:v>
                </c:pt>
                <c:pt idx="50405">
                  <c:v>20.540142020087895</c:v>
                </c:pt>
                <c:pt idx="50406">
                  <c:v>25.92216007681423</c:v>
                </c:pt>
                <c:pt idx="50407">
                  <c:v>51.619858125981786</c:v>
                </c:pt>
                <c:pt idx="50408">
                  <c:v>34.525701562506967</c:v>
                </c:pt>
                <c:pt idx="50409">
                  <c:v>24.42785396246656</c:v>
                </c:pt>
                <c:pt idx="50410">
                  <c:v>28.549984340663656</c:v>
                </c:pt>
                <c:pt idx="50411">
                  <c:v>45.589800540195519</c:v>
                </c:pt>
                <c:pt idx="50412">
                  <c:v>33.215490845770972</c:v>
                </c:pt>
                <c:pt idx="50413">
                  <c:v>29.444525740855411</c:v>
                </c:pt>
                <c:pt idx="50414">
                  <c:v>21.473715730618409</c:v>
                </c:pt>
                <c:pt idx="50415">
                  <c:v>44.26369469364289</c:v>
                </c:pt>
                <c:pt idx="50416">
                  <c:v>40.716394906862547</c:v>
                </c:pt>
                <c:pt idx="50417">
                  <c:v>24.467763078530385</c:v>
                </c:pt>
                <c:pt idx="50418">
                  <c:v>40.547040667011409</c:v>
                </c:pt>
                <c:pt idx="50419">
                  <c:v>33.10345023660193</c:v>
                </c:pt>
                <c:pt idx="50420">
                  <c:v>28.663742846821368</c:v>
                </c:pt>
                <c:pt idx="50421">
                  <c:v>46.725567723000154</c:v>
                </c:pt>
                <c:pt idx="50422">
                  <c:v>48.764632220620022</c:v>
                </c:pt>
                <c:pt idx="50423">
                  <c:v>39.337538599881427</c:v>
                </c:pt>
                <c:pt idx="50424">
                  <c:v>29.486713249707435</c:v>
                </c:pt>
                <c:pt idx="50425">
                  <c:v>23.531681258662893</c:v>
                </c:pt>
                <c:pt idx="50426">
                  <c:v>29.262266380699039</c:v>
                </c:pt>
                <c:pt idx="50427">
                  <c:v>33.582426213546128</c:v>
                </c:pt>
                <c:pt idx="50428">
                  <c:v>57.174937277190281</c:v>
                </c:pt>
                <c:pt idx="50429">
                  <c:v>23.545239375133377</c:v>
                </c:pt>
                <c:pt idx="50430">
                  <c:v>26.19057888324874</c:v>
                </c:pt>
                <c:pt idx="50431">
                  <c:v>40.858739753227134</c:v>
                </c:pt>
                <c:pt idx="50432">
                  <c:v>44.865171999340838</c:v>
                </c:pt>
                <c:pt idx="50433">
                  <c:v>45.127058277694879</c:v>
                </c:pt>
                <c:pt idx="50434">
                  <c:v>55.263572833311031</c:v>
                </c:pt>
                <c:pt idx="50435">
                  <c:v>35.66311084031787</c:v>
                </c:pt>
                <c:pt idx="50436">
                  <c:v>23.470304088453009</c:v>
                </c:pt>
                <c:pt idx="50437">
                  <c:v>30.34392291690623</c:v>
                </c:pt>
                <c:pt idx="50438">
                  <c:v>25.887499446688274</c:v>
                </c:pt>
                <c:pt idx="50439">
                  <c:v>20.796575150281772</c:v>
                </c:pt>
                <c:pt idx="50440">
                  <c:v>20.517484775039883</c:v>
                </c:pt>
                <c:pt idx="50441">
                  <c:v>28.151839814673522</c:v>
                </c:pt>
                <c:pt idx="50442">
                  <c:v>23.078044004715444</c:v>
                </c:pt>
                <c:pt idx="50443">
                  <c:v>56.335077766726485</c:v>
                </c:pt>
                <c:pt idx="50444">
                  <c:v>31.094735654040299</c:v>
                </c:pt>
                <c:pt idx="50445">
                  <c:v>28.863019093643487</c:v>
                </c:pt>
                <c:pt idx="50446">
                  <c:v>33.310799950610011</c:v>
                </c:pt>
                <c:pt idx="50447">
                  <c:v>29.497667886740789</c:v>
                </c:pt>
                <c:pt idx="50448">
                  <c:v>45.640663479198878</c:v>
                </c:pt>
                <c:pt idx="50449">
                  <c:v>44.997619770283542</c:v>
                </c:pt>
                <c:pt idx="50450">
                  <c:v>32.497818177983063</c:v>
                </c:pt>
                <c:pt idx="50451">
                  <c:v>24.488446576964716</c:v>
                </c:pt>
                <c:pt idx="50452">
                  <c:v>59.282188730653274</c:v>
                </c:pt>
                <c:pt idx="50453">
                  <c:v>42.416364877083517</c:v>
                </c:pt>
                <c:pt idx="50454">
                  <c:v>26.397304671482075</c:v>
                </c:pt>
                <c:pt idx="50455">
                  <c:v>33.987604585195953</c:v>
                </c:pt>
                <c:pt idx="50456">
                  <c:v>21.827315828712102</c:v>
                </c:pt>
                <c:pt idx="50457">
                  <c:v>26.704590136417092</c:v>
                </c:pt>
                <c:pt idx="50458">
                  <c:v>32.934107131092325</c:v>
                </c:pt>
                <c:pt idx="50459">
                  <c:v>25.613676118854013</c:v>
                </c:pt>
                <c:pt idx="50460">
                  <c:v>39.350007591298372</c:v>
                </c:pt>
                <c:pt idx="50461">
                  <c:v>26.505441635362704</c:v>
                </c:pt>
                <c:pt idx="50462">
                  <c:v>16.980725666816426</c:v>
                </c:pt>
                <c:pt idx="50463">
                  <c:v>27.144738894419483</c:v>
                </c:pt>
                <c:pt idx="50464">
                  <c:v>55.593221476447255</c:v>
                </c:pt>
                <c:pt idx="50465">
                  <c:v>24.904574036760714</c:v>
                </c:pt>
                <c:pt idx="50466">
                  <c:v>27.552259376358268</c:v>
                </c:pt>
                <c:pt idx="50467">
                  <c:v>44.758673243112426</c:v>
                </c:pt>
                <c:pt idx="50468">
                  <c:v>24.768243960940943</c:v>
                </c:pt>
                <c:pt idx="50469">
                  <c:v>14.190676170158261</c:v>
                </c:pt>
                <c:pt idx="50470">
                  <c:v>27.308137321727013</c:v>
                </c:pt>
                <c:pt idx="50471">
                  <c:v>27.303474545919588</c:v>
                </c:pt>
                <c:pt idx="50472">
                  <c:v>20.201244966708341</c:v>
                </c:pt>
                <c:pt idx="50473">
                  <c:v>34.390844996744043</c:v>
                </c:pt>
                <c:pt idx="50474">
                  <c:v>37.165831670185057</c:v>
                </c:pt>
                <c:pt idx="50475">
                  <c:v>44.747178711698034</c:v>
                </c:pt>
                <c:pt idx="50476">
                  <c:v>31.59028603291496</c:v>
                </c:pt>
                <c:pt idx="50477">
                  <c:v>22.357964537877944</c:v>
                </c:pt>
                <c:pt idx="50478">
                  <c:v>23.69568059803974</c:v>
                </c:pt>
                <c:pt idx="50479">
                  <c:v>34.03149013687073</c:v>
                </c:pt>
                <c:pt idx="50480">
                  <c:v>36.91638064308588</c:v>
                </c:pt>
                <c:pt idx="50481">
                  <c:v>28.20877609226957</c:v>
                </c:pt>
                <c:pt idx="50482">
                  <c:v>33.119308341114035</c:v>
                </c:pt>
                <c:pt idx="50483">
                  <c:v>37.818692290435308</c:v>
                </c:pt>
                <c:pt idx="50484">
                  <c:v>35.525520367963324</c:v>
                </c:pt>
                <c:pt idx="50485">
                  <c:v>49.846427097934331</c:v>
                </c:pt>
                <c:pt idx="50486">
                  <c:v>14.756734052665173</c:v>
                </c:pt>
                <c:pt idx="50487">
                  <c:v>27.507798806085841</c:v>
                </c:pt>
                <c:pt idx="50488">
                  <c:v>34.414734784234618</c:v>
                </c:pt>
                <c:pt idx="50489">
                  <c:v>25.668400142626911</c:v>
                </c:pt>
                <c:pt idx="50490">
                  <c:v>59.255726869601197</c:v>
                </c:pt>
                <c:pt idx="50491">
                  <c:v>29.204747414425071</c:v>
                </c:pt>
                <c:pt idx="50492">
                  <c:v>24.180923343150081</c:v>
                </c:pt>
                <c:pt idx="50493">
                  <c:v>19.143004813900351</c:v>
                </c:pt>
                <c:pt idx="50494">
                  <c:v>25.172630450916717</c:v>
                </c:pt>
                <c:pt idx="50495">
                  <c:v>35.042339722147005</c:v>
                </c:pt>
                <c:pt idx="50496">
                  <c:v>26.703832092858448</c:v>
                </c:pt>
                <c:pt idx="50497">
                  <c:v>26.844397510093422</c:v>
                </c:pt>
                <c:pt idx="50498">
                  <c:v>16.217107783716326</c:v>
                </c:pt>
                <c:pt idx="50499">
                  <c:v>26.474600476624943</c:v>
                </c:pt>
                <c:pt idx="50500">
                  <c:v>36.824540954774726</c:v>
                </c:pt>
                <c:pt idx="50501">
                  <c:v>29.619862213877159</c:v>
                </c:pt>
                <c:pt idx="50502">
                  <c:v>29.618780887028578</c:v>
                </c:pt>
                <c:pt idx="50503">
                  <c:v>40.536850687582039</c:v>
                </c:pt>
                <c:pt idx="50504">
                  <c:v>37.03413041375272</c:v>
                </c:pt>
                <c:pt idx="50505">
                  <c:v>27.412807823642133</c:v>
                </c:pt>
                <c:pt idx="50506">
                  <c:v>26.889670883211792</c:v>
                </c:pt>
                <c:pt idx="50507">
                  <c:v>16.149444841979623</c:v>
                </c:pt>
                <c:pt idx="50508">
                  <c:v>41.445583781458048</c:v>
                </c:pt>
                <c:pt idx="50509">
                  <c:v>28.587619369728209</c:v>
                </c:pt>
                <c:pt idx="50510">
                  <c:v>28.500599132526464</c:v>
                </c:pt>
                <c:pt idx="50511">
                  <c:v>45.585245133979456</c:v>
                </c:pt>
                <c:pt idx="50512">
                  <c:v>25.739801366932547</c:v>
                </c:pt>
                <c:pt idx="50513">
                  <c:v>30.526685388195453</c:v>
                </c:pt>
                <c:pt idx="50514">
                  <c:v>25.200331432346104</c:v>
                </c:pt>
                <c:pt idx="50515">
                  <c:v>27.420969552338413</c:v>
                </c:pt>
                <c:pt idx="50516">
                  <c:v>31.27782460290409</c:v>
                </c:pt>
                <c:pt idx="50517">
                  <c:v>25.673924788613917</c:v>
                </c:pt>
                <c:pt idx="50518">
                  <c:v>42.768383339340382</c:v>
                </c:pt>
                <c:pt idx="50519">
                  <c:v>27.195399000308019</c:v>
                </c:pt>
                <c:pt idx="50520">
                  <c:v>46.968341820056104</c:v>
                </c:pt>
                <c:pt idx="50521">
                  <c:v>27.259230191234927</c:v>
                </c:pt>
                <c:pt idx="50522">
                  <c:v>26.419346014679562</c:v>
                </c:pt>
                <c:pt idx="50523">
                  <c:v>24.046207260849705</c:v>
                </c:pt>
                <c:pt idx="50524">
                  <c:v>43.079866811789749</c:v>
                </c:pt>
                <c:pt idx="50525">
                  <c:v>35.419476544675746</c:v>
                </c:pt>
                <c:pt idx="50526">
                  <c:v>37.401743483773927</c:v>
                </c:pt>
                <c:pt idx="50527">
                  <c:v>25.143257882608687</c:v>
                </c:pt>
                <c:pt idx="50528">
                  <c:v>36.350996301863518</c:v>
                </c:pt>
                <c:pt idx="50529">
                  <c:v>25.750637050515753</c:v>
                </c:pt>
                <c:pt idx="50530">
                  <c:v>57.938282690804137</c:v>
                </c:pt>
                <c:pt idx="50531">
                  <c:v>23.040962100268203</c:v>
                </c:pt>
                <c:pt idx="50532">
                  <c:v>38.795224414276056</c:v>
                </c:pt>
                <c:pt idx="50533">
                  <c:v>44.166560341442533</c:v>
                </c:pt>
                <c:pt idx="50534">
                  <c:v>48.287266854511579</c:v>
                </c:pt>
                <c:pt idx="50535">
                  <c:v>24.355636704300139</c:v>
                </c:pt>
                <c:pt idx="50536">
                  <c:v>40.887859842619783</c:v>
                </c:pt>
                <c:pt idx="50537">
                  <c:v>21.457263456595491</c:v>
                </c:pt>
                <c:pt idx="50538">
                  <c:v>40.04215320182368</c:v>
                </c:pt>
                <c:pt idx="50539">
                  <c:v>36.029378256230643</c:v>
                </c:pt>
                <c:pt idx="50540">
                  <c:v>27.237586613519852</c:v>
                </c:pt>
                <c:pt idx="50541">
                  <c:v>21.447833420769392</c:v>
                </c:pt>
                <c:pt idx="50542">
                  <c:v>27.75970959715309</c:v>
                </c:pt>
                <c:pt idx="50543">
                  <c:v>25.956368463368008</c:v>
                </c:pt>
                <c:pt idx="50544">
                  <c:v>25.813815901817051</c:v>
                </c:pt>
                <c:pt idx="50545">
                  <c:v>28.547285460944899</c:v>
                </c:pt>
                <c:pt idx="50546">
                  <c:v>19.598982111064078</c:v>
                </c:pt>
                <c:pt idx="50547">
                  <c:v>34.542995745401996</c:v>
                </c:pt>
                <c:pt idx="50548">
                  <c:v>26.47883907240265</c:v>
                </c:pt>
                <c:pt idx="50549">
                  <c:v>27.367815489811278</c:v>
                </c:pt>
                <c:pt idx="50550">
                  <c:v>21.719361351421824</c:v>
                </c:pt>
                <c:pt idx="50551">
                  <c:v>20.699669540013133</c:v>
                </c:pt>
                <c:pt idx="50552">
                  <c:v>17.622249281117497</c:v>
                </c:pt>
                <c:pt idx="50553">
                  <c:v>28.286997470513256</c:v>
                </c:pt>
                <c:pt idx="50554">
                  <c:v>34.806836921276876</c:v>
                </c:pt>
                <c:pt idx="50555">
                  <c:v>21.367782321356525</c:v>
                </c:pt>
                <c:pt idx="50556">
                  <c:v>37.122267025370881</c:v>
                </c:pt>
                <c:pt idx="50557">
                  <c:v>24.690212619061491</c:v>
                </c:pt>
                <c:pt idx="50558">
                  <c:v>25.02437966842832</c:v>
                </c:pt>
                <c:pt idx="50559">
                  <c:v>28.262768832681061</c:v>
                </c:pt>
                <c:pt idx="50560">
                  <c:v>42.675259035579614</c:v>
                </c:pt>
                <c:pt idx="50561">
                  <c:v>27.511453023060053</c:v>
                </c:pt>
                <c:pt idx="50562">
                  <c:v>59.218664825323273</c:v>
                </c:pt>
                <c:pt idx="50563">
                  <c:v>38.298603786091313</c:v>
                </c:pt>
                <c:pt idx="50564">
                  <c:v>26.874462744994631</c:v>
                </c:pt>
                <c:pt idx="50565">
                  <c:v>25.865547063850762</c:v>
                </c:pt>
                <c:pt idx="50566">
                  <c:v>18.374887816132865</c:v>
                </c:pt>
                <c:pt idx="50567">
                  <c:v>27.074328855549133</c:v>
                </c:pt>
                <c:pt idx="50568">
                  <c:v>27.230410515242589</c:v>
                </c:pt>
                <c:pt idx="50569">
                  <c:v>41.088918213020818</c:v>
                </c:pt>
                <c:pt idx="50570">
                  <c:v>17.132847439040759</c:v>
                </c:pt>
                <c:pt idx="50571">
                  <c:v>48.215070449610778</c:v>
                </c:pt>
                <c:pt idx="50572">
                  <c:v>22.419445232876715</c:v>
                </c:pt>
                <c:pt idx="50573">
                  <c:v>30.283658137190322</c:v>
                </c:pt>
                <c:pt idx="50574">
                  <c:v>41.623112055503505</c:v>
                </c:pt>
                <c:pt idx="50575">
                  <c:v>29.008886987081986</c:v>
                </c:pt>
                <c:pt idx="50576">
                  <c:v>29.180659833242181</c:v>
                </c:pt>
                <c:pt idx="50577">
                  <c:v>46.549637316516481</c:v>
                </c:pt>
                <c:pt idx="50578">
                  <c:v>40.604802626742497</c:v>
                </c:pt>
                <c:pt idx="50579">
                  <c:v>29.261849959730895</c:v>
                </c:pt>
                <c:pt idx="50580">
                  <c:v>25.437804541944921</c:v>
                </c:pt>
                <c:pt idx="50581">
                  <c:v>50.899604756460775</c:v>
                </c:pt>
                <c:pt idx="50582">
                  <c:v>21.548002881851971</c:v>
                </c:pt>
                <c:pt idx="50583">
                  <c:v>22.032430703818338</c:v>
                </c:pt>
                <c:pt idx="50584">
                  <c:v>40.276559423659393</c:v>
                </c:pt>
                <c:pt idx="50585">
                  <c:v>18.947804037183072</c:v>
                </c:pt>
                <c:pt idx="50586">
                  <c:v>26.013998062386889</c:v>
                </c:pt>
                <c:pt idx="50587">
                  <c:v>28.911446857599337</c:v>
                </c:pt>
                <c:pt idx="50588">
                  <c:v>30.130802885687459</c:v>
                </c:pt>
                <c:pt idx="50589">
                  <c:v>32.924629654194739</c:v>
                </c:pt>
                <c:pt idx="50590">
                  <c:v>34.431478168850347</c:v>
                </c:pt>
                <c:pt idx="50591">
                  <c:v>29.477874700381037</c:v>
                </c:pt>
                <c:pt idx="50592">
                  <c:v>21.925191692493282</c:v>
                </c:pt>
                <c:pt idx="50593">
                  <c:v>32.939815739673939</c:v>
                </c:pt>
                <c:pt idx="50594">
                  <c:v>50.207492965568086</c:v>
                </c:pt>
                <c:pt idx="50595">
                  <c:v>36.050437701912806</c:v>
                </c:pt>
                <c:pt idx="50596">
                  <c:v>34.418625066407294</c:v>
                </c:pt>
                <c:pt idx="50597">
                  <c:v>57.775348357199825</c:v>
                </c:pt>
                <c:pt idx="50598">
                  <c:v>30.60491475182112</c:v>
                </c:pt>
                <c:pt idx="50599">
                  <c:v>29.503727792065206</c:v>
                </c:pt>
                <c:pt idx="50600">
                  <c:v>38.112082176089757</c:v>
                </c:pt>
                <c:pt idx="50601">
                  <c:v>28.039252033003255</c:v>
                </c:pt>
                <c:pt idx="50602">
                  <c:v>21.800342188458323</c:v>
                </c:pt>
                <c:pt idx="50603">
                  <c:v>24.122726674965502</c:v>
                </c:pt>
                <c:pt idx="50604">
                  <c:v>44.670910293145923</c:v>
                </c:pt>
                <c:pt idx="50605">
                  <c:v>41.833115598100676</c:v>
                </c:pt>
                <c:pt idx="50606">
                  <c:v>23.960735814754095</c:v>
                </c:pt>
                <c:pt idx="50607">
                  <c:v>24.359488675207018</c:v>
                </c:pt>
                <c:pt idx="50608">
                  <c:v>24.149289156966951</c:v>
                </c:pt>
                <c:pt idx="50609">
                  <c:v>57.329706498879816</c:v>
                </c:pt>
                <c:pt idx="50610">
                  <c:v>45.88968644238772</c:v>
                </c:pt>
                <c:pt idx="50611">
                  <c:v>23.398966950416416</c:v>
                </c:pt>
                <c:pt idx="50612">
                  <c:v>24.858161317523802</c:v>
                </c:pt>
                <c:pt idx="50613">
                  <c:v>35.70990502440236</c:v>
                </c:pt>
                <c:pt idx="50614">
                  <c:v>50.5160140645919</c:v>
                </c:pt>
                <c:pt idx="50615">
                  <c:v>24.528450078289659</c:v>
                </c:pt>
                <c:pt idx="50616">
                  <c:v>18.21567481697635</c:v>
                </c:pt>
                <c:pt idx="50617">
                  <c:v>43.210069054410695</c:v>
                </c:pt>
                <c:pt idx="50618">
                  <c:v>26.929144440627596</c:v>
                </c:pt>
                <c:pt idx="50619">
                  <c:v>21.861439056903976</c:v>
                </c:pt>
                <c:pt idx="50620">
                  <c:v>27.56041977577372</c:v>
                </c:pt>
                <c:pt idx="50621">
                  <c:v>35.729298629503567</c:v>
                </c:pt>
                <c:pt idx="50622">
                  <c:v>34.141278710287196</c:v>
                </c:pt>
                <c:pt idx="50623">
                  <c:v>24.979305053824561</c:v>
                </c:pt>
                <c:pt idx="50624">
                  <c:v>23.982346442861836</c:v>
                </c:pt>
                <c:pt idx="50625">
                  <c:v>51.600345008520648</c:v>
                </c:pt>
                <c:pt idx="50626">
                  <c:v>31.073578041606702</c:v>
                </c:pt>
                <c:pt idx="50627">
                  <c:v>32.730638079117327</c:v>
                </c:pt>
                <c:pt idx="50628">
                  <c:v>24.509652581524577</c:v>
                </c:pt>
                <c:pt idx="50629">
                  <c:v>27.766995455019629</c:v>
                </c:pt>
                <c:pt idx="50630">
                  <c:v>23.862931698611884</c:v>
                </c:pt>
                <c:pt idx="50631">
                  <c:v>25.673593534604144</c:v>
                </c:pt>
                <c:pt idx="50632">
                  <c:v>33.50694995523785</c:v>
                </c:pt>
                <c:pt idx="50633">
                  <c:v>32.645892865828429</c:v>
                </c:pt>
                <c:pt idx="50634">
                  <c:v>22.46894278055446</c:v>
                </c:pt>
                <c:pt idx="50635">
                  <c:v>33.547211507141597</c:v>
                </c:pt>
                <c:pt idx="50636">
                  <c:v>23.410434125526482</c:v>
                </c:pt>
                <c:pt idx="50637">
                  <c:v>28.011042475842544</c:v>
                </c:pt>
                <c:pt idx="50638">
                  <c:v>25.364754959090391</c:v>
                </c:pt>
                <c:pt idx="50639">
                  <c:v>30.137018398220615</c:v>
                </c:pt>
                <c:pt idx="50640">
                  <c:v>22.710375148917251</c:v>
                </c:pt>
                <c:pt idx="50641">
                  <c:v>44.203274665890589</c:v>
                </c:pt>
                <c:pt idx="50642">
                  <c:v>22.291953572816091</c:v>
                </c:pt>
                <c:pt idx="50643">
                  <c:v>35.291995781054204</c:v>
                </c:pt>
                <c:pt idx="50644">
                  <c:v>22.475859315152292</c:v>
                </c:pt>
                <c:pt idx="50645">
                  <c:v>28.656544347583576</c:v>
                </c:pt>
                <c:pt idx="50646">
                  <c:v>27.183365285733927</c:v>
                </c:pt>
                <c:pt idx="50647">
                  <c:v>21.124135063946905</c:v>
                </c:pt>
                <c:pt idx="50648">
                  <c:v>26.592417214575516</c:v>
                </c:pt>
                <c:pt idx="50649">
                  <c:v>24.768123129137486</c:v>
                </c:pt>
                <c:pt idx="50650">
                  <c:v>26.280709712327393</c:v>
                </c:pt>
                <c:pt idx="50651">
                  <c:v>34.845474728077576</c:v>
                </c:pt>
                <c:pt idx="50652">
                  <c:v>29.194425399645127</c:v>
                </c:pt>
                <c:pt idx="50653">
                  <c:v>42.838242175534283</c:v>
                </c:pt>
                <c:pt idx="50654">
                  <c:v>48.499618868799914</c:v>
                </c:pt>
                <c:pt idx="50655">
                  <c:v>24.212445264408551</c:v>
                </c:pt>
                <c:pt idx="50656">
                  <c:v>46.911066918146986</c:v>
                </c:pt>
                <c:pt idx="50657">
                  <c:v>47.651646787668582</c:v>
                </c:pt>
                <c:pt idx="50658">
                  <c:v>43.634084832132942</c:v>
                </c:pt>
                <c:pt idx="50659">
                  <c:v>51.881310731156816</c:v>
                </c:pt>
                <c:pt idx="50660">
                  <c:v>49.686321256288728</c:v>
                </c:pt>
                <c:pt idx="50661">
                  <c:v>28.544749470995654</c:v>
                </c:pt>
                <c:pt idx="50662">
                  <c:v>22.907238899715377</c:v>
                </c:pt>
                <c:pt idx="50663">
                  <c:v>20.449365540314034</c:v>
                </c:pt>
                <c:pt idx="50664">
                  <c:v>43.287774204680346</c:v>
                </c:pt>
                <c:pt idx="50665">
                  <c:v>29.489275838710682</c:v>
                </c:pt>
                <c:pt idx="50666">
                  <c:v>26.436622310836153</c:v>
                </c:pt>
                <c:pt idx="50667">
                  <c:v>31.888395863096477</c:v>
                </c:pt>
                <c:pt idx="50668">
                  <c:v>29.47324040500876</c:v>
                </c:pt>
                <c:pt idx="50669">
                  <c:v>35.9339853296743</c:v>
                </c:pt>
                <c:pt idx="50670">
                  <c:v>32.652739034113942</c:v>
                </c:pt>
                <c:pt idx="50671">
                  <c:v>23.536167171569524</c:v>
                </c:pt>
                <c:pt idx="50672">
                  <c:v>31.442881355342521</c:v>
                </c:pt>
                <c:pt idx="50673">
                  <c:v>20.780506949285702</c:v>
                </c:pt>
                <c:pt idx="50674">
                  <c:v>27.671615663758999</c:v>
                </c:pt>
                <c:pt idx="50675">
                  <c:v>23.325748349983037</c:v>
                </c:pt>
                <c:pt idx="50676">
                  <c:v>33.447043019138533</c:v>
                </c:pt>
                <c:pt idx="50677">
                  <c:v>24.528623755877422</c:v>
                </c:pt>
                <c:pt idx="50678">
                  <c:v>26.688323553765883</c:v>
                </c:pt>
                <c:pt idx="50679">
                  <c:v>21.571471491341942</c:v>
                </c:pt>
                <c:pt idx="50680">
                  <c:v>58.624854200252429</c:v>
                </c:pt>
                <c:pt idx="50681">
                  <c:v>26.051040178548856</c:v>
                </c:pt>
                <c:pt idx="50682">
                  <c:v>32.612597337658059</c:v>
                </c:pt>
                <c:pt idx="50683">
                  <c:v>28.06919934234401</c:v>
                </c:pt>
                <c:pt idx="50684">
                  <c:v>26.276659426768529</c:v>
                </c:pt>
                <c:pt idx="50685">
                  <c:v>30.622529687063306</c:v>
                </c:pt>
                <c:pt idx="50686">
                  <c:v>25.838285856854831</c:v>
                </c:pt>
                <c:pt idx="50687">
                  <c:v>27.400898663042998</c:v>
                </c:pt>
                <c:pt idx="50688">
                  <c:v>43.233670897520668</c:v>
                </c:pt>
                <c:pt idx="50689">
                  <c:v>32.440173787200898</c:v>
                </c:pt>
                <c:pt idx="50690">
                  <c:v>21.538300331109745</c:v>
                </c:pt>
                <c:pt idx="50691">
                  <c:v>43.854860914481591</c:v>
                </c:pt>
                <c:pt idx="50692">
                  <c:v>27.791925211012686</c:v>
                </c:pt>
                <c:pt idx="50693">
                  <c:v>14.964066482906277</c:v>
                </c:pt>
                <c:pt idx="50694">
                  <c:v>34.128770153686041</c:v>
                </c:pt>
                <c:pt idx="50695">
                  <c:v>27.588263410911409</c:v>
                </c:pt>
                <c:pt idx="50696">
                  <c:v>29.221756468217279</c:v>
                </c:pt>
                <c:pt idx="50697">
                  <c:v>44.63135849335675</c:v>
                </c:pt>
                <c:pt idx="50698">
                  <c:v>37.139612549397967</c:v>
                </c:pt>
                <c:pt idx="50699">
                  <c:v>25.597941277004978</c:v>
                </c:pt>
                <c:pt idx="50700">
                  <c:v>45.506012400241495</c:v>
                </c:pt>
                <c:pt idx="50701">
                  <c:v>31.825186511492845</c:v>
                </c:pt>
                <c:pt idx="50702">
                  <c:v>25.252017620966804</c:v>
                </c:pt>
                <c:pt idx="50703">
                  <c:v>27.377263926082133</c:v>
                </c:pt>
                <c:pt idx="50704">
                  <c:v>22.107113913830226</c:v>
                </c:pt>
                <c:pt idx="50705">
                  <c:v>17.494013243184742</c:v>
                </c:pt>
                <c:pt idx="50706">
                  <c:v>24.984367344772039</c:v>
                </c:pt>
                <c:pt idx="50707">
                  <c:v>31.247164029970207</c:v>
                </c:pt>
                <c:pt idx="50708">
                  <c:v>22.917150252578818</c:v>
                </c:pt>
                <c:pt idx="50709">
                  <c:v>29.899830362432546</c:v>
                </c:pt>
                <c:pt idx="50710">
                  <c:v>22.600426480659177</c:v>
                </c:pt>
                <c:pt idx="50711">
                  <c:v>26.869641055897556</c:v>
                </c:pt>
                <c:pt idx="50712">
                  <c:v>34.24509797886931</c:v>
                </c:pt>
                <c:pt idx="50713">
                  <c:v>37.783632562061307</c:v>
                </c:pt>
                <c:pt idx="50714">
                  <c:v>46.308979389255086</c:v>
                </c:pt>
                <c:pt idx="50715">
                  <c:v>48.093297933481665</c:v>
                </c:pt>
                <c:pt idx="50716">
                  <c:v>46.117621919091441</c:v>
                </c:pt>
                <c:pt idx="50717">
                  <c:v>44.087935194856691</c:v>
                </c:pt>
                <c:pt idx="50718">
                  <c:v>25.224411699692823</c:v>
                </c:pt>
                <c:pt idx="50719">
                  <c:v>19.316310794285283</c:v>
                </c:pt>
                <c:pt idx="50720">
                  <c:v>41.483101610148452</c:v>
                </c:pt>
                <c:pt idx="50721">
                  <c:v>26.565303690543846</c:v>
                </c:pt>
                <c:pt idx="50722">
                  <c:v>24.319592710254501</c:v>
                </c:pt>
                <c:pt idx="50723">
                  <c:v>27.653784750090772</c:v>
                </c:pt>
                <c:pt idx="50724">
                  <c:v>24.520811229297152</c:v>
                </c:pt>
                <c:pt idx="50725">
                  <c:v>32.98056236759794</c:v>
                </c:pt>
                <c:pt idx="50726">
                  <c:v>32.493260906045457</c:v>
                </c:pt>
                <c:pt idx="50727">
                  <c:v>37.167042201638331</c:v>
                </c:pt>
                <c:pt idx="50728">
                  <c:v>27.836285962763313</c:v>
                </c:pt>
                <c:pt idx="50729">
                  <c:v>28.822702377995512</c:v>
                </c:pt>
                <c:pt idx="50730">
                  <c:v>20.333950425154676</c:v>
                </c:pt>
                <c:pt idx="50731">
                  <c:v>28.554213627317775</c:v>
                </c:pt>
                <c:pt idx="50732">
                  <c:v>18.716839444111489</c:v>
                </c:pt>
                <c:pt idx="50733">
                  <c:v>39.981744873685379</c:v>
                </c:pt>
                <c:pt idx="50734">
                  <c:v>25.515039538100321</c:v>
                </c:pt>
                <c:pt idx="50735">
                  <c:v>27.979372157890221</c:v>
                </c:pt>
                <c:pt idx="50736">
                  <c:v>25.326441294906665</c:v>
                </c:pt>
                <c:pt idx="50737">
                  <c:v>24.55036993431127</c:v>
                </c:pt>
                <c:pt idx="50738">
                  <c:v>31.202957408128707</c:v>
                </c:pt>
                <c:pt idx="50739">
                  <c:v>25.702429288447576</c:v>
                </c:pt>
                <c:pt idx="50740">
                  <c:v>24.892802869661239</c:v>
                </c:pt>
                <c:pt idx="50741">
                  <c:v>37.003374759011564</c:v>
                </c:pt>
                <c:pt idx="50742">
                  <c:v>25.797850929242827</c:v>
                </c:pt>
                <c:pt idx="50743">
                  <c:v>25.464427349616777</c:v>
                </c:pt>
                <c:pt idx="50744">
                  <c:v>43.01334353369797</c:v>
                </c:pt>
                <c:pt idx="50745">
                  <c:v>31.929578849111412</c:v>
                </c:pt>
                <c:pt idx="50746">
                  <c:v>30.039869790558381</c:v>
                </c:pt>
                <c:pt idx="50747">
                  <c:v>44.148701078742761</c:v>
                </c:pt>
                <c:pt idx="50748">
                  <c:v>31.150567091439367</c:v>
                </c:pt>
                <c:pt idx="50749">
                  <c:v>25.25689933551126</c:v>
                </c:pt>
                <c:pt idx="50750">
                  <c:v>47.704003192167669</c:v>
                </c:pt>
                <c:pt idx="50751">
                  <c:v>25.077107203348685</c:v>
                </c:pt>
                <c:pt idx="50752">
                  <c:v>27.231742604691377</c:v>
                </c:pt>
                <c:pt idx="50753">
                  <c:v>27.544357037769167</c:v>
                </c:pt>
                <c:pt idx="50754">
                  <c:v>24.228218354133983</c:v>
                </c:pt>
                <c:pt idx="50755">
                  <c:v>26.786257552972614</c:v>
                </c:pt>
                <c:pt idx="50756">
                  <c:v>17.6181084870069</c:v>
                </c:pt>
                <c:pt idx="50757">
                  <c:v>25.220670880288015</c:v>
                </c:pt>
                <c:pt idx="50758">
                  <c:v>32.578203026609863</c:v>
                </c:pt>
                <c:pt idx="50759">
                  <c:v>51.719925890962735</c:v>
                </c:pt>
                <c:pt idx="50760">
                  <c:v>27.744381053139684</c:v>
                </c:pt>
                <c:pt idx="50761">
                  <c:v>29.554939272616842</c:v>
                </c:pt>
                <c:pt idx="50762">
                  <c:v>46.504525348805373</c:v>
                </c:pt>
                <c:pt idx="50763">
                  <c:v>30.082246033145104</c:v>
                </c:pt>
                <c:pt idx="50764">
                  <c:v>32.379510833048819</c:v>
                </c:pt>
                <c:pt idx="50765">
                  <c:v>36.907024001395293</c:v>
                </c:pt>
                <c:pt idx="50766">
                  <c:v>29.900564525827665</c:v>
                </c:pt>
                <c:pt idx="50767">
                  <c:v>26.274676835611917</c:v>
                </c:pt>
                <c:pt idx="50768">
                  <c:v>24.87209392215361</c:v>
                </c:pt>
                <c:pt idx="50769">
                  <c:v>47.849089244026494</c:v>
                </c:pt>
                <c:pt idx="50770">
                  <c:v>26.215240450233459</c:v>
                </c:pt>
                <c:pt idx="50771">
                  <c:v>26.966010485736323</c:v>
                </c:pt>
                <c:pt idx="50772">
                  <c:v>24.837266358646929</c:v>
                </c:pt>
                <c:pt idx="50773">
                  <c:v>31.668571727094218</c:v>
                </c:pt>
                <c:pt idx="50774">
                  <c:v>25.411360544372272</c:v>
                </c:pt>
                <c:pt idx="50775">
                  <c:v>23.903871727051666</c:v>
                </c:pt>
                <c:pt idx="50776">
                  <c:v>26.177083570090552</c:v>
                </c:pt>
                <c:pt idx="50777">
                  <c:v>22.92368900346581</c:v>
                </c:pt>
                <c:pt idx="50778">
                  <c:v>30.712664086745917</c:v>
                </c:pt>
                <c:pt idx="50779">
                  <c:v>18.468462717722442</c:v>
                </c:pt>
                <c:pt idx="50780">
                  <c:v>25.80733842005106</c:v>
                </c:pt>
                <c:pt idx="50781">
                  <c:v>25.24215328332788</c:v>
                </c:pt>
                <c:pt idx="50782">
                  <c:v>22.261075818518968</c:v>
                </c:pt>
                <c:pt idx="50783">
                  <c:v>24.370974603786074</c:v>
                </c:pt>
                <c:pt idx="50784">
                  <c:v>29.814224526283279</c:v>
                </c:pt>
                <c:pt idx="50785">
                  <c:v>52.801231921184929</c:v>
                </c:pt>
                <c:pt idx="50786">
                  <c:v>22.778662814434028</c:v>
                </c:pt>
                <c:pt idx="50787">
                  <c:v>44.19564350865673</c:v>
                </c:pt>
                <c:pt idx="50788">
                  <c:v>41.164931539355344</c:v>
                </c:pt>
                <c:pt idx="50789">
                  <c:v>24.904378271603434</c:v>
                </c:pt>
                <c:pt idx="50790">
                  <c:v>27.477296863446991</c:v>
                </c:pt>
                <c:pt idx="50791">
                  <c:v>18.825757280128997</c:v>
                </c:pt>
                <c:pt idx="50792">
                  <c:v>31.205001275673425</c:v>
                </c:pt>
                <c:pt idx="50793">
                  <c:v>24.702526232568218</c:v>
                </c:pt>
                <c:pt idx="50794">
                  <c:v>59.576386742550895</c:v>
                </c:pt>
                <c:pt idx="50795">
                  <c:v>35.16739936628683</c:v>
                </c:pt>
                <c:pt idx="50796">
                  <c:v>27.85239757317391</c:v>
                </c:pt>
                <c:pt idx="50797">
                  <c:v>26.347805234518191</c:v>
                </c:pt>
                <c:pt idx="50798">
                  <c:v>16.871182954856742</c:v>
                </c:pt>
                <c:pt idx="50799">
                  <c:v>21.394754406194224</c:v>
                </c:pt>
                <c:pt idx="50800">
                  <c:v>24.940972781324536</c:v>
                </c:pt>
                <c:pt idx="50801">
                  <c:v>28.875704442907256</c:v>
                </c:pt>
                <c:pt idx="50802">
                  <c:v>21.528619442528612</c:v>
                </c:pt>
                <c:pt idx="50803">
                  <c:v>19.633533371864633</c:v>
                </c:pt>
                <c:pt idx="50804">
                  <c:v>39.772552255256031</c:v>
                </c:pt>
                <c:pt idx="50805">
                  <c:v>30.584817212210822</c:v>
                </c:pt>
                <c:pt idx="50806">
                  <c:v>21.421158497732421</c:v>
                </c:pt>
                <c:pt idx="50807">
                  <c:v>17.127779506055727</c:v>
                </c:pt>
                <c:pt idx="50808">
                  <c:v>44.400670353962553</c:v>
                </c:pt>
                <c:pt idx="50809">
                  <c:v>19.045442284085993</c:v>
                </c:pt>
                <c:pt idx="50810">
                  <c:v>49.621893327699652</c:v>
                </c:pt>
                <c:pt idx="50811">
                  <c:v>40.91427045646185</c:v>
                </c:pt>
                <c:pt idx="50812">
                  <c:v>30.097752840117721</c:v>
                </c:pt>
                <c:pt idx="50813">
                  <c:v>29.631088786482096</c:v>
                </c:pt>
                <c:pt idx="50814">
                  <c:v>25.783941167085224</c:v>
                </c:pt>
                <c:pt idx="50815">
                  <c:v>31.085981996811345</c:v>
                </c:pt>
                <c:pt idx="50816">
                  <c:v>47.253437073373235</c:v>
                </c:pt>
                <c:pt idx="50817">
                  <c:v>47.073451062494385</c:v>
                </c:pt>
                <c:pt idx="50818">
                  <c:v>26.46099184202658</c:v>
                </c:pt>
                <c:pt idx="50819">
                  <c:v>24.054306003514561</c:v>
                </c:pt>
                <c:pt idx="50820">
                  <c:v>46.715530643680765</c:v>
                </c:pt>
                <c:pt idx="50821">
                  <c:v>40.025368399007618</c:v>
                </c:pt>
                <c:pt idx="50822">
                  <c:v>24.70317971346438</c:v>
                </c:pt>
                <c:pt idx="50823">
                  <c:v>36.016514240363954</c:v>
                </c:pt>
                <c:pt idx="50824">
                  <c:v>20.979929216204837</c:v>
                </c:pt>
                <c:pt idx="50825">
                  <c:v>51.659433609322953</c:v>
                </c:pt>
                <c:pt idx="50826">
                  <c:v>19.309001468890308</c:v>
                </c:pt>
                <c:pt idx="50827">
                  <c:v>24.938063022567025</c:v>
                </c:pt>
                <c:pt idx="50828">
                  <c:v>23.084191317587223</c:v>
                </c:pt>
                <c:pt idx="50829">
                  <c:v>47.1215983689818</c:v>
                </c:pt>
                <c:pt idx="50830">
                  <c:v>31.650701906052287</c:v>
                </c:pt>
                <c:pt idx="50831">
                  <c:v>31.662610646920246</c:v>
                </c:pt>
                <c:pt idx="50832">
                  <c:v>27.030356315307738</c:v>
                </c:pt>
                <c:pt idx="50833">
                  <c:v>21.786997901260296</c:v>
                </c:pt>
                <c:pt idx="50834">
                  <c:v>22.430935670389815</c:v>
                </c:pt>
                <c:pt idx="50835">
                  <c:v>20.647877331808481</c:v>
                </c:pt>
                <c:pt idx="50836">
                  <c:v>18.2526730100818</c:v>
                </c:pt>
                <c:pt idx="50837">
                  <c:v>22.376588755570211</c:v>
                </c:pt>
                <c:pt idx="50838">
                  <c:v>52.516333756360176</c:v>
                </c:pt>
                <c:pt idx="50839">
                  <c:v>26.131769464463389</c:v>
                </c:pt>
                <c:pt idx="50840">
                  <c:v>23.866122575102555</c:v>
                </c:pt>
                <c:pt idx="50841">
                  <c:v>24.868389049413686</c:v>
                </c:pt>
                <c:pt idx="50842">
                  <c:v>20.906447322949084</c:v>
                </c:pt>
                <c:pt idx="50843">
                  <c:v>23.17069764691513</c:v>
                </c:pt>
                <c:pt idx="50844">
                  <c:v>21.753810636406399</c:v>
                </c:pt>
                <c:pt idx="50845">
                  <c:v>24.982049487630508</c:v>
                </c:pt>
                <c:pt idx="50846">
                  <c:v>28.395834671744751</c:v>
                </c:pt>
                <c:pt idx="50847">
                  <c:v>23.85817682221337</c:v>
                </c:pt>
                <c:pt idx="50848">
                  <c:v>40.778459080437209</c:v>
                </c:pt>
                <c:pt idx="50849">
                  <c:v>24.09466959330301</c:v>
                </c:pt>
                <c:pt idx="50850">
                  <c:v>28.835116800291921</c:v>
                </c:pt>
                <c:pt idx="50851">
                  <c:v>22.776681681218502</c:v>
                </c:pt>
                <c:pt idx="50852">
                  <c:v>42.943716179848828</c:v>
                </c:pt>
                <c:pt idx="50853">
                  <c:v>29.4252509822463</c:v>
                </c:pt>
                <c:pt idx="50854">
                  <c:v>34.913512955551163</c:v>
                </c:pt>
                <c:pt idx="50855">
                  <c:v>32.479743541316587</c:v>
                </c:pt>
                <c:pt idx="50856">
                  <c:v>25.828366973274012</c:v>
                </c:pt>
                <c:pt idx="50857">
                  <c:v>23.695208968739792</c:v>
                </c:pt>
                <c:pt idx="50858">
                  <c:v>22.022130322765427</c:v>
                </c:pt>
                <c:pt idx="50859">
                  <c:v>26.820107030090764</c:v>
                </c:pt>
                <c:pt idx="50860">
                  <c:v>56.80818272936807</c:v>
                </c:pt>
                <c:pt idx="50861">
                  <c:v>25.75766183170386</c:v>
                </c:pt>
                <c:pt idx="50862">
                  <c:v>25.852094269634335</c:v>
                </c:pt>
                <c:pt idx="50863">
                  <c:v>25.113341524795921</c:v>
                </c:pt>
                <c:pt idx="50864">
                  <c:v>53.17370394404508</c:v>
                </c:pt>
                <c:pt idx="50865">
                  <c:v>22.954191202699178</c:v>
                </c:pt>
                <c:pt idx="50866">
                  <c:v>30.578141832811699</c:v>
                </c:pt>
                <c:pt idx="50867">
                  <c:v>61.947686547709793</c:v>
                </c:pt>
                <c:pt idx="50868">
                  <c:v>45.181196888857983</c:v>
                </c:pt>
                <c:pt idx="50869">
                  <c:v>26.244918027378937</c:v>
                </c:pt>
                <c:pt idx="50870">
                  <c:v>19.691512193589968</c:v>
                </c:pt>
                <c:pt idx="50871">
                  <c:v>56.308140125903662</c:v>
                </c:pt>
                <c:pt idx="50872">
                  <c:v>18.521277386673095</c:v>
                </c:pt>
                <c:pt idx="50873">
                  <c:v>39.313491738697167</c:v>
                </c:pt>
                <c:pt idx="50874">
                  <c:v>30.094932949793929</c:v>
                </c:pt>
                <c:pt idx="50875">
                  <c:v>28.124270554796563</c:v>
                </c:pt>
                <c:pt idx="50876">
                  <c:v>48.427545284009838</c:v>
                </c:pt>
                <c:pt idx="50877">
                  <c:v>51.806312991326671</c:v>
                </c:pt>
                <c:pt idx="50878">
                  <c:v>25.451695701559927</c:v>
                </c:pt>
                <c:pt idx="50879">
                  <c:v>19.796074888628755</c:v>
                </c:pt>
                <c:pt idx="50880">
                  <c:v>13.529583899437322</c:v>
                </c:pt>
                <c:pt idx="50881">
                  <c:v>41.899419155494769</c:v>
                </c:pt>
                <c:pt idx="50882">
                  <c:v>28.042374117106437</c:v>
                </c:pt>
                <c:pt idx="50883">
                  <c:v>42.138966157854647</c:v>
                </c:pt>
                <c:pt idx="50884">
                  <c:v>24.913003779236885</c:v>
                </c:pt>
                <c:pt idx="50885">
                  <c:v>25.176625707836418</c:v>
                </c:pt>
                <c:pt idx="50886">
                  <c:v>23.398472183098512</c:v>
                </c:pt>
                <c:pt idx="50887">
                  <c:v>18.497643126576904</c:v>
                </c:pt>
                <c:pt idx="50888">
                  <c:v>28.927990245372012</c:v>
                </c:pt>
                <c:pt idx="50889">
                  <c:v>23.81727615575123</c:v>
                </c:pt>
                <c:pt idx="50890">
                  <c:v>30.708155010811645</c:v>
                </c:pt>
                <c:pt idx="50891">
                  <c:v>22.841217061322933</c:v>
                </c:pt>
                <c:pt idx="50892">
                  <c:v>27.146123383946865</c:v>
                </c:pt>
                <c:pt idx="50893">
                  <c:v>32.955818700798787</c:v>
                </c:pt>
                <c:pt idx="50894">
                  <c:v>26.522804565299591</c:v>
                </c:pt>
                <c:pt idx="50895">
                  <c:v>29.188232394300051</c:v>
                </c:pt>
                <c:pt idx="50896">
                  <c:v>27.137392791165276</c:v>
                </c:pt>
                <c:pt idx="50897">
                  <c:v>21.791744975989385</c:v>
                </c:pt>
                <c:pt idx="50898">
                  <c:v>23.20526944417751</c:v>
                </c:pt>
                <c:pt idx="50899">
                  <c:v>28.975223378372593</c:v>
                </c:pt>
                <c:pt idx="50900">
                  <c:v>46.127512971604652</c:v>
                </c:pt>
                <c:pt idx="50901">
                  <c:v>21.345684325301956</c:v>
                </c:pt>
                <c:pt idx="50902">
                  <c:v>24.655984883968589</c:v>
                </c:pt>
                <c:pt idx="50903">
                  <c:v>33.225963611234675</c:v>
                </c:pt>
                <c:pt idx="50904">
                  <c:v>52.680982479086495</c:v>
                </c:pt>
                <c:pt idx="50905">
                  <c:v>24.263941724922422</c:v>
                </c:pt>
                <c:pt idx="50906">
                  <c:v>29.089539925775657</c:v>
                </c:pt>
                <c:pt idx="50907">
                  <c:v>35.218742107379413</c:v>
                </c:pt>
                <c:pt idx="50908">
                  <c:v>30.522052761644726</c:v>
                </c:pt>
                <c:pt idx="50909">
                  <c:v>28.592016395811953</c:v>
                </c:pt>
                <c:pt idx="50910">
                  <c:v>41.956895667873695</c:v>
                </c:pt>
                <c:pt idx="50911">
                  <c:v>27.632589221172008</c:v>
                </c:pt>
                <c:pt idx="50912">
                  <c:v>29.960421425493045</c:v>
                </c:pt>
                <c:pt idx="50913">
                  <c:v>24.233896096289101</c:v>
                </c:pt>
                <c:pt idx="50914">
                  <c:v>40.376629222124059</c:v>
                </c:pt>
                <c:pt idx="50915">
                  <c:v>55.635065306223346</c:v>
                </c:pt>
                <c:pt idx="50916">
                  <c:v>56.126732715161168</c:v>
                </c:pt>
                <c:pt idx="50917">
                  <c:v>51.765880477024851</c:v>
                </c:pt>
                <c:pt idx="50918">
                  <c:v>27.333310527920787</c:v>
                </c:pt>
                <c:pt idx="50919">
                  <c:v>26.886626022423421</c:v>
                </c:pt>
                <c:pt idx="50920">
                  <c:v>43.534704344064153</c:v>
                </c:pt>
                <c:pt idx="50921">
                  <c:v>28.604383230379788</c:v>
                </c:pt>
                <c:pt idx="50922">
                  <c:v>36.606933094562443</c:v>
                </c:pt>
                <c:pt idx="50923">
                  <c:v>23.93337163770644</c:v>
                </c:pt>
                <c:pt idx="50924">
                  <c:v>26.786284160116271</c:v>
                </c:pt>
                <c:pt idx="50925">
                  <c:v>34.165817213274906</c:v>
                </c:pt>
                <c:pt idx="50926">
                  <c:v>25.539233916658937</c:v>
                </c:pt>
                <c:pt idx="50927">
                  <c:v>19.351547901430813</c:v>
                </c:pt>
                <c:pt idx="50928">
                  <c:v>51.654586203898226</c:v>
                </c:pt>
                <c:pt idx="50929">
                  <c:v>34.007646905500287</c:v>
                </c:pt>
                <c:pt idx="50930">
                  <c:v>26.149519218044745</c:v>
                </c:pt>
                <c:pt idx="50931">
                  <c:v>22.29882360430997</c:v>
                </c:pt>
                <c:pt idx="50932">
                  <c:v>45.727952899755564</c:v>
                </c:pt>
                <c:pt idx="50933">
                  <c:v>50.846406699905742</c:v>
                </c:pt>
                <c:pt idx="50934">
                  <c:v>30.892767107317653</c:v>
                </c:pt>
                <c:pt idx="50935">
                  <c:v>34.385290557613764</c:v>
                </c:pt>
                <c:pt idx="50936">
                  <c:v>49.638195803605576</c:v>
                </c:pt>
                <c:pt idx="50937">
                  <c:v>22.656763927994383</c:v>
                </c:pt>
                <c:pt idx="50938">
                  <c:v>24.753971928608841</c:v>
                </c:pt>
                <c:pt idx="50939">
                  <c:v>44.423390425047451</c:v>
                </c:pt>
                <c:pt idx="50940">
                  <c:v>30.085825556540886</c:v>
                </c:pt>
                <c:pt idx="50941">
                  <c:v>45.217518279334584</c:v>
                </c:pt>
                <c:pt idx="50942">
                  <c:v>25.312173215310597</c:v>
                </c:pt>
                <c:pt idx="50943">
                  <c:v>18.900371181523344</c:v>
                </c:pt>
                <c:pt idx="50944">
                  <c:v>28.587762225568838</c:v>
                </c:pt>
                <c:pt idx="50945">
                  <c:v>23.050562388536825</c:v>
                </c:pt>
                <c:pt idx="50946">
                  <c:v>26.602688587102104</c:v>
                </c:pt>
                <c:pt idx="50947">
                  <c:v>36.545415660452605</c:v>
                </c:pt>
                <c:pt idx="50948">
                  <c:v>35.128171425829123</c:v>
                </c:pt>
                <c:pt idx="50949">
                  <c:v>23.176877232916944</c:v>
                </c:pt>
                <c:pt idx="50950">
                  <c:v>18.595456288111901</c:v>
                </c:pt>
                <c:pt idx="50951">
                  <c:v>24.63429451229425</c:v>
                </c:pt>
                <c:pt idx="50952">
                  <c:v>40.907463756540267</c:v>
                </c:pt>
                <c:pt idx="50953">
                  <c:v>46.669549522804104</c:v>
                </c:pt>
                <c:pt idx="50954">
                  <c:v>52.4214111805681</c:v>
                </c:pt>
                <c:pt idx="50955">
                  <c:v>31.493588017515293</c:v>
                </c:pt>
                <c:pt idx="50956">
                  <c:v>38.974071144712319</c:v>
                </c:pt>
                <c:pt idx="50957">
                  <c:v>33.062159071308486</c:v>
                </c:pt>
                <c:pt idx="50958">
                  <c:v>22.890614322391791</c:v>
                </c:pt>
                <c:pt idx="50959">
                  <c:v>51.11864790535985</c:v>
                </c:pt>
                <c:pt idx="50960">
                  <c:v>27.783296707428605</c:v>
                </c:pt>
                <c:pt idx="50961">
                  <c:v>26.237856113983394</c:v>
                </c:pt>
                <c:pt idx="50962">
                  <c:v>19.018624713290524</c:v>
                </c:pt>
                <c:pt idx="50963">
                  <c:v>26.240995309968572</c:v>
                </c:pt>
                <c:pt idx="50964">
                  <c:v>19.998867182220216</c:v>
                </c:pt>
                <c:pt idx="50965">
                  <c:v>28.623546373462467</c:v>
                </c:pt>
                <c:pt idx="50966">
                  <c:v>23.361781091834786</c:v>
                </c:pt>
                <c:pt idx="50967">
                  <c:v>29.675509699503849</c:v>
                </c:pt>
                <c:pt idx="50968">
                  <c:v>29.05111854086644</c:v>
                </c:pt>
                <c:pt idx="50969">
                  <c:v>25.459607493443222</c:v>
                </c:pt>
                <c:pt idx="50970">
                  <c:v>20.41939542109245</c:v>
                </c:pt>
                <c:pt idx="50971">
                  <c:v>31.392793509525141</c:v>
                </c:pt>
                <c:pt idx="50972">
                  <c:v>75.198721414477916</c:v>
                </c:pt>
                <c:pt idx="50973">
                  <c:v>42.749923408111037</c:v>
                </c:pt>
                <c:pt idx="50974">
                  <c:v>47.481401260271319</c:v>
                </c:pt>
                <c:pt idx="50975">
                  <c:v>23.985557345890278</c:v>
                </c:pt>
                <c:pt idx="50976">
                  <c:v>26.039071029234531</c:v>
                </c:pt>
                <c:pt idx="50977">
                  <c:v>33.658125628282711</c:v>
                </c:pt>
                <c:pt idx="50978">
                  <c:v>31.850526561268808</c:v>
                </c:pt>
                <c:pt idx="50979">
                  <c:v>21.376677751493769</c:v>
                </c:pt>
                <c:pt idx="50980">
                  <c:v>30.583922787583603</c:v>
                </c:pt>
                <c:pt idx="50981">
                  <c:v>38.838359942139846</c:v>
                </c:pt>
                <c:pt idx="50982">
                  <c:v>29.116699836638293</c:v>
                </c:pt>
                <c:pt idx="50983">
                  <c:v>23.597713719621549</c:v>
                </c:pt>
                <c:pt idx="50984">
                  <c:v>28.95450158836908</c:v>
                </c:pt>
                <c:pt idx="50985">
                  <c:v>39.53020749018448</c:v>
                </c:pt>
                <c:pt idx="50986">
                  <c:v>30.194054660398372</c:v>
                </c:pt>
                <c:pt idx="50987">
                  <c:v>24.39896745883696</c:v>
                </c:pt>
                <c:pt idx="50988">
                  <c:v>34.06012494288511</c:v>
                </c:pt>
                <c:pt idx="50989">
                  <c:v>26.202598926251103</c:v>
                </c:pt>
                <c:pt idx="50990">
                  <c:v>21.694567659418777</c:v>
                </c:pt>
                <c:pt idx="50991">
                  <c:v>24.017863724375658</c:v>
                </c:pt>
                <c:pt idx="50992">
                  <c:v>49.418289003625098</c:v>
                </c:pt>
                <c:pt idx="50993">
                  <c:v>37.568912193224769</c:v>
                </c:pt>
                <c:pt idx="50994">
                  <c:v>28.573821859139471</c:v>
                </c:pt>
                <c:pt idx="50995">
                  <c:v>42.274614883394676</c:v>
                </c:pt>
                <c:pt idx="50996">
                  <c:v>18.713328528142618</c:v>
                </c:pt>
                <c:pt idx="50997">
                  <c:v>54.698135693403103</c:v>
                </c:pt>
                <c:pt idx="50998">
                  <c:v>24.67779335485336</c:v>
                </c:pt>
                <c:pt idx="50999">
                  <c:v>25.199505370421246</c:v>
                </c:pt>
                <c:pt idx="51000">
                  <c:v>39.697387241611324</c:v>
                </c:pt>
                <c:pt idx="51001">
                  <c:v>44.223134580546699</c:v>
                </c:pt>
                <c:pt idx="51002">
                  <c:v>31.145210775156528</c:v>
                </c:pt>
                <c:pt idx="51003">
                  <c:v>33.346479409094663</c:v>
                </c:pt>
                <c:pt idx="51004">
                  <c:v>30.823837934349342</c:v>
                </c:pt>
                <c:pt idx="51005">
                  <c:v>32.661308087635987</c:v>
                </c:pt>
                <c:pt idx="51006">
                  <c:v>29.494245754009093</c:v>
                </c:pt>
                <c:pt idx="51007">
                  <c:v>26.880403465482416</c:v>
                </c:pt>
                <c:pt idx="51008">
                  <c:v>34.400920186187442</c:v>
                </c:pt>
                <c:pt idx="51009">
                  <c:v>20.105070384138674</c:v>
                </c:pt>
                <c:pt idx="51010">
                  <c:v>45.03341855701877</c:v>
                </c:pt>
                <c:pt idx="51011">
                  <c:v>29.664644732090949</c:v>
                </c:pt>
                <c:pt idx="51012">
                  <c:v>22.171349102649195</c:v>
                </c:pt>
                <c:pt idx="51013">
                  <c:v>35.114242767139814</c:v>
                </c:pt>
                <c:pt idx="51014">
                  <c:v>43.406068909186544</c:v>
                </c:pt>
                <c:pt idx="51015">
                  <c:v>25.825951477061473</c:v>
                </c:pt>
                <c:pt idx="51016">
                  <c:v>26.996839485607737</c:v>
                </c:pt>
                <c:pt idx="51017">
                  <c:v>37.011075063383359</c:v>
                </c:pt>
                <c:pt idx="51018">
                  <c:v>26.113943755104078</c:v>
                </c:pt>
                <c:pt idx="51019">
                  <c:v>48.634371720948579</c:v>
                </c:pt>
                <c:pt idx="51020">
                  <c:v>26.248503710909155</c:v>
                </c:pt>
                <c:pt idx="51021">
                  <c:v>20.002942069982559</c:v>
                </c:pt>
                <c:pt idx="51022">
                  <c:v>25.613469764031663</c:v>
                </c:pt>
                <c:pt idx="51023">
                  <c:v>21.304401456100603</c:v>
                </c:pt>
                <c:pt idx="51024">
                  <c:v>27.314243801168224</c:v>
                </c:pt>
                <c:pt idx="51025">
                  <c:v>46.957717320722551</c:v>
                </c:pt>
                <c:pt idx="51026">
                  <c:v>24.271176688682775</c:v>
                </c:pt>
                <c:pt idx="51027">
                  <c:v>31.972589687297884</c:v>
                </c:pt>
                <c:pt idx="51028">
                  <c:v>46.175341249899574</c:v>
                </c:pt>
                <c:pt idx="51029">
                  <c:v>56.504085868813426</c:v>
                </c:pt>
                <c:pt idx="51030">
                  <c:v>61.382010179469219</c:v>
                </c:pt>
                <c:pt idx="51031">
                  <c:v>47.759345540804716</c:v>
                </c:pt>
                <c:pt idx="51032">
                  <c:v>32.927480848465791</c:v>
                </c:pt>
                <c:pt idx="51033">
                  <c:v>12.760719459436954</c:v>
                </c:pt>
                <c:pt idx="51034">
                  <c:v>24.669479888354434</c:v>
                </c:pt>
                <c:pt idx="51035">
                  <c:v>50.520072914873523</c:v>
                </c:pt>
                <c:pt idx="51036">
                  <c:v>43.542016268630817</c:v>
                </c:pt>
                <c:pt idx="51037">
                  <c:v>34.012519754902534</c:v>
                </c:pt>
                <c:pt idx="51038">
                  <c:v>30.018671204317343</c:v>
                </c:pt>
                <c:pt idx="51039">
                  <c:v>41.400199308781886</c:v>
                </c:pt>
                <c:pt idx="51040">
                  <c:v>27.498869365490187</c:v>
                </c:pt>
                <c:pt idx="51041">
                  <c:v>23.496221234217838</c:v>
                </c:pt>
                <c:pt idx="51042">
                  <c:v>19.203709044108429</c:v>
                </c:pt>
                <c:pt idx="51043">
                  <c:v>35.224138482477215</c:v>
                </c:pt>
                <c:pt idx="51044">
                  <c:v>40.288323755800235</c:v>
                </c:pt>
                <c:pt idx="51045">
                  <c:v>43.323140646199882</c:v>
                </c:pt>
                <c:pt idx="51046">
                  <c:v>28.271099891334725</c:v>
                </c:pt>
                <c:pt idx="51047">
                  <c:v>19.372351231583078</c:v>
                </c:pt>
                <c:pt idx="51048">
                  <c:v>27.120413171567208</c:v>
                </c:pt>
                <c:pt idx="51049">
                  <c:v>24.938219849793384</c:v>
                </c:pt>
                <c:pt idx="51050">
                  <c:v>18.59865066074294</c:v>
                </c:pt>
                <c:pt idx="51051">
                  <c:v>25.069676541956099</c:v>
                </c:pt>
                <c:pt idx="51052">
                  <c:v>22.148408263822745</c:v>
                </c:pt>
                <c:pt idx="51053">
                  <c:v>28.734864440327708</c:v>
                </c:pt>
                <c:pt idx="51054">
                  <c:v>30.134470965096369</c:v>
                </c:pt>
                <c:pt idx="51055">
                  <c:v>51.054339860544601</c:v>
                </c:pt>
                <c:pt idx="51056">
                  <c:v>22.910638503621726</c:v>
                </c:pt>
                <c:pt idx="51057">
                  <c:v>23.364747656556816</c:v>
                </c:pt>
                <c:pt idx="51058">
                  <c:v>27.709635130536405</c:v>
                </c:pt>
                <c:pt idx="51059">
                  <c:v>26.278283909225138</c:v>
                </c:pt>
                <c:pt idx="51060">
                  <c:v>38.19928088286332</c:v>
                </c:pt>
                <c:pt idx="51061">
                  <c:v>33.512634259654043</c:v>
                </c:pt>
                <c:pt idx="51062">
                  <c:v>24.244376829400853</c:v>
                </c:pt>
                <c:pt idx="51063">
                  <c:v>20.954745502247473</c:v>
                </c:pt>
                <c:pt idx="51064">
                  <c:v>25.474344438520234</c:v>
                </c:pt>
                <c:pt idx="51065">
                  <c:v>46.176977288823807</c:v>
                </c:pt>
                <c:pt idx="51066">
                  <c:v>27.233804667154367</c:v>
                </c:pt>
                <c:pt idx="51067">
                  <c:v>25.961780396296305</c:v>
                </c:pt>
                <c:pt idx="51068">
                  <c:v>22.950854309435961</c:v>
                </c:pt>
                <c:pt idx="51069">
                  <c:v>26.075282768300532</c:v>
                </c:pt>
                <c:pt idx="51070">
                  <c:v>20.415664506569819</c:v>
                </c:pt>
                <c:pt idx="51071">
                  <c:v>27.853236241314498</c:v>
                </c:pt>
                <c:pt idx="51072">
                  <c:v>43.15942978944441</c:v>
                </c:pt>
                <c:pt idx="51073">
                  <c:v>21.046819797241522</c:v>
                </c:pt>
                <c:pt idx="51074">
                  <c:v>26.168038713714175</c:v>
                </c:pt>
                <c:pt idx="51075">
                  <c:v>45.367455505864221</c:v>
                </c:pt>
                <c:pt idx="51076">
                  <c:v>22.279805852281783</c:v>
                </c:pt>
                <c:pt idx="51077">
                  <c:v>47.346324669882669</c:v>
                </c:pt>
                <c:pt idx="51078">
                  <c:v>36.876884955290897</c:v>
                </c:pt>
                <c:pt idx="51079">
                  <c:v>28.362125231083674</c:v>
                </c:pt>
                <c:pt idx="51080">
                  <c:v>22.753622060780319</c:v>
                </c:pt>
                <c:pt idx="51081">
                  <c:v>31.034626995224933</c:v>
                </c:pt>
                <c:pt idx="51082">
                  <c:v>28.097220776498084</c:v>
                </c:pt>
                <c:pt idx="51083">
                  <c:v>23.246364071010735</c:v>
                </c:pt>
                <c:pt idx="51084">
                  <c:v>48.93524249762801</c:v>
                </c:pt>
                <c:pt idx="51085">
                  <c:v>35.672175816632681</c:v>
                </c:pt>
                <c:pt idx="51086">
                  <c:v>25.802801285951741</c:v>
                </c:pt>
                <c:pt idx="51087">
                  <c:v>42.882985969085674</c:v>
                </c:pt>
                <c:pt idx="51088">
                  <c:v>57.288173122298772</c:v>
                </c:pt>
                <c:pt idx="51089">
                  <c:v>20.493026195163797</c:v>
                </c:pt>
                <c:pt idx="51090">
                  <c:v>34.508891931058876</c:v>
                </c:pt>
                <c:pt idx="51091">
                  <c:v>21.857344500097462</c:v>
                </c:pt>
                <c:pt idx="51092">
                  <c:v>28.890363563041038</c:v>
                </c:pt>
                <c:pt idx="51093">
                  <c:v>23.885023926141329</c:v>
                </c:pt>
                <c:pt idx="51094">
                  <c:v>22.595638540121683</c:v>
                </c:pt>
                <c:pt idx="51095">
                  <c:v>20.987105041918745</c:v>
                </c:pt>
                <c:pt idx="51096">
                  <c:v>38.4737114647642</c:v>
                </c:pt>
                <c:pt idx="51097">
                  <c:v>19.372366378847218</c:v>
                </c:pt>
                <c:pt idx="51098">
                  <c:v>62.096862179695961</c:v>
                </c:pt>
                <c:pt idx="51099">
                  <c:v>44.700197644844799</c:v>
                </c:pt>
                <c:pt idx="51100">
                  <c:v>23.116258619443325</c:v>
                </c:pt>
                <c:pt idx="51101">
                  <c:v>29.473420684470987</c:v>
                </c:pt>
                <c:pt idx="51102">
                  <c:v>23.399432514579761</c:v>
                </c:pt>
                <c:pt idx="51103">
                  <c:v>21.140508169970627</c:v>
                </c:pt>
                <c:pt idx="51104">
                  <c:v>33.722386759975031</c:v>
                </c:pt>
                <c:pt idx="51105">
                  <c:v>44.541254839859683</c:v>
                </c:pt>
                <c:pt idx="51106">
                  <c:v>25.375146299501328</c:v>
                </c:pt>
                <c:pt idx="51107">
                  <c:v>40.115428099505188</c:v>
                </c:pt>
                <c:pt idx="51108">
                  <c:v>43.406201898538271</c:v>
                </c:pt>
                <c:pt idx="51109">
                  <c:v>35.11808722238554</c:v>
                </c:pt>
                <c:pt idx="51110">
                  <c:v>28.98501189204941</c:v>
                </c:pt>
                <c:pt idx="51111">
                  <c:v>47.71537819623267</c:v>
                </c:pt>
                <c:pt idx="51112">
                  <c:v>19.340884002417774</c:v>
                </c:pt>
                <c:pt idx="51113">
                  <c:v>44.600542690164659</c:v>
                </c:pt>
                <c:pt idx="51114">
                  <c:v>45.862812123083437</c:v>
                </c:pt>
                <c:pt idx="51115">
                  <c:v>38.95473875448414</c:v>
                </c:pt>
                <c:pt idx="51116">
                  <c:v>44.344418506426486</c:v>
                </c:pt>
                <c:pt idx="51117">
                  <c:v>23.672594088175945</c:v>
                </c:pt>
                <c:pt idx="51118">
                  <c:v>24.046303164293704</c:v>
                </c:pt>
                <c:pt idx="51119">
                  <c:v>18.845825327087759</c:v>
                </c:pt>
                <c:pt idx="51120">
                  <c:v>19.310380332156804</c:v>
                </c:pt>
                <c:pt idx="51121">
                  <c:v>18.564659904731748</c:v>
                </c:pt>
                <c:pt idx="51122">
                  <c:v>30.493891947674847</c:v>
                </c:pt>
                <c:pt idx="51123">
                  <c:v>29.080295320314193</c:v>
                </c:pt>
                <c:pt idx="51124">
                  <c:v>20.623379689773319</c:v>
                </c:pt>
                <c:pt idx="51125">
                  <c:v>23.732478498548069</c:v>
                </c:pt>
                <c:pt idx="51126">
                  <c:v>31.015081505150206</c:v>
                </c:pt>
                <c:pt idx="51127">
                  <c:v>33.383166023582362</c:v>
                </c:pt>
                <c:pt idx="51128">
                  <c:v>36.9583841891167</c:v>
                </c:pt>
                <c:pt idx="51129">
                  <c:v>55.150124850005675</c:v>
                </c:pt>
                <c:pt idx="51130">
                  <c:v>27.907282124498852</c:v>
                </c:pt>
                <c:pt idx="51131">
                  <c:v>31.523184847605901</c:v>
                </c:pt>
                <c:pt idx="51132">
                  <c:v>20.127206165166427</c:v>
                </c:pt>
                <c:pt idx="51133">
                  <c:v>47.573424447676871</c:v>
                </c:pt>
                <c:pt idx="51134">
                  <c:v>56.009962205589567</c:v>
                </c:pt>
                <c:pt idx="51135">
                  <c:v>52.216208804200555</c:v>
                </c:pt>
                <c:pt idx="51136">
                  <c:v>19.346504190756903</c:v>
                </c:pt>
                <c:pt idx="51137">
                  <c:v>25.558182072534663</c:v>
                </c:pt>
                <c:pt idx="51138">
                  <c:v>24.343105975653991</c:v>
                </c:pt>
                <c:pt idx="51139">
                  <c:v>24.557545421095341</c:v>
                </c:pt>
                <c:pt idx="51140">
                  <c:v>37.496934511317235</c:v>
                </c:pt>
                <c:pt idx="51141">
                  <c:v>28.225917903532935</c:v>
                </c:pt>
                <c:pt idx="51142">
                  <c:v>26.20135905754934</c:v>
                </c:pt>
                <c:pt idx="51143">
                  <c:v>26.223001732682487</c:v>
                </c:pt>
                <c:pt idx="51144">
                  <c:v>29.487294993641715</c:v>
                </c:pt>
                <c:pt idx="51145">
                  <c:v>22.669026193219288</c:v>
                </c:pt>
                <c:pt idx="51146">
                  <c:v>27.098961308030688</c:v>
                </c:pt>
                <c:pt idx="51147">
                  <c:v>33.093306805445557</c:v>
                </c:pt>
                <c:pt idx="51148">
                  <c:v>21.743657688071011</c:v>
                </c:pt>
                <c:pt idx="51149">
                  <c:v>27.014744941472031</c:v>
                </c:pt>
                <c:pt idx="51150">
                  <c:v>21.179229353923944</c:v>
                </c:pt>
                <c:pt idx="51151">
                  <c:v>30.663189141927397</c:v>
                </c:pt>
                <c:pt idx="51152">
                  <c:v>37.81862103040541</c:v>
                </c:pt>
                <c:pt idx="51153">
                  <c:v>29.752699393271524</c:v>
                </c:pt>
                <c:pt idx="51154">
                  <c:v>27.072098379947761</c:v>
                </c:pt>
                <c:pt idx="51155">
                  <c:v>41.073716915643473</c:v>
                </c:pt>
                <c:pt idx="51156">
                  <c:v>21.934808062170713</c:v>
                </c:pt>
                <c:pt idx="51157">
                  <c:v>42.010566748053442</c:v>
                </c:pt>
                <c:pt idx="51158">
                  <c:v>24.460925541570376</c:v>
                </c:pt>
                <c:pt idx="51159">
                  <c:v>42.030302075220717</c:v>
                </c:pt>
                <c:pt idx="51160">
                  <c:v>27.173954283042931</c:v>
                </c:pt>
                <c:pt idx="51161">
                  <c:v>22.685961916932705</c:v>
                </c:pt>
                <c:pt idx="51162">
                  <c:v>47.093999600405702</c:v>
                </c:pt>
                <c:pt idx="51163">
                  <c:v>27.249694462145346</c:v>
                </c:pt>
                <c:pt idx="51164">
                  <c:v>34.267706221044108</c:v>
                </c:pt>
                <c:pt idx="51165">
                  <c:v>23.437116153597934</c:v>
                </c:pt>
                <c:pt idx="51166">
                  <c:v>45.078157729385921</c:v>
                </c:pt>
                <c:pt idx="51167">
                  <c:v>27.884855829979365</c:v>
                </c:pt>
                <c:pt idx="51168">
                  <c:v>20.047135629729258</c:v>
                </c:pt>
                <c:pt idx="51169">
                  <c:v>37.8425278209954</c:v>
                </c:pt>
                <c:pt idx="51170">
                  <c:v>24.202724107159387</c:v>
                </c:pt>
                <c:pt idx="51171">
                  <c:v>18.490782095714607</c:v>
                </c:pt>
                <c:pt idx="51172">
                  <c:v>20.897745446899048</c:v>
                </c:pt>
                <c:pt idx="51173">
                  <c:v>21.356555492771459</c:v>
                </c:pt>
                <c:pt idx="51174">
                  <c:v>32.051043620418412</c:v>
                </c:pt>
                <c:pt idx="51175">
                  <c:v>28.00990255147925</c:v>
                </c:pt>
                <c:pt idx="51176">
                  <c:v>28.293331777634009</c:v>
                </c:pt>
                <c:pt idx="51177">
                  <c:v>39.321023391663623</c:v>
                </c:pt>
                <c:pt idx="51178">
                  <c:v>55.402753784535477</c:v>
                </c:pt>
                <c:pt idx="51179">
                  <c:v>27.904279219906073</c:v>
                </c:pt>
                <c:pt idx="51180">
                  <c:v>24.533738437676554</c:v>
                </c:pt>
                <c:pt idx="51181">
                  <c:v>29.444617851506493</c:v>
                </c:pt>
                <c:pt idx="51182">
                  <c:v>23.506901617363877</c:v>
                </c:pt>
                <c:pt idx="51183">
                  <c:v>30.786256748404625</c:v>
                </c:pt>
                <c:pt idx="51184">
                  <c:v>53.820948271524472</c:v>
                </c:pt>
                <c:pt idx="51185">
                  <c:v>29.1541254099733</c:v>
                </c:pt>
                <c:pt idx="51186">
                  <c:v>48.687998252027064</c:v>
                </c:pt>
                <c:pt idx="51187">
                  <c:v>47.291100563450485</c:v>
                </c:pt>
                <c:pt idx="51188">
                  <c:v>45.701484603816439</c:v>
                </c:pt>
                <c:pt idx="51189">
                  <c:v>29.654920869216951</c:v>
                </c:pt>
                <c:pt idx="51190">
                  <c:v>31.066878256276645</c:v>
                </c:pt>
                <c:pt idx="51191">
                  <c:v>18.881421471063057</c:v>
                </c:pt>
                <c:pt idx="51192">
                  <c:v>24.142410017228578</c:v>
                </c:pt>
                <c:pt idx="51193">
                  <c:v>25.111871981310351</c:v>
                </c:pt>
                <c:pt idx="51194">
                  <c:v>35.124810010253618</c:v>
                </c:pt>
                <c:pt idx="51195">
                  <c:v>33.525434321503006</c:v>
                </c:pt>
                <c:pt idx="51196">
                  <c:v>23.370343700939131</c:v>
                </c:pt>
                <c:pt idx="51197">
                  <c:v>30.196995099852309</c:v>
                </c:pt>
                <c:pt idx="51198">
                  <c:v>30.766610483763944</c:v>
                </c:pt>
                <c:pt idx="51199">
                  <c:v>34.366100997207333</c:v>
                </c:pt>
                <c:pt idx="51200">
                  <c:v>26.561501551810888</c:v>
                </c:pt>
                <c:pt idx="51201">
                  <c:v>32.13765351356686</c:v>
                </c:pt>
                <c:pt idx="51202">
                  <c:v>40.209906790479209</c:v>
                </c:pt>
                <c:pt idx="51203">
                  <c:v>49.851703454376683</c:v>
                </c:pt>
                <c:pt idx="51204">
                  <c:v>50.346071140985039</c:v>
                </c:pt>
                <c:pt idx="51205">
                  <c:v>26.612459045147439</c:v>
                </c:pt>
                <c:pt idx="51206">
                  <c:v>29.288494534413346</c:v>
                </c:pt>
                <c:pt idx="51207">
                  <c:v>25.244672080805504</c:v>
                </c:pt>
                <c:pt idx="51208">
                  <c:v>28.439787075263261</c:v>
                </c:pt>
                <c:pt idx="51209">
                  <c:v>27.646984525916753</c:v>
                </c:pt>
                <c:pt idx="51210">
                  <c:v>29.777464167359696</c:v>
                </c:pt>
                <c:pt idx="51211">
                  <c:v>28.020555235242831</c:v>
                </c:pt>
                <c:pt idx="51212">
                  <c:v>24.396594544997534</c:v>
                </c:pt>
                <c:pt idx="51213">
                  <c:v>29.219060684220786</c:v>
                </c:pt>
                <c:pt idx="51214">
                  <c:v>21.004725285586332</c:v>
                </c:pt>
                <c:pt idx="51215">
                  <c:v>35.06293320875249</c:v>
                </c:pt>
                <c:pt idx="51216">
                  <c:v>41.052250241284185</c:v>
                </c:pt>
                <c:pt idx="51217">
                  <c:v>27.025857500590245</c:v>
                </c:pt>
                <c:pt idx="51218">
                  <c:v>24.309588104936967</c:v>
                </c:pt>
                <c:pt idx="51219">
                  <c:v>20.848168257460181</c:v>
                </c:pt>
                <c:pt idx="51220">
                  <c:v>26.106347183754874</c:v>
                </c:pt>
                <c:pt idx="51221">
                  <c:v>24.886058137241736</c:v>
                </c:pt>
                <c:pt idx="51222">
                  <c:v>53.177360939173859</c:v>
                </c:pt>
                <c:pt idx="51223">
                  <c:v>30.059946461929361</c:v>
                </c:pt>
                <c:pt idx="51224">
                  <c:v>38.384661620025668</c:v>
                </c:pt>
                <c:pt idx="51225">
                  <c:v>29.196427462678635</c:v>
                </c:pt>
                <c:pt idx="51226">
                  <c:v>27.386380113461627</c:v>
                </c:pt>
                <c:pt idx="51227">
                  <c:v>27.831483376659456</c:v>
                </c:pt>
                <c:pt idx="51228">
                  <c:v>33.293826762994215</c:v>
                </c:pt>
                <c:pt idx="51229">
                  <c:v>49.574870353534592</c:v>
                </c:pt>
                <c:pt idx="51230">
                  <c:v>28.62214085209726</c:v>
                </c:pt>
                <c:pt idx="51231">
                  <c:v>26.745341517491585</c:v>
                </c:pt>
                <c:pt idx="51232">
                  <c:v>40.379650653429678</c:v>
                </c:pt>
                <c:pt idx="51233">
                  <c:v>31.42264823247061</c:v>
                </c:pt>
                <c:pt idx="51234">
                  <c:v>20.961493677940666</c:v>
                </c:pt>
                <c:pt idx="51235">
                  <c:v>21.667605669465416</c:v>
                </c:pt>
                <c:pt idx="51236">
                  <c:v>28.16813306978711</c:v>
                </c:pt>
                <c:pt idx="51237">
                  <c:v>36.278191780824343</c:v>
                </c:pt>
                <c:pt idx="51238">
                  <c:v>42.711630912086179</c:v>
                </c:pt>
                <c:pt idx="51239">
                  <c:v>25.650348462514685</c:v>
                </c:pt>
                <c:pt idx="51240">
                  <c:v>22.110985317941406</c:v>
                </c:pt>
                <c:pt idx="51241">
                  <c:v>27.813073424031202</c:v>
                </c:pt>
                <c:pt idx="51242">
                  <c:v>21.528448389907311</c:v>
                </c:pt>
                <c:pt idx="51243">
                  <c:v>51.694669070092559</c:v>
                </c:pt>
                <c:pt idx="51244">
                  <c:v>42.289969059074423</c:v>
                </c:pt>
                <c:pt idx="51245">
                  <c:v>25.626315820357718</c:v>
                </c:pt>
                <c:pt idx="51246">
                  <c:v>25.546834123805656</c:v>
                </c:pt>
                <c:pt idx="51247">
                  <c:v>22.059194606464899</c:v>
                </c:pt>
                <c:pt idx="51248">
                  <c:v>47.406233529605288</c:v>
                </c:pt>
                <c:pt idx="51249">
                  <c:v>23.754509683079704</c:v>
                </c:pt>
                <c:pt idx="51250">
                  <c:v>42.579713206588806</c:v>
                </c:pt>
                <c:pt idx="51251">
                  <c:v>29.508719339329545</c:v>
                </c:pt>
                <c:pt idx="51252">
                  <c:v>48.694086325119343</c:v>
                </c:pt>
                <c:pt idx="51253">
                  <c:v>35.993951309367766</c:v>
                </c:pt>
                <c:pt idx="51254">
                  <c:v>26.561342159453595</c:v>
                </c:pt>
                <c:pt idx="51255">
                  <c:v>21.771590061753912</c:v>
                </c:pt>
                <c:pt idx="51256">
                  <c:v>58.481450019508976</c:v>
                </c:pt>
                <c:pt idx="51257">
                  <c:v>41.618841015964662</c:v>
                </c:pt>
                <c:pt idx="51258">
                  <c:v>25.939778953561262</c:v>
                </c:pt>
                <c:pt idx="51259">
                  <c:v>31.108254416244677</c:v>
                </c:pt>
                <c:pt idx="51260">
                  <c:v>27.059337903635878</c:v>
                </c:pt>
                <c:pt idx="51261">
                  <c:v>28.03970961646753</c:v>
                </c:pt>
                <c:pt idx="51262">
                  <c:v>30.779755589881198</c:v>
                </c:pt>
                <c:pt idx="51263">
                  <c:v>31.302894264549256</c:v>
                </c:pt>
                <c:pt idx="51264">
                  <c:v>42.710568115283465</c:v>
                </c:pt>
                <c:pt idx="51265">
                  <c:v>22.294246944373956</c:v>
                </c:pt>
                <c:pt idx="51266">
                  <c:v>25.012988410230253</c:v>
                </c:pt>
                <c:pt idx="51267">
                  <c:v>24.205688438711331</c:v>
                </c:pt>
                <c:pt idx="51268">
                  <c:v>25.074114558571601</c:v>
                </c:pt>
                <c:pt idx="51269">
                  <c:v>19.287262957788236</c:v>
                </c:pt>
                <c:pt idx="51270">
                  <c:v>34.94291221960917</c:v>
                </c:pt>
                <c:pt idx="51271">
                  <c:v>23.727502914963573</c:v>
                </c:pt>
                <c:pt idx="51272">
                  <c:v>24.784181924326589</c:v>
                </c:pt>
                <c:pt idx="51273">
                  <c:v>40.864912548745565</c:v>
                </c:pt>
                <c:pt idx="51274">
                  <c:v>26.178232595281802</c:v>
                </c:pt>
                <c:pt idx="51275">
                  <c:v>23.732023599805164</c:v>
                </c:pt>
                <c:pt idx="51276">
                  <c:v>28.506717935925415</c:v>
                </c:pt>
                <c:pt idx="51277">
                  <c:v>30.031418092880372</c:v>
                </c:pt>
                <c:pt idx="51278">
                  <c:v>25.493145147137135</c:v>
                </c:pt>
                <c:pt idx="51279">
                  <c:v>24.002343315153958</c:v>
                </c:pt>
                <c:pt idx="51280">
                  <c:v>29.472736565439153</c:v>
                </c:pt>
                <c:pt idx="51281">
                  <c:v>23.389088429711506</c:v>
                </c:pt>
                <c:pt idx="51282">
                  <c:v>45.883111994502691</c:v>
                </c:pt>
                <c:pt idx="51283">
                  <c:v>27.587729185145626</c:v>
                </c:pt>
                <c:pt idx="51284">
                  <c:v>46.100689892595717</c:v>
                </c:pt>
                <c:pt idx="51285">
                  <c:v>40.894243904967198</c:v>
                </c:pt>
                <c:pt idx="51286">
                  <c:v>26.079325317076172</c:v>
                </c:pt>
                <c:pt idx="51287">
                  <c:v>39.740310951790953</c:v>
                </c:pt>
                <c:pt idx="51288">
                  <c:v>18.366688591866971</c:v>
                </c:pt>
                <c:pt idx="51289">
                  <c:v>38.145023004116211</c:v>
                </c:pt>
                <c:pt idx="51290">
                  <c:v>30.642919480798078</c:v>
                </c:pt>
                <c:pt idx="51291">
                  <c:v>30.573192993220172</c:v>
                </c:pt>
                <c:pt idx="51292">
                  <c:v>31.397651311292901</c:v>
                </c:pt>
                <c:pt idx="51293">
                  <c:v>23.43277020409424</c:v>
                </c:pt>
                <c:pt idx="51294">
                  <c:v>22.779919409715227</c:v>
                </c:pt>
                <c:pt idx="51295">
                  <c:v>24.201231750634143</c:v>
                </c:pt>
                <c:pt idx="51296">
                  <c:v>28.794790606202007</c:v>
                </c:pt>
                <c:pt idx="51297">
                  <c:v>22.992697358192427</c:v>
                </c:pt>
                <c:pt idx="51298">
                  <c:v>24.377801431261037</c:v>
                </c:pt>
                <c:pt idx="51299">
                  <c:v>41.289404126363898</c:v>
                </c:pt>
                <c:pt idx="51300">
                  <c:v>28.165986451445214</c:v>
                </c:pt>
                <c:pt idx="51301">
                  <c:v>24.60217322034871</c:v>
                </c:pt>
                <c:pt idx="51302">
                  <c:v>33.762615053124392</c:v>
                </c:pt>
                <c:pt idx="51303">
                  <c:v>27.880940058880395</c:v>
                </c:pt>
                <c:pt idx="51304">
                  <c:v>37.304456531721065</c:v>
                </c:pt>
                <c:pt idx="51305">
                  <c:v>27.961497696035334</c:v>
                </c:pt>
                <c:pt idx="51306">
                  <c:v>23.078195448140782</c:v>
                </c:pt>
                <c:pt idx="51307">
                  <c:v>29.100606922160658</c:v>
                </c:pt>
                <c:pt idx="51308">
                  <c:v>23.848376064689688</c:v>
                </c:pt>
                <c:pt idx="51309">
                  <c:v>31.005052723000432</c:v>
                </c:pt>
                <c:pt idx="51310">
                  <c:v>22.449946835571495</c:v>
                </c:pt>
                <c:pt idx="51311">
                  <c:v>43.375762132581627</c:v>
                </c:pt>
                <c:pt idx="51312">
                  <c:v>41.173190056935333</c:v>
                </c:pt>
                <c:pt idx="51313">
                  <c:v>29.693283247232316</c:v>
                </c:pt>
                <c:pt idx="51314">
                  <c:v>53.431592105685802</c:v>
                </c:pt>
                <c:pt idx="51315">
                  <c:v>23.141549527586633</c:v>
                </c:pt>
                <c:pt idx="51316">
                  <c:v>23.884352825498461</c:v>
                </c:pt>
                <c:pt idx="51317">
                  <c:v>36.040216459535166</c:v>
                </c:pt>
                <c:pt idx="51318">
                  <c:v>26.459436790386388</c:v>
                </c:pt>
                <c:pt idx="51319">
                  <c:v>47.428118152918572</c:v>
                </c:pt>
                <c:pt idx="51320">
                  <c:v>29.284817262589275</c:v>
                </c:pt>
                <c:pt idx="51321">
                  <c:v>42.858294482590964</c:v>
                </c:pt>
                <c:pt idx="51322">
                  <c:v>18.687066162238267</c:v>
                </c:pt>
                <c:pt idx="51323">
                  <c:v>50.56078099324926</c:v>
                </c:pt>
                <c:pt idx="51324">
                  <c:v>47.893713830339408</c:v>
                </c:pt>
                <c:pt idx="51325">
                  <c:v>31.235366730822289</c:v>
                </c:pt>
                <c:pt idx="51326">
                  <c:v>20.35652003583246</c:v>
                </c:pt>
                <c:pt idx="51327">
                  <c:v>46.387168360812005</c:v>
                </c:pt>
                <c:pt idx="51328">
                  <c:v>47.89611685136272</c:v>
                </c:pt>
                <c:pt idx="51329">
                  <c:v>26.701775072732811</c:v>
                </c:pt>
                <c:pt idx="51330">
                  <c:v>36.380938595256374</c:v>
                </c:pt>
                <c:pt idx="51331">
                  <c:v>25.05452864452533</c:v>
                </c:pt>
                <c:pt idx="51332">
                  <c:v>29.127193446062751</c:v>
                </c:pt>
                <c:pt idx="51333">
                  <c:v>33.330134241419188</c:v>
                </c:pt>
                <c:pt idx="51334">
                  <c:v>33.057045393381053</c:v>
                </c:pt>
                <c:pt idx="51335">
                  <c:v>26.552633162159946</c:v>
                </c:pt>
                <c:pt idx="51336">
                  <c:v>33.802692527419978</c:v>
                </c:pt>
                <c:pt idx="51337">
                  <c:v>47.972436881461348</c:v>
                </c:pt>
                <c:pt idx="51338">
                  <c:v>22.713155901329156</c:v>
                </c:pt>
                <c:pt idx="51339">
                  <c:v>35.65521356289517</c:v>
                </c:pt>
                <c:pt idx="51340">
                  <c:v>44.576454835252065</c:v>
                </c:pt>
                <c:pt idx="51341">
                  <c:v>28.125212760948703</c:v>
                </c:pt>
                <c:pt idx="51342">
                  <c:v>23.934139502146991</c:v>
                </c:pt>
                <c:pt idx="51343">
                  <c:v>29.929095322537393</c:v>
                </c:pt>
                <c:pt idx="51344">
                  <c:v>27.5820204964947</c:v>
                </c:pt>
                <c:pt idx="51345">
                  <c:v>32.312747435213851</c:v>
                </c:pt>
                <c:pt idx="51346">
                  <c:v>26.456941189742047</c:v>
                </c:pt>
                <c:pt idx="51347">
                  <c:v>42.106674172066938</c:v>
                </c:pt>
                <c:pt idx="51348">
                  <c:v>26.839277608824926</c:v>
                </c:pt>
                <c:pt idx="51349">
                  <c:v>29.609559585808999</c:v>
                </c:pt>
                <c:pt idx="51350">
                  <c:v>35.644370617403624</c:v>
                </c:pt>
                <c:pt idx="51351">
                  <c:v>21.159822891666774</c:v>
                </c:pt>
                <c:pt idx="51352">
                  <c:v>25.259557124027463</c:v>
                </c:pt>
                <c:pt idx="51353">
                  <c:v>51.629322200836178</c:v>
                </c:pt>
                <c:pt idx="51354">
                  <c:v>44.204919095545989</c:v>
                </c:pt>
                <c:pt idx="51355">
                  <c:v>21.565353819351898</c:v>
                </c:pt>
                <c:pt idx="51356">
                  <c:v>30.194968948774516</c:v>
                </c:pt>
                <c:pt idx="51357">
                  <c:v>27.553400511766444</c:v>
                </c:pt>
                <c:pt idx="51358">
                  <c:v>28.582478115443621</c:v>
                </c:pt>
                <c:pt idx="51359">
                  <c:v>31.505701019475463</c:v>
                </c:pt>
                <c:pt idx="51360">
                  <c:v>25.555160960533353</c:v>
                </c:pt>
                <c:pt idx="51361">
                  <c:v>46.899478256092245</c:v>
                </c:pt>
                <c:pt idx="51362">
                  <c:v>42.585980537143918</c:v>
                </c:pt>
                <c:pt idx="51363">
                  <c:v>44.57225113206362</c:v>
                </c:pt>
                <c:pt idx="51364">
                  <c:v>23.127969972113014</c:v>
                </c:pt>
                <c:pt idx="51365">
                  <c:v>32.391063984296935</c:v>
                </c:pt>
                <c:pt idx="51366">
                  <c:v>41.378185373162736</c:v>
                </c:pt>
                <c:pt idx="51367">
                  <c:v>20.276685442129079</c:v>
                </c:pt>
                <c:pt idx="51368">
                  <c:v>29.014115224492031</c:v>
                </c:pt>
                <c:pt idx="51369">
                  <c:v>38.164912946001813</c:v>
                </c:pt>
                <c:pt idx="51370">
                  <c:v>47.376360530022659</c:v>
                </c:pt>
                <c:pt idx="51371">
                  <c:v>28.056465121284727</c:v>
                </c:pt>
                <c:pt idx="51372">
                  <c:v>40.354519631013758</c:v>
                </c:pt>
                <c:pt idx="51373">
                  <c:v>59.684819304074345</c:v>
                </c:pt>
                <c:pt idx="51374">
                  <c:v>28.00588004521957</c:v>
                </c:pt>
                <c:pt idx="51375">
                  <c:v>36.764487046211293</c:v>
                </c:pt>
                <c:pt idx="51376">
                  <c:v>26.896928875153783</c:v>
                </c:pt>
                <c:pt idx="51377">
                  <c:v>29.923319370906274</c:v>
                </c:pt>
                <c:pt idx="51378">
                  <c:v>47.046701161471283</c:v>
                </c:pt>
                <c:pt idx="51379">
                  <c:v>31.324772718397668</c:v>
                </c:pt>
                <c:pt idx="51380">
                  <c:v>45.719954045712953</c:v>
                </c:pt>
                <c:pt idx="51381">
                  <c:v>30.989036996831125</c:v>
                </c:pt>
                <c:pt idx="51382">
                  <c:v>28.046742266247904</c:v>
                </c:pt>
                <c:pt idx="51383">
                  <c:v>27.908389740001876</c:v>
                </c:pt>
                <c:pt idx="51384">
                  <c:v>19.705203433400484</c:v>
                </c:pt>
                <c:pt idx="51385">
                  <c:v>27.639884280155666</c:v>
                </c:pt>
                <c:pt idx="51386">
                  <c:v>21.306479015358018</c:v>
                </c:pt>
                <c:pt idx="51387">
                  <c:v>23.919710473033689</c:v>
                </c:pt>
                <c:pt idx="51388">
                  <c:v>25.10054661386858</c:v>
                </c:pt>
                <c:pt idx="51389">
                  <c:v>22.109531725657149</c:v>
                </c:pt>
                <c:pt idx="51390">
                  <c:v>24.520676018167965</c:v>
                </c:pt>
                <c:pt idx="51391">
                  <c:v>31.419324894332586</c:v>
                </c:pt>
                <c:pt idx="51392">
                  <c:v>27.900261582401626</c:v>
                </c:pt>
                <c:pt idx="51393">
                  <c:v>26.12879955559815</c:v>
                </c:pt>
                <c:pt idx="51394">
                  <c:v>24.62709655789892</c:v>
                </c:pt>
                <c:pt idx="51395">
                  <c:v>34.322611408118817</c:v>
                </c:pt>
                <c:pt idx="51396">
                  <c:v>25.242172225175871</c:v>
                </c:pt>
                <c:pt idx="51397">
                  <c:v>23.784429901667025</c:v>
                </c:pt>
                <c:pt idx="51398">
                  <c:v>29.502214239997716</c:v>
                </c:pt>
                <c:pt idx="51399">
                  <c:v>27.448858699538672</c:v>
                </c:pt>
                <c:pt idx="51400">
                  <c:v>30.770621104828333</c:v>
                </c:pt>
                <c:pt idx="51401">
                  <c:v>33.188561540026598</c:v>
                </c:pt>
                <c:pt idx="51402">
                  <c:v>32.850040901683506</c:v>
                </c:pt>
                <c:pt idx="51403">
                  <c:v>44.676258010716168</c:v>
                </c:pt>
                <c:pt idx="51404">
                  <c:v>34.167425029195527</c:v>
                </c:pt>
                <c:pt idx="51405">
                  <c:v>30.180100574497338</c:v>
                </c:pt>
                <c:pt idx="51406">
                  <c:v>39.519649759054488</c:v>
                </c:pt>
                <c:pt idx="51407">
                  <c:v>25.866048191567231</c:v>
                </c:pt>
                <c:pt idx="51408">
                  <c:v>32.41011407291365</c:v>
                </c:pt>
                <c:pt idx="51409">
                  <c:v>38.379162779069738</c:v>
                </c:pt>
                <c:pt idx="51410">
                  <c:v>26.957506611900268</c:v>
                </c:pt>
                <c:pt idx="51411">
                  <c:v>22.872814518823603</c:v>
                </c:pt>
                <c:pt idx="51412">
                  <c:v>25.229465254023729</c:v>
                </c:pt>
                <c:pt idx="51413">
                  <c:v>26.540999129199111</c:v>
                </c:pt>
                <c:pt idx="51414">
                  <c:v>23.559087448161051</c:v>
                </c:pt>
                <c:pt idx="51415">
                  <c:v>22.538155621272395</c:v>
                </c:pt>
                <c:pt idx="51416">
                  <c:v>21.0383981460316</c:v>
                </c:pt>
                <c:pt idx="51417">
                  <c:v>25.161092942140662</c:v>
                </c:pt>
                <c:pt idx="51418">
                  <c:v>49.55593631577721</c:v>
                </c:pt>
                <c:pt idx="51419">
                  <c:v>31.644113541215354</c:v>
                </c:pt>
                <c:pt idx="51420">
                  <c:v>23.459188890008846</c:v>
                </c:pt>
                <c:pt idx="51421">
                  <c:v>26.129895177342355</c:v>
                </c:pt>
                <c:pt idx="51422">
                  <c:v>20.892003432242014</c:v>
                </c:pt>
                <c:pt idx="51423">
                  <c:v>30.355941830634876</c:v>
                </c:pt>
                <c:pt idx="51424">
                  <c:v>22.122499800768445</c:v>
                </c:pt>
                <c:pt idx="51425">
                  <c:v>28.289289617047125</c:v>
                </c:pt>
                <c:pt idx="51426">
                  <c:v>44.028169744351217</c:v>
                </c:pt>
                <c:pt idx="51427">
                  <c:v>30.460493179247994</c:v>
                </c:pt>
                <c:pt idx="51428">
                  <c:v>25.05728572782019</c:v>
                </c:pt>
                <c:pt idx="51429">
                  <c:v>30.490506435871062</c:v>
                </c:pt>
                <c:pt idx="51430">
                  <c:v>39.745304985363369</c:v>
                </c:pt>
                <c:pt idx="51431">
                  <c:v>22.550977784762114</c:v>
                </c:pt>
                <c:pt idx="51432">
                  <c:v>38.529960053361187</c:v>
                </c:pt>
                <c:pt idx="51433">
                  <c:v>28.122223822252266</c:v>
                </c:pt>
                <c:pt idx="51434">
                  <c:v>27.457036050380168</c:v>
                </c:pt>
                <c:pt idx="51435">
                  <c:v>40.307675999634434</c:v>
                </c:pt>
                <c:pt idx="51436">
                  <c:v>30.054728605568155</c:v>
                </c:pt>
                <c:pt idx="51437">
                  <c:v>27.023784323743769</c:v>
                </c:pt>
                <c:pt idx="51438">
                  <c:v>28.512080740013914</c:v>
                </c:pt>
                <c:pt idx="51439">
                  <c:v>47.445805098567106</c:v>
                </c:pt>
                <c:pt idx="51440">
                  <c:v>29.708150351931188</c:v>
                </c:pt>
                <c:pt idx="51441">
                  <c:v>34.799277309609714</c:v>
                </c:pt>
                <c:pt idx="51442">
                  <c:v>48.035963132691712</c:v>
                </c:pt>
                <c:pt idx="51443">
                  <c:v>32.09187241109008</c:v>
                </c:pt>
                <c:pt idx="51444">
                  <c:v>24.052217516169115</c:v>
                </c:pt>
                <c:pt idx="51445">
                  <c:v>29.544013671268829</c:v>
                </c:pt>
                <c:pt idx="51446">
                  <c:v>39.498050296669348</c:v>
                </c:pt>
                <c:pt idx="51447">
                  <c:v>31.807872640511405</c:v>
                </c:pt>
                <c:pt idx="51448">
                  <c:v>50.884819026523758</c:v>
                </c:pt>
                <c:pt idx="51449">
                  <c:v>42.293884692214128</c:v>
                </c:pt>
                <c:pt idx="51450">
                  <c:v>17.190037407799295</c:v>
                </c:pt>
                <c:pt idx="51451">
                  <c:v>34.970959843789586</c:v>
                </c:pt>
                <c:pt idx="51452">
                  <c:v>31.386402191567225</c:v>
                </c:pt>
                <c:pt idx="51453">
                  <c:v>38.400195956569625</c:v>
                </c:pt>
                <c:pt idx="51454">
                  <c:v>40.35375954071818</c:v>
                </c:pt>
                <c:pt idx="51455">
                  <c:v>26.148120234088623</c:v>
                </c:pt>
                <c:pt idx="51456">
                  <c:v>29.779851511542226</c:v>
                </c:pt>
                <c:pt idx="51457">
                  <c:v>15.502092252118373</c:v>
                </c:pt>
                <c:pt idx="51458">
                  <c:v>24.181979693532014</c:v>
                </c:pt>
                <c:pt idx="51459">
                  <c:v>21.56977181168871</c:v>
                </c:pt>
                <c:pt idx="51460">
                  <c:v>51.676638987304372</c:v>
                </c:pt>
                <c:pt idx="51461">
                  <c:v>25.654669353971393</c:v>
                </c:pt>
                <c:pt idx="51462">
                  <c:v>43.672044838424441</c:v>
                </c:pt>
                <c:pt idx="51463">
                  <c:v>40.323643580247293</c:v>
                </c:pt>
                <c:pt idx="51464">
                  <c:v>28.560304341539037</c:v>
                </c:pt>
                <c:pt idx="51465">
                  <c:v>26.006154370699942</c:v>
                </c:pt>
                <c:pt idx="51466">
                  <c:v>23.522612631394175</c:v>
                </c:pt>
                <c:pt idx="51467">
                  <c:v>28.883908403287641</c:v>
                </c:pt>
                <c:pt idx="51468">
                  <c:v>20.741632264601886</c:v>
                </c:pt>
                <c:pt idx="51469">
                  <c:v>29.9998042279015</c:v>
                </c:pt>
                <c:pt idx="51470">
                  <c:v>26.253718180296449</c:v>
                </c:pt>
                <c:pt idx="51471">
                  <c:v>24.861510690655418</c:v>
                </c:pt>
                <c:pt idx="51472">
                  <c:v>23.887028810182354</c:v>
                </c:pt>
                <c:pt idx="51473">
                  <c:v>25.261260544940413</c:v>
                </c:pt>
                <c:pt idx="51474">
                  <c:v>23.972874973367681</c:v>
                </c:pt>
                <c:pt idx="51475">
                  <c:v>30.867656984351768</c:v>
                </c:pt>
                <c:pt idx="51476">
                  <c:v>41.496590954086265</c:v>
                </c:pt>
                <c:pt idx="51477">
                  <c:v>22.269525686573402</c:v>
                </c:pt>
                <c:pt idx="51478">
                  <c:v>28.759481069238181</c:v>
                </c:pt>
                <c:pt idx="51479">
                  <c:v>18.704764660692959</c:v>
                </c:pt>
                <c:pt idx="51480">
                  <c:v>23.869185559708644</c:v>
                </c:pt>
                <c:pt idx="51481">
                  <c:v>30.91269755453505</c:v>
                </c:pt>
                <c:pt idx="51482">
                  <c:v>27.878636597523428</c:v>
                </c:pt>
                <c:pt idx="51483">
                  <c:v>29.9528379774972</c:v>
                </c:pt>
                <c:pt idx="51484">
                  <c:v>45.064272856133947</c:v>
                </c:pt>
                <c:pt idx="51485">
                  <c:v>23.767783299880637</c:v>
                </c:pt>
                <c:pt idx="51486">
                  <c:v>23.279026448803098</c:v>
                </c:pt>
                <c:pt idx="51487">
                  <c:v>26.333690746902818</c:v>
                </c:pt>
                <c:pt idx="51488">
                  <c:v>28.989200423273928</c:v>
                </c:pt>
                <c:pt idx="51489">
                  <c:v>48.103658855888121</c:v>
                </c:pt>
                <c:pt idx="51490">
                  <c:v>45.254381713394146</c:v>
                </c:pt>
                <c:pt idx="51491">
                  <c:v>46.384545975523352</c:v>
                </c:pt>
                <c:pt idx="51492">
                  <c:v>33.015853471450498</c:v>
                </c:pt>
                <c:pt idx="51493">
                  <c:v>30.981428855897477</c:v>
                </c:pt>
                <c:pt idx="51494">
                  <c:v>36.42802244394688</c:v>
                </c:pt>
                <c:pt idx="51495">
                  <c:v>29.592107615978637</c:v>
                </c:pt>
                <c:pt idx="51496">
                  <c:v>31.821900969280385</c:v>
                </c:pt>
                <c:pt idx="51497">
                  <c:v>29.209993124485312</c:v>
                </c:pt>
                <c:pt idx="51498">
                  <c:v>27.707149888201723</c:v>
                </c:pt>
                <c:pt idx="51499">
                  <c:v>34.919534224695781</c:v>
                </c:pt>
                <c:pt idx="51500">
                  <c:v>35.040223954330315</c:v>
                </c:pt>
                <c:pt idx="51501">
                  <c:v>27.050117375534782</c:v>
                </c:pt>
                <c:pt idx="51502">
                  <c:v>25.613292319761946</c:v>
                </c:pt>
                <c:pt idx="51503">
                  <c:v>34.100384982982185</c:v>
                </c:pt>
                <c:pt idx="51504">
                  <c:v>28.581716310381889</c:v>
                </c:pt>
                <c:pt idx="51505">
                  <c:v>28.868333769246377</c:v>
                </c:pt>
                <c:pt idx="51506">
                  <c:v>52.5524927596162</c:v>
                </c:pt>
                <c:pt idx="51507">
                  <c:v>30.746967912793679</c:v>
                </c:pt>
                <c:pt idx="51508">
                  <c:v>40.353536439440887</c:v>
                </c:pt>
                <c:pt idx="51509">
                  <c:v>32.458961905155675</c:v>
                </c:pt>
                <c:pt idx="51510">
                  <c:v>25.707777139565174</c:v>
                </c:pt>
                <c:pt idx="51511">
                  <c:v>34.075928130356751</c:v>
                </c:pt>
                <c:pt idx="51512">
                  <c:v>46.287974191868251</c:v>
                </c:pt>
                <c:pt idx="51513">
                  <c:v>31.252371681244238</c:v>
                </c:pt>
                <c:pt idx="51514">
                  <c:v>27.584253415830567</c:v>
                </c:pt>
                <c:pt idx="51515">
                  <c:v>26.578319786050709</c:v>
                </c:pt>
                <c:pt idx="51516">
                  <c:v>22.667426832534279</c:v>
                </c:pt>
                <c:pt idx="51517">
                  <c:v>25.24626453833725</c:v>
                </c:pt>
                <c:pt idx="51518">
                  <c:v>26.049912224590972</c:v>
                </c:pt>
                <c:pt idx="51519">
                  <c:v>40.780474744083286</c:v>
                </c:pt>
                <c:pt idx="51520">
                  <c:v>41.971767157832126</c:v>
                </c:pt>
                <c:pt idx="51521">
                  <c:v>55.454582695161029</c:v>
                </c:pt>
                <c:pt idx="51522">
                  <c:v>29.51844466060011</c:v>
                </c:pt>
                <c:pt idx="51523">
                  <c:v>40.969287835272745</c:v>
                </c:pt>
                <c:pt idx="51524">
                  <c:v>23.820263437491128</c:v>
                </c:pt>
                <c:pt idx="51525">
                  <c:v>20.065603973532379</c:v>
                </c:pt>
                <c:pt idx="51526">
                  <c:v>50.09951631175791</c:v>
                </c:pt>
                <c:pt idx="51527">
                  <c:v>21.814134557246433</c:v>
                </c:pt>
                <c:pt idx="51528">
                  <c:v>28.624160816734413</c:v>
                </c:pt>
                <c:pt idx="51529">
                  <c:v>25.659905359988471</c:v>
                </c:pt>
                <c:pt idx="51530">
                  <c:v>25.012659553217752</c:v>
                </c:pt>
                <c:pt idx="51531">
                  <c:v>24.243864899188775</c:v>
                </c:pt>
                <c:pt idx="51532">
                  <c:v>44.417288623335615</c:v>
                </c:pt>
                <c:pt idx="51533">
                  <c:v>21.319900879541589</c:v>
                </c:pt>
                <c:pt idx="51534">
                  <c:v>49.871597990611143</c:v>
                </c:pt>
                <c:pt idx="51535">
                  <c:v>41.463467002337865</c:v>
                </c:pt>
                <c:pt idx="51536">
                  <c:v>18.646701529128428</c:v>
                </c:pt>
                <c:pt idx="51537">
                  <c:v>28.426648772858773</c:v>
                </c:pt>
                <c:pt idx="51538">
                  <c:v>24.71752786498325</c:v>
                </c:pt>
                <c:pt idx="51539">
                  <c:v>24.910016668831581</c:v>
                </c:pt>
                <c:pt idx="51540">
                  <c:v>20.269572756508602</c:v>
                </c:pt>
                <c:pt idx="51541">
                  <c:v>31.423153286947091</c:v>
                </c:pt>
                <c:pt idx="51542">
                  <c:v>24.636210389254952</c:v>
                </c:pt>
                <c:pt idx="51543">
                  <c:v>30.496233083777181</c:v>
                </c:pt>
                <c:pt idx="51544">
                  <c:v>31.724346577601846</c:v>
                </c:pt>
                <c:pt idx="51545">
                  <c:v>22.194314588454965</c:v>
                </c:pt>
                <c:pt idx="51546">
                  <c:v>34.3944930201868</c:v>
                </c:pt>
                <c:pt idx="51547">
                  <c:v>31.545685807422544</c:v>
                </c:pt>
                <c:pt idx="51548">
                  <c:v>24.890992428700816</c:v>
                </c:pt>
                <c:pt idx="51549">
                  <c:v>32.036062360837938</c:v>
                </c:pt>
                <c:pt idx="51550">
                  <c:v>27.002297451404356</c:v>
                </c:pt>
                <c:pt idx="51551">
                  <c:v>32.606994089602445</c:v>
                </c:pt>
                <c:pt idx="51552">
                  <c:v>20.513786153882844</c:v>
                </c:pt>
                <c:pt idx="51553">
                  <c:v>25.378426449307387</c:v>
                </c:pt>
                <c:pt idx="51554">
                  <c:v>29.059716554872985</c:v>
                </c:pt>
                <c:pt idx="51555">
                  <c:v>23.106620238505933</c:v>
                </c:pt>
                <c:pt idx="51556">
                  <c:v>21.579721969893637</c:v>
                </c:pt>
                <c:pt idx="51557">
                  <c:v>53.52460562189917</c:v>
                </c:pt>
                <c:pt idx="51558">
                  <c:v>46.613061290160225</c:v>
                </c:pt>
                <c:pt idx="51559">
                  <c:v>23.024040461262882</c:v>
                </c:pt>
                <c:pt idx="51560">
                  <c:v>29.159315125514144</c:v>
                </c:pt>
                <c:pt idx="51561">
                  <c:v>30.865294517839164</c:v>
                </c:pt>
                <c:pt idx="51562">
                  <c:v>44.30638332189671</c:v>
                </c:pt>
                <c:pt idx="51563">
                  <c:v>29.692949911886483</c:v>
                </c:pt>
                <c:pt idx="51564">
                  <c:v>23.386843128206412</c:v>
                </c:pt>
                <c:pt idx="51565">
                  <c:v>23.838851180701351</c:v>
                </c:pt>
                <c:pt idx="51566">
                  <c:v>26.643898556756781</c:v>
                </c:pt>
                <c:pt idx="51567">
                  <c:v>30.882486821394139</c:v>
                </c:pt>
                <c:pt idx="51568">
                  <c:v>24.891158625492519</c:v>
                </c:pt>
                <c:pt idx="51569">
                  <c:v>30.290580706221132</c:v>
                </c:pt>
                <c:pt idx="51570">
                  <c:v>42.111499768771793</c:v>
                </c:pt>
                <c:pt idx="51571">
                  <c:v>19.529638603537055</c:v>
                </c:pt>
                <c:pt idx="51572">
                  <c:v>26.333948788249149</c:v>
                </c:pt>
                <c:pt idx="51573">
                  <c:v>24.666107314750825</c:v>
                </c:pt>
                <c:pt idx="51574">
                  <c:v>30.869520117991861</c:v>
                </c:pt>
                <c:pt idx="51575">
                  <c:v>34.250540258774429</c:v>
                </c:pt>
                <c:pt idx="51576">
                  <c:v>29.311168957717683</c:v>
                </c:pt>
                <c:pt idx="51577">
                  <c:v>19.651659084997625</c:v>
                </c:pt>
                <c:pt idx="51578">
                  <c:v>39.288790626697214</c:v>
                </c:pt>
                <c:pt idx="51579">
                  <c:v>28.873121099710854</c:v>
                </c:pt>
                <c:pt idx="51580">
                  <c:v>26.878244839748689</c:v>
                </c:pt>
                <c:pt idx="51581">
                  <c:v>29.68016686934072</c:v>
                </c:pt>
                <c:pt idx="51582">
                  <c:v>30.256482102652885</c:v>
                </c:pt>
                <c:pt idx="51583">
                  <c:v>51.794019075047522</c:v>
                </c:pt>
                <c:pt idx="51584">
                  <c:v>26.961369956304225</c:v>
                </c:pt>
                <c:pt idx="51585">
                  <c:v>24.220858245744438</c:v>
                </c:pt>
                <c:pt idx="51586">
                  <c:v>32.508682418652931</c:v>
                </c:pt>
                <c:pt idx="51587">
                  <c:v>47.821693932833142</c:v>
                </c:pt>
                <c:pt idx="51588">
                  <c:v>53.182144825289711</c:v>
                </c:pt>
                <c:pt idx="51589">
                  <c:v>32.203169524220868</c:v>
                </c:pt>
                <c:pt idx="51590">
                  <c:v>42.292341352609697</c:v>
                </c:pt>
                <c:pt idx="51591">
                  <c:v>44.041932571592305</c:v>
                </c:pt>
                <c:pt idx="51592">
                  <c:v>22.287248529576953</c:v>
                </c:pt>
                <c:pt idx="51593">
                  <c:v>36.803284434983354</c:v>
                </c:pt>
                <c:pt idx="51594">
                  <c:v>25.138548147379616</c:v>
                </c:pt>
                <c:pt idx="51595">
                  <c:v>27.67795108007191</c:v>
                </c:pt>
                <c:pt idx="51596">
                  <c:v>27.832946767112436</c:v>
                </c:pt>
                <c:pt idx="51597">
                  <c:v>26.622680735967151</c:v>
                </c:pt>
                <c:pt idx="51598">
                  <c:v>44.337826748995226</c:v>
                </c:pt>
                <c:pt idx="51599">
                  <c:v>47.291067467103332</c:v>
                </c:pt>
                <c:pt idx="51600">
                  <c:v>31.230080158639254</c:v>
                </c:pt>
                <c:pt idx="51601">
                  <c:v>32.180647632317857</c:v>
                </c:pt>
                <c:pt idx="51602">
                  <c:v>30.335047110232541</c:v>
                </c:pt>
                <c:pt idx="51603">
                  <c:v>28.93653042820932</c:v>
                </c:pt>
                <c:pt idx="51604">
                  <c:v>43.395753244090372</c:v>
                </c:pt>
                <c:pt idx="51605">
                  <c:v>25.715597752592117</c:v>
                </c:pt>
                <c:pt idx="51606">
                  <c:v>25.726903468281265</c:v>
                </c:pt>
                <c:pt idx="51607">
                  <c:v>50.095700683940748</c:v>
                </c:pt>
                <c:pt idx="51608">
                  <c:v>24.158798038937562</c:v>
                </c:pt>
                <c:pt idx="51609">
                  <c:v>21.18908070502243</c:v>
                </c:pt>
                <c:pt idx="51610">
                  <c:v>26.929776644069971</c:v>
                </c:pt>
                <c:pt idx="51611">
                  <c:v>27.225261754835838</c:v>
                </c:pt>
                <c:pt idx="51612">
                  <c:v>30.425670095137356</c:v>
                </c:pt>
                <c:pt idx="51613">
                  <c:v>25.579239779736398</c:v>
                </c:pt>
                <c:pt idx="51614">
                  <c:v>29.186416865860579</c:v>
                </c:pt>
                <c:pt idx="51615">
                  <c:v>26.635119120766841</c:v>
                </c:pt>
                <c:pt idx="51616">
                  <c:v>30.615863525117518</c:v>
                </c:pt>
                <c:pt idx="51617">
                  <c:v>16.788530193302503</c:v>
                </c:pt>
                <c:pt idx="51618">
                  <c:v>28.026540155512517</c:v>
                </c:pt>
                <c:pt idx="51619">
                  <c:v>51.621537820070557</c:v>
                </c:pt>
                <c:pt idx="51620">
                  <c:v>38.17256202887225</c:v>
                </c:pt>
                <c:pt idx="51621">
                  <c:v>21.857732175261372</c:v>
                </c:pt>
                <c:pt idx="51622">
                  <c:v>30.115633429539436</c:v>
                </c:pt>
                <c:pt idx="51623">
                  <c:v>38.923009085545921</c:v>
                </c:pt>
                <c:pt idx="51624">
                  <c:v>30.4514677149111</c:v>
                </c:pt>
                <c:pt idx="51625">
                  <c:v>37.381156230332614</c:v>
                </c:pt>
                <c:pt idx="51626">
                  <c:v>46.527458988565677</c:v>
                </c:pt>
                <c:pt idx="51627">
                  <c:v>49.494984447190561</c:v>
                </c:pt>
                <c:pt idx="51628">
                  <c:v>24.495275887491061</c:v>
                </c:pt>
                <c:pt idx="51629">
                  <c:v>23.118955524265886</c:v>
                </c:pt>
                <c:pt idx="51630">
                  <c:v>23.45154705787693</c:v>
                </c:pt>
                <c:pt idx="51631">
                  <c:v>38.764022558015839</c:v>
                </c:pt>
                <c:pt idx="51632">
                  <c:v>48.212634273617319</c:v>
                </c:pt>
                <c:pt idx="51633">
                  <c:v>37.632981117415056</c:v>
                </c:pt>
                <c:pt idx="51634">
                  <c:v>26.275826055689393</c:v>
                </c:pt>
                <c:pt idx="51635">
                  <c:v>24.17512279121507</c:v>
                </c:pt>
                <c:pt idx="51636">
                  <c:v>28.069409733555176</c:v>
                </c:pt>
                <c:pt idx="51637">
                  <c:v>46.940248033926139</c:v>
                </c:pt>
                <c:pt idx="51638">
                  <c:v>51.158387670542503</c:v>
                </c:pt>
                <c:pt idx="51639">
                  <c:v>22.377623846144235</c:v>
                </c:pt>
                <c:pt idx="51640">
                  <c:v>22.536031082846343</c:v>
                </c:pt>
                <c:pt idx="51641">
                  <c:v>44.360192056813908</c:v>
                </c:pt>
                <c:pt idx="51642">
                  <c:v>28.765305465942504</c:v>
                </c:pt>
                <c:pt idx="51643">
                  <c:v>24.122354028829371</c:v>
                </c:pt>
                <c:pt idx="51644">
                  <c:v>20.348299616636353</c:v>
                </c:pt>
                <c:pt idx="51645">
                  <c:v>23.741267686068362</c:v>
                </c:pt>
                <c:pt idx="51646">
                  <c:v>55.309616814670903</c:v>
                </c:pt>
                <c:pt idx="51647">
                  <c:v>22.852168396631736</c:v>
                </c:pt>
                <c:pt idx="51648">
                  <c:v>28.379479960114658</c:v>
                </c:pt>
                <c:pt idx="51649">
                  <c:v>22.416440283419607</c:v>
                </c:pt>
                <c:pt idx="51650">
                  <c:v>24.781923242077283</c:v>
                </c:pt>
                <c:pt idx="51651">
                  <c:v>47.7279272719625</c:v>
                </c:pt>
                <c:pt idx="51652">
                  <c:v>54.366773780823486</c:v>
                </c:pt>
                <c:pt idx="51653">
                  <c:v>19.53835832528172</c:v>
                </c:pt>
                <c:pt idx="51654">
                  <c:v>24.941985560795104</c:v>
                </c:pt>
                <c:pt idx="51655">
                  <c:v>29.00191603954049</c:v>
                </c:pt>
                <c:pt idx="51656">
                  <c:v>47.84021886878822</c:v>
                </c:pt>
                <c:pt idx="51657">
                  <c:v>28.049007907828031</c:v>
                </c:pt>
                <c:pt idx="51658">
                  <c:v>42.264275747670347</c:v>
                </c:pt>
                <c:pt idx="51659">
                  <c:v>26.275132237057097</c:v>
                </c:pt>
                <c:pt idx="51660">
                  <c:v>24.158734338184686</c:v>
                </c:pt>
                <c:pt idx="51661">
                  <c:v>23.707963885459293</c:v>
                </c:pt>
                <c:pt idx="51662">
                  <c:v>32.747480758713188</c:v>
                </c:pt>
                <c:pt idx="51663">
                  <c:v>38.483412581661774</c:v>
                </c:pt>
                <c:pt idx="51664">
                  <c:v>21.497881174895575</c:v>
                </c:pt>
                <c:pt idx="51665">
                  <c:v>29.903025979746786</c:v>
                </c:pt>
                <c:pt idx="51666">
                  <c:v>40.486522777411793</c:v>
                </c:pt>
                <c:pt idx="51667">
                  <c:v>42.589935248919957</c:v>
                </c:pt>
                <c:pt idx="51668">
                  <c:v>24.332713986464519</c:v>
                </c:pt>
                <c:pt idx="51669">
                  <c:v>29.676059507281288</c:v>
                </c:pt>
                <c:pt idx="51670">
                  <c:v>23.25649116853392</c:v>
                </c:pt>
                <c:pt idx="51671">
                  <c:v>51.332071142051447</c:v>
                </c:pt>
                <c:pt idx="51672">
                  <c:v>31.031755998807078</c:v>
                </c:pt>
                <c:pt idx="51673">
                  <c:v>26.814522523514206</c:v>
                </c:pt>
                <c:pt idx="51674">
                  <c:v>22.086151843543753</c:v>
                </c:pt>
                <c:pt idx="51675">
                  <c:v>27.205990128440366</c:v>
                </c:pt>
                <c:pt idx="51676">
                  <c:v>33.150867066594998</c:v>
                </c:pt>
                <c:pt idx="51677">
                  <c:v>32.670145270276684</c:v>
                </c:pt>
                <c:pt idx="51678">
                  <c:v>30.793119880843754</c:v>
                </c:pt>
                <c:pt idx="51679">
                  <c:v>30.303881554772147</c:v>
                </c:pt>
                <c:pt idx="51680">
                  <c:v>26.524387441729523</c:v>
                </c:pt>
                <c:pt idx="51681">
                  <c:v>27.030310284233238</c:v>
                </c:pt>
                <c:pt idx="51682">
                  <c:v>28.369126852006968</c:v>
                </c:pt>
                <c:pt idx="51683">
                  <c:v>22.039736788881541</c:v>
                </c:pt>
                <c:pt idx="51684">
                  <c:v>44.426535018645822</c:v>
                </c:pt>
                <c:pt idx="51685">
                  <c:v>27.554751251218587</c:v>
                </c:pt>
                <c:pt idx="51686">
                  <c:v>26.07950191378557</c:v>
                </c:pt>
                <c:pt idx="51687">
                  <c:v>17.834236284698385</c:v>
                </c:pt>
                <c:pt idx="51688">
                  <c:v>30.294117701304099</c:v>
                </c:pt>
                <c:pt idx="51689">
                  <c:v>45.953257899969721</c:v>
                </c:pt>
                <c:pt idx="51690">
                  <c:v>20.575637587803431</c:v>
                </c:pt>
                <c:pt idx="51691">
                  <c:v>22.812843218378951</c:v>
                </c:pt>
                <c:pt idx="51692">
                  <c:v>33.037836417983449</c:v>
                </c:pt>
                <c:pt idx="51693">
                  <c:v>29.138035373365462</c:v>
                </c:pt>
                <c:pt idx="51694">
                  <c:v>48.35773114480488</c:v>
                </c:pt>
                <c:pt idx="51695">
                  <c:v>59.866649782085432</c:v>
                </c:pt>
                <c:pt idx="51696">
                  <c:v>28.285278851359408</c:v>
                </c:pt>
                <c:pt idx="51697">
                  <c:v>25.683563138655288</c:v>
                </c:pt>
                <c:pt idx="51698">
                  <c:v>49.158673264840203</c:v>
                </c:pt>
                <c:pt idx="51699">
                  <c:v>49.330089965059315</c:v>
                </c:pt>
                <c:pt idx="51700">
                  <c:v>22.79420660106404</c:v>
                </c:pt>
                <c:pt idx="51701">
                  <c:v>22.378411683612413</c:v>
                </c:pt>
                <c:pt idx="51702">
                  <c:v>45.62040698917086</c:v>
                </c:pt>
                <c:pt idx="51703">
                  <c:v>30.685577570718845</c:v>
                </c:pt>
                <c:pt idx="51704">
                  <c:v>27.259552750015704</c:v>
                </c:pt>
                <c:pt idx="51705">
                  <c:v>25.121096022855404</c:v>
                </c:pt>
                <c:pt idx="51706">
                  <c:v>27.496047264249931</c:v>
                </c:pt>
                <c:pt idx="51707">
                  <c:v>33.300560982529809</c:v>
                </c:pt>
                <c:pt idx="51708">
                  <c:v>27.672036510562783</c:v>
                </c:pt>
                <c:pt idx="51709">
                  <c:v>57.377997297390699</c:v>
                </c:pt>
                <c:pt idx="51710">
                  <c:v>22.232665747185237</c:v>
                </c:pt>
                <c:pt idx="51711">
                  <c:v>37.672331176931465</c:v>
                </c:pt>
                <c:pt idx="51712">
                  <c:v>22.893308068367034</c:v>
                </c:pt>
                <c:pt idx="51713">
                  <c:v>32.874738643406658</c:v>
                </c:pt>
                <c:pt idx="51714">
                  <c:v>30.252365268577542</c:v>
                </c:pt>
                <c:pt idx="51715">
                  <c:v>42.397372599765845</c:v>
                </c:pt>
                <c:pt idx="51716">
                  <c:v>24.489416719937402</c:v>
                </c:pt>
                <c:pt idx="51717">
                  <c:v>19.899143549090972</c:v>
                </c:pt>
                <c:pt idx="51718">
                  <c:v>22.917377330065491</c:v>
                </c:pt>
                <c:pt idx="51719">
                  <c:v>27.348955141091327</c:v>
                </c:pt>
                <c:pt idx="51720">
                  <c:v>25.616950551295417</c:v>
                </c:pt>
                <c:pt idx="51721">
                  <c:v>42.556496367653985</c:v>
                </c:pt>
                <c:pt idx="51722">
                  <c:v>29.895298550282938</c:v>
                </c:pt>
                <c:pt idx="51723">
                  <c:v>19.079442035673893</c:v>
                </c:pt>
                <c:pt idx="51724">
                  <c:v>27.080684982067289</c:v>
                </c:pt>
                <c:pt idx="51725">
                  <c:v>45.031599216521123</c:v>
                </c:pt>
                <c:pt idx="51726">
                  <c:v>27.853110902901626</c:v>
                </c:pt>
                <c:pt idx="51727">
                  <c:v>19.647929783266832</c:v>
                </c:pt>
                <c:pt idx="51728">
                  <c:v>22.034505074046468</c:v>
                </c:pt>
                <c:pt idx="51729">
                  <c:v>28.971134158211168</c:v>
                </c:pt>
                <c:pt idx="51730">
                  <c:v>19.924265478955398</c:v>
                </c:pt>
                <c:pt idx="51731">
                  <c:v>44.182898393573964</c:v>
                </c:pt>
                <c:pt idx="51732">
                  <c:v>25.632714007600324</c:v>
                </c:pt>
                <c:pt idx="51733">
                  <c:v>52.697523690063619</c:v>
                </c:pt>
                <c:pt idx="51734">
                  <c:v>54.451194207174986</c:v>
                </c:pt>
                <c:pt idx="51735">
                  <c:v>47.007935740837397</c:v>
                </c:pt>
                <c:pt idx="51736">
                  <c:v>28.070686108656894</c:v>
                </c:pt>
                <c:pt idx="51737">
                  <c:v>38.556616066981562</c:v>
                </c:pt>
                <c:pt idx="51738">
                  <c:v>23.224790709991922</c:v>
                </c:pt>
                <c:pt idx="51739">
                  <c:v>26.532628521527997</c:v>
                </c:pt>
                <c:pt idx="51740">
                  <c:v>29.785398373050679</c:v>
                </c:pt>
                <c:pt idx="51741">
                  <c:v>22.000459691473608</c:v>
                </c:pt>
                <c:pt idx="51742">
                  <c:v>21.924261937980415</c:v>
                </c:pt>
                <c:pt idx="51743">
                  <c:v>32.007153876726179</c:v>
                </c:pt>
                <c:pt idx="51744">
                  <c:v>45.168689023714279</c:v>
                </c:pt>
                <c:pt idx="51745">
                  <c:v>33.182994675958476</c:v>
                </c:pt>
                <c:pt idx="51746">
                  <c:v>26.961816808617108</c:v>
                </c:pt>
                <c:pt idx="51747">
                  <c:v>14.97636992640936</c:v>
                </c:pt>
                <c:pt idx="51748">
                  <c:v>27.00086156559842</c:v>
                </c:pt>
                <c:pt idx="51749">
                  <c:v>47.094581789654569</c:v>
                </c:pt>
                <c:pt idx="51750">
                  <c:v>15.65834012153123</c:v>
                </c:pt>
                <c:pt idx="51751">
                  <c:v>27.581476326135132</c:v>
                </c:pt>
                <c:pt idx="51752">
                  <c:v>22.096018381795293</c:v>
                </c:pt>
                <c:pt idx="51753">
                  <c:v>28.455190082044727</c:v>
                </c:pt>
                <c:pt idx="51754">
                  <c:v>50.930915464782828</c:v>
                </c:pt>
                <c:pt idx="51755">
                  <c:v>30.981773356021126</c:v>
                </c:pt>
                <c:pt idx="51756">
                  <c:v>46.889450607172158</c:v>
                </c:pt>
                <c:pt idx="51757">
                  <c:v>19.741530451792404</c:v>
                </c:pt>
                <c:pt idx="51758">
                  <c:v>42.867850464729713</c:v>
                </c:pt>
                <c:pt idx="51759">
                  <c:v>51.888862483735885</c:v>
                </c:pt>
                <c:pt idx="51760">
                  <c:v>21.284408296206898</c:v>
                </c:pt>
                <c:pt idx="51761">
                  <c:v>54.422188966647283</c:v>
                </c:pt>
                <c:pt idx="51762">
                  <c:v>30.333895380491604</c:v>
                </c:pt>
                <c:pt idx="51763">
                  <c:v>29.93063608696923</c:v>
                </c:pt>
                <c:pt idx="51764">
                  <c:v>24.240408339140394</c:v>
                </c:pt>
                <c:pt idx="51765">
                  <c:v>47.552313240811642</c:v>
                </c:pt>
                <c:pt idx="51766">
                  <c:v>35.747314078664523</c:v>
                </c:pt>
                <c:pt idx="51767">
                  <c:v>30.52791831959065</c:v>
                </c:pt>
                <c:pt idx="51768">
                  <c:v>25.753029488068755</c:v>
                </c:pt>
                <c:pt idx="51769">
                  <c:v>23.206807535776516</c:v>
                </c:pt>
                <c:pt idx="51770">
                  <c:v>51.789402309121094</c:v>
                </c:pt>
                <c:pt idx="51771">
                  <c:v>28.580588669024117</c:v>
                </c:pt>
                <c:pt idx="51772">
                  <c:v>25.444680472082137</c:v>
                </c:pt>
                <c:pt idx="51773">
                  <c:v>45.660481248291717</c:v>
                </c:pt>
                <c:pt idx="51774">
                  <c:v>27.752322447409945</c:v>
                </c:pt>
                <c:pt idx="51775">
                  <c:v>20.836483596618763</c:v>
                </c:pt>
                <c:pt idx="51776">
                  <c:v>28.535229293827232</c:v>
                </c:pt>
                <c:pt idx="51777">
                  <c:v>21.771992779242947</c:v>
                </c:pt>
                <c:pt idx="51778">
                  <c:v>29.649488203088005</c:v>
                </c:pt>
                <c:pt idx="51779">
                  <c:v>27.563123335834611</c:v>
                </c:pt>
                <c:pt idx="51780">
                  <c:v>31.593110663909687</c:v>
                </c:pt>
                <c:pt idx="51781">
                  <c:v>23.417714817600988</c:v>
                </c:pt>
                <c:pt idx="51782">
                  <c:v>29.236975013895769</c:v>
                </c:pt>
                <c:pt idx="51783">
                  <c:v>49.274042825031799</c:v>
                </c:pt>
                <c:pt idx="51784">
                  <c:v>45.763690732927564</c:v>
                </c:pt>
                <c:pt idx="51785">
                  <c:v>19.048427052885334</c:v>
                </c:pt>
                <c:pt idx="51786">
                  <c:v>31.571843320031544</c:v>
                </c:pt>
                <c:pt idx="51787">
                  <c:v>19.437868138418725</c:v>
                </c:pt>
                <c:pt idx="51788">
                  <c:v>23.91080575125001</c:v>
                </c:pt>
                <c:pt idx="51789">
                  <c:v>23.216903592826213</c:v>
                </c:pt>
                <c:pt idx="51790">
                  <c:v>27.979122685764658</c:v>
                </c:pt>
                <c:pt idx="51791">
                  <c:v>30.131840724666969</c:v>
                </c:pt>
                <c:pt idx="51792">
                  <c:v>40.28993467901703</c:v>
                </c:pt>
                <c:pt idx="51793">
                  <c:v>21.174848059825806</c:v>
                </c:pt>
                <c:pt idx="51794">
                  <c:v>45.459135928820679</c:v>
                </c:pt>
                <c:pt idx="51795">
                  <c:v>35.135839312915458</c:v>
                </c:pt>
                <c:pt idx="51796">
                  <c:v>27.562032864182065</c:v>
                </c:pt>
                <c:pt idx="51797">
                  <c:v>55.245319241592185</c:v>
                </c:pt>
                <c:pt idx="51798">
                  <c:v>50.986401324128138</c:v>
                </c:pt>
                <c:pt idx="51799">
                  <c:v>40.188487716446211</c:v>
                </c:pt>
                <c:pt idx="51800">
                  <c:v>33.730174555370965</c:v>
                </c:pt>
                <c:pt idx="51801">
                  <c:v>30.180815886493647</c:v>
                </c:pt>
                <c:pt idx="51802">
                  <c:v>29.521558264450423</c:v>
                </c:pt>
                <c:pt idx="51803">
                  <c:v>20.376848563557239</c:v>
                </c:pt>
                <c:pt idx="51804">
                  <c:v>46.064917647393742</c:v>
                </c:pt>
                <c:pt idx="51805">
                  <c:v>34.301338022792805</c:v>
                </c:pt>
                <c:pt idx="51806">
                  <c:v>30.55407761240112</c:v>
                </c:pt>
                <c:pt idx="51807">
                  <c:v>25.084425317072675</c:v>
                </c:pt>
                <c:pt idx="51808">
                  <c:v>41.510414009012237</c:v>
                </c:pt>
                <c:pt idx="51809">
                  <c:v>27.143742086688405</c:v>
                </c:pt>
                <c:pt idx="51810">
                  <c:v>24.528692276560147</c:v>
                </c:pt>
                <c:pt idx="51811">
                  <c:v>33.59302323655136</c:v>
                </c:pt>
                <c:pt idx="51812">
                  <c:v>23.593243049747592</c:v>
                </c:pt>
                <c:pt idx="51813">
                  <c:v>28.587431659431523</c:v>
                </c:pt>
                <c:pt idx="51814">
                  <c:v>29.609824226889472</c:v>
                </c:pt>
                <c:pt idx="51815">
                  <c:v>24.582011962158408</c:v>
                </c:pt>
                <c:pt idx="51816">
                  <c:v>23.512292337477724</c:v>
                </c:pt>
                <c:pt idx="51817">
                  <c:v>24.796281534548431</c:v>
                </c:pt>
                <c:pt idx="51818">
                  <c:v>35.066125274381683</c:v>
                </c:pt>
                <c:pt idx="51819">
                  <c:v>38.374220952398602</c:v>
                </c:pt>
                <c:pt idx="51820">
                  <c:v>28.535451137962625</c:v>
                </c:pt>
                <c:pt idx="51821">
                  <c:v>34.273477797526944</c:v>
                </c:pt>
                <c:pt idx="51822">
                  <c:v>25.510878070836142</c:v>
                </c:pt>
                <c:pt idx="51823">
                  <c:v>28.998808405033355</c:v>
                </c:pt>
                <c:pt idx="51824">
                  <c:v>28.070764698518342</c:v>
                </c:pt>
                <c:pt idx="51825">
                  <c:v>18.531833525231452</c:v>
                </c:pt>
                <c:pt idx="51826">
                  <c:v>33.778526786619551</c:v>
                </c:pt>
                <c:pt idx="51827">
                  <c:v>19.14151578790522</c:v>
                </c:pt>
                <c:pt idx="51828">
                  <c:v>29.899217020240265</c:v>
                </c:pt>
                <c:pt idx="51829">
                  <c:v>29.111152342022095</c:v>
                </c:pt>
                <c:pt idx="51830">
                  <c:v>58.126309858011922</c:v>
                </c:pt>
                <c:pt idx="51831">
                  <c:v>29.380319298572999</c:v>
                </c:pt>
                <c:pt idx="51832">
                  <c:v>47.944130576962102</c:v>
                </c:pt>
                <c:pt idx="51833">
                  <c:v>41.338262134132982</c:v>
                </c:pt>
                <c:pt idx="51834">
                  <c:v>26.296334272285748</c:v>
                </c:pt>
                <c:pt idx="51835">
                  <c:v>26.762955109961052</c:v>
                </c:pt>
                <c:pt idx="51836">
                  <c:v>20.531313053333395</c:v>
                </c:pt>
                <c:pt idx="51837">
                  <c:v>26.508197453454809</c:v>
                </c:pt>
                <c:pt idx="51838">
                  <c:v>30.563200153814627</c:v>
                </c:pt>
                <c:pt idx="51839">
                  <c:v>33.772765202988673</c:v>
                </c:pt>
                <c:pt idx="51840">
                  <c:v>27.420513375240947</c:v>
                </c:pt>
                <c:pt idx="51841">
                  <c:v>17.715829472387068</c:v>
                </c:pt>
                <c:pt idx="51842">
                  <c:v>27.832954091113052</c:v>
                </c:pt>
                <c:pt idx="51843">
                  <c:v>28.59188265452558</c:v>
                </c:pt>
                <c:pt idx="51844">
                  <c:v>57.227220412240221</c:v>
                </c:pt>
                <c:pt idx="51845">
                  <c:v>30.238988643035768</c:v>
                </c:pt>
                <c:pt idx="51846">
                  <c:v>21.142205609234679</c:v>
                </c:pt>
                <c:pt idx="51847">
                  <c:v>25.973012668333435</c:v>
                </c:pt>
                <c:pt idx="51848">
                  <c:v>25.098385478079081</c:v>
                </c:pt>
                <c:pt idx="51849">
                  <c:v>23.629020119041666</c:v>
                </c:pt>
                <c:pt idx="51850">
                  <c:v>24.753396980752306</c:v>
                </c:pt>
                <c:pt idx="51851">
                  <c:v>50.441636831291788</c:v>
                </c:pt>
                <c:pt idx="51852">
                  <c:v>40.876623239687227</c:v>
                </c:pt>
                <c:pt idx="51853">
                  <c:v>37.198191330666688</c:v>
                </c:pt>
                <c:pt idx="51854">
                  <c:v>26.877718407914273</c:v>
                </c:pt>
                <c:pt idx="51855">
                  <c:v>49.347520817762813</c:v>
                </c:pt>
                <c:pt idx="51856">
                  <c:v>25.804742373134243</c:v>
                </c:pt>
                <c:pt idx="51857">
                  <c:v>35.970436469740008</c:v>
                </c:pt>
                <c:pt idx="51858">
                  <c:v>32.846005997880084</c:v>
                </c:pt>
                <c:pt idx="51859">
                  <c:v>22.283910089066048</c:v>
                </c:pt>
                <c:pt idx="51860">
                  <c:v>20.691642604292383</c:v>
                </c:pt>
                <c:pt idx="51861">
                  <c:v>15.96673259642092</c:v>
                </c:pt>
                <c:pt idx="51862">
                  <c:v>52.066180705369256</c:v>
                </c:pt>
                <c:pt idx="51863">
                  <c:v>29.032915332440865</c:v>
                </c:pt>
                <c:pt idx="51864">
                  <c:v>22.345741834749163</c:v>
                </c:pt>
                <c:pt idx="51865">
                  <c:v>25.743565974361559</c:v>
                </c:pt>
                <c:pt idx="51866">
                  <c:v>27.342719251044542</c:v>
                </c:pt>
                <c:pt idx="51867">
                  <c:v>25.611679928406151</c:v>
                </c:pt>
                <c:pt idx="51868">
                  <c:v>23.007111699808199</c:v>
                </c:pt>
                <c:pt idx="51869">
                  <c:v>23.265901015175054</c:v>
                </c:pt>
                <c:pt idx="51870">
                  <c:v>44.10684794854275</c:v>
                </c:pt>
                <c:pt idx="51871">
                  <c:v>23.960626298720442</c:v>
                </c:pt>
                <c:pt idx="51872">
                  <c:v>31.895597122386192</c:v>
                </c:pt>
                <c:pt idx="51873">
                  <c:v>28.413043615481875</c:v>
                </c:pt>
                <c:pt idx="51874">
                  <c:v>28.665520987269687</c:v>
                </c:pt>
                <c:pt idx="51875">
                  <c:v>12.771422790940008</c:v>
                </c:pt>
                <c:pt idx="51876">
                  <c:v>19.888561940922301</c:v>
                </c:pt>
                <c:pt idx="51877">
                  <c:v>22.262974304534069</c:v>
                </c:pt>
                <c:pt idx="51878">
                  <c:v>46.93730151471776</c:v>
                </c:pt>
                <c:pt idx="51879">
                  <c:v>24.443556880301443</c:v>
                </c:pt>
                <c:pt idx="51880">
                  <c:v>47.17481000817763</c:v>
                </c:pt>
                <c:pt idx="51881">
                  <c:v>23.354296132781617</c:v>
                </c:pt>
                <c:pt idx="51882">
                  <c:v>23.790338936513436</c:v>
                </c:pt>
                <c:pt idx="51883">
                  <c:v>20.383581432347771</c:v>
                </c:pt>
                <c:pt idx="51884">
                  <c:v>23.289360888041251</c:v>
                </c:pt>
                <c:pt idx="51885">
                  <c:v>32.059975017946535</c:v>
                </c:pt>
                <c:pt idx="51886">
                  <c:v>23.313820388983125</c:v>
                </c:pt>
                <c:pt idx="51887">
                  <c:v>30.050286179003802</c:v>
                </c:pt>
                <c:pt idx="51888">
                  <c:v>28.551498977794104</c:v>
                </c:pt>
                <c:pt idx="51889">
                  <c:v>23.338239684865908</c:v>
                </c:pt>
                <c:pt idx="51890">
                  <c:v>48.542919509629876</c:v>
                </c:pt>
                <c:pt idx="51891">
                  <c:v>19.854993712056267</c:v>
                </c:pt>
                <c:pt idx="51892">
                  <c:v>49.035221445112448</c:v>
                </c:pt>
                <c:pt idx="51893">
                  <c:v>58.900670716457832</c:v>
                </c:pt>
                <c:pt idx="51894">
                  <c:v>26.565253754221413</c:v>
                </c:pt>
                <c:pt idx="51895">
                  <c:v>38.102850407476318</c:v>
                </c:pt>
                <c:pt idx="51896">
                  <c:v>19.517886218529544</c:v>
                </c:pt>
                <c:pt idx="51897">
                  <c:v>22.881964975377528</c:v>
                </c:pt>
                <c:pt idx="51898">
                  <c:v>34.908442135642687</c:v>
                </c:pt>
                <c:pt idx="51899">
                  <c:v>27.639149946991708</c:v>
                </c:pt>
                <c:pt idx="51900">
                  <c:v>22.012372444512621</c:v>
                </c:pt>
                <c:pt idx="51901">
                  <c:v>25.469157208377091</c:v>
                </c:pt>
                <c:pt idx="51902">
                  <c:v>24.420907646187402</c:v>
                </c:pt>
                <c:pt idx="51903">
                  <c:v>23.364495494752241</c:v>
                </c:pt>
                <c:pt idx="51904">
                  <c:v>23.184238675895095</c:v>
                </c:pt>
                <c:pt idx="51905">
                  <c:v>26.552806487329892</c:v>
                </c:pt>
                <c:pt idx="51906">
                  <c:v>40.770877251318794</c:v>
                </c:pt>
                <c:pt idx="51907">
                  <c:v>44.612751048843123</c:v>
                </c:pt>
                <c:pt idx="51908">
                  <c:v>25.996600184921007</c:v>
                </c:pt>
                <c:pt idx="51909">
                  <c:v>27.122522421664954</c:v>
                </c:pt>
                <c:pt idx="51910">
                  <c:v>29.698205950904303</c:v>
                </c:pt>
                <c:pt idx="51911">
                  <c:v>58.604804236443343</c:v>
                </c:pt>
                <c:pt idx="51912">
                  <c:v>36.234454597171762</c:v>
                </c:pt>
                <c:pt idx="51913">
                  <c:v>26.855500561740094</c:v>
                </c:pt>
                <c:pt idx="51914">
                  <c:v>23.409648765745303</c:v>
                </c:pt>
                <c:pt idx="51915">
                  <c:v>22.088057360340429</c:v>
                </c:pt>
                <c:pt idx="51916">
                  <c:v>31.239375995435449</c:v>
                </c:pt>
                <c:pt idx="51917">
                  <c:v>37.265606117948053</c:v>
                </c:pt>
                <c:pt idx="51918">
                  <c:v>31.321528907519173</c:v>
                </c:pt>
                <c:pt idx="51919">
                  <c:v>51.476445130767658</c:v>
                </c:pt>
                <c:pt idx="51920">
                  <c:v>26.626984994291224</c:v>
                </c:pt>
                <c:pt idx="51921">
                  <c:v>27.820069753188726</c:v>
                </c:pt>
                <c:pt idx="51922">
                  <c:v>31.882246741020701</c:v>
                </c:pt>
                <c:pt idx="51923">
                  <c:v>18.753856321318722</c:v>
                </c:pt>
                <c:pt idx="51924">
                  <c:v>29.318149568063845</c:v>
                </c:pt>
                <c:pt idx="51925">
                  <c:v>26.495226942563662</c:v>
                </c:pt>
                <c:pt idx="51926">
                  <c:v>32.167722031157851</c:v>
                </c:pt>
                <c:pt idx="51927">
                  <c:v>28.843840137546145</c:v>
                </c:pt>
                <c:pt idx="51928">
                  <c:v>28.417794909852127</c:v>
                </c:pt>
                <c:pt idx="51929">
                  <c:v>67.991847559476582</c:v>
                </c:pt>
                <c:pt idx="51930">
                  <c:v>45.755702814154475</c:v>
                </c:pt>
                <c:pt idx="51931">
                  <c:v>55.626891031485755</c:v>
                </c:pt>
                <c:pt idx="51932">
                  <c:v>41.69226117569476</c:v>
                </c:pt>
                <c:pt idx="51933">
                  <c:v>30.838288759868416</c:v>
                </c:pt>
                <c:pt idx="51934">
                  <c:v>29.005062155818294</c:v>
                </c:pt>
                <c:pt idx="51935">
                  <c:v>27.061105530985252</c:v>
                </c:pt>
                <c:pt idx="51936">
                  <c:v>22.365284548265805</c:v>
                </c:pt>
                <c:pt idx="51937">
                  <c:v>46.890855738546861</c:v>
                </c:pt>
                <c:pt idx="51938">
                  <c:v>29.621375465903412</c:v>
                </c:pt>
                <c:pt idx="51939">
                  <c:v>21.254365385174712</c:v>
                </c:pt>
                <c:pt idx="51940">
                  <c:v>23.763067446077415</c:v>
                </c:pt>
                <c:pt idx="51941">
                  <c:v>39.850344743368005</c:v>
                </c:pt>
                <c:pt idx="51942">
                  <c:v>21.34641324937137</c:v>
                </c:pt>
                <c:pt idx="51943">
                  <c:v>28.791779394230524</c:v>
                </c:pt>
                <c:pt idx="51944">
                  <c:v>20.456617189424648</c:v>
                </c:pt>
                <c:pt idx="51945">
                  <c:v>48.754618970607744</c:v>
                </c:pt>
                <c:pt idx="51946">
                  <c:v>37.006876184045034</c:v>
                </c:pt>
                <c:pt idx="51947">
                  <c:v>51.36986929513327</c:v>
                </c:pt>
                <c:pt idx="51948">
                  <c:v>22.624940553946349</c:v>
                </c:pt>
                <c:pt idx="51949">
                  <c:v>18.958213138467176</c:v>
                </c:pt>
                <c:pt idx="51950">
                  <c:v>30.678406809905951</c:v>
                </c:pt>
                <c:pt idx="51951">
                  <c:v>48.44682488072624</c:v>
                </c:pt>
                <c:pt idx="51952">
                  <c:v>46.307814627731837</c:v>
                </c:pt>
                <c:pt idx="51953">
                  <c:v>28.810064669130128</c:v>
                </c:pt>
                <c:pt idx="51954">
                  <c:v>27.446793911855675</c:v>
                </c:pt>
                <c:pt idx="51955">
                  <c:v>45.041569822061803</c:v>
                </c:pt>
                <c:pt idx="51956">
                  <c:v>31.611115168101875</c:v>
                </c:pt>
                <c:pt idx="51957">
                  <c:v>32.687282772340311</c:v>
                </c:pt>
                <c:pt idx="51958">
                  <c:v>24.432209977566565</c:v>
                </c:pt>
                <c:pt idx="51959">
                  <c:v>38.583449968580993</c:v>
                </c:pt>
                <c:pt idx="51960">
                  <c:v>23.732565921840866</c:v>
                </c:pt>
                <c:pt idx="51961">
                  <c:v>26.100425541550369</c:v>
                </c:pt>
                <c:pt idx="51962">
                  <c:v>17.410276072997615</c:v>
                </c:pt>
                <c:pt idx="51963">
                  <c:v>51.693582960208126</c:v>
                </c:pt>
                <c:pt idx="51964">
                  <c:v>27.814634736222345</c:v>
                </c:pt>
                <c:pt idx="51965">
                  <c:v>23.431351193293761</c:v>
                </c:pt>
                <c:pt idx="51966">
                  <c:v>15.472482832135302</c:v>
                </c:pt>
                <c:pt idx="51967">
                  <c:v>28.21217956243299</c:v>
                </c:pt>
                <c:pt idx="51968">
                  <c:v>18.878519403814785</c:v>
                </c:pt>
                <c:pt idx="51969">
                  <c:v>26.229263217897987</c:v>
                </c:pt>
                <c:pt idx="51970">
                  <c:v>29.984494819142515</c:v>
                </c:pt>
                <c:pt idx="51971">
                  <c:v>20.241660963596438</c:v>
                </c:pt>
                <c:pt idx="51972">
                  <c:v>29.550659663135345</c:v>
                </c:pt>
                <c:pt idx="51973">
                  <c:v>21.648653597540395</c:v>
                </c:pt>
                <c:pt idx="51974">
                  <c:v>28.568811244014665</c:v>
                </c:pt>
                <c:pt idx="51975">
                  <c:v>20.760480971214378</c:v>
                </c:pt>
                <c:pt idx="51976">
                  <c:v>26.111824170246308</c:v>
                </c:pt>
                <c:pt idx="51977">
                  <c:v>28.795115568724032</c:v>
                </c:pt>
                <c:pt idx="51978">
                  <c:v>24.264532504638172</c:v>
                </c:pt>
                <c:pt idx="51979">
                  <c:v>28.466418983420571</c:v>
                </c:pt>
                <c:pt idx="51980">
                  <c:v>16.400632459645717</c:v>
                </c:pt>
                <c:pt idx="51981">
                  <c:v>32.305702999031134</c:v>
                </c:pt>
                <c:pt idx="51982">
                  <c:v>21.594346987200183</c:v>
                </c:pt>
                <c:pt idx="51983">
                  <c:v>44.388897727863274</c:v>
                </c:pt>
                <c:pt idx="51984">
                  <c:v>20.179085097504547</c:v>
                </c:pt>
                <c:pt idx="51985">
                  <c:v>31.470531825833536</c:v>
                </c:pt>
                <c:pt idx="51986">
                  <c:v>50.506489084129768</c:v>
                </c:pt>
                <c:pt idx="51987">
                  <c:v>26.698136205092997</c:v>
                </c:pt>
                <c:pt idx="51988">
                  <c:v>53.650476571902068</c:v>
                </c:pt>
                <c:pt idx="51989">
                  <c:v>52.139185082351297</c:v>
                </c:pt>
                <c:pt idx="51990">
                  <c:v>25.414545169876174</c:v>
                </c:pt>
                <c:pt idx="51991">
                  <c:v>28.009523195251859</c:v>
                </c:pt>
                <c:pt idx="51992">
                  <c:v>19.143588629924874</c:v>
                </c:pt>
                <c:pt idx="51993">
                  <c:v>29.24214790093826</c:v>
                </c:pt>
                <c:pt idx="51994">
                  <c:v>31.868617873580742</c:v>
                </c:pt>
                <c:pt idx="51995">
                  <c:v>50.234849468793406</c:v>
                </c:pt>
                <c:pt idx="51996">
                  <c:v>25.533860112688423</c:v>
                </c:pt>
                <c:pt idx="51997">
                  <c:v>25.785486713658109</c:v>
                </c:pt>
                <c:pt idx="51998">
                  <c:v>21.653883586477537</c:v>
                </c:pt>
                <c:pt idx="51999">
                  <c:v>25.170768228649187</c:v>
                </c:pt>
                <c:pt idx="52000">
                  <c:v>22.292069831588549</c:v>
                </c:pt>
                <c:pt idx="52001">
                  <c:v>25.566459766421044</c:v>
                </c:pt>
                <c:pt idx="52002">
                  <c:v>44.866633802067398</c:v>
                </c:pt>
                <c:pt idx="52003">
                  <c:v>26.215554595275847</c:v>
                </c:pt>
                <c:pt idx="52004">
                  <c:v>24.166518303136041</c:v>
                </c:pt>
                <c:pt idx="52005">
                  <c:v>26.676899906260584</c:v>
                </c:pt>
                <c:pt idx="52006">
                  <c:v>27.461305156237941</c:v>
                </c:pt>
                <c:pt idx="52007">
                  <c:v>29.448965211860504</c:v>
                </c:pt>
                <c:pt idx="52008">
                  <c:v>26.46344583017224</c:v>
                </c:pt>
                <c:pt idx="52009">
                  <c:v>57.419619861266291</c:v>
                </c:pt>
                <c:pt idx="52010">
                  <c:v>24.967937768233227</c:v>
                </c:pt>
                <c:pt idx="52011">
                  <c:v>31.524018905919984</c:v>
                </c:pt>
                <c:pt idx="52012">
                  <c:v>41.540850203422764</c:v>
                </c:pt>
                <c:pt idx="52013">
                  <c:v>24.78856223551773</c:v>
                </c:pt>
                <c:pt idx="52014">
                  <c:v>25.403213835823003</c:v>
                </c:pt>
                <c:pt idx="52015">
                  <c:v>24.416076122021011</c:v>
                </c:pt>
                <c:pt idx="52016">
                  <c:v>26.320889493493198</c:v>
                </c:pt>
                <c:pt idx="52017">
                  <c:v>50.230080448099599</c:v>
                </c:pt>
                <c:pt idx="52018">
                  <c:v>59.773506012781361</c:v>
                </c:pt>
                <c:pt idx="52019">
                  <c:v>30.11586065440752</c:v>
                </c:pt>
                <c:pt idx="52020">
                  <c:v>26.959082730435608</c:v>
                </c:pt>
                <c:pt idx="52021">
                  <c:v>22.027410033740338</c:v>
                </c:pt>
                <c:pt idx="52022">
                  <c:v>26.191513923709337</c:v>
                </c:pt>
                <c:pt idx="52023">
                  <c:v>27.943641492365984</c:v>
                </c:pt>
                <c:pt idx="52024">
                  <c:v>36.099461220145947</c:v>
                </c:pt>
                <c:pt idx="52025">
                  <c:v>32.537634531208056</c:v>
                </c:pt>
                <c:pt idx="52026">
                  <c:v>51.719531865025274</c:v>
                </c:pt>
                <c:pt idx="52027">
                  <c:v>25.136982215603386</c:v>
                </c:pt>
                <c:pt idx="52028">
                  <c:v>46.100631339640501</c:v>
                </c:pt>
                <c:pt idx="52029">
                  <c:v>21.866310131734597</c:v>
                </c:pt>
                <c:pt idx="52030">
                  <c:v>21.441842148876567</c:v>
                </c:pt>
                <c:pt idx="52031">
                  <c:v>23.927425763076219</c:v>
                </c:pt>
                <c:pt idx="52032">
                  <c:v>19.811449079668012</c:v>
                </c:pt>
                <c:pt idx="52033">
                  <c:v>27.00309991102349</c:v>
                </c:pt>
                <c:pt idx="52034">
                  <c:v>27.046367986382318</c:v>
                </c:pt>
                <c:pt idx="52035">
                  <c:v>31.465485922523946</c:v>
                </c:pt>
                <c:pt idx="52036">
                  <c:v>37.120618735354064</c:v>
                </c:pt>
                <c:pt idx="52037">
                  <c:v>24.381402183619592</c:v>
                </c:pt>
                <c:pt idx="52038">
                  <c:v>19.043990896973661</c:v>
                </c:pt>
                <c:pt idx="52039">
                  <c:v>24.553455740105353</c:v>
                </c:pt>
                <c:pt idx="52040">
                  <c:v>30.533210198416892</c:v>
                </c:pt>
                <c:pt idx="52041">
                  <c:v>33.185136058269322</c:v>
                </c:pt>
                <c:pt idx="52042">
                  <c:v>18.630340729145708</c:v>
                </c:pt>
                <c:pt idx="52043">
                  <c:v>29.487016548846825</c:v>
                </c:pt>
                <c:pt idx="52044">
                  <c:v>22.527306676864288</c:v>
                </c:pt>
                <c:pt idx="52045">
                  <c:v>27.188775502622089</c:v>
                </c:pt>
                <c:pt idx="52046">
                  <c:v>30.23973094052123</c:v>
                </c:pt>
                <c:pt idx="52047">
                  <c:v>28.816520629659585</c:v>
                </c:pt>
                <c:pt idx="52048">
                  <c:v>50.715166832914534</c:v>
                </c:pt>
                <c:pt idx="52049">
                  <c:v>25.006030739572971</c:v>
                </c:pt>
                <c:pt idx="52050">
                  <c:v>31.452296662172643</c:v>
                </c:pt>
                <c:pt idx="52051">
                  <c:v>33.938797686583399</c:v>
                </c:pt>
                <c:pt idx="52052">
                  <c:v>34.291778054757579</c:v>
                </c:pt>
                <c:pt idx="52053">
                  <c:v>26.139936655962867</c:v>
                </c:pt>
                <c:pt idx="52054">
                  <c:v>36.506641213463482</c:v>
                </c:pt>
                <c:pt idx="52055">
                  <c:v>37.711053518231196</c:v>
                </c:pt>
                <c:pt idx="52056">
                  <c:v>30.759381865933509</c:v>
                </c:pt>
                <c:pt idx="52057">
                  <c:v>39.756794320665847</c:v>
                </c:pt>
                <c:pt idx="52058">
                  <c:v>24.19413780904469</c:v>
                </c:pt>
                <c:pt idx="52059">
                  <c:v>23.30188181916489</c:v>
                </c:pt>
                <c:pt idx="52060">
                  <c:v>34.814819965432449</c:v>
                </c:pt>
                <c:pt idx="52061">
                  <c:v>30.370348259325702</c:v>
                </c:pt>
                <c:pt idx="52062">
                  <c:v>31.28606966859418</c:v>
                </c:pt>
                <c:pt idx="52063">
                  <c:v>48.671797130322773</c:v>
                </c:pt>
                <c:pt idx="52064">
                  <c:v>59.677334597803444</c:v>
                </c:pt>
                <c:pt idx="52065">
                  <c:v>41.005630703728315</c:v>
                </c:pt>
                <c:pt idx="52066">
                  <c:v>36.847064337964312</c:v>
                </c:pt>
                <c:pt idx="52067">
                  <c:v>42.25807178424035</c:v>
                </c:pt>
                <c:pt idx="52068">
                  <c:v>26.432199557695863</c:v>
                </c:pt>
                <c:pt idx="52069">
                  <c:v>35.216520468868481</c:v>
                </c:pt>
                <c:pt idx="52070">
                  <c:v>33.811234890821147</c:v>
                </c:pt>
                <c:pt idx="52071">
                  <c:v>28.986732154310133</c:v>
                </c:pt>
                <c:pt idx="52072">
                  <c:v>27.437246717209902</c:v>
                </c:pt>
                <c:pt idx="52073">
                  <c:v>26.423490321361083</c:v>
                </c:pt>
                <c:pt idx="52074">
                  <c:v>23.474387541075643</c:v>
                </c:pt>
                <c:pt idx="52075">
                  <c:v>43.966841867813415</c:v>
                </c:pt>
                <c:pt idx="52076">
                  <c:v>23.429127598017001</c:v>
                </c:pt>
                <c:pt idx="52077">
                  <c:v>23.837792574663482</c:v>
                </c:pt>
                <c:pt idx="52078">
                  <c:v>25.812855093602341</c:v>
                </c:pt>
                <c:pt idx="52079">
                  <c:v>25.9823435087328</c:v>
                </c:pt>
                <c:pt idx="52080">
                  <c:v>24.695676549222917</c:v>
                </c:pt>
                <c:pt idx="52081">
                  <c:v>37.928857780898795</c:v>
                </c:pt>
                <c:pt idx="52082">
                  <c:v>40.059698540416754</c:v>
                </c:pt>
                <c:pt idx="52083">
                  <c:v>30.057809501011853</c:v>
                </c:pt>
                <c:pt idx="52084">
                  <c:v>39.513111239057757</c:v>
                </c:pt>
                <c:pt idx="52085">
                  <c:v>25.282676505635852</c:v>
                </c:pt>
                <c:pt idx="52086">
                  <c:v>38.103932544868975</c:v>
                </c:pt>
                <c:pt idx="52087">
                  <c:v>33.062211415970211</c:v>
                </c:pt>
                <c:pt idx="52088">
                  <c:v>27.349372257940576</c:v>
                </c:pt>
                <c:pt idx="52089">
                  <c:v>25.544491922997043</c:v>
                </c:pt>
                <c:pt idx="52090">
                  <c:v>36.500453553602732</c:v>
                </c:pt>
                <c:pt idx="52091">
                  <c:v>19.5108331881843</c:v>
                </c:pt>
                <c:pt idx="52092">
                  <c:v>61.206360270813384</c:v>
                </c:pt>
                <c:pt idx="52093">
                  <c:v>41.387730796995172</c:v>
                </c:pt>
                <c:pt idx="52094">
                  <c:v>26.576821799170791</c:v>
                </c:pt>
                <c:pt idx="52095">
                  <c:v>22.982811052556325</c:v>
                </c:pt>
                <c:pt idx="52096">
                  <c:v>21.972927164981598</c:v>
                </c:pt>
                <c:pt idx="52097">
                  <c:v>29.850827005364884</c:v>
                </c:pt>
                <c:pt idx="52098">
                  <c:v>22.180165900293346</c:v>
                </c:pt>
                <c:pt idx="52099">
                  <c:v>29.098386865604471</c:v>
                </c:pt>
                <c:pt idx="52100">
                  <c:v>27.46656463733536</c:v>
                </c:pt>
                <c:pt idx="52101">
                  <c:v>21.117912656680641</c:v>
                </c:pt>
                <c:pt idx="52102">
                  <c:v>48.411226263764569</c:v>
                </c:pt>
                <c:pt idx="52103">
                  <c:v>46.363688445441348</c:v>
                </c:pt>
                <c:pt idx="52104">
                  <c:v>29.463615079077652</c:v>
                </c:pt>
                <c:pt idx="52105">
                  <c:v>28.153105062722471</c:v>
                </c:pt>
                <c:pt idx="52106">
                  <c:v>37.236175688416466</c:v>
                </c:pt>
                <c:pt idx="52107">
                  <c:v>30.227007969159018</c:v>
                </c:pt>
                <c:pt idx="52108">
                  <c:v>20.300950627045935</c:v>
                </c:pt>
                <c:pt idx="52109">
                  <c:v>29.687642582843289</c:v>
                </c:pt>
                <c:pt idx="52110">
                  <c:v>30.140422242703195</c:v>
                </c:pt>
                <c:pt idx="52111">
                  <c:v>32.067013182702937</c:v>
                </c:pt>
                <c:pt idx="52112">
                  <c:v>19.094702052450895</c:v>
                </c:pt>
                <c:pt idx="52113">
                  <c:v>29.280512606830644</c:v>
                </c:pt>
                <c:pt idx="52114">
                  <c:v>21.351860688901624</c:v>
                </c:pt>
                <c:pt idx="52115">
                  <c:v>24.196931007277268</c:v>
                </c:pt>
                <c:pt idx="52116">
                  <c:v>51.361996262597643</c:v>
                </c:pt>
                <c:pt idx="52117">
                  <c:v>29.763675832637411</c:v>
                </c:pt>
                <c:pt idx="52118">
                  <c:v>47.174097054722345</c:v>
                </c:pt>
                <c:pt idx="52119">
                  <c:v>30.29044612556174</c:v>
                </c:pt>
                <c:pt idx="52120">
                  <c:v>22.659978252382789</c:v>
                </c:pt>
                <c:pt idx="52121">
                  <c:v>38.929406462692441</c:v>
                </c:pt>
                <c:pt idx="52122">
                  <c:v>21.069812903043172</c:v>
                </c:pt>
                <c:pt idx="52123">
                  <c:v>39.422523284140013</c:v>
                </c:pt>
                <c:pt idx="52124">
                  <c:v>29.415825385356897</c:v>
                </c:pt>
                <c:pt idx="52125">
                  <c:v>51.472525230840603</c:v>
                </c:pt>
                <c:pt idx="52126">
                  <c:v>35.043087379797413</c:v>
                </c:pt>
                <c:pt idx="52127">
                  <c:v>36.600038768201337</c:v>
                </c:pt>
                <c:pt idx="52128">
                  <c:v>25.439159187616198</c:v>
                </c:pt>
                <c:pt idx="52129">
                  <c:v>32.672678029330733</c:v>
                </c:pt>
                <c:pt idx="52130">
                  <c:v>22.87325362575282</c:v>
                </c:pt>
                <c:pt idx="52131">
                  <c:v>28.170769190212944</c:v>
                </c:pt>
                <c:pt idx="52132">
                  <c:v>32.79544179045628</c:v>
                </c:pt>
                <c:pt idx="52133">
                  <c:v>24.694336898917506</c:v>
                </c:pt>
                <c:pt idx="52134">
                  <c:v>33.021072925676556</c:v>
                </c:pt>
                <c:pt idx="52135">
                  <c:v>25.145253704977399</c:v>
                </c:pt>
                <c:pt idx="52136">
                  <c:v>29.34607132414687</c:v>
                </c:pt>
                <c:pt idx="52137">
                  <c:v>21.931654459888257</c:v>
                </c:pt>
                <c:pt idx="52138">
                  <c:v>28.92144695918013</c:v>
                </c:pt>
                <c:pt idx="52139">
                  <c:v>35.27896373219204</c:v>
                </c:pt>
                <c:pt idx="52140">
                  <c:v>44.791577230702963</c:v>
                </c:pt>
                <c:pt idx="52141">
                  <c:v>46.135575503533957</c:v>
                </c:pt>
                <c:pt idx="52142">
                  <c:v>27.937879942625909</c:v>
                </c:pt>
                <c:pt idx="52143">
                  <c:v>27.426897446149869</c:v>
                </c:pt>
                <c:pt idx="52144">
                  <c:v>41.573923070594418</c:v>
                </c:pt>
                <c:pt idx="52145">
                  <c:v>26.825075810430846</c:v>
                </c:pt>
                <c:pt idx="52146">
                  <c:v>26.212783415231904</c:v>
                </c:pt>
                <c:pt idx="52147">
                  <c:v>25.347247791778344</c:v>
                </c:pt>
                <c:pt idx="52148">
                  <c:v>23.952844011643194</c:v>
                </c:pt>
                <c:pt idx="52149">
                  <c:v>21.005435687832438</c:v>
                </c:pt>
                <c:pt idx="52150">
                  <c:v>45.262499802480349</c:v>
                </c:pt>
                <c:pt idx="52151">
                  <c:v>23.403975104308127</c:v>
                </c:pt>
                <c:pt idx="52152">
                  <c:v>42.796297733026051</c:v>
                </c:pt>
                <c:pt idx="52153">
                  <c:v>47.58126791165688</c:v>
                </c:pt>
                <c:pt idx="52154">
                  <c:v>30.719609277237687</c:v>
                </c:pt>
                <c:pt idx="52155">
                  <c:v>29.496589038513175</c:v>
                </c:pt>
                <c:pt idx="52156">
                  <c:v>21.303021614670861</c:v>
                </c:pt>
                <c:pt idx="52157">
                  <c:v>25.846403122026118</c:v>
                </c:pt>
                <c:pt idx="52158">
                  <c:v>39.035993536429359</c:v>
                </c:pt>
                <c:pt idx="52159">
                  <c:v>45.523867756020557</c:v>
                </c:pt>
                <c:pt idx="52160">
                  <c:v>29.14569732435076</c:v>
                </c:pt>
                <c:pt idx="52161">
                  <c:v>44.927036988597592</c:v>
                </c:pt>
                <c:pt idx="52162">
                  <c:v>54.944127847762282</c:v>
                </c:pt>
                <c:pt idx="52163">
                  <c:v>39.576126282081496</c:v>
                </c:pt>
                <c:pt idx="52164">
                  <c:v>47.068213973783017</c:v>
                </c:pt>
                <c:pt idx="52165">
                  <c:v>28.860417987099698</c:v>
                </c:pt>
                <c:pt idx="52166">
                  <c:v>19.153518376672828</c:v>
                </c:pt>
                <c:pt idx="52167">
                  <c:v>35.089514541729365</c:v>
                </c:pt>
                <c:pt idx="52168">
                  <c:v>24.092970661980701</c:v>
                </c:pt>
                <c:pt idx="52169">
                  <c:v>42.932180264919644</c:v>
                </c:pt>
                <c:pt idx="52170">
                  <c:v>32.41032920269636</c:v>
                </c:pt>
                <c:pt idx="52171">
                  <c:v>46.828498365218849</c:v>
                </c:pt>
                <c:pt idx="52172">
                  <c:v>29.373832806430332</c:v>
                </c:pt>
                <c:pt idx="52173">
                  <c:v>54.280884842793114</c:v>
                </c:pt>
                <c:pt idx="52174">
                  <c:v>31.702207322404014</c:v>
                </c:pt>
                <c:pt idx="52175">
                  <c:v>21.752639539956395</c:v>
                </c:pt>
                <c:pt idx="52176">
                  <c:v>41.901579827414935</c:v>
                </c:pt>
                <c:pt idx="52177">
                  <c:v>25.673124559121113</c:v>
                </c:pt>
                <c:pt idx="52178">
                  <c:v>19.68524389453783</c:v>
                </c:pt>
                <c:pt idx="52179">
                  <c:v>23.054378462463688</c:v>
                </c:pt>
                <c:pt idx="52180">
                  <c:v>19.425507487167948</c:v>
                </c:pt>
                <c:pt idx="52181">
                  <c:v>50.416097497526636</c:v>
                </c:pt>
                <c:pt idx="52182">
                  <c:v>19.340064753863725</c:v>
                </c:pt>
                <c:pt idx="52183">
                  <c:v>55.090973361309842</c:v>
                </c:pt>
                <c:pt idx="52184">
                  <c:v>22.099659454629936</c:v>
                </c:pt>
                <c:pt idx="52185">
                  <c:v>29.443394618164149</c:v>
                </c:pt>
                <c:pt idx="52186">
                  <c:v>26.945626495336903</c:v>
                </c:pt>
                <c:pt idx="52187">
                  <c:v>31.23207022228609</c:v>
                </c:pt>
                <c:pt idx="52188">
                  <c:v>54.530588841191324</c:v>
                </c:pt>
                <c:pt idx="52189">
                  <c:v>28.08606465517418</c:v>
                </c:pt>
                <c:pt idx="52190">
                  <c:v>25.672982261512821</c:v>
                </c:pt>
                <c:pt idx="52191">
                  <c:v>23.919827741383795</c:v>
                </c:pt>
                <c:pt idx="52192">
                  <c:v>23.793817655263084</c:v>
                </c:pt>
                <c:pt idx="52193">
                  <c:v>27.697964314564949</c:v>
                </c:pt>
                <c:pt idx="52194">
                  <c:v>29.178735970970827</c:v>
                </c:pt>
                <c:pt idx="52195">
                  <c:v>23.729877094659717</c:v>
                </c:pt>
                <c:pt idx="52196">
                  <c:v>27.246522903503159</c:v>
                </c:pt>
                <c:pt idx="52197">
                  <c:v>45.213155891615948</c:v>
                </c:pt>
                <c:pt idx="52198">
                  <c:v>31.584553650218211</c:v>
                </c:pt>
                <c:pt idx="52199">
                  <c:v>37.995443799840878</c:v>
                </c:pt>
                <c:pt idx="52200">
                  <c:v>24.759932542706636</c:v>
                </c:pt>
                <c:pt idx="52201">
                  <c:v>22.142428663117936</c:v>
                </c:pt>
                <c:pt idx="52202">
                  <c:v>25.154198874008699</c:v>
                </c:pt>
                <c:pt idx="52203">
                  <c:v>25.557769454034794</c:v>
                </c:pt>
                <c:pt idx="52204">
                  <c:v>49.44796741371092</c:v>
                </c:pt>
                <c:pt idx="52205">
                  <c:v>45.755670371198811</c:v>
                </c:pt>
                <c:pt idx="52206">
                  <c:v>23.86763590326861</c:v>
                </c:pt>
                <c:pt idx="52207">
                  <c:v>22.582891661109223</c:v>
                </c:pt>
                <c:pt idx="52208">
                  <c:v>30.882438864170368</c:v>
                </c:pt>
                <c:pt idx="52209">
                  <c:v>20.043908197533099</c:v>
                </c:pt>
                <c:pt idx="52210">
                  <c:v>45.09830259534678</c:v>
                </c:pt>
                <c:pt idx="52211">
                  <c:v>24.800878820489427</c:v>
                </c:pt>
                <c:pt idx="52212">
                  <c:v>26.392769923428666</c:v>
                </c:pt>
                <c:pt idx="52213">
                  <c:v>40.793250658963231</c:v>
                </c:pt>
                <c:pt idx="52214">
                  <c:v>18.522496743537403</c:v>
                </c:pt>
                <c:pt idx="52215">
                  <c:v>22.010559142700913</c:v>
                </c:pt>
                <c:pt idx="52216">
                  <c:v>51.815106328115704</c:v>
                </c:pt>
                <c:pt idx="52217">
                  <c:v>59.965165713986202</c:v>
                </c:pt>
                <c:pt idx="52218">
                  <c:v>25.01184438831427</c:v>
                </c:pt>
                <c:pt idx="52219">
                  <c:v>27.556366297423644</c:v>
                </c:pt>
                <c:pt idx="52220">
                  <c:v>38.048161884188403</c:v>
                </c:pt>
                <c:pt idx="52221">
                  <c:v>27.133918048112513</c:v>
                </c:pt>
                <c:pt idx="52222">
                  <c:v>26.910544811714658</c:v>
                </c:pt>
                <c:pt idx="52223">
                  <c:v>24.314969555271333</c:v>
                </c:pt>
                <c:pt idx="52224">
                  <c:v>24.322275527009388</c:v>
                </c:pt>
                <c:pt idx="52225">
                  <c:v>27.254652948137959</c:v>
                </c:pt>
                <c:pt idx="52226">
                  <c:v>20.292653043180177</c:v>
                </c:pt>
                <c:pt idx="52227">
                  <c:v>26.680148811956411</c:v>
                </c:pt>
                <c:pt idx="52228">
                  <c:v>24.599528050423018</c:v>
                </c:pt>
                <c:pt idx="52229">
                  <c:v>59.816719886119202</c:v>
                </c:pt>
                <c:pt idx="52230">
                  <c:v>20.28539322557755</c:v>
                </c:pt>
                <c:pt idx="52231">
                  <c:v>36.474275960187988</c:v>
                </c:pt>
                <c:pt idx="52232">
                  <c:v>21.315671473098739</c:v>
                </c:pt>
                <c:pt idx="52233">
                  <c:v>34.254968143244206</c:v>
                </c:pt>
                <c:pt idx="52234">
                  <c:v>53.728329995236926</c:v>
                </c:pt>
                <c:pt idx="52235">
                  <c:v>52.506040389551572</c:v>
                </c:pt>
                <c:pt idx="52236">
                  <c:v>32.691658923397014</c:v>
                </c:pt>
                <c:pt idx="52237">
                  <c:v>26.737063663297306</c:v>
                </c:pt>
                <c:pt idx="52238">
                  <c:v>34.973965349551094</c:v>
                </c:pt>
                <c:pt idx="52239">
                  <c:v>22.025590817980358</c:v>
                </c:pt>
                <c:pt idx="52240">
                  <c:v>27.849821820335038</c:v>
                </c:pt>
                <c:pt idx="52241">
                  <c:v>29.550004418928108</c:v>
                </c:pt>
                <c:pt idx="52242">
                  <c:v>24.098675217761325</c:v>
                </c:pt>
                <c:pt idx="52243">
                  <c:v>51.090117842035582</c:v>
                </c:pt>
                <c:pt idx="52244">
                  <c:v>32.25323963213954</c:v>
                </c:pt>
                <c:pt idx="52245">
                  <c:v>34.079925375035039</c:v>
                </c:pt>
                <c:pt idx="52246">
                  <c:v>53.756154634636076</c:v>
                </c:pt>
                <c:pt idx="52247">
                  <c:v>20.206045351765759</c:v>
                </c:pt>
                <c:pt idx="52248">
                  <c:v>21.344933484043491</c:v>
                </c:pt>
                <c:pt idx="52249">
                  <c:v>23.596187633721712</c:v>
                </c:pt>
                <c:pt idx="52250">
                  <c:v>55.411266228421553</c:v>
                </c:pt>
                <c:pt idx="52251">
                  <c:v>24.282347457224397</c:v>
                </c:pt>
                <c:pt idx="52252">
                  <c:v>27.217382202399484</c:v>
                </c:pt>
                <c:pt idx="52253">
                  <c:v>40.231611712512525</c:v>
                </c:pt>
                <c:pt idx="52254">
                  <c:v>25.909611916767741</c:v>
                </c:pt>
                <c:pt idx="52255">
                  <c:v>16.571138906404165</c:v>
                </c:pt>
                <c:pt idx="52256">
                  <c:v>33.357042439151947</c:v>
                </c:pt>
                <c:pt idx="52257">
                  <c:v>20.623687740860138</c:v>
                </c:pt>
                <c:pt idx="52258">
                  <c:v>22.8525525139422</c:v>
                </c:pt>
                <c:pt idx="52259">
                  <c:v>26.57981728674056</c:v>
                </c:pt>
                <c:pt idx="52260">
                  <c:v>27.394723441895351</c:v>
                </c:pt>
                <c:pt idx="52261">
                  <c:v>18.050134339105433</c:v>
                </c:pt>
                <c:pt idx="52262">
                  <c:v>32.208937727252888</c:v>
                </c:pt>
                <c:pt idx="52263">
                  <c:v>25.862900701988657</c:v>
                </c:pt>
                <c:pt idx="52264">
                  <c:v>36.258820202242411</c:v>
                </c:pt>
                <c:pt idx="52265">
                  <c:v>46.864021422425054</c:v>
                </c:pt>
                <c:pt idx="52266">
                  <c:v>23.102071197104085</c:v>
                </c:pt>
                <c:pt idx="52267">
                  <c:v>18.461173095106357</c:v>
                </c:pt>
                <c:pt idx="52268">
                  <c:v>37.940585693826023</c:v>
                </c:pt>
                <c:pt idx="52269">
                  <c:v>28.289902986646187</c:v>
                </c:pt>
                <c:pt idx="52270">
                  <c:v>28.264514439340193</c:v>
                </c:pt>
                <c:pt idx="52271">
                  <c:v>47.352968827423901</c:v>
                </c:pt>
                <c:pt idx="52272">
                  <c:v>22.420847136158716</c:v>
                </c:pt>
                <c:pt idx="52273">
                  <c:v>23.993897758236251</c:v>
                </c:pt>
                <c:pt idx="52274">
                  <c:v>25.166816445788292</c:v>
                </c:pt>
                <c:pt idx="52275">
                  <c:v>49.760091992633782</c:v>
                </c:pt>
                <c:pt idx="52276">
                  <c:v>39.945526031771713</c:v>
                </c:pt>
                <c:pt idx="52277">
                  <c:v>34.067581943907989</c:v>
                </c:pt>
                <c:pt idx="52278">
                  <c:v>30.737155661895699</c:v>
                </c:pt>
                <c:pt idx="52279">
                  <c:v>24.560012049875773</c:v>
                </c:pt>
                <c:pt idx="52280">
                  <c:v>29.461395306034035</c:v>
                </c:pt>
                <c:pt idx="52281">
                  <c:v>21.046827114782211</c:v>
                </c:pt>
                <c:pt idx="52282">
                  <c:v>33.379077126158826</c:v>
                </c:pt>
                <c:pt idx="52283">
                  <c:v>33.941225989762344</c:v>
                </c:pt>
                <c:pt idx="52284">
                  <c:v>53.02731379443334</c:v>
                </c:pt>
                <c:pt idx="52285">
                  <c:v>21.601881437033306</c:v>
                </c:pt>
                <c:pt idx="52286">
                  <c:v>27.605590653213305</c:v>
                </c:pt>
                <c:pt idx="52287">
                  <c:v>29.346470322842379</c:v>
                </c:pt>
                <c:pt idx="52288">
                  <c:v>27.244975021092198</c:v>
                </c:pt>
                <c:pt idx="52289">
                  <c:v>28.656110259623585</c:v>
                </c:pt>
                <c:pt idx="52290">
                  <c:v>28.790622417364759</c:v>
                </c:pt>
                <c:pt idx="52291">
                  <c:v>37.94310328721815</c:v>
                </c:pt>
                <c:pt idx="52292">
                  <c:v>42.002679497770572</c:v>
                </c:pt>
                <c:pt idx="52293">
                  <c:v>32.969200212955855</c:v>
                </c:pt>
                <c:pt idx="52294">
                  <c:v>23.473535316575447</c:v>
                </c:pt>
                <c:pt idx="52295">
                  <c:v>23.316913674553298</c:v>
                </c:pt>
                <c:pt idx="52296">
                  <c:v>25.646941641265663</c:v>
                </c:pt>
                <c:pt idx="52297">
                  <c:v>53.28848266991379</c:v>
                </c:pt>
                <c:pt idx="52298">
                  <c:v>21.548579489114257</c:v>
                </c:pt>
                <c:pt idx="52299">
                  <c:v>40.605717831221043</c:v>
                </c:pt>
                <c:pt idx="52300">
                  <c:v>29.52154495713971</c:v>
                </c:pt>
                <c:pt idx="52301">
                  <c:v>52.80041287311218</c:v>
                </c:pt>
                <c:pt idx="52302">
                  <c:v>19.265003528813672</c:v>
                </c:pt>
                <c:pt idx="52303">
                  <c:v>26.563280168381869</c:v>
                </c:pt>
                <c:pt idx="52304">
                  <c:v>51.277114076857849</c:v>
                </c:pt>
                <c:pt idx="52305">
                  <c:v>34.458754082482983</c:v>
                </c:pt>
                <c:pt idx="52306">
                  <c:v>46.201778367485304</c:v>
                </c:pt>
                <c:pt idx="52307">
                  <c:v>22.808049541352595</c:v>
                </c:pt>
                <c:pt idx="52308">
                  <c:v>25.964594513292791</c:v>
                </c:pt>
                <c:pt idx="52309">
                  <c:v>39.569338631366385</c:v>
                </c:pt>
                <c:pt idx="52310">
                  <c:v>27.931805215068096</c:v>
                </c:pt>
                <c:pt idx="52311">
                  <c:v>58.73109853397785</c:v>
                </c:pt>
                <c:pt idx="52312">
                  <c:v>46.888902498649955</c:v>
                </c:pt>
                <c:pt idx="52313">
                  <c:v>34.133390070981946</c:v>
                </c:pt>
                <c:pt idx="52314">
                  <c:v>25.955677158260102</c:v>
                </c:pt>
                <c:pt idx="52315">
                  <c:v>30.636340067063013</c:v>
                </c:pt>
                <c:pt idx="52316">
                  <c:v>43.328399262602254</c:v>
                </c:pt>
                <c:pt idx="52317">
                  <c:v>21.083566258215203</c:v>
                </c:pt>
                <c:pt idx="52318">
                  <c:v>26.40819362018231</c:v>
                </c:pt>
                <c:pt idx="52319">
                  <c:v>36.297518710147088</c:v>
                </c:pt>
                <c:pt idx="52320">
                  <c:v>51.404272054231093</c:v>
                </c:pt>
                <c:pt idx="52321">
                  <c:v>30.975723297807392</c:v>
                </c:pt>
                <c:pt idx="52322">
                  <c:v>47.446262081213</c:v>
                </c:pt>
                <c:pt idx="52323">
                  <c:v>25.444875236695779</c:v>
                </c:pt>
                <c:pt idx="52324">
                  <c:v>52.874666540610328</c:v>
                </c:pt>
                <c:pt idx="52325">
                  <c:v>23.923697074437161</c:v>
                </c:pt>
                <c:pt idx="52326">
                  <c:v>26.38039169608583</c:v>
                </c:pt>
                <c:pt idx="52327">
                  <c:v>26.537905815097307</c:v>
                </c:pt>
                <c:pt idx="52328">
                  <c:v>24.078560878753255</c:v>
                </c:pt>
                <c:pt idx="52329">
                  <c:v>24.468793881167208</c:v>
                </c:pt>
                <c:pt idx="52330">
                  <c:v>21.629874385140702</c:v>
                </c:pt>
                <c:pt idx="52331">
                  <c:v>18.985305609509727</c:v>
                </c:pt>
                <c:pt idx="52332">
                  <c:v>40.482854782174016</c:v>
                </c:pt>
                <c:pt idx="52333">
                  <c:v>28.154401410155756</c:v>
                </c:pt>
                <c:pt idx="52334">
                  <c:v>32.847919772998878</c:v>
                </c:pt>
                <c:pt idx="52335">
                  <c:v>19.275306991120637</c:v>
                </c:pt>
                <c:pt idx="52336">
                  <c:v>44.949406738065065</c:v>
                </c:pt>
                <c:pt idx="52337">
                  <c:v>32.246636764840588</c:v>
                </c:pt>
                <c:pt idx="52338">
                  <c:v>20.215794921429975</c:v>
                </c:pt>
                <c:pt idx="52339">
                  <c:v>22.751773758048351</c:v>
                </c:pt>
                <c:pt idx="52340">
                  <c:v>33.888030318416568</c:v>
                </c:pt>
                <c:pt idx="52341">
                  <c:v>32.481866078461742</c:v>
                </c:pt>
                <c:pt idx="52342">
                  <c:v>21.062196184455225</c:v>
                </c:pt>
                <c:pt idx="52343">
                  <c:v>31.512774286779432</c:v>
                </c:pt>
                <c:pt idx="52344">
                  <c:v>28.009359435804289</c:v>
                </c:pt>
                <c:pt idx="52345">
                  <c:v>40.323526229468072</c:v>
                </c:pt>
                <c:pt idx="52346">
                  <c:v>53.241086688335557</c:v>
                </c:pt>
                <c:pt idx="52347">
                  <c:v>30.373552020287409</c:v>
                </c:pt>
                <c:pt idx="52348">
                  <c:v>27.502722475124116</c:v>
                </c:pt>
                <c:pt idx="52349">
                  <c:v>49.230582299720787</c:v>
                </c:pt>
                <c:pt idx="52350">
                  <c:v>26.531429486894261</c:v>
                </c:pt>
                <c:pt idx="52351">
                  <c:v>26.075089131648859</c:v>
                </c:pt>
                <c:pt idx="52352">
                  <c:v>21.005342404451042</c:v>
                </c:pt>
                <c:pt idx="52353">
                  <c:v>24.132224454040859</c:v>
                </c:pt>
                <c:pt idx="52354">
                  <c:v>22.294678721859349</c:v>
                </c:pt>
                <c:pt idx="52355">
                  <c:v>18.44282692661146</c:v>
                </c:pt>
                <c:pt idx="52356">
                  <c:v>25.777879890662991</c:v>
                </c:pt>
                <c:pt idx="52357">
                  <c:v>23.516843372141462</c:v>
                </c:pt>
                <c:pt idx="52358">
                  <c:v>25.56718973024228</c:v>
                </c:pt>
                <c:pt idx="52359">
                  <c:v>25.31552177466672</c:v>
                </c:pt>
                <c:pt idx="52360">
                  <c:v>17.585168849502626</c:v>
                </c:pt>
                <c:pt idx="52361">
                  <c:v>31.016823479709842</c:v>
                </c:pt>
                <c:pt idx="52362">
                  <c:v>50.548374412533498</c:v>
                </c:pt>
                <c:pt idx="52363">
                  <c:v>46.065951069986014</c:v>
                </c:pt>
                <c:pt idx="52364">
                  <c:v>28.771645227000391</c:v>
                </c:pt>
                <c:pt idx="52365">
                  <c:v>24.469010671550372</c:v>
                </c:pt>
                <c:pt idx="52366">
                  <c:v>27.998567832083637</c:v>
                </c:pt>
                <c:pt idx="52367">
                  <c:v>27.009935633281643</c:v>
                </c:pt>
                <c:pt idx="52368">
                  <c:v>25.85369545551173</c:v>
                </c:pt>
                <c:pt idx="52369">
                  <c:v>30.263485050607379</c:v>
                </c:pt>
                <c:pt idx="52370">
                  <c:v>53.961599508417855</c:v>
                </c:pt>
                <c:pt idx="52371">
                  <c:v>34.670925961017552</c:v>
                </c:pt>
                <c:pt idx="52372">
                  <c:v>24.541081264810522</c:v>
                </c:pt>
                <c:pt idx="52373">
                  <c:v>35.669762068073446</c:v>
                </c:pt>
                <c:pt idx="52374">
                  <c:v>22.946573915868953</c:v>
                </c:pt>
                <c:pt idx="52375">
                  <c:v>34.441650916584074</c:v>
                </c:pt>
                <c:pt idx="52376">
                  <c:v>17.491558117205606</c:v>
                </c:pt>
                <c:pt idx="52377">
                  <c:v>20.755791344571733</c:v>
                </c:pt>
                <c:pt idx="52378">
                  <c:v>37.898813335815809</c:v>
                </c:pt>
                <c:pt idx="52379">
                  <c:v>19.039479698642054</c:v>
                </c:pt>
                <c:pt idx="52380">
                  <c:v>24.931599298830118</c:v>
                </c:pt>
                <c:pt idx="52381">
                  <c:v>29.72764699874957</c:v>
                </c:pt>
                <c:pt idx="52382">
                  <c:v>44.773529648090587</c:v>
                </c:pt>
                <c:pt idx="52383">
                  <c:v>25.493625565076727</c:v>
                </c:pt>
                <c:pt idx="52384">
                  <c:v>25.020171098501187</c:v>
                </c:pt>
                <c:pt idx="52385">
                  <c:v>54.95814455408469</c:v>
                </c:pt>
                <c:pt idx="52386">
                  <c:v>23.975234367906282</c:v>
                </c:pt>
                <c:pt idx="52387">
                  <c:v>27.771467303638619</c:v>
                </c:pt>
                <c:pt idx="52388">
                  <c:v>16.52798674264961</c:v>
                </c:pt>
                <c:pt idx="52389">
                  <c:v>31.804309632332295</c:v>
                </c:pt>
                <c:pt idx="52390">
                  <c:v>39.536464976773559</c:v>
                </c:pt>
                <c:pt idx="52391">
                  <c:v>47.997972486577225</c:v>
                </c:pt>
                <c:pt idx="52392">
                  <c:v>25.520177738985382</c:v>
                </c:pt>
                <c:pt idx="52393">
                  <c:v>23.94158425097968</c:v>
                </c:pt>
                <c:pt idx="52394">
                  <c:v>38.722245670396376</c:v>
                </c:pt>
                <c:pt idx="52395">
                  <c:v>26.258317688273941</c:v>
                </c:pt>
                <c:pt idx="52396">
                  <c:v>26.267248331244982</c:v>
                </c:pt>
                <c:pt idx="52397">
                  <c:v>26.051805985393596</c:v>
                </c:pt>
                <c:pt idx="52398">
                  <c:v>32.201300102591205</c:v>
                </c:pt>
                <c:pt idx="52399">
                  <c:v>16.682340035615855</c:v>
                </c:pt>
                <c:pt idx="52400">
                  <c:v>41.647000463507531</c:v>
                </c:pt>
                <c:pt idx="52401">
                  <c:v>23.823156620060796</c:v>
                </c:pt>
                <c:pt idx="52402">
                  <c:v>47.340614944675536</c:v>
                </c:pt>
                <c:pt idx="52403">
                  <c:v>26.24777040231357</c:v>
                </c:pt>
                <c:pt idx="52404">
                  <c:v>28.572333772934428</c:v>
                </c:pt>
                <c:pt idx="52405">
                  <c:v>32.273869956040407</c:v>
                </c:pt>
                <c:pt idx="52406">
                  <c:v>41.933585620640599</c:v>
                </c:pt>
                <c:pt idx="52407">
                  <c:v>42.105992129545534</c:v>
                </c:pt>
                <c:pt idx="52408">
                  <c:v>22.774984229812532</c:v>
                </c:pt>
                <c:pt idx="52409">
                  <c:v>24.231859399670174</c:v>
                </c:pt>
                <c:pt idx="52410">
                  <c:v>26.744268517674488</c:v>
                </c:pt>
                <c:pt idx="52411">
                  <c:v>37.420023379503604</c:v>
                </c:pt>
                <c:pt idx="52412">
                  <c:v>22.229880216472662</c:v>
                </c:pt>
                <c:pt idx="52413">
                  <c:v>18.087419476486062</c:v>
                </c:pt>
                <c:pt idx="52414">
                  <c:v>20.127377794791602</c:v>
                </c:pt>
                <c:pt idx="52415">
                  <c:v>21.782976108991623</c:v>
                </c:pt>
                <c:pt idx="52416">
                  <c:v>24.399701809591892</c:v>
                </c:pt>
                <c:pt idx="52417">
                  <c:v>50.077289267397568</c:v>
                </c:pt>
                <c:pt idx="52418">
                  <c:v>26.920177283001443</c:v>
                </c:pt>
                <c:pt idx="52419">
                  <c:v>30.890792086176031</c:v>
                </c:pt>
                <c:pt idx="52420">
                  <c:v>32.707265929988019</c:v>
                </c:pt>
                <c:pt idx="52421">
                  <c:v>24.597489152973761</c:v>
                </c:pt>
                <c:pt idx="52422">
                  <c:v>28.569905950772544</c:v>
                </c:pt>
                <c:pt idx="52423">
                  <c:v>25.55163639110426</c:v>
                </c:pt>
                <c:pt idx="52424">
                  <c:v>40.936421758297676</c:v>
                </c:pt>
                <c:pt idx="52425">
                  <c:v>24.649621047313495</c:v>
                </c:pt>
                <c:pt idx="52426">
                  <c:v>26.264155512518499</c:v>
                </c:pt>
                <c:pt idx="52427">
                  <c:v>45.140566968377989</c:v>
                </c:pt>
                <c:pt idx="52428">
                  <c:v>26.30241471222206</c:v>
                </c:pt>
                <c:pt idx="52429">
                  <c:v>27.887751006250973</c:v>
                </c:pt>
                <c:pt idx="52430">
                  <c:v>31.558727403794244</c:v>
                </c:pt>
                <c:pt idx="52431">
                  <c:v>20.567362674216081</c:v>
                </c:pt>
                <c:pt idx="52432">
                  <c:v>22.066384443787076</c:v>
                </c:pt>
                <c:pt idx="52433">
                  <c:v>32.220454068954851</c:v>
                </c:pt>
                <c:pt idx="52434">
                  <c:v>24.075112656771378</c:v>
                </c:pt>
                <c:pt idx="52435">
                  <c:v>28.405308079803078</c:v>
                </c:pt>
                <c:pt idx="52436">
                  <c:v>29.86141348879336</c:v>
                </c:pt>
                <c:pt idx="52437">
                  <c:v>29.702238675402544</c:v>
                </c:pt>
                <c:pt idx="52438">
                  <c:v>39.099273774997258</c:v>
                </c:pt>
                <c:pt idx="52439">
                  <c:v>27.801086017662204</c:v>
                </c:pt>
                <c:pt idx="52440">
                  <c:v>34.205049274870582</c:v>
                </c:pt>
                <c:pt idx="52441">
                  <c:v>38.784769328009951</c:v>
                </c:pt>
                <c:pt idx="52442">
                  <c:v>24.950206254750199</c:v>
                </c:pt>
                <c:pt idx="52443">
                  <c:v>33.45323719828356</c:v>
                </c:pt>
                <c:pt idx="52444">
                  <c:v>25.223078531348101</c:v>
                </c:pt>
                <c:pt idx="52445">
                  <c:v>47.827260722005839</c:v>
                </c:pt>
                <c:pt idx="52446">
                  <c:v>26.471378457292325</c:v>
                </c:pt>
                <c:pt idx="52447">
                  <c:v>29.446909113057465</c:v>
                </c:pt>
                <c:pt idx="52448">
                  <c:v>22.954739942301142</c:v>
                </c:pt>
                <c:pt idx="52449">
                  <c:v>27.523494634833774</c:v>
                </c:pt>
                <c:pt idx="52450">
                  <c:v>30.375276683843303</c:v>
                </c:pt>
                <c:pt idx="52451">
                  <c:v>16.702067179224898</c:v>
                </c:pt>
                <c:pt idx="52452">
                  <c:v>40.521801703203757</c:v>
                </c:pt>
                <c:pt idx="52453">
                  <c:v>20.531921273379147</c:v>
                </c:pt>
                <c:pt idx="52454">
                  <c:v>38.541131000123073</c:v>
                </c:pt>
                <c:pt idx="52455">
                  <c:v>32.871065535769034</c:v>
                </c:pt>
                <c:pt idx="52456">
                  <c:v>27.902933030996707</c:v>
                </c:pt>
                <c:pt idx="52457">
                  <c:v>49.384446168769188</c:v>
                </c:pt>
                <c:pt idx="52458">
                  <c:v>21.67001403381116</c:v>
                </c:pt>
                <c:pt idx="52459">
                  <c:v>22.559228592769298</c:v>
                </c:pt>
                <c:pt idx="52460">
                  <c:v>26.014134259607751</c:v>
                </c:pt>
                <c:pt idx="52461">
                  <c:v>29.278447527434157</c:v>
                </c:pt>
                <c:pt idx="52462">
                  <c:v>30.718897048959811</c:v>
                </c:pt>
                <c:pt idx="52463">
                  <c:v>57.786808371002749</c:v>
                </c:pt>
                <c:pt idx="52464">
                  <c:v>46.34989335891791</c:v>
                </c:pt>
                <c:pt idx="52465">
                  <c:v>30.577643983922798</c:v>
                </c:pt>
                <c:pt idx="52466">
                  <c:v>29.158399673482247</c:v>
                </c:pt>
                <c:pt idx="52467">
                  <c:v>16.240372854068454</c:v>
                </c:pt>
                <c:pt idx="52468">
                  <c:v>25.261430151926895</c:v>
                </c:pt>
                <c:pt idx="52469">
                  <c:v>30.447021519727045</c:v>
                </c:pt>
                <c:pt idx="52470">
                  <c:v>55.675523957922948</c:v>
                </c:pt>
                <c:pt idx="52471">
                  <c:v>38.26945595872872</c:v>
                </c:pt>
                <c:pt idx="52472">
                  <c:v>35.654043765362509</c:v>
                </c:pt>
                <c:pt idx="52473">
                  <c:v>21.576144455232406</c:v>
                </c:pt>
                <c:pt idx="52474">
                  <c:v>39.585549220387918</c:v>
                </c:pt>
                <c:pt idx="52475">
                  <c:v>23.654589670171557</c:v>
                </c:pt>
                <c:pt idx="52476">
                  <c:v>37.634805408086592</c:v>
                </c:pt>
                <c:pt idx="52477">
                  <c:v>32.071737522749572</c:v>
                </c:pt>
                <c:pt idx="52478">
                  <c:v>42.356054865134695</c:v>
                </c:pt>
                <c:pt idx="52479">
                  <c:v>40.180081190160834</c:v>
                </c:pt>
                <c:pt idx="52480">
                  <c:v>19.563140482240549</c:v>
                </c:pt>
                <c:pt idx="52481">
                  <c:v>24.096278994349461</c:v>
                </c:pt>
                <c:pt idx="52482">
                  <c:v>29.070623387262259</c:v>
                </c:pt>
                <c:pt idx="52483">
                  <c:v>25.243684707187924</c:v>
                </c:pt>
                <c:pt idx="52484">
                  <c:v>34.854215835195973</c:v>
                </c:pt>
                <c:pt idx="52485">
                  <c:v>29.275343324737012</c:v>
                </c:pt>
                <c:pt idx="52486">
                  <c:v>27.880715783538797</c:v>
                </c:pt>
                <c:pt idx="52487">
                  <c:v>44.989594942318369</c:v>
                </c:pt>
                <c:pt idx="52488">
                  <c:v>37.283567042002318</c:v>
                </c:pt>
                <c:pt idx="52489">
                  <c:v>21.404037490326054</c:v>
                </c:pt>
                <c:pt idx="52490">
                  <c:v>33.406236624987571</c:v>
                </c:pt>
                <c:pt idx="52491">
                  <c:v>47.786059035188742</c:v>
                </c:pt>
                <c:pt idx="52492">
                  <c:v>28.466893113226188</c:v>
                </c:pt>
                <c:pt idx="52493">
                  <c:v>44.098552163102305</c:v>
                </c:pt>
                <c:pt idx="52494">
                  <c:v>24.257620476149391</c:v>
                </c:pt>
                <c:pt idx="52495">
                  <c:v>35.804663961153778</c:v>
                </c:pt>
                <c:pt idx="52496">
                  <c:v>22.443820466735176</c:v>
                </c:pt>
                <c:pt idx="52497">
                  <c:v>29.488342236541762</c:v>
                </c:pt>
                <c:pt idx="52498">
                  <c:v>34.645699665592716</c:v>
                </c:pt>
                <c:pt idx="52499">
                  <c:v>47.542959672961544</c:v>
                </c:pt>
                <c:pt idx="52500">
                  <c:v>16.585890487831126</c:v>
                </c:pt>
                <c:pt idx="52501">
                  <c:v>37.733884968556282</c:v>
                </c:pt>
                <c:pt idx="52502">
                  <c:v>27.634388143970025</c:v>
                </c:pt>
                <c:pt idx="52503">
                  <c:v>31.263516338807602</c:v>
                </c:pt>
                <c:pt idx="52504">
                  <c:v>26.533069467289035</c:v>
                </c:pt>
                <c:pt idx="52505">
                  <c:v>27.023636030997821</c:v>
                </c:pt>
                <c:pt idx="52506">
                  <c:v>26.238182529843499</c:v>
                </c:pt>
                <c:pt idx="52507">
                  <c:v>24.601363576660056</c:v>
                </c:pt>
                <c:pt idx="52508">
                  <c:v>28.339365926981557</c:v>
                </c:pt>
                <c:pt idx="52509">
                  <c:v>45.147686010802659</c:v>
                </c:pt>
                <c:pt idx="52510">
                  <c:v>27.209749259787792</c:v>
                </c:pt>
                <c:pt idx="52511">
                  <c:v>24.516625050622658</c:v>
                </c:pt>
                <c:pt idx="52512">
                  <c:v>48.689711432796095</c:v>
                </c:pt>
                <c:pt idx="52513">
                  <c:v>23.962186653897973</c:v>
                </c:pt>
                <c:pt idx="52514">
                  <c:v>39.031194139561585</c:v>
                </c:pt>
                <c:pt idx="52515">
                  <c:v>25.443139600785525</c:v>
                </c:pt>
                <c:pt idx="52516">
                  <c:v>55.966285247285967</c:v>
                </c:pt>
                <c:pt idx="52517">
                  <c:v>43.594588655985234</c:v>
                </c:pt>
                <c:pt idx="52518">
                  <c:v>29.316985006393072</c:v>
                </c:pt>
                <c:pt idx="52519">
                  <c:v>34.025204617065953</c:v>
                </c:pt>
                <c:pt idx="52520">
                  <c:v>54.077226323068167</c:v>
                </c:pt>
                <c:pt idx="52521">
                  <c:v>31.61532775369616</c:v>
                </c:pt>
                <c:pt idx="52522">
                  <c:v>29.090984928033876</c:v>
                </c:pt>
                <c:pt idx="52523">
                  <c:v>23.746260289547358</c:v>
                </c:pt>
                <c:pt idx="52524">
                  <c:v>53.282657611624252</c:v>
                </c:pt>
                <c:pt idx="52525">
                  <c:v>26.61268858373052</c:v>
                </c:pt>
                <c:pt idx="52526">
                  <c:v>25.099577718082003</c:v>
                </c:pt>
                <c:pt idx="52527">
                  <c:v>28.665579303785876</c:v>
                </c:pt>
                <c:pt idx="52528">
                  <c:v>22.884124311861999</c:v>
                </c:pt>
                <c:pt idx="52529">
                  <c:v>25.312838644501177</c:v>
                </c:pt>
                <c:pt idx="52530">
                  <c:v>27.833992346972998</c:v>
                </c:pt>
                <c:pt idx="52531">
                  <c:v>25.011173669683401</c:v>
                </c:pt>
                <c:pt idx="52532">
                  <c:v>32.767536648897519</c:v>
                </c:pt>
                <c:pt idx="52533">
                  <c:v>42.640230058823533</c:v>
                </c:pt>
                <c:pt idx="52534">
                  <c:v>59.518312487294033</c:v>
                </c:pt>
                <c:pt idx="52535">
                  <c:v>19.738847202495425</c:v>
                </c:pt>
                <c:pt idx="52536">
                  <c:v>23.08596457726378</c:v>
                </c:pt>
                <c:pt idx="52537">
                  <c:v>29.173028663802818</c:v>
                </c:pt>
                <c:pt idx="52538">
                  <c:v>51.294592004669248</c:v>
                </c:pt>
                <c:pt idx="52539">
                  <c:v>39.725960662136394</c:v>
                </c:pt>
                <c:pt idx="52540">
                  <c:v>19.048088051826049</c:v>
                </c:pt>
                <c:pt idx="52541">
                  <c:v>40.089063583554996</c:v>
                </c:pt>
                <c:pt idx="52542">
                  <c:v>26.814871749042105</c:v>
                </c:pt>
                <c:pt idx="52543">
                  <c:v>20.708165329731774</c:v>
                </c:pt>
                <c:pt idx="52544">
                  <c:v>39.132731293446817</c:v>
                </c:pt>
                <c:pt idx="52545">
                  <c:v>28.545103750326451</c:v>
                </c:pt>
                <c:pt idx="52546">
                  <c:v>46.751209221857238</c:v>
                </c:pt>
                <c:pt idx="52547">
                  <c:v>26.432669036608967</c:v>
                </c:pt>
                <c:pt idx="52548">
                  <c:v>33.517792969546861</c:v>
                </c:pt>
                <c:pt idx="52549">
                  <c:v>28.40726736975396</c:v>
                </c:pt>
                <c:pt idx="52550">
                  <c:v>26.130646717860074</c:v>
                </c:pt>
                <c:pt idx="52551">
                  <c:v>30.853725583571421</c:v>
                </c:pt>
                <c:pt idx="52552">
                  <c:v>23.902722469983647</c:v>
                </c:pt>
                <c:pt idx="52553">
                  <c:v>44.880006794134268</c:v>
                </c:pt>
                <c:pt idx="52554">
                  <c:v>28.83277199782961</c:v>
                </c:pt>
                <c:pt idx="52555">
                  <c:v>25.899822300612733</c:v>
                </c:pt>
                <c:pt idx="52556">
                  <c:v>20.741835288712643</c:v>
                </c:pt>
                <c:pt idx="52557">
                  <c:v>18.123139332341559</c:v>
                </c:pt>
                <c:pt idx="52558">
                  <c:v>24.159530637472184</c:v>
                </c:pt>
                <c:pt idx="52559">
                  <c:v>49.488869962624563</c:v>
                </c:pt>
                <c:pt idx="52560">
                  <c:v>42.213713090605822</c:v>
                </c:pt>
                <c:pt idx="52561">
                  <c:v>33.706575646406023</c:v>
                </c:pt>
                <c:pt idx="52562">
                  <c:v>34.530561429563463</c:v>
                </c:pt>
                <c:pt idx="52563">
                  <c:v>32.156638740732738</c:v>
                </c:pt>
                <c:pt idx="52564">
                  <c:v>18.918973090892482</c:v>
                </c:pt>
                <c:pt idx="52565">
                  <c:v>45.524759851700509</c:v>
                </c:pt>
                <c:pt idx="52566">
                  <c:v>32.875965780983933</c:v>
                </c:pt>
                <c:pt idx="52567">
                  <c:v>26.167563419013256</c:v>
                </c:pt>
                <c:pt idx="52568">
                  <c:v>22.747289597914968</c:v>
                </c:pt>
                <c:pt idx="52569">
                  <c:v>28.280941857657886</c:v>
                </c:pt>
                <c:pt idx="52570">
                  <c:v>38.563324121073549</c:v>
                </c:pt>
                <c:pt idx="52571">
                  <c:v>54.956197793877635</c:v>
                </c:pt>
                <c:pt idx="52572">
                  <c:v>22.966377865677067</c:v>
                </c:pt>
                <c:pt idx="52573">
                  <c:v>25.107396201684434</c:v>
                </c:pt>
                <c:pt idx="52574">
                  <c:v>25.325289624978534</c:v>
                </c:pt>
                <c:pt idx="52575">
                  <c:v>21.688683048613765</c:v>
                </c:pt>
                <c:pt idx="52576">
                  <c:v>24.923100609949621</c:v>
                </c:pt>
                <c:pt idx="52577">
                  <c:v>24.410030139030578</c:v>
                </c:pt>
                <c:pt idx="52578">
                  <c:v>43.969549347016418</c:v>
                </c:pt>
                <c:pt idx="52579">
                  <c:v>19.237790291590265</c:v>
                </c:pt>
                <c:pt idx="52580">
                  <c:v>46.8293892587496</c:v>
                </c:pt>
                <c:pt idx="52581">
                  <c:v>27.65101535698107</c:v>
                </c:pt>
                <c:pt idx="52582">
                  <c:v>28.934295443043482</c:v>
                </c:pt>
                <c:pt idx="52583">
                  <c:v>22.078082904845218</c:v>
                </c:pt>
                <c:pt idx="52584">
                  <c:v>21.520315689453568</c:v>
                </c:pt>
                <c:pt idx="52585">
                  <c:v>23.387788327691823</c:v>
                </c:pt>
                <c:pt idx="52586">
                  <c:v>29.210147145576173</c:v>
                </c:pt>
                <c:pt idx="52587">
                  <c:v>32.155224549917818</c:v>
                </c:pt>
                <c:pt idx="52588">
                  <c:v>23.122410128798968</c:v>
                </c:pt>
                <c:pt idx="52589">
                  <c:v>29.327565536412344</c:v>
                </c:pt>
                <c:pt idx="52590">
                  <c:v>20.703779338765749</c:v>
                </c:pt>
                <c:pt idx="52591">
                  <c:v>29.463454922786521</c:v>
                </c:pt>
                <c:pt idx="52592">
                  <c:v>24.937821909530335</c:v>
                </c:pt>
                <c:pt idx="52593">
                  <c:v>27.37700436412603</c:v>
                </c:pt>
                <c:pt idx="52594">
                  <c:v>38.609553890407661</c:v>
                </c:pt>
                <c:pt idx="52595">
                  <c:v>24.042811680754745</c:v>
                </c:pt>
                <c:pt idx="52596">
                  <c:v>49.946863868633152</c:v>
                </c:pt>
                <c:pt idx="52597">
                  <c:v>35.42609273867852</c:v>
                </c:pt>
                <c:pt idx="52598">
                  <c:v>25.538117030188381</c:v>
                </c:pt>
                <c:pt idx="52599">
                  <c:v>18.434250673037976</c:v>
                </c:pt>
                <c:pt idx="52600">
                  <c:v>23.543417718940624</c:v>
                </c:pt>
                <c:pt idx="52601">
                  <c:v>22.465383984452028</c:v>
                </c:pt>
                <c:pt idx="52602">
                  <c:v>36.694277854597736</c:v>
                </c:pt>
                <c:pt idx="52603">
                  <c:v>20.757054541619823</c:v>
                </c:pt>
                <c:pt idx="52604">
                  <c:v>25.486123033276744</c:v>
                </c:pt>
                <c:pt idx="52605">
                  <c:v>25.132730939610312</c:v>
                </c:pt>
                <c:pt idx="52606">
                  <c:v>45.308177820186373</c:v>
                </c:pt>
                <c:pt idx="52607">
                  <c:v>21.047510262544691</c:v>
                </c:pt>
                <c:pt idx="52608">
                  <c:v>26.788892791655698</c:v>
                </c:pt>
                <c:pt idx="52609">
                  <c:v>47.583810941287481</c:v>
                </c:pt>
                <c:pt idx="52610">
                  <c:v>20.307908085103538</c:v>
                </c:pt>
                <c:pt idx="52611">
                  <c:v>24.19705968043969</c:v>
                </c:pt>
                <c:pt idx="52612">
                  <c:v>43.336630635676464</c:v>
                </c:pt>
                <c:pt idx="52613">
                  <c:v>35.100478814824235</c:v>
                </c:pt>
                <c:pt idx="52614">
                  <c:v>38.677361535165858</c:v>
                </c:pt>
                <c:pt idx="52615">
                  <c:v>21.660767352028685</c:v>
                </c:pt>
                <c:pt idx="52616">
                  <c:v>28.099088697479282</c:v>
                </c:pt>
                <c:pt idx="52617">
                  <c:v>51.665568482456301</c:v>
                </c:pt>
                <c:pt idx="52618">
                  <c:v>25.628178194851348</c:v>
                </c:pt>
                <c:pt idx="52619">
                  <c:v>25.916553403036772</c:v>
                </c:pt>
                <c:pt idx="52620">
                  <c:v>43.28940463944825</c:v>
                </c:pt>
                <c:pt idx="52621">
                  <c:v>22.729693927066826</c:v>
                </c:pt>
                <c:pt idx="52622">
                  <c:v>31.681357125859723</c:v>
                </c:pt>
                <c:pt idx="52623">
                  <c:v>34.000283359252187</c:v>
                </c:pt>
                <c:pt idx="52624">
                  <c:v>31.630680928818816</c:v>
                </c:pt>
                <c:pt idx="52625">
                  <c:v>18.710204806461178</c:v>
                </c:pt>
                <c:pt idx="52626">
                  <c:v>20.2107784637798</c:v>
                </c:pt>
                <c:pt idx="52627">
                  <c:v>23.200206365941956</c:v>
                </c:pt>
                <c:pt idx="52628">
                  <c:v>27.057842465634945</c:v>
                </c:pt>
                <c:pt idx="52629">
                  <c:v>53.6743829227239</c:v>
                </c:pt>
                <c:pt idx="52630">
                  <c:v>16.353066202535885</c:v>
                </c:pt>
                <c:pt idx="52631">
                  <c:v>28.263985499982994</c:v>
                </c:pt>
                <c:pt idx="52632">
                  <c:v>46.40292306529129</c:v>
                </c:pt>
                <c:pt idx="52633">
                  <c:v>45.712831923417589</c:v>
                </c:pt>
                <c:pt idx="52634">
                  <c:v>19.854403261819328</c:v>
                </c:pt>
                <c:pt idx="52635">
                  <c:v>24.622824134752001</c:v>
                </c:pt>
                <c:pt idx="52636">
                  <c:v>24.781587516879565</c:v>
                </c:pt>
                <c:pt idx="52637">
                  <c:v>19.588342830459101</c:v>
                </c:pt>
                <c:pt idx="52638">
                  <c:v>30.091592282105402</c:v>
                </c:pt>
                <c:pt idx="52639">
                  <c:v>23.922709147786218</c:v>
                </c:pt>
                <c:pt idx="52640">
                  <c:v>29.633821860105471</c:v>
                </c:pt>
                <c:pt idx="52641">
                  <c:v>23.823227115963867</c:v>
                </c:pt>
                <c:pt idx="52642">
                  <c:v>36.317085197345662</c:v>
                </c:pt>
                <c:pt idx="52643">
                  <c:v>23.727182101315247</c:v>
                </c:pt>
                <c:pt idx="52644">
                  <c:v>29.113762728954431</c:v>
                </c:pt>
                <c:pt idx="52645">
                  <c:v>23.754266101638578</c:v>
                </c:pt>
                <c:pt idx="52646">
                  <c:v>37.433131061293643</c:v>
                </c:pt>
                <c:pt idx="52647">
                  <c:v>33.234290358085744</c:v>
                </c:pt>
                <c:pt idx="52648">
                  <c:v>43.959337528178345</c:v>
                </c:pt>
                <c:pt idx="52649">
                  <c:v>37.0357705033842</c:v>
                </c:pt>
                <c:pt idx="52650">
                  <c:v>46.121806442150863</c:v>
                </c:pt>
                <c:pt idx="52651">
                  <c:v>21.963218635107445</c:v>
                </c:pt>
                <c:pt idx="52652">
                  <c:v>29.373080176331321</c:v>
                </c:pt>
                <c:pt idx="52653">
                  <c:v>32.939647225818398</c:v>
                </c:pt>
                <c:pt idx="52654">
                  <c:v>36.938906067562705</c:v>
                </c:pt>
                <c:pt idx="52655">
                  <c:v>23.671526267873414</c:v>
                </c:pt>
                <c:pt idx="52656">
                  <c:v>25.130184139272842</c:v>
                </c:pt>
                <c:pt idx="52657">
                  <c:v>31.888210418507587</c:v>
                </c:pt>
                <c:pt idx="52658">
                  <c:v>32.819721908561981</c:v>
                </c:pt>
                <c:pt idx="52659">
                  <c:v>48.490824836660707</c:v>
                </c:pt>
                <c:pt idx="52660">
                  <c:v>29.53160531235601</c:v>
                </c:pt>
                <c:pt idx="52661">
                  <c:v>25.310416231647828</c:v>
                </c:pt>
                <c:pt idx="52662">
                  <c:v>26.050466473695661</c:v>
                </c:pt>
                <c:pt idx="52663">
                  <c:v>45.007404899702479</c:v>
                </c:pt>
                <c:pt idx="52664">
                  <c:v>25.080755640053599</c:v>
                </c:pt>
                <c:pt idx="52665">
                  <c:v>26.96220425776939</c:v>
                </c:pt>
                <c:pt idx="52666">
                  <c:v>28.881823529741411</c:v>
                </c:pt>
                <c:pt idx="52667">
                  <c:v>32.302148528929976</c:v>
                </c:pt>
                <c:pt idx="52668">
                  <c:v>42.126439106200145</c:v>
                </c:pt>
                <c:pt idx="52669">
                  <c:v>29.327078235923828</c:v>
                </c:pt>
                <c:pt idx="52670">
                  <c:v>30.266652356885956</c:v>
                </c:pt>
                <c:pt idx="52671">
                  <c:v>23.042771659234312</c:v>
                </c:pt>
                <c:pt idx="52672">
                  <c:v>30.816488639534271</c:v>
                </c:pt>
                <c:pt idx="52673">
                  <c:v>19.733396399177309</c:v>
                </c:pt>
                <c:pt idx="52674">
                  <c:v>17.844078970672037</c:v>
                </c:pt>
                <c:pt idx="52675">
                  <c:v>21.726531976521134</c:v>
                </c:pt>
                <c:pt idx="52676">
                  <c:v>44.433110371243167</c:v>
                </c:pt>
                <c:pt idx="52677">
                  <c:v>31.308150853520605</c:v>
                </c:pt>
                <c:pt idx="52678">
                  <c:v>29.116910267962744</c:v>
                </c:pt>
                <c:pt idx="52679">
                  <c:v>28.5769546917683</c:v>
                </c:pt>
                <c:pt idx="52680">
                  <c:v>24.859616631900703</c:v>
                </c:pt>
                <c:pt idx="52681">
                  <c:v>27.031689377051464</c:v>
                </c:pt>
                <c:pt idx="52682">
                  <c:v>19.289671352058502</c:v>
                </c:pt>
                <c:pt idx="52683">
                  <c:v>35.928356680426418</c:v>
                </c:pt>
                <c:pt idx="52684">
                  <c:v>22.362472961009772</c:v>
                </c:pt>
                <c:pt idx="52685">
                  <c:v>29.549154595019843</c:v>
                </c:pt>
                <c:pt idx="52686">
                  <c:v>18.83954469940068</c:v>
                </c:pt>
                <c:pt idx="52687">
                  <c:v>22.818505999622047</c:v>
                </c:pt>
                <c:pt idx="52688">
                  <c:v>22.445925924863104</c:v>
                </c:pt>
                <c:pt idx="52689">
                  <c:v>18.734852936593665</c:v>
                </c:pt>
                <c:pt idx="52690">
                  <c:v>46.824250885977165</c:v>
                </c:pt>
                <c:pt idx="52691">
                  <c:v>42.273528924822159</c:v>
                </c:pt>
                <c:pt idx="52692">
                  <c:v>40.271381846723365</c:v>
                </c:pt>
                <c:pt idx="52693">
                  <c:v>15.652117098736083</c:v>
                </c:pt>
                <c:pt idx="52694">
                  <c:v>24.35340265443746</c:v>
                </c:pt>
                <c:pt idx="52695">
                  <c:v>42.334467859745963</c:v>
                </c:pt>
                <c:pt idx="52696">
                  <c:v>29.329184956250518</c:v>
                </c:pt>
                <c:pt idx="52697">
                  <c:v>27.33661110095413</c:v>
                </c:pt>
                <c:pt idx="52698">
                  <c:v>31.927422315302501</c:v>
                </c:pt>
                <c:pt idx="52699">
                  <c:v>25.633321988346456</c:v>
                </c:pt>
                <c:pt idx="52700">
                  <c:v>22.075060321778849</c:v>
                </c:pt>
                <c:pt idx="52701">
                  <c:v>49.849056959513078</c:v>
                </c:pt>
                <c:pt idx="52702">
                  <c:v>30.798423715624665</c:v>
                </c:pt>
                <c:pt idx="52703">
                  <c:v>34.98969842866714</c:v>
                </c:pt>
                <c:pt idx="52704">
                  <c:v>37.702983059775441</c:v>
                </c:pt>
                <c:pt idx="52705">
                  <c:v>34.457990118813861</c:v>
                </c:pt>
                <c:pt idx="52706">
                  <c:v>24.145751832746754</c:v>
                </c:pt>
                <c:pt idx="52707">
                  <c:v>23.438847186353851</c:v>
                </c:pt>
                <c:pt idx="52708">
                  <c:v>53.725994500019567</c:v>
                </c:pt>
                <c:pt idx="52709">
                  <c:v>23.024399435103188</c:v>
                </c:pt>
                <c:pt idx="52710">
                  <c:v>23.63590756817257</c:v>
                </c:pt>
                <c:pt idx="52711">
                  <c:v>38.154457738347588</c:v>
                </c:pt>
                <c:pt idx="52712">
                  <c:v>30.51035103662425</c:v>
                </c:pt>
                <c:pt idx="52713">
                  <c:v>49.311447209342909</c:v>
                </c:pt>
                <c:pt idx="52714">
                  <c:v>30.32202777027614</c:v>
                </c:pt>
                <c:pt idx="52715">
                  <c:v>52.457718768978793</c:v>
                </c:pt>
                <c:pt idx="52716">
                  <c:v>28.287788754346437</c:v>
                </c:pt>
                <c:pt idx="52717">
                  <c:v>32.333193647823364</c:v>
                </c:pt>
                <c:pt idx="52718">
                  <c:v>52.315776275410236</c:v>
                </c:pt>
                <c:pt idx="52719">
                  <c:v>48.818887426583494</c:v>
                </c:pt>
                <c:pt idx="52720">
                  <c:v>42.961265065291542</c:v>
                </c:pt>
                <c:pt idx="52721">
                  <c:v>30.665242926281358</c:v>
                </c:pt>
                <c:pt idx="52722">
                  <c:v>31.90806119492872</c:v>
                </c:pt>
                <c:pt idx="52723">
                  <c:v>33.049145077421272</c:v>
                </c:pt>
                <c:pt idx="52724">
                  <c:v>18.586525780807978</c:v>
                </c:pt>
                <c:pt idx="52725">
                  <c:v>35.053202138781486</c:v>
                </c:pt>
                <c:pt idx="52726">
                  <c:v>49.859244634289126</c:v>
                </c:pt>
                <c:pt idx="52727">
                  <c:v>25.634020686590866</c:v>
                </c:pt>
                <c:pt idx="52728">
                  <c:v>33.535273546816114</c:v>
                </c:pt>
                <c:pt idx="52729">
                  <c:v>33.210171085695571</c:v>
                </c:pt>
                <c:pt idx="52730">
                  <c:v>42.261294808933286</c:v>
                </c:pt>
                <c:pt idx="52731">
                  <c:v>22.864155568297537</c:v>
                </c:pt>
                <c:pt idx="52732">
                  <c:v>61.646740332017117</c:v>
                </c:pt>
                <c:pt idx="52733">
                  <c:v>40.254326587471674</c:v>
                </c:pt>
                <c:pt idx="52734">
                  <c:v>24.652952433173922</c:v>
                </c:pt>
                <c:pt idx="52735">
                  <c:v>26.239791500689162</c:v>
                </c:pt>
                <c:pt idx="52736">
                  <c:v>21.192857548969933</c:v>
                </c:pt>
                <c:pt idx="52737">
                  <c:v>31.699989370305218</c:v>
                </c:pt>
                <c:pt idx="52738">
                  <c:v>21.382046673658799</c:v>
                </c:pt>
                <c:pt idx="52739">
                  <c:v>23.269097485427768</c:v>
                </c:pt>
                <c:pt idx="52740">
                  <c:v>37.440159211285291</c:v>
                </c:pt>
                <c:pt idx="52741">
                  <c:v>21.682711400366482</c:v>
                </c:pt>
                <c:pt idx="52742">
                  <c:v>24.327644506715274</c:v>
                </c:pt>
                <c:pt idx="52743">
                  <c:v>34.139454177472075</c:v>
                </c:pt>
                <c:pt idx="52744">
                  <c:v>52.867107883724209</c:v>
                </c:pt>
                <c:pt idx="52745">
                  <c:v>22.594496263943338</c:v>
                </c:pt>
                <c:pt idx="52746">
                  <c:v>30.93807223862623</c:v>
                </c:pt>
                <c:pt idx="52747">
                  <c:v>15.487153190189517</c:v>
                </c:pt>
                <c:pt idx="52748">
                  <c:v>46.286614733054186</c:v>
                </c:pt>
                <c:pt idx="52749">
                  <c:v>24.605808441158317</c:v>
                </c:pt>
                <c:pt idx="52750">
                  <c:v>39.493370784016065</c:v>
                </c:pt>
                <c:pt idx="52751">
                  <c:v>39.191634595862254</c:v>
                </c:pt>
                <c:pt idx="52752">
                  <c:v>53.144563810108203</c:v>
                </c:pt>
                <c:pt idx="52753">
                  <c:v>34.330445254303754</c:v>
                </c:pt>
                <c:pt idx="52754">
                  <c:v>16.253377130737199</c:v>
                </c:pt>
                <c:pt idx="52755">
                  <c:v>30.194631409532953</c:v>
                </c:pt>
                <c:pt idx="52756">
                  <c:v>30.914091690317729</c:v>
                </c:pt>
                <c:pt idx="52757">
                  <c:v>64.947370609069196</c:v>
                </c:pt>
                <c:pt idx="52758">
                  <c:v>32.869745301759764</c:v>
                </c:pt>
                <c:pt idx="52759">
                  <c:v>24.411947136175392</c:v>
                </c:pt>
                <c:pt idx="52760">
                  <c:v>29.343745425187013</c:v>
                </c:pt>
                <c:pt idx="52761">
                  <c:v>25.499312142124793</c:v>
                </c:pt>
                <c:pt idx="52762">
                  <c:v>20.570609706174508</c:v>
                </c:pt>
                <c:pt idx="52763">
                  <c:v>26.548558310020809</c:v>
                </c:pt>
                <c:pt idx="52764">
                  <c:v>58.805748608315326</c:v>
                </c:pt>
                <c:pt idx="52765">
                  <c:v>29.251815064988371</c:v>
                </c:pt>
                <c:pt idx="52766">
                  <c:v>29.073401291146507</c:v>
                </c:pt>
                <c:pt idx="52767">
                  <c:v>59.925929698135988</c:v>
                </c:pt>
                <c:pt idx="52768">
                  <c:v>47.980532235459457</c:v>
                </c:pt>
                <c:pt idx="52769">
                  <c:v>24.556785231380751</c:v>
                </c:pt>
                <c:pt idx="52770">
                  <c:v>40.353031235567499</c:v>
                </c:pt>
                <c:pt idx="52771">
                  <c:v>27.098552256468821</c:v>
                </c:pt>
                <c:pt idx="52772">
                  <c:v>25.719629967867125</c:v>
                </c:pt>
                <c:pt idx="52773">
                  <c:v>29.815589253599015</c:v>
                </c:pt>
                <c:pt idx="52774">
                  <c:v>30.215889412328817</c:v>
                </c:pt>
                <c:pt idx="52775">
                  <c:v>35.058801198489896</c:v>
                </c:pt>
                <c:pt idx="52776">
                  <c:v>52.089748529238491</c:v>
                </c:pt>
                <c:pt idx="52777">
                  <c:v>51.675859466999583</c:v>
                </c:pt>
                <c:pt idx="52778">
                  <c:v>25.023394018650805</c:v>
                </c:pt>
                <c:pt idx="52779">
                  <c:v>46.953251844535586</c:v>
                </c:pt>
                <c:pt idx="52780">
                  <c:v>22.473534317737769</c:v>
                </c:pt>
                <c:pt idx="52781">
                  <c:v>27.805309628947807</c:v>
                </c:pt>
                <c:pt idx="52782">
                  <c:v>21.622278600430768</c:v>
                </c:pt>
                <c:pt idx="52783">
                  <c:v>28.806983611538048</c:v>
                </c:pt>
                <c:pt idx="52784">
                  <c:v>42.957046831566721</c:v>
                </c:pt>
                <c:pt idx="52785">
                  <c:v>28.301903557363772</c:v>
                </c:pt>
                <c:pt idx="52786">
                  <c:v>22.734626861311845</c:v>
                </c:pt>
                <c:pt idx="52787">
                  <c:v>25.728876985745085</c:v>
                </c:pt>
                <c:pt idx="52788">
                  <c:v>27.664108580363393</c:v>
                </c:pt>
                <c:pt idx="52789">
                  <c:v>22.806513367646701</c:v>
                </c:pt>
                <c:pt idx="52790">
                  <c:v>26.181226446067466</c:v>
                </c:pt>
                <c:pt idx="52791">
                  <c:v>26.130164194006728</c:v>
                </c:pt>
                <c:pt idx="52792">
                  <c:v>44.181451874885809</c:v>
                </c:pt>
                <c:pt idx="52793">
                  <c:v>42.117220561737035</c:v>
                </c:pt>
                <c:pt idx="52794">
                  <c:v>21.591141866910284</c:v>
                </c:pt>
                <c:pt idx="52795">
                  <c:v>25.826434905423287</c:v>
                </c:pt>
                <c:pt idx="52796">
                  <c:v>26.210186994713482</c:v>
                </c:pt>
                <c:pt idx="52797">
                  <c:v>42.60592328264503</c:v>
                </c:pt>
                <c:pt idx="52798">
                  <c:v>27.992315227364024</c:v>
                </c:pt>
                <c:pt idx="52799">
                  <c:v>21.466463425630366</c:v>
                </c:pt>
                <c:pt idx="52800">
                  <c:v>27.098268523513713</c:v>
                </c:pt>
                <c:pt idx="52801">
                  <c:v>27.795686929317462</c:v>
                </c:pt>
                <c:pt idx="52802">
                  <c:v>21.956533239990641</c:v>
                </c:pt>
                <c:pt idx="52803">
                  <c:v>25.599410134161889</c:v>
                </c:pt>
                <c:pt idx="52804">
                  <c:v>25.483278147475112</c:v>
                </c:pt>
                <c:pt idx="52805">
                  <c:v>29.637962897655612</c:v>
                </c:pt>
                <c:pt idx="52806">
                  <c:v>57.208397135813762</c:v>
                </c:pt>
                <c:pt idx="52807">
                  <c:v>29.350667052905145</c:v>
                </c:pt>
                <c:pt idx="52808">
                  <c:v>29.634183021552793</c:v>
                </c:pt>
                <c:pt idx="52809">
                  <c:v>26.227764064220665</c:v>
                </c:pt>
                <c:pt idx="52810">
                  <c:v>20.658926280305813</c:v>
                </c:pt>
                <c:pt idx="52811">
                  <c:v>35.242972405812608</c:v>
                </c:pt>
                <c:pt idx="52812">
                  <c:v>31.132483974735003</c:v>
                </c:pt>
                <c:pt idx="52813">
                  <c:v>38.9464294040963</c:v>
                </c:pt>
                <c:pt idx="52814">
                  <c:v>42.739847984351634</c:v>
                </c:pt>
                <c:pt idx="52815">
                  <c:v>37.071155659124656</c:v>
                </c:pt>
                <c:pt idx="52816">
                  <c:v>25.223655745386147</c:v>
                </c:pt>
                <c:pt idx="52817">
                  <c:v>52.161484538644338</c:v>
                </c:pt>
                <c:pt idx="52818">
                  <c:v>25.299068991808014</c:v>
                </c:pt>
                <c:pt idx="52819">
                  <c:v>33.89616422626252</c:v>
                </c:pt>
                <c:pt idx="52820">
                  <c:v>29.079836866430714</c:v>
                </c:pt>
                <c:pt idx="52821">
                  <c:v>43.97062897553193</c:v>
                </c:pt>
                <c:pt idx="52822">
                  <c:v>49.578902711270757</c:v>
                </c:pt>
                <c:pt idx="52823">
                  <c:v>40.696410370156585</c:v>
                </c:pt>
                <c:pt idx="52824">
                  <c:v>49.755206845521386</c:v>
                </c:pt>
                <c:pt idx="52825">
                  <c:v>26.72407814673225</c:v>
                </c:pt>
                <c:pt idx="52826">
                  <c:v>32.228602052064829</c:v>
                </c:pt>
                <c:pt idx="52827">
                  <c:v>47.384981374077313</c:v>
                </c:pt>
                <c:pt idx="52828">
                  <c:v>31.780779214398727</c:v>
                </c:pt>
                <c:pt idx="52829">
                  <c:v>40.23228798975461</c:v>
                </c:pt>
                <c:pt idx="52830">
                  <c:v>24.717586867702288</c:v>
                </c:pt>
                <c:pt idx="52831">
                  <c:v>19.963516210255136</c:v>
                </c:pt>
                <c:pt idx="52832">
                  <c:v>24.190859358534951</c:v>
                </c:pt>
                <c:pt idx="52833">
                  <c:v>40.165229640251937</c:v>
                </c:pt>
                <c:pt idx="52834">
                  <c:v>25.975021556964755</c:v>
                </c:pt>
                <c:pt idx="52835">
                  <c:v>47.209371947733793</c:v>
                </c:pt>
                <c:pt idx="52836">
                  <c:v>21.25865815148812</c:v>
                </c:pt>
                <c:pt idx="52837">
                  <c:v>17.010841739755342</c:v>
                </c:pt>
                <c:pt idx="52838">
                  <c:v>44.264097545987653</c:v>
                </c:pt>
                <c:pt idx="52839">
                  <c:v>23.141657175781106</c:v>
                </c:pt>
                <c:pt idx="52840">
                  <c:v>47.492142628439467</c:v>
                </c:pt>
                <c:pt idx="52841">
                  <c:v>25.984753745649602</c:v>
                </c:pt>
                <c:pt idx="52842">
                  <c:v>21.812744935248745</c:v>
                </c:pt>
                <c:pt idx="52843">
                  <c:v>54.118628433184199</c:v>
                </c:pt>
                <c:pt idx="52844">
                  <c:v>33.429438132709436</c:v>
                </c:pt>
                <c:pt idx="52845">
                  <c:v>23.475147060560378</c:v>
                </c:pt>
                <c:pt idx="52846">
                  <c:v>40.875602225504558</c:v>
                </c:pt>
                <c:pt idx="52847">
                  <c:v>47.955360001207019</c:v>
                </c:pt>
                <c:pt idx="52848">
                  <c:v>31.095536165778789</c:v>
                </c:pt>
                <c:pt idx="52849">
                  <c:v>40.506323091851968</c:v>
                </c:pt>
                <c:pt idx="52850">
                  <c:v>19.00712813278966</c:v>
                </c:pt>
                <c:pt idx="52851">
                  <c:v>46.912687439533997</c:v>
                </c:pt>
                <c:pt idx="52852">
                  <c:v>40.351147224298849</c:v>
                </c:pt>
                <c:pt idx="52853">
                  <c:v>43.416550698702366</c:v>
                </c:pt>
                <c:pt idx="52854">
                  <c:v>35.068694809197808</c:v>
                </c:pt>
                <c:pt idx="52855">
                  <c:v>50.302702422537791</c:v>
                </c:pt>
                <c:pt idx="52856">
                  <c:v>24.118107642322535</c:v>
                </c:pt>
                <c:pt idx="52857">
                  <c:v>19.868292539104193</c:v>
                </c:pt>
                <c:pt idx="52858">
                  <c:v>24.886405539745798</c:v>
                </c:pt>
                <c:pt idx="52859">
                  <c:v>57.941218042435686</c:v>
                </c:pt>
                <c:pt idx="52860">
                  <c:v>28.222317635535724</c:v>
                </c:pt>
                <c:pt idx="52861">
                  <c:v>45.169190731159247</c:v>
                </c:pt>
                <c:pt idx="52862">
                  <c:v>26.847627782380243</c:v>
                </c:pt>
                <c:pt idx="52863">
                  <c:v>47.243836614568124</c:v>
                </c:pt>
                <c:pt idx="52864">
                  <c:v>42.265208792349092</c:v>
                </c:pt>
                <c:pt idx="52865">
                  <c:v>29.395048616031882</c:v>
                </c:pt>
                <c:pt idx="52866">
                  <c:v>43.377342597203189</c:v>
                </c:pt>
                <c:pt idx="52867">
                  <c:v>21.147691907026495</c:v>
                </c:pt>
                <c:pt idx="52868">
                  <c:v>20.725070082551976</c:v>
                </c:pt>
                <c:pt idx="52869">
                  <c:v>17.851753021420233</c:v>
                </c:pt>
                <c:pt idx="52870">
                  <c:v>39.441844525704866</c:v>
                </c:pt>
                <c:pt idx="52871">
                  <c:v>21.026628124390022</c:v>
                </c:pt>
                <c:pt idx="52872">
                  <c:v>37.069616490329786</c:v>
                </c:pt>
                <c:pt idx="52873">
                  <c:v>51.21299293727148</c:v>
                </c:pt>
                <c:pt idx="52874">
                  <c:v>26.826903687758222</c:v>
                </c:pt>
                <c:pt idx="52875">
                  <c:v>21.935961345618555</c:v>
                </c:pt>
                <c:pt idx="52876">
                  <c:v>57.658042096657645</c:v>
                </c:pt>
                <c:pt idx="52877">
                  <c:v>19.25526073430126</c:v>
                </c:pt>
                <c:pt idx="52878">
                  <c:v>30.954609801742421</c:v>
                </c:pt>
                <c:pt idx="52879">
                  <c:v>51.025347321233617</c:v>
                </c:pt>
                <c:pt idx="52880">
                  <c:v>24.952362124219185</c:v>
                </c:pt>
                <c:pt idx="52881">
                  <c:v>39.026958736777466</c:v>
                </c:pt>
                <c:pt idx="52882">
                  <c:v>15.385092993986788</c:v>
                </c:pt>
                <c:pt idx="52883">
                  <c:v>31.058521902979034</c:v>
                </c:pt>
                <c:pt idx="52884">
                  <c:v>27.591204999315778</c:v>
                </c:pt>
                <c:pt idx="52885">
                  <c:v>25.09156689273447</c:v>
                </c:pt>
                <c:pt idx="52886">
                  <c:v>23.441907084777995</c:v>
                </c:pt>
                <c:pt idx="52887">
                  <c:v>55.785156566366609</c:v>
                </c:pt>
                <c:pt idx="52888">
                  <c:v>26.39097228527087</c:v>
                </c:pt>
                <c:pt idx="52889">
                  <c:v>25.478673045388014</c:v>
                </c:pt>
                <c:pt idx="52890">
                  <c:v>27.481118383509315</c:v>
                </c:pt>
                <c:pt idx="52891">
                  <c:v>35.727207858228525</c:v>
                </c:pt>
                <c:pt idx="52892">
                  <c:v>31.490589660105186</c:v>
                </c:pt>
                <c:pt idx="52893">
                  <c:v>28.936463510442522</c:v>
                </c:pt>
                <c:pt idx="52894">
                  <c:v>36.325207774786783</c:v>
                </c:pt>
                <c:pt idx="52895">
                  <c:v>24.65699052737488</c:v>
                </c:pt>
                <c:pt idx="52896">
                  <c:v>30.297201157977227</c:v>
                </c:pt>
                <c:pt idx="52897">
                  <c:v>44.203435335399291</c:v>
                </c:pt>
                <c:pt idx="52898">
                  <c:v>50.668757800774557</c:v>
                </c:pt>
                <c:pt idx="52899">
                  <c:v>28.392050224166034</c:v>
                </c:pt>
                <c:pt idx="52900">
                  <c:v>50.364646145529605</c:v>
                </c:pt>
                <c:pt idx="52901">
                  <c:v>24.434922673176931</c:v>
                </c:pt>
                <c:pt idx="52902">
                  <c:v>32.894428521111408</c:v>
                </c:pt>
                <c:pt idx="52903">
                  <c:v>55.446271120559118</c:v>
                </c:pt>
                <c:pt idx="52904">
                  <c:v>25.075945279350346</c:v>
                </c:pt>
                <c:pt idx="52905">
                  <c:v>19.688791974485149</c:v>
                </c:pt>
                <c:pt idx="52906">
                  <c:v>25.381539280959988</c:v>
                </c:pt>
                <c:pt idx="52907">
                  <c:v>37.777982551706813</c:v>
                </c:pt>
                <c:pt idx="52908">
                  <c:v>30.868676721895227</c:v>
                </c:pt>
                <c:pt idx="52909">
                  <c:v>44.391609372304849</c:v>
                </c:pt>
                <c:pt idx="52910">
                  <c:v>39.849454293106348</c:v>
                </c:pt>
                <c:pt idx="52911">
                  <c:v>19.390084138732504</c:v>
                </c:pt>
                <c:pt idx="52912">
                  <c:v>25.778734672764827</c:v>
                </c:pt>
                <c:pt idx="52913">
                  <c:v>36.235103339199959</c:v>
                </c:pt>
                <c:pt idx="52914">
                  <c:v>22.666035307327441</c:v>
                </c:pt>
                <c:pt idx="52915">
                  <c:v>27.706032009372677</c:v>
                </c:pt>
                <c:pt idx="52916">
                  <c:v>25.000273280491086</c:v>
                </c:pt>
                <c:pt idx="52917">
                  <c:v>33.605373332406245</c:v>
                </c:pt>
                <c:pt idx="52918">
                  <c:v>27.009011716396067</c:v>
                </c:pt>
                <c:pt idx="52919">
                  <c:v>25.44140377389671</c:v>
                </c:pt>
                <c:pt idx="52920">
                  <c:v>42.677692421610651</c:v>
                </c:pt>
                <c:pt idx="52921">
                  <c:v>26.255526590036901</c:v>
                </c:pt>
                <c:pt idx="52922">
                  <c:v>38.751608155964078</c:v>
                </c:pt>
                <c:pt idx="52923">
                  <c:v>30.365886307820762</c:v>
                </c:pt>
                <c:pt idx="52924">
                  <c:v>30.145228717225173</c:v>
                </c:pt>
                <c:pt idx="52925">
                  <c:v>23.094032042829284</c:v>
                </c:pt>
                <c:pt idx="52926">
                  <c:v>35.219077625087422</c:v>
                </c:pt>
                <c:pt idx="52927">
                  <c:v>22.294984316007859</c:v>
                </c:pt>
                <c:pt idx="52928">
                  <c:v>30.772622116619253</c:v>
                </c:pt>
                <c:pt idx="52929">
                  <c:v>20.963136018508102</c:v>
                </c:pt>
                <c:pt idx="52930">
                  <c:v>18.928992609988832</c:v>
                </c:pt>
                <c:pt idx="52931">
                  <c:v>21.118800270319035</c:v>
                </c:pt>
                <c:pt idx="52932">
                  <c:v>21.852891274893615</c:v>
                </c:pt>
                <c:pt idx="52933">
                  <c:v>21.769554551932455</c:v>
                </c:pt>
                <c:pt idx="52934">
                  <c:v>34.613347211921472</c:v>
                </c:pt>
                <c:pt idx="52935">
                  <c:v>29.050092347098104</c:v>
                </c:pt>
                <c:pt idx="52936">
                  <c:v>24.188261885870929</c:v>
                </c:pt>
                <c:pt idx="52937">
                  <c:v>48.189587077032442</c:v>
                </c:pt>
                <c:pt idx="52938">
                  <c:v>32.097233695328072</c:v>
                </c:pt>
                <c:pt idx="52939">
                  <c:v>31.400118013360888</c:v>
                </c:pt>
                <c:pt idx="52940">
                  <c:v>24.306718221832856</c:v>
                </c:pt>
                <c:pt idx="52941">
                  <c:v>17.107053962560244</c:v>
                </c:pt>
                <c:pt idx="52942">
                  <c:v>45.214550083503156</c:v>
                </c:pt>
                <c:pt idx="52943">
                  <c:v>21.259773725979265</c:v>
                </c:pt>
                <c:pt idx="52944">
                  <c:v>52.357661698954615</c:v>
                </c:pt>
                <c:pt idx="52945">
                  <c:v>37.3818272329287</c:v>
                </c:pt>
                <c:pt idx="52946">
                  <c:v>39.589627197206454</c:v>
                </c:pt>
                <c:pt idx="52947">
                  <c:v>56.273041732274102</c:v>
                </c:pt>
                <c:pt idx="52948">
                  <c:v>26.611496743068923</c:v>
                </c:pt>
                <c:pt idx="52949">
                  <c:v>36.847317633288711</c:v>
                </c:pt>
                <c:pt idx="52950">
                  <c:v>42.669646319130862</c:v>
                </c:pt>
                <c:pt idx="52951">
                  <c:v>22.051758088578531</c:v>
                </c:pt>
                <c:pt idx="52952">
                  <c:v>24.660405698087665</c:v>
                </c:pt>
                <c:pt idx="52953">
                  <c:v>28.725880092490087</c:v>
                </c:pt>
                <c:pt idx="52954">
                  <c:v>20.537834570519763</c:v>
                </c:pt>
                <c:pt idx="52955">
                  <c:v>29.919510202278616</c:v>
                </c:pt>
                <c:pt idx="52956">
                  <c:v>24.658998465309743</c:v>
                </c:pt>
                <c:pt idx="52957">
                  <c:v>31.056791335594262</c:v>
                </c:pt>
                <c:pt idx="52958">
                  <c:v>56.660253056949372</c:v>
                </c:pt>
                <c:pt idx="52959">
                  <c:v>21.657341058252623</c:v>
                </c:pt>
                <c:pt idx="52960">
                  <c:v>38.097447476459394</c:v>
                </c:pt>
                <c:pt idx="52961">
                  <c:v>34.105652416246301</c:v>
                </c:pt>
                <c:pt idx="52962">
                  <c:v>42.425225071491049</c:v>
                </c:pt>
                <c:pt idx="52963">
                  <c:v>27.51873847951261</c:v>
                </c:pt>
                <c:pt idx="52964">
                  <c:v>27.264748118222414</c:v>
                </c:pt>
                <c:pt idx="52965">
                  <c:v>22.176647908566117</c:v>
                </c:pt>
                <c:pt idx="52966">
                  <c:v>50.657652618344088</c:v>
                </c:pt>
                <c:pt idx="52967">
                  <c:v>24.702217772895136</c:v>
                </c:pt>
                <c:pt idx="52968">
                  <c:v>35.572553894419755</c:v>
                </c:pt>
                <c:pt idx="52969">
                  <c:v>27.548356932419367</c:v>
                </c:pt>
                <c:pt idx="52970">
                  <c:v>22.553341484959756</c:v>
                </c:pt>
                <c:pt idx="52971">
                  <c:v>22.758559665302016</c:v>
                </c:pt>
                <c:pt idx="52972">
                  <c:v>22.795215384096331</c:v>
                </c:pt>
                <c:pt idx="52973">
                  <c:v>29.460996707258627</c:v>
                </c:pt>
                <c:pt idx="52974">
                  <c:v>49.550784991394202</c:v>
                </c:pt>
                <c:pt idx="52975">
                  <c:v>59.585540976650677</c:v>
                </c:pt>
                <c:pt idx="52976">
                  <c:v>22.73205580917698</c:v>
                </c:pt>
                <c:pt idx="52977">
                  <c:v>42.188629827811198</c:v>
                </c:pt>
                <c:pt idx="52978">
                  <c:v>30.385062717517265</c:v>
                </c:pt>
                <c:pt idx="52979">
                  <c:v>26.87362370634543</c:v>
                </c:pt>
                <c:pt idx="52980">
                  <c:v>28.144651285352648</c:v>
                </c:pt>
                <c:pt idx="52981">
                  <c:v>49.409609138491746</c:v>
                </c:pt>
                <c:pt idx="52982">
                  <c:v>21.890727205297178</c:v>
                </c:pt>
                <c:pt idx="52983">
                  <c:v>40.097125522309533</c:v>
                </c:pt>
                <c:pt idx="52984">
                  <c:v>27.222868186065629</c:v>
                </c:pt>
                <c:pt idx="52985">
                  <c:v>23.473525998163836</c:v>
                </c:pt>
                <c:pt idx="52986">
                  <c:v>40.210324715513437</c:v>
                </c:pt>
                <c:pt idx="52987">
                  <c:v>26.421023770488958</c:v>
                </c:pt>
                <c:pt idx="52988">
                  <c:v>22.37468257348355</c:v>
                </c:pt>
                <c:pt idx="52989">
                  <c:v>19.542994291502851</c:v>
                </c:pt>
                <c:pt idx="52990">
                  <c:v>52.894134798014505</c:v>
                </c:pt>
                <c:pt idx="52991">
                  <c:v>33.112841495901115</c:v>
                </c:pt>
                <c:pt idx="52992">
                  <c:v>48.751316290698838</c:v>
                </c:pt>
                <c:pt idx="52993">
                  <c:v>25.440837596200581</c:v>
                </c:pt>
                <c:pt idx="52994">
                  <c:v>52.119395781914129</c:v>
                </c:pt>
                <c:pt idx="52995">
                  <c:v>35.282172166227291</c:v>
                </c:pt>
                <c:pt idx="52996">
                  <c:v>21.332760623835366</c:v>
                </c:pt>
                <c:pt idx="52997">
                  <c:v>20.387120473213763</c:v>
                </c:pt>
                <c:pt idx="52998">
                  <c:v>56.116515438123642</c:v>
                </c:pt>
                <c:pt idx="52999">
                  <c:v>30.38581999420003</c:v>
                </c:pt>
                <c:pt idx="53000">
                  <c:v>26.922351759496845</c:v>
                </c:pt>
                <c:pt idx="53001">
                  <c:v>44.195380940042661</c:v>
                </c:pt>
                <c:pt idx="53002">
                  <c:v>41.107950282048186</c:v>
                </c:pt>
                <c:pt idx="53003">
                  <c:v>26.494210833711005</c:v>
                </c:pt>
                <c:pt idx="53004">
                  <c:v>37.578354835197892</c:v>
                </c:pt>
                <c:pt idx="53005">
                  <c:v>28.075236719168593</c:v>
                </c:pt>
                <c:pt idx="53006">
                  <c:v>23.455357320343964</c:v>
                </c:pt>
                <c:pt idx="53007">
                  <c:v>24.955129608552618</c:v>
                </c:pt>
                <c:pt idx="53008">
                  <c:v>44.841957009383904</c:v>
                </c:pt>
                <c:pt idx="53009">
                  <c:v>24.423644349185999</c:v>
                </c:pt>
                <c:pt idx="53010">
                  <c:v>30.172144749865247</c:v>
                </c:pt>
                <c:pt idx="53011">
                  <c:v>43.115154360360933</c:v>
                </c:pt>
                <c:pt idx="53012">
                  <c:v>25.813802105143562</c:v>
                </c:pt>
                <c:pt idx="53013">
                  <c:v>17.883173852581905</c:v>
                </c:pt>
                <c:pt idx="53014">
                  <c:v>51.414072766241702</c:v>
                </c:pt>
                <c:pt idx="53015">
                  <c:v>26.236811017242612</c:v>
                </c:pt>
                <c:pt idx="53016">
                  <c:v>32.268494337025594</c:v>
                </c:pt>
                <c:pt idx="53017">
                  <c:v>29.741256101202019</c:v>
                </c:pt>
                <c:pt idx="53018">
                  <c:v>24.713860718538793</c:v>
                </c:pt>
                <c:pt idx="53019">
                  <c:v>39.44759630852235</c:v>
                </c:pt>
                <c:pt idx="53020">
                  <c:v>55.37193563813382</c:v>
                </c:pt>
                <c:pt idx="53021">
                  <c:v>21.929323591592066</c:v>
                </c:pt>
                <c:pt idx="53022">
                  <c:v>31.177583733222136</c:v>
                </c:pt>
                <c:pt idx="53023">
                  <c:v>19.718115319542562</c:v>
                </c:pt>
                <c:pt idx="53024">
                  <c:v>18.98922349731011</c:v>
                </c:pt>
                <c:pt idx="53025">
                  <c:v>56.328709291035871</c:v>
                </c:pt>
                <c:pt idx="53026">
                  <c:v>24.325696589447524</c:v>
                </c:pt>
                <c:pt idx="53027">
                  <c:v>32.722725507757879</c:v>
                </c:pt>
                <c:pt idx="53028">
                  <c:v>45.837691908071065</c:v>
                </c:pt>
                <c:pt idx="53029">
                  <c:v>40.045385780220144</c:v>
                </c:pt>
                <c:pt idx="53030">
                  <c:v>31.249704893846985</c:v>
                </c:pt>
                <c:pt idx="53031">
                  <c:v>29.36503744968811</c:v>
                </c:pt>
                <c:pt idx="53032">
                  <c:v>36.640566014528581</c:v>
                </c:pt>
                <c:pt idx="53033">
                  <c:v>30.931033676374597</c:v>
                </c:pt>
                <c:pt idx="53034">
                  <c:v>57.556078347324217</c:v>
                </c:pt>
                <c:pt idx="53035">
                  <c:v>31.567320341986111</c:v>
                </c:pt>
                <c:pt idx="53036">
                  <c:v>33.770713776610179</c:v>
                </c:pt>
                <c:pt idx="53037">
                  <c:v>22.370145196137994</c:v>
                </c:pt>
                <c:pt idx="53038">
                  <c:v>32.490315717316349</c:v>
                </c:pt>
                <c:pt idx="53039">
                  <c:v>38.880071244405841</c:v>
                </c:pt>
                <c:pt idx="53040">
                  <c:v>32.066692680910862</c:v>
                </c:pt>
                <c:pt idx="53041">
                  <c:v>23.33868476970699</c:v>
                </c:pt>
                <c:pt idx="53042">
                  <c:v>25.528186694324337</c:v>
                </c:pt>
                <c:pt idx="53043">
                  <c:v>40.142562149297881</c:v>
                </c:pt>
                <c:pt idx="53044">
                  <c:v>23.94660561751553</c:v>
                </c:pt>
                <c:pt idx="53045">
                  <c:v>52.013996600510083</c:v>
                </c:pt>
                <c:pt idx="53046">
                  <c:v>25.578361728056162</c:v>
                </c:pt>
                <c:pt idx="53047">
                  <c:v>44.672189363066458</c:v>
                </c:pt>
                <c:pt idx="53048">
                  <c:v>33.433414981135385</c:v>
                </c:pt>
                <c:pt idx="53049">
                  <c:v>29.811829623334337</c:v>
                </c:pt>
                <c:pt idx="53050">
                  <c:v>18.824943877414363</c:v>
                </c:pt>
                <c:pt idx="53051">
                  <c:v>29.389469586049987</c:v>
                </c:pt>
                <c:pt idx="53052">
                  <c:v>20.352458578195574</c:v>
                </c:pt>
                <c:pt idx="53053">
                  <c:v>44.616988384271231</c:v>
                </c:pt>
                <c:pt idx="53054">
                  <c:v>46.012800962545697</c:v>
                </c:pt>
                <c:pt idx="53055">
                  <c:v>48.256210199309322</c:v>
                </c:pt>
                <c:pt idx="53056">
                  <c:v>26.940353211220931</c:v>
                </c:pt>
                <c:pt idx="53057">
                  <c:v>45.055544386573757</c:v>
                </c:pt>
                <c:pt idx="53058">
                  <c:v>30.756350173608354</c:v>
                </c:pt>
                <c:pt idx="53059">
                  <c:v>23.840285505328776</c:v>
                </c:pt>
                <c:pt idx="53060">
                  <c:v>30.083414497958447</c:v>
                </c:pt>
                <c:pt idx="53061">
                  <c:v>55.756609859655654</c:v>
                </c:pt>
                <c:pt idx="53062">
                  <c:v>34.007578773598269</c:v>
                </c:pt>
                <c:pt idx="53063">
                  <c:v>24.421179269008856</c:v>
                </c:pt>
                <c:pt idx="53064">
                  <c:v>20.298243266204814</c:v>
                </c:pt>
                <c:pt idx="53065">
                  <c:v>26.1790683738061</c:v>
                </c:pt>
                <c:pt idx="53066">
                  <c:v>49.378087658892149</c:v>
                </c:pt>
                <c:pt idx="53067">
                  <c:v>43.23988858937868</c:v>
                </c:pt>
                <c:pt idx="53068">
                  <c:v>52.451753752993312</c:v>
                </c:pt>
                <c:pt idx="53069">
                  <c:v>46.848488129545665</c:v>
                </c:pt>
                <c:pt idx="53070">
                  <c:v>48.747191441436833</c:v>
                </c:pt>
                <c:pt idx="53071">
                  <c:v>26.567195557423329</c:v>
                </c:pt>
                <c:pt idx="53072">
                  <c:v>24.328358005126532</c:v>
                </c:pt>
                <c:pt idx="53073">
                  <c:v>25.050942899375823</c:v>
                </c:pt>
                <c:pt idx="53074">
                  <c:v>23.797476296432386</c:v>
                </c:pt>
                <c:pt idx="53075">
                  <c:v>28.368605695053468</c:v>
                </c:pt>
                <c:pt idx="53076">
                  <c:v>24.822389916527658</c:v>
                </c:pt>
                <c:pt idx="53077">
                  <c:v>24.471745397160579</c:v>
                </c:pt>
                <c:pt idx="53078">
                  <c:v>25.944188596096026</c:v>
                </c:pt>
                <c:pt idx="53079">
                  <c:v>37.421334186403534</c:v>
                </c:pt>
                <c:pt idx="53080">
                  <c:v>29.905890158129097</c:v>
                </c:pt>
                <c:pt idx="53081">
                  <c:v>28.869837191589934</c:v>
                </c:pt>
                <c:pt idx="53082">
                  <c:v>41.482267829859396</c:v>
                </c:pt>
                <c:pt idx="53083">
                  <c:v>38.041493429954279</c:v>
                </c:pt>
                <c:pt idx="53084">
                  <c:v>43.692151141978641</c:v>
                </c:pt>
                <c:pt idx="53085">
                  <c:v>48.626836262212002</c:v>
                </c:pt>
                <c:pt idx="53086">
                  <c:v>24.395363199947006</c:v>
                </c:pt>
                <c:pt idx="53087">
                  <c:v>28.35762775931445</c:v>
                </c:pt>
                <c:pt idx="53088">
                  <c:v>25.104239243545841</c:v>
                </c:pt>
                <c:pt idx="53089">
                  <c:v>25.974478534568757</c:v>
                </c:pt>
                <c:pt idx="53090">
                  <c:v>14.829488019920824</c:v>
                </c:pt>
                <c:pt idx="53091">
                  <c:v>27.062744864525396</c:v>
                </c:pt>
                <c:pt idx="53092">
                  <c:v>33.91345668518349</c:v>
                </c:pt>
                <c:pt idx="53093">
                  <c:v>23.846883259526475</c:v>
                </c:pt>
                <c:pt idx="53094">
                  <c:v>32.089917467562842</c:v>
                </c:pt>
                <c:pt idx="53095">
                  <c:v>19.525324660845282</c:v>
                </c:pt>
                <c:pt idx="53096">
                  <c:v>29.122593964317968</c:v>
                </c:pt>
                <c:pt idx="53097">
                  <c:v>43.408412138352254</c:v>
                </c:pt>
                <c:pt idx="53098">
                  <c:v>42.080345805284793</c:v>
                </c:pt>
                <c:pt idx="53099">
                  <c:v>46.648799833601444</c:v>
                </c:pt>
                <c:pt idx="53100">
                  <c:v>17.236042708991526</c:v>
                </c:pt>
                <c:pt idx="53101">
                  <c:v>26.243044592072046</c:v>
                </c:pt>
                <c:pt idx="53102">
                  <c:v>31.507185869423079</c:v>
                </c:pt>
                <c:pt idx="53103">
                  <c:v>41.59915521360184</c:v>
                </c:pt>
                <c:pt idx="53104">
                  <c:v>49.585637969539064</c:v>
                </c:pt>
                <c:pt idx="53105">
                  <c:v>47.615971721335058</c:v>
                </c:pt>
                <c:pt idx="53106">
                  <c:v>33.023996780478683</c:v>
                </c:pt>
                <c:pt idx="53107">
                  <c:v>30.888581597747997</c:v>
                </c:pt>
                <c:pt idx="53108">
                  <c:v>23.173614245755175</c:v>
                </c:pt>
                <c:pt idx="53109">
                  <c:v>48.589957981665663</c:v>
                </c:pt>
                <c:pt idx="53110">
                  <c:v>27.373261303095518</c:v>
                </c:pt>
                <c:pt idx="53111">
                  <c:v>22.349598935676845</c:v>
                </c:pt>
                <c:pt idx="53112">
                  <c:v>26.889436232799483</c:v>
                </c:pt>
                <c:pt idx="53113">
                  <c:v>21.237041480393536</c:v>
                </c:pt>
                <c:pt idx="53114">
                  <c:v>28.71242101105252</c:v>
                </c:pt>
                <c:pt idx="53115">
                  <c:v>27.068930154025505</c:v>
                </c:pt>
                <c:pt idx="53116">
                  <c:v>33.390194334236639</c:v>
                </c:pt>
                <c:pt idx="53117">
                  <c:v>46.661819712445322</c:v>
                </c:pt>
                <c:pt idx="53118">
                  <c:v>29.581972127254119</c:v>
                </c:pt>
                <c:pt idx="53119">
                  <c:v>36.940317947546909</c:v>
                </c:pt>
                <c:pt idx="53120">
                  <c:v>25.324595720208475</c:v>
                </c:pt>
                <c:pt idx="53121">
                  <c:v>51.136090911667843</c:v>
                </c:pt>
                <c:pt idx="53122">
                  <c:v>26.061437195125752</c:v>
                </c:pt>
                <c:pt idx="53123">
                  <c:v>24.346090653719497</c:v>
                </c:pt>
                <c:pt idx="53124">
                  <c:v>39.601126888628606</c:v>
                </c:pt>
                <c:pt idx="53125">
                  <c:v>22.780573963829028</c:v>
                </c:pt>
                <c:pt idx="53126">
                  <c:v>26.516433388251166</c:v>
                </c:pt>
                <c:pt idx="53127">
                  <c:v>27.267676155807496</c:v>
                </c:pt>
                <c:pt idx="53128">
                  <c:v>28.696318653711245</c:v>
                </c:pt>
                <c:pt idx="53129">
                  <c:v>36.100683174353563</c:v>
                </c:pt>
                <c:pt idx="53130">
                  <c:v>27.062994567173359</c:v>
                </c:pt>
                <c:pt idx="53131">
                  <c:v>34.560173707143591</c:v>
                </c:pt>
                <c:pt idx="53132">
                  <c:v>23.120976222160561</c:v>
                </c:pt>
                <c:pt idx="53133">
                  <c:v>23.821937644839934</c:v>
                </c:pt>
                <c:pt idx="53134">
                  <c:v>25.190387381036679</c:v>
                </c:pt>
                <c:pt idx="53135">
                  <c:v>26.267294986771311</c:v>
                </c:pt>
                <c:pt idx="53136">
                  <c:v>21.709421599487854</c:v>
                </c:pt>
                <c:pt idx="53137">
                  <c:v>19.385483374387224</c:v>
                </c:pt>
                <c:pt idx="53138">
                  <c:v>29.246225879576858</c:v>
                </c:pt>
                <c:pt idx="53139">
                  <c:v>30.298888995591078</c:v>
                </c:pt>
                <c:pt idx="53140">
                  <c:v>54.430877470835313</c:v>
                </c:pt>
                <c:pt idx="53141">
                  <c:v>20.833304827346506</c:v>
                </c:pt>
                <c:pt idx="53142">
                  <c:v>28.219546141019467</c:v>
                </c:pt>
                <c:pt idx="53143">
                  <c:v>24.876580716798735</c:v>
                </c:pt>
                <c:pt idx="53144">
                  <c:v>26.134528651542293</c:v>
                </c:pt>
                <c:pt idx="53145">
                  <c:v>29.250525880051832</c:v>
                </c:pt>
                <c:pt idx="53146">
                  <c:v>28.179891474832839</c:v>
                </c:pt>
                <c:pt idx="53147">
                  <c:v>24.924295544251404</c:v>
                </c:pt>
                <c:pt idx="53148">
                  <c:v>26.73681967619725</c:v>
                </c:pt>
                <c:pt idx="53149">
                  <c:v>28.530642481174812</c:v>
                </c:pt>
                <c:pt idx="53150">
                  <c:v>21.365360760772397</c:v>
                </c:pt>
                <c:pt idx="53151">
                  <c:v>32.960873190940461</c:v>
                </c:pt>
                <c:pt idx="53152">
                  <c:v>23.860524273230915</c:v>
                </c:pt>
                <c:pt idx="53153">
                  <c:v>51.469974494006316</c:v>
                </c:pt>
                <c:pt idx="53154">
                  <c:v>50.868405995765286</c:v>
                </c:pt>
                <c:pt idx="53155">
                  <c:v>36.69800619568742</c:v>
                </c:pt>
                <c:pt idx="53156">
                  <c:v>26.584933056449895</c:v>
                </c:pt>
                <c:pt idx="53157">
                  <c:v>52.462037015003347</c:v>
                </c:pt>
                <c:pt idx="53158">
                  <c:v>28.156581017053782</c:v>
                </c:pt>
                <c:pt idx="53159">
                  <c:v>42.632304394356801</c:v>
                </c:pt>
                <c:pt idx="53160">
                  <c:v>25.899051036746087</c:v>
                </c:pt>
                <c:pt idx="53161">
                  <c:v>19.568273247759752</c:v>
                </c:pt>
                <c:pt idx="53162">
                  <c:v>21.282364567575129</c:v>
                </c:pt>
                <c:pt idx="53163">
                  <c:v>23.246224855062671</c:v>
                </c:pt>
                <c:pt idx="53164">
                  <c:v>26.573735687207289</c:v>
                </c:pt>
                <c:pt idx="53165">
                  <c:v>33.320256156766348</c:v>
                </c:pt>
                <c:pt idx="53166">
                  <c:v>44.715354353868655</c:v>
                </c:pt>
                <c:pt idx="53167">
                  <c:v>58.89647552891838</c:v>
                </c:pt>
                <c:pt idx="53168">
                  <c:v>33.642606717412207</c:v>
                </c:pt>
                <c:pt idx="53169">
                  <c:v>26.691792243387603</c:v>
                </c:pt>
                <c:pt idx="53170">
                  <c:v>36.508068106819813</c:v>
                </c:pt>
                <c:pt idx="53171">
                  <c:v>44.199388492398512</c:v>
                </c:pt>
                <c:pt idx="53172">
                  <c:v>34.115044694118339</c:v>
                </c:pt>
                <c:pt idx="53173">
                  <c:v>39.066655613631923</c:v>
                </c:pt>
                <c:pt idx="53174">
                  <c:v>24.062814713697122</c:v>
                </c:pt>
                <c:pt idx="53175">
                  <c:v>43.02680183046575</c:v>
                </c:pt>
                <c:pt idx="53176">
                  <c:v>28.988223162536805</c:v>
                </c:pt>
                <c:pt idx="53177">
                  <c:v>27.224879100062065</c:v>
                </c:pt>
                <c:pt idx="53178">
                  <c:v>34.274681156530853</c:v>
                </c:pt>
                <c:pt idx="53179">
                  <c:v>31.060106363863401</c:v>
                </c:pt>
                <c:pt idx="53180">
                  <c:v>35.223184267498716</c:v>
                </c:pt>
                <c:pt idx="53181">
                  <c:v>37.459991287284517</c:v>
                </c:pt>
                <c:pt idx="53182">
                  <c:v>20.604242040139791</c:v>
                </c:pt>
                <c:pt idx="53183">
                  <c:v>37.476764550486692</c:v>
                </c:pt>
                <c:pt idx="53184">
                  <c:v>47.80040201670802</c:v>
                </c:pt>
                <c:pt idx="53185">
                  <c:v>27.955100389056962</c:v>
                </c:pt>
                <c:pt idx="53186">
                  <c:v>30.698178058028414</c:v>
                </c:pt>
                <c:pt idx="53187">
                  <c:v>21.784866795632681</c:v>
                </c:pt>
                <c:pt idx="53188">
                  <c:v>33.018048224798143</c:v>
                </c:pt>
                <c:pt idx="53189">
                  <c:v>28.070385794096111</c:v>
                </c:pt>
                <c:pt idx="53190">
                  <c:v>30.214369121596562</c:v>
                </c:pt>
                <c:pt idx="53191">
                  <c:v>27.550134114009783</c:v>
                </c:pt>
                <c:pt idx="53192">
                  <c:v>24.65522395928717</c:v>
                </c:pt>
                <c:pt idx="53193">
                  <c:v>28.168520324829316</c:v>
                </c:pt>
                <c:pt idx="53194">
                  <c:v>24.311686144076837</c:v>
                </c:pt>
                <c:pt idx="53195">
                  <c:v>32.188241547111218</c:v>
                </c:pt>
                <c:pt idx="53196">
                  <c:v>25.736462549294</c:v>
                </c:pt>
                <c:pt idx="53197">
                  <c:v>26.147569808040849</c:v>
                </c:pt>
                <c:pt idx="53198">
                  <c:v>38.012130041000219</c:v>
                </c:pt>
                <c:pt idx="53199">
                  <c:v>51.794304600131795</c:v>
                </c:pt>
                <c:pt idx="53200">
                  <c:v>22.519081785490307</c:v>
                </c:pt>
                <c:pt idx="53201">
                  <c:v>29.181955796503637</c:v>
                </c:pt>
                <c:pt idx="53202">
                  <c:v>38.807086082818408</c:v>
                </c:pt>
                <c:pt idx="53203">
                  <c:v>29.427410013269792</c:v>
                </c:pt>
                <c:pt idx="53204">
                  <c:v>46.033364137892903</c:v>
                </c:pt>
                <c:pt idx="53205">
                  <c:v>27.289503892235796</c:v>
                </c:pt>
                <c:pt idx="53206">
                  <c:v>27.135945515678351</c:v>
                </c:pt>
                <c:pt idx="53207">
                  <c:v>32.315974703813346</c:v>
                </c:pt>
                <c:pt idx="53208">
                  <c:v>27.805445345662015</c:v>
                </c:pt>
                <c:pt idx="53209">
                  <c:v>47.090849968115336</c:v>
                </c:pt>
                <c:pt idx="53210">
                  <c:v>32.127894481818608</c:v>
                </c:pt>
                <c:pt idx="53211">
                  <c:v>22.414872875880373</c:v>
                </c:pt>
                <c:pt idx="53212">
                  <c:v>37.621952559155744</c:v>
                </c:pt>
                <c:pt idx="53213">
                  <c:v>24.814874076202248</c:v>
                </c:pt>
                <c:pt idx="53214">
                  <c:v>25.10230733979094</c:v>
                </c:pt>
                <c:pt idx="53215">
                  <c:v>57.54037128967321</c:v>
                </c:pt>
                <c:pt idx="53216">
                  <c:v>53.861973700696041</c:v>
                </c:pt>
                <c:pt idx="53217">
                  <c:v>34.966014643000513</c:v>
                </c:pt>
                <c:pt idx="53218">
                  <c:v>29.528262858902021</c:v>
                </c:pt>
                <c:pt idx="53219">
                  <c:v>19.988201474037041</c:v>
                </c:pt>
                <c:pt idx="53220">
                  <c:v>27.359149193537231</c:v>
                </c:pt>
                <c:pt idx="53221">
                  <c:v>22.064945590756196</c:v>
                </c:pt>
                <c:pt idx="53222">
                  <c:v>30.021686482641631</c:v>
                </c:pt>
                <c:pt idx="53223">
                  <c:v>23.456858823500614</c:v>
                </c:pt>
                <c:pt idx="53224">
                  <c:v>19.011391821024404</c:v>
                </c:pt>
                <c:pt idx="53225">
                  <c:v>25.514240588550265</c:v>
                </c:pt>
                <c:pt idx="53226">
                  <c:v>25.170596632977158</c:v>
                </c:pt>
                <c:pt idx="53227">
                  <c:v>26.840532341765133</c:v>
                </c:pt>
                <c:pt idx="53228">
                  <c:v>18.010632477785922</c:v>
                </c:pt>
                <c:pt idx="53229">
                  <c:v>37.244513163406261</c:v>
                </c:pt>
                <c:pt idx="53230">
                  <c:v>47.993342141482941</c:v>
                </c:pt>
                <c:pt idx="53231">
                  <c:v>31.944208283171569</c:v>
                </c:pt>
                <c:pt idx="53232">
                  <c:v>23.102205051401754</c:v>
                </c:pt>
                <c:pt idx="53233">
                  <c:v>26.556274490374808</c:v>
                </c:pt>
                <c:pt idx="53234">
                  <c:v>25.880453560497589</c:v>
                </c:pt>
                <c:pt idx="53235">
                  <c:v>39.287491466563658</c:v>
                </c:pt>
                <c:pt idx="53236">
                  <c:v>27.915235122348257</c:v>
                </c:pt>
                <c:pt idx="53237">
                  <c:v>51.44725333661367</c:v>
                </c:pt>
                <c:pt idx="53238">
                  <c:v>23.900475677801133</c:v>
                </c:pt>
                <c:pt idx="53239">
                  <c:v>41.76766507971778</c:v>
                </c:pt>
                <c:pt idx="53240">
                  <c:v>39.336294376976433</c:v>
                </c:pt>
                <c:pt idx="53241">
                  <c:v>48.263895282861327</c:v>
                </c:pt>
                <c:pt idx="53242">
                  <c:v>23.926003089149468</c:v>
                </c:pt>
                <c:pt idx="53243">
                  <c:v>22.952265655278676</c:v>
                </c:pt>
                <c:pt idx="53244">
                  <c:v>51.94198057592844</c:v>
                </c:pt>
                <c:pt idx="53245">
                  <c:v>22.727418890079861</c:v>
                </c:pt>
                <c:pt idx="53246">
                  <c:v>28.295705345551383</c:v>
                </c:pt>
                <c:pt idx="53247">
                  <c:v>28.301374632862036</c:v>
                </c:pt>
                <c:pt idx="53248">
                  <c:v>40.378631241164392</c:v>
                </c:pt>
                <c:pt idx="53249">
                  <c:v>20.392152887408148</c:v>
                </c:pt>
                <c:pt idx="53250">
                  <c:v>26.773139047068675</c:v>
                </c:pt>
                <c:pt idx="53251">
                  <c:v>33.180148045296392</c:v>
                </c:pt>
                <c:pt idx="53252">
                  <c:v>45.070880177735681</c:v>
                </c:pt>
                <c:pt idx="53253">
                  <c:v>58.588940913627816</c:v>
                </c:pt>
                <c:pt idx="53254">
                  <c:v>27.399451885015722</c:v>
                </c:pt>
                <c:pt idx="53255">
                  <c:v>36.581329222814283</c:v>
                </c:pt>
                <c:pt idx="53256">
                  <c:v>45.618771743865828</c:v>
                </c:pt>
                <c:pt idx="53257">
                  <c:v>34.230702614263706</c:v>
                </c:pt>
                <c:pt idx="53258">
                  <c:v>25.756769354554383</c:v>
                </c:pt>
                <c:pt idx="53259">
                  <c:v>25.408002763270623</c:v>
                </c:pt>
                <c:pt idx="53260">
                  <c:v>33.008779794983148</c:v>
                </c:pt>
                <c:pt idx="53261">
                  <c:v>43.766660309978761</c:v>
                </c:pt>
                <c:pt idx="53262">
                  <c:v>20.022225567834212</c:v>
                </c:pt>
                <c:pt idx="53263">
                  <c:v>31.971767644820041</c:v>
                </c:pt>
                <c:pt idx="53264">
                  <c:v>43.753822147388334</c:v>
                </c:pt>
                <c:pt idx="53265">
                  <c:v>27.612217741541741</c:v>
                </c:pt>
                <c:pt idx="53266">
                  <c:v>44.820068117187766</c:v>
                </c:pt>
                <c:pt idx="53267">
                  <c:v>24.470804053754744</c:v>
                </c:pt>
                <c:pt idx="53268">
                  <c:v>26.310727704359717</c:v>
                </c:pt>
                <c:pt idx="53269">
                  <c:v>23.199698690953458</c:v>
                </c:pt>
                <c:pt idx="53270">
                  <c:v>21.335621873284218</c:v>
                </c:pt>
                <c:pt idx="53271">
                  <c:v>26.482313236752915</c:v>
                </c:pt>
                <c:pt idx="53272">
                  <c:v>25.38279465139734</c:v>
                </c:pt>
                <c:pt idx="53273">
                  <c:v>41.450870549833667</c:v>
                </c:pt>
                <c:pt idx="53274">
                  <c:v>47.486943732096982</c:v>
                </c:pt>
                <c:pt idx="53275">
                  <c:v>28.327537184270668</c:v>
                </c:pt>
                <c:pt idx="53276">
                  <c:v>29.842009839987739</c:v>
                </c:pt>
                <c:pt idx="53277">
                  <c:v>26.824430728854583</c:v>
                </c:pt>
                <c:pt idx="53278">
                  <c:v>28.509929283990175</c:v>
                </c:pt>
                <c:pt idx="53279">
                  <c:v>30.644332018047123</c:v>
                </c:pt>
                <c:pt idx="53280">
                  <c:v>24.206215571045988</c:v>
                </c:pt>
                <c:pt idx="53281">
                  <c:v>17.853724700678434</c:v>
                </c:pt>
                <c:pt idx="53282">
                  <c:v>30.749919971988625</c:v>
                </c:pt>
                <c:pt idx="53283">
                  <c:v>18.401013715860174</c:v>
                </c:pt>
                <c:pt idx="53284">
                  <c:v>26.101588947943785</c:v>
                </c:pt>
                <c:pt idx="53285">
                  <c:v>28.176985015184137</c:v>
                </c:pt>
                <c:pt idx="53286">
                  <c:v>17.842189417457661</c:v>
                </c:pt>
                <c:pt idx="53287">
                  <c:v>26.474634269330501</c:v>
                </c:pt>
                <c:pt idx="53288">
                  <c:v>26.06485414594697</c:v>
                </c:pt>
                <c:pt idx="53289">
                  <c:v>47.282015268731691</c:v>
                </c:pt>
                <c:pt idx="53290">
                  <c:v>28.894690150021802</c:v>
                </c:pt>
                <c:pt idx="53291">
                  <c:v>40.497258432582292</c:v>
                </c:pt>
                <c:pt idx="53292">
                  <c:v>21.964369571030911</c:v>
                </c:pt>
                <c:pt idx="53293">
                  <c:v>31.501929412821116</c:v>
                </c:pt>
                <c:pt idx="53294">
                  <c:v>29.226845936910607</c:v>
                </c:pt>
                <c:pt idx="53295">
                  <c:v>47.453757795933214</c:v>
                </c:pt>
                <c:pt idx="53296">
                  <c:v>27.392291827223954</c:v>
                </c:pt>
                <c:pt idx="53297">
                  <c:v>28.279396801765934</c:v>
                </c:pt>
                <c:pt idx="53298">
                  <c:v>24.585047307279488</c:v>
                </c:pt>
                <c:pt idx="53299">
                  <c:v>29.056964166136478</c:v>
                </c:pt>
                <c:pt idx="53300">
                  <c:v>28.194342753884751</c:v>
                </c:pt>
                <c:pt idx="53301">
                  <c:v>31.44412418210506</c:v>
                </c:pt>
                <c:pt idx="53302">
                  <c:v>23.45410347437657</c:v>
                </c:pt>
                <c:pt idx="53303">
                  <c:v>25.682120991075728</c:v>
                </c:pt>
                <c:pt idx="53304">
                  <c:v>35.176773237473867</c:v>
                </c:pt>
                <c:pt idx="53305">
                  <c:v>32.683423387993152</c:v>
                </c:pt>
                <c:pt idx="53306">
                  <c:v>50.799480270929365</c:v>
                </c:pt>
                <c:pt idx="53307">
                  <c:v>24.151086864526889</c:v>
                </c:pt>
                <c:pt idx="53308">
                  <c:v>21.291505813227449</c:v>
                </c:pt>
                <c:pt idx="53309">
                  <c:v>28.933373547948484</c:v>
                </c:pt>
                <c:pt idx="53310">
                  <c:v>29.069457108313841</c:v>
                </c:pt>
                <c:pt idx="53311">
                  <c:v>26.009041780306063</c:v>
                </c:pt>
                <c:pt idx="53312">
                  <c:v>29.286392049301973</c:v>
                </c:pt>
                <c:pt idx="53313">
                  <c:v>51.356291229952838</c:v>
                </c:pt>
                <c:pt idx="53314">
                  <c:v>23.555799743789962</c:v>
                </c:pt>
                <c:pt idx="53315">
                  <c:v>31.049006739148513</c:v>
                </c:pt>
                <c:pt idx="53316">
                  <c:v>28.059705359050035</c:v>
                </c:pt>
                <c:pt idx="53317">
                  <c:v>41.653775075602425</c:v>
                </c:pt>
                <c:pt idx="53318">
                  <c:v>40.911428872336693</c:v>
                </c:pt>
                <c:pt idx="53319">
                  <c:v>39.934177576122465</c:v>
                </c:pt>
                <c:pt idx="53320">
                  <c:v>42.983927118739324</c:v>
                </c:pt>
                <c:pt idx="53321">
                  <c:v>22.852930171152352</c:v>
                </c:pt>
                <c:pt idx="53322">
                  <c:v>29.759008312378207</c:v>
                </c:pt>
                <c:pt idx="53323">
                  <c:v>26.206002632121368</c:v>
                </c:pt>
                <c:pt idx="53324">
                  <c:v>26.945516015417354</c:v>
                </c:pt>
                <c:pt idx="53325">
                  <c:v>32.500170260876317</c:v>
                </c:pt>
                <c:pt idx="53326">
                  <c:v>21.906241940223609</c:v>
                </c:pt>
                <c:pt idx="53327">
                  <c:v>57.09510422049258</c:v>
                </c:pt>
                <c:pt idx="53328">
                  <c:v>28.009954130281507</c:v>
                </c:pt>
                <c:pt idx="53329">
                  <c:v>19.924765787169623</c:v>
                </c:pt>
                <c:pt idx="53330">
                  <c:v>21.815475023815431</c:v>
                </c:pt>
                <c:pt idx="53331">
                  <c:v>20.610857744266983</c:v>
                </c:pt>
                <c:pt idx="53332">
                  <c:v>24.303757657668314</c:v>
                </c:pt>
                <c:pt idx="53333">
                  <c:v>24.043598072885182</c:v>
                </c:pt>
                <c:pt idx="53334">
                  <c:v>30.307821445518311</c:v>
                </c:pt>
                <c:pt idx="53335">
                  <c:v>29.222588533983412</c:v>
                </c:pt>
                <c:pt idx="53336">
                  <c:v>44.164055372112841</c:v>
                </c:pt>
                <c:pt idx="53337">
                  <c:v>28.259882221095264</c:v>
                </c:pt>
                <c:pt idx="53338">
                  <c:v>22.974482291488528</c:v>
                </c:pt>
                <c:pt idx="53339">
                  <c:v>46.444584986635348</c:v>
                </c:pt>
                <c:pt idx="53340">
                  <c:v>28.60493603195285</c:v>
                </c:pt>
                <c:pt idx="53341">
                  <c:v>26.598578615575242</c:v>
                </c:pt>
                <c:pt idx="53342">
                  <c:v>20.473549473580569</c:v>
                </c:pt>
                <c:pt idx="53343">
                  <c:v>38.214458400595035</c:v>
                </c:pt>
                <c:pt idx="53344">
                  <c:v>47.174634687629776</c:v>
                </c:pt>
                <c:pt idx="53345">
                  <c:v>29.684438497485388</c:v>
                </c:pt>
                <c:pt idx="53346">
                  <c:v>47.137564494675573</c:v>
                </c:pt>
                <c:pt idx="53347">
                  <c:v>34.142683014448082</c:v>
                </c:pt>
                <c:pt idx="53348">
                  <c:v>26.414534712085842</c:v>
                </c:pt>
                <c:pt idx="53349">
                  <c:v>36.189220539717944</c:v>
                </c:pt>
                <c:pt idx="53350">
                  <c:v>48.834842363261572</c:v>
                </c:pt>
                <c:pt idx="53351">
                  <c:v>48.772017556494113</c:v>
                </c:pt>
                <c:pt idx="53352">
                  <c:v>25.948336803900833</c:v>
                </c:pt>
                <c:pt idx="53353">
                  <c:v>17.430233172892837</c:v>
                </c:pt>
                <c:pt idx="53354">
                  <c:v>19.623291869305458</c:v>
                </c:pt>
                <c:pt idx="53355">
                  <c:v>49.836387063552849</c:v>
                </c:pt>
                <c:pt idx="53356">
                  <c:v>25.660910086575491</c:v>
                </c:pt>
                <c:pt idx="53357">
                  <c:v>22.403064674462968</c:v>
                </c:pt>
                <c:pt idx="53358">
                  <c:v>45.890882710932672</c:v>
                </c:pt>
                <c:pt idx="53359">
                  <c:v>27.84983969092962</c:v>
                </c:pt>
                <c:pt idx="53360">
                  <c:v>27.999519663673894</c:v>
                </c:pt>
                <c:pt idx="53361">
                  <c:v>44.980600793293377</c:v>
                </c:pt>
                <c:pt idx="53362">
                  <c:v>31.444880427075343</c:v>
                </c:pt>
                <c:pt idx="53363">
                  <c:v>27.334879124171064</c:v>
                </c:pt>
                <c:pt idx="53364">
                  <c:v>28.198328548985263</c:v>
                </c:pt>
                <c:pt idx="53365">
                  <c:v>37.760130094684861</c:v>
                </c:pt>
                <c:pt idx="53366">
                  <c:v>28.743705626609703</c:v>
                </c:pt>
                <c:pt idx="53367">
                  <c:v>25.565960229506544</c:v>
                </c:pt>
                <c:pt idx="53368">
                  <c:v>22.647935450060025</c:v>
                </c:pt>
                <c:pt idx="53369">
                  <c:v>27.505821681609863</c:v>
                </c:pt>
                <c:pt idx="53370">
                  <c:v>29.394400482949024</c:v>
                </c:pt>
                <c:pt idx="53371">
                  <c:v>27.537527111089418</c:v>
                </c:pt>
                <c:pt idx="53372">
                  <c:v>42.705342267426872</c:v>
                </c:pt>
                <c:pt idx="53373">
                  <c:v>21.320144102524971</c:v>
                </c:pt>
                <c:pt idx="53374">
                  <c:v>23.708763670587096</c:v>
                </c:pt>
                <c:pt idx="53375">
                  <c:v>23.917114627674554</c:v>
                </c:pt>
                <c:pt idx="53376">
                  <c:v>32.921103774644202</c:v>
                </c:pt>
                <c:pt idx="53377">
                  <c:v>29.531990127859721</c:v>
                </c:pt>
                <c:pt idx="53378">
                  <c:v>42.674629463359032</c:v>
                </c:pt>
                <c:pt idx="53379">
                  <c:v>39.832517018347403</c:v>
                </c:pt>
                <c:pt idx="53380">
                  <c:v>22.613175817494056</c:v>
                </c:pt>
                <c:pt idx="53381">
                  <c:v>44.086207013072055</c:v>
                </c:pt>
                <c:pt idx="53382">
                  <c:v>32.241630320150676</c:v>
                </c:pt>
                <c:pt idx="53383">
                  <c:v>26.69941449870689</c:v>
                </c:pt>
                <c:pt idx="53384">
                  <c:v>30.648538010242312</c:v>
                </c:pt>
                <c:pt idx="53385">
                  <c:v>28.615750664357009</c:v>
                </c:pt>
                <c:pt idx="53386">
                  <c:v>39.026734361087478</c:v>
                </c:pt>
                <c:pt idx="53387">
                  <c:v>23.0280267473915</c:v>
                </c:pt>
                <c:pt idx="53388">
                  <c:v>33.219647339770482</c:v>
                </c:pt>
                <c:pt idx="53389">
                  <c:v>24.530430604226748</c:v>
                </c:pt>
                <c:pt idx="53390">
                  <c:v>18.39151496558905</c:v>
                </c:pt>
                <c:pt idx="53391">
                  <c:v>25.889477972693751</c:v>
                </c:pt>
                <c:pt idx="53392">
                  <c:v>41.832210269910206</c:v>
                </c:pt>
                <c:pt idx="53393">
                  <c:v>22.50262649968078</c:v>
                </c:pt>
                <c:pt idx="53394">
                  <c:v>17.547279634884774</c:v>
                </c:pt>
                <c:pt idx="53395">
                  <c:v>27.402460926996362</c:v>
                </c:pt>
                <c:pt idx="53396">
                  <c:v>29.245513691421667</c:v>
                </c:pt>
                <c:pt idx="53397">
                  <c:v>29.036357461516694</c:v>
                </c:pt>
                <c:pt idx="53398">
                  <c:v>25.197604600687086</c:v>
                </c:pt>
                <c:pt idx="53399">
                  <c:v>35.571836981018734</c:v>
                </c:pt>
                <c:pt idx="53400">
                  <c:v>29.845863533352237</c:v>
                </c:pt>
                <c:pt idx="53401">
                  <c:v>31.143169606113076</c:v>
                </c:pt>
                <c:pt idx="53402">
                  <c:v>34.738921037143065</c:v>
                </c:pt>
                <c:pt idx="53403">
                  <c:v>49.147241865360513</c:v>
                </c:pt>
                <c:pt idx="53404">
                  <c:v>28.737322474937869</c:v>
                </c:pt>
                <c:pt idx="53405">
                  <c:v>26.739191599859119</c:v>
                </c:pt>
                <c:pt idx="53406">
                  <c:v>32.094127597496716</c:v>
                </c:pt>
                <c:pt idx="53407">
                  <c:v>56.515361273117172</c:v>
                </c:pt>
                <c:pt idx="53408">
                  <c:v>44.746203263483267</c:v>
                </c:pt>
                <c:pt idx="53409">
                  <c:v>24.137079528356445</c:v>
                </c:pt>
                <c:pt idx="53410">
                  <c:v>24.892222934844604</c:v>
                </c:pt>
                <c:pt idx="53411">
                  <c:v>34.202583664670676</c:v>
                </c:pt>
                <c:pt idx="53412">
                  <c:v>21.480857312510651</c:v>
                </c:pt>
                <c:pt idx="53413">
                  <c:v>19.801678862716493</c:v>
                </c:pt>
                <c:pt idx="53414">
                  <c:v>35.795789213143372</c:v>
                </c:pt>
                <c:pt idx="53415">
                  <c:v>27.050352400477244</c:v>
                </c:pt>
                <c:pt idx="53416">
                  <c:v>45.112202842798979</c:v>
                </c:pt>
                <c:pt idx="53417">
                  <c:v>28.118086690935673</c:v>
                </c:pt>
                <c:pt idx="53418">
                  <c:v>27.673456372867268</c:v>
                </c:pt>
                <c:pt idx="53419">
                  <c:v>25.69225981606181</c:v>
                </c:pt>
                <c:pt idx="53420">
                  <c:v>31.88160409080292</c:v>
                </c:pt>
                <c:pt idx="53421">
                  <c:v>24.075510363130405</c:v>
                </c:pt>
                <c:pt idx="53422">
                  <c:v>31.579560835932231</c:v>
                </c:pt>
                <c:pt idx="53423">
                  <c:v>24.61724842473286</c:v>
                </c:pt>
                <c:pt idx="53424">
                  <c:v>25.70962950500283</c:v>
                </c:pt>
                <c:pt idx="53425">
                  <c:v>42.266695763803696</c:v>
                </c:pt>
                <c:pt idx="53426">
                  <c:v>25.866640618056312</c:v>
                </c:pt>
                <c:pt idx="53427">
                  <c:v>21.937917628035134</c:v>
                </c:pt>
                <c:pt idx="53428">
                  <c:v>26.850223028415979</c:v>
                </c:pt>
                <c:pt idx="53429">
                  <c:v>27.562181305585757</c:v>
                </c:pt>
                <c:pt idx="53430">
                  <c:v>32.788928580025839</c:v>
                </c:pt>
                <c:pt idx="53431">
                  <c:v>25.189483748495437</c:v>
                </c:pt>
                <c:pt idx="53432">
                  <c:v>25.519773127834817</c:v>
                </c:pt>
                <c:pt idx="53433">
                  <c:v>38.880466828207595</c:v>
                </c:pt>
                <c:pt idx="53434">
                  <c:v>28.432472169125731</c:v>
                </c:pt>
                <c:pt idx="53435">
                  <c:v>32.046082719436029</c:v>
                </c:pt>
                <c:pt idx="53436">
                  <c:v>27.744020638517075</c:v>
                </c:pt>
                <c:pt idx="53437">
                  <c:v>28.825916269202615</c:v>
                </c:pt>
                <c:pt idx="53438">
                  <c:v>49.457547904598783</c:v>
                </c:pt>
                <c:pt idx="53439">
                  <c:v>47.437164069392473</c:v>
                </c:pt>
                <c:pt idx="53440">
                  <c:v>44.297275841137953</c:v>
                </c:pt>
                <c:pt idx="53441">
                  <c:v>18.623576639362767</c:v>
                </c:pt>
                <c:pt idx="53442">
                  <c:v>50.139760019361283</c:v>
                </c:pt>
                <c:pt idx="53443">
                  <c:v>41.123038563306842</c:v>
                </c:pt>
                <c:pt idx="53444">
                  <c:v>23.738604285698695</c:v>
                </c:pt>
                <c:pt idx="53445">
                  <c:v>48.573056873399985</c:v>
                </c:pt>
                <c:pt idx="53446">
                  <c:v>59.999254642643514</c:v>
                </c:pt>
                <c:pt idx="53447">
                  <c:v>45.654867262970363</c:v>
                </c:pt>
                <c:pt idx="53448">
                  <c:v>17.398092024865154</c:v>
                </c:pt>
                <c:pt idx="53449">
                  <c:v>27.467642116019654</c:v>
                </c:pt>
                <c:pt idx="53450">
                  <c:v>26.545270065577231</c:v>
                </c:pt>
                <c:pt idx="53451">
                  <c:v>24.33693203174397</c:v>
                </c:pt>
                <c:pt idx="53452">
                  <c:v>45.385839061952574</c:v>
                </c:pt>
                <c:pt idx="53453">
                  <c:v>57.577706313167823</c:v>
                </c:pt>
                <c:pt idx="53454">
                  <c:v>22.317016323625101</c:v>
                </c:pt>
                <c:pt idx="53455">
                  <c:v>21.375915644505397</c:v>
                </c:pt>
                <c:pt idx="53456">
                  <c:v>30.310776560966264</c:v>
                </c:pt>
                <c:pt idx="53457">
                  <c:v>55.342945225424103</c:v>
                </c:pt>
                <c:pt idx="53458">
                  <c:v>25.216198480917004</c:v>
                </c:pt>
                <c:pt idx="53459">
                  <c:v>17.76913502158245</c:v>
                </c:pt>
                <c:pt idx="53460">
                  <c:v>30.706466242607178</c:v>
                </c:pt>
                <c:pt idx="53461">
                  <c:v>22.034642051073646</c:v>
                </c:pt>
                <c:pt idx="53462">
                  <c:v>47.389752952100302</c:v>
                </c:pt>
                <c:pt idx="53463">
                  <c:v>38.776852217025777</c:v>
                </c:pt>
                <c:pt idx="53464">
                  <c:v>26.592419750872288</c:v>
                </c:pt>
                <c:pt idx="53465">
                  <c:v>25.165408849190037</c:v>
                </c:pt>
                <c:pt idx="53466">
                  <c:v>28.327594866611967</c:v>
                </c:pt>
                <c:pt idx="53467">
                  <c:v>23.804264033363012</c:v>
                </c:pt>
                <c:pt idx="53468">
                  <c:v>41.708201791305967</c:v>
                </c:pt>
                <c:pt idx="53469">
                  <c:v>22.20888329002754</c:v>
                </c:pt>
                <c:pt idx="53470">
                  <c:v>39.1717550105515</c:v>
                </c:pt>
                <c:pt idx="53471">
                  <c:v>29.625385663493084</c:v>
                </c:pt>
                <c:pt idx="53472">
                  <c:v>28.197961728288455</c:v>
                </c:pt>
                <c:pt idx="53473">
                  <c:v>33.954674956486194</c:v>
                </c:pt>
                <c:pt idx="53474">
                  <c:v>47.179831248896022</c:v>
                </c:pt>
                <c:pt idx="53475">
                  <c:v>26.865819130048585</c:v>
                </c:pt>
                <c:pt idx="53476">
                  <c:v>32.817525550198283</c:v>
                </c:pt>
                <c:pt idx="53477">
                  <c:v>23.00569439854193</c:v>
                </c:pt>
                <c:pt idx="53478">
                  <c:v>37.327212112255197</c:v>
                </c:pt>
                <c:pt idx="53479">
                  <c:v>22.831871355109911</c:v>
                </c:pt>
                <c:pt idx="53480">
                  <c:v>26.363924583737255</c:v>
                </c:pt>
                <c:pt idx="53481">
                  <c:v>47.270137789814903</c:v>
                </c:pt>
                <c:pt idx="53482">
                  <c:v>22.576697123036347</c:v>
                </c:pt>
                <c:pt idx="53483">
                  <c:v>29.118218030157376</c:v>
                </c:pt>
                <c:pt idx="53484">
                  <c:v>31.285588838382324</c:v>
                </c:pt>
                <c:pt idx="53485">
                  <c:v>28.213963439861008</c:v>
                </c:pt>
                <c:pt idx="53486">
                  <c:v>31.689319974476817</c:v>
                </c:pt>
                <c:pt idx="53487">
                  <c:v>54.018564370156916</c:v>
                </c:pt>
                <c:pt idx="53488">
                  <c:v>21.556456442649758</c:v>
                </c:pt>
                <c:pt idx="53489">
                  <c:v>48.669417529741395</c:v>
                </c:pt>
                <c:pt idx="53490">
                  <c:v>31.429607803289585</c:v>
                </c:pt>
                <c:pt idx="53491">
                  <c:v>30.095524677681247</c:v>
                </c:pt>
                <c:pt idx="53492">
                  <c:v>24.893468748890985</c:v>
                </c:pt>
                <c:pt idx="53493">
                  <c:v>34.495437515463664</c:v>
                </c:pt>
                <c:pt idx="53494">
                  <c:v>24.59652198911051</c:v>
                </c:pt>
                <c:pt idx="53495">
                  <c:v>20.032472019655238</c:v>
                </c:pt>
                <c:pt idx="53496">
                  <c:v>23.542434007582116</c:v>
                </c:pt>
                <c:pt idx="53497">
                  <c:v>25.956951927750023</c:v>
                </c:pt>
                <c:pt idx="53498">
                  <c:v>43.457096200843871</c:v>
                </c:pt>
                <c:pt idx="53499">
                  <c:v>31.487588899473877</c:v>
                </c:pt>
                <c:pt idx="53500">
                  <c:v>45.128701849312023</c:v>
                </c:pt>
                <c:pt idx="53501">
                  <c:v>20.100017769425918</c:v>
                </c:pt>
                <c:pt idx="53502">
                  <c:v>29.577892521762525</c:v>
                </c:pt>
                <c:pt idx="53503">
                  <c:v>26.663484774991886</c:v>
                </c:pt>
                <c:pt idx="53504">
                  <c:v>23.978795423684268</c:v>
                </c:pt>
                <c:pt idx="53505">
                  <c:v>37.880610106004688</c:v>
                </c:pt>
                <c:pt idx="53506">
                  <c:v>32.097325946617381</c:v>
                </c:pt>
                <c:pt idx="53507">
                  <c:v>20.134127642478099</c:v>
                </c:pt>
                <c:pt idx="53508">
                  <c:v>16.83513811254333</c:v>
                </c:pt>
                <c:pt idx="53509">
                  <c:v>18.297023198576611</c:v>
                </c:pt>
                <c:pt idx="53510">
                  <c:v>39.594392335656423</c:v>
                </c:pt>
                <c:pt idx="53511">
                  <c:v>23.801021653571482</c:v>
                </c:pt>
                <c:pt idx="53512">
                  <c:v>49.307721428115713</c:v>
                </c:pt>
                <c:pt idx="53513">
                  <c:v>34.210906156096769</c:v>
                </c:pt>
                <c:pt idx="53514">
                  <c:v>23.900839771301385</c:v>
                </c:pt>
                <c:pt idx="53515">
                  <c:v>23.312025977283177</c:v>
                </c:pt>
                <c:pt idx="53516">
                  <c:v>24.839148549574688</c:v>
                </c:pt>
                <c:pt idx="53517">
                  <c:v>23.765934221276382</c:v>
                </c:pt>
                <c:pt idx="53518">
                  <c:v>21.611541490680484</c:v>
                </c:pt>
                <c:pt idx="53519">
                  <c:v>25.661361914546458</c:v>
                </c:pt>
                <c:pt idx="53520">
                  <c:v>21.745326198214158</c:v>
                </c:pt>
                <c:pt idx="53521">
                  <c:v>24.603215510381862</c:v>
                </c:pt>
                <c:pt idx="53522">
                  <c:v>22.842245731237291</c:v>
                </c:pt>
                <c:pt idx="53523">
                  <c:v>30.192407786759858</c:v>
                </c:pt>
                <c:pt idx="53524">
                  <c:v>27.041915885395525</c:v>
                </c:pt>
                <c:pt idx="53525">
                  <c:v>23.168992561109633</c:v>
                </c:pt>
                <c:pt idx="53526">
                  <c:v>24.478864334267577</c:v>
                </c:pt>
                <c:pt idx="53527">
                  <c:v>32.280902949665574</c:v>
                </c:pt>
                <c:pt idx="53528">
                  <c:v>24.88668039548088</c:v>
                </c:pt>
                <c:pt idx="53529">
                  <c:v>28.411344198371719</c:v>
                </c:pt>
                <c:pt idx="53530">
                  <c:v>36.686303548541694</c:v>
                </c:pt>
                <c:pt idx="53531">
                  <c:v>28.73341835512857</c:v>
                </c:pt>
                <c:pt idx="53532">
                  <c:v>40.476004374444102</c:v>
                </c:pt>
                <c:pt idx="53533">
                  <c:v>37.407390779038053</c:v>
                </c:pt>
                <c:pt idx="53534">
                  <c:v>27.257300062975297</c:v>
                </c:pt>
                <c:pt idx="53535">
                  <c:v>28.56373365897355</c:v>
                </c:pt>
                <c:pt idx="53536">
                  <c:v>21.708358314070956</c:v>
                </c:pt>
                <c:pt idx="53537">
                  <c:v>30.299463580482726</c:v>
                </c:pt>
                <c:pt idx="53538">
                  <c:v>38.191151934080878</c:v>
                </c:pt>
                <c:pt idx="53539">
                  <c:v>25.893528127369905</c:v>
                </c:pt>
                <c:pt idx="53540">
                  <c:v>22.232670542023126</c:v>
                </c:pt>
                <c:pt idx="53541">
                  <c:v>21.87048120463384</c:v>
                </c:pt>
                <c:pt idx="53542">
                  <c:v>23.872490683032296</c:v>
                </c:pt>
                <c:pt idx="53543">
                  <c:v>24.280399332290393</c:v>
                </c:pt>
                <c:pt idx="53544">
                  <c:v>23.026746188354966</c:v>
                </c:pt>
                <c:pt idx="53545">
                  <c:v>46.124795642498768</c:v>
                </c:pt>
                <c:pt idx="53546">
                  <c:v>22.949766176221608</c:v>
                </c:pt>
                <c:pt idx="53547">
                  <c:v>33.929851728613016</c:v>
                </c:pt>
                <c:pt idx="53548">
                  <c:v>24.945009013812097</c:v>
                </c:pt>
                <c:pt idx="53549">
                  <c:v>25.686288049430132</c:v>
                </c:pt>
                <c:pt idx="53550">
                  <c:v>40.872164847966538</c:v>
                </c:pt>
                <c:pt idx="53551">
                  <c:v>44.223068904816571</c:v>
                </c:pt>
                <c:pt idx="53552">
                  <c:v>41.018300917310484</c:v>
                </c:pt>
                <c:pt idx="53553">
                  <c:v>30.461547446431588</c:v>
                </c:pt>
                <c:pt idx="53554">
                  <c:v>26.621040282940104</c:v>
                </c:pt>
                <c:pt idx="53555">
                  <c:v>28.532664829044347</c:v>
                </c:pt>
                <c:pt idx="53556">
                  <c:v>17.691917498851964</c:v>
                </c:pt>
                <c:pt idx="53557">
                  <c:v>24.944514303965029</c:v>
                </c:pt>
                <c:pt idx="53558">
                  <c:v>34.683850024647796</c:v>
                </c:pt>
                <c:pt idx="53559">
                  <c:v>23.616798477321336</c:v>
                </c:pt>
                <c:pt idx="53560">
                  <c:v>29.722091861492078</c:v>
                </c:pt>
                <c:pt idx="53561">
                  <c:v>25.422309026751485</c:v>
                </c:pt>
                <c:pt idx="53562">
                  <c:v>16.484588378344334</c:v>
                </c:pt>
                <c:pt idx="53563">
                  <c:v>46.463684575246702</c:v>
                </c:pt>
                <c:pt idx="53564">
                  <c:v>36.208439461350224</c:v>
                </c:pt>
                <c:pt idx="53565">
                  <c:v>34.222307055692006</c:v>
                </c:pt>
                <c:pt idx="53566">
                  <c:v>22.466146285130002</c:v>
                </c:pt>
                <c:pt idx="53567">
                  <c:v>45.603240769689116</c:v>
                </c:pt>
                <c:pt idx="53568">
                  <c:v>24.26411737662032</c:v>
                </c:pt>
                <c:pt idx="53569">
                  <c:v>21.902311699418661</c:v>
                </c:pt>
                <c:pt idx="53570">
                  <c:v>21.714045026817445</c:v>
                </c:pt>
                <c:pt idx="53571">
                  <c:v>31.72273777716542</c:v>
                </c:pt>
                <c:pt idx="53572">
                  <c:v>21.418775423356962</c:v>
                </c:pt>
                <c:pt idx="53573">
                  <c:v>46.07255542030898</c:v>
                </c:pt>
                <c:pt idx="53574">
                  <c:v>23.258461915572408</c:v>
                </c:pt>
                <c:pt idx="53575">
                  <c:v>30.267559696891091</c:v>
                </c:pt>
                <c:pt idx="53576">
                  <c:v>28.014845982456258</c:v>
                </c:pt>
                <c:pt idx="53577">
                  <c:v>18.109659442597017</c:v>
                </c:pt>
                <c:pt idx="53578">
                  <c:v>38.35019690093398</c:v>
                </c:pt>
                <c:pt idx="53579">
                  <c:v>31.507150400177231</c:v>
                </c:pt>
                <c:pt idx="53580">
                  <c:v>20.697919450847248</c:v>
                </c:pt>
                <c:pt idx="53581">
                  <c:v>35.017267719770523</c:v>
                </c:pt>
                <c:pt idx="53582">
                  <c:v>29.299423512748024</c:v>
                </c:pt>
                <c:pt idx="53583">
                  <c:v>42.635787661867717</c:v>
                </c:pt>
                <c:pt idx="53584">
                  <c:v>24.912890905353009</c:v>
                </c:pt>
                <c:pt idx="53585">
                  <c:v>24.062344001618058</c:v>
                </c:pt>
                <c:pt idx="53586">
                  <c:v>21.833956888370153</c:v>
                </c:pt>
                <c:pt idx="53587">
                  <c:v>41.844410187388988</c:v>
                </c:pt>
                <c:pt idx="53588">
                  <c:v>29.282115678732819</c:v>
                </c:pt>
                <c:pt idx="53589">
                  <c:v>26.680727453646426</c:v>
                </c:pt>
                <c:pt idx="53590">
                  <c:v>24.874074610469066</c:v>
                </c:pt>
                <c:pt idx="53591">
                  <c:v>23.504980393776705</c:v>
                </c:pt>
                <c:pt idx="53592">
                  <c:v>27.629055513195514</c:v>
                </c:pt>
                <c:pt idx="53593">
                  <c:v>23.827237733830483</c:v>
                </c:pt>
                <c:pt idx="53594">
                  <c:v>21.723745229560045</c:v>
                </c:pt>
                <c:pt idx="53595">
                  <c:v>33.30443814488531</c:v>
                </c:pt>
                <c:pt idx="53596">
                  <c:v>36.067994407607621</c:v>
                </c:pt>
                <c:pt idx="53597">
                  <c:v>25.869995608212594</c:v>
                </c:pt>
                <c:pt idx="53598">
                  <c:v>25.979355306647683</c:v>
                </c:pt>
                <c:pt idx="53599">
                  <c:v>24.687223571787001</c:v>
                </c:pt>
                <c:pt idx="53600">
                  <c:v>34.314552826721439</c:v>
                </c:pt>
                <c:pt idx="53601">
                  <c:v>22.240927306279985</c:v>
                </c:pt>
                <c:pt idx="53602">
                  <c:v>27.691367957056976</c:v>
                </c:pt>
                <c:pt idx="53603">
                  <c:v>29.234172485396613</c:v>
                </c:pt>
                <c:pt idx="53604">
                  <c:v>26.142095923944783</c:v>
                </c:pt>
                <c:pt idx="53605">
                  <c:v>13.966307900958128</c:v>
                </c:pt>
                <c:pt idx="53606">
                  <c:v>48.591891039167642</c:v>
                </c:pt>
                <c:pt idx="53607">
                  <c:v>22.935993058762456</c:v>
                </c:pt>
                <c:pt idx="53608">
                  <c:v>31.058461517893772</c:v>
                </c:pt>
                <c:pt idx="53609">
                  <c:v>22.004285916643127</c:v>
                </c:pt>
                <c:pt idx="53610">
                  <c:v>29.128127253593771</c:v>
                </c:pt>
                <c:pt idx="53611">
                  <c:v>24.966680538095261</c:v>
                </c:pt>
                <c:pt idx="53612">
                  <c:v>42.305222566526915</c:v>
                </c:pt>
                <c:pt idx="53613">
                  <c:v>37.035496821315</c:v>
                </c:pt>
                <c:pt idx="53614">
                  <c:v>17.480541591509414</c:v>
                </c:pt>
                <c:pt idx="53615">
                  <c:v>31.760209810489268</c:v>
                </c:pt>
                <c:pt idx="53616">
                  <c:v>27.595893291442977</c:v>
                </c:pt>
                <c:pt idx="53617">
                  <c:v>33.682701724677401</c:v>
                </c:pt>
                <c:pt idx="53618">
                  <c:v>23.1034366204984</c:v>
                </c:pt>
                <c:pt idx="53619">
                  <c:v>23.584949231199538</c:v>
                </c:pt>
                <c:pt idx="53620">
                  <c:v>20.583692291406823</c:v>
                </c:pt>
                <c:pt idx="53621">
                  <c:v>21.874765187066942</c:v>
                </c:pt>
                <c:pt idx="53622">
                  <c:v>21.113481857261171</c:v>
                </c:pt>
                <c:pt idx="53623">
                  <c:v>29.147665096004065</c:v>
                </c:pt>
                <c:pt idx="53624">
                  <c:v>22.849998343235804</c:v>
                </c:pt>
                <c:pt idx="53625">
                  <c:v>37.256755961599161</c:v>
                </c:pt>
                <c:pt idx="53626">
                  <c:v>30.076055983829438</c:v>
                </c:pt>
                <c:pt idx="53627">
                  <c:v>37.093920393393368</c:v>
                </c:pt>
                <c:pt idx="53628">
                  <c:v>49.625919642389604</c:v>
                </c:pt>
                <c:pt idx="53629">
                  <c:v>32.170686370205054</c:v>
                </c:pt>
                <c:pt idx="53630">
                  <c:v>27.421483684385301</c:v>
                </c:pt>
                <c:pt idx="53631">
                  <c:v>36.956672366627828</c:v>
                </c:pt>
                <c:pt idx="53632">
                  <c:v>24.947352585693022</c:v>
                </c:pt>
                <c:pt idx="53633">
                  <c:v>46.402902921322557</c:v>
                </c:pt>
                <c:pt idx="53634">
                  <c:v>24.801003083002662</c:v>
                </c:pt>
                <c:pt idx="53635">
                  <c:v>41.741710137757103</c:v>
                </c:pt>
                <c:pt idx="53636">
                  <c:v>29.919678329007855</c:v>
                </c:pt>
                <c:pt idx="53637">
                  <c:v>45.477395870429753</c:v>
                </c:pt>
                <c:pt idx="53638">
                  <c:v>47.661680265925867</c:v>
                </c:pt>
                <c:pt idx="53639">
                  <c:v>29.075701356901792</c:v>
                </c:pt>
                <c:pt idx="53640">
                  <c:v>47.489801607974776</c:v>
                </c:pt>
                <c:pt idx="53641">
                  <c:v>28.905243077513219</c:v>
                </c:pt>
                <c:pt idx="53642">
                  <c:v>27.351487550904132</c:v>
                </c:pt>
                <c:pt idx="53643">
                  <c:v>28.531106913872474</c:v>
                </c:pt>
                <c:pt idx="53644">
                  <c:v>57.322420121649593</c:v>
                </c:pt>
                <c:pt idx="53645">
                  <c:v>23.412504383045995</c:v>
                </c:pt>
                <c:pt idx="53646">
                  <c:v>36.20092099892635</c:v>
                </c:pt>
                <c:pt idx="53647">
                  <c:v>27.648854758197537</c:v>
                </c:pt>
                <c:pt idx="53648">
                  <c:v>51.656238299590612</c:v>
                </c:pt>
                <c:pt idx="53649">
                  <c:v>26.048888387504601</c:v>
                </c:pt>
                <c:pt idx="53650">
                  <c:v>26.237564791861335</c:v>
                </c:pt>
                <c:pt idx="53651">
                  <c:v>22.307860251512658</c:v>
                </c:pt>
                <c:pt idx="53652">
                  <c:v>23.226788225409237</c:v>
                </c:pt>
                <c:pt idx="53653">
                  <c:v>37.563460153582639</c:v>
                </c:pt>
                <c:pt idx="53654">
                  <c:v>23.18034731254038</c:v>
                </c:pt>
                <c:pt idx="53655">
                  <c:v>23.882099391665797</c:v>
                </c:pt>
                <c:pt idx="53656">
                  <c:v>46.042699987987184</c:v>
                </c:pt>
                <c:pt idx="53657">
                  <c:v>23.198665316913235</c:v>
                </c:pt>
                <c:pt idx="53658">
                  <c:v>31.971866293273454</c:v>
                </c:pt>
                <c:pt idx="53659">
                  <c:v>48.423904337484473</c:v>
                </c:pt>
                <c:pt idx="53660">
                  <c:v>26.980615372274325</c:v>
                </c:pt>
                <c:pt idx="53661">
                  <c:v>39.882765009807116</c:v>
                </c:pt>
                <c:pt idx="53662">
                  <c:v>21.46570488448527</c:v>
                </c:pt>
                <c:pt idx="53663">
                  <c:v>32.242935713212567</c:v>
                </c:pt>
                <c:pt idx="53664">
                  <c:v>26.170870752896104</c:v>
                </c:pt>
                <c:pt idx="53665">
                  <c:v>56.851632748460126</c:v>
                </c:pt>
                <c:pt idx="53666">
                  <c:v>25.710355279758645</c:v>
                </c:pt>
                <c:pt idx="53667">
                  <c:v>27.631052919318712</c:v>
                </c:pt>
                <c:pt idx="53668">
                  <c:v>37.70607978527476</c:v>
                </c:pt>
                <c:pt idx="53669">
                  <c:v>32.262077183527822</c:v>
                </c:pt>
                <c:pt idx="53670">
                  <c:v>34.245117087375171</c:v>
                </c:pt>
                <c:pt idx="53671">
                  <c:v>30.388193667332271</c:v>
                </c:pt>
                <c:pt idx="53672">
                  <c:v>30.378078331820969</c:v>
                </c:pt>
                <c:pt idx="53673">
                  <c:v>18.417543964494865</c:v>
                </c:pt>
                <c:pt idx="53674">
                  <c:v>24.541567879168689</c:v>
                </c:pt>
                <c:pt idx="53675">
                  <c:v>16.958459310802386</c:v>
                </c:pt>
                <c:pt idx="53676">
                  <c:v>27.525040632839751</c:v>
                </c:pt>
                <c:pt idx="53677">
                  <c:v>21.855593986567104</c:v>
                </c:pt>
                <c:pt idx="53678">
                  <c:v>52.542277333946387</c:v>
                </c:pt>
                <c:pt idx="53679">
                  <c:v>28.081399800913474</c:v>
                </c:pt>
                <c:pt idx="53680">
                  <c:v>23.476636255439939</c:v>
                </c:pt>
                <c:pt idx="53681">
                  <c:v>22.353040560475442</c:v>
                </c:pt>
                <c:pt idx="53682">
                  <c:v>31.26324410478707</c:v>
                </c:pt>
                <c:pt idx="53683">
                  <c:v>46.777362773008193</c:v>
                </c:pt>
                <c:pt idx="53684">
                  <c:v>29.417909401878681</c:v>
                </c:pt>
                <c:pt idx="53685">
                  <c:v>31.366069177888537</c:v>
                </c:pt>
                <c:pt idx="53686">
                  <c:v>25.570102327522761</c:v>
                </c:pt>
                <c:pt idx="53687">
                  <c:v>20.029962861968098</c:v>
                </c:pt>
                <c:pt idx="53688">
                  <c:v>29.043185757745853</c:v>
                </c:pt>
                <c:pt idx="53689">
                  <c:v>27.052209988636843</c:v>
                </c:pt>
                <c:pt idx="53690">
                  <c:v>32.15609188359673</c:v>
                </c:pt>
                <c:pt idx="53691">
                  <c:v>25.291043382535126</c:v>
                </c:pt>
                <c:pt idx="53692">
                  <c:v>28.04280369869608</c:v>
                </c:pt>
                <c:pt idx="53693">
                  <c:v>50.546758812287436</c:v>
                </c:pt>
                <c:pt idx="53694">
                  <c:v>50.475144194416025</c:v>
                </c:pt>
                <c:pt idx="53695">
                  <c:v>15.161405059638264</c:v>
                </c:pt>
                <c:pt idx="53696">
                  <c:v>25.272813737125023</c:v>
                </c:pt>
                <c:pt idx="53697">
                  <c:v>33.446642673528444</c:v>
                </c:pt>
                <c:pt idx="53698">
                  <c:v>32.843875373653042</c:v>
                </c:pt>
                <c:pt idx="53699">
                  <c:v>26.596928973430277</c:v>
                </c:pt>
                <c:pt idx="53700">
                  <c:v>24.526153496343674</c:v>
                </c:pt>
                <c:pt idx="53701">
                  <c:v>25.935378645217362</c:v>
                </c:pt>
                <c:pt idx="53702">
                  <c:v>41.944764148265435</c:v>
                </c:pt>
                <c:pt idx="53703">
                  <c:v>38.074481622699309</c:v>
                </c:pt>
                <c:pt idx="53704">
                  <c:v>29.641093146217486</c:v>
                </c:pt>
                <c:pt idx="53705">
                  <c:v>28.746946554614567</c:v>
                </c:pt>
                <c:pt idx="53706">
                  <c:v>29.385803718073298</c:v>
                </c:pt>
                <c:pt idx="53707">
                  <c:v>37.225757220927591</c:v>
                </c:pt>
                <c:pt idx="53708">
                  <c:v>35.52751482891837</c:v>
                </c:pt>
                <c:pt idx="53709">
                  <c:v>25.743929960050139</c:v>
                </c:pt>
                <c:pt idx="53710">
                  <c:v>26.380141782015052</c:v>
                </c:pt>
                <c:pt idx="53711">
                  <c:v>27.197334250198409</c:v>
                </c:pt>
                <c:pt idx="53712">
                  <c:v>24.332002927963856</c:v>
                </c:pt>
                <c:pt idx="53713">
                  <c:v>19.107157537020232</c:v>
                </c:pt>
                <c:pt idx="53714">
                  <c:v>38.886532779565336</c:v>
                </c:pt>
                <c:pt idx="53715">
                  <c:v>37.304942448204478</c:v>
                </c:pt>
                <c:pt idx="53716">
                  <c:v>25.595776138043092</c:v>
                </c:pt>
                <c:pt idx="53717">
                  <c:v>50.637525619272807</c:v>
                </c:pt>
                <c:pt idx="53718">
                  <c:v>46.735330901258841</c:v>
                </c:pt>
                <c:pt idx="53719">
                  <c:v>41.630914952312246</c:v>
                </c:pt>
                <c:pt idx="53720">
                  <c:v>24.144621579904012</c:v>
                </c:pt>
                <c:pt idx="53721">
                  <c:v>35.931459035634113</c:v>
                </c:pt>
                <c:pt idx="53722">
                  <c:v>19.37978337141401</c:v>
                </c:pt>
                <c:pt idx="53723">
                  <c:v>30.942653415917199</c:v>
                </c:pt>
                <c:pt idx="53724">
                  <c:v>24.933081472059126</c:v>
                </c:pt>
                <c:pt idx="53725">
                  <c:v>41.842275336311872</c:v>
                </c:pt>
                <c:pt idx="53726">
                  <c:v>31.349746269736961</c:v>
                </c:pt>
                <c:pt idx="53727">
                  <c:v>29.314567996007909</c:v>
                </c:pt>
                <c:pt idx="53728">
                  <c:v>26.141410979107434</c:v>
                </c:pt>
                <c:pt idx="53729">
                  <c:v>33.329855171028285</c:v>
                </c:pt>
                <c:pt idx="53730">
                  <c:v>27.896660816209216</c:v>
                </c:pt>
                <c:pt idx="53731">
                  <c:v>25.516219673813321</c:v>
                </c:pt>
                <c:pt idx="53732">
                  <c:v>53.227335341399822</c:v>
                </c:pt>
                <c:pt idx="53733">
                  <c:v>33.424490439214537</c:v>
                </c:pt>
                <c:pt idx="53734">
                  <c:v>19.919308559603579</c:v>
                </c:pt>
                <c:pt idx="53735">
                  <c:v>26.790272068765439</c:v>
                </c:pt>
                <c:pt idx="53736">
                  <c:v>21.591314397477625</c:v>
                </c:pt>
                <c:pt idx="53737">
                  <c:v>22.602711840625197</c:v>
                </c:pt>
                <c:pt idx="53738">
                  <c:v>26.53177572180838</c:v>
                </c:pt>
                <c:pt idx="53739">
                  <c:v>27.908187374391463</c:v>
                </c:pt>
                <c:pt idx="53740">
                  <c:v>25.639023504972968</c:v>
                </c:pt>
                <c:pt idx="53741">
                  <c:v>44.555417380983613</c:v>
                </c:pt>
                <c:pt idx="53742">
                  <c:v>19.209195627211365</c:v>
                </c:pt>
                <c:pt idx="53743">
                  <c:v>42.759257073049127</c:v>
                </c:pt>
                <c:pt idx="53744">
                  <c:v>26.662665389810222</c:v>
                </c:pt>
                <c:pt idx="53745">
                  <c:v>48.059468709626074</c:v>
                </c:pt>
                <c:pt idx="53746">
                  <c:v>24.143514634230467</c:v>
                </c:pt>
                <c:pt idx="53747">
                  <c:v>37.090562571468148</c:v>
                </c:pt>
                <c:pt idx="53748">
                  <c:v>34.636309917902736</c:v>
                </c:pt>
                <c:pt idx="53749">
                  <c:v>34.557632277669846</c:v>
                </c:pt>
                <c:pt idx="53750">
                  <c:v>23.054872347293266</c:v>
                </c:pt>
                <c:pt idx="53751">
                  <c:v>24.147214308414082</c:v>
                </c:pt>
                <c:pt idx="53752">
                  <c:v>45.935533830213892</c:v>
                </c:pt>
                <c:pt idx="53753">
                  <c:v>24.002946896146774</c:v>
                </c:pt>
                <c:pt idx="53754">
                  <c:v>33.99332009960446</c:v>
                </c:pt>
                <c:pt idx="53755">
                  <c:v>35.324857970070056</c:v>
                </c:pt>
                <c:pt idx="53756">
                  <c:v>31.924323203551591</c:v>
                </c:pt>
                <c:pt idx="53757">
                  <c:v>30.634762656959527</c:v>
                </c:pt>
                <c:pt idx="53758">
                  <c:v>48.485055848736309</c:v>
                </c:pt>
                <c:pt idx="53759">
                  <c:v>21.160916121702822</c:v>
                </c:pt>
                <c:pt idx="53760">
                  <c:v>39.437210095254251</c:v>
                </c:pt>
                <c:pt idx="53761">
                  <c:v>24.008428070825481</c:v>
                </c:pt>
                <c:pt idx="53762">
                  <c:v>50.26698298319161</c:v>
                </c:pt>
                <c:pt idx="53763">
                  <c:v>26.239468112266351</c:v>
                </c:pt>
                <c:pt idx="53764">
                  <c:v>23.924440511642118</c:v>
                </c:pt>
                <c:pt idx="53765">
                  <c:v>47.197953521663045</c:v>
                </c:pt>
                <c:pt idx="53766">
                  <c:v>26.288132575958713</c:v>
                </c:pt>
                <c:pt idx="53767">
                  <c:v>26.259549688044984</c:v>
                </c:pt>
                <c:pt idx="53768">
                  <c:v>23.666634198869428</c:v>
                </c:pt>
                <c:pt idx="53769">
                  <c:v>28.56246827496182</c:v>
                </c:pt>
                <c:pt idx="53770">
                  <c:v>20.436720223331907</c:v>
                </c:pt>
                <c:pt idx="53771">
                  <c:v>34.811676067662056</c:v>
                </c:pt>
                <c:pt idx="53772">
                  <c:v>19.656435608610963</c:v>
                </c:pt>
                <c:pt idx="53773">
                  <c:v>60.68563072850538</c:v>
                </c:pt>
                <c:pt idx="53774">
                  <c:v>23.163260882263515</c:v>
                </c:pt>
                <c:pt idx="53775">
                  <c:v>26.514743431537905</c:v>
                </c:pt>
                <c:pt idx="53776">
                  <c:v>48.39315871512045</c:v>
                </c:pt>
                <c:pt idx="53777">
                  <c:v>29.795122607821387</c:v>
                </c:pt>
                <c:pt idx="53778">
                  <c:v>32.498298710038583</c:v>
                </c:pt>
                <c:pt idx="53779">
                  <c:v>33.321876042088718</c:v>
                </c:pt>
                <c:pt idx="53780">
                  <c:v>19.264981064725092</c:v>
                </c:pt>
                <c:pt idx="53781">
                  <c:v>43.109588273786329</c:v>
                </c:pt>
                <c:pt idx="53782">
                  <c:v>31.867139193401705</c:v>
                </c:pt>
                <c:pt idx="53783">
                  <c:v>25.425856238564982</c:v>
                </c:pt>
                <c:pt idx="53784">
                  <c:v>49.126890148808826</c:v>
                </c:pt>
                <c:pt idx="53785">
                  <c:v>31.821430321839287</c:v>
                </c:pt>
                <c:pt idx="53786">
                  <c:v>41.538193020304782</c:v>
                </c:pt>
                <c:pt idx="53787">
                  <c:v>34.816823542389628</c:v>
                </c:pt>
                <c:pt idx="53788">
                  <c:v>51.377785594923211</c:v>
                </c:pt>
                <c:pt idx="53789">
                  <c:v>27.814741788660541</c:v>
                </c:pt>
                <c:pt idx="53790">
                  <c:v>19.462591198393476</c:v>
                </c:pt>
                <c:pt idx="53791">
                  <c:v>31.126802142274961</c:v>
                </c:pt>
                <c:pt idx="53792">
                  <c:v>34.04035900437065</c:v>
                </c:pt>
                <c:pt idx="53793">
                  <c:v>24.600267038732241</c:v>
                </c:pt>
                <c:pt idx="53794">
                  <c:v>28.733231002177558</c:v>
                </c:pt>
                <c:pt idx="53795">
                  <c:v>20.491629387990375</c:v>
                </c:pt>
                <c:pt idx="53796">
                  <c:v>29.833780976563258</c:v>
                </c:pt>
                <c:pt idx="53797">
                  <c:v>49.345257211147889</c:v>
                </c:pt>
                <c:pt idx="53798">
                  <c:v>31.578333050582266</c:v>
                </c:pt>
                <c:pt idx="53799">
                  <c:v>23.100999473392392</c:v>
                </c:pt>
                <c:pt idx="53800">
                  <c:v>28.735635981905371</c:v>
                </c:pt>
                <c:pt idx="53801">
                  <c:v>23.31494602841623</c:v>
                </c:pt>
                <c:pt idx="53802">
                  <c:v>27.869282387464672</c:v>
                </c:pt>
                <c:pt idx="53803">
                  <c:v>26.407144861440681</c:v>
                </c:pt>
                <c:pt idx="53804">
                  <c:v>21.675345058851896</c:v>
                </c:pt>
                <c:pt idx="53805">
                  <c:v>21.495387812429691</c:v>
                </c:pt>
                <c:pt idx="53806">
                  <c:v>50.447344269942853</c:v>
                </c:pt>
                <c:pt idx="53807">
                  <c:v>30.482728938243053</c:v>
                </c:pt>
                <c:pt idx="53808">
                  <c:v>27.21770479615617</c:v>
                </c:pt>
                <c:pt idx="53809">
                  <c:v>22.226792295585909</c:v>
                </c:pt>
                <c:pt idx="53810">
                  <c:v>27.806929947289891</c:v>
                </c:pt>
                <c:pt idx="53811">
                  <c:v>26.787483774291918</c:v>
                </c:pt>
                <c:pt idx="53812">
                  <c:v>40.941539987295542</c:v>
                </c:pt>
                <c:pt idx="53813">
                  <c:v>27.750365529080067</c:v>
                </c:pt>
                <c:pt idx="53814">
                  <c:v>31.560556203653739</c:v>
                </c:pt>
                <c:pt idx="53815">
                  <c:v>28.839609665554274</c:v>
                </c:pt>
                <c:pt idx="53816">
                  <c:v>45.897924929092696</c:v>
                </c:pt>
                <c:pt idx="53817">
                  <c:v>39.308588665877807</c:v>
                </c:pt>
                <c:pt idx="53818">
                  <c:v>30.721506153885901</c:v>
                </c:pt>
                <c:pt idx="53819">
                  <c:v>26.353096917518755</c:v>
                </c:pt>
                <c:pt idx="53820">
                  <c:v>29.324738651449088</c:v>
                </c:pt>
                <c:pt idx="53821">
                  <c:v>47.682746528354912</c:v>
                </c:pt>
                <c:pt idx="53822">
                  <c:v>31.808631679385279</c:v>
                </c:pt>
                <c:pt idx="53823">
                  <c:v>18.048273581777792</c:v>
                </c:pt>
                <c:pt idx="53824">
                  <c:v>19.612643615436795</c:v>
                </c:pt>
                <c:pt idx="53825">
                  <c:v>46.039409165153373</c:v>
                </c:pt>
                <c:pt idx="53826">
                  <c:v>24.170853681616595</c:v>
                </c:pt>
                <c:pt idx="53827">
                  <c:v>28.70736309205752</c:v>
                </c:pt>
                <c:pt idx="53828">
                  <c:v>19.859873331708048</c:v>
                </c:pt>
                <c:pt idx="53829">
                  <c:v>40.692478751563044</c:v>
                </c:pt>
                <c:pt idx="53830">
                  <c:v>42.745072652483564</c:v>
                </c:pt>
                <c:pt idx="53831">
                  <c:v>41.062281706653607</c:v>
                </c:pt>
                <c:pt idx="53832">
                  <c:v>24.878757062842851</c:v>
                </c:pt>
                <c:pt idx="53833">
                  <c:v>22.481289572013097</c:v>
                </c:pt>
                <c:pt idx="53834">
                  <c:v>27.531108893041168</c:v>
                </c:pt>
                <c:pt idx="53835">
                  <c:v>29.773570035502246</c:v>
                </c:pt>
                <c:pt idx="53836">
                  <c:v>37.897595353509125</c:v>
                </c:pt>
                <c:pt idx="53837">
                  <c:v>27.954155278158076</c:v>
                </c:pt>
                <c:pt idx="53838">
                  <c:v>48.147954870767883</c:v>
                </c:pt>
                <c:pt idx="53839">
                  <c:v>32.05819116416216</c:v>
                </c:pt>
                <c:pt idx="53840">
                  <c:v>26.907731178290589</c:v>
                </c:pt>
                <c:pt idx="53841">
                  <c:v>32.081593657669359</c:v>
                </c:pt>
                <c:pt idx="53842">
                  <c:v>30.740598462485423</c:v>
                </c:pt>
                <c:pt idx="53843">
                  <c:v>28.91948769662385</c:v>
                </c:pt>
                <c:pt idx="53844">
                  <c:v>33.019609748244662</c:v>
                </c:pt>
                <c:pt idx="53845">
                  <c:v>25.733968775350448</c:v>
                </c:pt>
                <c:pt idx="53846">
                  <c:v>31.412720940166817</c:v>
                </c:pt>
                <c:pt idx="53847">
                  <c:v>52.563015140030849</c:v>
                </c:pt>
                <c:pt idx="53848">
                  <c:v>25.326211359118453</c:v>
                </c:pt>
                <c:pt idx="53849">
                  <c:v>27.434179169795541</c:v>
                </c:pt>
                <c:pt idx="53850">
                  <c:v>19.979709240782547</c:v>
                </c:pt>
                <c:pt idx="53851">
                  <c:v>45.694878510033675</c:v>
                </c:pt>
                <c:pt idx="53852">
                  <c:v>38.702092872225016</c:v>
                </c:pt>
                <c:pt idx="53853">
                  <c:v>27.44388670196123</c:v>
                </c:pt>
                <c:pt idx="53854">
                  <c:v>38.877804727279525</c:v>
                </c:pt>
                <c:pt idx="53855">
                  <c:v>42.130840788854989</c:v>
                </c:pt>
                <c:pt idx="53856">
                  <c:v>34.282180452993472</c:v>
                </c:pt>
                <c:pt idx="53857">
                  <c:v>28.028707585574693</c:v>
                </c:pt>
                <c:pt idx="53858">
                  <c:v>24.351814627353303</c:v>
                </c:pt>
                <c:pt idx="53859">
                  <c:v>18.746654384545764</c:v>
                </c:pt>
                <c:pt idx="53860">
                  <c:v>31.877595390165933</c:v>
                </c:pt>
                <c:pt idx="53861">
                  <c:v>26.224380807202415</c:v>
                </c:pt>
                <c:pt idx="53862">
                  <c:v>34.657923099836921</c:v>
                </c:pt>
                <c:pt idx="53863">
                  <c:v>27.402622279553196</c:v>
                </c:pt>
                <c:pt idx="53864">
                  <c:v>25.778167490643153</c:v>
                </c:pt>
                <c:pt idx="53865">
                  <c:v>27.749899545229912</c:v>
                </c:pt>
                <c:pt idx="53866">
                  <c:v>34.683139501209411</c:v>
                </c:pt>
                <c:pt idx="53867">
                  <c:v>26.284566603193362</c:v>
                </c:pt>
                <c:pt idx="53868">
                  <c:v>21.621366128310797</c:v>
                </c:pt>
                <c:pt idx="53869">
                  <c:v>18.607306351893573</c:v>
                </c:pt>
                <c:pt idx="53870">
                  <c:v>24.363845691062775</c:v>
                </c:pt>
                <c:pt idx="53871">
                  <c:v>41.1271183714234</c:v>
                </c:pt>
                <c:pt idx="53872">
                  <c:v>21.694206369433672</c:v>
                </c:pt>
                <c:pt idx="53873">
                  <c:v>37.889148957505334</c:v>
                </c:pt>
                <c:pt idx="53874">
                  <c:v>20.552034048795637</c:v>
                </c:pt>
                <c:pt idx="53875">
                  <c:v>26.936496914547639</c:v>
                </c:pt>
                <c:pt idx="53876">
                  <c:v>38.449988832903912</c:v>
                </c:pt>
                <c:pt idx="53877">
                  <c:v>29.045258901063882</c:v>
                </c:pt>
                <c:pt idx="53878">
                  <c:v>25.556383858040334</c:v>
                </c:pt>
                <c:pt idx="53879">
                  <c:v>22.46298442117266</c:v>
                </c:pt>
                <c:pt idx="53880">
                  <c:v>45.695988916122815</c:v>
                </c:pt>
                <c:pt idx="53881">
                  <c:v>39.558006532676188</c:v>
                </c:pt>
                <c:pt idx="53882">
                  <c:v>19.410505083576375</c:v>
                </c:pt>
                <c:pt idx="53883">
                  <c:v>56.480484235261727</c:v>
                </c:pt>
                <c:pt idx="53884">
                  <c:v>28.742818814133308</c:v>
                </c:pt>
                <c:pt idx="53885">
                  <c:v>27.74345443642698</c:v>
                </c:pt>
                <c:pt idx="53886">
                  <c:v>25.386657740390163</c:v>
                </c:pt>
                <c:pt idx="53887">
                  <c:v>31.481750908700683</c:v>
                </c:pt>
                <c:pt idx="53888">
                  <c:v>17.020810685051025</c:v>
                </c:pt>
                <c:pt idx="53889">
                  <c:v>25.571857995866957</c:v>
                </c:pt>
                <c:pt idx="53890">
                  <c:v>58.086286318484802</c:v>
                </c:pt>
                <c:pt idx="53891">
                  <c:v>19.793842961258523</c:v>
                </c:pt>
                <c:pt idx="53892">
                  <c:v>19.763833818887456</c:v>
                </c:pt>
                <c:pt idx="53893">
                  <c:v>25.24887879416039</c:v>
                </c:pt>
                <c:pt idx="53894">
                  <c:v>38.520343919243416</c:v>
                </c:pt>
                <c:pt idx="53895">
                  <c:v>24.865586870203121</c:v>
                </c:pt>
                <c:pt idx="53896">
                  <c:v>27.239205595131637</c:v>
                </c:pt>
                <c:pt idx="53897">
                  <c:v>32.984512870558632</c:v>
                </c:pt>
                <c:pt idx="53898">
                  <c:v>31.571911012655356</c:v>
                </c:pt>
                <c:pt idx="53899">
                  <c:v>22.762415381541679</c:v>
                </c:pt>
                <c:pt idx="53900">
                  <c:v>28.546890873245697</c:v>
                </c:pt>
                <c:pt idx="53901">
                  <c:v>25.911816939559323</c:v>
                </c:pt>
                <c:pt idx="53902">
                  <c:v>39.449681922523077</c:v>
                </c:pt>
                <c:pt idx="53903">
                  <c:v>28.763759647828735</c:v>
                </c:pt>
                <c:pt idx="53904">
                  <c:v>20.892573726353827</c:v>
                </c:pt>
                <c:pt idx="53905">
                  <c:v>33.774737560081057</c:v>
                </c:pt>
                <c:pt idx="53906">
                  <c:v>24.455405949105113</c:v>
                </c:pt>
                <c:pt idx="53907">
                  <c:v>31.466117116344954</c:v>
                </c:pt>
                <c:pt idx="53908">
                  <c:v>27.542258787806411</c:v>
                </c:pt>
                <c:pt idx="53909">
                  <c:v>29.902348607185072</c:v>
                </c:pt>
                <c:pt idx="53910">
                  <c:v>35.855575063433825</c:v>
                </c:pt>
                <c:pt idx="53911">
                  <c:v>47.753445126121008</c:v>
                </c:pt>
                <c:pt idx="53912">
                  <c:v>18.714849568989592</c:v>
                </c:pt>
                <c:pt idx="53913">
                  <c:v>23.32776709921324</c:v>
                </c:pt>
                <c:pt idx="53914">
                  <c:v>56.696984835804273</c:v>
                </c:pt>
                <c:pt idx="53915">
                  <c:v>20.677128261010527</c:v>
                </c:pt>
                <c:pt idx="53916">
                  <c:v>30.161345913598723</c:v>
                </c:pt>
                <c:pt idx="53917">
                  <c:v>49.425022936675049</c:v>
                </c:pt>
                <c:pt idx="53918">
                  <c:v>34.418790102813098</c:v>
                </c:pt>
                <c:pt idx="53919">
                  <c:v>27.190708540029771</c:v>
                </c:pt>
                <c:pt idx="53920">
                  <c:v>23.114165763964944</c:v>
                </c:pt>
                <c:pt idx="53921">
                  <c:v>32.973066999807479</c:v>
                </c:pt>
                <c:pt idx="53922">
                  <c:v>29.209489799917232</c:v>
                </c:pt>
                <c:pt idx="53923">
                  <c:v>31.041513666106496</c:v>
                </c:pt>
                <c:pt idx="53924">
                  <c:v>20.409434645077027</c:v>
                </c:pt>
                <c:pt idx="53925">
                  <c:v>26.176510205754621</c:v>
                </c:pt>
                <c:pt idx="53926">
                  <c:v>45.454616112422279</c:v>
                </c:pt>
                <c:pt idx="53927">
                  <c:v>36.364940749282383</c:v>
                </c:pt>
                <c:pt idx="53928">
                  <c:v>37.868363147632266</c:v>
                </c:pt>
                <c:pt idx="53929">
                  <c:v>28.433264698204205</c:v>
                </c:pt>
                <c:pt idx="53930">
                  <c:v>19.231802746148556</c:v>
                </c:pt>
                <c:pt idx="53931">
                  <c:v>19.021895363203814</c:v>
                </c:pt>
                <c:pt idx="53932">
                  <c:v>40.689668027210075</c:v>
                </c:pt>
                <c:pt idx="53933">
                  <c:v>18.887456067981894</c:v>
                </c:pt>
                <c:pt idx="53934">
                  <c:v>20.83649141126061</c:v>
                </c:pt>
                <c:pt idx="53935">
                  <c:v>34.190013960392321</c:v>
                </c:pt>
                <c:pt idx="53936">
                  <c:v>45.801090428581631</c:v>
                </c:pt>
                <c:pt idx="53937">
                  <c:v>28.528250705738355</c:v>
                </c:pt>
                <c:pt idx="53938">
                  <c:v>43.066111061509581</c:v>
                </c:pt>
                <c:pt idx="53939">
                  <c:v>25.71810677372482</c:v>
                </c:pt>
                <c:pt idx="53940">
                  <c:v>48.888675035398833</c:v>
                </c:pt>
                <c:pt idx="53941">
                  <c:v>22.5346863462382</c:v>
                </c:pt>
                <c:pt idx="53942">
                  <c:v>19.379365870189154</c:v>
                </c:pt>
                <c:pt idx="53943">
                  <c:v>30.336549300475447</c:v>
                </c:pt>
                <c:pt idx="53944">
                  <c:v>25.906361094197102</c:v>
                </c:pt>
                <c:pt idx="53945">
                  <c:v>29.132255850927478</c:v>
                </c:pt>
                <c:pt idx="53946">
                  <c:v>23.750101368096775</c:v>
                </c:pt>
                <c:pt idx="53947">
                  <c:v>16.256291912855069</c:v>
                </c:pt>
                <c:pt idx="53948">
                  <c:v>23.877536803475905</c:v>
                </c:pt>
                <c:pt idx="53949">
                  <c:v>36.76578915924555</c:v>
                </c:pt>
                <c:pt idx="53950">
                  <c:v>25.266936258344217</c:v>
                </c:pt>
                <c:pt idx="53951">
                  <c:v>21.521160195860837</c:v>
                </c:pt>
                <c:pt idx="53952">
                  <c:v>19.678439332601354</c:v>
                </c:pt>
                <c:pt idx="53953">
                  <c:v>19.875047884078988</c:v>
                </c:pt>
                <c:pt idx="53954">
                  <c:v>29.704111895826607</c:v>
                </c:pt>
                <c:pt idx="53955">
                  <c:v>22.441457554849787</c:v>
                </c:pt>
                <c:pt idx="53956">
                  <c:v>20.481764182710663</c:v>
                </c:pt>
                <c:pt idx="53957">
                  <c:v>32.869637085385435</c:v>
                </c:pt>
                <c:pt idx="53958">
                  <c:v>32.035012800439127</c:v>
                </c:pt>
                <c:pt idx="53959">
                  <c:v>26.34733849140175</c:v>
                </c:pt>
                <c:pt idx="53960">
                  <c:v>49.029562744830002</c:v>
                </c:pt>
                <c:pt idx="53961">
                  <c:v>46.187473715987593</c:v>
                </c:pt>
                <c:pt idx="53962">
                  <c:v>21.838089441217178</c:v>
                </c:pt>
                <c:pt idx="53963">
                  <c:v>24.478180099145405</c:v>
                </c:pt>
                <c:pt idx="53964">
                  <c:v>23.424045564322071</c:v>
                </c:pt>
                <c:pt idx="53965">
                  <c:v>34.65089441864562</c:v>
                </c:pt>
                <c:pt idx="53966">
                  <c:v>31.348786335228287</c:v>
                </c:pt>
                <c:pt idx="53967">
                  <c:v>20.057467709754217</c:v>
                </c:pt>
                <c:pt idx="53968">
                  <c:v>30.828706880539393</c:v>
                </c:pt>
                <c:pt idx="53969">
                  <c:v>68.269284154553432</c:v>
                </c:pt>
                <c:pt idx="53970">
                  <c:v>14.710805179882943</c:v>
                </c:pt>
                <c:pt idx="53971">
                  <c:v>22.901371195096019</c:v>
                </c:pt>
                <c:pt idx="53972">
                  <c:v>27.037842238344385</c:v>
                </c:pt>
                <c:pt idx="53973">
                  <c:v>28.512072404679831</c:v>
                </c:pt>
                <c:pt idx="53974">
                  <c:v>46.023160835018956</c:v>
                </c:pt>
                <c:pt idx="53975">
                  <c:v>28.454259864851828</c:v>
                </c:pt>
                <c:pt idx="53976">
                  <c:v>38.19316296639802</c:v>
                </c:pt>
                <c:pt idx="53977">
                  <c:v>26.973724192020722</c:v>
                </c:pt>
                <c:pt idx="53978">
                  <c:v>18.230298097609783</c:v>
                </c:pt>
                <c:pt idx="53979">
                  <c:v>18.026309947819012</c:v>
                </c:pt>
                <c:pt idx="53980">
                  <c:v>18.529788296697475</c:v>
                </c:pt>
                <c:pt idx="53981">
                  <c:v>22.035715062816383</c:v>
                </c:pt>
                <c:pt idx="53982">
                  <c:v>47.39563756888807</c:v>
                </c:pt>
                <c:pt idx="53983">
                  <c:v>47.348544522391968</c:v>
                </c:pt>
                <c:pt idx="53984">
                  <c:v>41.203465780856796</c:v>
                </c:pt>
                <c:pt idx="53985">
                  <c:v>27.571875645333471</c:v>
                </c:pt>
                <c:pt idx="53986">
                  <c:v>24.203364851160501</c:v>
                </c:pt>
                <c:pt idx="53987">
                  <c:v>44.685905627934709</c:v>
                </c:pt>
                <c:pt idx="53988">
                  <c:v>20.039529700523691</c:v>
                </c:pt>
                <c:pt idx="53989">
                  <c:v>25.18777705623636</c:v>
                </c:pt>
                <c:pt idx="53990">
                  <c:v>15.119902963087076</c:v>
                </c:pt>
                <c:pt idx="53991">
                  <c:v>20.486795516332531</c:v>
                </c:pt>
                <c:pt idx="53992">
                  <c:v>31.022298949541192</c:v>
                </c:pt>
                <c:pt idx="53993">
                  <c:v>25.50899842126217</c:v>
                </c:pt>
                <c:pt idx="53994">
                  <c:v>20.097514235161469</c:v>
                </c:pt>
                <c:pt idx="53995">
                  <c:v>41.283589019426955</c:v>
                </c:pt>
                <c:pt idx="53996">
                  <c:v>43.040732208209782</c:v>
                </c:pt>
                <c:pt idx="53997">
                  <c:v>53.41104488033352</c:v>
                </c:pt>
                <c:pt idx="53998">
                  <c:v>27.017193025834239</c:v>
                </c:pt>
                <c:pt idx="53999">
                  <c:v>33.575677881170542</c:v>
                </c:pt>
                <c:pt idx="54000">
                  <c:v>36.350011319314703</c:v>
                </c:pt>
                <c:pt idx="54001">
                  <c:v>24.99441302080912</c:v>
                </c:pt>
                <c:pt idx="54002">
                  <c:v>17.089142769495659</c:v>
                </c:pt>
                <c:pt idx="54003">
                  <c:v>32.891226053425171</c:v>
                </c:pt>
                <c:pt idx="54004">
                  <c:v>22.215625447729188</c:v>
                </c:pt>
                <c:pt idx="54005">
                  <c:v>30.480591388825093</c:v>
                </c:pt>
                <c:pt idx="54006">
                  <c:v>42.873989103478344</c:v>
                </c:pt>
                <c:pt idx="54007">
                  <c:v>24.261108188841838</c:v>
                </c:pt>
                <c:pt idx="54008">
                  <c:v>26.934379034622527</c:v>
                </c:pt>
                <c:pt idx="54009">
                  <c:v>20.209056020585997</c:v>
                </c:pt>
                <c:pt idx="54010">
                  <c:v>26.960508969673516</c:v>
                </c:pt>
                <c:pt idx="54011">
                  <c:v>28.714213705157253</c:v>
                </c:pt>
                <c:pt idx="54012">
                  <c:v>23.578396524482976</c:v>
                </c:pt>
                <c:pt idx="54013">
                  <c:v>29.21749258388606</c:v>
                </c:pt>
                <c:pt idx="54014">
                  <c:v>32.461509253375262</c:v>
                </c:pt>
                <c:pt idx="54015">
                  <c:v>27.518479347667959</c:v>
                </c:pt>
                <c:pt idx="54016">
                  <c:v>25.557530267528293</c:v>
                </c:pt>
                <c:pt idx="54017">
                  <c:v>29.860568777865602</c:v>
                </c:pt>
                <c:pt idx="54018">
                  <c:v>33.443202829359898</c:v>
                </c:pt>
                <c:pt idx="54019">
                  <c:v>28.370444301417859</c:v>
                </c:pt>
                <c:pt idx="54020">
                  <c:v>34.435645488579837</c:v>
                </c:pt>
                <c:pt idx="54021">
                  <c:v>25.582293943576637</c:v>
                </c:pt>
                <c:pt idx="54022">
                  <c:v>25.690573089382944</c:v>
                </c:pt>
                <c:pt idx="54023">
                  <c:v>28.812340290066654</c:v>
                </c:pt>
                <c:pt idx="54024">
                  <c:v>45.979502566328094</c:v>
                </c:pt>
                <c:pt idx="54025">
                  <c:v>29.571201118981364</c:v>
                </c:pt>
                <c:pt idx="54026">
                  <c:v>16.612311080421971</c:v>
                </c:pt>
                <c:pt idx="54027">
                  <c:v>39.541794972311607</c:v>
                </c:pt>
                <c:pt idx="54028">
                  <c:v>51.101942256318644</c:v>
                </c:pt>
                <c:pt idx="54029">
                  <c:v>25.368253587500945</c:v>
                </c:pt>
                <c:pt idx="54030">
                  <c:v>32.354869395523565</c:v>
                </c:pt>
                <c:pt idx="54031">
                  <c:v>32.705198738445311</c:v>
                </c:pt>
                <c:pt idx="54032">
                  <c:v>54.397780225652092</c:v>
                </c:pt>
                <c:pt idx="54033">
                  <c:v>21.934712983705573</c:v>
                </c:pt>
                <c:pt idx="54034">
                  <c:v>44.62804181318316</c:v>
                </c:pt>
                <c:pt idx="54035">
                  <c:v>36.448154124710314</c:v>
                </c:pt>
                <c:pt idx="54036">
                  <c:v>38.489198703028336</c:v>
                </c:pt>
                <c:pt idx="54037">
                  <c:v>36.121355504501508</c:v>
                </c:pt>
                <c:pt idx="54038">
                  <c:v>28.455261380304773</c:v>
                </c:pt>
                <c:pt idx="54039">
                  <c:v>19.960688132620866</c:v>
                </c:pt>
                <c:pt idx="54040">
                  <c:v>26.698605969922504</c:v>
                </c:pt>
                <c:pt idx="54041">
                  <c:v>28.276389202702671</c:v>
                </c:pt>
                <c:pt idx="54042">
                  <c:v>29.022267425906737</c:v>
                </c:pt>
                <c:pt idx="54043">
                  <c:v>46.664191478634251</c:v>
                </c:pt>
                <c:pt idx="54044">
                  <c:v>25.135197360362149</c:v>
                </c:pt>
                <c:pt idx="54045">
                  <c:v>20.884130466414106</c:v>
                </c:pt>
                <c:pt idx="54046">
                  <c:v>39.988749411427712</c:v>
                </c:pt>
                <c:pt idx="54047">
                  <c:v>34.951275978288095</c:v>
                </c:pt>
                <c:pt idx="54048">
                  <c:v>32.860897535578751</c:v>
                </c:pt>
                <c:pt idx="54049">
                  <c:v>53.938142161273035</c:v>
                </c:pt>
                <c:pt idx="54050">
                  <c:v>32.697898089629597</c:v>
                </c:pt>
                <c:pt idx="54051">
                  <c:v>31.591457959171656</c:v>
                </c:pt>
                <c:pt idx="54052">
                  <c:v>25.867864557512856</c:v>
                </c:pt>
                <c:pt idx="54053">
                  <c:v>45.867269714386872</c:v>
                </c:pt>
                <c:pt idx="54054">
                  <c:v>19.745680156501749</c:v>
                </c:pt>
                <c:pt idx="54055">
                  <c:v>31.817271842997926</c:v>
                </c:pt>
                <c:pt idx="54056">
                  <c:v>22.083144688037741</c:v>
                </c:pt>
                <c:pt idx="54057">
                  <c:v>36.120598053840091</c:v>
                </c:pt>
                <c:pt idx="54058">
                  <c:v>28.900718650245551</c:v>
                </c:pt>
                <c:pt idx="54059">
                  <c:v>59.000612545792251</c:v>
                </c:pt>
                <c:pt idx="54060">
                  <c:v>41.507340960587541</c:v>
                </c:pt>
                <c:pt idx="54061">
                  <c:v>28.963180595336365</c:v>
                </c:pt>
                <c:pt idx="54062">
                  <c:v>36.418394773521193</c:v>
                </c:pt>
                <c:pt idx="54063">
                  <c:v>22.385147134032824</c:v>
                </c:pt>
                <c:pt idx="54064">
                  <c:v>41.982583892645309</c:v>
                </c:pt>
                <c:pt idx="54065">
                  <c:v>26.712800100279701</c:v>
                </c:pt>
                <c:pt idx="54066">
                  <c:v>22.115748638417564</c:v>
                </c:pt>
                <c:pt idx="54067">
                  <c:v>22.198328301659139</c:v>
                </c:pt>
                <c:pt idx="54068">
                  <c:v>41.950024218363566</c:v>
                </c:pt>
                <c:pt idx="54069">
                  <c:v>24.577129675217083</c:v>
                </c:pt>
                <c:pt idx="54070">
                  <c:v>26.827775080861862</c:v>
                </c:pt>
                <c:pt idx="54071">
                  <c:v>26.138030882792524</c:v>
                </c:pt>
                <c:pt idx="54072">
                  <c:v>44.958065023196852</c:v>
                </c:pt>
                <c:pt idx="54073">
                  <c:v>29.259626459811507</c:v>
                </c:pt>
                <c:pt idx="54074">
                  <c:v>18.883268155940875</c:v>
                </c:pt>
                <c:pt idx="54075">
                  <c:v>27.760010775979385</c:v>
                </c:pt>
                <c:pt idx="54076">
                  <c:v>23.361572245792754</c:v>
                </c:pt>
                <c:pt idx="54077">
                  <c:v>25.919365348358632</c:v>
                </c:pt>
                <c:pt idx="54078">
                  <c:v>34.80346264482499</c:v>
                </c:pt>
                <c:pt idx="54079">
                  <c:v>19.450129697169654</c:v>
                </c:pt>
                <c:pt idx="54080">
                  <c:v>19.132974719939657</c:v>
                </c:pt>
                <c:pt idx="54081">
                  <c:v>31.929931070254053</c:v>
                </c:pt>
                <c:pt idx="54082">
                  <c:v>45.127540732464965</c:v>
                </c:pt>
                <c:pt idx="54083">
                  <c:v>20.50503537453185</c:v>
                </c:pt>
                <c:pt idx="54084">
                  <c:v>19.661287866339034</c:v>
                </c:pt>
                <c:pt idx="54085">
                  <c:v>53.718512819873482</c:v>
                </c:pt>
                <c:pt idx="54086">
                  <c:v>17.174402611475664</c:v>
                </c:pt>
                <c:pt idx="54087">
                  <c:v>29.91349774404496</c:v>
                </c:pt>
                <c:pt idx="54088">
                  <c:v>21.648827252280881</c:v>
                </c:pt>
                <c:pt idx="54089">
                  <c:v>28.739107041467935</c:v>
                </c:pt>
                <c:pt idx="54090">
                  <c:v>25.074439914023436</c:v>
                </c:pt>
                <c:pt idx="54091">
                  <c:v>27.37798504907115</c:v>
                </c:pt>
                <c:pt idx="54092">
                  <c:v>25.373548314268501</c:v>
                </c:pt>
                <c:pt idx="54093">
                  <c:v>27.545577743959711</c:v>
                </c:pt>
                <c:pt idx="54094">
                  <c:v>33.60575894203069</c:v>
                </c:pt>
                <c:pt idx="54095">
                  <c:v>53.236495490669753</c:v>
                </c:pt>
                <c:pt idx="54096">
                  <c:v>19.534495896742506</c:v>
                </c:pt>
                <c:pt idx="54097">
                  <c:v>52.350064121783426</c:v>
                </c:pt>
                <c:pt idx="54098">
                  <c:v>20.6392122332946</c:v>
                </c:pt>
                <c:pt idx="54099">
                  <c:v>21.232856184569432</c:v>
                </c:pt>
                <c:pt idx="54100">
                  <c:v>30.641869614537661</c:v>
                </c:pt>
                <c:pt idx="54101">
                  <c:v>16.746629843190053</c:v>
                </c:pt>
                <c:pt idx="54102">
                  <c:v>29.574618209049316</c:v>
                </c:pt>
                <c:pt idx="54103">
                  <c:v>30.60939029914816</c:v>
                </c:pt>
                <c:pt idx="54104">
                  <c:v>18.846588046976173</c:v>
                </c:pt>
                <c:pt idx="54105">
                  <c:v>30.922062530943776</c:v>
                </c:pt>
                <c:pt idx="54106">
                  <c:v>31.958607483916516</c:v>
                </c:pt>
                <c:pt idx="54107">
                  <c:v>28.517964433669327</c:v>
                </c:pt>
                <c:pt idx="54108">
                  <c:v>44.71029348072674</c:v>
                </c:pt>
                <c:pt idx="54109">
                  <c:v>27.511346707851807</c:v>
                </c:pt>
                <c:pt idx="54110">
                  <c:v>28.199975978518282</c:v>
                </c:pt>
                <c:pt idx="54111">
                  <c:v>30.021797912460507</c:v>
                </c:pt>
                <c:pt idx="54112">
                  <c:v>19.789321000733057</c:v>
                </c:pt>
                <c:pt idx="54113">
                  <c:v>30.009371947809626</c:v>
                </c:pt>
                <c:pt idx="54114">
                  <c:v>45.35067143592449</c:v>
                </c:pt>
                <c:pt idx="54115">
                  <c:v>22.218844807793552</c:v>
                </c:pt>
                <c:pt idx="54116">
                  <c:v>25.364604086111385</c:v>
                </c:pt>
                <c:pt idx="54117">
                  <c:v>29.89633829345955</c:v>
                </c:pt>
                <c:pt idx="54118">
                  <c:v>29.877313845324025</c:v>
                </c:pt>
                <c:pt idx="54119">
                  <c:v>21.71520984065333</c:v>
                </c:pt>
                <c:pt idx="54120">
                  <c:v>28.824640272589981</c:v>
                </c:pt>
                <c:pt idx="54121">
                  <c:v>41.939353395169114</c:v>
                </c:pt>
                <c:pt idx="54122">
                  <c:v>30.128166326833249</c:v>
                </c:pt>
                <c:pt idx="54123">
                  <c:v>23.556629780128493</c:v>
                </c:pt>
                <c:pt idx="54124">
                  <c:v>38.733992696299666</c:v>
                </c:pt>
                <c:pt idx="54125">
                  <c:v>26.206816708084332</c:v>
                </c:pt>
                <c:pt idx="54126">
                  <c:v>29.641870423665878</c:v>
                </c:pt>
                <c:pt idx="54127">
                  <c:v>22.49235214107642</c:v>
                </c:pt>
                <c:pt idx="54128">
                  <c:v>49.228813845955401</c:v>
                </c:pt>
                <c:pt idx="54129">
                  <c:v>27.373703218824513</c:v>
                </c:pt>
                <c:pt idx="54130">
                  <c:v>48.124733760604066</c:v>
                </c:pt>
                <c:pt idx="54131">
                  <c:v>22.780915918438122</c:v>
                </c:pt>
                <c:pt idx="54132">
                  <c:v>29.390934453838515</c:v>
                </c:pt>
                <c:pt idx="54133">
                  <c:v>20.628453517757894</c:v>
                </c:pt>
                <c:pt idx="54134">
                  <c:v>22.597282471879168</c:v>
                </c:pt>
                <c:pt idx="54135">
                  <c:v>39.831521368009163</c:v>
                </c:pt>
                <c:pt idx="54136">
                  <c:v>41.962583825176566</c:v>
                </c:pt>
                <c:pt idx="54137">
                  <c:v>29.732272564943194</c:v>
                </c:pt>
                <c:pt idx="54138">
                  <c:v>31.250771893080106</c:v>
                </c:pt>
                <c:pt idx="54139">
                  <c:v>30.639517771988444</c:v>
                </c:pt>
                <c:pt idx="54140">
                  <c:v>39.443721557452314</c:v>
                </c:pt>
                <c:pt idx="54141">
                  <c:v>21.296336340463746</c:v>
                </c:pt>
                <c:pt idx="54142">
                  <c:v>20.667315865194801</c:v>
                </c:pt>
                <c:pt idx="54143">
                  <c:v>20.369683192171056</c:v>
                </c:pt>
                <c:pt idx="54144">
                  <c:v>35.815967022422001</c:v>
                </c:pt>
                <c:pt idx="54145">
                  <c:v>27.988387983733951</c:v>
                </c:pt>
                <c:pt idx="54146">
                  <c:v>22.785781733535593</c:v>
                </c:pt>
                <c:pt idx="54147">
                  <c:v>45.423261810387579</c:v>
                </c:pt>
                <c:pt idx="54148">
                  <c:v>41.371707715301866</c:v>
                </c:pt>
                <c:pt idx="54149">
                  <c:v>25.355698272545915</c:v>
                </c:pt>
                <c:pt idx="54150">
                  <c:v>27.509565556126791</c:v>
                </c:pt>
                <c:pt idx="54151">
                  <c:v>24.566654185427826</c:v>
                </c:pt>
                <c:pt idx="54152">
                  <c:v>21.788069060092521</c:v>
                </c:pt>
                <c:pt idx="54153">
                  <c:v>46.526764326181819</c:v>
                </c:pt>
                <c:pt idx="54154">
                  <c:v>20.548392416969854</c:v>
                </c:pt>
                <c:pt idx="54155">
                  <c:v>28.884232343200402</c:v>
                </c:pt>
                <c:pt idx="54156">
                  <c:v>24.693870689580685</c:v>
                </c:pt>
                <c:pt idx="54157">
                  <c:v>26.063387225097891</c:v>
                </c:pt>
                <c:pt idx="54158">
                  <c:v>25.829183362292444</c:v>
                </c:pt>
                <c:pt idx="54159">
                  <c:v>24.217254278509103</c:v>
                </c:pt>
                <c:pt idx="54160">
                  <c:v>28.489730492338538</c:v>
                </c:pt>
                <c:pt idx="54161">
                  <c:v>25.547728690319833</c:v>
                </c:pt>
                <c:pt idx="54162">
                  <c:v>36.012208684342696</c:v>
                </c:pt>
                <c:pt idx="54163">
                  <c:v>38.39781809951451</c:v>
                </c:pt>
                <c:pt idx="54164">
                  <c:v>25.820628377973701</c:v>
                </c:pt>
                <c:pt idx="54165">
                  <c:v>27.926489500647484</c:v>
                </c:pt>
                <c:pt idx="54166">
                  <c:v>31.619461206697327</c:v>
                </c:pt>
                <c:pt idx="54167">
                  <c:v>30.433798622855427</c:v>
                </c:pt>
                <c:pt idx="54168">
                  <c:v>27.009665910311945</c:v>
                </c:pt>
                <c:pt idx="54169">
                  <c:v>30.49125837544598</c:v>
                </c:pt>
                <c:pt idx="54170">
                  <c:v>19.316764504126304</c:v>
                </c:pt>
                <c:pt idx="54171">
                  <c:v>14.812118034996246</c:v>
                </c:pt>
                <c:pt idx="54172">
                  <c:v>30.736243170291278</c:v>
                </c:pt>
                <c:pt idx="54173">
                  <c:v>45.921289168885316</c:v>
                </c:pt>
                <c:pt idx="54174">
                  <c:v>28.412049100228892</c:v>
                </c:pt>
                <c:pt idx="54175">
                  <c:v>49.088705827539286</c:v>
                </c:pt>
                <c:pt idx="54176">
                  <c:v>34.131822849957082</c:v>
                </c:pt>
                <c:pt idx="54177">
                  <c:v>28.536705725680946</c:v>
                </c:pt>
                <c:pt idx="54178">
                  <c:v>50.323923560417199</c:v>
                </c:pt>
                <c:pt idx="54179">
                  <c:v>41.186942600213648</c:v>
                </c:pt>
                <c:pt idx="54180">
                  <c:v>26.932930584809007</c:v>
                </c:pt>
                <c:pt idx="54181">
                  <c:v>38.375638792285457</c:v>
                </c:pt>
                <c:pt idx="54182">
                  <c:v>31.307126078155974</c:v>
                </c:pt>
                <c:pt idx="54183">
                  <c:v>25.160931001936628</c:v>
                </c:pt>
                <c:pt idx="54184">
                  <c:v>63.826843268299669</c:v>
                </c:pt>
                <c:pt idx="54185">
                  <c:v>25.520350074188478</c:v>
                </c:pt>
                <c:pt idx="54186">
                  <c:v>21.995417400435876</c:v>
                </c:pt>
                <c:pt idx="54187">
                  <c:v>23.75804448575526</c:v>
                </c:pt>
                <c:pt idx="54188">
                  <c:v>23.860921223835525</c:v>
                </c:pt>
                <c:pt idx="54189">
                  <c:v>45.194208483150874</c:v>
                </c:pt>
                <c:pt idx="54190">
                  <c:v>27.606169155357339</c:v>
                </c:pt>
                <c:pt idx="54191">
                  <c:v>51.380611211559049</c:v>
                </c:pt>
                <c:pt idx="54192">
                  <c:v>25.432935570745173</c:v>
                </c:pt>
                <c:pt idx="54193">
                  <c:v>21.310393586451653</c:v>
                </c:pt>
                <c:pt idx="54194">
                  <c:v>39.398283195023019</c:v>
                </c:pt>
                <c:pt idx="54195">
                  <c:v>30.489147529900912</c:v>
                </c:pt>
                <c:pt idx="54196">
                  <c:v>52.372917971276848</c:v>
                </c:pt>
                <c:pt idx="54197">
                  <c:v>41.904339418319161</c:v>
                </c:pt>
                <c:pt idx="54198">
                  <c:v>25.265421789738866</c:v>
                </c:pt>
                <c:pt idx="54199">
                  <c:v>26.026429452373847</c:v>
                </c:pt>
                <c:pt idx="54200">
                  <c:v>22.721295675534076</c:v>
                </c:pt>
                <c:pt idx="54201">
                  <c:v>45.614780595958003</c:v>
                </c:pt>
                <c:pt idx="54202">
                  <c:v>51.414796251192165</c:v>
                </c:pt>
                <c:pt idx="54203">
                  <c:v>53.035638639895396</c:v>
                </c:pt>
                <c:pt idx="54204">
                  <c:v>37.123706836971422</c:v>
                </c:pt>
                <c:pt idx="54205">
                  <c:v>29.481462519125113</c:v>
                </c:pt>
                <c:pt idx="54206">
                  <c:v>30.373653613035096</c:v>
                </c:pt>
                <c:pt idx="54207">
                  <c:v>28.004585226238628</c:v>
                </c:pt>
                <c:pt idx="54208">
                  <c:v>28.214551539122244</c:v>
                </c:pt>
                <c:pt idx="54209">
                  <c:v>25.631180916907411</c:v>
                </c:pt>
                <c:pt idx="54210">
                  <c:v>31.122767831991041</c:v>
                </c:pt>
                <c:pt idx="54211">
                  <c:v>31.835294803612157</c:v>
                </c:pt>
                <c:pt idx="54212">
                  <c:v>29.672830163324363</c:v>
                </c:pt>
                <c:pt idx="54213">
                  <c:v>26.418806123359694</c:v>
                </c:pt>
                <c:pt idx="54214">
                  <c:v>30.828399108999818</c:v>
                </c:pt>
                <c:pt idx="54215">
                  <c:v>33.60859130671107</c:v>
                </c:pt>
                <c:pt idx="54216">
                  <c:v>27.290159980937599</c:v>
                </c:pt>
                <c:pt idx="54217">
                  <c:v>32.209959990689811</c:v>
                </c:pt>
                <c:pt idx="54218">
                  <c:v>24.516757723533523</c:v>
                </c:pt>
                <c:pt idx="54219">
                  <c:v>32.538488594107392</c:v>
                </c:pt>
                <c:pt idx="54220">
                  <c:v>51.591630431749792</c:v>
                </c:pt>
                <c:pt idx="54221">
                  <c:v>28.936818432500843</c:v>
                </c:pt>
                <c:pt idx="54222">
                  <c:v>31.180505077542939</c:v>
                </c:pt>
                <c:pt idx="54223">
                  <c:v>42.273991617746738</c:v>
                </c:pt>
                <c:pt idx="54224">
                  <c:v>29.264321368149812</c:v>
                </c:pt>
                <c:pt idx="54225">
                  <c:v>15.772721269402256</c:v>
                </c:pt>
                <c:pt idx="54226">
                  <c:v>51.458156088605897</c:v>
                </c:pt>
                <c:pt idx="54227">
                  <c:v>29.69645896811112</c:v>
                </c:pt>
                <c:pt idx="54228">
                  <c:v>23.796492753424467</c:v>
                </c:pt>
                <c:pt idx="54229">
                  <c:v>29.137940984114458</c:v>
                </c:pt>
                <c:pt idx="54230">
                  <c:v>50.327679668385208</c:v>
                </c:pt>
                <c:pt idx="54231">
                  <c:v>26.274133929044197</c:v>
                </c:pt>
                <c:pt idx="54232">
                  <c:v>21.033317639393054</c:v>
                </c:pt>
                <c:pt idx="54233">
                  <c:v>48.193401658017557</c:v>
                </c:pt>
                <c:pt idx="54234">
                  <c:v>29.406955636538534</c:v>
                </c:pt>
                <c:pt idx="54235">
                  <c:v>60.833402212933571</c:v>
                </c:pt>
                <c:pt idx="54236">
                  <c:v>44.483030504268555</c:v>
                </c:pt>
                <c:pt idx="54237">
                  <c:v>29.903900801211641</c:v>
                </c:pt>
                <c:pt idx="54238">
                  <c:v>45.611967966465286</c:v>
                </c:pt>
                <c:pt idx="54239">
                  <c:v>40.473254953145869</c:v>
                </c:pt>
                <c:pt idx="54240">
                  <c:v>17.378595099230992</c:v>
                </c:pt>
                <c:pt idx="54241">
                  <c:v>26.326625641641087</c:v>
                </c:pt>
                <c:pt idx="54242">
                  <c:v>26.669368072219765</c:v>
                </c:pt>
                <c:pt idx="54243">
                  <c:v>51.736847436219222</c:v>
                </c:pt>
                <c:pt idx="54244">
                  <c:v>29.185931300841954</c:v>
                </c:pt>
                <c:pt idx="54245">
                  <c:v>27.570931651811875</c:v>
                </c:pt>
                <c:pt idx="54246">
                  <c:v>22.220446885915344</c:v>
                </c:pt>
                <c:pt idx="54247">
                  <c:v>22.455310231571961</c:v>
                </c:pt>
                <c:pt idx="54248">
                  <c:v>33.451180073187707</c:v>
                </c:pt>
                <c:pt idx="54249">
                  <c:v>26.934400429332662</c:v>
                </c:pt>
                <c:pt idx="54250">
                  <c:v>26.88623254242027</c:v>
                </c:pt>
                <c:pt idx="54251">
                  <c:v>26.301185265683237</c:v>
                </c:pt>
                <c:pt idx="54252">
                  <c:v>24.60640025969494</c:v>
                </c:pt>
                <c:pt idx="54253">
                  <c:v>25.385055510091732</c:v>
                </c:pt>
                <c:pt idx="54254">
                  <c:v>21.507179192799867</c:v>
                </c:pt>
                <c:pt idx="54255">
                  <c:v>31.232283779171311</c:v>
                </c:pt>
                <c:pt idx="54256">
                  <c:v>20.198378341149507</c:v>
                </c:pt>
                <c:pt idx="54257">
                  <c:v>48.235330521107144</c:v>
                </c:pt>
                <c:pt idx="54258">
                  <c:v>25.5759546886934</c:v>
                </c:pt>
                <c:pt idx="54259">
                  <c:v>25.138826133761434</c:v>
                </c:pt>
                <c:pt idx="54260">
                  <c:v>26.39435129367493</c:v>
                </c:pt>
                <c:pt idx="54261">
                  <c:v>53.371171077848459</c:v>
                </c:pt>
                <c:pt idx="54262">
                  <c:v>27.6459257574123</c:v>
                </c:pt>
                <c:pt idx="54263">
                  <c:v>17.504167570723293</c:v>
                </c:pt>
                <c:pt idx="54264">
                  <c:v>23.672128496786421</c:v>
                </c:pt>
                <c:pt idx="54265">
                  <c:v>36.883433122414388</c:v>
                </c:pt>
                <c:pt idx="54266">
                  <c:v>26.253787512267106</c:v>
                </c:pt>
                <c:pt idx="54267">
                  <c:v>45.404791334441413</c:v>
                </c:pt>
                <c:pt idx="54268">
                  <c:v>45.379142759023594</c:v>
                </c:pt>
                <c:pt idx="54269">
                  <c:v>22.37373785000387</c:v>
                </c:pt>
                <c:pt idx="54270">
                  <c:v>25.038135119534751</c:v>
                </c:pt>
                <c:pt idx="54271">
                  <c:v>40.038277331086022</c:v>
                </c:pt>
                <c:pt idx="54272">
                  <c:v>45.633014147782411</c:v>
                </c:pt>
                <c:pt idx="54273">
                  <c:v>23.236738953951615</c:v>
                </c:pt>
                <c:pt idx="54274">
                  <c:v>19.806343874901437</c:v>
                </c:pt>
                <c:pt idx="54275">
                  <c:v>41.686126232489826</c:v>
                </c:pt>
                <c:pt idx="54276">
                  <c:v>23.916633629057308</c:v>
                </c:pt>
                <c:pt idx="54277">
                  <c:v>22.615099906840857</c:v>
                </c:pt>
                <c:pt idx="54278">
                  <c:v>27.133657306633658</c:v>
                </c:pt>
                <c:pt idx="54279">
                  <c:v>17.999992942455975</c:v>
                </c:pt>
                <c:pt idx="54280">
                  <c:v>27.01351849771461</c:v>
                </c:pt>
                <c:pt idx="54281">
                  <c:v>54.199699560802891</c:v>
                </c:pt>
                <c:pt idx="54282">
                  <c:v>49.911098161494138</c:v>
                </c:pt>
                <c:pt idx="54283">
                  <c:v>21.224752109765209</c:v>
                </c:pt>
                <c:pt idx="54284">
                  <c:v>39.237569441123966</c:v>
                </c:pt>
                <c:pt idx="54285">
                  <c:v>23.176842650018397</c:v>
                </c:pt>
                <c:pt idx="54286">
                  <c:v>44.810016105659088</c:v>
                </c:pt>
                <c:pt idx="54287">
                  <c:v>25.683386920988397</c:v>
                </c:pt>
                <c:pt idx="54288">
                  <c:v>43.648345589879881</c:v>
                </c:pt>
                <c:pt idx="54289">
                  <c:v>32.283011806694638</c:v>
                </c:pt>
                <c:pt idx="54290">
                  <c:v>40.145078210070466</c:v>
                </c:pt>
                <c:pt idx="54291">
                  <c:v>29.102015713018442</c:v>
                </c:pt>
                <c:pt idx="54292">
                  <c:v>28.746156927491761</c:v>
                </c:pt>
                <c:pt idx="54293">
                  <c:v>23.753954175552444</c:v>
                </c:pt>
                <c:pt idx="54294">
                  <c:v>29.964170685870648</c:v>
                </c:pt>
                <c:pt idx="54295">
                  <c:v>26.798020345449878</c:v>
                </c:pt>
                <c:pt idx="54296">
                  <c:v>24.374578001468269</c:v>
                </c:pt>
                <c:pt idx="54297">
                  <c:v>28.522646588764001</c:v>
                </c:pt>
                <c:pt idx="54298">
                  <c:v>26.605023567403713</c:v>
                </c:pt>
                <c:pt idx="54299">
                  <c:v>29.658891619829102</c:v>
                </c:pt>
                <c:pt idx="54300">
                  <c:v>22.828339402120992</c:v>
                </c:pt>
                <c:pt idx="54301">
                  <c:v>34.963306410557038</c:v>
                </c:pt>
                <c:pt idx="54302">
                  <c:v>22.158694003683351</c:v>
                </c:pt>
                <c:pt idx="54303">
                  <c:v>35.214027390619819</c:v>
                </c:pt>
                <c:pt idx="54304">
                  <c:v>32.701759904531492</c:v>
                </c:pt>
                <c:pt idx="54305">
                  <c:v>18.2178602129976</c:v>
                </c:pt>
                <c:pt idx="54306">
                  <c:v>44.703909062570226</c:v>
                </c:pt>
                <c:pt idx="54307">
                  <c:v>38.69426867715206</c:v>
                </c:pt>
                <c:pt idx="54308">
                  <c:v>43.016652746654685</c:v>
                </c:pt>
                <c:pt idx="54309">
                  <c:v>26.362981586159023</c:v>
                </c:pt>
                <c:pt idx="54310">
                  <c:v>29.987091116915735</c:v>
                </c:pt>
                <c:pt idx="54311">
                  <c:v>37.318968178852145</c:v>
                </c:pt>
                <c:pt idx="54312">
                  <c:v>27.237777009589188</c:v>
                </c:pt>
                <c:pt idx="54313">
                  <c:v>32.553215406952098</c:v>
                </c:pt>
                <c:pt idx="54314">
                  <c:v>41.347436120343332</c:v>
                </c:pt>
                <c:pt idx="54315">
                  <c:v>20.763038835328018</c:v>
                </c:pt>
                <c:pt idx="54316">
                  <c:v>18.780617414012191</c:v>
                </c:pt>
                <c:pt idx="54317">
                  <c:v>20.55509609695077</c:v>
                </c:pt>
                <c:pt idx="54318">
                  <c:v>30.478873281555497</c:v>
                </c:pt>
                <c:pt idx="54319">
                  <c:v>23.88805282497098</c:v>
                </c:pt>
                <c:pt idx="54320">
                  <c:v>24.240880844072013</c:v>
                </c:pt>
                <c:pt idx="54321">
                  <c:v>26.586603561716153</c:v>
                </c:pt>
                <c:pt idx="54322">
                  <c:v>27.721121313570546</c:v>
                </c:pt>
                <c:pt idx="54323">
                  <c:v>35.116294961807185</c:v>
                </c:pt>
                <c:pt idx="54324">
                  <c:v>26.960029382259158</c:v>
                </c:pt>
                <c:pt idx="54325">
                  <c:v>29.207466180253171</c:v>
                </c:pt>
                <c:pt idx="54326">
                  <c:v>29.264176155747066</c:v>
                </c:pt>
                <c:pt idx="54327">
                  <c:v>27.280686128538548</c:v>
                </c:pt>
                <c:pt idx="54328">
                  <c:v>42.082185090034727</c:v>
                </c:pt>
                <c:pt idx="54329">
                  <c:v>29.948779260973073</c:v>
                </c:pt>
                <c:pt idx="54330">
                  <c:v>31.063014426755672</c:v>
                </c:pt>
                <c:pt idx="54331">
                  <c:v>41.000340910185628</c:v>
                </c:pt>
                <c:pt idx="54332">
                  <c:v>24.258421993472325</c:v>
                </c:pt>
                <c:pt idx="54333">
                  <c:v>47.553371317142208</c:v>
                </c:pt>
                <c:pt idx="54334">
                  <c:v>37.701318305636136</c:v>
                </c:pt>
                <c:pt idx="54335">
                  <c:v>34.114796187986308</c:v>
                </c:pt>
                <c:pt idx="54336">
                  <c:v>30.06777570472677</c:v>
                </c:pt>
                <c:pt idx="54337">
                  <c:v>49.115217164554174</c:v>
                </c:pt>
                <c:pt idx="54338">
                  <c:v>33.444609254666915</c:v>
                </c:pt>
                <c:pt idx="54339">
                  <c:v>32.75992323092207</c:v>
                </c:pt>
                <c:pt idx="54340">
                  <c:v>39.747306795409379</c:v>
                </c:pt>
                <c:pt idx="54341">
                  <c:v>39.064724973468337</c:v>
                </c:pt>
                <c:pt idx="54342">
                  <c:v>29.303741398909523</c:v>
                </c:pt>
                <c:pt idx="54343">
                  <c:v>32.810410784086713</c:v>
                </c:pt>
                <c:pt idx="54344">
                  <c:v>35.604560569911214</c:v>
                </c:pt>
                <c:pt idx="54345">
                  <c:v>29.693108372461488</c:v>
                </c:pt>
                <c:pt idx="54346">
                  <c:v>50.565007181853211</c:v>
                </c:pt>
                <c:pt idx="54347">
                  <c:v>24.245088494895231</c:v>
                </c:pt>
                <c:pt idx="54348">
                  <c:v>23.395535872782908</c:v>
                </c:pt>
                <c:pt idx="54349">
                  <c:v>20.727983111216602</c:v>
                </c:pt>
                <c:pt idx="54350">
                  <c:v>26.572159612459853</c:v>
                </c:pt>
                <c:pt idx="54351">
                  <c:v>18.968732376393955</c:v>
                </c:pt>
                <c:pt idx="54352">
                  <c:v>23.36305994029118</c:v>
                </c:pt>
                <c:pt idx="54353">
                  <c:v>61.643735332482777</c:v>
                </c:pt>
                <c:pt idx="54354">
                  <c:v>27.541553158969396</c:v>
                </c:pt>
                <c:pt idx="54355">
                  <c:v>21.852915841322837</c:v>
                </c:pt>
                <c:pt idx="54356">
                  <c:v>33.385509097973653</c:v>
                </c:pt>
                <c:pt idx="54357">
                  <c:v>26.00427039164391</c:v>
                </c:pt>
                <c:pt idx="54358">
                  <c:v>31.214244219083881</c:v>
                </c:pt>
                <c:pt idx="54359">
                  <c:v>42.442933148116872</c:v>
                </c:pt>
                <c:pt idx="54360">
                  <c:v>24.426155774639184</c:v>
                </c:pt>
                <c:pt idx="54361">
                  <c:v>20.583616317499487</c:v>
                </c:pt>
                <c:pt idx="54362">
                  <c:v>49.414931494011398</c:v>
                </c:pt>
                <c:pt idx="54363">
                  <c:v>48.417623413668814</c:v>
                </c:pt>
                <c:pt idx="54364">
                  <c:v>30.967043600396948</c:v>
                </c:pt>
                <c:pt idx="54365">
                  <c:v>28.619834932592394</c:v>
                </c:pt>
                <c:pt idx="54366">
                  <c:v>29.885655983814861</c:v>
                </c:pt>
                <c:pt idx="54367">
                  <c:v>34.776064025100794</c:v>
                </c:pt>
                <c:pt idx="54368">
                  <c:v>34.158896791651046</c:v>
                </c:pt>
                <c:pt idx="54369">
                  <c:v>31.611298297436143</c:v>
                </c:pt>
                <c:pt idx="54370">
                  <c:v>26.074784813127849</c:v>
                </c:pt>
                <c:pt idx="54371">
                  <c:v>47.673308583344678</c:v>
                </c:pt>
                <c:pt idx="54372">
                  <c:v>50.284437308043067</c:v>
                </c:pt>
                <c:pt idx="54373">
                  <c:v>16.258059107571111</c:v>
                </c:pt>
                <c:pt idx="54374">
                  <c:v>42.510490575268008</c:v>
                </c:pt>
                <c:pt idx="54375">
                  <c:v>51.830547689093898</c:v>
                </c:pt>
                <c:pt idx="54376">
                  <c:v>27.079525518580688</c:v>
                </c:pt>
                <c:pt idx="54377">
                  <c:v>35.61474081614729</c:v>
                </c:pt>
                <c:pt idx="54378">
                  <c:v>19.341938876619096</c:v>
                </c:pt>
                <c:pt idx="54379">
                  <c:v>29.272525004000236</c:v>
                </c:pt>
                <c:pt idx="54380">
                  <c:v>14.850464840893352</c:v>
                </c:pt>
                <c:pt idx="54381">
                  <c:v>26.719230111650635</c:v>
                </c:pt>
                <c:pt idx="54382">
                  <c:v>19.50691038849455</c:v>
                </c:pt>
                <c:pt idx="54383">
                  <c:v>23.091813856753877</c:v>
                </c:pt>
                <c:pt idx="54384">
                  <c:v>31.283980984647449</c:v>
                </c:pt>
                <c:pt idx="54385">
                  <c:v>44.408846206696126</c:v>
                </c:pt>
                <c:pt idx="54386">
                  <c:v>29.759326657835725</c:v>
                </c:pt>
                <c:pt idx="54387">
                  <c:v>23.229450907021015</c:v>
                </c:pt>
                <c:pt idx="54388">
                  <c:v>24.64058298181989</c:v>
                </c:pt>
                <c:pt idx="54389">
                  <c:v>45.089955798600741</c:v>
                </c:pt>
                <c:pt idx="54390">
                  <c:v>18.684812568134753</c:v>
                </c:pt>
                <c:pt idx="54391">
                  <c:v>20.960806625840657</c:v>
                </c:pt>
                <c:pt idx="54392">
                  <c:v>23.595664921672171</c:v>
                </c:pt>
                <c:pt idx="54393">
                  <c:v>44.264178715567674</c:v>
                </c:pt>
                <c:pt idx="54394">
                  <c:v>35.065804199729591</c:v>
                </c:pt>
                <c:pt idx="54395">
                  <c:v>26.266078224333199</c:v>
                </c:pt>
                <c:pt idx="54396">
                  <c:v>47.505572967656668</c:v>
                </c:pt>
                <c:pt idx="54397">
                  <c:v>22.519776711103873</c:v>
                </c:pt>
                <c:pt idx="54398">
                  <c:v>51.078438788464922</c:v>
                </c:pt>
                <c:pt idx="54399">
                  <c:v>55.212638991884717</c:v>
                </c:pt>
                <c:pt idx="54400">
                  <c:v>24.663670247290682</c:v>
                </c:pt>
                <c:pt idx="54401">
                  <c:v>32.305129296584624</c:v>
                </c:pt>
                <c:pt idx="54402">
                  <c:v>28.513004218053794</c:v>
                </c:pt>
                <c:pt idx="54403">
                  <c:v>27.113988731402543</c:v>
                </c:pt>
                <c:pt idx="54404">
                  <c:v>30.010440993004188</c:v>
                </c:pt>
                <c:pt idx="54405">
                  <c:v>23.939910632816044</c:v>
                </c:pt>
                <c:pt idx="54406">
                  <c:v>29.206044282493085</c:v>
                </c:pt>
                <c:pt idx="54407">
                  <c:v>22.460772181885304</c:v>
                </c:pt>
                <c:pt idx="54408">
                  <c:v>26.619527236563108</c:v>
                </c:pt>
                <c:pt idx="54409">
                  <c:v>29.857151060622265</c:v>
                </c:pt>
                <c:pt idx="54410">
                  <c:v>31.741314948372068</c:v>
                </c:pt>
                <c:pt idx="54411">
                  <c:v>25.466156425355265</c:v>
                </c:pt>
                <c:pt idx="54412">
                  <c:v>31.708220946905087</c:v>
                </c:pt>
                <c:pt idx="54413">
                  <c:v>21.549773659284639</c:v>
                </c:pt>
                <c:pt idx="54414">
                  <c:v>27.982322391786379</c:v>
                </c:pt>
                <c:pt idx="54415">
                  <c:v>40.490051647233869</c:v>
                </c:pt>
                <c:pt idx="54416">
                  <c:v>25.578057288243748</c:v>
                </c:pt>
                <c:pt idx="54417">
                  <c:v>39.682644005694499</c:v>
                </c:pt>
                <c:pt idx="54418">
                  <c:v>59.571013491388356</c:v>
                </c:pt>
                <c:pt idx="54419">
                  <c:v>24.343755479838819</c:v>
                </c:pt>
                <c:pt idx="54420">
                  <c:v>26.034501889625588</c:v>
                </c:pt>
                <c:pt idx="54421">
                  <c:v>26.803642768069444</c:v>
                </c:pt>
                <c:pt idx="54422">
                  <c:v>20.099794226115925</c:v>
                </c:pt>
                <c:pt idx="54423">
                  <c:v>23.267686461308713</c:v>
                </c:pt>
                <c:pt idx="54424">
                  <c:v>41.940464353123957</c:v>
                </c:pt>
                <c:pt idx="54425">
                  <c:v>22.132873153406244</c:v>
                </c:pt>
                <c:pt idx="54426">
                  <c:v>48.260252096907138</c:v>
                </c:pt>
                <c:pt idx="54427">
                  <c:v>49.270671379769581</c:v>
                </c:pt>
                <c:pt idx="54428">
                  <c:v>26.058338093871736</c:v>
                </c:pt>
                <c:pt idx="54429">
                  <c:v>25.11899885354299</c:v>
                </c:pt>
                <c:pt idx="54430">
                  <c:v>24.592522436316578</c:v>
                </c:pt>
                <c:pt idx="54431">
                  <c:v>22.254120734387346</c:v>
                </c:pt>
                <c:pt idx="54432">
                  <c:v>29.01071040841849</c:v>
                </c:pt>
                <c:pt idx="54433">
                  <c:v>24.122957281815737</c:v>
                </c:pt>
                <c:pt idx="54434">
                  <c:v>24.733756425687439</c:v>
                </c:pt>
                <c:pt idx="54435">
                  <c:v>27.265147484209692</c:v>
                </c:pt>
                <c:pt idx="54436">
                  <c:v>26.86911228302694</c:v>
                </c:pt>
                <c:pt idx="54437">
                  <c:v>21.968978075819411</c:v>
                </c:pt>
                <c:pt idx="54438">
                  <c:v>27.367050369189659</c:v>
                </c:pt>
                <c:pt idx="54439">
                  <c:v>24.751824686131609</c:v>
                </c:pt>
                <c:pt idx="54440">
                  <c:v>28.764300692599747</c:v>
                </c:pt>
                <c:pt idx="54441">
                  <c:v>42.463273321310432</c:v>
                </c:pt>
                <c:pt idx="54442">
                  <c:v>27.468126024729141</c:v>
                </c:pt>
                <c:pt idx="54443">
                  <c:v>39.645394840115529</c:v>
                </c:pt>
                <c:pt idx="54444">
                  <c:v>63.33524196001332</c:v>
                </c:pt>
                <c:pt idx="54445">
                  <c:v>50.823991898610565</c:v>
                </c:pt>
                <c:pt idx="54446">
                  <c:v>45.086798096314354</c:v>
                </c:pt>
                <c:pt idx="54447">
                  <c:v>44.904286988838372</c:v>
                </c:pt>
                <c:pt idx="54448">
                  <c:v>28.990368389165226</c:v>
                </c:pt>
                <c:pt idx="54449">
                  <c:v>53.825751723626112</c:v>
                </c:pt>
                <c:pt idx="54450">
                  <c:v>43.646635172323762</c:v>
                </c:pt>
                <c:pt idx="54451">
                  <c:v>52.932916975711038</c:v>
                </c:pt>
                <c:pt idx="54452">
                  <c:v>25.449515756727269</c:v>
                </c:pt>
                <c:pt idx="54453">
                  <c:v>23.360590920004828</c:v>
                </c:pt>
                <c:pt idx="54454">
                  <c:v>45.334154668399307</c:v>
                </c:pt>
                <c:pt idx="54455">
                  <c:v>21.81771654168292</c:v>
                </c:pt>
                <c:pt idx="54456">
                  <c:v>49.017299759933522</c:v>
                </c:pt>
                <c:pt idx="54457">
                  <c:v>44.204712510846853</c:v>
                </c:pt>
                <c:pt idx="54458">
                  <c:v>40.360575964583624</c:v>
                </c:pt>
                <c:pt idx="54459">
                  <c:v>25.762509767600612</c:v>
                </c:pt>
                <c:pt idx="54460">
                  <c:v>32.130102140381616</c:v>
                </c:pt>
                <c:pt idx="54461">
                  <c:v>22.739626969403496</c:v>
                </c:pt>
                <c:pt idx="54462">
                  <c:v>23.53400499295023</c:v>
                </c:pt>
                <c:pt idx="54463">
                  <c:v>25.610350808560373</c:v>
                </c:pt>
                <c:pt idx="54464">
                  <c:v>24.515553169362615</c:v>
                </c:pt>
                <c:pt idx="54465">
                  <c:v>39.828942833495873</c:v>
                </c:pt>
                <c:pt idx="54466">
                  <c:v>27.690421445956552</c:v>
                </c:pt>
                <c:pt idx="54467">
                  <c:v>27.050440531657831</c:v>
                </c:pt>
                <c:pt idx="54468">
                  <c:v>31.557247063711468</c:v>
                </c:pt>
                <c:pt idx="54469">
                  <c:v>28.073491581196535</c:v>
                </c:pt>
                <c:pt idx="54470">
                  <c:v>53.93537970374549</c:v>
                </c:pt>
                <c:pt idx="54471">
                  <c:v>16.153653363416531</c:v>
                </c:pt>
                <c:pt idx="54472">
                  <c:v>24.099016934335168</c:v>
                </c:pt>
                <c:pt idx="54473">
                  <c:v>23.231022140061302</c:v>
                </c:pt>
                <c:pt idx="54474">
                  <c:v>22.144283762614023</c:v>
                </c:pt>
                <c:pt idx="54475">
                  <c:v>29.644021255222913</c:v>
                </c:pt>
                <c:pt idx="54476">
                  <c:v>30.299691125393096</c:v>
                </c:pt>
                <c:pt idx="54477">
                  <c:v>30.20216580009907</c:v>
                </c:pt>
                <c:pt idx="54478">
                  <c:v>40.889577625780234</c:v>
                </c:pt>
                <c:pt idx="54479">
                  <c:v>24.808497014247788</c:v>
                </c:pt>
                <c:pt idx="54480">
                  <c:v>30.370033497187851</c:v>
                </c:pt>
                <c:pt idx="54481">
                  <c:v>25.549144943114559</c:v>
                </c:pt>
                <c:pt idx="54482">
                  <c:v>35.840692830882205</c:v>
                </c:pt>
                <c:pt idx="54483">
                  <c:v>26.584010073655119</c:v>
                </c:pt>
                <c:pt idx="54484">
                  <c:v>23.529693206129995</c:v>
                </c:pt>
                <c:pt idx="54485">
                  <c:v>42.303416105135945</c:v>
                </c:pt>
                <c:pt idx="54486">
                  <c:v>30.029791422725456</c:v>
                </c:pt>
                <c:pt idx="54487">
                  <c:v>25.480339955024778</c:v>
                </c:pt>
                <c:pt idx="54488">
                  <c:v>20.692324414461005</c:v>
                </c:pt>
                <c:pt idx="54489">
                  <c:v>29.197560593043228</c:v>
                </c:pt>
                <c:pt idx="54490">
                  <c:v>31.622233612711128</c:v>
                </c:pt>
                <c:pt idx="54491">
                  <c:v>32.402030157397618</c:v>
                </c:pt>
                <c:pt idx="54492">
                  <c:v>19.052917054495875</c:v>
                </c:pt>
                <c:pt idx="54493">
                  <c:v>35.209306343673553</c:v>
                </c:pt>
                <c:pt idx="54494">
                  <c:v>26.752843577963322</c:v>
                </c:pt>
                <c:pt idx="54495">
                  <c:v>30.676272330009699</c:v>
                </c:pt>
                <c:pt idx="54496">
                  <c:v>34.976632870689471</c:v>
                </c:pt>
                <c:pt idx="54497">
                  <c:v>50.896164760994978</c:v>
                </c:pt>
                <c:pt idx="54498">
                  <c:v>28.054482375570245</c:v>
                </c:pt>
                <c:pt idx="54499">
                  <c:v>34.026924862319191</c:v>
                </c:pt>
                <c:pt idx="54500">
                  <c:v>21.0350615624174</c:v>
                </c:pt>
                <c:pt idx="54501">
                  <c:v>30.373484412089763</c:v>
                </c:pt>
                <c:pt idx="54502">
                  <c:v>43.70463649664071</c:v>
                </c:pt>
                <c:pt idx="54503">
                  <c:v>36.445841170884499</c:v>
                </c:pt>
                <c:pt idx="54504">
                  <c:v>36.451664306169626</c:v>
                </c:pt>
                <c:pt idx="54505">
                  <c:v>27.182839291167241</c:v>
                </c:pt>
                <c:pt idx="54506">
                  <c:v>22.367407885860089</c:v>
                </c:pt>
                <c:pt idx="54507">
                  <c:v>50.877918796343693</c:v>
                </c:pt>
                <c:pt idx="54508">
                  <c:v>23.182176350477302</c:v>
                </c:pt>
                <c:pt idx="54509">
                  <c:v>24.253741236068453</c:v>
                </c:pt>
                <c:pt idx="54510">
                  <c:v>31.269456341667492</c:v>
                </c:pt>
                <c:pt idx="54511">
                  <c:v>18.79101098316589</c:v>
                </c:pt>
                <c:pt idx="54512">
                  <c:v>46.824259240708265</c:v>
                </c:pt>
                <c:pt idx="54513">
                  <c:v>26.025106001762747</c:v>
                </c:pt>
                <c:pt idx="54514">
                  <c:v>23.274930612396084</c:v>
                </c:pt>
                <c:pt idx="54515">
                  <c:v>46.543275608619822</c:v>
                </c:pt>
                <c:pt idx="54516">
                  <c:v>25.099626366604181</c:v>
                </c:pt>
                <c:pt idx="54517">
                  <c:v>35.066760531991264</c:v>
                </c:pt>
                <c:pt idx="54518">
                  <c:v>22.097787210067168</c:v>
                </c:pt>
                <c:pt idx="54519">
                  <c:v>27.672852344413059</c:v>
                </c:pt>
                <c:pt idx="54520">
                  <c:v>19.497775751145575</c:v>
                </c:pt>
                <c:pt idx="54521">
                  <c:v>19.612546479494469</c:v>
                </c:pt>
                <c:pt idx="54522">
                  <c:v>47.728673630551626</c:v>
                </c:pt>
                <c:pt idx="54523">
                  <c:v>34.519073640765178</c:v>
                </c:pt>
                <c:pt idx="54524">
                  <c:v>30.759378619584492</c:v>
                </c:pt>
                <c:pt idx="54525">
                  <c:v>39.414614133048971</c:v>
                </c:pt>
                <c:pt idx="54526">
                  <c:v>55.060605861620076</c:v>
                </c:pt>
                <c:pt idx="54527">
                  <c:v>28.702894038649532</c:v>
                </c:pt>
                <c:pt idx="54528">
                  <c:v>16.459216223843246</c:v>
                </c:pt>
                <c:pt idx="54529">
                  <c:v>28.842435997995722</c:v>
                </c:pt>
                <c:pt idx="54530">
                  <c:v>54.397136820606384</c:v>
                </c:pt>
                <c:pt idx="54531">
                  <c:v>40.421259186430838</c:v>
                </c:pt>
                <c:pt idx="54532">
                  <c:v>42.863082242364328</c:v>
                </c:pt>
                <c:pt idx="54533">
                  <c:v>56.199511875084184</c:v>
                </c:pt>
                <c:pt idx="54534">
                  <c:v>23.460361355317296</c:v>
                </c:pt>
                <c:pt idx="54535">
                  <c:v>45.847153998541685</c:v>
                </c:pt>
                <c:pt idx="54536">
                  <c:v>43.759087471346014</c:v>
                </c:pt>
                <c:pt idx="54537">
                  <c:v>41.102132757740833</c:v>
                </c:pt>
                <c:pt idx="54538">
                  <c:v>28.099354320200337</c:v>
                </c:pt>
                <c:pt idx="54539">
                  <c:v>25.832671747273523</c:v>
                </c:pt>
                <c:pt idx="54540">
                  <c:v>36.348527268729434</c:v>
                </c:pt>
                <c:pt idx="54541">
                  <c:v>24.200414913033473</c:v>
                </c:pt>
                <c:pt idx="54542">
                  <c:v>21.77166525575214</c:v>
                </c:pt>
                <c:pt idx="54543">
                  <c:v>23.830969213383852</c:v>
                </c:pt>
                <c:pt idx="54544">
                  <c:v>44.912260746219587</c:v>
                </c:pt>
                <c:pt idx="54545">
                  <c:v>22.734254325825308</c:v>
                </c:pt>
                <c:pt idx="54546">
                  <c:v>28.896358921784426</c:v>
                </c:pt>
                <c:pt idx="54547">
                  <c:v>22.283794094620408</c:v>
                </c:pt>
                <c:pt idx="54548">
                  <c:v>22.486194820090528</c:v>
                </c:pt>
                <c:pt idx="54549">
                  <c:v>57.305871521555162</c:v>
                </c:pt>
                <c:pt idx="54550">
                  <c:v>50.302999916529131</c:v>
                </c:pt>
                <c:pt idx="54551">
                  <c:v>19.518375664764019</c:v>
                </c:pt>
                <c:pt idx="54552">
                  <c:v>30.101355217111617</c:v>
                </c:pt>
                <c:pt idx="54553">
                  <c:v>37.972422453516913</c:v>
                </c:pt>
                <c:pt idx="54554">
                  <c:v>25.570684213848835</c:v>
                </c:pt>
                <c:pt idx="54555">
                  <c:v>54.48193043436482</c:v>
                </c:pt>
                <c:pt idx="54556">
                  <c:v>29.166744099500519</c:v>
                </c:pt>
                <c:pt idx="54557">
                  <c:v>26.153074463303533</c:v>
                </c:pt>
                <c:pt idx="54558">
                  <c:v>20.463734156245881</c:v>
                </c:pt>
                <c:pt idx="54559">
                  <c:v>38.669196631557348</c:v>
                </c:pt>
                <c:pt idx="54560">
                  <c:v>62.741498857247436</c:v>
                </c:pt>
                <c:pt idx="54561">
                  <c:v>23.21401807468866</c:v>
                </c:pt>
                <c:pt idx="54562">
                  <c:v>26.92508243018171</c:v>
                </c:pt>
                <c:pt idx="54563">
                  <c:v>34.397766597794345</c:v>
                </c:pt>
                <c:pt idx="54564">
                  <c:v>42.481149876006832</c:v>
                </c:pt>
                <c:pt idx="54565">
                  <c:v>32.610649139636891</c:v>
                </c:pt>
                <c:pt idx="54566">
                  <c:v>25.63444078110221</c:v>
                </c:pt>
                <c:pt idx="54567">
                  <c:v>19.848809491343577</c:v>
                </c:pt>
                <c:pt idx="54568">
                  <c:v>20.644294680058461</c:v>
                </c:pt>
                <c:pt idx="54569">
                  <c:v>41.732535387178913</c:v>
                </c:pt>
                <c:pt idx="54570">
                  <c:v>37.371575089310269</c:v>
                </c:pt>
                <c:pt idx="54571">
                  <c:v>52.822346511771393</c:v>
                </c:pt>
                <c:pt idx="54572">
                  <c:v>19.908654374507819</c:v>
                </c:pt>
                <c:pt idx="54573">
                  <c:v>23.85999006518685</c:v>
                </c:pt>
                <c:pt idx="54574">
                  <c:v>41.018881069341219</c:v>
                </c:pt>
                <c:pt idx="54575">
                  <c:v>33.996159862565477</c:v>
                </c:pt>
                <c:pt idx="54576">
                  <c:v>24.10219417581775</c:v>
                </c:pt>
                <c:pt idx="54577">
                  <c:v>34.461946235445595</c:v>
                </c:pt>
                <c:pt idx="54578">
                  <c:v>41.728931802504334</c:v>
                </c:pt>
                <c:pt idx="54579">
                  <c:v>25.798270556139627</c:v>
                </c:pt>
                <c:pt idx="54580">
                  <c:v>20.490056506406173</c:v>
                </c:pt>
                <c:pt idx="54581">
                  <c:v>40.743082681063619</c:v>
                </c:pt>
                <c:pt idx="54582">
                  <c:v>29.794049570426431</c:v>
                </c:pt>
                <c:pt idx="54583">
                  <c:v>23.599899313461208</c:v>
                </c:pt>
                <c:pt idx="54584">
                  <c:v>22.78254006899725</c:v>
                </c:pt>
                <c:pt idx="54585">
                  <c:v>30.091931882291121</c:v>
                </c:pt>
                <c:pt idx="54586">
                  <c:v>33.97710945127568</c:v>
                </c:pt>
                <c:pt idx="54587">
                  <c:v>33.070812850850309</c:v>
                </c:pt>
                <c:pt idx="54588">
                  <c:v>47.981984214543104</c:v>
                </c:pt>
                <c:pt idx="54589">
                  <c:v>44.103079599305396</c:v>
                </c:pt>
                <c:pt idx="54590">
                  <c:v>21.347223855685645</c:v>
                </c:pt>
                <c:pt idx="54591">
                  <c:v>19.461449299201171</c:v>
                </c:pt>
                <c:pt idx="54592">
                  <c:v>41.647955041060882</c:v>
                </c:pt>
                <c:pt idx="54593">
                  <c:v>50.153431952153277</c:v>
                </c:pt>
                <c:pt idx="54594">
                  <c:v>30.211412721134305</c:v>
                </c:pt>
                <c:pt idx="54595">
                  <c:v>30.655882724311596</c:v>
                </c:pt>
                <c:pt idx="54596">
                  <c:v>26.524186681761734</c:v>
                </c:pt>
                <c:pt idx="54597">
                  <c:v>24.781913974437721</c:v>
                </c:pt>
                <c:pt idx="54598">
                  <c:v>24.446032639868761</c:v>
                </c:pt>
                <c:pt idx="54599">
                  <c:v>28.249854964347886</c:v>
                </c:pt>
                <c:pt idx="54600">
                  <c:v>23.034907782154981</c:v>
                </c:pt>
                <c:pt idx="54601">
                  <c:v>42.150875325345467</c:v>
                </c:pt>
                <c:pt idx="54602">
                  <c:v>36.801686309432277</c:v>
                </c:pt>
                <c:pt idx="54603">
                  <c:v>36.969538501180153</c:v>
                </c:pt>
                <c:pt idx="54604">
                  <c:v>47.496141691433991</c:v>
                </c:pt>
                <c:pt idx="54605">
                  <c:v>30.800735417489808</c:v>
                </c:pt>
                <c:pt idx="54606">
                  <c:v>51.326493384801417</c:v>
                </c:pt>
                <c:pt idx="54607">
                  <c:v>59.662651611620312</c:v>
                </c:pt>
                <c:pt idx="54608">
                  <c:v>24.720433969817119</c:v>
                </c:pt>
                <c:pt idx="54609">
                  <c:v>21.345137958422953</c:v>
                </c:pt>
                <c:pt idx="54610">
                  <c:v>25.536800222482359</c:v>
                </c:pt>
                <c:pt idx="54611">
                  <c:v>17.364359699909677</c:v>
                </c:pt>
                <c:pt idx="54612">
                  <c:v>42.999675353103562</c:v>
                </c:pt>
                <c:pt idx="54613">
                  <c:v>28.720395502582495</c:v>
                </c:pt>
                <c:pt idx="54614">
                  <c:v>21.976663952193711</c:v>
                </c:pt>
                <c:pt idx="54615">
                  <c:v>32.505739630889721</c:v>
                </c:pt>
                <c:pt idx="54616">
                  <c:v>21.706731815888993</c:v>
                </c:pt>
                <c:pt idx="54617">
                  <c:v>20.679920142905953</c:v>
                </c:pt>
                <c:pt idx="54618">
                  <c:v>17.859242538132566</c:v>
                </c:pt>
                <c:pt idx="54619">
                  <c:v>62.967784343556467</c:v>
                </c:pt>
                <c:pt idx="54620">
                  <c:v>19.740199607697029</c:v>
                </c:pt>
                <c:pt idx="54621">
                  <c:v>23.663039115469473</c:v>
                </c:pt>
                <c:pt idx="54622">
                  <c:v>17.937799937733729</c:v>
                </c:pt>
                <c:pt idx="54623">
                  <c:v>22.008145289231159</c:v>
                </c:pt>
                <c:pt idx="54624">
                  <c:v>41.592797062473295</c:v>
                </c:pt>
                <c:pt idx="54625">
                  <c:v>26.587532008533969</c:v>
                </c:pt>
                <c:pt idx="54626">
                  <c:v>25.373478373398946</c:v>
                </c:pt>
                <c:pt idx="54627">
                  <c:v>23.525230608677262</c:v>
                </c:pt>
                <c:pt idx="54628">
                  <c:v>29.947213769189208</c:v>
                </c:pt>
                <c:pt idx="54629">
                  <c:v>26.332203541650458</c:v>
                </c:pt>
                <c:pt idx="54630">
                  <c:v>15.814339744085935</c:v>
                </c:pt>
                <c:pt idx="54631">
                  <c:v>45.081549260864492</c:v>
                </c:pt>
                <c:pt idx="54632">
                  <c:v>31.337792007118633</c:v>
                </c:pt>
                <c:pt idx="54633">
                  <c:v>26.917134980268472</c:v>
                </c:pt>
                <c:pt idx="54634">
                  <c:v>29.525336609509448</c:v>
                </c:pt>
                <c:pt idx="54635">
                  <c:v>45.404909588785337</c:v>
                </c:pt>
                <c:pt idx="54636">
                  <c:v>25.869146835567573</c:v>
                </c:pt>
                <c:pt idx="54637">
                  <c:v>25.267196166304338</c:v>
                </c:pt>
                <c:pt idx="54638">
                  <c:v>31.002142867446469</c:v>
                </c:pt>
                <c:pt idx="54639">
                  <c:v>44.593683392276837</c:v>
                </c:pt>
                <c:pt idx="54640">
                  <c:v>16.884823543980939</c:v>
                </c:pt>
                <c:pt idx="54641">
                  <c:v>28.654475615621024</c:v>
                </c:pt>
                <c:pt idx="54642">
                  <c:v>23.851863421581044</c:v>
                </c:pt>
                <c:pt idx="54643">
                  <c:v>35.026005135690752</c:v>
                </c:pt>
                <c:pt idx="54644">
                  <c:v>39.128012589733444</c:v>
                </c:pt>
                <c:pt idx="54645">
                  <c:v>24.791840083349477</c:v>
                </c:pt>
                <c:pt idx="54646">
                  <c:v>20.012926565977473</c:v>
                </c:pt>
                <c:pt idx="54647">
                  <c:v>26.945840539854991</c:v>
                </c:pt>
                <c:pt idx="54648">
                  <c:v>18.233249696956193</c:v>
                </c:pt>
                <c:pt idx="54649">
                  <c:v>32.949725838567559</c:v>
                </c:pt>
                <c:pt idx="54650">
                  <c:v>30.424347063922443</c:v>
                </c:pt>
                <c:pt idx="54651">
                  <c:v>42.199821019176518</c:v>
                </c:pt>
                <c:pt idx="54652">
                  <c:v>20.691982935789351</c:v>
                </c:pt>
                <c:pt idx="54653">
                  <c:v>18.004173966019401</c:v>
                </c:pt>
                <c:pt idx="54654">
                  <c:v>34.22180421778571</c:v>
                </c:pt>
                <c:pt idx="54655">
                  <c:v>29.457402833195808</c:v>
                </c:pt>
                <c:pt idx="54656">
                  <c:v>27.582181232419305</c:v>
                </c:pt>
                <c:pt idx="54657">
                  <c:v>41.27305771721484</c:v>
                </c:pt>
                <c:pt idx="54658">
                  <c:v>27.532286083659145</c:v>
                </c:pt>
                <c:pt idx="54659">
                  <c:v>57.98175284609222</c:v>
                </c:pt>
                <c:pt idx="54660">
                  <c:v>30.119908121243448</c:v>
                </c:pt>
                <c:pt idx="54661">
                  <c:v>41.676346758129434</c:v>
                </c:pt>
                <c:pt idx="54662">
                  <c:v>32.311575142519324</c:v>
                </c:pt>
                <c:pt idx="54663">
                  <c:v>21.100282080588258</c:v>
                </c:pt>
                <c:pt idx="54664">
                  <c:v>24.880656758713933</c:v>
                </c:pt>
                <c:pt idx="54665">
                  <c:v>27.198107947496577</c:v>
                </c:pt>
                <c:pt idx="54666">
                  <c:v>16.444123173841689</c:v>
                </c:pt>
                <c:pt idx="54667">
                  <c:v>31.569011992737465</c:v>
                </c:pt>
                <c:pt idx="54668">
                  <c:v>30.298899487097465</c:v>
                </c:pt>
                <c:pt idx="54669">
                  <c:v>20.838889464033279</c:v>
                </c:pt>
                <c:pt idx="54670">
                  <c:v>28.577376786886347</c:v>
                </c:pt>
                <c:pt idx="54671">
                  <c:v>27.259447838210647</c:v>
                </c:pt>
                <c:pt idx="54672">
                  <c:v>21.936330253595223</c:v>
                </c:pt>
                <c:pt idx="54673">
                  <c:v>50.963326623176151</c:v>
                </c:pt>
                <c:pt idx="54674">
                  <c:v>29.296708525164998</c:v>
                </c:pt>
                <c:pt idx="54675">
                  <c:v>29.503340808536663</c:v>
                </c:pt>
                <c:pt idx="54676">
                  <c:v>23.888349304253559</c:v>
                </c:pt>
                <c:pt idx="54677">
                  <c:v>28.69738906490619</c:v>
                </c:pt>
                <c:pt idx="54678">
                  <c:v>25.399462302301821</c:v>
                </c:pt>
                <c:pt idx="54679">
                  <c:v>28.639164248285624</c:v>
                </c:pt>
                <c:pt idx="54680">
                  <c:v>26.768619088492166</c:v>
                </c:pt>
                <c:pt idx="54681">
                  <c:v>54.755999246715817</c:v>
                </c:pt>
                <c:pt idx="54682">
                  <c:v>54.647049173625454</c:v>
                </c:pt>
                <c:pt idx="54683">
                  <c:v>28.86872501972833</c:v>
                </c:pt>
                <c:pt idx="54684">
                  <c:v>21.76911170192345</c:v>
                </c:pt>
                <c:pt idx="54685">
                  <c:v>33.070843965538472</c:v>
                </c:pt>
                <c:pt idx="54686">
                  <c:v>19.029665811501847</c:v>
                </c:pt>
                <c:pt idx="54687">
                  <c:v>25.733824991119349</c:v>
                </c:pt>
                <c:pt idx="54688">
                  <c:v>26.551465671227156</c:v>
                </c:pt>
                <c:pt idx="54689">
                  <c:v>26.213673182871055</c:v>
                </c:pt>
                <c:pt idx="54690">
                  <c:v>27.290767746310472</c:v>
                </c:pt>
                <c:pt idx="54691">
                  <c:v>60.620975828472936</c:v>
                </c:pt>
                <c:pt idx="54692">
                  <c:v>21.674161423070863</c:v>
                </c:pt>
                <c:pt idx="54693">
                  <c:v>55.84490010055007</c:v>
                </c:pt>
                <c:pt idx="54694">
                  <c:v>24.583034152434344</c:v>
                </c:pt>
                <c:pt idx="54695">
                  <c:v>26.719073069822869</c:v>
                </c:pt>
                <c:pt idx="54696">
                  <c:v>44.242513940240109</c:v>
                </c:pt>
                <c:pt idx="54697">
                  <c:v>35.801906451484591</c:v>
                </c:pt>
                <c:pt idx="54698">
                  <c:v>24.08887875845182</c:v>
                </c:pt>
                <c:pt idx="54699">
                  <c:v>21.963417287527655</c:v>
                </c:pt>
                <c:pt idx="54700">
                  <c:v>22.0452143867785</c:v>
                </c:pt>
                <c:pt idx="54701">
                  <c:v>37.127337581331524</c:v>
                </c:pt>
                <c:pt idx="54702">
                  <c:v>55.892322642426819</c:v>
                </c:pt>
                <c:pt idx="54703">
                  <c:v>24.753057709258464</c:v>
                </c:pt>
                <c:pt idx="54704">
                  <c:v>44.224663841481984</c:v>
                </c:pt>
                <c:pt idx="54705">
                  <c:v>52.526690448411756</c:v>
                </c:pt>
                <c:pt idx="54706">
                  <c:v>25.409391876797734</c:v>
                </c:pt>
                <c:pt idx="54707">
                  <c:v>21.275193993722525</c:v>
                </c:pt>
                <c:pt idx="54708">
                  <c:v>46.084492267974241</c:v>
                </c:pt>
                <c:pt idx="54709">
                  <c:v>26.328404575413508</c:v>
                </c:pt>
                <c:pt idx="54710">
                  <c:v>34.536243672277863</c:v>
                </c:pt>
                <c:pt idx="54711">
                  <c:v>23.490047760119445</c:v>
                </c:pt>
                <c:pt idx="54712">
                  <c:v>24.106919528728142</c:v>
                </c:pt>
                <c:pt idx="54713">
                  <c:v>35.090506893377345</c:v>
                </c:pt>
                <c:pt idx="54714">
                  <c:v>39.428137254765062</c:v>
                </c:pt>
                <c:pt idx="54715">
                  <c:v>24.165112573435927</c:v>
                </c:pt>
                <c:pt idx="54716">
                  <c:v>37.544805195313714</c:v>
                </c:pt>
                <c:pt idx="54717">
                  <c:v>41.883097976978519</c:v>
                </c:pt>
                <c:pt idx="54718">
                  <c:v>27.05223971531095</c:v>
                </c:pt>
                <c:pt idx="54719">
                  <c:v>49.252270708997131</c:v>
                </c:pt>
                <c:pt idx="54720">
                  <c:v>63.637428262247084</c:v>
                </c:pt>
                <c:pt idx="54721">
                  <c:v>34.004297143809168</c:v>
                </c:pt>
                <c:pt idx="54722">
                  <c:v>19.513395930452702</c:v>
                </c:pt>
                <c:pt idx="54723">
                  <c:v>22.419749232666653</c:v>
                </c:pt>
                <c:pt idx="54724">
                  <c:v>27.333624334578488</c:v>
                </c:pt>
                <c:pt idx="54725">
                  <c:v>51.829946023117948</c:v>
                </c:pt>
                <c:pt idx="54726">
                  <c:v>53.739807842281543</c:v>
                </c:pt>
                <c:pt idx="54727">
                  <c:v>27.079743355720495</c:v>
                </c:pt>
                <c:pt idx="54728">
                  <c:v>26.75091824583172</c:v>
                </c:pt>
                <c:pt idx="54729">
                  <c:v>23.506700832614897</c:v>
                </c:pt>
                <c:pt idx="54730">
                  <c:v>30.391611197591324</c:v>
                </c:pt>
                <c:pt idx="54731">
                  <c:v>24.435908385192004</c:v>
                </c:pt>
                <c:pt idx="54732">
                  <c:v>46.117955465950168</c:v>
                </c:pt>
                <c:pt idx="54733">
                  <c:v>24.022497993648322</c:v>
                </c:pt>
                <c:pt idx="54734">
                  <c:v>27.296699200528082</c:v>
                </c:pt>
                <c:pt idx="54735">
                  <c:v>39.170145244757059</c:v>
                </c:pt>
                <c:pt idx="54736">
                  <c:v>33.560985916701526</c:v>
                </c:pt>
                <c:pt idx="54737">
                  <c:v>27.628682058943014</c:v>
                </c:pt>
                <c:pt idx="54738">
                  <c:v>18.033120233163004</c:v>
                </c:pt>
                <c:pt idx="54739">
                  <c:v>41.406221396079019</c:v>
                </c:pt>
                <c:pt idx="54740">
                  <c:v>46.30863292203766</c:v>
                </c:pt>
                <c:pt idx="54741">
                  <c:v>22.374623729718035</c:v>
                </c:pt>
                <c:pt idx="54742">
                  <c:v>27.754650169862654</c:v>
                </c:pt>
                <c:pt idx="54743">
                  <c:v>28.542586853696807</c:v>
                </c:pt>
                <c:pt idx="54744">
                  <c:v>29.865946026261945</c:v>
                </c:pt>
                <c:pt idx="54745">
                  <c:v>20.350424075893354</c:v>
                </c:pt>
                <c:pt idx="54746">
                  <c:v>44.411550481321342</c:v>
                </c:pt>
                <c:pt idx="54747">
                  <c:v>29.954627044018128</c:v>
                </c:pt>
                <c:pt idx="54748">
                  <c:v>37.545582124129858</c:v>
                </c:pt>
                <c:pt idx="54749">
                  <c:v>23.080035495418215</c:v>
                </c:pt>
                <c:pt idx="54750">
                  <c:v>22.575444746418448</c:v>
                </c:pt>
                <c:pt idx="54751">
                  <c:v>22.138287537373923</c:v>
                </c:pt>
                <c:pt idx="54752">
                  <c:v>50.901152249077413</c:v>
                </c:pt>
                <c:pt idx="54753">
                  <c:v>26.616652234539725</c:v>
                </c:pt>
                <c:pt idx="54754">
                  <c:v>31.024204682935924</c:v>
                </c:pt>
                <c:pt idx="54755">
                  <c:v>25.631656285506477</c:v>
                </c:pt>
                <c:pt idx="54756">
                  <c:v>18.848070571852499</c:v>
                </c:pt>
                <c:pt idx="54757">
                  <c:v>28.879824345543234</c:v>
                </c:pt>
                <c:pt idx="54758">
                  <c:v>18.789059478657308</c:v>
                </c:pt>
                <c:pt idx="54759">
                  <c:v>42.869632297486106</c:v>
                </c:pt>
                <c:pt idx="54760">
                  <c:v>25.485158101726253</c:v>
                </c:pt>
                <c:pt idx="54761">
                  <c:v>29.345583306051708</c:v>
                </c:pt>
                <c:pt idx="54762">
                  <c:v>46.226527896805919</c:v>
                </c:pt>
                <c:pt idx="54763">
                  <c:v>49.340989120303767</c:v>
                </c:pt>
                <c:pt idx="54764">
                  <c:v>23.811385731541151</c:v>
                </c:pt>
                <c:pt idx="54765">
                  <c:v>23.945026750529941</c:v>
                </c:pt>
                <c:pt idx="54766">
                  <c:v>29.066205846151622</c:v>
                </c:pt>
                <c:pt idx="54767">
                  <c:v>21.378519025652238</c:v>
                </c:pt>
                <c:pt idx="54768">
                  <c:v>19.808059890423944</c:v>
                </c:pt>
                <c:pt idx="54769">
                  <c:v>27.450890336736681</c:v>
                </c:pt>
                <c:pt idx="54770">
                  <c:v>29.43420811281613</c:v>
                </c:pt>
                <c:pt idx="54771">
                  <c:v>42.450889509605219</c:v>
                </c:pt>
                <c:pt idx="54772">
                  <c:v>22.505268754068755</c:v>
                </c:pt>
                <c:pt idx="54773">
                  <c:v>26.780009899386254</c:v>
                </c:pt>
                <c:pt idx="54774">
                  <c:v>24.295705772193376</c:v>
                </c:pt>
                <c:pt idx="54775">
                  <c:v>26.897618628272379</c:v>
                </c:pt>
                <c:pt idx="54776">
                  <c:v>35.741228018607501</c:v>
                </c:pt>
                <c:pt idx="54777">
                  <c:v>32.516542748736505</c:v>
                </c:pt>
                <c:pt idx="54778">
                  <c:v>31.040500118768723</c:v>
                </c:pt>
                <c:pt idx="54779">
                  <c:v>26.676357496804112</c:v>
                </c:pt>
                <c:pt idx="54780">
                  <c:v>28.941349540501545</c:v>
                </c:pt>
                <c:pt idx="54781">
                  <c:v>26.314845872390773</c:v>
                </c:pt>
                <c:pt idx="54782">
                  <c:v>20.258089665174303</c:v>
                </c:pt>
                <c:pt idx="54783">
                  <c:v>25.437499790658716</c:v>
                </c:pt>
                <c:pt idx="54784">
                  <c:v>37.675664654241999</c:v>
                </c:pt>
                <c:pt idx="54785">
                  <c:v>19.414799644309106</c:v>
                </c:pt>
                <c:pt idx="54786">
                  <c:v>29.51024875870343</c:v>
                </c:pt>
                <c:pt idx="54787">
                  <c:v>26.226922053274411</c:v>
                </c:pt>
                <c:pt idx="54788">
                  <c:v>36.791150826099916</c:v>
                </c:pt>
                <c:pt idx="54789">
                  <c:v>24.023731872805378</c:v>
                </c:pt>
                <c:pt idx="54790">
                  <c:v>27.433752356136722</c:v>
                </c:pt>
                <c:pt idx="54791">
                  <c:v>19.702209081633775</c:v>
                </c:pt>
                <c:pt idx="54792">
                  <c:v>26.14002464854606</c:v>
                </c:pt>
                <c:pt idx="54793">
                  <c:v>48.66376210917047</c:v>
                </c:pt>
                <c:pt idx="54794">
                  <c:v>24.92678887404837</c:v>
                </c:pt>
                <c:pt idx="54795">
                  <c:v>53.637484779650926</c:v>
                </c:pt>
                <c:pt idx="54796">
                  <c:v>29.425431179888438</c:v>
                </c:pt>
                <c:pt idx="54797">
                  <c:v>29.173800090346681</c:v>
                </c:pt>
                <c:pt idx="54798">
                  <c:v>29.784969810888839</c:v>
                </c:pt>
                <c:pt idx="54799">
                  <c:v>29.021920383850638</c:v>
                </c:pt>
                <c:pt idx="54800">
                  <c:v>30.290442352581273</c:v>
                </c:pt>
                <c:pt idx="54801">
                  <c:v>30.146801978191448</c:v>
                </c:pt>
                <c:pt idx="54802">
                  <c:v>31.968004844814981</c:v>
                </c:pt>
                <c:pt idx="54803">
                  <c:v>28.915030198218968</c:v>
                </c:pt>
                <c:pt idx="54804">
                  <c:v>26.700731610630022</c:v>
                </c:pt>
                <c:pt idx="54805">
                  <c:v>28.6318653733323</c:v>
                </c:pt>
                <c:pt idx="54806">
                  <c:v>27.125056990071748</c:v>
                </c:pt>
                <c:pt idx="54807">
                  <c:v>23.725536256299385</c:v>
                </c:pt>
                <c:pt idx="54808">
                  <c:v>19.578949672519045</c:v>
                </c:pt>
                <c:pt idx="54809">
                  <c:v>25.788751474716697</c:v>
                </c:pt>
                <c:pt idx="54810">
                  <c:v>29.937231296367493</c:v>
                </c:pt>
                <c:pt idx="54811">
                  <c:v>31.652322276668009</c:v>
                </c:pt>
                <c:pt idx="54812">
                  <c:v>20.337833741299015</c:v>
                </c:pt>
                <c:pt idx="54813">
                  <c:v>36.489792707245122</c:v>
                </c:pt>
                <c:pt idx="54814">
                  <c:v>24.030504733295086</c:v>
                </c:pt>
                <c:pt idx="54815">
                  <c:v>36.511064331081073</c:v>
                </c:pt>
                <c:pt idx="54816">
                  <c:v>31.089571232002388</c:v>
                </c:pt>
                <c:pt idx="54817">
                  <c:v>25.545212373702022</c:v>
                </c:pt>
                <c:pt idx="54818">
                  <c:v>29.627458515755428</c:v>
                </c:pt>
                <c:pt idx="54819">
                  <c:v>35.18222923470551</c:v>
                </c:pt>
                <c:pt idx="54820">
                  <c:v>22.669373990280096</c:v>
                </c:pt>
                <c:pt idx="54821">
                  <c:v>29.056071943926828</c:v>
                </c:pt>
                <c:pt idx="54822">
                  <c:v>38.694029608662234</c:v>
                </c:pt>
                <c:pt idx="54823">
                  <c:v>26.811358722406659</c:v>
                </c:pt>
                <c:pt idx="54824">
                  <c:v>25.355646478488847</c:v>
                </c:pt>
                <c:pt idx="54825">
                  <c:v>36.661221865653602</c:v>
                </c:pt>
                <c:pt idx="54826">
                  <c:v>25.819551754257485</c:v>
                </c:pt>
                <c:pt idx="54827">
                  <c:v>18.567112918572533</c:v>
                </c:pt>
                <c:pt idx="54828">
                  <c:v>30.361747437757771</c:v>
                </c:pt>
                <c:pt idx="54829">
                  <c:v>26.504344043022577</c:v>
                </c:pt>
                <c:pt idx="54830">
                  <c:v>51.04724440230023</c:v>
                </c:pt>
                <c:pt idx="54831">
                  <c:v>45.974125739050542</c:v>
                </c:pt>
                <c:pt idx="54832">
                  <c:v>22.018631882314935</c:v>
                </c:pt>
                <c:pt idx="54833">
                  <c:v>20.028018533011611</c:v>
                </c:pt>
                <c:pt idx="54834">
                  <c:v>25.680406008915753</c:v>
                </c:pt>
                <c:pt idx="54835">
                  <c:v>21.26271420364089</c:v>
                </c:pt>
                <c:pt idx="54836">
                  <c:v>45.991948452198635</c:v>
                </c:pt>
                <c:pt idx="54837">
                  <c:v>30.457513253086006</c:v>
                </c:pt>
                <c:pt idx="54838">
                  <c:v>20.481526948596496</c:v>
                </c:pt>
                <c:pt idx="54839">
                  <c:v>19.748601527580572</c:v>
                </c:pt>
                <c:pt idx="54840">
                  <c:v>21.861995203177997</c:v>
                </c:pt>
                <c:pt idx="54841">
                  <c:v>25.546449874707342</c:v>
                </c:pt>
                <c:pt idx="54842">
                  <c:v>24.127643753230409</c:v>
                </c:pt>
                <c:pt idx="54843">
                  <c:v>20.507750582939686</c:v>
                </c:pt>
                <c:pt idx="54844">
                  <c:v>30.074986276360427</c:v>
                </c:pt>
                <c:pt idx="54845">
                  <c:v>31.929212107569281</c:v>
                </c:pt>
                <c:pt idx="54846">
                  <c:v>30.903733407706131</c:v>
                </c:pt>
                <c:pt idx="54847">
                  <c:v>26.817156034218609</c:v>
                </c:pt>
                <c:pt idx="54848">
                  <c:v>35.681524402185879</c:v>
                </c:pt>
                <c:pt idx="54849">
                  <c:v>21.123739083618545</c:v>
                </c:pt>
                <c:pt idx="54850">
                  <c:v>27.417467491534808</c:v>
                </c:pt>
                <c:pt idx="54851">
                  <c:v>41.326822407635994</c:v>
                </c:pt>
                <c:pt idx="54852">
                  <c:v>26.22682559117608</c:v>
                </c:pt>
                <c:pt idx="54853">
                  <c:v>48.999386642761436</c:v>
                </c:pt>
                <c:pt idx="54854">
                  <c:v>25.798596112022715</c:v>
                </c:pt>
                <c:pt idx="54855">
                  <c:v>25.093363245299155</c:v>
                </c:pt>
                <c:pt idx="54856">
                  <c:v>32.211293690936991</c:v>
                </c:pt>
                <c:pt idx="54857">
                  <c:v>20.414420986035598</c:v>
                </c:pt>
                <c:pt idx="54858">
                  <c:v>21.741155671780394</c:v>
                </c:pt>
                <c:pt idx="54859">
                  <c:v>20.989428480804698</c:v>
                </c:pt>
                <c:pt idx="54860">
                  <c:v>26.190502302411304</c:v>
                </c:pt>
                <c:pt idx="54861">
                  <c:v>30.694288346662802</c:v>
                </c:pt>
                <c:pt idx="54862">
                  <c:v>46.906660303242468</c:v>
                </c:pt>
                <c:pt idx="54863">
                  <c:v>24.432911589263416</c:v>
                </c:pt>
                <c:pt idx="54864">
                  <c:v>24.295982039257137</c:v>
                </c:pt>
                <c:pt idx="54865">
                  <c:v>39.208672873442922</c:v>
                </c:pt>
                <c:pt idx="54866">
                  <c:v>17.142245378252525</c:v>
                </c:pt>
                <c:pt idx="54867">
                  <c:v>42.694509394372297</c:v>
                </c:pt>
                <c:pt idx="54868">
                  <c:v>52.418697944118783</c:v>
                </c:pt>
                <c:pt idx="54869">
                  <c:v>23.074614381031601</c:v>
                </c:pt>
                <c:pt idx="54870">
                  <c:v>19.909357005733355</c:v>
                </c:pt>
                <c:pt idx="54871">
                  <c:v>26.030956891797882</c:v>
                </c:pt>
                <c:pt idx="54872">
                  <c:v>39.252993351951694</c:v>
                </c:pt>
                <c:pt idx="54873">
                  <c:v>22.126997688066041</c:v>
                </c:pt>
                <c:pt idx="54874">
                  <c:v>22.942085692783973</c:v>
                </c:pt>
                <c:pt idx="54875">
                  <c:v>28.433850066178429</c:v>
                </c:pt>
                <c:pt idx="54876">
                  <c:v>25.219700059362246</c:v>
                </c:pt>
                <c:pt idx="54877">
                  <c:v>39.717713225804836</c:v>
                </c:pt>
                <c:pt idx="54878">
                  <c:v>36.538488617547578</c:v>
                </c:pt>
                <c:pt idx="54879">
                  <c:v>38.29095076234568</c:v>
                </c:pt>
                <c:pt idx="54880">
                  <c:v>35.818699465857172</c:v>
                </c:pt>
                <c:pt idx="54881">
                  <c:v>34.749661900966203</c:v>
                </c:pt>
                <c:pt idx="54882">
                  <c:v>57.536156721761628</c:v>
                </c:pt>
                <c:pt idx="54883">
                  <c:v>26.323705914555685</c:v>
                </c:pt>
                <c:pt idx="54884">
                  <c:v>24.063769454034546</c:v>
                </c:pt>
                <c:pt idx="54885">
                  <c:v>47.222908965641864</c:v>
                </c:pt>
                <c:pt idx="54886">
                  <c:v>25.842118994292761</c:v>
                </c:pt>
                <c:pt idx="54887">
                  <c:v>30.161115837085635</c:v>
                </c:pt>
                <c:pt idx="54888">
                  <c:v>32.775266247061253</c:v>
                </c:pt>
                <c:pt idx="54889">
                  <c:v>18.859220940433087</c:v>
                </c:pt>
                <c:pt idx="54890">
                  <c:v>28.027989587535153</c:v>
                </c:pt>
                <c:pt idx="54891">
                  <c:v>32.573234373580185</c:v>
                </c:pt>
                <c:pt idx="54892">
                  <c:v>25.850274343919267</c:v>
                </c:pt>
                <c:pt idx="54893">
                  <c:v>15.544818703173403</c:v>
                </c:pt>
                <c:pt idx="54894">
                  <c:v>21.516298319593506</c:v>
                </c:pt>
                <c:pt idx="54895">
                  <c:v>24.528267607303349</c:v>
                </c:pt>
                <c:pt idx="54896">
                  <c:v>26.624522994770402</c:v>
                </c:pt>
                <c:pt idx="54897">
                  <c:v>23.154208129359084</c:v>
                </c:pt>
                <c:pt idx="54898">
                  <c:v>38.327468467059582</c:v>
                </c:pt>
                <c:pt idx="54899">
                  <c:v>20.745182687905125</c:v>
                </c:pt>
                <c:pt idx="54900">
                  <c:v>24.85104641940147</c:v>
                </c:pt>
                <c:pt idx="54901">
                  <c:v>23.074802061849429</c:v>
                </c:pt>
                <c:pt idx="54902">
                  <c:v>47.654005985380991</c:v>
                </c:pt>
                <c:pt idx="54903">
                  <c:v>31.023486875752393</c:v>
                </c:pt>
                <c:pt idx="54904">
                  <c:v>36.975353654598941</c:v>
                </c:pt>
                <c:pt idx="54905">
                  <c:v>23.061813246330196</c:v>
                </c:pt>
                <c:pt idx="54906">
                  <c:v>21.164497204913538</c:v>
                </c:pt>
                <c:pt idx="54907">
                  <c:v>42.186600279169483</c:v>
                </c:pt>
                <c:pt idx="54908">
                  <c:v>19.535267869026782</c:v>
                </c:pt>
                <c:pt idx="54909">
                  <c:v>28.904374640560256</c:v>
                </c:pt>
                <c:pt idx="54910">
                  <c:v>26.604783680629332</c:v>
                </c:pt>
                <c:pt idx="54911">
                  <c:v>19.201438589861397</c:v>
                </c:pt>
                <c:pt idx="54912">
                  <c:v>21.177880108467757</c:v>
                </c:pt>
                <c:pt idx="54913">
                  <c:v>27.075697125889757</c:v>
                </c:pt>
                <c:pt idx="54914">
                  <c:v>35.541037413908064</c:v>
                </c:pt>
                <c:pt idx="54915">
                  <c:v>52.045566653493992</c:v>
                </c:pt>
                <c:pt idx="54916">
                  <c:v>24.284661773179671</c:v>
                </c:pt>
                <c:pt idx="54917">
                  <c:v>49.718838199999112</c:v>
                </c:pt>
                <c:pt idx="54918">
                  <c:v>19.462033513103169</c:v>
                </c:pt>
                <c:pt idx="54919">
                  <c:v>35.340613436852749</c:v>
                </c:pt>
                <c:pt idx="54920">
                  <c:v>35.043972909359852</c:v>
                </c:pt>
                <c:pt idx="54921">
                  <c:v>39.487085892574214</c:v>
                </c:pt>
                <c:pt idx="54922">
                  <c:v>55.590520494790766</c:v>
                </c:pt>
                <c:pt idx="54923">
                  <c:v>22.132405629415885</c:v>
                </c:pt>
                <c:pt idx="54924">
                  <c:v>38.167498951557256</c:v>
                </c:pt>
                <c:pt idx="54925">
                  <c:v>30.067638375533477</c:v>
                </c:pt>
                <c:pt idx="54926">
                  <c:v>27.453114362092521</c:v>
                </c:pt>
                <c:pt idx="54927">
                  <c:v>43.340025118071331</c:v>
                </c:pt>
                <c:pt idx="54928">
                  <c:v>21.160178874000259</c:v>
                </c:pt>
                <c:pt idx="54929">
                  <c:v>46.985849082037248</c:v>
                </c:pt>
                <c:pt idx="54930">
                  <c:v>27.806052928126213</c:v>
                </c:pt>
                <c:pt idx="54931">
                  <c:v>39.017691588257136</c:v>
                </c:pt>
                <c:pt idx="54932">
                  <c:v>35.650354330441324</c:v>
                </c:pt>
                <c:pt idx="54933">
                  <c:v>27.954975057449964</c:v>
                </c:pt>
                <c:pt idx="54934">
                  <c:v>27.812127376219102</c:v>
                </c:pt>
                <c:pt idx="54935">
                  <c:v>25.248709519538515</c:v>
                </c:pt>
                <c:pt idx="54936">
                  <c:v>35.371700218452908</c:v>
                </c:pt>
                <c:pt idx="54937">
                  <c:v>57.892781927919849</c:v>
                </c:pt>
                <c:pt idx="54938">
                  <c:v>34.004652552019806</c:v>
                </c:pt>
                <c:pt idx="54939">
                  <c:v>26.759961534454796</c:v>
                </c:pt>
                <c:pt idx="54940">
                  <c:v>27.815895433739076</c:v>
                </c:pt>
                <c:pt idx="54941">
                  <c:v>41.59369576910585</c:v>
                </c:pt>
                <c:pt idx="54942">
                  <c:v>46.738798691673367</c:v>
                </c:pt>
                <c:pt idx="54943">
                  <c:v>51.075405241318578</c:v>
                </c:pt>
                <c:pt idx="54944">
                  <c:v>28.65825138411325</c:v>
                </c:pt>
                <c:pt idx="54945">
                  <c:v>41.591499000914169</c:v>
                </c:pt>
                <c:pt idx="54946">
                  <c:v>48.407621124965182</c:v>
                </c:pt>
                <c:pt idx="54947">
                  <c:v>44.134471874269323</c:v>
                </c:pt>
                <c:pt idx="54948">
                  <c:v>30.465577429237825</c:v>
                </c:pt>
                <c:pt idx="54949">
                  <c:v>27.763503750467592</c:v>
                </c:pt>
                <c:pt idx="54950">
                  <c:v>44.01640854007978</c:v>
                </c:pt>
                <c:pt idx="54951">
                  <c:v>22.86596516258134</c:v>
                </c:pt>
                <c:pt idx="54952">
                  <c:v>43.525964432510818</c:v>
                </c:pt>
                <c:pt idx="54953">
                  <c:v>32.550655996786467</c:v>
                </c:pt>
                <c:pt idx="54954">
                  <c:v>37.788140863775816</c:v>
                </c:pt>
                <c:pt idx="54955">
                  <c:v>27.905198539906003</c:v>
                </c:pt>
                <c:pt idx="54956">
                  <c:v>23.842915073434355</c:v>
                </c:pt>
                <c:pt idx="54957">
                  <c:v>45.654644061254352</c:v>
                </c:pt>
                <c:pt idx="54958">
                  <c:v>45.887903223983315</c:v>
                </c:pt>
                <c:pt idx="54959">
                  <c:v>25.355148764994553</c:v>
                </c:pt>
                <c:pt idx="54960">
                  <c:v>26.043221766111557</c:v>
                </c:pt>
                <c:pt idx="54961">
                  <c:v>37.754300616093815</c:v>
                </c:pt>
                <c:pt idx="54962">
                  <c:v>24.046370806834489</c:v>
                </c:pt>
                <c:pt idx="54963">
                  <c:v>29.485023656792791</c:v>
                </c:pt>
                <c:pt idx="54964">
                  <c:v>38.027246023101014</c:v>
                </c:pt>
                <c:pt idx="54965">
                  <c:v>22.461406254564583</c:v>
                </c:pt>
                <c:pt idx="54966">
                  <c:v>31.183602660040016</c:v>
                </c:pt>
                <c:pt idx="54967">
                  <c:v>18.50393516675194</c:v>
                </c:pt>
                <c:pt idx="54968">
                  <c:v>39.005147104673092</c:v>
                </c:pt>
                <c:pt idx="54969">
                  <c:v>21.50485617813586</c:v>
                </c:pt>
                <c:pt idx="54970">
                  <c:v>49.342349547997685</c:v>
                </c:pt>
                <c:pt idx="54971">
                  <c:v>26.246655118545441</c:v>
                </c:pt>
                <c:pt idx="54972">
                  <c:v>34.711169460967994</c:v>
                </c:pt>
                <c:pt idx="54973">
                  <c:v>46.531963715256516</c:v>
                </c:pt>
                <c:pt idx="54974">
                  <c:v>39.101435134486394</c:v>
                </c:pt>
                <c:pt idx="54975">
                  <c:v>34.2469025457698</c:v>
                </c:pt>
                <c:pt idx="54976">
                  <c:v>30.826059087845053</c:v>
                </c:pt>
                <c:pt idx="54977">
                  <c:v>33.353410990335043</c:v>
                </c:pt>
                <c:pt idx="54978">
                  <c:v>21.013940377319489</c:v>
                </c:pt>
                <c:pt idx="54979">
                  <c:v>19.802616268944082</c:v>
                </c:pt>
                <c:pt idx="54980">
                  <c:v>22.757195100174631</c:v>
                </c:pt>
                <c:pt idx="54981">
                  <c:v>24.182932064567034</c:v>
                </c:pt>
                <c:pt idx="54982">
                  <c:v>30.967905226028673</c:v>
                </c:pt>
                <c:pt idx="54983">
                  <c:v>27.335548513170998</c:v>
                </c:pt>
                <c:pt idx="54984">
                  <c:v>32.353367535306809</c:v>
                </c:pt>
                <c:pt idx="54985">
                  <c:v>41.131638708470156</c:v>
                </c:pt>
                <c:pt idx="54986">
                  <c:v>42.311190583322109</c:v>
                </c:pt>
                <c:pt idx="54987">
                  <c:v>53.003830219957294</c:v>
                </c:pt>
                <c:pt idx="54988">
                  <c:v>28.919928916312315</c:v>
                </c:pt>
                <c:pt idx="54989">
                  <c:v>58.027293651233144</c:v>
                </c:pt>
                <c:pt idx="54990">
                  <c:v>52.16311465340123</c:v>
                </c:pt>
                <c:pt idx="54991">
                  <c:v>21.529087703123125</c:v>
                </c:pt>
                <c:pt idx="54992">
                  <c:v>33.736398647050628</c:v>
                </c:pt>
                <c:pt idx="54993">
                  <c:v>28.509268945585507</c:v>
                </c:pt>
                <c:pt idx="54994">
                  <c:v>34.852008093117647</c:v>
                </c:pt>
                <c:pt idx="54995">
                  <c:v>24.199765596701226</c:v>
                </c:pt>
                <c:pt idx="54996">
                  <c:v>27.218359616581751</c:v>
                </c:pt>
                <c:pt idx="54997">
                  <c:v>37.850163481343778</c:v>
                </c:pt>
                <c:pt idx="54998">
                  <c:v>27.914067335053602</c:v>
                </c:pt>
                <c:pt idx="54999">
                  <c:v>25.570953657422962</c:v>
                </c:pt>
                <c:pt idx="55000">
                  <c:v>26.956918067989086</c:v>
                </c:pt>
                <c:pt idx="55001">
                  <c:v>44.550328413061237</c:v>
                </c:pt>
                <c:pt idx="55002">
                  <c:v>30.359234238309476</c:v>
                </c:pt>
                <c:pt idx="55003">
                  <c:v>25.948525231028505</c:v>
                </c:pt>
                <c:pt idx="55004">
                  <c:v>33.659700430891988</c:v>
                </c:pt>
                <c:pt idx="55005">
                  <c:v>26.484373137153803</c:v>
                </c:pt>
                <c:pt idx="55006">
                  <c:v>29.80416604700585</c:v>
                </c:pt>
                <c:pt idx="55007">
                  <c:v>33.429255359100004</c:v>
                </c:pt>
                <c:pt idx="55008">
                  <c:v>48.208950489928824</c:v>
                </c:pt>
                <c:pt idx="55009">
                  <c:v>19.536766470976723</c:v>
                </c:pt>
                <c:pt idx="55010">
                  <c:v>23.553074237530527</c:v>
                </c:pt>
                <c:pt idx="55011">
                  <c:v>45.463855569447233</c:v>
                </c:pt>
                <c:pt idx="55012">
                  <c:v>20.122957744822614</c:v>
                </c:pt>
                <c:pt idx="55013">
                  <c:v>26.282737552013771</c:v>
                </c:pt>
                <c:pt idx="55014">
                  <c:v>22.734909961085012</c:v>
                </c:pt>
                <c:pt idx="55015">
                  <c:v>24.341724031726226</c:v>
                </c:pt>
                <c:pt idx="55016">
                  <c:v>40.29047852484198</c:v>
                </c:pt>
                <c:pt idx="55017">
                  <c:v>33.089857277864816</c:v>
                </c:pt>
                <c:pt idx="55018">
                  <c:v>55.395140111002291</c:v>
                </c:pt>
                <c:pt idx="55019">
                  <c:v>24.103271856281953</c:v>
                </c:pt>
                <c:pt idx="55020">
                  <c:v>26.711426771537717</c:v>
                </c:pt>
                <c:pt idx="55021">
                  <c:v>26.612059029135587</c:v>
                </c:pt>
                <c:pt idx="55022">
                  <c:v>38.156688346628727</c:v>
                </c:pt>
                <c:pt idx="55023">
                  <c:v>30.113166373573275</c:v>
                </c:pt>
                <c:pt idx="55024">
                  <c:v>33.049770775020882</c:v>
                </c:pt>
                <c:pt idx="55025">
                  <c:v>24.418833603528793</c:v>
                </c:pt>
                <c:pt idx="55026">
                  <c:v>27.575400206918445</c:v>
                </c:pt>
                <c:pt idx="55027">
                  <c:v>42.083503742187951</c:v>
                </c:pt>
                <c:pt idx="55028">
                  <c:v>18.960531518818787</c:v>
                </c:pt>
                <c:pt idx="55029">
                  <c:v>29.101342376343819</c:v>
                </c:pt>
                <c:pt idx="55030">
                  <c:v>21.176018046572842</c:v>
                </c:pt>
                <c:pt idx="55031">
                  <c:v>26.440753636585267</c:v>
                </c:pt>
                <c:pt idx="55032">
                  <c:v>33.527718816786276</c:v>
                </c:pt>
                <c:pt idx="55033">
                  <c:v>28.35392789059507</c:v>
                </c:pt>
                <c:pt idx="55034">
                  <c:v>26.639292793800827</c:v>
                </c:pt>
                <c:pt idx="55035">
                  <c:v>19.577166315173642</c:v>
                </c:pt>
                <c:pt idx="55036">
                  <c:v>41.62844746307379</c:v>
                </c:pt>
                <c:pt idx="55037">
                  <c:v>26.969182798659865</c:v>
                </c:pt>
                <c:pt idx="55038">
                  <c:v>51.329903099980278</c:v>
                </c:pt>
                <c:pt idx="55039">
                  <c:v>29.92379954827468</c:v>
                </c:pt>
                <c:pt idx="55040">
                  <c:v>52.082181645431717</c:v>
                </c:pt>
                <c:pt idx="55041">
                  <c:v>49.145970527523446</c:v>
                </c:pt>
                <c:pt idx="55042">
                  <c:v>31.051553948108779</c:v>
                </c:pt>
                <c:pt idx="55043">
                  <c:v>30.648316878138836</c:v>
                </c:pt>
                <c:pt idx="55044">
                  <c:v>23.07262008001112</c:v>
                </c:pt>
                <c:pt idx="55045">
                  <c:v>24.372509927766533</c:v>
                </c:pt>
                <c:pt idx="55046">
                  <c:v>39.122344367204732</c:v>
                </c:pt>
                <c:pt idx="55047">
                  <c:v>17.693417453251122</c:v>
                </c:pt>
                <c:pt idx="55048">
                  <c:v>34.634881930029806</c:v>
                </c:pt>
                <c:pt idx="55049">
                  <c:v>30.204447198746195</c:v>
                </c:pt>
                <c:pt idx="55050">
                  <c:v>30.57719280143105</c:v>
                </c:pt>
                <c:pt idx="55051">
                  <c:v>25.361538503598993</c:v>
                </c:pt>
                <c:pt idx="55052">
                  <c:v>21.191807539293201</c:v>
                </c:pt>
                <c:pt idx="55053">
                  <c:v>19.177374897214801</c:v>
                </c:pt>
                <c:pt idx="55054">
                  <c:v>25.940297267908896</c:v>
                </c:pt>
                <c:pt idx="55055">
                  <c:v>26.676483921740445</c:v>
                </c:pt>
                <c:pt idx="55056">
                  <c:v>46.438820988375056</c:v>
                </c:pt>
                <c:pt idx="55057">
                  <c:v>22.891781080544266</c:v>
                </c:pt>
                <c:pt idx="55058">
                  <c:v>29.541150911378104</c:v>
                </c:pt>
                <c:pt idx="55059">
                  <c:v>28.805025421934445</c:v>
                </c:pt>
                <c:pt idx="55060">
                  <c:v>30.732913185299939</c:v>
                </c:pt>
                <c:pt idx="55061">
                  <c:v>57.258619888000851</c:v>
                </c:pt>
                <c:pt idx="55062">
                  <c:v>46.390417770334182</c:v>
                </c:pt>
                <c:pt idx="55063">
                  <c:v>24.772072508402253</c:v>
                </c:pt>
                <c:pt idx="55064">
                  <c:v>31.01267414627165</c:v>
                </c:pt>
                <c:pt idx="55065">
                  <c:v>21.514711790921154</c:v>
                </c:pt>
                <c:pt idx="55066">
                  <c:v>24.004977300239851</c:v>
                </c:pt>
                <c:pt idx="55067">
                  <c:v>23.320802404705983</c:v>
                </c:pt>
                <c:pt idx="55068">
                  <c:v>22.202588794453561</c:v>
                </c:pt>
                <c:pt idx="55069">
                  <c:v>36.284209280287072</c:v>
                </c:pt>
                <c:pt idx="55070">
                  <c:v>23.103795777835948</c:v>
                </c:pt>
                <c:pt idx="55071">
                  <c:v>27.611428785670181</c:v>
                </c:pt>
                <c:pt idx="55072">
                  <c:v>25.880237126258486</c:v>
                </c:pt>
                <c:pt idx="55073">
                  <c:v>40.785954888096839</c:v>
                </c:pt>
                <c:pt idx="55074">
                  <c:v>23.101953091523427</c:v>
                </c:pt>
                <c:pt idx="55075">
                  <c:v>39.928638160280656</c:v>
                </c:pt>
                <c:pt idx="55076">
                  <c:v>29.849497017934461</c:v>
                </c:pt>
                <c:pt idx="55077">
                  <c:v>28.475237102574916</c:v>
                </c:pt>
                <c:pt idx="55078">
                  <c:v>20.662858064652987</c:v>
                </c:pt>
                <c:pt idx="55079">
                  <c:v>27.744071637555724</c:v>
                </c:pt>
                <c:pt idx="55080">
                  <c:v>37.766231530718656</c:v>
                </c:pt>
                <c:pt idx="55081">
                  <c:v>30.956204120218125</c:v>
                </c:pt>
                <c:pt idx="55082">
                  <c:v>30.087208543898569</c:v>
                </c:pt>
                <c:pt idx="55083">
                  <c:v>29.837043392132003</c:v>
                </c:pt>
                <c:pt idx="55084">
                  <c:v>21.989733771636864</c:v>
                </c:pt>
                <c:pt idx="55085">
                  <c:v>30.532231237629915</c:v>
                </c:pt>
                <c:pt idx="55086">
                  <c:v>29.198923225125306</c:v>
                </c:pt>
                <c:pt idx="55087">
                  <c:v>23.73995526743207</c:v>
                </c:pt>
                <c:pt idx="55088">
                  <c:v>35.196556558694489</c:v>
                </c:pt>
                <c:pt idx="55089">
                  <c:v>41.969568560511625</c:v>
                </c:pt>
                <c:pt idx="55090">
                  <c:v>27.774076671798863</c:v>
                </c:pt>
                <c:pt idx="55091">
                  <c:v>61.144421731791375</c:v>
                </c:pt>
                <c:pt idx="55092">
                  <c:v>23.322459106754224</c:v>
                </c:pt>
                <c:pt idx="55093">
                  <c:v>21.934299783586344</c:v>
                </c:pt>
                <c:pt idx="55094">
                  <c:v>25.923763528302899</c:v>
                </c:pt>
                <c:pt idx="55095">
                  <c:v>30.279429296048324</c:v>
                </c:pt>
                <c:pt idx="55096">
                  <c:v>25.547251322684005</c:v>
                </c:pt>
                <c:pt idx="55097">
                  <c:v>30.824388791904099</c:v>
                </c:pt>
                <c:pt idx="55098">
                  <c:v>39.847447471761861</c:v>
                </c:pt>
                <c:pt idx="55099">
                  <c:v>22.868331122438885</c:v>
                </c:pt>
                <c:pt idx="55100">
                  <c:v>55.086400121932833</c:v>
                </c:pt>
                <c:pt idx="55101">
                  <c:v>17.287192293390284</c:v>
                </c:pt>
                <c:pt idx="55102">
                  <c:v>45.727036558808322</c:v>
                </c:pt>
                <c:pt idx="55103">
                  <c:v>28.561457581644362</c:v>
                </c:pt>
                <c:pt idx="55104">
                  <c:v>25.817880935368052</c:v>
                </c:pt>
                <c:pt idx="55105">
                  <c:v>24.767742068570051</c:v>
                </c:pt>
                <c:pt idx="55106">
                  <c:v>29.694712353512063</c:v>
                </c:pt>
                <c:pt idx="55107">
                  <c:v>48.85259215595341</c:v>
                </c:pt>
                <c:pt idx="55108">
                  <c:v>26.90189252936176</c:v>
                </c:pt>
                <c:pt idx="55109">
                  <c:v>32.237060504039079</c:v>
                </c:pt>
                <c:pt idx="55110">
                  <c:v>37.141046917353371</c:v>
                </c:pt>
                <c:pt idx="55111">
                  <c:v>27.303572261469849</c:v>
                </c:pt>
                <c:pt idx="55112">
                  <c:v>29.210566562175554</c:v>
                </c:pt>
                <c:pt idx="55113">
                  <c:v>49.267916557526938</c:v>
                </c:pt>
                <c:pt idx="55114">
                  <c:v>48.941216717910507</c:v>
                </c:pt>
                <c:pt idx="55115">
                  <c:v>57.643472501849537</c:v>
                </c:pt>
                <c:pt idx="55116">
                  <c:v>29.152294475312903</c:v>
                </c:pt>
                <c:pt idx="55117">
                  <c:v>23.503872879332562</c:v>
                </c:pt>
                <c:pt idx="55118">
                  <c:v>23.543557821932076</c:v>
                </c:pt>
                <c:pt idx="55119">
                  <c:v>29.450986500073171</c:v>
                </c:pt>
                <c:pt idx="55120">
                  <c:v>26.203653845195024</c:v>
                </c:pt>
                <c:pt idx="55121">
                  <c:v>31.945091970873385</c:v>
                </c:pt>
                <c:pt idx="55122">
                  <c:v>42.217843526721083</c:v>
                </c:pt>
                <c:pt idx="55123">
                  <c:v>33.086793715888732</c:v>
                </c:pt>
                <c:pt idx="55124">
                  <c:v>47.384231828810009</c:v>
                </c:pt>
                <c:pt idx="55125">
                  <c:v>35.723381466211073</c:v>
                </c:pt>
                <c:pt idx="55126">
                  <c:v>27.105170286465103</c:v>
                </c:pt>
                <c:pt idx="55127">
                  <c:v>38.3630675149236</c:v>
                </c:pt>
                <c:pt idx="55128">
                  <c:v>24.781281775676941</c:v>
                </c:pt>
                <c:pt idx="55129">
                  <c:v>51.726154318759299</c:v>
                </c:pt>
                <c:pt idx="55130">
                  <c:v>21.456220965121254</c:v>
                </c:pt>
                <c:pt idx="55131">
                  <c:v>27.695755962820737</c:v>
                </c:pt>
                <c:pt idx="55132">
                  <c:v>38.181142595765003</c:v>
                </c:pt>
                <c:pt idx="55133">
                  <c:v>23.383806059537413</c:v>
                </c:pt>
                <c:pt idx="55134">
                  <c:v>22.121928736335057</c:v>
                </c:pt>
                <c:pt idx="55135">
                  <c:v>25.631245062436019</c:v>
                </c:pt>
                <c:pt idx="55136">
                  <c:v>26.916873836393425</c:v>
                </c:pt>
                <c:pt idx="55137">
                  <c:v>48.098624513956459</c:v>
                </c:pt>
                <c:pt idx="55138">
                  <c:v>50.812012311164892</c:v>
                </c:pt>
                <c:pt idx="55139">
                  <c:v>29.660259522964882</c:v>
                </c:pt>
                <c:pt idx="55140">
                  <c:v>22.934698252578428</c:v>
                </c:pt>
                <c:pt idx="55141">
                  <c:v>23.61273129622441</c:v>
                </c:pt>
                <c:pt idx="55142">
                  <c:v>29.031273762446407</c:v>
                </c:pt>
                <c:pt idx="55143">
                  <c:v>32.422875705857308</c:v>
                </c:pt>
                <c:pt idx="55144">
                  <c:v>45.65558668712719</c:v>
                </c:pt>
                <c:pt idx="55145">
                  <c:v>48.450671739767429</c:v>
                </c:pt>
                <c:pt idx="55146">
                  <c:v>24.309279289328376</c:v>
                </c:pt>
                <c:pt idx="55147">
                  <c:v>24.57192543777138</c:v>
                </c:pt>
                <c:pt idx="55148">
                  <c:v>19.251524000139437</c:v>
                </c:pt>
                <c:pt idx="55149">
                  <c:v>26.462270713481868</c:v>
                </c:pt>
                <c:pt idx="55150">
                  <c:v>23.413707393023934</c:v>
                </c:pt>
                <c:pt idx="55151">
                  <c:v>32.959168290567284</c:v>
                </c:pt>
                <c:pt idx="55152">
                  <c:v>23.524619298832224</c:v>
                </c:pt>
                <c:pt idx="55153">
                  <c:v>23.587594192836512</c:v>
                </c:pt>
                <c:pt idx="55154">
                  <c:v>30.924532275457668</c:v>
                </c:pt>
                <c:pt idx="55155">
                  <c:v>41.917269893041215</c:v>
                </c:pt>
                <c:pt idx="55156">
                  <c:v>25.821520893715405</c:v>
                </c:pt>
                <c:pt idx="55157">
                  <c:v>23.674816971699983</c:v>
                </c:pt>
                <c:pt idx="55158">
                  <c:v>31.008732848839301</c:v>
                </c:pt>
                <c:pt idx="55159">
                  <c:v>25.444526766149142</c:v>
                </c:pt>
                <c:pt idx="55160">
                  <c:v>36.853492423035199</c:v>
                </c:pt>
                <c:pt idx="55161">
                  <c:v>54.65237653705713</c:v>
                </c:pt>
                <c:pt idx="55162">
                  <c:v>23.663405209627978</c:v>
                </c:pt>
                <c:pt idx="55163">
                  <c:v>48.178149394356133</c:v>
                </c:pt>
                <c:pt idx="55164">
                  <c:v>18.835733538313022</c:v>
                </c:pt>
                <c:pt idx="55165">
                  <c:v>22.822110053870002</c:v>
                </c:pt>
                <c:pt idx="55166">
                  <c:v>27.861477395495282</c:v>
                </c:pt>
                <c:pt idx="55167">
                  <c:v>22.080673123191097</c:v>
                </c:pt>
                <c:pt idx="55168">
                  <c:v>25.623364014856563</c:v>
                </c:pt>
                <c:pt idx="55169">
                  <c:v>24.851406514116629</c:v>
                </c:pt>
                <c:pt idx="55170">
                  <c:v>26.280103670682163</c:v>
                </c:pt>
                <c:pt idx="55171">
                  <c:v>30.33020781549369</c:v>
                </c:pt>
                <c:pt idx="55172">
                  <c:v>20.991457355383403</c:v>
                </c:pt>
                <c:pt idx="55173">
                  <c:v>31.098191502877707</c:v>
                </c:pt>
                <c:pt idx="55174">
                  <c:v>24.192905095647308</c:v>
                </c:pt>
                <c:pt idx="55175">
                  <c:v>27.898614715661793</c:v>
                </c:pt>
                <c:pt idx="55176">
                  <c:v>24.28852222982589</c:v>
                </c:pt>
                <c:pt idx="55177">
                  <c:v>50.648435220665398</c:v>
                </c:pt>
                <c:pt idx="55178">
                  <c:v>29.596828265205698</c:v>
                </c:pt>
                <c:pt idx="55179">
                  <c:v>29.143770710299584</c:v>
                </c:pt>
                <c:pt idx="55180">
                  <c:v>39.753874881077955</c:v>
                </c:pt>
                <c:pt idx="55181">
                  <c:v>28.905868698465788</c:v>
                </c:pt>
                <c:pt idx="55182">
                  <c:v>31.405052570636009</c:v>
                </c:pt>
                <c:pt idx="55183">
                  <c:v>39.059595894529828</c:v>
                </c:pt>
                <c:pt idx="55184">
                  <c:v>21.131936395972389</c:v>
                </c:pt>
                <c:pt idx="55185">
                  <c:v>41.488260225034097</c:v>
                </c:pt>
                <c:pt idx="55186">
                  <c:v>21.163601775903643</c:v>
                </c:pt>
                <c:pt idx="55187">
                  <c:v>29.229615722762812</c:v>
                </c:pt>
                <c:pt idx="55188">
                  <c:v>27.328482552835617</c:v>
                </c:pt>
                <c:pt idx="55189">
                  <c:v>44.078746244291011</c:v>
                </c:pt>
                <c:pt idx="55190">
                  <c:v>29.139702308343466</c:v>
                </c:pt>
                <c:pt idx="55191">
                  <c:v>17.646768171107141</c:v>
                </c:pt>
                <c:pt idx="55192">
                  <c:v>16.259077316799317</c:v>
                </c:pt>
                <c:pt idx="55193">
                  <c:v>27.330978288242484</c:v>
                </c:pt>
                <c:pt idx="55194">
                  <c:v>20.931384273593089</c:v>
                </c:pt>
                <c:pt idx="55195">
                  <c:v>29.874906310191879</c:v>
                </c:pt>
                <c:pt idx="55196">
                  <c:v>47.218753691333646</c:v>
                </c:pt>
                <c:pt idx="55197">
                  <c:v>59.32964582472728</c:v>
                </c:pt>
                <c:pt idx="55198">
                  <c:v>38.266234387660887</c:v>
                </c:pt>
                <c:pt idx="55199">
                  <c:v>29.09838507358765</c:v>
                </c:pt>
                <c:pt idx="55200">
                  <c:v>25.751187039613804</c:v>
                </c:pt>
                <c:pt idx="55201">
                  <c:v>21.365197670896041</c:v>
                </c:pt>
                <c:pt idx="55202">
                  <c:v>49.984231137775751</c:v>
                </c:pt>
                <c:pt idx="55203">
                  <c:v>25.427600554052226</c:v>
                </c:pt>
                <c:pt idx="55204">
                  <c:v>18.542891358001796</c:v>
                </c:pt>
                <c:pt idx="55205">
                  <c:v>23.759617296025457</c:v>
                </c:pt>
                <c:pt idx="55206">
                  <c:v>32.112902016447798</c:v>
                </c:pt>
                <c:pt idx="55207">
                  <c:v>25.837076068908598</c:v>
                </c:pt>
                <c:pt idx="55208">
                  <c:v>32.028061205533334</c:v>
                </c:pt>
                <c:pt idx="55209">
                  <c:v>50.331778365492553</c:v>
                </c:pt>
                <c:pt idx="55210">
                  <c:v>37.984101217772022</c:v>
                </c:pt>
                <c:pt idx="55211">
                  <c:v>27.105405956095197</c:v>
                </c:pt>
                <c:pt idx="55212">
                  <c:v>21.0843844458579</c:v>
                </c:pt>
                <c:pt idx="55213">
                  <c:v>39.720635393638069</c:v>
                </c:pt>
                <c:pt idx="55214">
                  <c:v>47.424891217202813</c:v>
                </c:pt>
                <c:pt idx="55215">
                  <c:v>31.365406255662933</c:v>
                </c:pt>
                <c:pt idx="55216">
                  <c:v>27.86626687310698</c:v>
                </c:pt>
                <c:pt idx="55217">
                  <c:v>40.908121775107034</c:v>
                </c:pt>
                <c:pt idx="55218">
                  <c:v>27.234774349429493</c:v>
                </c:pt>
                <c:pt idx="55219">
                  <c:v>25.332884961436079</c:v>
                </c:pt>
                <c:pt idx="55220">
                  <c:v>21.859953662296537</c:v>
                </c:pt>
                <c:pt idx="55221">
                  <c:v>29.28265584595777</c:v>
                </c:pt>
                <c:pt idx="55222">
                  <c:v>26.509075467123242</c:v>
                </c:pt>
                <c:pt idx="55223">
                  <c:v>15.096065721805839</c:v>
                </c:pt>
                <c:pt idx="55224">
                  <c:v>37.388741093736087</c:v>
                </c:pt>
                <c:pt idx="55225">
                  <c:v>23.790638883522899</c:v>
                </c:pt>
                <c:pt idx="55226">
                  <c:v>28.780314427990707</c:v>
                </c:pt>
                <c:pt idx="55227">
                  <c:v>18.916458409427364</c:v>
                </c:pt>
                <c:pt idx="55228">
                  <c:v>40.691221026357198</c:v>
                </c:pt>
                <c:pt idx="55229">
                  <c:v>27.012704556170775</c:v>
                </c:pt>
                <c:pt idx="55230">
                  <c:v>26.561246472666234</c:v>
                </c:pt>
                <c:pt idx="55231">
                  <c:v>21.93066488406015</c:v>
                </c:pt>
                <c:pt idx="55232">
                  <c:v>31.192583411459573</c:v>
                </c:pt>
                <c:pt idx="55233">
                  <c:v>45.40714289678305</c:v>
                </c:pt>
                <c:pt idx="55234">
                  <c:v>26.095316990928907</c:v>
                </c:pt>
                <c:pt idx="55235">
                  <c:v>25.043676493662598</c:v>
                </c:pt>
                <c:pt idx="55236">
                  <c:v>25.843886644226629</c:v>
                </c:pt>
                <c:pt idx="55237">
                  <c:v>52.30217635299401</c:v>
                </c:pt>
                <c:pt idx="55238">
                  <c:v>38.957380424144837</c:v>
                </c:pt>
                <c:pt idx="55239">
                  <c:v>23.221192161485437</c:v>
                </c:pt>
                <c:pt idx="55240">
                  <c:v>18.841784624735126</c:v>
                </c:pt>
                <c:pt idx="55241">
                  <c:v>25.188493432925281</c:v>
                </c:pt>
                <c:pt idx="55242">
                  <c:v>50.844690989931316</c:v>
                </c:pt>
                <c:pt idx="55243">
                  <c:v>42.62911287294429</c:v>
                </c:pt>
                <c:pt idx="55244">
                  <c:v>35.23461674311153</c:v>
                </c:pt>
                <c:pt idx="55245">
                  <c:v>21.9850189451547</c:v>
                </c:pt>
                <c:pt idx="55246">
                  <c:v>26.139851615940028</c:v>
                </c:pt>
                <c:pt idx="55247">
                  <c:v>36.019304659742666</c:v>
                </c:pt>
                <c:pt idx="55248">
                  <c:v>25.809525700773854</c:v>
                </c:pt>
                <c:pt idx="55249">
                  <c:v>27.520124529239375</c:v>
                </c:pt>
                <c:pt idx="55250">
                  <c:v>20.671961804341702</c:v>
                </c:pt>
                <c:pt idx="55251">
                  <c:v>19.137655232954735</c:v>
                </c:pt>
                <c:pt idx="55252">
                  <c:v>24.740352919625916</c:v>
                </c:pt>
                <c:pt idx="55253">
                  <c:v>27.386375658950538</c:v>
                </c:pt>
                <c:pt idx="55254">
                  <c:v>21.068688660020527</c:v>
                </c:pt>
                <c:pt idx="55255">
                  <c:v>31.843236361968394</c:v>
                </c:pt>
                <c:pt idx="55256">
                  <c:v>22.174856082181766</c:v>
                </c:pt>
                <c:pt idx="55257">
                  <c:v>23.307236939868602</c:v>
                </c:pt>
                <c:pt idx="55258">
                  <c:v>36.406491201485331</c:v>
                </c:pt>
                <c:pt idx="55259">
                  <c:v>17.652516170785468</c:v>
                </c:pt>
                <c:pt idx="55260">
                  <c:v>29.217520566807174</c:v>
                </c:pt>
                <c:pt idx="55261">
                  <c:v>40.730260323938765</c:v>
                </c:pt>
                <c:pt idx="55262">
                  <c:v>32.784679250670024</c:v>
                </c:pt>
                <c:pt idx="55263">
                  <c:v>27.056447154344141</c:v>
                </c:pt>
                <c:pt idx="55264">
                  <c:v>56.608962450310642</c:v>
                </c:pt>
                <c:pt idx="55265">
                  <c:v>38.992976001078432</c:v>
                </c:pt>
                <c:pt idx="55266">
                  <c:v>31.445935709059107</c:v>
                </c:pt>
                <c:pt idx="55267">
                  <c:v>33.943456402787902</c:v>
                </c:pt>
                <c:pt idx="55268">
                  <c:v>25.357915345200237</c:v>
                </c:pt>
                <c:pt idx="55269">
                  <c:v>22.295099129828269</c:v>
                </c:pt>
                <c:pt idx="55270">
                  <c:v>24.295141958091566</c:v>
                </c:pt>
                <c:pt idx="55271">
                  <c:v>15.851557276143826</c:v>
                </c:pt>
                <c:pt idx="55272">
                  <c:v>30.977774113816587</c:v>
                </c:pt>
                <c:pt idx="55273">
                  <c:v>26.888720220607031</c:v>
                </c:pt>
                <c:pt idx="55274">
                  <c:v>44.770118580587848</c:v>
                </c:pt>
                <c:pt idx="55275">
                  <c:v>25.22331070705081</c:v>
                </c:pt>
                <c:pt idx="55276">
                  <c:v>30.714109222611548</c:v>
                </c:pt>
                <c:pt idx="55277">
                  <c:v>27.152352711235448</c:v>
                </c:pt>
                <c:pt idx="55278">
                  <c:v>19.7457505083377</c:v>
                </c:pt>
                <c:pt idx="55279">
                  <c:v>52.027854032976016</c:v>
                </c:pt>
                <c:pt idx="55280">
                  <c:v>21.686214285113085</c:v>
                </c:pt>
                <c:pt idx="55281">
                  <c:v>29.601358119384372</c:v>
                </c:pt>
                <c:pt idx="55282">
                  <c:v>25.164778190665757</c:v>
                </c:pt>
                <c:pt idx="55283">
                  <c:v>18.152158075192645</c:v>
                </c:pt>
                <c:pt idx="55284">
                  <c:v>18.634050890633656</c:v>
                </c:pt>
                <c:pt idx="55285">
                  <c:v>20.493088888830933</c:v>
                </c:pt>
                <c:pt idx="55286">
                  <c:v>65.799546624408009</c:v>
                </c:pt>
                <c:pt idx="55287">
                  <c:v>17.802413912238013</c:v>
                </c:pt>
                <c:pt idx="55288">
                  <c:v>32.430418566713712</c:v>
                </c:pt>
                <c:pt idx="55289">
                  <c:v>38.73861295408814</c:v>
                </c:pt>
                <c:pt idx="55290">
                  <c:v>48.440955283885145</c:v>
                </c:pt>
                <c:pt idx="55291">
                  <c:v>44.587166533806823</c:v>
                </c:pt>
                <c:pt idx="55292">
                  <c:v>24.764186446802402</c:v>
                </c:pt>
                <c:pt idx="55293">
                  <c:v>21.760192544586282</c:v>
                </c:pt>
                <c:pt idx="55294">
                  <c:v>33.022994779237216</c:v>
                </c:pt>
                <c:pt idx="55295">
                  <c:v>18.296839161883312</c:v>
                </c:pt>
                <c:pt idx="55296">
                  <c:v>23.793389980357269</c:v>
                </c:pt>
                <c:pt idx="55297">
                  <c:v>37.000226093827742</c:v>
                </c:pt>
                <c:pt idx="55298">
                  <c:v>24.241359190325994</c:v>
                </c:pt>
                <c:pt idx="55299">
                  <c:v>27.154252540502934</c:v>
                </c:pt>
                <c:pt idx="55300">
                  <c:v>20.814143696849047</c:v>
                </c:pt>
                <c:pt idx="55301">
                  <c:v>25.909886186988743</c:v>
                </c:pt>
                <c:pt idx="55302">
                  <c:v>44.698705124416904</c:v>
                </c:pt>
                <c:pt idx="55303">
                  <c:v>41.582425860667264</c:v>
                </c:pt>
                <c:pt idx="55304">
                  <c:v>34.144400146315434</c:v>
                </c:pt>
                <c:pt idx="55305">
                  <c:v>30.623461320772968</c:v>
                </c:pt>
                <c:pt idx="55306">
                  <c:v>25.221008395333374</c:v>
                </c:pt>
                <c:pt idx="55307">
                  <c:v>40.589848602798305</c:v>
                </c:pt>
                <c:pt idx="55308">
                  <c:v>22.201349207967976</c:v>
                </c:pt>
                <c:pt idx="55309">
                  <c:v>22.138073113710668</c:v>
                </c:pt>
                <c:pt idx="55310">
                  <c:v>22.714867201757041</c:v>
                </c:pt>
                <c:pt idx="55311">
                  <c:v>33.08584320110981</c:v>
                </c:pt>
                <c:pt idx="55312">
                  <c:v>23.741138316073606</c:v>
                </c:pt>
                <c:pt idx="55313">
                  <c:v>31.211008574510192</c:v>
                </c:pt>
                <c:pt idx="55314">
                  <c:v>26.521898003914004</c:v>
                </c:pt>
                <c:pt idx="55315">
                  <c:v>29.557135612471246</c:v>
                </c:pt>
                <c:pt idx="55316">
                  <c:v>25.254485418074552</c:v>
                </c:pt>
                <c:pt idx="55317">
                  <c:v>29.252432768886251</c:v>
                </c:pt>
                <c:pt idx="55318">
                  <c:v>31.460778158488523</c:v>
                </c:pt>
                <c:pt idx="55319">
                  <c:v>30.057686028653656</c:v>
                </c:pt>
                <c:pt idx="55320">
                  <c:v>25.65956856821272</c:v>
                </c:pt>
                <c:pt idx="55321">
                  <c:v>20.837034436884391</c:v>
                </c:pt>
                <c:pt idx="55322">
                  <c:v>26.214788202934933</c:v>
                </c:pt>
                <c:pt idx="55323">
                  <c:v>22.176485691365329</c:v>
                </c:pt>
                <c:pt idx="55324">
                  <c:v>33.91401600713418</c:v>
                </c:pt>
                <c:pt idx="55325">
                  <c:v>53.250128576237699</c:v>
                </c:pt>
                <c:pt idx="55326">
                  <c:v>25.640184408699724</c:v>
                </c:pt>
                <c:pt idx="55327">
                  <c:v>27.326416723337402</c:v>
                </c:pt>
                <c:pt idx="55328">
                  <c:v>51.046979910332226</c:v>
                </c:pt>
                <c:pt idx="55329">
                  <c:v>23.018484606485973</c:v>
                </c:pt>
                <c:pt idx="55330">
                  <c:v>29.923864052551938</c:v>
                </c:pt>
                <c:pt idx="55331">
                  <c:v>45.365136877542682</c:v>
                </c:pt>
                <c:pt idx="55332">
                  <c:v>53.191047104482266</c:v>
                </c:pt>
                <c:pt idx="55333">
                  <c:v>30.872383666535079</c:v>
                </c:pt>
                <c:pt idx="55334">
                  <c:v>21.470334998690014</c:v>
                </c:pt>
                <c:pt idx="55335">
                  <c:v>25.871016543739287</c:v>
                </c:pt>
                <c:pt idx="55336">
                  <c:v>24.459718173196659</c:v>
                </c:pt>
                <c:pt idx="55337">
                  <c:v>20.135320853835854</c:v>
                </c:pt>
                <c:pt idx="55338">
                  <c:v>29.911863831703602</c:v>
                </c:pt>
                <c:pt idx="55339">
                  <c:v>22.217921896288573</c:v>
                </c:pt>
                <c:pt idx="55340">
                  <c:v>55.882869770386876</c:v>
                </c:pt>
                <c:pt idx="55341">
                  <c:v>22.499021077528578</c:v>
                </c:pt>
                <c:pt idx="55342">
                  <c:v>39.473396485249545</c:v>
                </c:pt>
                <c:pt idx="55343">
                  <c:v>25.053115071090669</c:v>
                </c:pt>
                <c:pt idx="55344">
                  <c:v>51.960276867729192</c:v>
                </c:pt>
                <c:pt idx="55345">
                  <c:v>31.921467071638091</c:v>
                </c:pt>
                <c:pt idx="55346">
                  <c:v>34.363972781209746</c:v>
                </c:pt>
                <c:pt idx="55347">
                  <c:v>52.918897018385721</c:v>
                </c:pt>
                <c:pt idx="55348">
                  <c:v>39.92804012205</c:v>
                </c:pt>
                <c:pt idx="55349">
                  <c:v>26.752051029121603</c:v>
                </c:pt>
                <c:pt idx="55350">
                  <c:v>23.912334396215677</c:v>
                </c:pt>
                <c:pt idx="55351">
                  <c:v>39.147154812898187</c:v>
                </c:pt>
                <c:pt idx="55352">
                  <c:v>28.732263771519406</c:v>
                </c:pt>
                <c:pt idx="55353">
                  <c:v>24.336162760966506</c:v>
                </c:pt>
                <c:pt idx="55354">
                  <c:v>27.507952131489439</c:v>
                </c:pt>
                <c:pt idx="55355">
                  <c:v>31.015492268024666</c:v>
                </c:pt>
                <c:pt idx="55356">
                  <c:v>45.108312173684915</c:v>
                </c:pt>
                <c:pt idx="55357">
                  <c:v>22.470185608342824</c:v>
                </c:pt>
                <c:pt idx="55358">
                  <c:v>53.751573597994856</c:v>
                </c:pt>
                <c:pt idx="55359">
                  <c:v>34.90410133573792</c:v>
                </c:pt>
                <c:pt idx="55360">
                  <c:v>25.168553441823768</c:v>
                </c:pt>
                <c:pt idx="55361">
                  <c:v>30.645648695362993</c:v>
                </c:pt>
                <c:pt idx="55362">
                  <c:v>23.061409929743096</c:v>
                </c:pt>
                <c:pt idx="55363">
                  <c:v>51.916201246049127</c:v>
                </c:pt>
                <c:pt idx="55364">
                  <c:v>56.154526109426911</c:v>
                </c:pt>
                <c:pt idx="55365">
                  <c:v>34.958153530404815</c:v>
                </c:pt>
                <c:pt idx="55366">
                  <c:v>29.951940424697018</c:v>
                </c:pt>
                <c:pt idx="55367">
                  <c:v>28.331184652271336</c:v>
                </c:pt>
                <c:pt idx="55368">
                  <c:v>23.138341182544497</c:v>
                </c:pt>
                <c:pt idx="55369">
                  <c:v>24.974208421164978</c:v>
                </c:pt>
                <c:pt idx="55370">
                  <c:v>30.338593997954362</c:v>
                </c:pt>
                <c:pt idx="55371">
                  <c:v>21.656872848155253</c:v>
                </c:pt>
                <c:pt idx="55372">
                  <c:v>33.747659620941533</c:v>
                </c:pt>
                <c:pt idx="55373">
                  <c:v>27.092492013588632</c:v>
                </c:pt>
                <c:pt idx="55374">
                  <c:v>32.74548148025562</c:v>
                </c:pt>
                <c:pt idx="55375">
                  <c:v>17.414463041520523</c:v>
                </c:pt>
                <c:pt idx="55376">
                  <c:v>25.755475426649241</c:v>
                </c:pt>
                <c:pt idx="55377">
                  <c:v>42.716817402558206</c:v>
                </c:pt>
                <c:pt idx="55378">
                  <c:v>29.785914059215699</c:v>
                </c:pt>
                <c:pt idx="55379">
                  <c:v>40.022966262490527</c:v>
                </c:pt>
                <c:pt idx="55380">
                  <c:v>24.046027455471357</c:v>
                </c:pt>
                <c:pt idx="55381">
                  <c:v>25.723881335662824</c:v>
                </c:pt>
                <c:pt idx="55382">
                  <c:v>55.420443204166027</c:v>
                </c:pt>
                <c:pt idx="55383">
                  <c:v>25.788303745392657</c:v>
                </c:pt>
                <c:pt idx="55384">
                  <c:v>37.518915064222099</c:v>
                </c:pt>
                <c:pt idx="55385">
                  <c:v>24.984812174998392</c:v>
                </c:pt>
                <c:pt idx="55386">
                  <c:v>22.010531586678368</c:v>
                </c:pt>
                <c:pt idx="55387">
                  <c:v>29.846823498314567</c:v>
                </c:pt>
                <c:pt idx="55388">
                  <c:v>49.677182146652434</c:v>
                </c:pt>
                <c:pt idx="55389">
                  <c:v>48.137200524596189</c:v>
                </c:pt>
                <c:pt idx="55390">
                  <c:v>31.558114531778646</c:v>
                </c:pt>
                <c:pt idx="55391">
                  <c:v>21.229271615822064</c:v>
                </c:pt>
                <c:pt idx="55392">
                  <c:v>27.176119600363712</c:v>
                </c:pt>
                <c:pt idx="55393">
                  <c:v>30.538661018951085</c:v>
                </c:pt>
                <c:pt idx="55394">
                  <c:v>31.362285781257579</c:v>
                </c:pt>
                <c:pt idx="55395">
                  <c:v>33.841483207107117</c:v>
                </c:pt>
                <c:pt idx="55396">
                  <c:v>19.491497967291352</c:v>
                </c:pt>
                <c:pt idx="55397">
                  <c:v>29.842711489124493</c:v>
                </c:pt>
                <c:pt idx="55398">
                  <c:v>18.960165826381569</c:v>
                </c:pt>
                <c:pt idx="55399">
                  <c:v>41.806155245432635</c:v>
                </c:pt>
                <c:pt idx="55400">
                  <c:v>28.553224421284106</c:v>
                </c:pt>
                <c:pt idx="55401">
                  <c:v>47.887584704543514</c:v>
                </c:pt>
                <c:pt idx="55402">
                  <c:v>20.595851749012891</c:v>
                </c:pt>
                <c:pt idx="55403">
                  <c:v>29.232631237744584</c:v>
                </c:pt>
                <c:pt idx="55404">
                  <c:v>25.870465598366188</c:v>
                </c:pt>
                <c:pt idx="55405">
                  <c:v>14.945420074420689</c:v>
                </c:pt>
                <c:pt idx="55406">
                  <c:v>56.168553039365975</c:v>
                </c:pt>
                <c:pt idx="55407">
                  <c:v>24.237070891111863</c:v>
                </c:pt>
                <c:pt idx="55408">
                  <c:v>32.28964096310856</c:v>
                </c:pt>
                <c:pt idx="55409">
                  <c:v>25.322991327939143</c:v>
                </c:pt>
                <c:pt idx="55410">
                  <c:v>43.919295133735567</c:v>
                </c:pt>
                <c:pt idx="55411">
                  <c:v>21.831235009764683</c:v>
                </c:pt>
                <c:pt idx="55412">
                  <c:v>40.079199695922142</c:v>
                </c:pt>
                <c:pt idx="55413">
                  <c:v>34.905932556733148</c:v>
                </c:pt>
                <c:pt idx="55414">
                  <c:v>32.981130046185811</c:v>
                </c:pt>
                <c:pt idx="55415">
                  <c:v>23.940896960359993</c:v>
                </c:pt>
                <c:pt idx="55416">
                  <c:v>49.428835792513098</c:v>
                </c:pt>
                <c:pt idx="55417">
                  <c:v>26.86627112690929</c:v>
                </c:pt>
                <c:pt idx="55418">
                  <c:v>27.229491821462975</c:v>
                </c:pt>
                <c:pt idx="55419">
                  <c:v>44.474080856240164</c:v>
                </c:pt>
                <c:pt idx="55420">
                  <c:v>29.389432416337421</c:v>
                </c:pt>
                <c:pt idx="55421">
                  <c:v>40.459279619443478</c:v>
                </c:pt>
                <c:pt idx="55422">
                  <c:v>46.815826110441279</c:v>
                </c:pt>
                <c:pt idx="55423">
                  <c:v>54.727812249126103</c:v>
                </c:pt>
                <c:pt idx="55424">
                  <c:v>26.697413865691558</c:v>
                </c:pt>
                <c:pt idx="55425">
                  <c:v>53.959700983791677</c:v>
                </c:pt>
                <c:pt idx="55426">
                  <c:v>25.596881826582901</c:v>
                </c:pt>
                <c:pt idx="55427">
                  <c:v>29.890042989982796</c:v>
                </c:pt>
                <c:pt idx="55428">
                  <c:v>24.09715503947989</c:v>
                </c:pt>
                <c:pt idx="55429">
                  <c:v>47.109637761894184</c:v>
                </c:pt>
                <c:pt idx="55430">
                  <c:v>59.107160778803397</c:v>
                </c:pt>
                <c:pt idx="55431">
                  <c:v>26.587819589370067</c:v>
                </c:pt>
                <c:pt idx="55432">
                  <c:v>47.118704750177095</c:v>
                </c:pt>
                <c:pt idx="55433">
                  <c:v>21.716671277912141</c:v>
                </c:pt>
                <c:pt idx="55434">
                  <c:v>19.19840602191308</c:v>
                </c:pt>
                <c:pt idx="55435">
                  <c:v>44.952635243351125</c:v>
                </c:pt>
                <c:pt idx="55436">
                  <c:v>43.052709732265761</c:v>
                </c:pt>
                <c:pt idx="55437">
                  <c:v>48.172970880226998</c:v>
                </c:pt>
                <c:pt idx="55438">
                  <c:v>23.39722668186576</c:v>
                </c:pt>
                <c:pt idx="55439">
                  <c:v>39.563208125994244</c:v>
                </c:pt>
                <c:pt idx="55440">
                  <c:v>28.246300016877992</c:v>
                </c:pt>
                <c:pt idx="55441">
                  <c:v>43.65110758027226</c:v>
                </c:pt>
                <c:pt idx="55442">
                  <c:v>26.227648635273145</c:v>
                </c:pt>
                <c:pt idx="55443">
                  <c:v>38.350016421886863</c:v>
                </c:pt>
                <c:pt idx="55444">
                  <c:v>31.710725644466617</c:v>
                </c:pt>
                <c:pt idx="55445">
                  <c:v>29.574585800196555</c:v>
                </c:pt>
                <c:pt idx="55446">
                  <c:v>29.116758421656588</c:v>
                </c:pt>
                <c:pt idx="55447">
                  <c:v>24.511755093619758</c:v>
                </c:pt>
                <c:pt idx="55448">
                  <c:v>25.085832044796273</c:v>
                </c:pt>
                <c:pt idx="55449">
                  <c:v>27.361246807300667</c:v>
                </c:pt>
                <c:pt idx="55450">
                  <c:v>20.735941051193119</c:v>
                </c:pt>
                <c:pt idx="55451">
                  <c:v>27.513862296910059</c:v>
                </c:pt>
                <c:pt idx="55452">
                  <c:v>32.78140504300714</c:v>
                </c:pt>
                <c:pt idx="55453">
                  <c:v>32.366838035775174</c:v>
                </c:pt>
                <c:pt idx="55454">
                  <c:v>34.364603625965508</c:v>
                </c:pt>
                <c:pt idx="55455">
                  <c:v>26.337041311798707</c:v>
                </c:pt>
                <c:pt idx="55456">
                  <c:v>30.791710978116519</c:v>
                </c:pt>
                <c:pt idx="55457">
                  <c:v>41.297316160361106</c:v>
                </c:pt>
                <c:pt idx="55458">
                  <c:v>30.184160012965354</c:v>
                </c:pt>
                <c:pt idx="55459">
                  <c:v>23.605592748455344</c:v>
                </c:pt>
                <c:pt idx="55460">
                  <c:v>53.037615663856783</c:v>
                </c:pt>
                <c:pt idx="55461">
                  <c:v>31.531523026486042</c:v>
                </c:pt>
                <c:pt idx="55462">
                  <c:v>73.997645633422707</c:v>
                </c:pt>
                <c:pt idx="55463">
                  <c:v>28.780925300983796</c:v>
                </c:pt>
                <c:pt idx="55464">
                  <c:v>49.200689495694519</c:v>
                </c:pt>
                <c:pt idx="55465">
                  <c:v>48.442061114324233</c:v>
                </c:pt>
                <c:pt idx="55466">
                  <c:v>45.268499165484918</c:v>
                </c:pt>
                <c:pt idx="55467">
                  <c:v>18.496962093842928</c:v>
                </c:pt>
                <c:pt idx="55468">
                  <c:v>20.202160038256327</c:v>
                </c:pt>
                <c:pt idx="55469">
                  <c:v>26.469871365981739</c:v>
                </c:pt>
                <c:pt idx="55470">
                  <c:v>27.41137528365546</c:v>
                </c:pt>
                <c:pt idx="55471">
                  <c:v>25.38877450650455</c:v>
                </c:pt>
                <c:pt idx="55472">
                  <c:v>30.501249307736195</c:v>
                </c:pt>
                <c:pt idx="55473">
                  <c:v>45.001628107091626</c:v>
                </c:pt>
                <c:pt idx="55474">
                  <c:v>37.825930232169242</c:v>
                </c:pt>
                <c:pt idx="55475">
                  <c:v>27.040068423224163</c:v>
                </c:pt>
                <c:pt idx="55476">
                  <c:v>25.583980227994104</c:v>
                </c:pt>
                <c:pt idx="55477">
                  <c:v>27.205906056805244</c:v>
                </c:pt>
                <c:pt idx="55478">
                  <c:v>26.448645826926377</c:v>
                </c:pt>
                <c:pt idx="55479">
                  <c:v>30.85636702376317</c:v>
                </c:pt>
                <c:pt idx="55480">
                  <c:v>23.420418724552132</c:v>
                </c:pt>
                <c:pt idx="55481">
                  <c:v>28.918844136857686</c:v>
                </c:pt>
                <c:pt idx="55482">
                  <c:v>38.092674871013969</c:v>
                </c:pt>
                <c:pt idx="55483">
                  <c:v>25.299698395800782</c:v>
                </c:pt>
                <c:pt idx="55484">
                  <c:v>44.243850569380726</c:v>
                </c:pt>
                <c:pt idx="55485">
                  <c:v>20.709849603241441</c:v>
                </c:pt>
                <c:pt idx="55486">
                  <c:v>22.3029782837135</c:v>
                </c:pt>
                <c:pt idx="55487">
                  <c:v>48.345273304814896</c:v>
                </c:pt>
                <c:pt idx="55488">
                  <c:v>55.739643332892918</c:v>
                </c:pt>
                <c:pt idx="55489">
                  <c:v>24.961302859294101</c:v>
                </c:pt>
                <c:pt idx="55490">
                  <c:v>30.993594873738285</c:v>
                </c:pt>
                <c:pt idx="55491">
                  <c:v>33.804644780742279</c:v>
                </c:pt>
                <c:pt idx="55492">
                  <c:v>25.732257932621813</c:v>
                </c:pt>
                <c:pt idx="55493">
                  <c:v>40.640460623634333</c:v>
                </c:pt>
                <c:pt idx="55494">
                  <c:v>32.582180862497275</c:v>
                </c:pt>
                <c:pt idx="55495">
                  <c:v>25.882330029984566</c:v>
                </c:pt>
                <c:pt idx="55496">
                  <c:v>43.462537877139241</c:v>
                </c:pt>
                <c:pt idx="55497">
                  <c:v>41.899769791461061</c:v>
                </c:pt>
                <c:pt idx="55498">
                  <c:v>24.432994883975226</c:v>
                </c:pt>
                <c:pt idx="55499">
                  <c:v>34.698343049133364</c:v>
                </c:pt>
                <c:pt idx="55500">
                  <c:v>51.783636135720684</c:v>
                </c:pt>
                <c:pt idx="55501">
                  <c:v>24.709197991046352</c:v>
                </c:pt>
                <c:pt idx="55502">
                  <c:v>33.154543178743616</c:v>
                </c:pt>
                <c:pt idx="55503">
                  <c:v>32.109970770457195</c:v>
                </c:pt>
                <c:pt idx="55504">
                  <c:v>21.241692486216941</c:v>
                </c:pt>
                <c:pt idx="55505">
                  <c:v>26.594143006632141</c:v>
                </c:pt>
                <c:pt idx="55506">
                  <c:v>57.557975607888032</c:v>
                </c:pt>
                <c:pt idx="55507">
                  <c:v>21.786801997045185</c:v>
                </c:pt>
                <c:pt idx="55508">
                  <c:v>51.47522752176048</c:v>
                </c:pt>
                <c:pt idx="55509">
                  <c:v>26.436834743346378</c:v>
                </c:pt>
                <c:pt idx="55510">
                  <c:v>23.149334572182511</c:v>
                </c:pt>
                <c:pt idx="55511">
                  <c:v>29.970696510273818</c:v>
                </c:pt>
                <c:pt idx="55512">
                  <c:v>30.882062555409458</c:v>
                </c:pt>
                <c:pt idx="55513">
                  <c:v>44.046376521776743</c:v>
                </c:pt>
                <c:pt idx="55514">
                  <c:v>30.983362020833162</c:v>
                </c:pt>
                <c:pt idx="55515">
                  <c:v>54.582526795993289</c:v>
                </c:pt>
                <c:pt idx="55516">
                  <c:v>49.919175719812912</c:v>
                </c:pt>
                <c:pt idx="55517">
                  <c:v>27.494974386697578</c:v>
                </c:pt>
                <c:pt idx="55518">
                  <c:v>30.198565833430212</c:v>
                </c:pt>
                <c:pt idx="55519">
                  <c:v>25.072276459292162</c:v>
                </c:pt>
                <c:pt idx="55520">
                  <c:v>32.421421702009589</c:v>
                </c:pt>
                <c:pt idx="55521">
                  <c:v>45.412786763871196</c:v>
                </c:pt>
                <c:pt idx="55522">
                  <c:v>30.365400522114282</c:v>
                </c:pt>
                <c:pt idx="55523">
                  <c:v>26.86590697795064</c:v>
                </c:pt>
                <c:pt idx="55524">
                  <c:v>23.256721233718633</c:v>
                </c:pt>
                <c:pt idx="55525">
                  <c:v>23.388426036058839</c:v>
                </c:pt>
                <c:pt idx="55526">
                  <c:v>16.28972846890192</c:v>
                </c:pt>
                <c:pt idx="55527">
                  <c:v>32.657127871032692</c:v>
                </c:pt>
                <c:pt idx="55528">
                  <c:v>30.265491316912666</c:v>
                </c:pt>
                <c:pt idx="55529">
                  <c:v>42.927768821143012</c:v>
                </c:pt>
                <c:pt idx="55530">
                  <c:v>24.971666568656385</c:v>
                </c:pt>
                <c:pt idx="55531">
                  <c:v>30.542626070626827</c:v>
                </c:pt>
                <c:pt idx="55532">
                  <c:v>41.84922408562943</c:v>
                </c:pt>
                <c:pt idx="55533">
                  <c:v>20.227822436326345</c:v>
                </c:pt>
                <c:pt idx="55534">
                  <c:v>51.072808007279136</c:v>
                </c:pt>
                <c:pt idx="55535">
                  <c:v>25.051566999000492</c:v>
                </c:pt>
                <c:pt idx="55536">
                  <c:v>42.516701756224869</c:v>
                </c:pt>
                <c:pt idx="55537">
                  <c:v>27.935162915395161</c:v>
                </c:pt>
                <c:pt idx="55538">
                  <c:v>22.160719387577888</c:v>
                </c:pt>
                <c:pt idx="55539">
                  <c:v>39.410642299912851</c:v>
                </c:pt>
                <c:pt idx="55540">
                  <c:v>22.218449666443824</c:v>
                </c:pt>
                <c:pt idx="55541">
                  <c:v>30.168877833551466</c:v>
                </c:pt>
                <c:pt idx="55542">
                  <c:v>54.431699539876902</c:v>
                </c:pt>
                <c:pt idx="55543">
                  <c:v>29.872030777396375</c:v>
                </c:pt>
                <c:pt idx="55544">
                  <c:v>35.629091910245727</c:v>
                </c:pt>
                <c:pt idx="55545">
                  <c:v>21.48757428209527</c:v>
                </c:pt>
                <c:pt idx="55546">
                  <c:v>35.068854325836377</c:v>
                </c:pt>
                <c:pt idx="55547">
                  <c:v>25.537128462693385</c:v>
                </c:pt>
                <c:pt idx="55548">
                  <c:v>36.771217270874992</c:v>
                </c:pt>
                <c:pt idx="55549">
                  <c:v>18.088789831549459</c:v>
                </c:pt>
                <c:pt idx="55550">
                  <c:v>48.061864437537089</c:v>
                </c:pt>
                <c:pt idx="55551">
                  <c:v>35.68567113251013</c:v>
                </c:pt>
                <c:pt idx="55552">
                  <c:v>32.248449781046801</c:v>
                </c:pt>
                <c:pt idx="55553">
                  <c:v>50.7149816802023</c:v>
                </c:pt>
                <c:pt idx="55554">
                  <c:v>36.342333276939769</c:v>
                </c:pt>
                <c:pt idx="55555">
                  <c:v>24.208539247780354</c:v>
                </c:pt>
                <c:pt idx="55556">
                  <c:v>23.072253925689179</c:v>
                </c:pt>
                <c:pt idx="55557">
                  <c:v>20.230492122873294</c:v>
                </c:pt>
                <c:pt idx="55558">
                  <c:v>25.006197334183291</c:v>
                </c:pt>
                <c:pt idx="55559">
                  <c:v>35.952200096343169</c:v>
                </c:pt>
                <c:pt idx="55560">
                  <c:v>52.64720621435827</c:v>
                </c:pt>
                <c:pt idx="55561">
                  <c:v>41.888160370023769</c:v>
                </c:pt>
                <c:pt idx="55562">
                  <c:v>30.465267415674099</c:v>
                </c:pt>
                <c:pt idx="55563">
                  <c:v>26.035342921600868</c:v>
                </c:pt>
                <c:pt idx="55564">
                  <c:v>20.564100649136737</c:v>
                </c:pt>
                <c:pt idx="55565">
                  <c:v>54.279419893547107</c:v>
                </c:pt>
                <c:pt idx="55566">
                  <c:v>20.385342137793625</c:v>
                </c:pt>
                <c:pt idx="55567">
                  <c:v>30.963462796941521</c:v>
                </c:pt>
                <c:pt idx="55568">
                  <c:v>23.887754956759778</c:v>
                </c:pt>
                <c:pt idx="55569">
                  <c:v>26.969189378646895</c:v>
                </c:pt>
                <c:pt idx="55570">
                  <c:v>24.837697222649933</c:v>
                </c:pt>
                <c:pt idx="55571">
                  <c:v>23.428874129910177</c:v>
                </c:pt>
                <c:pt idx="55572">
                  <c:v>31.956813821376194</c:v>
                </c:pt>
                <c:pt idx="55573">
                  <c:v>26.469762656678178</c:v>
                </c:pt>
                <c:pt idx="55574">
                  <c:v>23.815170615028386</c:v>
                </c:pt>
                <c:pt idx="55575">
                  <c:v>30.09040715346157</c:v>
                </c:pt>
                <c:pt idx="55576">
                  <c:v>54.207861421593741</c:v>
                </c:pt>
                <c:pt idx="55577">
                  <c:v>22.74865923213293</c:v>
                </c:pt>
                <c:pt idx="55578">
                  <c:v>22.149295345092405</c:v>
                </c:pt>
                <c:pt idx="55579">
                  <c:v>29.361015707718316</c:v>
                </c:pt>
                <c:pt idx="55580">
                  <c:v>45.081117172410707</c:v>
                </c:pt>
                <c:pt idx="55581">
                  <c:v>28.838286918229802</c:v>
                </c:pt>
                <c:pt idx="55582">
                  <c:v>39.096566488872071</c:v>
                </c:pt>
                <c:pt idx="55583">
                  <c:v>26.022180830999424</c:v>
                </c:pt>
                <c:pt idx="55584">
                  <c:v>23.909907481533121</c:v>
                </c:pt>
                <c:pt idx="55585">
                  <c:v>26.952525043185386</c:v>
                </c:pt>
                <c:pt idx="55586">
                  <c:v>20.325541680904287</c:v>
                </c:pt>
                <c:pt idx="55587">
                  <c:v>27.568621846367698</c:v>
                </c:pt>
                <c:pt idx="55588">
                  <c:v>34.581951771248484</c:v>
                </c:pt>
                <c:pt idx="55589">
                  <c:v>50.471483507730788</c:v>
                </c:pt>
                <c:pt idx="55590">
                  <c:v>20.22847661570119</c:v>
                </c:pt>
                <c:pt idx="55591">
                  <c:v>27.705330444953386</c:v>
                </c:pt>
                <c:pt idx="55592">
                  <c:v>51.123262927430318</c:v>
                </c:pt>
                <c:pt idx="55593">
                  <c:v>20.734100897922048</c:v>
                </c:pt>
                <c:pt idx="55594">
                  <c:v>43.271116069736486</c:v>
                </c:pt>
                <c:pt idx="55595">
                  <c:v>39.399024741522041</c:v>
                </c:pt>
                <c:pt idx="55596">
                  <c:v>27.977648919598575</c:v>
                </c:pt>
                <c:pt idx="55597">
                  <c:v>41.048435960511355</c:v>
                </c:pt>
                <c:pt idx="55598">
                  <c:v>21.310975150804996</c:v>
                </c:pt>
                <c:pt idx="55599">
                  <c:v>49.366516913924386</c:v>
                </c:pt>
                <c:pt idx="55600">
                  <c:v>20.707765536835325</c:v>
                </c:pt>
                <c:pt idx="55601">
                  <c:v>22.462788043371479</c:v>
                </c:pt>
                <c:pt idx="55602">
                  <c:v>21.310546672964865</c:v>
                </c:pt>
                <c:pt idx="55603">
                  <c:v>25.812655559499134</c:v>
                </c:pt>
                <c:pt idx="55604">
                  <c:v>24.838880800654387</c:v>
                </c:pt>
                <c:pt idx="55605">
                  <c:v>31.177671405650525</c:v>
                </c:pt>
                <c:pt idx="55606">
                  <c:v>29.139531549874857</c:v>
                </c:pt>
                <c:pt idx="55607">
                  <c:v>25.328778717266182</c:v>
                </c:pt>
                <c:pt idx="55608">
                  <c:v>24.292078240654085</c:v>
                </c:pt>
                <c:pt idx="55609">
                  <c:v>57.583817775326921</c:v>
                </c:pt>
                <c:pt idx="55610">
                  <c:v>28.086666416781949</c:v>
                </c:pt>
                <c:pt idx="55611">
                  <c:v>53.758661327687641</c:v>
                </c:pt>
                <c:pt idx="55612">
                  <c:v>26.842260719593998</c:v>
                </c:pt>
                <c:pt idx="55613">
                  <c:v>30.923539312896317</c:v>
                </c:pt>
                <c:pt idx="55614">
                  <c:v>23.726025219207571</c:v>
                </c:pt>
                <c:pt idx="55615">
                  <c:v>27.381092333510228</c:v>
                </c:pt>
                <c:pt idx="55616">
                  <c:v>43.484147514509303</c:v>
                </c:pt>
                <c:pt idx="55617">
                  <c:v>25.529581424945672</c:v>
                </c:pt>
                <c:pt idx="55618">
                  <c:v>32.798216305628216</c:v>
                </c:pt>
                <c:pt idx="55619">
                  <c:v>17.404428227682814</c:v>
                </c:pt>
                <c:pt idx="55620">
                  <c:v>31.470804251021516</c:v>
                </c:pt>
                <c:pt idx="55621">
                  <c:v>22.709697640525508</c:v>
                </c:pt>
                <c:pt idx="55622">
                  <c:v>27.710130848161281</c:v>
                </c:pt>
                <c:pt idx="55623">
                  <c:v>44.761772449399722</c:v>
                </c:pt>
                <c:pt idx="55624">
                  <c:v>28.711379011757579</c:v>
                </c:pt>
                <c:pt idx="55625">
                  <c:v>29.091375372071603</c:v>
                </c:pt>
                <c:pt idx="55626">
                  <c:v>38.484773909237717</c:v>
                </c:pt>
                <c:pt idx="55627">
                  <c:v>27.39106308559878</c:v>
                </c:pt>
                <c:pt idx="55628">
                  <c:v>41.958033728366814</c:v>
                </c:pt>
                <c:pt idx="55629">
                  <c:v>25.138385004257447</c:v>
                </c:pt>
                <c:pt idx="55630">
                  <c:v>31.29586783747002</c:v>
                </c:pt>
                <c:pt idx="55631">
                  <c:v>19.971393625139807</c:v>
                </c:pt>
                <c:pt idx="55632">
                  <c:v>21.465197405642698</c:v>
                </c:pt>
                <c:pt idx="55633">
                  <c:v>23.387834887247998</c:v>
                </c:pt>
                <c:pt idx="55634">
                  <c:v>25.80883532971961</c:v>
                </c:pt>
                <c:pt idx="55635">
                  <c:v>29.220343772335358</c:v>
                </c:pt>
                <c:pt idx="55636">
                  <c:v>36.709347970804536</c:v>
                </c:pt>
                <c:pt idx="55637">
                  <c:v>31.260491052144438</c:v>
                </c:pt>
                <c:pt idx="55638">
                  <c:v>27.362877697989411</c:v>
                </c:pt>
                <c:pt idx="55639">
                  <c:v>25.664822018993306</c:v>
                </c:pt>
                <c:pt idx="55640">
                  <c:v>45.581476783095802</c:v>
                </c:pt>
                <c:pt idx="55641">
                  <c:v>30.251429483451162</c:v>
                </c:pt>
                <c:pt idx="55642">
                  <c:v>34.740996374890464</c:v>
                </c:pt>
                <c:pt idx="55643">
                  <c:v>34.188493853066063</c:v>
                </c:pt>
                <c:pt idx="55644">
                  <c:v>26.854058442007126</c:v>
                </c:pt>
                <c:pt idx="55645">
                  <c:v>27.394987407939745</c:v>
                </c:pt>
                <c:pt idx="55646">
                  <c:v>38.987401107718384</c:v>
                </c:pt>
                <c:pt idx="55647">
                  <c:v>35.233819105122514</c:v>
                </c:pt>
                <c:pt idx="55648">
                  <c:v>37.525308231798391</c:v>
                </c:pt>
                <c:pt idx="55649">
                  <c:v>40.635893507653783</c:v>
                </c:pt>
                <c:pt idx="55650">
                  <c:v>27.222398179611098</c:v>
                </c:pt>
                <c:pt idx="55651">
                  <c:v>37.863034808588132</c:v>
                </c:pt>
                <c:pt idx="55652">
                  <c:v>29.24536959022273</c:v>
                </c:pt>
                <c:pt idx="55653">
                  <c:v>28.812669996182635</c:v>
                </c:pt>
                <c:pt idx="55654">
                  <c:v>28.591034731059445</c:v>
                </c:pt>
                <c:pt idx="55655">
                  <c:v>32.099191690979701</c:v>
                </c:pt>
                <c:pt idx="55656">
                  <c:v>32.37549406894086</c:v>
                </c:pt>
                <c:pt idx="55657">
                  <c:v>27.177985557464051</c:v>
                </c:pt>
                <c:pt idx="55658">
                  <c:v>37.055929274442846</c:v>
                </c:pt>
                <c:pt idx="55659">
                  <c:v>23.830870071828279</c:v>
                </c:pt>
                <c:pt idx="55660">
                  <c:v>29.969815514515453</c:v>
                </c:pt>
                <c:pt idx="55661">
                  <c:v>49.753837938298794</c:v>
                </c:pt>
                <c:pt idx="55662">
                  <c:v>35.532010373695122</c:v>
                </c:pt>
                <c:pt idx="55663">
                  <c:v>24.960025160879137</c:v>
                </c:pt>
                <c:pt idx="55664">
                  <c:v>25.402285620435009</c:v>
                </c:pt>
                <c:pt idx="55665">
                  <c:v>34.378104760766696</c:v>
                </c:pt>
                <c:pt idx="55666">
                  <c:v>27.850444587743439</c:v>
                </c:pt>
                <c:pt idx="55667">
                  <c:v>24.328253055427687</c:v>
                </c:pt>
                <c:pt idx="55668">
                  <c:v>37.250038465253013</c:v>
                </c:pt>
                <c:pt idx="55669">
                  <c:v>18.639097298358394</c:v>
                </c:pt>
                <c:pt idx="55670">
                  <c:v>26.255994627439243</c:v>
                </c:pt>
                <c:pt idx="55671">
                  <c:v>50.115532857694674</c:v>
                </c:pt>
                <c:pt idx="55672">
                  <c:v>17.519962712065087</c:v>
                </c:pt>
                <c:pt idx="55673">
                  <c:v>23.853840314899102</c:v>
                </c:pt>
                <c:pt idx="55674">
                  <c:v>44.218182350287478</c:v>
                </c:pt>
                <c:pt idx="55675">
                  <c:v>26.284820183356413</c:v>
                </c:pt>
                <c:pt idx="55676">
                  <c:v>36.99509873735316</c:v>
                </c:pt>
                <c:pt idx="55677">
                  <c:v>30.232166621232786</c:v>
                </c:pt>
                <c:pt idx="55678">
                  <c:v>54.902775691380086</c:v>
                </c:pt>
                <c:pt idx="55679">
                  <c:v>26.86803533524084</c:v>
                </c:pt>
                <c:pt idx="55680">
                  <c:v>29.926158760681382</c:v>
                </c:pt>
                <c:pt idx="55681">
                  <c:v>34.118222671200783</c:v>
                </c:pt>
                <c:pt idx="55682">
                  <c:v>32.494366021854418</c:v>
                </c:pt>
                <c:pt idx="55683">
                  <c:v>29.904208201687524</c:v>
                </c:pt>
                <c:pt idx="55684">
                  <c:v>46.335762523091823</c:v>
                </c:pt>
                <c:pt idx="55685">
                  <c:v>20.838623661066524</c:v>
                </c:pt>
                <c:pt idx="55686">
                  <c:v>30.885802418257846</c:v>
                </c:pt>
                <c:pt idx="55687">
                  <c:v>52.020827115327201</c:v>
                </c:pt>
                <c:pt idx="55688">
                  <c:v>23.000509810915581</c:v>
                </c:pt>
                <c:pt idx="55689">
                  <c:v>27.49853465370111</c:v>
                </c:pt>
                <c:pt idx="55690">
                  <c:v>42.479252766600894</c:v>
                </c:pt>
                <c:pt idx="55691">
                  <c:v>23.364947322261504</c:v>
                </c:pt>
                <c:pt idx="55692">
                  <c:v>52.693311093453303</c:v>
                </c:pt>
                <c:pt idx="55693">
                  <c:v>34.478327396800353</c:v>
                </c:pt>
                <c:pt idx="55694">
                  <c:v>16.453190458632264</c:v>
                </c:pt>
                <c:pt idx="55695">
                  <c:v>23.736588928331596</c:v>
                </c:pt>
                <c:pt idx="55696">
                  <c:v>28.627865418499432</c:v>
                </c:pt>
                <c:pt idx="55697">
                  <c:v>23.335461848016966</c:v>
                </c:pt>
                <c:pt idx="55698">
                  <c:v>23.612253645686913</c:v>
                </c:pt>
                <c:pt idx="55699">
                  <c:v>21.807958476663202</c:v>
                </c:pt>
                <c:pt idx="55700">
                  <c:v>37.809649676045865</c:v>
                </c:pt>
                <c:pt idx="55701">
                  <c:v>21.309458208738668</c:v>
                </c:pt>
                <c:pt idx="55702">
                  <c:v>23.481639935180205</c:v>
                </c:pt>
                <c:pt idx="55703">
                  <c:v>26.379731042774921</c:v>
                </c:pt>
                <c:pt idx="55704">
                  <c:v>28.105925198275155</c:v>
                </c:pt>
                <c:pt idx="55705">
                  <c:v>26.72751305390365</c:v>
                </c:pt>
                <c:pt idx="55706">
                  <c:v>21.190583889756297</c:v>
                </c:pt>
                <c:pt idx="55707">
                  <c:v>45.072128904280873</c:v>
                </c:pt>
                <c:pt idx="55708">
                  <c:v>59.606418243793939</c:v>
                </c:pt>
                <c:pt idx="55709">
                  <c:v>19.483374614756634</c:v>
                </c:pt>
                <c:pt idx="55710">
                  <c:v>24.046367902249216</c:v>
                </c:pt>
                <c:pt idx="55711">
                  <c:v>26.724678976641485</c:v>
                </c:pt>
                <c:pt idx="55712">
                  <c:v>38.517485925914521</c:v>
                </c:pt>
                <c:pt idx="55713">
                  <c:v>30.553863661195898</c:v>
                </c:pt>
                <c:pt idx="55714">
                  <c:v>24.478401355651542</c:v>
                </c:pt>
                <c:pt idx="55715">
                  <c:v>24.998417355433162</c:v>
                </c:pt>
                <c:pt idx="55716">
                  <c:v>32.213320315685642</c:v>
                </c:pt>
                <c:pt idx="55717">
                  <c:v>24.571235947534095</c:v>
                </c:pt>
                <c:pt idx="55718">
                  <c:v>23.142002855469819</c:v>
                </c:pt>
                <c:pt idx="55719">
                  <c:v>46.504447535879649</c:v>
                </c:pt>
                <c:pt idx="55720">
                  <c:v>25.537570710412503</c:v>
                </c:pt>
                <c:pt idx="55721">
                  <c:v>44.916140554832097</c:v>
                </c:pt>
                <c:pt idx="55722">
                  <c:v>26.78802423320241</c:v>
                </c:pt>
                <c:pt idx="55723">
                  <c:v>44.879625432929018</c:v>
                </c:pt>
                <c:pt idx="55724">
                  <c:v>31.807024498514835</c:v>
                </c:pt>
                <c:pt idx="55725">
                  <c:v>33.507619277867775</c:v>
                </c:pt>
                <c:pt idx="55726">
                  <c:v>25.728501614500878</c:v>
                </c:pt>
                <c:pt idx="55727">
                  <c:v>37.020529220979306</c:v>
                </c:pt>
                <c:pt idx="55728">
                  <c:v>45.263738681921524</c:v>
                </c:pt>
                <c:pt idx="55729">
                  <c:v>34.201100161553796</c:v>
                </c:pt>
                <c:pt idx="55730">
                  <c:v>47.854343178154537</c:v>
                </c:pt>
                <c:pt idx="55731">
                  <c:v>65.408132592101779</c:v>
                </c:pt>
                <c:pt idx="55732">
                  <c:v>31.734402118266718</c:v>
                </c:pt>
                <c:pt idx="55733">
                  <c:v>38.227338703836324</c:v>
                </c:pt>
                <c:pt idx="55734">
                  <c:v>30.094746438850997</c:v>
                </c:pt>
                <c:pt idx="55735">
                  <c:v>19.838689339529413</c:v>
                </c:pt>
                <c:pt idx="55736">
                  <c:v>32.92825786278911</c:v>
                </c:pt>
                <c:pt idx="55737">
                  <c:v>29.593107618357912</c:v>
                </c:pt>
                <c:pt idx="55738">
                  <c:v>24.941028994856588</c:v>
                </c:pt>
                <c:pt idx="55739">
                  <c:v>20.669733318758212</c:v>
                </c:pt>
                <c:pt idx="55740">
                  <c:v>27.173708260710676</c:v>
                </c:pt>
                <c:pt idx="55741">
                  <c:v>23.377414360414178</c:v>
                </c:pt>
                <c:pt idx="55742">
                  <c:v>31.933391407922848</c:v>
                </c:pt>
                <c:pt idx="55743">
                  <c:v>50.700564822671275</c:v>
                </c:pt>
                <c:pt idx="55744">
                  <c:v>50.651187205783145</c:v>
                </c:pt>
                <c:pt idx="55745">
                  <c:v>20.977139519168958</c:v>
                </c:pt>
                <c:pt idx="55746">
                  <c:v>39.48895890234698</c:v>
                </c:pt>
                <c:pt idx="55747">
                  <c:v>27.244799583129542</c:v>
                </c:pt>
                <c:pt idx="55748">
                  <c:v>26.498831607411375</c:v>
                </c:pt>
                <c:pt idx="55749">
                  <c:v>32.160647333076525</c:v>
                </c:pt>
                <c:pt idx="55750">
                  <c:v>62.047345247251897</c:v>
                </c:pt>
                <c:pt idx="55751">
                  <c:v>30.516744837300983</c:v>
                </c:pt>
                <c:pt idx="55752">
                  <c:v>31.603531029661404</c:v>
                </c:pt>
                <c:pt idx="55753">
                  <c:v>38.551344554212271</c:v>
                </c:pt>
                <c:pt idx="55754">
                  <c:v>22.542794234282482</c:v>
                </c:pt>
                <c:pt idx="55755">
                  <c:v>18.302848838901433</c:v>
                </c:pt>
                <c:pt idx="55756">
                  <c:v>48.347614640326732</c:v>
                </c:pt>
                <c:pt idx="55757">
                  <c:v>50.718219000585655</c:v>
                </c:pt>
                <c:pt idx="55758">
                  <c:v>34.721409270372185</c:v>
                </c:pt>
                <c:pt idx="55759">
                  <c:v>17.312058406647811</c:v>
                </c:pt>
                <c:pt idx="55760">
                  <c:v>48.702079779775652</c:v>
                </c:pt>
                <c:pt idx="55761">
                  <c:v>40.390568586222443</c:v>
                </c:pt>
                <c:pt idx="55762">
                  <c:v>16.0490472951934</c:v>
                </c:pt>
                <c:pt idx="55763">
                  <c:v>39.845873505779139</c:v>
                </c:pt>
                <c:pt idx="55764">
                  <c:v>25.095805961999265</c:v>
                </c:pt>
                <c:pt idx="55765">
                  <c:v>24.948462186263889</c:v>
                </c:pt>
                <c:pt idx="55766">
                  <c:v>38.705922555278804</c:v>
                </c:pt>
                <c:pt idx="55767">
                  <c:v>21.801777193614242</c:v>
                </c:pt>
                <c:pt idx="55768">
                  <c:v>52.683260013751848</c:v>
                </c:pt>
                <c:pt idx="55769">
                  <c:v>27.627882201072513</c:v>
                </c:pt>
                <c:pt idx="55770">
                  <c:v>33.56458895966199</c:v>
                </c:pt>
                <c:pt idx="55771">
                  <c:v>61.990388062075624</c:v>
                </c:pt>
                <c:pt idx="55772">
                  <c:v>30.370830778431106</c:v>
                </c:pt>
                <c:pt idx="55773">
                  <c:v>25.940272987118284</c:v>
                </c:pt>
                <c:pt idx="55774">
                  <c:v>46.356909238433737</c:v>
                </c:pt>
                <c:pt idx="55775">
                  <c:v>44.024822914064984</c:v>
                </c:pt>
                <c:pt idx="55776">
                  <c:v>34.495870809431167</c:v>
                </c:pt>
                <c:pt idx="55777">
                  <c:v>44.384613377650687</c:v>
                </c:pt>
                <c:pt idx="55778">
                  <c:v>30.819198778134044</c:v>
                </c:pt>
                <c:pt idx="55779">
                  <c:v>27.490187979386633</c:v>
                </c:pt>
                <c:pt idx="55780">
                  <c:v>41.765759379835103</c:v>
                </c:pt>
                <c:pt idx="55781">
                  <c:v>41.636539947732572</c:v>
                </c:pt>
                <c:pt idx="55782">
                  <c:v>20.873166671939249</c:v>
                </c:pt>
                <c:pt idx="55783">
                  <c:v>36.212520082574535</c:v>
                </c:pt>
                <c:pt idx="55784">
                  <c:v>25.423929806147516</c:v>
                </c:pt>
                <c:pt idx="55785">
                  <c:v>23.565513309636806</c:v>
                </c:pt>
                <c:pt idx="55786">
                  <c:v>21.559782118940959</c:v>
                </c:pt>
                <c:pt idx="55787">
                  <c:v>23.042878352115345</c:v>
                </c:pt>
                <c:pt idx="55788">
                  <c:v>26.003595402974053</c:v>
                </c:pt>
                <c:pt idx="55789">
                  <c:v>24.254339290303946</c:v>
                </c:pt>
                <c:pt idx="55790">
                  <c:v>22.011260687652243</c:v>
                </c:pt>
                <c:pt idx="55791">
                  <c:v>37.199055249251266</c:v>
                </c:pt>
                <c:pt idx="55792">
                  <c:v>30.387152299776435</c:v>
                </c:pt>
                <c:pt idx="55793">
                  <c:v>36.656996464321494</c:v>
                </c:pt>
                <c:pt idx="55794">
                  <c:v>38.574985966805414</c:v>
                </c:pt>
                <c:pt idx="55795">
                  <c:v>18.597170089942281</c:v>
                </c:pt>
                <c:pt idx="55796">
                  <c:v>28.694854611583896</c:v>
                </c:pt>
                <c:pt idx="55797">
                  <c:v>27.95961129663786</c:v>
                </c:pt>
                <c:pt idx="55798">
                  <c:v>30.52995783015718</c:v>
                </c:pt>
                <c:pt idx="55799">
                  <c:v>26.064822675758592</c:v>
                </c:pt>
                <c:pt idx="55800">
                  <c:v>52.602330066380368</c:v>
                </c:pt>
                <c:pt idx="55801">
                  <c:v>23.469602976930908</c:v>
                </c:pt>
                <c:pt idx="55802">
                  <c:v>23.689950242322915</c:v>
                </c:pt>
                <c:pt idx="55803">
                  <c:v>31.92726313299687</c:v>
                </c:pt>
                <c:pt idx="55804">
                  <c:v>17.525720263897245</c:v>
                </c:pt>
                <c:pt idx="55805">
                  <c:v>26.593900480326617</c:v>
                </c:pt>
                <c:pt idx="55806">
                  <c:v>28.332049818306391</c:v>
                </c:pt>
                <c:pt idx="55807">
                  <c:v>21.244157307457545</c:v>
                </c:pt>
                <c:pt idx="55808">
                  <c:v>21.303283092922523</c:v>
                </c:pt>
                <c:pt idx="55809">
                  <c:v>50.846059285109838</c:v>
                </c:pt>
                <c:pt idx="55810">
                  <c:v>36.024841807184146</c:v>
                </c:pt>
                <c:pt idx="55811">
                  <c:v>34.118925723946262</c:v>
                </c:pt>
                <c:pt idx="55812">
                  <c:v>21.072009949074754</c:v>
                </c:pt>
                <c:pt idx="55813">
                  <c:v>50.635072770163887</c:v>
                </c:pt>
                <c:pt idx="55814">
                  <c:v>45.695548047341084</c:v>
                </c:pt>
                <c:pt idx="55815">
                  <c:v>32.371597395021283</c:v>
                </c:pt>
                <c:pt idx="55816">
                  <c:v>49.828187849478205</c:v>
                </c:pt>
                <c:pt idx="55817">
                  <c:v>32.888135042072719</c:v>
                </c:pt>
                <c:pt idx="55818">
                  <c:v>30.253392050411858</c:v>
                </c:pt>
                <c:pt idx="55819">
                  <c:v>27.573712041099718</c:v>
                </c:pt>
                <c:pt idx="55820">
                  <c:v>19.04850584407215</c:v>
                </c:pt>
                <c:pt idx="55821">
                  <c:v>21.470126235688824</c:v>
                </c:pt>
                <c:pt idx="55822">
                  <c:v>29.191799321188427</c:v>
                </c:pt>
                <c:pt idx="55823">
                  <c:v>27.186750471218836</c:v>
                </c:pt>
                <c:pt idx="55824">
                  <c:v>35.258397088707397</c:v>
                </c:pt>
                <c:pt idx="55825">
                  <c:v>23.829379997793701</c:v>
                </c:pt>
                <c:pt idx="55826">
                  <c:v>28.527766958195009</c:v>
                </c:pt>
                <c:pt idx="55827">
                  <c:v>32.445822570914636</c:v>
                </c:pt>
                <c:pt idx="55828">
                  <c:v>22.02605068106703</c:v>
                </c:pt>
                <c:pt idx="55829">
                  <c:v>30.806839663069951</c:v>
                </c:pt>
                <c:pt idx="55830">
                  <c:v>20.746367280474541</c:v>
                </c:pt>
                <c:pt idx="55831">
                  <c:v>48.032235294871832</c:v>
                </c:pt>
                <c:pt idx="55832">
                  <c:v>21.446088739075833</c:v>
                </c:pt>
                <c:pt idx="55833">
                  <c:v>28.187498600955166</c:v>
                </c:pt>
                <c:pt idx="55834">
                  <c:v>53.410719422956078</c:v>
                </c:pt>
                <c:pt idx="55835">
                  <c:v>31.545793250590609</c:v>
                </c:pt>
                <c:pt idx="55836">
                  <c:v>53.004146866365602</c:v>
                </c:pt>
                <c:pt idx="55837">
                  <c:v>26.492859681347081</c:v>
                </c:pt>
                <c:pt idx="55838">
                  <c:v>53.946830298364944</c:v>
                </c:pt>
                <c:pt idx="55839">
                  <c:v>50.657789642974585</c:v>
                </c:pt>
                <c:pt idx="55840">
                  <c:v>45.935607321109686</c:v>
                </c:pt>
                <c:pt idx="55841">
                  <c:v>22.966245084977935</c:v>
                </c:pt>
                <c:pt idx="55842">
                  <c:v>19.29077275166264</c:v>
                </c:pt>
                <c:pt idx="55843">
                  <c:v>22.292012856201879</c:v>
                </c:pt>
                <c:pt idx="55844">
                  <c:v>35.731931723502299</c:v>
                </c:pt>
                <c:pt idx="55845">
                  <c:v>25.961693434633208</c:v>
                </c:pt>
                <c:pt idx="55846">
                  <c:v>30.061169201824868</c:v>
                </c:pt>
                <c:pt idx="55847">
                  <c:v>27.961631984364985</c:v>
                </c:pt>
                <c:pt idx="55848">
                  <c:v>44.46788193481629</c:v>
                </c:pt>
                <c:pt idx="55849">
                  <c:v>54.146271225947757</c:v>
                </c:pt>
                <c:pt idx="55850">
                  <c:v>26.505026118700432</c:v>
                </c:pt>
                <c:pt idx="55851">
                  <c:v>22.379724195665265</c:v>
                </c:pt>
                <c:pt idx="55852">
                  <c:v>22.345340911637102</c:v>
                </c:pt>
                <c:pt idx="55853">
                  <c:v>42.360790117770449</c:v>
                </c:pt>
                <c:pt idx="55854">
                  <c:v>24.229820974548499</c:v>
                </c:pt>
                <c:pt idx="55855">
                  <c:v>41.422891766344584</c:v>
                </c:pt>
                <c:pt idx="55856">
                  <c:v>22.468454121375242</c:v>
                </c:pt>
                <c:pt idx="55857">
                  <c:v>15.594509512693154</c:v>
                </c:pt>
                <c:pt idx="55858">
                  <c:v>22.50575739685636</c:v>
                </c:pt>
                <c:pt idx="55859">
                  <c:v>50.094870852974651</c:v>
                </c:pt>
                <c:pt idx="55860">
                  <c:v>39.939444841018279</c:v>
                </c:pt>
                <c:pt idx="55861">
                  <c:v>57.06476939423986</c:v>
                </c:pt>
                <c:pt idx="55862">
                  <c:v>47.159817730215579</c:v>
                </c:pt>
                <c:pt idx="55863">
                  <c:v>29.680915032365267</c:v>
                </c:pt>
                <c:pt idx="55864">
                  <c:v>31.064475972323635</c:v>
                </c:pt>
                <c:pt idx="55865">
                  <c:v>26.064700482622236</c:v>
                </c:pt>
                <c:pt idx="55866">
                  <c:v>39.079477421043343</c:v>
                </c:pt>
                <c:pt idx="55867">
                  <c:v>25.279309375566136</c:v>
                </c:pt>
                <c:pt idx="55868">
                  <c:v>26.269060291320979</c:v>
                </c:pt>
                <c:pt idx="55869">
                  <c:v>25.147443094283137</c:v>
                </c:pt>
                <c:pt idx="55870">
                  <c:v>32.936854872537559</c:v>
                </c:pt>
                <c:pt idx="55871">
                  <c:v>29.153294310364515</c:v>
                </c:pt>
                <c:pt idx="55872">
                  <c:v>25.441958346129049</c:v>
                </c:pt>
                <c:pt idx="55873">
                  <c:v>29.951479276525095</c:v>
                </c:pt>
                <c:pt idx="55874">
                  <c:v>30.947519692218709</c:v>
                </c:pt>
                <c:pt idx="55875">
                  <c:v>42.85842802496505</c:v>
                </c:pt>
                <c:pt idx="55876">
                  <c:v>26.696751054163077</c:v>
                </c:pt>
                <c:pt idx="55877">
                  <c:v>53.749404889952046</c:v>
                </c:pt>
                <c:pt idx="55878">
                  <c:v>52.283823901593159</c:v>
                </c:pt>
                <c:pt idx="55879">
                  <c:v>52.174791163435138</c:v>
                </c:pt>
                <c:pt idx="55880">
                  <c:v>42.688802566511598</c:v>
                </c:pt>
                <c:pt idx="55881">
                  <c:v>29.869151132118809</c:v>
                </c:pt>
                <c:pt idx="55882">
                  <c:v>27.244624488928334</c:v>
                </c:pt>
                <c:pt idx="55883">
                  <c:v>51.678422697768326</c:v>
                </c:pt>
                <c:pt idx="55884">
                  <c:v>29.843531811458867</c:v>
                </c:pt>
                <c:pt idx="55885">
                  <c:v>22.755784352665586</c:v>
                </c:pt>
                <c:pt idx="55886">
                  <c:v>18.111143514743333</c:v>
                </c:pt>
                <c:pt idx="55887">
                  <c:v>27.955524848136598</c:v>
                </c:pt>
                <c:pt idx="55888">
                  <c:v>28.701411386715709</c:v>
                </c:pt>
                <c:pt idx="55889">
                  <c:v>24.808134817479473</c:v>
                </c:pt>
                <c:pt idx="55890">
                  <c:v>30.394394685143943</c:v>
                </c:pt>
                <c:pt idx="55891">
                  <c:v>29.202384045665212</c:v>
                </c:pt>
                <c:pt idx="55892">
                  <c:v>28.509286305932239</c:v>
                </c:pt>
                <c:pt idx="55893">
                  <c:v>28.965830106003846</c:v>
                </c:pt>
                <c:pt idx="55894">
                  <c:v>47.486972905255506</c:v>
                </c:pt>
                <c:pt idx="55895">
                  <c:v>31.630518135301593</c:v>
                </c:pt>
                <c:pt idx="55896">
                  <c:v>27.76520352333355</c:v>
                </c:pt>
                <c:pt idx="55897">
                  <c:v>21.446811992931835</c:v>
                </c:pt>
                <c:pt idx="55898">
                  <c:v>31.031717540322038</c:v>
                </c:pt>
                <c:pt idx="55899">
                  <c:v>36.562850713465849</c:v>
                </c:pt>
                <c:pt idx="55900">
                  <c:v>25.055605969252419</c:v>
                </c:pt>
                <c:pt idx="55901">
                  <c:v>30.328881462614589</c:v>
                </c:pt>
                <c:pt idx="55902">
                  <c:v>21.299338083027845</c:v>
                </c:pt>
                <c:pt idx="55903">
                  <c:v>33.430948234703187</c:v>
                </c:pt>
                <c:pt idx="55904">
                  <c:v>18.639684753558271</c:v>
                </c:pt>
                <c:pt idx="55905">
                  <c:v>26.725444382276525</c:v>
                </c:pt>
                <c:pt idx="55906">
                  <c:v>38.467379327980659</c:v>
                </c:pt>
                <c:pt idx="55907">
                  <c:v>19.375668208102208</c:v>
                </c:pt>
                <c:pt idx="55908">
                  <c:v>42.598314702390695</c:v>
                </c:pt>
                <c:pt idx="55909">
                  <c:v>37.865469389750245</c:v>
                </c:pt>
                <c:pt idx="55910">
                  <c:v>29.413105869712727</c:v>
                </c:pt>
                <c:pt idx="55911">
                  <c:v>47.545854419163085</c:v>
                </c:pt>
                <c:pt idx="55912">
                  <c:v>37.919362899746801</c:v>
                </c:pt>
                <c:pt idx="55913">
                  <c:v>27.028997854967919</c:v>
                </c:pt>
                <c:pt idx="55914">
                  <c:v>23.929182785050301</c:v>
                </c:pt>
                <c:pt idx="55915">
                  <c:v>26.073353100950559</c:v>
                </c:pt>
                <c:pt idx="55916">
                  <c:v>49.844103064526927</c:v>
                </c:pt>
                <c:pt idx="55917">
                  <c:v>35.522976432244093</c:v>
                </c:pt>
                <c:pt idx="55918">
                  <c:v>31.482711672297793</c:v>
                </c:pt>
                <c:pt idx="55919">
                  <c:v>25.556481782945482</c:v>
                </c:pt>
                <c:pt idx="55920">
                  <c:v>28.202503219751776</c:v>
                </c:pt>
                <c:pt idx="55921">
                  <c:v>53.773005732023101</c:v>
                </c:pt>
                <c:pt idx="55922">
                  <c:v>43.440550797658865</c:v>
                </c:pt>
                <c:pt idx="55923">
                  <c:v>27.12724015293362</c:v>
                </c:pt>
                <c:pt idx="55924">
                  <c:v>24.531940932433336</c:v>
                </c:pt>
                <c:pt idx="55925">
                  <c:v>25.142195132629126</c:v>
                </c:pt>
                <c:pt idx="55926">
                  <c:v>31.680932397522398</c:v>
                </c:pt>
                <c:pt idx="55927">
                  <c:v>38.380036941276522</c:v>
                </c:pt>
                <c:pt idx="55928">
                  <c:v>24.859284127502384</c:v>
                </c:pt>
                <c:pt idx="55929">
                  <c:v>22.8485798236036</c:v>
                </c:pt>
                <c:pt idx="55930">
                  <c:v>30.352722914451292</c:v>
                </c:pt>
                <c:pt idx="55931">
                  <c:v>32.079485445446871</c:v>
                </c:pt>
                <c:pt idx="55932">
                  <c:v>16.965608830843436</c:v>
                </c:pt>
                <c:pt idx="55933">
                  <c:v>28.016152147745309</c:v>
                </c:pt>
                <c:pt idx="55934">
                  <c:v>24.73771605875724</c:v>
                </c:pt>
                <c:pt idx="55935">
                  <c:v>30.998103276190584</c:v>
                </c:pt>
                <c:pt idx="55936">
                  <c:v>25.494704960251013</c:v>
                </c:pt>
                <c:pt idx="55937">
                  <c:v>21.696622024740439</c:v>
                </c:pt>
                <c:pt idx="55938">
                  <c:v>22.767743507182171</c:v>
                </c:pt>
                <c:pt idx="55939">
                  <c:v>49.486109384615901</c:v>
                </c:pt>
                <c:pt idx="55940">
                  <c:v>50.355920518178245</c:v>
                </c:pt>
                <c:pt idx="55941">
                  <c:v>26.044242777926868</c:v>
                </c:pt>
                <c:pt idx="55942">
                  <c:v>24.798162475005647</c:v>
                </c:pt>
                <c:pt idx="55943">
                  <c:v>27.617407252371201</c:v>
                </c:pt>
                <c:pt idx="55944">
                  <c:v>26.570511450668345</c:v>
                </c:pt>
                <c:pt idx="55945">
                  <c:v>50.677721461689259</c:v>
                </c:pt>
                <c:pt idx="55946">
                  <c:v>28.730886358319196</c:v>
                </c:pt>
                <c:pt idx="55947">
                  <c:v>50.852689051066172</c:v>
                </c:pt>
                <c:pt idx="55948">
                  <c:v>39.051761004638394</c:v>
                </c:pt>
                <c:pt idx="55949">
                  <c:v>21.753421735330367</c:v>
                </c:pt>
                <c:pt idx="55950">
                  <c:v>24.026662319192521</c:v>
                </c:pt>
                <c:pt idx="55951">
                  <c:v>29.504824835593521</c:v>
                </c:pt>
                <c:pt idx="55952">
                  <c:v>32.969365394960427</c:v>
                </c:pt>
                <c:pt idx="55953">
                  <c:v>24.448251844298952</c:v>
                </c:pt>
                <c:pt idx="55954">
                  <c:v>26.936122346726691</c:v>
                </c:pt>
                <c:pt idx="55955">
                  <c:v>59.615194159574173</c:v>
                </c:pt>
                <c:pt idx="55956">
                  <c:v>30.59174041965835</c:v>
                </c:pt>
                <c:pt idx="55957">
                  <c:v>19.736683059205543</c:v>
                </c:pt>
                <c:pt idx="55958">
                  <c:v>20.84610646573989</c:v>
                </c:pt>
                <c:pt idx="55959">
                  <c:v>35.549224367377796</c:v>
                </c:pt>
                <c:pt idx="55960">
                  <c:v>20.402963637041584</c:v>
                </c:pt>
                <c:pt idx="55961">
                  <c:v>29.461904670773912</c:v>
                </c:pt>
                <c:pt idx="55962">
                  <c:v>19.019699590279671</c:v>
                </c:pt>
                <c:pt idx="55963">
                  <c:v>22.148979641353087</c:v>
                </c:pt>
                <c:pt idx="55964">
                  <c:v>15.400070781312154</c:v>
                </c:pt>
                <c:pt idx="55965">
                  <c:v>45.3873945223772</c:v>
                </c:pt>
                <c:pt idx="55966">
                  <c:v>23.570032723077304</c:v>
                </c:pt>
                <c:pt idx="55967">
                  <c:v>27.418872830369956</c:v>
                </c:pt>
                <c:pt idx="55968">
                  <c:v>31.224047984167211</c:v>
                </c:pt>
                <c:pt idx="55969">
                  <c:v>38.452544364550207</c:v>
                </c:pt>
                <c:pt idx="55970">
                  <c:v>54.212063833765555</c:v>
                </c:pt>
                <c:pt idx="55971">
                  <c:v>48.622577677536214</c:v>
                </c:pt>
                <c:pt idx="55972">
                  <c:v>21.775829853203085</c:v>
                </c:pt>
                <c:pt idx="55973">
                  <c:v>25.336922427738781</c:v>
                </c:pt>
                <c:pt idx="55974">
                  <c:v>31.764819808696899</c:v>
                </c:pt>
                <c:pt idx="55975">
                  <c:v>33.207111305195035</c:v>
                </c:pt>
                <c:pt idx="55976">
                  <c:v>26.38296822851779</c:v>
                </c:pt>
                <c:pt idx="55977">
                  <c:v>25.100461119470147</c:v>
                </c:pt>
                <c:pt idx="55978">
                  <c:v>30.314367074154482</c:v>
                </c:pt>
                <c:pt idx="55979">
                  <c:v>19.196779747986561</c:v>
                </c:pt>
                <c:pt idx="55980">
                  <c:v>42.966101551836701</c:v>
                </c:pt>
                <c:pt idx="55981">
                  <c:v>33.064649810422075</c:v>
                </c:pt>
                <c:pt idx="55982">
                  <c:v>22.443021109306983</c:v>
                </c:pt>
                <c:pt idx="55983">
                  <c:v>26.958861854032158</c:v>
                </c:pt>
                <c:pt idx="55984">
                  <c:v>30.795988890655039</c:v>
                </c:pt>
                <c:pt idx="55985">
                  <c:v>29.36844115348898</c:v>
                </c:pt>
                <c:pt idx="55986">
                  <c:v>29.507088928009875</c:v>
                </c:pt>
                <c:pt idx="55987">
                  <c:v>28.824173543871822</c:v>
                </c:pt>
                <c:pt idx="55988">
                  <c:v>33.511397903949501</c:v>
                </c:pt>
                <c:pt idx="55989">
                  <c:v>41.841778029654044</c:v>
                </c:pt>
                <c:pt idx="55990">
                  <c:v>40.383679956856838</c:v>
                </c:pt>
                <c:pt idx="55991">
                  <c:v>25.483930803445201</c:v>
                </c:pt>
                <c:pt idx="55992">
                  <c:v>26.819586409610491</c:v>
                </c:pt>
                <c:pt idx="55993">
                  <c:v>32.967100174625621</c:v>
                </c:pt>
                <c:pt idx="55994">
                  <c:v>32.436927396389954</c:v>
                </c:pt>
                <c:pt idx="55995">
                  <c:v>39.445984408793741</c:v>
                </c:pt>
                <c:pt idx="55996">
                  <c:v>47.782259879455466</c:v>
                </c:pt>
                <c:pt idx="55997">
                  <c:v>26.129315083819243</c:v>
                </c:pt>
                <c:pt idx="55998">
                  <c:v>44.282174581886487</c:v>
                </c:pt>
                <c:pt idx="55999">
                  <c:v>22.479411516000788</c:v>
                </c:pt>
                <c:pt idx="56000">
                  <c:v>56.730518767498666</c:v>
                </c:pt>
                <c:pt idx="56001">
                  <c:v>18.478582992599069</c:v>
                </c:pt>
                <c:pt idx="56002">
                  <c:v>40.815071213280767</c:v>
                </c:pt>
                <c:pt idx="56003">
                  <c:v>32.745350384652127</c:v>
                </c:pt>
                <c:pt idx="56004">
                  <c:v>38.968310333154719</c:v>
                </c:pt>
                <c:pt idx="56005">
                  <c:v>32.063732970656254</c:v>
                </c:pt>
                <c:pt idx="56006">
                  <c:v>61.032585571457034</c:v>
                </c:pt>
                <c:pt idx="56007">
                  <c:v>26.536074390722511</c:v>
                </c:pt>
                <c:pt idx="56008">
                  <c:v>34.794705019051094</c:v>
                </c:pt>
                <c:pt idx="56009">
                  <c:v>46.298209945823608</c:v>
                </c:pt>
                <c:pt idx="56010">
                  <c:v>28.697350205164046</c:v>
                </c:pt>
                <c:pt idx="56011">
                  <c:v>51.843364919601449</c:v>
                </c:pt>
                <c:pt idx="56012">
                  <c:v>21.588198911058498</c:v>
                </c:pt>
                <c:pt idx="56013">
                  <c:v>19.066772552327659</c:v>
                </c:pt>
                <c:pt idx="56014">
                  <c:v>44.274625885712005</c:v>
                </c:pt>
                <c:pt idx="56015">
                  <c:v>27.630791963117201</c:v>
                </c:pt>
                <c:pt idx="56016">
                  <c:v>26.353600500052742</c:v>
                </c:pt>
                <c:pt idx="56017">
                  <c:v>51.125154148635318</c:v>
                </c:pt>
                <c:pt idx="56018">
                  <c:v>47.668390432896885</c:v>
                </c:pt>
                <c:pt idx="56019">
                  <c:v>22.679126111895421</c:v>
                </c:pt>
                <c:pt idx="56020">
                  <c:v>22.211050188392612</c:v>
                </c:pt>
                <c:pt idx="56021">
                  <c:v>36.938485377288124</c:v>
                </c:pt>
                <c:pt idx="56022">
                  <c:v>15.074665450852946</c:v>
                </c:pt>
                <c:pt idx="56023">
                  <c:v>28.921386839206622</c:v>
                </c:pt>
                <c:pt idx="56024">
                  <c:v>39.384060601829844</c:v>
                </c:pt>
                <c:pt idx="56025">
                  <c:v>27.144064756281097</c:v>
                </c:pt>
                <c:pt idx="56026">
                  <c:v>22.510437154767313</c:v>
                </c:pt>
                <c:pt idx="56027">
                  <c:v>29.614862775254139</c:v>
                </c:pt>
                <c:pt idx="56028">
                  <c:v>17.701377183231862</c:v>
                </c:pt>
                <c:pt idx="56029">
                  <c:v>22.257974377840629</c:v>
                </c:pt>
                <c:pt idx="56030">
                  <c:v>25.420292067298607</c:v>
                </c:pt>
                <c:pt idx="56031">
                  <c:v>28.708446559011264</c:v>
                </c:pt>
                <c:pt idx="56032">
                  <c:v>17.310169172326134</c:v>
                </c:pt>
                <c:pt idx="56033">
                  <c:v>24.432072072493664</c:v>
                </c:pt>
                <c:pt idx="56034">
                  <c:v>24.810339844322023</c:v>
                </c:pt>
                <c:pt idx="56035">
                  <c:v>24.527062980314689</c:v>
                </c:pt>
                <c:pt idx="56036">
                  <c:v>28.146220874645504</c:v>
                </c:pt>
                <c:pt idx="56037">
                  <c:v>59.211987727086026</c:v>
                </c:pt>
                <c:pt idx="56038">
                  <c:v>26.345435992231387</c:v>
                </c:pt>
                <c:pt idx="56039">
                  <c:v>61.146024895673598</c:v>
                </c:pt>
                <c:pt idx="56040">
                  <c:v>16.344194454233055</c:v>
                </c:pt>
                <c:pt idx="56041">
                  <c:v>62.256315248098701</c:v>
                </c:pt>
                <c:pt idx="56042">
                  <c:v>29.479011352459764</c:v>
                </c:pt>
                <c:pt idx="56043">
                  <c:v>43.001382132021831</c:v>
                </c:pt>
                <c:pt idx="56044">
                  <c:v>19.964329151233471</c:v>
                </c:pt>
                <c:pt idx="56045">
                  <c:v>29.287610339524612</c:v>
                </c:pt>
                <c:pt idx="56046">
                  <c:v>48.017938038766779</c:v>
                </c:pt>
                <c:pt idx="56047">
                  <c:v>27.535000601836082</c:v>
                </c:pt>
                <c:pt idx="56048">
                  <c:v>20.446410286715267</c:v>
                </c:pt>
                <c:pt idx="56049">
                  <c:v>34.63739776608341</c:v>
                </c:pt>
                <c:pt idx="56050">
                  <c:v>25.261390403020734</c:v>
                </c:pt>
                <c:pt idx="56051">
                  <c:v>55.322148353460328</c:v>
                </c:pt>
                <c:pt idx="56052">
                  <c:v>24.330933969277201</c:v>
                </c:pt>
                <c:pt idx="56053">
                  <c:v>24.35880959955615</c:v>
                </c:pt>
                <c:pt idx="56054">
                  <c:v>38.691233068214302</c:v>
                </c:pt>
                <c:pt idx="56055">
                  <c:v>24.131696345504494</c:v>
                </c:pt>
                <c:pt idx="56056">
                  <c:v>17.719711796756588</c:v>
                </c:pt>
                <c:pt idx="56057">
                  <c:v>48.4039944239249</c:v>
                </c:pt>
                <c:pt idx="56058">
                  <c:v>58.337932316919861</c:v>
                </c:pt>
                <c:pt idx="56059">
                  <c:v>24.957126061769937</c:v>
                </c:pt>
                <c:pt idx="56060">
                  <c:v>49.243645528910605</c:v>
                </c:pt>
                <c:pt idx="56061">
                  <c:v>29.414158506910454</c:v>
                </c:pt>
                <c:pt idx="56062">
                  <c:v>24.991436202238958</c:v>
                </c:pt>
                <c:pt idx="56063">
                  <c:v>36.372851674389679</c:v>
                </c:pt>
                <c:pt idx="56064">
                  <c:v>24.765398422918974</c:v>
                </c:pt>
                <c:pt idx="56065">
                  <c:v>26.592439768306154</c:v>
                </c:pt>
                <c:pt idx="56066">
                  <c:v>16.62602448762139</c:v>
                </c:pt>
                <c:pt idx="56067">
                  <c:v>39.811102097212114</c:v>
                </c:pt>
                <c:pt idx="56068">
                  <c:v>23.731585339222097</c:v>
                </c:pt>
                <c:pt idx="56069">
                  <c:v>28.16905472916007</c:v>
                </c:pt>
                <c:pt idx="56070">
                  <c:v>27.149747987076125</c:v>
                </c:pt>
                <c:pt idx="56071">
                  <c:v>42.204961483356001</c:v>
                </c:pt>
                <c:pt idx="56072">
                  <c:v>24.298493315519043</c:v>
                </c:pt>
                <c:pt idx="56073">
                  <c:v>23.966767997661492</c:v>
                </c:pt>
                <c:pt idx="56074">
                  <c:v>28.003488892836874</c:v>
                </c:pt>
                <c:pt idx="56075">
                  <c:v>21.761950702204604</c:v>
                </c:pt>
                <c:pt idx="56076">
                  <c:v>27.631535830736794</c:v>
                </c:pt>
                <c:pt idx="56077">
                  <c:v>25.802421136036347</c:v>
                </c:pt>
                <c:pt idx="56078">
                  <c:v>44.02883937846223</c:v>
                </c:pt>
                <c:pt idx="56079">
                  <c:v>45.50368323247023</c:v>
                </c:pt>
                <c:pt idx="56080">
                  <c:v>26.460131389830583</c:v>
                </c:pt>
                <c:pt idx="56081">
                  <c:v>40.766922727969671</c:v>
                </c:pt>
                <c:pt idx="56082">
                  <c:v>17.606333152543531</c:v>
                </c:pt>
                <c:pt idx="56083">
                  <c:v>30.870573364213474</c:v>
                </c:pt>
                <c:pt idx="56084">
                  <c:v>21.195095566922546</c:v>
                </c:pt>
                <c:pt idx="56085">
                  <c:v>28.12462514845069</c:v>
                </c:pt>
                <c:pt idx="56086">
                  <c:v>38.513029351305605</c:v>
                </c:pt>
                <c:pt idx="56087">
                  <c:v>25.591982028317037</c:v>
                </c:pt>
                <c:pt idx="56088">
                  <c:v>27.640691469990948</c:v>
                </c:pt>
                <c:pt idx="56089">
                  <c:v>22.209660807592726</c:v>
                </c:pt>
                <c:pt idx="56090">
                  <c:v>52.3724259056332</c:v>
                </c:pt>
                <c:pt idx="56091">
                  <c:v>36.316872021482219</c:v>
                </c:pt>
                <c:pt idx="56092">
                  <c:v>23.768609508386948</c:v>
                </c:pt>
                <c:pt idx="56093">
                  <c:v>61.350571027637962</c:v>
                </c:pt>
                <c:pt idx="56094">
                  <c:v>25.360716140603074</c:v>
                </c:pt>
                <c:pt idx="56095">
                  <c:v>28.401811813577186</c:v>
                </c:pt>
                <c:pt idx="56096">
                  <c:v>30.659839109092616</c:v>
                </c:pt>
                <c:pt idx="56097">
                  <c:v>25.473372316323481</c:v>
                </c:pt>
                <c:pt idx="56098">
                  <c:v>28.237021530884753</c:v>
                </c:pt>
                <c:pt idx="56099">
                  <c:v>31.358725050591968</c:v>
                </c:pt>
                <c:pt idx="56100">
                  <c:v>33.466623849256735</c:v>
                </c:pt>
                <c:pt idx="56101">
                  <c:v>30.314770112587677</c:v>
                </c:pt>
                <c:pt idx="56102">
                  <c:v>23.851639724490823</c:v>
                </c:pt>
                <c:pt idx="56103">
                  <c:v>18.805511483009795</c:v>
                </c:pt>
                <c:pt idx="56104">
                  <c:v>20.86883227678365</c:v>
                </c:pt>
                <c:pt idx="56105">
                  <c:v>39.679869055992597</c:v>
                </c:pt>
                <c:pt idx="56106">
                  <c:v>37.831782536812781</c:v>
                </c:pt>
                <c:pt idx="56107">
                  <c:v>21.859289396465268</c:v>
                </c:pt>
                <c:pt idx="56108">
                  <c:v>30.307720130035634</c:v>
                </c:pt>
                <c:pt idx="56109">
                  <c:v>31.462828718316118</c:v>
                </c:pt>
                <c:pt idx="56110">
                  <c:v>22.846981361884072</c:v>
                </c:pt>
                <c:pt idx="56111">
                  <c:v>28.712006804104206</c:v>
                </c:pt>
                <c:pt idx="56112">
                  <c:v>17.53333566900633</c:v>
                </c:pt>
                <c:pt idx="56113">
                  <c:v>32.51812483392105</c:v>
                </c:pt>
                <c:pt idx="56114">
                  <c:v>37.106980624052142</c:v>
                </c:pt>
                <c:pt idx="56115">
                  <c:v>27.987813693397275</c:v>
                </c:pt>
                <c:pt idx="56116">
                  <c:v>49.837050711657085</c:v>
                </c:pt>
                <c:pt idx="56117">
                  <c:v>42.284968842398769</c:v>
                </c:pt>
                <c:pt idx="56118">
                  <c:v>33.046328726298256</c:v>
                </c:pt>
                <c:pt idx="56119">
                  <c:v>26.759316170429546</c:v>
                </c:pt>
                <c:pt idx="56120">
                  <c:v>23.741478028685993</c:v>
                </c:pt>
                <c:pt idx="56121">
                  <c:v>22.486093566584685</c:v>
                </c:pt>
                <c:pt idx="56122">
                  <c:v>27.218151864512087</c:v>
                </c:pt>
                <c:pt idx="56123">
                  <c:v>30.637567286565307</c:v>
                </c:pt>
                <c:pt idx="56124">
                  <c:v>22.019269192912112</c:v>
                </c:pt>
                <c:pt idx="56125">
                  <c:v>39.018162308586049</c:v>
                </c:pt>
                <c:pt idx="56126">
                  <c:v>25.19047623924488</c:v>
                </c:pt>
                <c:pt idx="56127">
                  <c:v>22.254199424982623</c:v>
                </c:pt>
                <c:pt idx="56128">
                  <c:v>30.594367426704721</c:v>
                </c:pt>
                <c:pt idx="56129">
                  <c:v>30.116013995774313</c:v>
                </c:pt>
                <c:pt idx="56130">
                  <c:v>24.446200871005757</c:v>
                </c:pt>
                <c:pt idx="56131">
                  <c:v>27.924323690546</c:v>
                </c:pt>
                <c:pt idx="56132">
                  <c:v>32.555670793908241</c:v>
                </c:pt>
                <c:pt idx="56133">
                  <c:v>32.535816980229136</c:v>
                </c:pt>
                <c:pt idx="56134">
                  <c:v>27.097998046088897</c:v>
                </c:pt>
                <c:pt idx="56135">
                  <c:v>32.116130342223144</c:v>
                </c:pt>
                <c:pt idx="56136">
                  <c:v>32.399173785374174</c:v>
                </c:pt>
                <c:pt idx="56137">
                  <c:v>52.455708261653363</c:v>
                </c:pt>
                <c:pt idx="56138">
                  <c:v>19.521167159585509</c:v>
                </c:pt>
                <c:pt idx="56139">
                  <c:v>28.164343286446329</c:v>
                </c:pt>
                <c:pt idx="56140">
                  <c:v>26.3837734295365</c:v>
                </c:pt>
                <c:pt idx="56141">
                  <c:v>50.595950469765569</c:v>
                </c:pt>
                <c:pt idx="56142">
                  <c:v>30.832490758096899</c:v>
                </c:pt>
                <c:pt idx="56143">
                  <c:v>35.503175040706431</c:v>
                </c:pt>
                <c:pt idx="56144">
                  <c:v>33.432769961335332</c:v>
                </c:pt>
                <c:pt idx="56145">
                  <c:v>28.719327478459302</c:v>
                </c:pt>
                <c:pt idx="56146">
                  <c:v>37.233604490908505</c:v>
                </c:pt>
                <c:pt idx="56147">
                  <c:v>23.327496784972698</c:v>
                </c:pt>
                <c:pt idx="56148">
                  <c:v>18.583814604909463</c:v>
                </c:pt>
                <c:pt idx="56149">
                  <c:v>25.607455992537083</c:v>
                </c:pt>
                <c:pt idx="56150">
                  <c:v>34.056127478667037</c:v>
                </c:pt>
                <c:pt idx="56151">
                  <c:v>30.251426696927844</c:v>
                </c:pt>
                <c:pt idx="56152">
                  <c:v>28.189609268830139</c:v>
                </c:pt>
                <c:pt idx="56153">
                  <c:v>36.400411131426701</c:v>
                </c:pt>
                <c:pt idx="56154">
                  <c:v>26.290848085309189</c:v>
                </c:pt>
                <c:pt idx="56155">
                  <c:v>23.32576527468801</c:v>
                </c:pt>
                <c:pt idx="56156">
                  <c:v>24.318807648686935</c:v>
                </c:pt>
                <c:pt idx="56157">
                  <c:v>23.422258373668623</c:v>
                </c:pt>
                <c:pt idx="56158">
                  <c:v>41.562340377388189</c:v>
                </c:pt>
                <c:pt idx="56159">
                  <c:v>27.277789133105415</c:v>
                </c:pt>
                <c:pt idx="56160">
                  <c:v>16.777737078279152</c:v>
                </c:pt>
                <c:pt idx="56161">
                  <c:v>23.115620979466311</c:v>
                </c:pt>
                <c:pt idx="56162">
                  <c:v>25.707056107000859</c:v>
                </c:pt>
                <c:pt idx="56163">
                  <c:v>24.097620639725559</c:v>
                </c:pt>
                <c:pt idx="56164">
                  <c:v>29.654556026577747</c:v>
                </c:pt>
                <c:pt idx="56165">
                  <c:v>44.820363992768598</c:v>
                </c:pt>
                <c:pt idx="56166">
                  <c:v>21.658320673235597</c:v>
                </c:pt>
                <c:pt idx="56167">
                  <c:v>30.602238333204728</c:v>
                </c:pt>
                <c:pt idx="56168">
                  <c:v>30.127019033056744</c:v>
                </c:pt>
                <c:pt idx="56169">
                  <c:v>36.229994485372515</c:v>
                </c:pt>
                <c:pt idx="56170">
                  <c:v>22.002878607023515</c:v>
                </c:pt>
                <c:pt idx="56171">
                  <c:v>28.713592975707734</c:v>
                </c:pt>
                <c:pt idx="56172">
                  <c:v>24.170888102085875</c:v>
                </c:pt>
                <c:pt idx="56173">
                  <c:v>21.20561682046209</c:v>
                </c:pt>
                <c:pt idx="56174">
                  <c:v>30.008600608512282</c:v>
                </c:pt>
                <c:pt idx="56175">
                  <c:v>27.526167851738357</c:v>
                </c:pt>
                <c:pt idx="56176">
                  <c:v>48.929664176171229</c:v>
                </c:pt>
                <c:pt idx="56177">
                  <c:v>28.965804454676068</c:v>
                </c:pt>
                <c:pt idx="56178">
                  <c:v>51.18576833326042</c:v>
                </c:pt>
                <c:pt idx="56179">
                  <c:v>45.872453849465884</c:v>
                </c:pt>
                <c:pt idx="56180">
                  <c:v>53.652440878092385</c:v>
                </c:pt>
                <c:pt idx="56181">
                  <c:v>23.030428937690647</c:v>
                </c:pt>
                <c:pt idx="56182">
                  <c:v>22.898121017567849</c:v>
                </c:pt>
                <c:pt idx="56183">
                  <c:v>26.009347262666733</c:v>
                </c:pt>
                <c:pt idx="56184">
                  <c:v>21.947333047659889</c:v>
                </c:pt>
                <c:pt idx="56185">
                  <c:v>28.351818151358341</c:v>
                </c:pt>
                <c:pt idx="56186">
                  <c:v>45.231094298663066</c:v>
                </c:pt>
                <c:pt idx="56187">
                  <c:v>23.947816786665825</c:v>
                </c:pt>
                <c:pt idx="56188">
                  <c:v>33.162395257113019</c:v>
                </c:pt>
                <c:pt idx="56189">
                  <c:v>28.730235434926964</c:v>
                </c:pt>
                <c:pt idx="56190">
                  <c:v>54.906261014105127</c:v>
                </c:pt>
                <c:pt idx="56191">
                  <c:v>48.503105255109219</c:v>
                </c:pt>
                <c:pt idx="56192">
                  <c:v>47.545186849201698</c:v>
                </c:pt>
                <c:pt idx="56193">
                  <c:v>50.790890488159683</c:v>
                </c:pt>
                <c:pt idx="56194">
                  <c:v>36.325040457119385</c:v>
                </c:pt>
                <c:pt idx="56195">
                  <c:v>24.682220115808029</c:v>
                </c:pt>
                <c:pt idx="56196">
                  <c:v>29.67919698603508</c:v>
                </c:pt>
                <c:pt idx="56197">
                  <c:v>47.753875780217577</c:v>
                </c:pt>
                <c:pt idx="56198">
                  <c:v>22.149535572508089</c:v>
                </c:pt>
                <c:pt idx="56199">
                  <c:v>19.806574085070682</c:v>
                </c:pt>
                <c:pt idx="56200">
                  <c:v>22.184191601717401</c:v>
                </c:pt>
                <c:pt idx="56201">
                  <c:v>50.889659489231391</c:v>
                </c:pt>
                <c:pt idx="56202">
                  <c:v>36.985137362351942</c:v>
                </c:pt>
                <c:pt idx="56203">
                  <c:v>32.634566425574135</c:v>
                </c:pt>
                <c:pt idx="56204">
                  <c:v>55.733846985154727</c:v>
                </c:pt>
                <c:pt idx="56205">
                  <c:v>21.325356236345225</c:v>
                </c:pt>
                <c:pt idx="56206">
                  <c:v>22.533542406064761</c:v>
                </c:pt>
                <c:pt idx="56207">
                  <c:v>46.293660506195003</c:v>
                </c:pt>
                <c:pt idx="56208">
                  <c:v>26.472973455995451</c:v>
                </c:pt>
                <c:pt idx="56209">
                  <c:v>39.972253640879572</c:v>
                </c:pt>
                <c:pt idx="56210">
                  <c:v>44.18412094625269</c:v>
                </c:pt>
                <c:pt idx="56211">
                  <c:v>17.024609777823201</c:v>
                </c:pt>
                <c:pt idx="56212">
                  <c:v>15.691141600965114</c:v>
                </c:pt>
                <c:pt idx="56213">
                  <c:v>32.742989626401766</c:v>
                </c:pt>
                <c:pt idx="56214">
                  <c:v>40.209422977122415</c:v>
                </c:pt>
                <c:pt idx="56215">
                  <c:v>30.182313861239884</c:v>
                </c:pt>
                <c:pt idx="56216">
                  <c:v>25.570126840759364</c:v>
                </c:pt>
                <c:pt idx="56217">
                  <c:v>24.841835737839041</c:v>
                </c:pt>
                <c:pt idx="56218">
                  <c:v>22.641195081091055</c:v>
                </c:pt>
                <c:pt idx="56219">
                  <c:v>20.008967513920258</c:v>
                </c:pt>
                <c:pt idx="56220">
                  <c:v>38.064362908250068</c:v>
                </c:pt>
                <c:pt idx="56221">
                  <c:v>47.958959868769284</c:v>
                </c:pt>
                <c:pt idx="56222">
                  <c:v>36.847690141078616</c:v>
                </c:pt>
                <c:pt idx="56223">
                  <c:v>33.187875958961648</c:v>
                </c:pt>
                <c:pt idx="56224">
                  <c:v>30.100507615272896</c:v>
                </c:pt>
                <c:pt idx="56225">
                  <c:v>30.95094687806607</c:v>
                </c:pt>
                <c:pt idx="56226">
                  <c:v>39.611988997926517</c:v>
                </c:pt>
                <c:pt idx="56227">
                  <c:v>21.987556681640573</c:v>
                </c:pt>
                <c:pt idx="56228">
                  <c:v>30.475875162340117</c:v>
                </c:pt>
                <c:pt idx="56229">
                  <c:v>31.225746873961519</c:v>
                </c:pt>
                <c:pt idx="56230">
                  <c:v>30.693283962916837</c:v>
                </c:pt>
                <c:pt idx="56231">
                  <c:v>29.98402298962268</c:v>
                </c:pt>
                <c:pt idx="56232">
                  <c:v>33.160184553033311</c:v>
                </c:pt>
                <c:pt idx="56233">
                  <c:v>47.684875165848915</c:v>
                </c:pt>
                <c:pt idx="56234">
                  <c:v>44.614920514159955</c:v>
                </c:pt>
                <c:pt idx="56235">
                  <c:v>57.653877244895469</c:v>
                </c:pt>
                <c:pt idx="56236">
                  <c:v>48.314823758196034</c:v>
                </c:pt>
                <c:pt idx="56237">
                  <c:v>33.05850041259847</c:v>
                </c:pt>
                <c:pt idx="56238">
                  <c:v>24.707427566472592</c:v>
                </c:pt>
                <c:pt idx="56239">
                  <c:v>37.807435779283082</c:v>
                </c:pt>
                <c:pt idx="56240">
                  <c:v>17.166441266215053</c:v>
                </c:pt>
                <c:pt idx="56241">
                  <c:v>18.608236862864949</c:v>
                </c:pt>
                <c:pt idx="56242">
                  <c:v>20.114300053778233</c:v>
                </c:pt>
                <c:pt idx="56243">
                  <c:v>26.033531220254559</c:v>
                </c:pt>
                <c:pt idx="56244">
                  <c:v>24.51920769828558</c:v>
                </c:pt>
                <c:pt idx="56245">
                  <c:v>45.122086943422566</c:v>
                </c:pt>
                <c:pt idx="56246">
                  <c:v>18.579150815036911</c:v>
                </c:pt>
                <c:pt idx="56247">
                  <c:v>47.525716763036144</c:v>
                </c:pt>
                <c:pt idx="56248">
                  <c:v>25.408213225190018</c:v>
                </c:pt>
                <c:pt idx="56249">
                  <c:v>42.79807411599716</c:v>
                </c:pt>
                <c:pt idx="56250">
                  <c:v>32.710685829703969</c:v>
                </c:pt>
                <c:pt idx="56251">
                  <c:v>22.98656289838301</c:v>
                </c:pt>
                <c:pt idx="56252">
                  <c:v>44.457408449309483</c:v>
                </c:pt>
                <c:pt idx="56253">
                  <c:v>40.42496292288795</c:v>
                </c:pt>
                <c:pt idx="56254">
                  <c:v>49.313141754901288</c:v>
                </c:pt>
                <c:pt idx="56255">
                  <c:v>45.53628760069909</c:v>
                </c:pt>
                <c:pt idx="56256">
                  <c:v>18.239568808241749</c:v>
                </c:pt>
                <c:pt idx="56257">
                  <c:v>30.652710608324313</c:v>
                </c:pt>
                <c:pt idx="56258">
                  <c:v>25.972735885943049</c:v>
                </c:pt>
                <c:pt idx="56259">
                  <c:v>26.340573207401079</c:v>
                </c:pt>
                <c:pt idx="56260">
                  <c:v>24.132588410694567</c:v>
                </c:pt>
                <c:pt idx="56261">
                  <c:v>20.961406103451623</c:v>
                </c:pt>
                <c:pt idx="56262">
                  <c:v>26.865603267633375</c:v>
                </c:pt>
                <c:pt idx="56263">
                  <c:v>42.428166819927149</c:v>
                </c:pt>
                <c:pt idx="56264">
                  <c:v>54.476506309642815</c:v>
                </c:pt>
                <c:pt idx="56265">
                  <c:v>50.481729465180912</c:v>
                </c:pt>
                <c:pt idx="56266">
                  <c:v>54.181835061013508</c:v>
                </c:pt>
                <c:pt idx="56267">
                  <c:v>33.898246780856063</c:v>
                </c:pt>
                <c:pt idx="56268">
                  <c:v>19.684929323277988</c:v>
                </c:pt>
                <c:pt idx="56269">
                  <c:v>39.142712800176454</c:v>
                </c:pt>
                <c:pt idx="56270">
                  <c:v>28.763687310465578</c:v>
                </c:pt>
                <c:pt idx="56271">
                  <c:v>34.96949067916178</c:v>
                </c:pt>
                <c:pt idx="56272">
                  <c:v>22.239801225561131</c:v>
                </c:pt>
                <c:pt idx="56273">
                  <c:v>23.672904259554461</c:v>
                </c:pt>
                <c:pt idx="56274">
                  <c:v>45.241855704573659</c:v>
                </c:pt>
                <c:pt idx="56275">
                  <c:v>27.432794499436877</c:v>
                </c:pt>
                <c:pt idx="56276">
                  <c:v>58.033089541033235</c:v>
                </c:pt>
                <c:pt idx="56277">
                  <c:v>33.852337780377283</c:v>
                </c:pt>
                <c:pt idx="56278">
                  <c:v>23.361489734695354</c:v>
                </c:pt>
                <c:pt idx="56279">
                  <c:v>22.103439744001399</c:v>
                </c:pt>
                <c:pt idx="56280">
                  <c:v>24.85167662024288</c:v>
                </c:pt>
                <c:pt idx="56281">
                  <c:v>32.562876294755817</c:v>
                </c:pt>
                <c:pt idx="56282">
                  <c:v>39.934315907283711</c:v>
                </c:pt>
                <c:pt idx="56283">
                  <c:v>32.163621395611699</c:v>
                </c:pt>
                <c:pt idx="56284">
                  <c:v>29.434816665218563</c:v>
                </c:pt>
                <c:pt idx="56285">
                  <c:v>40.068441843921747</c:v>
                </c:pt>
                <c:pt idx="56286">
                  <c:v>25.639711183132881</c:v>
                </c:pt>
                <c:pt idx="56287">
                  <c:v>27.505267493869443</c:v>
                </c:pt>
                <c:pt idx="56288">
                  <c:v>19.585614279505574</c:v>
                </c:pt>
                <c:pt idx="56289">
                  <c:v>46.233913982626483</c:v>
                </c:pt>
                <c:pt idx="56290">
                  <c:v>23.907505890814914</c:v>
                </c:pt>
                <c:pt idx="56291">
                  <c:v>40.371326379842174</c:v>
                </c:pt>
                <c:pt idx="56292">
                  <c:v>25.248508539450032</c:v>
                </c:pt>
                <c:pt idx="56293">
                  <c:v>29.941164186029354</c:v>
                </c:pt>
                <c:pt idx="56294">
                  <c:v>24.577354952383654</c:v>
                </c:pt>
                <c:pt idx="56295">
                  <c:v>44.128485824668488</c:v>
                </c:pt>
                <c:pt idx="56296">
                  <c:v>21.903752463266571</c:v>
                </c:pt>
                <c:pt idx="56297">
                  <c:v>46.42497800870639</c:v>
                </c:pt>
                <c:pt idx="56298">
                  <c:v>24.840897651140587</c:v>
                </c:pt>
                <c:pt idx="56299">
                  <c:v>35.379794086723457</c:v>
                </c:pt>
                <c:pt idx="56300">
                  <c:v>26.518096716667472</c:v>
                </c:pt>
                <c:pt idx="56301">
                  <c:v>26.952035595336433</c:v>
                </c:pt>
                <c:pt idx="56302">
                  <c:v>28.187604251191281</c:v>
                </c:pt>
                <c:pt idx="56303">
                  <c:v>29.745535441334216</c:v>
                </c:pt>
                <c:pt idx="56304">
                  <c:v>58.860638430517497</c:v>
                </c:pt>
                <c:pt idx="56305">
                  <c:v>23.54617852091539</c:v>
                </c:pt>
                <c:pt idx="56306">
                  <c:v>34.42390347444438</c:v>
                </c:pt>
                <c:pt idx="56307">
                  <c:v>27.438938513360039</c:v>
                </c:pt>
                <c:pt idx="56308">
                  <c:v>37.985510675547616</c:v>
                </c:pt>
                <c:pt idx="56309">
                  <c:v>23.885235839615458</c:v>
                </c:pt>
                <c:pt idx="56310">
                  <c:v>30.635995160723006</c:v>
                </c:pt>
                <c:pt idx="56311">
                  <c:v>32.002967902433561</c:v>
                </c:pt>
                <c:pt idx="56312">
                  <c:v>27.792187175955114</c:v>
                </c:pt>
                <c:pt idx="56313">
                  <c:v>48.109738650364442</c:v>
                </c:pt>
                <c:pt idx="56314">
                  <c:v>44.843915659281357</c:v>
                </c:pt>
                <c:pt idx="56315">
                  <c:v>32.462504879738631</c:v>
                </c:pt>
                <c:pt idx="56316">
                  <c:v>29.957406607301458</c:v>
                </c:pt>
                <c:pt idx="56317">
                  <c:v>28.705947905398496</c:v>
                </c:pt>
                <c:pt idx="56318">
                  <c:v>31.179048001934248</c:v>
                </c:pt>
                <c:pt idx="56319">
                  <c:v>27.029636870510387</c:v>
                </c:pt>
                <c:pt idx="56320">
                  <c:v>29.900473522082265</c:v>
                </c:pt>
                <c:pt idx="56321">
                  <c:v>47.131212571423688</c:v>
                </c:pt>
                <c:pt idx="56322">
                  <c:v>20.431205125526844</c:v>
                </c:pt>
                <c:pt idx="56323">
                  <c:v>24.997742206940071</c:v>
                </c:pt>
                <c:pt idx="56324">
                  <c:v>35.193260159875976</c:v>
                </c:pt>
                <c:pt idx="56325">
                  <c:v>18.866198211658471</c:v>
                </c:pt>
                <c:pt idx="56326">
                  <c:v>56.287553050701064</c:v>
                </c:pt>
                <c:pt idx="56327">
                  <c:v>35.578399874141553</c:v>
                </c:pt>
                <c:pt idx="56328">
                  <c:v>45.884754809284246</c:v>
                </c:pt>
                <c:pt idx="56329">
                  <c:v>32.109678902916222</c:v>
                </c:pt>
                <c:pt idx="56330">
                  <c:v>28.36089692128569</c:v>
                </c:pt>
                <c:pt idx="56331">
                  <c:v>25.950986895275328</c:v>
                </c:pt>
                <c:pt idx="56332">
                  <c:v>27.995352703413459</c:v>
                </c:pt>
                <c:pt idx="56333">
                  <c:v>30.061134724770611</c:v>
                </c:pt>
                <c:pt idx="56334">
                  <c:v>52.211938218363429</c:v>
                </c:pt>
                <c:pt idx="56335">
                  <c:v>53.038720491806032</c:v>
                </c:pt>
                <c:pt idx="56336">
                  <c:v>30.74221170962436</c:v>
                </c:pt>
                <c:pt idx="56337">
                  <c:v>28.495192731285428</c:v>
                </c:pt>
                <c:pt idx="56338">
                  <c:v>30.67768851047898</c:v>
                </c:pt>
                <c:pt idx="56339">
                  <c:v>24.697007712279166</c:v>
                </c:pt>
                <c:pt idx="56340">
                  <c:v>25.709580929074967</c:v>
                </c:pt>
                <c:pt idx="56341">
                  <c:v>42.358496506245146</c:v>
                </c:pt>
                <c:pt idx="56342">
                  <c:v>20.734381992449038</c:v>
                </c:pt>
                <c:pt idx="56343">
                  <c:v>31.376096271437184</c:v>
                </c:pt>
                <c:pt idx="56344">
                  <c:v>23.264298034506663</c:v>
                </c:pt>
                <c:pt idx="56345">
                  <c:v>17.949954702483709</c:v>
                </c:pt>
                <c:pt idx="56346">
                  <c:v>47.49940755858524</c:v>
                </c:pt>
                <c:pt idx="56347">
                  <c:v>27.405948177607502</c:v>
                </c:pt>
                <c:pt idx="56348">
                  <c:v>44.507100352186924</c:v>
                </c:pt>
                <c:pt idx="56349">
                  <c:v>24.830039096019714</c:v>
                </c:pt>
                <c:pt idx="56350">
                  <c:v>20.394057769912052</c:v>
                </c:pt>
                <c:pt idx="56351">
                  <c:v>26.798290748769393</c:v>
                </c:pt>
                <c:pt idx="56352">
                  <c:v>31.567882620450682</c:v>
                </c:pt>
                <c:pt idx="56353">
                  <c:v>27.630377077252255</c:v>
                </c:pt>
                <c:pt idx="56354">
                  <c:v>19.625282782773109</c:v>
                </c:pt>
                <c:pt idx="56355">
                  <c:v>35.835252140770734</c:v>
                </c:pt>
                <c:pt idx="56356">
                  <c:v>23.738890454644313</c:v>
                </c:pt>
                <c:pt idx="56357">
                  <c:v>32.107762445667838</c:v>
                </c:pt>
                <c:pt idx="56358">
                  <c:v>20.998197528726845</c:v>
                </c:pt>
                <c:pt idx="56359">
                  <c:v>24.404154409422222</c:v>
                </c:pt>
                <c:pt idx="56360">
                  <c:v>20.692722465699291</c:v>
                </c:pt>
                <c:pt idx="56361">
                  <c:v>36.433853443886008</c:v>
                </c:pt>
                <c:pt idx="56362">
                  <c:v>46.028075605706839</c:v>
                </c:pt>
                <c:pt idx="56363">
                  <c:v>23.797523420983193</c:v>
                </c:pt>
                <c:pt idx="56364">
                  <c:v>29.932482487042261</c:v>
                </c:pt>
                <c:pt idx="56365">
                  <c:v>39.482076488803528</c:v>
                </c:pt>
                <c:pt idx="56366">
                  <c:v>25.249951751159848</c:v>
                </c:pt>
                <c:pt idx="56367">
                  <c:v>46.542798333629733</c:v>
                </c:pt>
                <c:pt idx="56368">
                  <c:v>19.665530996382756</c:v>
                </c:pt>
                <c:pt idx="56369">
                  <c:v>45.076922895073373</c:v>
                </c:pt>
                <c:pt idx="56370">
                  <c:v>27.52806126100613</c:v>
                </c:pt>
                <c:pt idx="56371">
                  <c:v>29.430669056684991</c:v>
                </c:pt>
                <c:pt idx="56372">
                  <c:v>27.545432969963933</c:v>
                </c:pt>
                <c:pt idx="56373">
                  <c:v>26.827605997413595</c:v>
                </c:pt>
                <c:pt idx="56374">
                  <c:v>43.472289589355874</c:v>
                </c:pt>
                <c:pt idx="56375">
                  <c:v>33.301172338965728</c:v>
                </c:pt>
                <c:pt idx="56376">
                  <c:v>24.601534663210778</c:v>
                </c:pt>
                <c:pt idx="56377">
                  <c:v>30.204381864208163</c:v>
                </c:pt>
                <c:pt idx="56378">
                  <c:v>28.592404649825415</c:v>
                </c:pt>
                <c:pt idx="56379">
                  <c:v>35.188342175351906</c:v>
                </c:pt>
                <c:pt idx="56380">
                  <c:v>26.210030792758033</c:v>
                </c:pt>
                <c:pt idx="56381">
                  <c:v>33.459246952342923</c:v>
                </c:pt>
                <c:pt idx="56382">
                  <c:v>20.714877237324593</c:v>
                </c:pt>
                <c:pt idx="56383">
                  <c:v>26.539071763228215</c:v>
                </c:pt>
                <c:pt idx="56384">
                  <c:v>35.837898980106409</c:v>
                </c:pt>
                <c:pt idx="56385">
                  <c:v>27.618919326236185</c:v>
                </c:pt>
                <c:pt idx="56386">
                  <c:v>27.139163383728114</c:v>
                </c:pt>
                <c:pt idx="56387">
                  <c:v>27.765034797102416</c:v>
                </c:pt>
                <c:pt idx="56388">
                  <c:v>31.532141834839152</c:v>
                </c:pt>
                <c:pt idx="56389">
                  <c:v>26.674318445841109</c:v>
                </c:pt>
                <c:pt idx="56390">
                  <c:v>25.375410877294193</c:v>
                </c:pt>
                <c:pt idx="56391">
                  <c:v>34.004590341811429</c:v>
                </c:pt>
                <c:pt idx="56392">
                  <c:v>22.812187330445344</c:v>
                </c:pt>
                <c:pt idx="56393">
                  <c:v>45.318654591818337</c:v>
                </c:pt>
                <c:pt idx="56394">
                  <c:v>49.52500484038913</c:v>
                </c:pt>
                <c:pt idx="56395">
                  <c:v>27.02430085797393</c:v>
                </c:pt>
                <c:pt idx="56396">
                  <c:v>31.614562925945926</c:v>
                </c:pt>
                <c:pt idx="56397">
                  <c:v>23.846528737118415</c:v>
                </c:pt>
                <c:pt idx="56398">
                  <c:v>32.102663070495147</c:v>
                </c:pt>
                <c:pt idx="56399">
                  <c:v>61.507905704565808</c:v>
                </c:pt>
                <c:pt idx="56400">
                  <c:v>59.157866164668405</c:v>
                </c:pt>
                <c:pt idx="56401">
                  <c:v>26.469799653802564</c:v>
                </c:pt>
                <c:pt idx="56402">
                  <c:v>25.738190959452762</c:v>
                </c:pt>
                <c:pt idx="56403">
                  <c:v>45.040966238696058</c:v>
                </c:pt>
                <c:pt idx="56404">
                  <c:v>45.072534032718941</c:v>
                </c:pt>
                <c:pt idx="56405">
                  <c:v>26.587035138703385</c:v>
                </c:pt>
                <c:pt idx="56406">
                  <c:v>22.108245760581767</c:v>
                </c:pt>
                <c:pt idx="56407">
                  <c:v>25.092860102305966</c:v>
                </c:pt>
                <c:pt idx="56408">
                  <c:v>27.412381512617056</c:v>
                </c:pt>
                <c:pt idx="56409">
                  <c:v>26.887122409094086</c:v>
                </c:pt>
                <c:pt idx="56410">
                  <c:v>27.48235950652888</c:v>
                </c:pt>
                <c:pt idx="56411">
                  <c:v>27.932220252467168</c:v>
                </c:pt>
                <c:pt idx="56412">
                  <c:v>37.478413365221662</c:v>
                </c:pt>
                <c:pt idx="56413">
                  <c:v>42.075112941628177</c:v>
                </c:pt>
                <c:pt idx="56414">
                  <c:v>22.760017711852115</c:v>
                </c:pt>
                <c:pt idx="56415">
                  <c:v>19.165503978613181</c:v>
                </c:pt>
                <c:pt idx="56416">
                  <c:v>28.370086071352862</c:v>
                </c:pt>
                <c:pt idx="56417">
                  <c:v>47.121215378787582</c:v>
                </c:pt>
                <c:pt idx="56418">
                  <c:v>47.252457999893778</c:v>
                </c:pt>
                <c:pt idx="56419">
                  <c:v>50.962329418102144</c:v>
                </c:pt>
                <c:pt idx="56420">
                  <c:v>47.379422836229935</c:v>
                </c:pt>
                <c:pt idx="56421">
                  <c:v>24.632777174945762</c:v>
                </c:pt>
                <c:pt idx="56422">
                  <c:v>22.733031099116868</c:v>
                </c:pt>
                <c:pt idx="56423">
                  <c:v>28.910763371750924</c:v>
                </c:pt>
                <c:pt idx="56424">
                  <c:v>35.99344664810922</c:v>
                </c:pt>
                <c:pt idx="56425">
                  <c:v>30.884159979680295</c:v>
                </c:pt>
                <c:pt idx="56426">
                  <c:v>25.983675533325936</c:v>
                </c:pt>
                <c:pt idx="56427">
                  <c:v>19.908162684243194</c:v>
                </c:pt>
                <c:pt idx="56428">
                  <c:v>27.914013850469573</c:v>
                </c:pt>
                <c:pt idx="56429">
                  <c:v>23.407520394971119</c:v>
                </c:pt>
                <c:pt idx="56430">
                  <c:v>53.805692661359878</c:v>
                </c:pt>
                <c:pt idx="56431">
                  <c:v>25.107843537923237</c:v>
                </c:pt>
                <c:pt idx="56432">
                  <c:v>27.586384822791636</c:v>
                </c:pt>
                <c:pt idx="56433">
                  <c:v>22.762784990437176</c:v>
                </c:pt>
                <c:pt idx="56434">
                  <c:v>23.844683888440951</c:v>
                </c:pt>
                <c:pt idx="56435">
                  <c:v>29.223872596663046</c:v>
                </c:pt>
                <c:pt idx="56436">
                  <c:v>46.520573249695744</c:v>
                </c:pt>
                <c:pt idx="56437">
                  <c:v>23.698144821265739</c:v>
                </c:pt>
                <c:pt idx="56438">
                  <c:v>43.957416493161915</c:v>
                </c:pt>
                <c:pt idx="56439">
                  <c:v>21.745553004790036</c:v>
                </c:pt>
                <c:pt idx="56440">
                  <c:v>18.462332153595664</c:v>
                </c:pt>
                <c:pt idx="56441">
                  <c:v>37.428817104976943</c:v>
                </c:pt>
                <c:pt idx="56442">
                  <c:v>48.419233096672464</c:v>
                </c:pt>
                <c:pt idx="56443">
                  <c:v>16.85106290574333</c:v>
                </c:pt>
                <c:pt idx="56444">
                  <c:v>46.19371099325528</c:v>
                </c:pt>
                <c:pt idx="56445">
                  <c:v>22.103833354147888</c:v>
                </c:pt>
                <c:pt idx="56446">
                  <c:v>48.441786335436866</c:v>
                </c:pt>
                <c:pt idx="56447">
                  <c:v>26.800219907137617</c:v>
                </c:pt>
                <c:pt idx="56448">
                  <c:v>54.326484031822815</c:v>
                </c:pt>
                <c:pt idx="56449">
                  <c:v>21.799810461661725</c:v>
                </c:pt>
                <c:pt idx="56450">
                  <c:v>32.883022361623816</c:v>
                </c:pt>
                <c:pt idx="56451">
                  <c:v>24.886843010141572</c:v>
                </c:pt>
                <c:pt idx="56452">
                  <c:v>40.335094888457554</c:v>
                </c:pt>
                <c:pt idx="56453">
                  <c:v>42.055097137759759</c:v>
                </c:pt>
                <c:pt idx="56454">
                  <c:v>30.4960628274833</c:v>
                </c:pt>
                <c:pt idx="56455">
                  <c:v>48.602850044158167</c:v>
                </c:pt>
                <c:pt idx="56456">
                  <c:v>19.946907114738615</c:v>
                </c:pt>
                <c:pt idx="56457">
                  <c:v>36.491197833454571</c:v>
                </c:pt>
                <c:pt idx="56458">
                  <c:v>25.385385064635162</c:v>
                </c:pt>
                <c:pt idx="56459">
                  <c:v>25.559529153759271</c:v>
                </c:pt>
                <c:pt idx="56460">
                  <c:v>28.418612009079975</c:v>
                </c:pt>
                <c:pt idx="56461">
                  <c:v>15.409231355159768</c:v>
                </c:pt>
                <c:pt idx="56462">
                  <c:v>21.734170263361595</c:v>
                </c:pt>
                <c:pt idx="56463">
                  <c:v>14.465838720531455</c:v>
                </c:pt>
                <c:pt idx="56464">
                  <c:v>18.416981299132079</c:v>
                </c:pt>
                <c:pt idx="56465">
                  <c:v>38.982284207387984</c:v>
                </c:pt>
                <c:pt idx="56466">
                  <c:v>32.06635626760324</c:v>
                </c:pt>
                <c:pt idx="56467">
                  <c:v>22.333787036941459</c:v>
                </c:pt>
                <c:pt idx="56468">
                  <c:v>27.46482801365277</c:v>
                </c:pt>
                <c:pt idx="56469">
                  <c:v>19.704672474862274</c:v>
                </c:pt>
                <c:pt idx="56470">
                  <c:v>21.865282708651183</c:v>
                </c:pt>
                <c:pt idx="56471">
                  <c:v>23.728043764400059</c:v>
                </c:pt>
                <c:pt idx="56472">
                  <c:v>22.942937277190229</c:v>
                </c:pt>
                <c:pt idx="56473">
                  <c:v>47.949258770279698</c:v>
                </c:pt>
                <c:pt idx="56474">
                  <c:v>53.16040904155502</c:v>
                </c:pt>
                <c:pt idx="56475">
                  <c:v>40.777270277146549</c:v>
                </c:pt>
                <c:pt idx="56476">
                  <c:v>34.471885559407127</c:v>
                </c:pt>
                <c:pt idx="56477">
                  <c:v>35.091875101345167</c:v>
                </c:pt>
                <c:pt idx="56478">
                  <c:v>35.134668509971078</c:v>
                </c:pt>
                <c:pt idx="56479">
                  <c:v>27.387971560963109</c:v>
                </c:pt>
                <c:pt idx="56480">
                  <c:v>25.940549474621335</c:v>
                </c:pt>
                <c:pt idx="56481">
                  <c:v>21.485977735448863</c:v>
                </c:pt>
                <c:pt idx="56482">
                  <c:v>27.093118293513932</c:v>
                </c:pt>
                <c:pt idx="56483">
                  <c:v>27.006349456774323</c:v>
                </c:pt>
                <c:pt idx="56484">
                  <c:v>32.724714051996301</c:v>
                </c:pt>
                <c:pt idx="56485">
                  <c:v>35.119514033069471</c:v>
                </c:pt>
                <c:pt idx="56486">
                  <c:v>26.792666547636667</c:v>
                </c:pt>
                <c:pt idx="56487">
                  <c:v>25.863710841473207</c:v>
                </c:pt>
                <c:pt idx="56488">
                  <c:v>31.180786032897931</c:v>
                </c:pt>
                <c:pt idx="56489">
                  <c:v>27.397983478623367</c:v>
                </c:pt>
                <c:pt idx="56490">
                  <c:v>21.096850048783402</c:v>
                </c:pt>
                <c:pt idx="56491">
                  <c:v>25.949123634915978</c:v>
                </c:pt>
                <c:pt idx="56492">
                  <c:v>33.141326734199687</c:v>
                </c:pt>
                <c:pt idx="56493">
                  <c:v>27.76921980513502</c:v>
                </c:pt>
                <c:pt idx="56494">
                  <c:v>31.136630076882511</c:v>
                </c:pt>
                <c:pt idx="56495">
                  <c:v>43.703383125821048</c:v>
                </c:pt>
                <c:pt idx="56496">
                  <c:v>32.662138575028202</c:v>
                </c:pt>
                <c:pt idx="56497">
                  <c:v>34.436057666606921</c:v>
                </c:pt>
                <c:pt idx="56498">
                  <c:v>27.983345926115319</c:v>
                </c:pt>
                <c:pt idx="56499">
                  <c:v>28.978337525080008</c:v>
                </c:pt>
                <c:pt idx="56500">
                  <c:v>44.79057338164759</c:v>
                </c:pt>
                <c:pt idx="56501">
                  <c:v>23.731075827392299</c:v>
                </c:pt>
                <c:pt idx="56502">
                  <c:v>30.787040326419834</c:v>
                </c:pt>
                <c:pt idx="56503">
                  <c:v>28.600340355020997</c:v>
                </c:pt>
                <c:pt idx="56504">
                  <c:v>24.098108721070421</c:v>
                </c:pt>
                <c:pt idx="56505">
                  <c:v>21.14594125303762</c:v>
                </c:pt>
                <c:pt idx="56506">
                  <c:v>21.611066561168442</c:v>
                </c:pt>
                <c:pt idx="56507">
                  <c:v>24.569861488464049</c:v>
                </c:pt>
                <c:pt idx="56508">
                  <c:v>30.003415927139407</c:v>
                </c:pt>
                <c:pt idx="56509">
                  <c:v>17.481416756065393</c:v>
                </c:pt>
                <c:pt idx="56510">
                  <c:v>68.890729391683493</c:v>
                </c:pt>
                <c:pt idx="56511">
                  <c:v>45.44923391439238</c:v>
                </c:pt>
                <c:pt idx="56512">
                  <c:v>29.780428255000857</c:v>
                </c:pt>
                <c:pt idx="56513">
                  <c:v>52.597359650271613</c:v>
                </c:pt>
                <c:pt idx="56514">
                  <c:v>21.48631743386786</c:v>
                </c:pt>
                <c:pt idx="56515">
                  <c:v>20.017276080705159</c:v>
                </c:pt>
                <c:pt idx="56516">
                  <c:v>27.813985526394251</c:v>
                </c:pt>
                <c:pt idx="56517">
                  <c:v>56.491875296169709</c:v>
                </c:pt>
                <c:pt idx="56518">
                  <c:v>21.055692399989102</c:v>
                </c:pt>
                <c:pt idx="56519">
                  <c:v>13.698469126393142</c:v>
                </c:pt>
                <c:pt idx="56520">
                  <c:v>25.750510217042265</c:v>
                </c:pt>
                <c:pt idx="56521">
                  <c:v>18.468244995946677</c:v>
                </c:pt>
                <c:pt idx="56522">
                  <c:v>22.334428083095773</c:v>
                </c:pt>
                <c:pt idx="56523">
                  <c:v>30.642022205906436</c:v>
                </c:pt>
                <c:pt idx="56524">
                  <c:v>30.557859886383579</c:v>
                </c:pt>
                <c:pt idx="56525">
                  <c:v>47.776660536993752</c:v>
                </c:pt>
                <c:pt idx="56526">
                  <c:v>25.172606196900439</c:v>
                </c:pt>
                <c:pt idx="56527">
                  <c:v>29.843360187611051</c:v>
                </c:pt>
                <c:pt idx="56528">
                  <c:v>60.306344572604509</c:v>
                </c:pt>
                <c:pt idx="56529">
                  <c:v>30.933375296965881</c:v>
                </c:pt>
                <c:pt idx="56530">
                  <c:v>26.642822465212021</c:v>
                </c:pt>
                <c:pt idx="56531">
                  <c:v>20.538392114968936</c:v>
                </c:pt>
                <c:pt idx="56532">
                  <c:v>24.909645628719328</c:v>
                </c:pt>
                <c:pt idx="56533">
                  <c:v>30.387499760628977</c:v>
                </c:pt>
                <c:pt idx="56534">
                  <c:v>28.80392340367078</c:v>
                </c:pt>
                <c:pt idx="56535">
                  <c:v>22.646491213368083</c:v>
                </c:pt>
                <c:pt idx="56536">
                  <c:v>26.683002850854496</c:v>
                </c:pt>
                <c:pt idx="56537">
                  <c:v>50.185263200341517</c:v>
                </c:pt>
                <c:pt idx="56538">
                  <c:v>18.81861532647612</c:v>
                </c:pt>
                <c:pt idx="56539">
                  <c:v>36.212470938434407</c:v>
                </c:pt>
                <c:pt idx="56540">
                  <c:v>27.860425257223298</c:v>
                </c:pt>
                <c:pt idx="56541">
                  <c:v>30.266875597243217</c:v>
                </c:pt>
                <c:pt idx="56542">
                  <c:v>44.70475520573688</c:v>
                </c:pt>
                <c:pt idx="56543">
                  <c:v>23.304459473074303</c:v>
                </c:pt>
                <c:pt idx="56544">
                  <c:v>42.777293614018419</c:v>
                </c:pt>
                <c:pt idx="56545">
                  <c:v>30.15060422643689</c:v>
                </c:pt>
                <c:pt idx="56546">
                  <c:v>22.829673765033405</c:v>
                </c:pt>
                <c:pt idx="56547">
                  <c:v>40.5356154442999</c:v>
                </c:pt>
                <c:pt idx="56548">
                  <c:v>29.947203270137482</c:v>
                </c:pt>
                <c:pt idx="56549">
                  <c:v>41.422126249916573</c:v>
                </c:pt>
                <c:pt idx="56550">
                  <c:v>31.702513056919198</c:v>
                </c:pt>
                <c:pt idx="56551">
                  <c:v>32.782135938703071</c:v>
                </c:pt>
                <c:pt idx="56552">
                  <c:v>36.809905710833661</c:v>
                </c:pt>
                <c:pt idx="56553">
                  <c:v>32.834778050823068</c:v>
                </c:pt>
                <c:pt idx="56554">
                  <c:v>16.310565486560954</c:v>
                </c:pt>
                <c:pt idx="56555">
                  <c:v>36.094645720958823</c:v>
                </c:pt>
                <c:pt idx="56556">
                  <c:v>24.263549737217144</c:v>
                </c:pt>
                <c:pt idx="56557">
                  <c:v>23.726700095695385</c:v>
                </c:pt>
                <c:pt idx="56558">
                  <c:v>26.664200108281413</c:v>
                </c:pt>
                <c:pt idx="56559">
                  <c:v>32.721138198399657</c:v>
                </c:pt>
                <c:pt idx="56560">
                  <c:v>22.989020660070924</c:v>
                </c:pt>
                <c:pt idx="56561">
                  <c:v>44.086063619129831</c:v>
                </c:pt>
                <c:pt idx="56562">
                  <c:v>27.01527046020702</c:v>
                </c:pt>
                <c:pt idx="56563">
                  <c:v>43.357667251885573</c:v>
                </c:pt>
                <c:pt idx="56564">
                  <c:v>22.329397288248924</c:v>
                </c:pt>
                <c:pt idx="56565">
                  <c:v>20.500875231882077</c:v>
                </c:pt>
                <c:pt idx="56566">
                  <c:v>22.018654120185403</c:v>
                </c:pt>
                <c:pt idx="56567">
                  <c:v>44.406739735353682</c:v>
                </c:pt>
                <c:pt idx="56568">
                  <c:v>26.613465335995407</c:v>
                </c:pt>
                <c:pt idx="56569">
                  <c:v>32.190126301478848</c:v>
                </c:pt>
                <c:pt idx="56570">
                  <c:v>61.955627396341477</c:v>
                </c:pt>
                <c:pt idx="56571">
                  <c:v>25.652626686357241</c:v>
                </c:pt>
                <c:pt idx="56572">
                  <c:v>20.187213014994491</c:v>
                </c:pt>
                <c:pt idx="56573">
                  <c:v>23.598403775411867</c:v>
                </c:pt>
                <c:pt idx="56574">
                  <c:v>28.71051559251249</c:v>
                </c:pt>
                <c:pt idx="56575">
                  <c:v>48.950332188018777</c:v>
                </c:pt>
                <c:pt idx="56576">
                  <c:v>30.186484444791716</c:v>
                </c:pt>
                <c:pt idx="56577">
                  <c:v>26.569958008077485</c:v>
                </c:pt>
                <c:pt idx="56578">
                  <c:v>40.204135247065587</c:v>
                </c:pt>
                <c:pt idx="56579">
                  <c:v>30.116966809314928</c:v>
                </c:pt>
                <c:pt idx="56580">
                  <c:v>32.377125215463799</c:v>
                </c:pt>
                <c:pt idx="56581">
                  <c:v>44.148147468401987</c:v>
                </c:pt>
                <c:pt idx="56582">
                  <c:v>33.040997119744688</c:v>
                </c:pt>
                <c:pt idx="56583">
                  <c:v>20.166768270626282</c:v>
                </c:pt>
                <c:pt idx="56584">
                  <c:v>21.750100265716924</c:v>
                </c:pt>
                <c:pt idx="56585">
                  <c:v>28.784007534699384</c:v>
                </c:pt>
                <c:pt idx="56586">
                  <c:v>29.868578343874717</c:v>
                </c:pt>
                <c:pt idx="56587">
                  <c:v>35.088200022731328</c:v>
                </c:pt>
                <c:pt idx="56588">
                  <c:v>47.551773907579587</c:v>
                </c:pt>
                <c:pt idx="56589">
                  <c:v>51.978623989817869</c:v>
                </c:pt>
                <c:pt idx="56590">
                  <c:v>23.319888366652883</c:v>
                </c:pt>
                <c:pt idx="56591">
                  <c:v>29.381800484536093</c:v>
                </c:pt>
                <c:pt idx="56592">
                  <c:v>25.934014404191643</c:v>
                </c:pt>
                <c:pt idx="56593">
                  <c:v>25.653234414840576</c:v>
                </c:pt>
                <c:pt idx="56594">
                  <c:v>32.809835340685915</c:v>
                </c:pt>
                <c:pt idx="56595">
                  <c:v>36.531127717317993</c:v>
                </c:pt>
                <c:pt idx="56596">
                  <c:v>34.929898090700043</c:v>
                </c:pt>
                <c:pt idx="56597">
                  <c:v>27.785077374296179</c:v>
                </c:pt>
                <c:pt idx="56598">
                  <c:v>36.646230428101383</c:v>
                </c:pt>
                <c:pt idx="56599">
                  <c:v>32.308752323747854</c:v>
                </c:pt>
                <c:pt idx="56600">
                  <c:v>22.62041488324861</c:v>
                </c:pt>
                <c:pt idx="56601">
                  <c:v>27.158563327139806</c:v>
                </c:pt>
                <c:pt idx="56602">
                  <c:v>29.784417974170413</c:v>
                </c:pt>
                <c:pt idx="56603">
                  <c:v>16.860307256790698</c:v>
                </c:pt>
                <c:pt idx="56604">
                  <c:v>32.285965690172233</c:v>
                </c:pt>
                <c:pt idx="56605">
                  <c:v>27.729271291897835</c:v>
                </c:pt>
                <c:pt idx="56606">
                  <c:v>31.618444793546235</c:v>
                </c:pt>
                <c:pt idx="56607">
                  <c:v>23.832789706751775</c:v>
                </c:pt>
                <c:pt idx="56608">
                  <c:v>29.322630361894877</c:v>
                </c:pt>
                <c:pt idx="56609">
                  <c:v>24.794221279911966</c:v>
                </c:pt>
                <c:pt idx="56610">
                  <c:v>27.383511954037719</c:v>
                </c:pt>
                <c:pt idx="56611">
                  <c:v>15.605737187336405</c:v>
                </c:pt>
                <c:pt idx="56612">
                  <c:v>55.756981393849593</c:v>
                </c:pt>
                <c:pt idx="56613">
                  <c:v>19.541063320851897</c:v>
                </c:pt>
                <c:pt idx="56614">
                  <c:v>36.501868071580596</c:v>
                </c:pt>
                <c:pt idx="56615">
                  <c:v>37.616392172269293</c:v>
                </c:pt>
                <c:pt idx="56616">
                  <c:v>22.592683257541562</c:v>
                </c:pt>
                <c:pt idx="56617">
                  <c:v>27.712526832846681</c:v>
                </c:pt>
                <c:pt idx="56618">
                  <c:v>21.271836180152476</c:v>
                </c:pt>
                <c:pt idx="56619">
                  <c:v>39.815318824558538</c:v>
                </c:pt>
                <c:pt idx="56620">
                  <c:v>22.66606814261544</c:v>
                </c:pt>
                <c:pt idx="56621">
                  <c:v>34.422884722165342</c:v>
                </c:pt>
                <c:pt idx="56622">
                  <c:v>22.373357004685964</c:v>
                </c:pt>
                <c:pt idx="56623">
                  <c:v>50.552366679010866</c:v>
                </c:pt>
                <c:pt idx="56624">
                  <c:v>49.467074753104392</c:v>
                </c:pt>
                <c:pt idx="56625">
                  <c:v>26.303930788434133</c:v>
                </c:pt>
                <c:pt idx="56626">
                  <c:v>26.357544058669177</c:v>
                </c:pt>
                <c:pt idx="56627">
                  <c:v>14.945669363059046</c:v>
                </c:pt>
                <c:pt idx="56628">
                  <c:v>35.493308664884417</c:v>
                </c:pt>
                <c:pt idx="56629">
                  <c:v>22.782971024598684</c:v>
                </c:pt>
                <c:pt idx="56630">
                  <c:v>22.899896905322372</c:v>
                </c:pt>
                <c:pt idx="56631">
                  <c:v>37.386992644354663</c:v>
                </c:pt>
                <c:pt idx="56632">
                  <c:v>30.364915024969722</c:v>
                </c:pt>
                <c:pt idx="56633">
                  <c:v>31.033085014955901</c:v>
                </c:pt>
                <c:pt idx="56634">
                  <c:v>28.772315972652603</c:v>
                </c:pt>
                <c:pt idx="56635">
                  <c:v>36.1982276684856</c:v>
                </c:pt>
                <c:pt idx="56636">
                  <c:v>37.206949097056118</c:v>
                </c:pt>
                <c:pt idx="56637">
                  <c:v>56.479585859151598</c:v>
                </c:pt>
                <c:pt idx="56638">
                  <c:v>32.928033868143686</c:v>
                </c:pt>
                <c:pt idx="56639">
                  <c:v>48.87441938313075</c:v>
                </c:pt>
                <c:pt idx="56640">
                  <c:v>28.000289315396579</c:v>
                </c:pt>
                <c:pt idx="56641">
                  <c:v>23.846710737296547</c:v>
                </c:pt>
                <c:pt idx="56642">
                  <c:v>54.716795224774053</c:v>
                </c:pt>
                <c:pt idx="56643">
                  <c:v>41.279456546918709</c:v>
                </c:pt>
                <c:pt idx="56644">
                  <c:v>44.27230871155318</c:v>
                </c:pt>
                <c:pt idx="56645">
                  <c:v>20.600370962464901</c:v>
                </c:pt>
                <c:pt idx="56646">
                  <c:v>25.439005019436461</c:v>
                </c:pt>
                <c:pt idx="56647">
                  <c:v>25.189215375646647</c:v>
                </c:pt>
                <c:pt idx="56648">
                  <c:v>24.557875296440532</c:v>
                </c:pt>
                <c:pt idx="56649">
                  <c:v>24.371339830257696</c:v>
                </c:pt>
                <c:pt idx="56650">
                  <c:v>45.891985677604694</c:v>
                </c:pt>
                <c:pt idx="56651">
                  <c:v>28.327261334462051</c:v>
                </c:pt>
                <c:pt idx="56652">
                  <c:v>30.676026085600768</c:v>
                </c:pt>
                <c:pt idx="56653">
                  <c:v>28.989621744023001</c:v>
                </c:pt>
                <c:pt idx="56654">
                  <c:v>19.638610536713667</c:v>
                </c:pt>
                <c:pt idx="56655">
                  <c:v>28.705803946158969</c:v>
                </c:pt>
                <c:pt idx="56656">
                  <c:v>37.506778441252067</c:v>
                </c:pt>
                <c:pt idx="56657">
                  <c:v>35.670414594365411</c:v>
                </c:pt>
                <c:pt idx="56658">
                  <c:v>29.256308408059319</c:v>
                </c:pt>
                <c:pt idx="56659">
                  <c:v>31.069885673807608</c:v>
                </c:pt>
                <c:pt idx="56660">
                  <c:v>40.473174067113014</c:v>
                </c:pt>
                <c:pt idx="56661">
                  <c:v>32.544601747555674</c:v>
                </c:pt>
                <c:pt idx="56662">
                  <c:v>24.790057776543588</c:v>
                </c:pt>
                <c:pt idx="56663">
                  <c:v>48.86057490815255</c:v>
                </c:pt>
                <c:pt idx="56664">
                  <c:v>26.776732620588309</c:v>
                </c:pt>
                <c:pt idx="56665">
                  <c:v>50.084762007712705</c:v>
                </c:pt>
                <c:pt idx="56666">
                  <c:v>46.390276938559502</c:v>
                </c:pt>
                <c:pt idx="56667">
                  <c:v>42.987507253732339</c:v>
                </c:pt>
                <c:pt idx="56668">
                  <c:v>21.421748038503665</c:v>
                </c:pt>
                <c:pt idx="56669">
                  <c:v>29.861383983236561</c:v>
                </c:pt>
                <c:pt idx="56670">
                  <c:v>39.505665660276357</c:v>
                </c:pt>
                <c:pt idx="56671">
                  <c:v>43.165131283024863</c:v>
                </c:pt>
                <c:pt idx="56672">
                  <c:v>37.098270919068369</c:v>
                </c:pt>
                <c:pt idx="56673">
                  <c:v>29.183596046482222</c:v>
                </c:pt>
                <c:pt idx="56674">
                  <c:v>49.833706148328694</c:v>
                </c:pt>
                <c:pt idx="56675">
                  <c:v>22.744607908305014</c:v>
                </c:pt>
                <c:pt idx="56676">
                  <c:v>38.135315241413586</c:v>
                </c:pt>
                <c:pt idx="56677">
                  <c:v>40.524967007809252</c:v>
                </c:pt>
                <c:pt idx="56678">
                  <c:v>20.966021369816858</c:v>
                </c:pt>
                <c:pt idx="56679">
                  <c:v>31.971395152085183</c:v>
                </c:pt>
                <c:pt idx="56680">
                  <c:v>33.304182065523328</c:v>
                </c:pt>
                <c:pt idx="56681">
                  <c:v>45.33443130599634</c:v>
                </c:pt>
                <c:pt idx="56682">
                  <c:v>37.66026230205852</c:v>
                </c:pt>
                <c:pt idx="56683">
                  <c:v>23.689067308021901</c:v>
                </c:pt>
                <c:pt idx="56684">
                  <c:v>34.557101104778823</c:v>
                </c:pt>
                <c:pt idx="56685">
                  <c:v>27.86256324098791</c:v>
                </c:pt>
                <c:pt idx="56686">
                  <c:v>21.535510365858087</c:v>
                </c:pt>
                <c:pt idx="56687">
                  <c:v>37.564603870327325</c:v>
                </c:pt>
                <c:pt idx="56688">
                  <c:v>30.701673998285948</c:v>
                </c:pt>
                <c:pt idx="56689">
                  <c:v>24.917089580121946</c:v>
                </c:pt>
                <c:pt idx="56690">
                  <c:v>28.913418702222263</c:v>
                </c:pt>
                <c:pt idx="56691">
                  <c:v>40.099163019287495</c:v>
                </c:pt>
                <c:pt idx="56692">
                  <c:v>30.410772971805478</c:v>
                </c:pt>
                <c:pt idx="56693">
                  <c:v>50.961026504604995</c:v>
                </c:pt>
                <c:pt idx="56694">
                  <c:v>21.28257429469484</c:v>
                </c:pt>
                <c:pt idx="56695">
                  <c:v>30.560859275661716</c:v>
                </c:pt>
                <c:pt idx="56696">
                  <c:v>42.581912404448339</c:v>
                </c:pt>
                <c:pt idx="56697">
                  <c:v>34.347312854765818</c:v>
                </c:pt>
                <c:pt idx="56698">
                  <c:v>30.600176317481626</c:v>
                </c:pt>
                <c:pt idx="56699">
                  <c:v>43.221782716690164</c:v>
                </c:pt>
                <c:pt idx="56700">
                  <c:v>31.316800233548161</c:v>
                </c:pt>
                <c:pt idx="56701">
                  <c:v>23.559745323461517</c:v>
                </c:pt>
                <c:pt idx="56702">
                  <c:v>31.915225951357655</c:v>
                </c:pt>
                <c:pt idx="56703">
                  <c:v>22.599724523661443</c:v>
                </c:pt>
                <c:pt idx="56704">
                  <c:v>32.493394411374169</c:v>
                </c:pt>
                <c:pt idx="56705">
                  <c:v>18.492054078176537</c:v>
                </c:pt>
                <c:pt idx="56706">
                  <c:v>25.871191392194412</c:v>
                </c:pt>
                <c:pt idx="56707">
                  <c:v>31.60794301304918</c:v>
                </c:pt>
                <c:pt idx="56708">
                  <c:v>31.233928987658473</c:v>
                </c:pt>
                <c:pt idx="56709">
                  <c:v>23.375455443643858</c:v>
                </c:pt>
                <c:pt idx="56710">
                  <c:v>17.05558057474876</c:v>
                </c:pt>
                <c:pt idx="56711">
                  <c:v>21.838950136763444</c:v>
                </c:pt>
                <c:pt idx="56712">
                  <c:v>30.553831357146191</c:v>
                </c:pt>
                <c:pt idx="56713">
                  <c:v>21.837214928485949</c:v>
                </c:pt>
                <c:pt idx="56714">
                  <c:v>23.493674109332009</c:v>
                </c:pt>
                <c:pt idx="56715">
                  <c:v>47.581003601846639</c:v>
                </c:pt>
                <c:pt idx="56716">
                  <c:v>27.601416199926749</c:v>
                </c:pt>
                <c:pt idx="56717">
                  <c:v>18.457321182412535</c:v>
                </c:pt>
                <c:pt idx="56718">
                  <c:v>24.403700715978708</c:v>
                </c:pt>
                <c:pt idx="56719">
                  <c:v>15.046256229867932</c:v>
                </c:pt>
                <c:pt idx="56720">
                  <c:v>38.948422699527605</c:v>
                </c:pt>
                <c:pt idx="56721">
                  <c:v>26.63172375720432</c:v>
                </c:pt>
                <c:pt idx="56722">
                  <c:v>33.16631682808864</c:v>
                </c:pt>
                <c:pt idx="56723">
                  <c:v>30.612815413486487</c:v>
                </c:pt>
                <c:pt idx="56724">
                  <c:v>16.797353329416364</c:v>
                </c:pt>
                <c:pt idx="56725">
                  <c:v>33.078588987507949</c:v>
                </c:pt>
                <c:pt idx="56726">
                  <c:v>35.040966822301236</c:v>
                </c:pt>
                <c:pt idx="56727">
                  <c:v>23.369000372134309</c:v>
                </c:pt>
                <c:pt idx="56728">
                  <c:v>38.594934256531523</c:v>
                </c:pt>
                <c:pt idx="56729">
                  <c:v>36.218171872079004</c:v>
                </c:pt>
                <c:pt idx="56730">
                  <c:v>26.845085893859391</c:v>
                </c:pt>
                <c:pt idx="56731">
                  <c:v>21.843185580416709</c:v>
                </c:pt>
                <c:pt idx="56732">
                  <c:v>17.28067457636844</c:v>
                </c:pt>
                <c:pt idx="56733">
                  <c:v>24.193572348097629</c:v>
                </c:pt>
                <c:pt idx="56734">
                  <c:v>40.09284398636666</c:v>
                </c:pt>
                <c:pt idx="56735">
                  <c:v>37.021015903674922</c:v>
                </c:pt>
                <c:pt idx="56736">
                  <c:v>46.662900259193705</c:v>
                </c:pt>
                <c:pt idx="56737">
                  <c:v>41.777128876770682</c:v>
                </c:pt>
                <c:pt idx="56738">
                  <c:v>21.330768965602754</c:v>
                </c:pt>
                <c:pt idx="56739">
                  <c:v>28.169088165903116</c:v>
                </c:pt>
                <c:pt idx="56740">
                  <c:v>17.279764545155633</c:v>
                </c:pt>
                <c:pt idx="56741">
                  <c:v>52.145555805761369</c:v>
                </c:pt>
                <c:pt idx="56742">
                  <c:v>30.400527867336073</c:v>
                </c:pt>
                <c:pt idx="56743">
                  <c:v>41.863897665074852</c:v>
                </c:pt>
                <c:pt idx="56744">
                  <c:v>18.885231815281731</c:v>
                </c:pt>
                <c:pt idx="56745">
                  <c:v>25.939196898112556</c:v>
                </c:pt>
                <c:pt idx="56746">
                  <c:v>31.54872534318573</c:v>
                </c:pt>
                <c:pt idx="56747">
                  <c:v>21.086555811898972</c:v>
                </c:pt>
                <c:pt idx="56748">
                  <c:v>37.481155352409971</c:v>
                </c:pt>
                <c:pt idx="56749">
                  <c:v>28.213190388113883</c:v>
                </c:pt>
                <c:pt idx="56750">
                  <c:v>25.670640118533676</c:v>
                </c:pt>
                <c:pt idx="56751">
                  <c:v>25.824163499657644</c:v>
                </c:pt>
                <c:pt idx="56752">
                  <c:v>38.900466999434954</c:v>
                </c:pt>
                <c:pt idx="56753">
                  <c:v>27.664402381006774</c:v>
                </c:pt>
                <c:pt idx="56754">
                  <c:v>25.272571124602596</c:v>
                </c:pt>
                <c:pt idx="56755">
                  <c:v>18.843389724599326</c:v>
                </c:pt>
                <c:pt idx="56756">
                  <c:v>27.551936456413024</c:v>
                </c:pt>
                <c:pt idx="56757">
                  <c:v>25.428533709920572</c:v>
                </c:pt>
                <c:pt idx="56758">
                  <c:v>22.391672597699412</c:v>
                </c:pt>
                <c:pt idx="56759">
                  <c:v>36.105267271017532</c:v>
                </c:pt>
                <c:pt idx="56760">
                  <c:v>24.100810464674712</c:v>
                </c:pt>
                <c:pt idx="56761">
                  <c:v>41.680438933308288</c:v>
                </c:pt>
                <c:pt idx="56762">
                  <c:v>25.949170367276125</c:v>
                </c:pt>
                <c:pt idx="56763">
                  <c:v>52.417900885920545</c:v>
                </c:pt>
                <c:pt idx="56764">
                  <c:v>29.187603993758813</c:v>
                </c:pt>
                <c:pt idx="56765">
                  <c:v>55.048413003524438</c:v>
                </c:pt>
                <c:pt idx="56766">
                  <c:v>28.202351382321982</c:v>
                </c:pt>
                <c:pt idx="56767">
                  <c:v>41.73526195884466</c:v>
                </c:pt>
                <c:pt idx="56768">
                  <c:v>26.168721162042889</c:v>
                </c:pt>
                <c:pt idx="56769">
                  <c:v>37.508761367158456</c:v>
                </c:pt>
                <c:pt idx="56770">
                  <c:v>50.577761324638104</c:v>
                </c:pt>
                <c:pt idx="56771">
                  <c:v>30.96830326010048</c:v>
                </c:pt>
                <c:pt idx="56772">
                  <c:v>22.40980104886475</c:v>
                </c:pt>
                <c:pt idx="56773">
                  <c:v>58.44802391037625</c:v>
                </c:pt>
                <c:pt idx="56774">
                  <c:v>31.503112604371083</c:v>
                </c:pt>
                <c:pt idx="56775">
                  <c:v>27.042536600398936</c:v>
                </c:pt>
                <c:pt idx="56776">
                  <c:v>46.398882161545913</c:v>
                </c:pt>
                <c:pt idx="56777">
                  <c:v>32.039252938769472</c:v>
                </c:pt>
                <c:pt idx="56778">
                  <c:v>53.800837360265305</c:v>
                </c:pt>
                <c:pt idx="56779">
                  <c:v>22.729871461167228</c:v>
                </c:pt>
                <c:pt idx="56780">
                  <c:v>23.275018445595087</c:v>
                </c:pt>
                <c:pt idx="56781">
                  <c:v>27.870651672289135</c:v>
                </c:pt>
                <c:pt idx="56782">
                  <c:v>21.586860190322593</c:v>
                </c:pt>
                <c:pt idx="56783">
                  <c:v>21.685987589302968</c:v>
                </c:pt>
                <c:pt idx="56784">
                  <c:v>31.910738116830299</c:v>
                </c:pt>
                <c:pt idx="56785">
                  <c:v>19.805039591853081</c:v>
                </c:pt>
                <c:pt idx="56786">
                  <c:v>21.222956092394895</c:v>
                </c:pt>
                <c:pt idx="56787">
                  <c:v>40.163888977196535</c:v>
                </c:pt>
                <c:pt idx="56788">
                  <c:v>29.526132423975852</c:v>
                </c:pt>
                <c:pt idx="56789">
                  <c:v>56.028837829947783</c:v>
                </c:pt>
                <c:pt idx="56790">
                  <c:v>48.46405552388056</c:v>
                </c:pt>
                <c:pt idx="56791">
                  <c:v>38.124562266280208</c:v>
                </c:pt>
                <c:pt idx="56792">
                  <c:v>35.081156491287672</c:v>
                </c:pt>
                <c:pt idx="56793">
                  <c:v>27.997321102293643</c:v>
                </c:pt>
                <c:pt idx="56794">
                  <c:v>42.414705915930661</c:v>
                </c:pt>
                <c:pt idx="56795">
                  <c:v>26.627439017049987</c:v>
                </c:pt>
                <c:pt idx="56796">
                  <c:v>18.268645921653171</c:v>
                </c:pt>
                <c:pt idx="56797">
                  <c:v>20.696735342261203</c:v>
                </c:pt>
                <c:pt idx="56798">
                  <c:v>19.775947086647278</c:v>
                </c:pt>
                <c:pt idx="56799">
                  <c:v>29.197921216096951</c:v>
                </c:pt>
                <c:pt idx="56800">
                  <c:v>24.639440134103442</c:v>
                </c:pt>
                <c:pt idx="56801">
                  <c:v>25.421700721275815</c:v>
                </c:pt>
                <c:pt idx="56802">
                  <c:v>23.66119588389261</c:v>
                </c:pt>
                <c:pt idx="56803">
                  <c:v>26.162373620180741</c:v>
                </c:pt>
                <c:pt idx="56804">
                  <c:v>24.883190180323993</c:v>
                </c:pt>
                <c:pt idx="56805">
                  <c:v>23.929593504432113</c:v>
                </c:pt>
                <c:pt idx="56806">
                  <c:v>30.323516178223585</c:v>
                </c:pt>
                <c:pt idx="56807">
                  <c:v>19.924385359484582</c:v>
                </c:pt>
                <c:pt idx="56808">
                  <c:v>24.779598170985025</c:v>
                </c:pt>
                <c:pt idx="56809">
                  <c:v>37.803013972783695</c:v>
                </c:pt>
                <c:pt idx="56810">
                  <c:v>34.588205152694108</c:v>
                </c:pt>
                <c:pt idx="56811">
                  <c:v>25.961424446211961</c:v>
                </c:pt>
                <c:pt idx="56812">
                  <c:v>36.704761670950845</c:v>
                </c:pt>
                <c:pt idx="56813">
                  <c:v>38.068825850839751</c:v>
                </c:pt>
                <c:pt idx="56814">
                  <c:v>25.024690159495705</c:v>
                </c:pt>
                <c:pt idx="56815">
                  <c:v>24.654303662056325</c:v>
                </c:pt>
                <c:pt idx="56816">
                  <c:v>33.970311687301695</c:v>
                </c:pt>
                <c:pt idx="56817">
                  <c:v>23.267644635833506</c:v>
                </c:pt>
                <c:pt idx="56818">
                  <c:v>52.286334420761271</c:v>
                </c:pt>
                <c:pt idx="56819">
                  <c:v>22.790241504279127</c:v>
                </c:pt>
                <c:pt idx="56820">
                  <c:v>41.201693727494636</c:v>
                </c:pt>
                <c:pt idx="56821">
                  <c:v>29.105842134068517</c:v>
                </c:pt>
                <c:pt idx="56822">
                  <c:v>30.241917039638349</c:v>
                </c:pt>
                <c:pt idx="56823">
                  <c:v>27.222036439520348</c:v>
                </c:pt>
                <c:pt idx="56824">
                  <c:v>33.00476982263983</c:v>
                </c:pt>
                <c:pt idx="56825">
                  <c:v>52.849264381040797</c:v>
                </c:pt>
                <c:pt idx="56826">
                  <c:v>36.462038717174757</c:v>
                </c:pt>
                <c:pt idx="56827">
                  <c:v>29.513107769251224</c:v>
                </c:pt>
                <c:pt idx="56828">
                  <c:v>32.113718151295316</c:v>
                </c:pt>
                <c:pt idx="56829">
                  <c:v>19.96401243432495</c:v>
                </c:pt>
                <c:pt idx="56830">
                  <c:v>40.05702314415538</c:v>
                </c:pt>
                <c:pt idx="56831">
                  <c:v>43.506630759477915</c:v>
                </c:pt>
                <c:pt idx="56832">
                  <c:v>32.853176963715555</c:v>
                </c:pt>
                <c:pt idx="56833">
                  <c:v>24.467349927703435</c:v>
                </c:pt>
                <c:pt idx="56834">
                  <c:v>24.812437945374896</c:v>
                </c:pt>
                <c:pt idx="56835">
                  <c:v>43.489811061143399</c:v>
                </c:pt>
                <c:pt idx="56836">
                  <c:v>25.927162814820818</c:v>
                </c:pt>
                <c:pt idx="56837">
                  <c:v>29.665982578802591</c:v>
                </c:pt>
                <c:pt idx="56838">
                  <c:v>26.667261251205616</c:v>
                </c:pt>
                <c:pt idx="56839">
                  <c:v>21.167749706601217</c:v>
                </c:pt>
                <c:pt idx="56840">
                  <c:v>27.587297715150779</c:v>
                </c:pt>
                <c:pt idx="56841">
                  <c:v>29.399433915753406</c:v>
                </c:pt>
                <c:pt idx="56842">
                  <c:v>26.599364101588556</c:v>
                </c:pt>
                <c:pt idx="56843">
                  <c:v>54.959196991127506</c:v>
                </c:pt>
                <c:pt idx="56844">
                  <c:v>41.694829973852002</c:v>
                </c:pt>
                <c:pt idx="56845">
                  <c:v>38.495597349659789</c:v>
                </c:pt>
                <c:pt idx="56846">
                  <c:v>38.432914111706388</c:v>
                </c:pt>
                <c:pt idx="56847">
                  <c:v>42.726789127616598</c:v>
                </c:pt>
                <c:pt idx="56848">
                  <c:v>20.759825457356882</c:v>
                </c:pt>
                <c:pt idx="56849">
                  <c:v>27.901017753576475</c:v>
                </c:pt>
                <c:pt idx="56850">
                  <c:v>35.249996757833181</c:v>
                </c:pt>
                <c:pt idx="56851">
                  <c:v>27.438487859420448</c:v>
                </c:pt>
                <c:pt idx="56852">
                  <c:v>48.837774547621684</c:v>
                </c:pt>
                <c:pt idx="56853">
                  <c:v>28.701585684200932</c:v>
                </c:pt>
                <c:pt idx="56854">
                  <c:v>25.946873462062356</c:v>
                </c:pt>
                <c:pt idx="56855">
                  <c:v>51.551854501118335</c:v>
                </c:pt>
                <c:pt idx="56856">
                  <c:v>48.888845961920048</c:v>
                </c:pt>
                <c:pt idx="56857">
                  <c:v>40.038465034561646</c:v>
                </c:pt>
                <c:pt idx="56858">
                  <c:v>32.594094442115157</c:v>
                </c:pt>
                <c:pt idx="56859">
                  <c:v>55.96666037261749</c:v>
                </c:pt>
                <c:pt idx="56860">
                  <c:v>27.101028007397311</c:v>
                </c:pt>
                <c:pt idx="56861">
                  <c:v>20.056358085892015</c:v>
                </c:pt>
                <c:pt idx="56862">
                  <c:v>36.365864983400392</c:v>
                </c:pt>
                <c:pt idx="56863">
                  <c:v>27.413715867775398</c:v>
                </c:pt>
                <c:pt idx="56864">
                  <c:v>20.54591039117091</c:v>
                </c:pt>
                <c:pt idx="56865">
                  <c:v>36.876940447119722</c:v>
                </c:pt>
                <c:pt idx="56866">
                  <c:v>21.918583340507265</c:v>
                </c:pt>
                <c:pt idx="56867">
                  <c:v>25.689325023455169</c:v>
                </c:pt>
                <c:pt idx="56868">
                  <c:v>48.096344743811855</c:v>
                </c:pt>
                <c:pt idx="56869">
                  <c:v>52.445283556019518</c:v>
                </c:pt>
                <c:pt idx="56870">
                  <c:v>25.75333362143725</c:v>
                </c:pt>
                <c:pt idx="56871">
                  <c:v>26.3343397432449</c:v>
                </c:pt>
                <c:pt idx="56872">
                  <c:v>23.707889363889898</c:v>
                </c:pt>
                <c:pt idx="56873">
                  <c:v>27.46602031438912</c:v>
                </c:pt>
                <c:pt idx="56874">
                  <c:v>33.249082685163849</c:v>
                </c:pt>
                <c:pt idx="56875">
                  <c:v>28.182811357791966</c:v>
                </c:pt>
                <c:pt idx="56876">
                  <c:v>29.60105377972361</c:v>
                </c:pt>
                <c:pt idx="56877">
                  <c:v>36.44251769486084</c:v>
                </c:pt>
                <c:pt idx="56878">
                  <c:v>31.579702034547889</c:v>
                </c:pt>
                <c:pt idx="56879">
                  <c:v>30.14068654968343</c:v>
                </c:pt>
                <c:pt idx="56880">
                  <c:v>39.279460171324615</c:v>
                </c:pt>
                <c:pt idx="56881">
                  <c:v>20.284559743516489</c:v>
                </c:pt>
                <c:pt idx="56882">
                  <c:v>38.693923218941627</c:v>
                </c:pt>
                <c:pt idx="56883">
                  <c:v>24.149373542149299</c:v>
                </c:pt>
                <c:pt idx="56884">
                  <c:v>32.041022375338926</c:v>
                </c:pt>
                <c:pt idx="56885">
                  <c:v>27.229794697782317</c:v>
                </c:pt>
                <c:pt idx="56886">
                  <c:v>25.165169121205782</c:v>
                </c:pt>
                <c:pt idx="56887">
                  <c:v>20.242786062274163</c:v>
                </c:pt>
                <c:pt idx="56888">
                  <c:v>22.840505164405826</c:v>
                </c:pt>
                <c:pt idx="56889">
                  <c:v>33.839031699180346</c:v>
                </c:pt>
                <c:pt idx="56890">
                  <c:v>19.989751913281022</c:v>
                </c:pt>
                <c:pt idx="56891">
                  <c:v>29.760061541108296</c:v>
                </c:pt>
                <c:pt idx="56892">
                  <c:v>24.095325847158279</c:v>
                </c:pt>
                <c:pt idx="56893">
                  <c:v>24.416554860024974</c:v>
                </c:pt>
                <c:pt idx="56894">
                  <c:v>23.346120036674236</c:v>
                </c:pt>
                <c:pt idx="56895">
                  <c:v>49.925456587793491</c:v>
                </c:pt>
                <c:pt idx="56896">
                  <c:v>23.617606816538</c:v>
                </c:pt>
                <c:pt idx="56897">
                  <c:v>24.788524591710988</c:v>
                </c:pt>
                <c:pt idx="56898">
                  <c:v>23.515047871512113</c:v>
                </c:pt>
                <c:pt idx="56899">
                  <c:v>44.867593661590725</c:v>
                </c:pt>
                <c:pt idx="56900">
                  <c:v>35.143133295791991</c:v>
                </c:pt>
                <c:pt idx="56901">
                  <c:v>27.198110401056848</c:v>
                </c:pt>
                <c:pt idx="56902">
                  <c:v>26.635406856626791</c:v>
                </c:pt>
                <c:pt idx="56903">
                  <c:v>25.941137594967891</c:v>
                </c:pt>
                <c:pt idx="56904">
                  <c:v>30.438728949524783</c:v>
                </c:pt>
                <c:pt idx="56905">
                  <c:v>26.497623144415517</c:v>
                </c:pt>
                <c:pt idx="56906">
                  <c:v>28.838412229436685</c:v>
                </c:pt>
                <c:pt idx="56907">
                  <c:v>31.770684681788271</c:v>
                </c:pt>
                <c:pt idx="56908">
                  <c:v>40.648353765120419</c:v>
                </c:pt>
                <c:pt idx="56909">
                  <c:v>27.497700054164305</c:v>
                </c:pt>
                <c:pt idx="56910">
                  <c:v>47.900867686101272</c:v>
                </c:pt>
                <c:pt idx="56911">
                  <c:v>39.68294681093019</c:v>
                </c:pt>
                <c:pt idx="56912">
                  <c:v>27.071404795792823</c:v>
                </c:pt>
                <c:pt idx="56913">
                  <c:v>20.08059069240548</c:v>
                </c:pt>
                <c:pt idx="56914">
                  <c:v>38.952079498634156</c:v>
                </c:pt>
                <c:pt idx="56915">
                  <c:v>46.894044300753315</c:v>
                </c:pt>
                <c:pt idx="56916">
                  <c:v>27.389324781756606</c:v>
                </c:pt>
                <c:pt idx="56917">
                  <c:v>24.59058583700547</c:v>
                </c:pt>
                <c:pt idx="56918">
                  <c:v>28.473552208373899</c:v>
                </c:pt>
                <c:pt idx="56919">
                  <c:v>36.085275081279498</c:v>
                </c:pt>
                <c:pt idx="56920">
                  <c:v>24.592311365398736</c:v>
                </c:pt>
                <c:pt idx="56921">
                  <c:v>27.53642280892965</c:v>
                </c:pt>
                <c:pt idx="56922">
                  <c:v>32.02755663793868</c:v>
                </c:pt>
                <c:pt idx="56923">
                  <c:v>27.898940191230405</c:v>
                </c:pt>
                <c:pt idx="56924">
                  <c:v>31.750827684786973</c:v>
                </c:pt>
                <c:pt idx="56925">
                  <c:v>30.725011469165466</c:v>
                </c:pt>
                <c:pt idx="56926">
                  <c:v>35.076853656476864</c:v>
                </c:pt>
                <c:pt idx="56927">
                  <c:v>26.988659450022745</c:v>
                </c:pt>
                <c:pt idx="56928">
                  <c:v>25.272828939977238</c:v>
                </c:pt>
                <c:pt idx="56929">
                  <c:v>33.378902537446642</c:v>
                </c:pt>
                <c:pt idx="56930">
                  <c:v>62.409634850765194</c:v>
                </c:pt>
                <c:pt idx="56931">
                  <c:v>26.922060456163042</c:v>
                </c:pt>
                <c:pt idx="56932">
                  <c:v>28.91751257681662</c:v>
                </c:pt>
                <c:pt idx="56933">
                  <c:v>23.162463749469193</c:v>
                </c:pt>
                <c:pt idx="56934">
                  <c:v>50.364806014838088</c:v>
                </c:pt>
                <c:pt idx="56935">
                  <c:v>20.938772877961803</c:v>
                </c:pt>
                <c:pt idx="56936">
                  <c:v>14.816229711682109</c:v>
                </c:pt>
                <c:pt idx="56937">
                  <c:v>30.168470867010946</c:v>
                </c:pt>
                <c:pt idx="56938">
                  <c:v>26.294684088099913</c:v>
                </c:pt>
                <c:pt idx="56939">
                  <c:v>40.17804431590644</c:v>
                </c:pt>
                <c:pt idx="56940">
                  <c:v>28.665704938989958</c:v>
                </c:pt>
                <c:pt idx="56941">
                  <c:v>25.040504863666804</c:v>
                </c:pt>
                <c:pt idx="56942">
                  <c:v>34.705058314002784</c:v>
                </c:pt>
                <c:pt idx="56943">
                  <c:v>26.455111028246247</c:v>
                </c:pt>
                <c:pt idx="56944">
                  <c:v>23.273408008563042</c:v>
                </c:pt>
                <c:pt idx="56945">
                  <c:v>23.037877694697876</c:v>
                </c:pt>
                <c:pt idx="56946">
                  <c:v>27.1060758580841</c:v>
                </c:pt>
                <c:pt idx="56947">
                  <c:v>19.351890854230966</c:v>
                </c:pt>
                <c:pt idx="56948">
                  <c:v>27.491910255728083</c:v>
                </c:pt>
                <c:pt idx="56949">
                  <c:v>21.175905155888408</c:v>
                </c:pt>
                <c:pt idx="56950">
                  <c:v>53.275260955455352</c:v>
                </c:pt>
                <c:pt idx="56951">
                  <c:v>32.480324201782068</c:v>
                </c:pt>
                <c:pt idx="56952">
                  <c:v>13.900293898939633</c:v>
                </c:pt>
                <c:pt idx="56953">
                  <c:v>35.88225814295788</c:v>
                </c:pt>
                <c:pt idx="56954">
                  <c:v>52.878630976246328</c:v>
                </c:pt>
                <c:pt idx="56955">
                  <c:v>31.041880952024236</c:v>
                </c:pt>
                <c:pt idx="56956">
                  <c:v>31.26099441085568</c:v>
                </c:pt>
                <c:pt idx="56957">
                  <c:v>54.519809020632131</c:v>
                </c:pt>
                <c:pt idx="56958">
                  <c:v>35.471560907551549</c:v>
                </c:pt>
                <c:pt idx="56959">
                  <c:v>29.69463464442903</c:v>
                </c:pt>
                <c:pt idx="56960">
                  <c:v>25.82710086097514</c:v>
                </c:pt>
                <c:pt idx="56961">
                  <c:v>25.044164815289069</c:v>
                </c:pt>
                <c:pt idx="56962">
                  <c:v>25.20328751671429</c:v>
                </c:pt>
                <c:pt idx="56963">
                  <c:v>19.046757707402676</c:v>
                </c:pt>
                <c:pt idx="56964">
                  <c:v>17.123366876668491</c:v>
                </c:pt>
                <c:pt idx="56965">
                  <c:v>31.912879416906314</c:v>
                </c:pt>
                <c:pt idx="56966">
                  <c:v>49.035225885695723</c:v>
                </c:pt>
                <c:pt idx="56967">
                  <c:v>26.890525178656141</c:v>
                </c:pt>
                <c:pt idx="56968">
                  <c:v>45.799233656925644</c:v>
                </c:pt>
                <c:pt idx="56969">
                  <c:v>24.320448629922989</c:v>
                </c:pt>
                <c:pt idx="56970">
                  <c:v>23.845987182247555</c:v>
                </c:pt>
                <c:pt idx="56971">
                  <c:v>29.820587075300566</c:v>
                </c:pt>
                <c:pt idx="56972">
                  <c:v>49.998480134701708</c:v>
                </c:pt>
                <c:pt idx="56973">
                  <c:v>21.269511799760224</c:v>
                </c:pt>
                <c:pt idx="56974">
                  <c:v>31.105316091537375</c:v>
                </c:pt>
                <c:pt idx="56975">
                  <c:v>24.367044251385003</c:v>
                </c:pt>
                <c:pt idx="56976">
                  <c:v>25.230353619156659</c:v>
                </c:pt>
                <c:pt idx="56977">
                  <c:v>20.736390036796418</c:v>
                </c:pt>
                <c:pt idx="56978">
                  <c:v>31.104687046927587</c:v>
                </c:pt>
                <c:pt idx="56979">
                  <c:v>27.944713237388878</c:v>
                </c:pt>
                <c:pt idx="56980">
                  <c:v>47.766970516080605</c:v>
                </c:pt>
                <c:pt idx="56981">
                  <c:v>30.484192577899488</c:v>
                </c:pt>
                <c:pt idx="56982">
                  <c:v>28.102808217302503</c:v>
                </c:pt>
                <c:pt idx="56983">
                  <c:v>41.285003460804816</c:v>
                </c:pt>
                <c:pt idx="56984">
                  <c:v>24.904032992923781</c:v>
                </c:pt>
                <c:pt idx="56985">
                  <c:v>50.87352294358557</c:v>
                </c:pt>
                <c:pt idx="56986">
                  <c:v>25.140494863017832</c:v>
                </c:pt>
                <c:pt idx="56987">
                  <c:v>35.671973679186877</c:v>
                </c:pt>
                <c:pt idx="56988">
                  <c:v>23.842290382152537</c:v>
                </c:pt>
                <c:pt idx="56989">
                  <c:v>56.074310781179101</c:v>
                </c:pt>
                <c:pt idx="56990">
                  <c:v>31.627302445216344</c:v>
                </c:pt>
                <c:pt idx="56991">
                  <c:v>25.520078029758405</c:v>
                </c:pt>
                <c:pt idx="56992">
                  <c:v>30.050386808529318</c:v>
                </c:pt>
                <c:pt idx="56993">
                  <c:v>30.118899918303498</c:v>
                </c:pt>
                <c:pt idx="56994">
                  <c:v>27.071726956155423</c:v>
                </c:pt>
                <c:pt idx="56995">
                  <c:v>23.409698951101593</c:v>
                </c:pt>
                <c:pt idx="56996">
                  <c:v>30.864575186848906</c:v>
                </c:pt>
                <c:pt idx="56997">
                  <c:v>46.484600585646206</c:v>
                </c:pt>
                <c:pt idx="56998">
                  <c:v>21.014574583896739</c:v>
                </c:pt>
                <c:pt idx="56999">
                  <c:v>28.102973038607221</c:v>
                </c:pt>
                <c:pt idx="57000">
                  <c:v>22.894381974252596</c:v>
                </c:pt>
                <c:pt idx="57001">
                  <c:v>43.154430417310387</c:v>
                </c:pt>
                <c:pt idx="57002">
                  <c:v>46.822109979445379</c:v>
                </c:pt>
                <c:pt idx="57003">
                  <c:v>30.914660593225982</c:v>
                </c:pt>
                <c:pt idx="57004">
                  <c:v>35.235996037303522</c:v>
                </c:pt>
                <c:pt idx="57005">
                  <c:v>37.277793113789784</c:v>
                </c:pt>
                <c:pt idx="57006">
                  <c:v>27.841326507176635</c:v>
                </c:pt>
                <c:pt idx="57007">
                  <c:v>53.74421504226359</c:v>
                </c:pt>
                <c:pt idx="57008">
                  <c:v>52.763923871772263</c:v>
                </c:pt>
                <c:pt idx="57009">
                  <c:v>15.219806079438481</c:v>
                </c:pt>
                <c:pt idx="57010">
                  <c:v>28.094472408176408</c:v>
                </c:pt>
                <c:pt idx="57011">
                  <c:v>24.556675844853334</c:v>
                </c:pt>
                <c:pt idx="57012">
                  <c:v>24.925555405060386</c:v>
                </c:pt>
                <c:pt idx="57013">
                  <c:v>22.759720138154357</c:v>
                </c:pt>
                <c:pt idx="57014">
                  <c:v>22.861036189799698</c:v>
                </c:pt>
                <c:pt idx="57015">
                  <c:v>26.26040111095201</c:v>
                </c:pt>
                <c:pt idx="57016">
                  <c:v>19.645530867608421</c:v>
                </c:pt>
                <c:pt idx="57017">
                  <c:v>41.769410949725376</c:v>
                </c:pt>
                <c:pt idx="57018">
                  <c:v>27.585888224941034</c:v>
                </c:pt>
                <c:pt idx="57019">
                  <c:v>27.851736336716712</c:v>
                </c:pt>
                <c:pt idx="57020">
                  <c:v>17.581511045044817</c:v>
                </c:pt>
                <c:pt idx="57021">
                  <c:v>36.805159110605409</c:v>
                </c:pt>
                <c:pt idx="57022">
                  <c:v>33.092159843374702</c:v>
                </c:pt>
                <c:pt idx="57023">
                  <c:v>22.996646503318171</c:v>
                </c:pt>
                <c:pt idx="57024">
                  <c:v>55.782935685758403</c:v>
                </c:pt>
                <c:pt idx="57025">
                  <c:v>21.292213945093831</c:v>
                </c:pt>
                <c:pt idx="57026">
                  <c:v>44.192930816390309</c:v>
                </c:pt>
                <c:pt idx="57027">
                  <c:v>55.932642911968323</c:v>
                </c:pt>
                <c:pt idx="57028">
                  <c:v>24.223808454216169</c:v>
                </c:pt>
                <c:pt idx="57029">
                  <c:v>24.985765589734015</c:v>
                </c:pt>
                <c:pt idx="57030">
                  <c:v>38.680216795474088</c:v>
                </c:pt>
                <c:pt idx="57031">
                  <c:v>16.438018574014322</c:v>
                </c:pt>
                <c:pt idx="57032">
                  <c:v>23.216612318601108</c:v>
                </c:pt>
                <c:pt idx="57033">
                  <c:v>28.123488922743416</c:v>
                </c:pt>
                <c:pt idx="57034">
                  <c:v>27.784438032822671</c:v>
                </c:pt>
                <c:pt idx="57035">
                  <c:v>28.593161772582295</c:v>
                </c:pt>
                <c:pt idx="57036">
                  <c:v>19.454813264563956</c:v>
                </c:pt>
                <c:pt idx="57037">
                  <c:v>20.293593625991321</c:v>
                </c:pt>
                <c:pt idx="57038">
                  <c:v>25.956406553565159</c:v>
                </c:pt>
                <c:pt idx="57039">
                  <c:v>33.522319264820709</c:v>
                </c:pt>
                <c:pt idx="57040">
                  <c:v>30.821612795065246</c:v>
                </c:pt>
                <c:pt idx="57041">
                  <c:v>48.172739024652451</c:v>
                </c:pt>
                <c:pt idx="57042">
                  <c:v>39.271172297571852</c:v>
                </c:pt>
                <c:pt idx="57043">
                  <c:v>38.233889563623414</c:v>
                </c:pt>
                <c:pt idx="57044">
                  <c:v>25.086490627250768</c:v>
                </c:pt>
                <c:pt idx="57045">
                  <c:v>37.347736867390871</c:v>
                </c:pt>
                <c:pt idx="57046">
                  <c:v>22.920843312625305</c:v>
                </c:pt>
                <c:pt idx="57047">
                  <c:v>42.294777922956513</c:v>
                </c:pt>
                <c:pt idx="57048">
                  <c:v>20.360075629864699</c:v>
                </c:pt>
                <c:pt idx="57049">
                  <c:v>24.314404828869552</c:v>
                </c:pt>
                <c:pt idx="57050">
                  <c:v>25.318585241702472</c:v>
                </c:pt>
                <c:pt idx="57051">
                  <c:v>41.595399311021957</c:v>
                </c:pt>
                <c:pt idx="57052">
                  <c:v>25.763096306273848</c:v>
                </c:pt>
                <c:pt idx="57053">
                  <c:v>19.415984626042928</c:v>
                </c:pt>
                <c:pt idx="57054">
                  <c:v>23.119965471783786</c:v>
                </c:pt>
                <c:pt idx="57055">
                  <c:v>25.443232628946845</c:v>
                </c:pt>
                <c:pt idx="57056">
                  <c:v>25.562320674066015</c:v>
                </c:pt>
                <c:pt idx="57057">
                  <c:v>25.90405503731812</c:v>
                </c:pt>
                <c:pt idx="57058">
                  <c:v>26.746547309574058</c:v>
                </c:pt>
                <c:pt idx="57059">
                  <c:v>31.04547442930626</c:v>
                </c:pt>
                <c:pt idx="57060">
                  <c:v>31.777208555674825</c:v>
                </c:pt>
                <c:pt idx="57061">
                  <c:v>35.102392064906169</c:v>
                </c:pt>
                <c:pt idx="57062">
                  <c:v>34.917387108134974</c:v>
                </c:pt>
                <c:pt idx="57063">
                  <c:v>30.828945551251199</c:v>
                </c:pt>
                <c:pt idx="57064">
                  <c:v>30.766409171625096</c:v>
                </c:pt>
                <c:pt idx="57065">
                  <c:v>31.945040615843208</c:v>
                </c:pt>
                <c:pt idx="57066">
                  <c:v>33.276160179670953</c:v>
                </c:pt>
                <c:pt idx="57067">
                  <c:v>34.350040211603115</c:v>
                </c:pt>
                <c:pt idx="57068">
                  <c:v>38.155249913529374</c:v>
                </c:pt>
                <c:pt idx="57069">
                  <c:v>29.72333911990869</c:v>
                </c:pt>
                <c:pt idx="57070">
                  <c:v>26.891802253026963</c:v>
                </c:pt>
                <c:pt idx="57071">
                  <c:v>31.262925407778674</c:v>
                </c:pt>
                <c:pt idx="57072">
                  <c:v>26.722373911881007</c:v>
                </c:pt>
                <c:pt idx="57073">
                  <c:v>32.473395617784988</c:v>
                </c:pt>
                <c:pt idx="57074">
                  <c:v>31.802556485397453</c:v>
                </c:pt>
                <c:pt idx="57075">
                  <c:v>22.610981523829079</c:v>
                </c:pt>
                <c:pt idx="57076">
                  <c:v>51.445858116457316</c:v>
                </c:pt>
                <c:pt idx="57077">
                  <c:v>27.431366719724956</c:v>
                </c:pt>
                <c:pt idx="57078">
                  <c:v>29.586648475205756</c:v>
                </c:pt>
                <c:pt idx="57079">
                  <c:v>22.967627221339214</c:v>
                </c:pt>
                <c:pt idx="57080">
                  <c:v>27.320455839452553</c:v>
                </c:pt>
                <c:pt idx="57081">
                  <c:v>37.533249247353325</c:v>
                </c:pt>
                <c:pt idx="57082">
                  <c:v>23.707056264088571</c:v>
                </c:pt>
                <c:pt idx="57083">
                  <c:v>25.877138746847645</c:v>
                </c:pt>
                <c:pt idx="57084">
                  <c:v>30.204058762639661</c:v>
                </c:pt>
                <c:pt idx="57085">
                  <c:v>27.410248246733037</c:v>
                </c:pt>
                <c:pt idx="57086">
                  <c:v>30.608561220642954</c:v>
                </c:pt>
                <c:pt idx="57087">
                  <c:v>30.137911509651442</c:v>
                </c:pt>
                <c:pt idx="57088">
                  <c:v>20.593391688243521</c:v>
                </c:pt>
                <c:pt idx="57089">
                  <c:v>26.767348894637919</c:v>
                </c:pt>
                <c:pt idx="57090">
                  <c:v>49.581099410157499</c:v>
                </c:pt>
                <c:pt idx="57091">
                  <c:v>38.694669119093476</c:v>
                </c:pt>
                <c:pt idx="57092">
                  <c:v>57.237051725261331</c:v>
                </c:pt>
                <c:pt idx="57093">
                  <c:v>22.691542950668275</c:v>
                </c:pt>
                <c:pt idx="57094">
                  <c:v>26.753688248784002</c:v>
                </c:pt>
                <c:pt idx="57095">
                  <c:v>26.868805089228122</c:v>
                </c:pt>
                <c:pt idx="57096">
                  <c:v>52.71453090586882</c:v>
                </c:pt>
                <c:pt idx="57097">
                  <c:v>23.37092424363356</c:v>
                </c:pt>
                <c:pt idx="57098">
                  <c:v>42.650302072098903</c:v>
                </c:pt>
                <c:pt idx="57099">
                  <c:v>28.661295146676974</c:v>
                </c:pt>
                <c:pt idx="57100">
                  <c:v>47.138839356266331</c:v>
                </c:pt>
                <c:pt idx="57101">
                  <c:v>21.88538998407947</c:v>
                </c:pt>
                <c:pt idx="57102">
                  <c:v>28.813025103249899</c:v>
                </c:pt>
                <c:pt idx="57103">
                  <c:v>28.393591874330358</c:v>
                </c:pt>
                <c:pt idx="57104">
                  <c:v>31.084544726592899</c:v>
                </c:pt>
                <c:pt idx="57105">
                  <c:v>31.64858921715307</c:v>
                </c:pt>
                <c:pt idx="57106">
                  <c:v>21.065474837569447</c:v>
                </c:pt>
                <c:pt idx="57107">
                  <c:v>22.809097450530373</c:v>
                </c:pt>
                <c:pt idx="57108">
                  <c:v>36.168051744622964</c:v>
                </c:pt>
                <c:pt idx="57109">
                  <c:v>19.583878377633162</c:v>
                </c:pt>
                <c:pt idx="57110">
                  <c:v>32.907623584292303</c:v>
                </c:pt>
                <c:pt idx="57111">
                  <c:v>24.268957255184443</c:v>
                </c:pt>
                <c:pt idx="57112">
                  <c:v>45.854770748676259</c:v>
                </c:pt>
                <c:pt idx="57113">
                  <c:v>33.728982851937943</c:v>
                </c:pt>
                <c:pt idx="57114">
                  <c:v>16.167629602793781</c:v>
                </c:pt>
                <c:pt idx="57115">
                  <c:v>43.811445146312153</c:v>
                </c:pt>
                <c:pt idx="57116">
                  <c:v>24.352926372024235</c:v>
                </c:pt>
                <c:pt idx="57117">
                  <c:v>28.344554550528038</c:v>
                </c:pt>
                <c:pt idx="57118">
                  <c:v>33.930816666565974</c:v>
                </c:pt>
                <c:pt idx="57119">
                  <c:v>25.624780119551893</c:v>
                </c:pt>
                <c:pt idx="57120">
                  <c:v>44.335749275585094</c:v>
                </c:pt>
                <c:pt idx="57121">
                  <c:v>30.772478119735421</c:v>
                </c:pt>
                <c:pt idx="57122">
                  <c:v>18.752524190263433</c:v>
                </c:pt>
                <c:pt idx="57123">
                  <c:v>25.155172023931716</c:v>
                </c:pt>
                <c:pt idx="57124">
                  <c:v>31.86616035801503</c:v>
                </c:pt>
                <c:pt idx="57125">
                  <c:v>24.987096627997001</c:v>
                </c:pt>
                <c:pt idx="57126">
                  <c:v>30.836753898513241</c:v>
                </c:pt>
                <c:pt idx="57127">
                  <c:v>22.85984908563205</c:v>
                </c:pt>
                <c:pt idx="57128">
                  <c:v>21.604061843263448</c:v>
                </c:pt>
                <c:pt idx="57129">
                  <c:v>32.014080951926843</c:v>
                </c:pt>
                <c:pt idx="57130">
                  <c:v>20.888783653276359</c:v>
                </c:pt>
                <c:pt idx="57131">
                  <c:v>24.871052443644228</c:v>
                </c:pt>
                <c:pt idx="57132">
                  <c:v>20.420414269743649</c:v>
                </c:pt>
                <c:pt idx="57133">
                  <c:v>25.939816790120574</c:v>
                </c:pt>
                <c:pt idx="57134">
                  <c:v>43.663928614671107</c:v>
                </c:pt>
                <c:pt idx="57135">
                  <c:v>30.300518393407156</c:v>
                </c:pt>
                <c:pt idx="57136">
                  <c:v>23.320912584885299</c:v>
                </c:pt>
                <c:pt idx="57137">
                  <c:v>38.26321736655774</c:v>
                </c:pt>
                <c:pt idx="57138">
                  <c:v>25.751048961787074</c:v>
                </c:pt>
                <c:pt idx="57139">
                  <c:v>25.718025476190007</c:v>
                </c:pt>
                <c:pt idx="57140">
                  <c:v>33.240280404630518</c:v>
                </c:pt>
                <c:pt idx="57141">
                  <c:v>23.146181132715153</c:v>
                </c:pt>
                <c:pt idx="57142">
                  <c:v>29.024307615672296</c:v>
                </c:pt>
                <c:pt idx="57143">
                  <c:v>30.253259488207874</c:v>
                </c:pt>
                <c:pt idx="57144">
                  <c:v>31.121144928144783</c:v>
                </c:pt>
                <c:pt idx="57145">
                  <c:v>26.388773260839859</c:v>
                </c:pt>
                <c:pt idx="57146">
                  <c:v>24.774830503041564</c:v>
                </c:pt>
                <c:pt idx="57147">
                  <c:v>25.7649383497874</c:v>
                </c:pt>
                <c:pt idx="57148">
                  <c:v>21.110906143556775</c:v>
                </c:pt>
                <c:pt idx="57149">
                  <c:v>39.590798396223384</c:v>
                </c:pt>
                <c:pt idx="57150">
                  <c:v>36.383149321970862</c:v>
                </c:pt>
                <c:pt idx="57151">
                  <c:v>32.836858002039953</c:v>
                </c:pt>
                <c:pt idx="57152">
                  <c:v>41.758085661722163</c:v>
                </c:pt>
                <c:pt idx="57153">
                  <c:v>25.45773399916807</c:v>
                </c:pt>
                <c:pt idx="57154">
                  <c:v>34.994803310249445</c:v>
                </c:pt>
                <c:pt idx="57155">
                  <c:v>27.561618384061628</c:v>
                </c:pt>
                <c:pt idx="57156">
                  <c:v>36.500257782192136</c:v>
                </c:pt>
                <c:pt idx="57157">
                  <c:v>31.889114768791895</c:v>
                </c:pt>
                <c:pt idx="57158">
                  <c:v>31.908391827168419</c:v>
                </c:pt>
                <c:pt idx="57159">
                  <c:v>51.712405366550684</c:v>
                </c:pt>
                <c:pt idx="57160">
                  <c:v>47.955579440162914</c:v>
                </c:pt>
                <c:pt idx="57161">
                  <c:v>21.549666450737831</c:v>
                </c:pt>
                <c:pt idx="57162">
                  <c:v>43.511361243245517</c:v>
                </c:pt>
                <c:pt idx="57163">
                  <c:v>23.732268414285965</c:v>
                </c:pt>
                <c:pt idx="57164">
                  <c:v>17.751913732189291</c:v>
                </c:pt>
                <c:pt idx="57165">
                  <c:v>23.28659002364622</c:v>
                </c:pt>
                <c:pt idx="57166">
                  <c:v>18.268932218487382</c:v>
                </c:pt>
                <c:pt idx="57167">
                  <c:v>34.472449699481999</c:v>
                </c:pt>
                <c:pt idx="57168">
                  <c:v>24.390841956242507</c:v>
                </c:pt>
                <c:pt idx="57169">
                  <c:v>24.164453832817159</c:v>
                </c:pt>
                <c:pt idx="57170">
                  <c:v>59.122351783055599</c:v>
                </c:pt>
                <c:pt idx="57171">
                  <c:v>18.514041297951728</c:v>
                </c:pt>
                <c:pt idx="57172">
                  <c:v>46.807224902523899</c:v>
                </c:pt>
                <c:pt idx="57173">
                  <c:v>26.372644008048766</c:v>
                </c:pt>
                <c:pt idx="57174">
                  <c:v>62.558453854987775</c:v>
                </c:pt>
                <c:pt idx="57175">
                  <c:v>42.769046959847877</c:v>
                </c:pt>
                <c:pt idx="57176">
                  <c:v>21.791917242577494</c:v>
                </c:pt>
                <c:pt idx="57177">
                  <c:v>24.16059506343414</c:v>
                </c:pt>
                <c:pt idx="57178">
                  <c:v>24.555762712609781</c:v>
                </c:pt>
                <c:pt idx="57179">
                  <c:v>27.383986535311941</c:v>
                </c:pt>
                <c:pt idx="57180">
                  <c:v>51.819199515042705</c:v>
                </c:pt>
                <c:pt idx="57181">
                  <c:v>38.603456218753593</c:v>
                </c:pt>
                <c:pt idx="57182">
                  <c:v>41.08336965796579</c:v>
                </c:pt>
                <c:pt idx="57183">
                  <c:v>33.855529696466498</c:v>
                </c:pt>
                <c:pt idx="57184">
                  <c:v>27.765638676077462</c:v>
                </c:pt>
                <c:pt idx="57185">
                  <c:v>52.993388530217238</c:v>
                </c:pt>
                <c:pt idx="57186">
                  <c:v>28.357949095509063</c:v>
                </c:pt>
                <c:pt idx="57187">
                  <c:v>25.352157166019524</c:v>
                </c:pt>
                <c:pt idx="57188">
                  <c:v>34.505680004201025</c:v>
                </c:pt>
                <c:pt idx="57189">
                  <c:v>15.66182498640617</c:v>
                </c:pt>
                <c:pt idx="57190">
                  <c:v>24.799534093662203</c:v>
                </c:pt>
                <c:pt idx="57191">
                  <c:v>24.753321840902551</c:v>
                </c:pt>
                <c:pt idx="57192">
                  <c:v>52.877631037175284</c:v>
                </c:pt>
                <c:pt idx="57193">
                  <c:v>35.359256629242502</c:v>
                </c:pt>
                <c:pt idx="57194">
                  <c:v>19.411963269219662</c:v>
                </c:pt>
                <c:pt idx="57195">
                  <c:v>23.515398031398643</c:v>
                </c:pt>
                <c:pt idx="57196">
                  <c:v>31.318978233833938</c:v>
                </c:pt>
                <c:pt idx="57197">
                  <c:v>19.375701616804726</c:v>
                </c:pt>
                <c:pt idx="57198">
                  <c:v>26.295201808190729</c:v>
                </c:pt>
                <c:pt idx="57199">
                  <c:v>28.824935956922047</c:v>
                </c:pt>
                <c:pt idx="57200">
                  <c:v>25.745821282764012</c:v>
                </c:pt>
                <c:pt idx="57201">
                  <c:v>54.340209331393567</c:v>
                </c:pt>
                <c:pt idx="57202">
                  <c:v>49.534139629826043</c:v>
                </c:pt>
                <c:pt idx="57203">
                  <c:v>25.984208817601047</c:v>
                </c:pt>
                <c:pt idx="57204">
                  <c:v>39.669244289963537</c:v>
                </c:pt>
                <c:pt idx="57205">
                  <c:v>44.623559314438005</c:v>
                </c:pt>
                <c:pt idx="57206">
                  <c:v>57.741584854260921</c:v>
                </c:pt>
                <c:pt idx="57207">
                  <c:v>26.694309237765477</c:v>
                </c:pt>
                <c:pt idx="57208">
                  <c:v>27.961071205841201</c:v>
                </c:pt>
                <c:pt idx="57209">
                  <c:v>40.683906277234961</c:v>
                </c:pt>
                <c:pt idx="57210">
                  <c:v>52.286387228265419</c:v>
                </c:pt>
                <c:pt idx="57211">
                  <c:v>26.248746804275942</c:v>
                </c:pt>
                <c:pt idx="57212">
                  <c:v>30.871014437361779</c:v>
                </c:pt>
                <c:pt idx="57213">
                  <c:v>29.136480266762028</c:v>
                </c:pt>
                <c:pt idx="57214">
                  <c:v>17.430274616280492</c:v>
                </c:pt>
                <c:pt idx="57215">
                  <c:v>30.873576551850412</c:v>
                </c:pt>
                <c:pt idx="57216">
                  <c:v>39.402154215061643</c:v>
                </c:pt>
                <c:pt idx="57217">
                  <c:v>29.541473023230644</c:v>
                </c:pt>
                <c:pt idx="57218">
                  <c:v>25.80041289543032</c:v>
                </c:pt>
                <c:pt idx="57219">
                  <c:v>27.678303461530032</c:v>
                </c:pt>
                <c:pt idx="57220">
                  <c:v>26.789922685525365</c:v>
                </c:pt>
                <c:pt idx="57221">
                  <c:v>19.761677402341409</c:v>
                </c:pt>
                <c:pt idx="57222">
                  <c:v>53.291650951325693</c:v>
                </c:pt>
                <c:pt idx="57223">
                  <c:v>47.700700690656802</c:v>
                </c:pt>
                <c:pt idx="57224">
                  <c:v>44.345186389671483</c:v>
                </c:pt>
                <c:pt idx="57225">
                  <c:v>32.507734404731949</c:v>
                </c:pt>
                <c:pt idx="57226">
                  <c:v>25.968052360390896</c:v>
                </c:pt>
                <c:pt idx="57227">
                  <c:v>36.736104010974842</c:v>
                </c:pt>
                <c:pt idx="57228">
                  <c:v>28.946597812358828</c:v>
                </c:pt>
                <c:pt idx="57229">
                  <c:v>44.452347893504871</c:v>
                </c:pt>
                <c:pt idx="57230">
                  <c:v>27.540112531226708</c:v>
                </c:pt>
                <c:pt idx="57231">
                  <c:v>26.231860880189139</c:v>
                </c:pt>
                <c:pt idx="57232">
                  <c:v>31.75482058438935</c:v>
                </c:pt>
                <c:pt idx="57233">
                  <c:v>34.038387131095092</c:v>
                </c:pt>
                <c:pt idx="57234">
                  <c:v>23.473704313096164</c:v>
                </c:pt>
                <c:pt idx="57235">
                  <c:v>26.661965996686348</c:v>
                </c:pt>
                <c:pt idx="57236">
                  <c:v>25.694843360749672</c:v>
                </c:pt>
                <c:pt idx="57237">
                  <c:v>26.495717435274383</c:v>
                </c:pt>
                <c:pt idx="57238">
                  <c:v>24.509820648722425</c:v>
                </c:pt>
                <c:pt idx="57239">
                  <c:v>19.442923077283073</c:v>
                </c:pt>
                <c:pt idx="57240">
                  <c:v>48.250799058053005</c:v>
                </c:pt>
                <c:pt idx="57241">
                  <c:v>35.520864783380205</c:v>
                </c:pt>
                <c:pt idx="57242">
                  <c:v>18.188308942114208</c:v>
                </c:pt>
                <c:pt idx="57243">
                  <c:v>18.739300790587155</c:v>
                </c:pt>
                <c:pt idx="57244">
                  <c:v>35.772836743293468</c:v>
                </c:pt>
                <c:pt idx="57245">
                  <c:v>26.725599448549179</c:v>
                </c:pt>
                <c:pt idx="57246">
                  <c:v>56.847984335551423</c:v>
                </c:pt>
                <c:pt idx="57247">
                  <c:v>28.527265777715535</c:v>
                </c:pt>
                <c:pt idx="57248">
                  <c:v>22.91109561522379</c:v>
                </c:pt>
                <c:pt idx="57249">
                  <c:v>52.334563397432134</c:v>
                </c:pt>
                <c:pt idx="57250">
                  <c:v>25.431417511036777</c:v>
                </c:pt>
                <c:pt idx="57251">
                  <c:v>36.094044158724401</c:v>
                </c:pt>
                <c:pt idx="57252">
                  <c:v>25.788095421343272</c:v>
                </c:pt>
                <c:pt idx="57253">
                  <c:v>21.44003174416348</c:v>
                </c:pt>
                <c:pt idx="57254">
                  <c:v>21.887876608096263</c:v>
                </c:pt>
                <c:pt idx="57255">
                  <c:v>17.348815886445141</c:v>
                </c:pt>
                <c:pt idx="57256">
                  <c:v>22.886429445076349</c:v>
                </c:pt>
                <c:pt idx="57257">
                  <c:v>46.38630588090151</c:v>
                </c:pt>
                <c:pt idx="57258">
                  <c:v>28.731605800324559</c:v>
                </c:pt>
                <c:pt idx="57259">
                  <c:v>17.476544515306994</c:v>
                </c:pt>
                <c:pt idx="57260">
                  <c:v>45.536965855429806</c:v>
                </c:pt>
                <c:pt idx="57261">
                  <c:v>29.190964973516298</c:v>
                </c:pt>
                <c:pt idx="57262">
                  <c:v>26.547070923118412</c:v>
                </c:pt>
                <c:pt idx="57263">
                  <c:v>22.467591565800927</c:v>
                </c:pt>
                <c:pt idx="57264">
                  <c:v>47.394331578947927</c:v>
                </c:pt>
                <c:pt idx="57265">
                  <c:v>58.895207798276317</c:v>
                </c:pt>
                <c:pt idx="57266">
                  <c:v>27.240228989440734</c:v>
                </c:pt>
                <c:pt idx="57267">
                  <c:v>25.276825333537307</c:v>
                </c:pt>
                <c:pt idx="57268">
                  <c:v>30.003223018357183</c:v>
                </c:pt>
                <c:pt idx="57269">
                  <c:v>32.016018250945109</c:v>
                </c:pt>
                <c:pt idx="57270">
                  <c:v>25.281743271999787</c:v>
                </c:pt>
                <c:pt idx="57271">
                  <c:v>47.671520870874879</c:v>
                </c:pt>
                <c:pt idx="57272">
                  <c:v>31.066576713192713</c:v>
                </c:pt>
                <c:pt idx="57273">
                  <c:v>44.0036170634759</c:v>
                </c:pt>
                <c:pt idx="57274">
                  <c:v>24.305863595296238</c:v>
                </c:pt>
                <c:pt idx="57275">
                  <c:v>22.044515005098535</c:v>
                </c:pt>
                <c:pt idx="57276">
                  <c:v>42.155660640216894</c:v>
                </c:pt>
                <c:pt idx="57277">
                  <c:v>47.564417250200201</c:v>
                </c:pt>
                <c:pt idx="57278">
                  <c:v>23.485637233310378</c:v>
                </c:pt>
                <c:pt idx="57279">
                  <c:v>21.022969327609719</c:v>
                </c:pt>
                <c:pt idx="57280">
                  <c:v>37.128667029572952</c:v>
                </c:pt>
                <c:pt idx="57281">
                  <c:v>26.191080186767941</c:v>
                </c:pt>
                <c:pt idx="57282">
                  <c:v>28.634219867980711</c:v>
                </c:pt>
                <c:pt idx="57283">
                  <c:v>26.067196021496855</c:v>
                </c:pt>
                <c:pt idx="57284">
                  <c:v>25.303468010594777</c:v>
                </c:pt>
                <c:pt idx="57285">
                  <c:v>31.590830091031982</c:v>
                </c:pt>
                <c:pt idx="57286">
                  <c:v>25.76986425735528</c:v>
                </c:pt>
                <c:pt idx="57287">
                  <c:v>26.111488208722982</c:v>
                </c:pt>
                <c:pt idx="57288">
                  <c:v>35.620373036385054</c:v>
                </c:pt>
                <c:pt idx="57289">
                  <c:v>33.251433346336718</c:v>
                </c:pt>
                <c:pt idx="57290">
                  <c:v>55.430676044528013</c:v>
                </c:pt>
                <c:pt idx="57291">
                  <c:v>42.87091413900982</c:v>
                </c:pt>
                <c:pt idx="57292">
                  <c:v>31.358838557972181</c:v>
                </c:pt>
                <c:pt idx="57293">
                  <c:v>18.69840020440159</c:v>
                </c:pt>
                <c:pt idx="57294">
                  <c:v>33.489777267055402</c:v>
                </c:pt>
                <c:pt idx="57295">
                  <c:v>28.094694261076199</c:v>
                </c:pt>
                <c:pt idx="57296">
                  <c:v>22.314239754090877</c:v>
                </c:pt>
                <c:pt idx="57297">
                  <c:v>31.013598887016379</c:v>
                </c:pt>
                <c:pt idx="57298">
                  <c:v>18.517305876064118</c:v>
                </c:pt>
                <c:pt idx="57299">
                  <c:v>38.840255640582519</c:v>
                </c:pt>
                <c:pt idx="57300">
                  <c:v>52.300111985280786</c:v>
                </c:pt>
                <c:pt idx="57301">
                  <c:v>24.716522518598548</c:v>
                </c:pt>
                <c:pt idx="57302">
                  <c:v>21.151425831091281</c:v>
                </c:pt>
                <c:pt idx="57303">
                  <c:v>24.193579402939001</c:v>
                </c:pt>
                <c:pt idx="57304">
                  <c:v>31.530236885375384</c:v>
                </c:pt>
                <c:pt idx="57305">
                  <c:v>37.019536228452736</c:v>
                </c:pt>
                <c:pt idx="57306">
                  <c:v>49.766945971761963</c:v>
                </c:pt>
                <c:pt idx="57307">
                  <c:v>31.653316883294778</c:v>
                </c:pt>
                <c:pt idx="57308">
                  <c:v>31.327376193945845</c:v>
                </c:pt>
                <c:pt idx="57309">
                  <c:v>17.275620454660384</c:v>
                </c:pt>
                <c:pt idx="57310">
                  <c:v>44.5231208327668</c:v>
                </c:pt>
                <c:pt idx="57311">
                  <c:v>34.353416286141247</c:v>
                </c:pt>
                <c:pt idx="57312">
                  <c:v>24.637053916426126</c:v>
                </c:pt>
                <c:pt idx="57313">
                  <c:v>32.715596876337962</c:v>
                </c:pt>
                <c:pt idx="57314">
                  <c:v>23.786129896063777</c:v>
                </c:pt>
                <c:pt idx="57315">
                  <c:v>32.958302924002794</c:v>
                </c:pt>
                <c:pt idx="57316">
                  <c:v>49.712421057909943</c:v>
                </c:pt>
                <c:pt idx="57317">
                  <c:v>19.305855903671201</c:v>
                </c:pt>
                <c:pt idx="57318">
                  <c:v>30.583039325787816</c:v>
                </c:pt>
                <c:pt idx="57319">
                  <c:v>31.400366773240385</c:v>
                </c:pt>
                <c:pt idx="57320">
                  <c:v>23.762544864705397</c:v>
                </c:pt>
                <c:pt idx="57321">
                  <c:v>40.369188324148396</c:v>
                </c:pt>
                <c:pt idx="57322">
                  <c:v>29.552295127470302</c:v>
                </c:pt>
                <c:pt idx="57323">
                  <c:v>22.860554668778107</c:v>
                </c:pt>
                <c:pt idx="57324">
                  <c:v>20.787350662863183</c:v>
                </c:pt>
                <c:pt idx="57325">
                  <c:v>24.159396166338929</c:v>
                </c:pt>
                <c:pt idx="57326">
                  <c:v>29.973869548850779</c:v>
                </c:pt>
                <c:pt idx="57327">
                  <c:v>32.351513732299374</c:v>
                </c:pt>
                <c:pt idx="57328">
                  <c:v>22.574393610778426</c:v>
                </c:pt>
                <c:pt idx="57329">
                  <c:v>24.073120631358371</c:v>
                </c:pt>
                <c:pt idx="57330">
                  <c:v>26.976269518071334</c:v>
                </c:pt>
                <c:pt idx="57331">
                  <c:v>32.074807242297801</c:v>
                </c:pt>
                <c:pt idx="57332">
                  <c:v>25.181459081788866</c:v>
                </c:pt>
                <c:pt idx="57333">
                  <c:v>41.332801782540656</c:v>
                </c:pt>
                <c:pt idx="57334">
                  <c:v>22.585323616574989</c:v>
                </c:pt>
                <c:pt idx="57335">
                  <c:v>23.94370885169911</c:v>
                </c:pt>
                <c:pt idx="57336">
                  <c:v>31.656854777241584</c:v>
                </c:pt>
                <c:pt idx="57337">
                  <c:v>36.915076064172091</c:v>
                </c:pt>
                <c:pt idx="57338">
                  <c:v>22.620694513581149</c:v>
                </c:pt>
                <c:pt idx="57339">
                  <c:v>30.789071492554992</c:v>
                </c:pt>
                <c:pt idx="57340">
                  <c:v>24.733412870863887</c:v>
                </c:pt>
                <c:pt idx="57341">
                  <c:v>26.943385744925351</c:v>
                </c:pt>
                <c:pt idx="57342">
                  <c:v>46.98384261139234</c:v>
                </c:pt>
                <c:pt idx="57343">
                  <c:v>26.23198985777406</c:v>
                </c:pt>
                <c:pt idx="57344">
                  <c:v>29.876616896418714</c:v>
                </c:pt>
                <c:pt idx="57345">
                  <c:v>22.461658656713503</c:v>
                </c:pt>
                <c:pt idx="57346">
                  <c:v>21.230963864088356</c:v>
                </c:pt>
                <c:pt idx="57347">
                  <c:v>26.126877095047305</c:v>
                </c:pt>
                <c:pt idx="57348">
                  <c:v>33.040911949874086</c:v>
                </c:pt>
                <c:pt idx="57349">
                  <c:v>27.731715226945166</c:v>
                </c:pt>
                <c:pt idx="57350">
                  <c:v>29.847874246187722</c:v>
                </c:pt>
                <c:pt idx="57351">
                  <c:v>24.482139087333522</c:v>
                </c:pt>
                <c:pt idx="57352">
                  <c:v>47.104647501712492</c:v>
                </c:pt>
                <c:pt idx="57353">
                  <c:v>30.003217279358374</c:v>
                </c:pt>
                <c:pt idx="57354">
                  <c:v>27.702987803518049</c:v>
                </c:pt>
                <c:pt idx="57355">
                  <c:v>26.11590999802516</c:v>
                </c:pt>
                <c:pt idx="57356">
                  <c:v>36.275998543083794</c:v>
                </c:pt>
                <c:pt idx="57357">
                  <c:v>31.684623077839021</c:v>
                </c:pt>
                <c:pt idx="57358">
                  <c:v>49.553368085158453</c:v>
                </c:pt>
                <c:pt idx="57359">
                  <c:v>26.893284914019603</c:v>
                </c:pt>
                <c:pt idx="57360">
                  <c:v>25.220699595894416</c:v>
                </c:pt>
                <c:pt idx="57361">
                  <c:v>42.303260688772639</c:v>
                </c:pt>
                <c:pt idx="57362">
                  <c:v>20.92429385665443</c:v>
                </c:pt>
                <c:pt idx="57363">
                  <c:v>48.4749438951333</c:v>
                </c:pt>
                <c:pt idx="57364">
                  <c:v>24.740245065752127</c:v>
                </c:pt>
                <c:pt idx="57365">
                  <c:v>45.987623718807946</c:v>
                </c:pt>
                <c:pt idx="57366">
                  <c:v>36.054374113075028</c:v>
                </c:pt>
                <c:pt idx="57367">
                  <c:v>29.327123865831904</c:v>
                </c:pt>
                <c:pt idx="57368">
                  <c:v>25.547922878215939</c:v>
                </c:pt>
                <c:pt idx="57369">
                  <c:v>46.677040433487242</c:v>
                </c:pt>
                <c:pt idx="57370">
                  <c:v>25.350541674526429</c:v>
                </c:pt>
                <c:pt idx="57371">
                  <c:v>25.933003991418676</c:v>
                </c:pt>
                <c:pt idx="57372">
                  <c:v>19.216147221535316</c:v>
                </c:pt>
                <c:pt idx="57373">
                  <c:v>27.320294411205388</c:v>
                </c:pt>
                <c:pt idx="57374">
                  <c:v>33.275375221752938</c:v>
                </c:pt>
                <c:pt idx="57375">
                  <c:v>30.786912883228517</c:v>
                </c:pt>
                <c:pt idx="57376">
                  <c:v>54.38711632711022</c:v>
                </c:pt>
                <c:pt idx="57377">
                  <c:v>20.722113797689314</c:v>
                </c:pt>
                <c:pt idx="57378">
                  <c:v>27.298585697085688</c:v>
                </c:pt>
                <c:pt idx="57379">
                  <c:v>38.702074746441838</c:v>
                </c:pt>
                <c:pt idx="57380">
                  <c:v>54.921189458874096</c:v>
                </c:pt>
                <c:pt idx="57381">
                  <c:v>27.707457697582797</c:v>
                </c:pt>
                <c:pt idx="57382">
                  <c:v>25.877204230098528</c:v>
                </c:pt>
                <c:pt idx="57383">
                  <c:v>23.543983627678518</c:v>
                </c:pt>
                <c:pt idx="57384">
                  <c:v>31.448764559438416</c:v>
                </c:pt>
                <c:pt idx="57385">
                  <c:v>23.278555190828058</c:v>
                </c:pt>
                <c:pt idx="57386">
                  <c:v>23.8756557152958</c:v>
                </c:pt>
                <c:pt idx="57387">
                  <c:v>23.030904184236569</c:v>
                </c:pt>
                <c:pt idx="57388">
                  <c:v>26.192763860827288</c:v>
                </c:pt>
                <c:pt idx="57389">
                  <c:v>45.122942687857893</c:v>
                </c:pt>
                <c:pt idx="57390">
                  <c:v>26.950697143644391</c:v>
                </c:pt>
                <c:pt idx="57391">
                  <c:v>48.245720846935029</c:v>
                </c:pt>
                <c:pt idx="57392">
                  <c:v>31.702739409864606</c:v>
                </c:pt>
                <c:pt idx="57393">
                  <c:v>60.238764480795986</c:v>
                </c:pt>
                <c:pt idx="57394">
                  <c:v>21.262406901576991</c:v>
                </c:pt>
                <c:pt idx="57395">
                  <c:v>24.300141027324614</c:v>
                </c:pt>
                <c:pt idx="57396">
                  <c:v>35.741414512519221</c:v>
                </c:pt>
                <c:pt idx="57397">
                  <c:v>43.487927169975038</c:v>
                </c:pt>
                <c:pt idx="57398">
                  <c:v>19.357751872098955</c:v>
                </c:pt>
                <c:pt idx="57399">
                  <c:v>31.18581921486426</c:v>
                </c:pt>
                <c:pt idx="57400">
                  <c:v>25.119862938759606</c:v>
                </c:pt>
                <c:pt idx="57401">
                  <c:v>42.998502153837364</c:v>
                </c:pt>
                <c:pt idx="57402">
                  <c:v>30.656549660555747</c:v>
                </c:pt>
                <c:pt idx="57403">
                  <c:v>24.798792398764753</c:v>
                </c:pt>
                <c:pt idx="57404">
                  <c:v>25.798809486221138</c:v>
                </c:pt>
                <c:pt idx="57405">
                  <c:v>32.632026068948612</c:v>
                </c:pt>
                <c:pt idx="57406">
                  <c:v>52.997506086645998</c:v>
                </c:pt>
                <c:pt idx="57407">
                  <c:v>21.712327411029012</c:v>
                </c:pt>
                <c:pt idx="57408">
                  <c:v>35.478672747481419</c:v>
                </c:pt>
                <c:pt idx="57409">
                  <c:v>28.120290603930382</c:v>
                </c:pt>
                <c:pt idx="57410">
                  <c:v>48.899994771135951</c:v>
                </c:pt>
                <c:pt idx="57411">
                  <c:v>26.861304041058464</c:v>
                </c:pt>
                <c:pt idx="57412">
                  <c:v>24.799404717662263</c:v>
                </c:pt>
                <c:pt idx="57413">
                  <c:v>24.039058966939809</c:v>
                </c:pt>
                <c:pt idx="57414">
                  <c:v>28.240716517372558</c:v>
                </c:pt>
                <c:pt idx="57415">
                  <c:v>24.945895489872132</c:v>
                </c:pt>
                <c:pt idx="57416">
                  <c:v>19.455881935771842</c:v>
                </c:pt>
                <c:pt idx="57417">
                  <c:v>26.090871425707189</c:v>
                </c:pt>
                <c:pt idx="57418">
                  <c:v>30.384850093884019</c:v>
                </c:pt>
                <c:pt idx="57419">
                  <c:v>65.002843207178941</c:v>
                </c:pt>
                <c:pt idx="57420">
                  <c:v>36.74501374470843</c:v>
                </c:pt>
                <c:pt idx="57421">
                  <c:v>48.676058813655786</c:v>
                </c:pt>
                <c:pt idx="57422">
                  <c:v>31.129092920804577</c:v>
                </c:pt>
                <c:pt idx="57423">
                  <c:v>32.999940991521711</c:v>
                </c:pt>
                <c:pt idx="57424">
                  <c:v>36.833768826681144</c:v>
                </c:pt>
                <c:pt idx="57425">
                  <c:v>26.824928060122719</c:v>
                </c:pt>
                <c:pt idx="57426">
                  <c:v>20.928439027855987</c:v>
                </c:pt>
                <c:pt idx="57427">
                  <c:v>25.661674413328534</c:v>
                </c:pt>
                <c:pt idx="57428">
                  <c:v>28.622078171478218</c:v>
                </c:pt>
                <c:pt idx="57429">
                  <c:v>23.50522302090053</c:v>
                </c:pt>
                <c:pt idx="57430">
                  <c:v>25.291200128222094</c:v>
                </c:pt>
                <c:pt idx="57431">
                  <c:v>25.886367745470622</c:v>
                </c:pt>
                <c:pt idx="57432">
                  <c:v>27.39767602013799</c:v>
                </c:pt>
                <c:pt idx="57433">
                  <c:v>31.783492397620019</c:v>
                </c:pt>
                <c:pt idx="57434">
                  <c:v>55.899316277272241</c:v>
                </c:pt>
                <c:pt idx="57435">
                  <c:v>38.061699464844743</c:v>
                </c:pt>
                <c:pt idx="57436">
                  <c:v>23.215778981318728</c:v>
                </c:pt>
                <c:pt idx="57437">
                  <c:v>36.228960775143676</c:v>
                </c:pt>
                <c:pt idx="57438">
                  <c:v>25.443556146869895</c:v>
                </c:pt>
                <c:pt idx="57439">
                  <c:v>34.446044505397353</c:v>
                </c:pt>
                <c:pt idx="57440">
                  <c:v>21.98575632019368</c:v>
                </c:pt>
                <c:pt idx="57441">
                  <c:v>27.600956512660808</c:v>
                </c:pt>
                <c:pt idx="57442">
                  <c:v>29.233512494435686</c:v>
                </c:pt>
                <c:pt idx="57443">
                  <c:v>24.114711599139866</c:v>
                </c:pt>
                <c:pt idx="57444">
                  <c:v>22.271212118952505</c:v>
                </c:pt>
                <c:pt idx="57445">
                  <c:v>25.148116261326329</c:v>
                </c:pt>
                <c:pt idx="57446">
                  <c:v>22.441952286974388</c:v>
                </c:pt>
                <c:pt idx="57447">
                  <c:v>22.023163986479268</c:v>
                </c:pt>
                <c:pt idx="57448">
                  <c:v>46.047265525022944</c:v>
                </c:pt>
                <c:pt idx="57449">
                  <c:v>18.693919411734569</c:v>
                </c:pt>
                <c:pt idx="57450">
                  <c:v>25.001004611350474</c:v>
                </c:pt>
                <c:pt idx="57451">
                  <c:v>18.994884158325519</c:v>
                </c:pt>
                <c:pt idx="57452">
                  <c:v>29.873622994575182</c:v>
                </c:pt>
                <c:pt idx="57453">
                  <c:v>23.512140475886738</c:v>
                </c:pt>
                <c:pt idx="57454">
                  <c:v>35.041318101361597</c:v>
                </c:pt>
                <c:pt idx="57455">
                  <c:v>35.255260368544299</c:v>
                </c:pt>
                <c:pt idx="57456">
                  <c:v>23.642590754643528</c:v>
                </c:pt>
                <c:pt idx="57457">
                  <c:v>24.846208798857354</c:v>
                </c:pt>
                <c:pt idx="57458">
                  <c:v>26.138732067489642</c:v>
                </c:pt>
                <c:pt idx="57459">
                  <c:v>26.561980947117426</c:v>
                </c:pt>
                <c:pt idx="57460">
                  <c:v>43.498982511342447</c:v>
                </c:pt>
                <c:pt idx="57461">
                  <c:v>33.407964331520255</c:v>
                </c:pt>
                <c:pt idx="57462">
                  <c:v>25.439640276671806</c:v>
                </c:pt>
                <c:pt idx="57463">
                  <c:v>25.817189924096976</c:v>
                </c:pt>
                <c:pt idx="57464">
                  <c:v>28.56864111024311</c:v>
                </c:pt>
                <c:pt idx="57465">
                  <c:v>25.993702217624488</c:v>
                </c:pt>
                <c:pt idx="57466">
                  <c:v>43.252749155814485</c:v>
                </c:pt>
                <c:pt idx="57467">
                  <c:v>24.885094599270197</c:v>
                </c:pt>
                <c:pt idx="57468">
                  <c:v>35.267871793591972</c:v>
                </c:pt>
                <c:pt idx="57469">
                  <c:v>33.666066133746803</c:v>
                </c:pt>
                <c:pt idx="57470">
                  <c:v>32.102875525794047</c:v>
                </c:pt>
                <c:pt idx="57471">
                  <c:v>33.894173486384425</c:v>
                </c:pt>
                <c:pt idx="57472">
                  <c:v>29.462803783781503</c:v>
                </c:pt>
                <c:pt idx="57473">
                  <c:v>45.823349147198641</c:v>
                </c:pt>
                <c:pt idx="57474">
                  <c:v>22.248703155669745</c:v>
                </c:pt>
                <c:pt idx="57475">
                  <c:v>29.156767723404041</c:v>
                </c:pt>
                <c:pt idx="57476">
                  <c:v>44.653016930724021</c:v>
                </c:pt>
                <c:pt idx="57477">
                  <c:v>27.726901000767306</c:v>
                </c:pt>
                <c:pt idx="57478">
                  <c:v>22.063592142804684</c:v>
                </c:pt>
                <c:pt idx="57479">
                  <c:v>36.299932659885592</c:v>
                </c:pt>
                <c:pt idx="57480">
                  <c:v>32.441018315720498</c:v>
                </c:pt>
                <c:pt idx="57481">
                  <c:v>22.350474533924945</c:v>
                </c:pt>
                <c:pt idx="57482">
                  <c:v>46.54875634807447</c:v>
                </c:pt>
                <c:pt idx="57483">
                  <c:v>24.797971486816309</c:v>
                </c:pt>
                <c:pt idx="57484">
                  <c:v>26.708956189945706</c:v>
                </c:pt>
                <c:pt idx="57485">
                  <c:v>26.417808153891812</c:v>
                </c:pt>
                <c:pt idx="57486">
                  <c:v>22.548481347176576</c:v>
                </c:pt>
                <c:pt idx="57487">
                  <c:v>20.568923339065329</c:v>
                </c:pt>
                <c:pt idx="57488">
                  <c:v>23.789807786808218</c:v>
                </c:pt>
                <c:pt idx="57489">
                  <c:v>25.224064321816737</c:v>
                </c:pt>
                <c:pt idx="57490">
                  <c:v>31.491337059847435</c:v>
                </c:pt>
                <c:pt idx="57491">
                  <c:v>39.268735326942917</c:v>
                </c:pt>
                <c:pt idx="57492">
                  <c:v>32.794346467317986</c:v>
                </c:pt>
                <c:pt idx="57493">
                  <c:v>27.37640437693705</c:v>
                </c:pt>
                <c:pt idx="57494">
                  <c:v>32.428427411466593</c:v>
                </c:pt>
                <c:pt idx="57495">
                  <c:v>25.136562729165441</c:v>
                </c:pt>
                <c:pt idx="57496">
                  <c:v>43.044510348989661</c:v>
                </c:pt>
                <c:pt idx="57497">
                  <c:v>25.359955456023531</c:v>
                </c:pt>
                <c:pt idx="57498">
                  <c:v>28.294016646039992</c:v>
                </c:pt>
                <c:pt idx="57499">
                  <c:v>32.899579547389706</c:v>
                </c:pt>
                <c:pt idx="57500">
                  <c:v>35.760837026801624</c:v>
                </c:pt>
                <c:pt idx="57501">
                  <c:v>38.836551021188043</c:v>
                </c:pt>
                <c:pt idx="57502">
                  <c:v>22.208396712045577</c:v>
                </c:pt>
                <c:pt idx="57503">
                  <c:v>41.278654734310308</c:v>
                </c:pt>
                <c:pt idx="57504">
                  <c:v>24.84770773909856</c:v>
                </c:pt>
                <c:pt idx="57505">
                  <c:v>23.963326478103166</c:v>
                </c:pt>
                <c:pt idx="57506">
                  <c:v>38.605211525093509</c:v>
                </c:pt>
                <c:pt idx="57507">
                  <c:v>33.475484063620961</c:v>
                </c:pt>
                <c:pt idx="57508">
                  <c:v>28.259324854368494</c:v>
                </c:pt>
                <c:pt idx="57509">
                  <c:v>27.772070083090249</c:v>
                </c:pt>
                <c:pt idx="57510">
                  <c:v>54.777614494558904</c:v>
                </c:pt>
                <c:pt idx="57511">
                  <c:v>34.177302725705943</c:v>
                </c:pt>
                <c:pt idx="57512">
                  <c:v>25.186185113507001</c:v>
                </c:pt>
                <c:pt idx="57513">
                  <c:v>48.670956726325272</c:v>
                </c:pt>
                <c:pt idx="57514">
                  <c:v>31.192345407130745</c:v>
                </c:pt>
                <c:pt idx="57515">
                  <c:v>27.162964582992959</c:v>
                </c:pt>
                <c:pt idx="57516">
                  <c:v>24.054911352538603</c:v>
                </c:pt>
                <c:pt idx="57517">
                  <c:v>21.54711133835697</c:v>
                </c:pt>
                <c:pt idx="57518">
                  <c:v>27.776813775308685</c:v>
                </c:pt>
                <c:pt idx="57519">
                  <c:v>25.39620122347133</c:v>
                </c:pt>
                <c:pt idx="57520">
                  <c:v>25.331220007262981</c:v>
                </c:pt>
                <c:pt idx="57521">
                  <c:v>15.968748400036025</c:v>
                </c:pt>
                <c:pt idx="57522">
                  <c:v>32.852106410025527</c:v>
                </c:pt>
                <c:pt idx="57523">
                  <c:v>30.743923562781692</c:v>
                </c:pt>
                <c:pt idx="57524">
                  <c:v>31.562988258574254</c:v>
                </c:pt>
                <c:pt idx="57525">
                  <c:v>20.999282146834254</c:v>
                </c:pt>
                <c:pt idx="57526">
                  <c:v>33.409142624781246</c:v>
                </c:pt>
                <c:pt idx="57527">
                  <c:v>22.361958664654548</c:v>
                </c:pt>
                <c:pt idx="57528">
                  <c:v>32.319244005230829</c:v>
                </c:pt>
                <c:pt idx="57529">
                  <c:v>18.510517753076801</c:v>
                </c:pt>
                <c:pt idx="57530">
                  <c:v>23.23859899708928</c:v>
                </c:pt>
                <c:pt idx="57531">
                  <c:v>55.274098151828483</c:v>
                </c:pt>
                <c:pt idx="57532">
                  <c:v>28.239558479980914</c:v>
                </c:pt>
                <c:pt idx="57533">
                  <c:v>20.429367627101904</c:v>
                </c:pt>
                <c:pt idx="57534">
                  <c:v>20.503906724294382</c:v>
                </c:pt>
                <c:pt idx="57535">
                  <c:v>30.749479346015423</c:v>
                </c:pt>
                <c:pt idx="57536">
                  <c:v>22.087003802818963</c:v>
                </c:pt>
                <c:pt idx="57537">
                  <c:v>25.092633285509034</c:v>
                </c:pt>
                <c:pt idx="57538">
                  <c:v>21.532008679224958</c:v>
                </c:pt>
                <c:pt idx="57539">
                  <c:v>19.974703364303874</c:v>
                </c:pt>
                <c:pt idx="57540">
                  <c:v>42.459339450588601</c:v>
                </c:pt>
                <c:pt idx="57541">
                  <c:v>29.629196445992218</c:v>
                </c:pt>
                <c:pt idx="57542">
                  <c:v>21.471148739981057</c:v>
                </c:pt>
                <c:pt idx="57543">
                  <c:v>48.548206612153066</c:v>
                </c:pt>
                <c:pt idx="57544">
                  <c:v>15.52923144355842</c:v>
                </c:pt>
                <c:pt idx="57545">
                  <c:v>33.316654360753446</c:v>
                </c:pt>
                <c:pt idx="57546">
                  <c:v>40.679683752894007</c:v>
                </c:pt>
                <c:pt idx="57547">
                  <c:v>26.810096768896774</c:v>
                </c:pt>
                <c:pt idx="57548">
                  <c:v>23.202451155582459</c:v>
                </c:pt>
                <c:pt idx="57549">
                  <c:v>53.510606794637795</c:v>
                </c:pt>
                <c:pt idx="57550">
                  <c:v>33.149570287975578</c:v>
                </c:pt>
                <c:pt idx="57551">
                  <c:v>53.662453648335898</c:v>
                </c:pt>
                <c:pt idx="57552">
                  <c:v>27.987713795898575</c:v>
                </c:pt>
                <c:pt idx="57553">
                  <c:v>29.023696505055284</c:v>
                </c:pt>
                <c:pt idx="57554">
                  <c:v>53.765805100289356</c:v>
                </c:pt>
                <c:pt idx="57555">
                  <c:v>38.634309121120289</c:v>
                </c:pt>
                <c:pt idx="57556">
                  <c:v>49.904142214383249</c:v>
                </c:pt>
                <c:pt idx="57557">
                  <c:v>29.409361038446328</c:v>
                </c:pt>
                <c:pt idx="57558">
                  <c:v>29.391984795244248</c:v>
                </c:pt>
                <c:pt idx="57559">
                  <c:v>22.951690282916672</c:v>
                </c:pt>
                <c:pt idx="57560">
                  <c:v>34.807870624600767</c:v>
                </c:pt>
                <c:pt idx="57561">
                  <c:v>43.619753747852855</c:v>
                </c:pt>
                <c:pt idx="57562">
                  <c:v>56.104506983224667</c:v>
                </c:pt>
                <c:pt idx="57563">
                  <c:v>18.692155990214701</c:v>
                </c:pt>
                <c:pt idx="57564">
                  <c:v>28.317152916118673</c:v>
                </c:pt>
                <c:pt idx="57565">
                  <c:v>41.803628664164179</c:v>
                </c:pt>
                <c:pt idx="57566">
                  <c:v>22.522419315106571</c:v>
                </c:pt>
                <c:pt idx="57567">
                  <c:v>39.231930499794082</c:v>
                </c:pt>
                <c:pt idx="57568">
                  <c:v>25.323226006287115</c:v>
                </c:pt>
                <c:pt idx="57569">
                  <c:v>17.684118629303995</c:v>
                </c:pt>
                <c:pt idx="57570">
                  <c:v>27.325983424841198</c:v>
                </c:pt>
                <c:pt idx="57571">
                  <c:v>46.026406983702053</c:v>
                </c:pt>
                <c:pt idx="57572">
                  <c:v>23.833900350668291</c:v>
                </c:pt>
                <c:pt idx="57573">
                  <c:v>31.018673188557454</c:v>
                </c:pt>
                <c:pt idx="57574">
                  <c:v>43.313667550497144</c:v>
                </c:pt>
                <c:pt idx="57575">
                  <c:v>18.436243922873203</c:v>
                </c:pt>
                <c:pt idx="57576">
                  <c:v>26.192083431606875</c:v>
                </c:pt>
                <c:pt idx="57577">
                  <c:v>20.332261841398708</c:v>
                </c:pt>
                <c:pt idx="57578">
                  <c:v>30.293624575824502</c:v>
                </c:pt>
                <c:pt idx="57579">
                  <c:v>19.417923662720234</c:v>
                </c:pt>
                <c:pt idx="57580">
                  <c:v>27.252350092759492</c:v>
                </c:pt>
                <c:pt idx="57581">
                  <c:v>25.197795456081366</c:v>
                </c:pt>
                <c:pt idx="57582">
                  <c:v>24.84600718228225</c:v>
                </c:pt>
                <c:pt idx="57583">
                  <c:v>54.348565769082924</c:v>
                </c:pt>
                <c:pt idx="57584">
                  <c:v>32.538450663209588</c:v>
                </c:pt>
                <c:pt idx="57585">
                  <c:v>54.56913565177905</c:v>
                </c:pt>
                <c:pt idx="57586">
                  <c:v>31.589844107073954</c:v>
                </c:pt>
                <c:pt idx="57587">
                  <c:v>36.592184752211956</c:v>
                </c:pt>
                <c:pt idx="57588">
                  <c:v>30.660717460009096</c:v>
                </c:pt>
                <c:pt idx="57589">
                  <c:v>36.725778029517834</c:v>
                </c:pt>
                <c:pt idx="57590">
                  <c:v>42.013979978862785</c:v>
                </c:pt>
                <c:pt idx="57591">
                  <c:v>55.925153766707126</c:v>
                </c:pt>
                <c:pt idx="57592">
                  <c:v>26.156222999087994</c:v>
                </c:pt>
                <c:pt idx="57593">
                  <c:v>24.828418744594767</c:v>
                </c:pt>
                <c:pt idx="57594">
                  <c:v>22.900391632188363</c:v>
                </c:pt>
                <c:pt idx="57595">
                  <c:v>21.710600143406488</c:v>
                </c:pt>
                <c:pt idx="57596">
                  <c:v>21.656044674996593</c:v>
                </c:pt>
                <c:pt idx="57597">
                  <c:v>26.370453710673562</c:v>
                </c:pt>
                <c:pt idx="57598">
                  <c:v>25.521796536789058</c:v>
                </c:pt>
                <c:pt idx="57599">
                  <c:v>20.297585043181062</c:v>
                </c:pt>
                <c:pt idx="57600">
                  <c:v>25.91285817329646</c:v>
                </c:pt>
                <c:pt idx="57601">
                  <c:v>33.682467741674785</c:v>
                </c:pt>
                <c:pt idx="57602">
                  <c:v>50.528992603283506</c:v>
                </c:pt>
                <c:pt idx="57603">
                  <c:v>50.05571292504122</c:v>
                </c:pt>
                <c:pt idx="57604">
                  <c:v>25.96126896144207</c:v>
                </c:pt>
                <c:pt idx="57605">
                  <c:v>34.516706865671559</c:v>
                </c:pt>
                <c:pt idx="57606">
                  <c:v>27.87969825277413</c:v>
                </c:pt>
                <c:pt idx="57607">
                  <c:v>26.024868928215579</c:v>
                </c:pt>
                <c:pt idx="57608">
                  <c:v>20.80296746485665</c:v>
                </c:pt>
                <c:pt idx="57609">
                  <c:v>30.962611055321624</c:v>
                </c:pt>
                <c:pt idx="57610">
                  <c:v>27.270962430738123</c:v>
                </c:pt>
                <c:pt idx="57611">
                  <c:v>22.17084052433491</c:v>
                </c:pt>
                <c:pt idx="57612">
                  <c:v>31.496825325530452</c:v>
                </c:pt>
                <c:pt idx="57613">
                  <c:v>25.957503112504568</c:v>
                </c:pt>
                <c:pt idx="57614">
                  <c:v>26.295242419453391</c:v>
                </c:pt>
                <c:pt idx="57615">
                  <c:v>41.750172210392051</c:v>
                </c:pt>
                <c:pt idx="57616">
                  <c:v>35.522866113882799</c:v>
                </c:pt>
                <c:pt idx="57617">
                  <c:v>26.990004323568471</c:v>
                </c:pt>
                <c:pt idx="57618">
                  <c:v>17.650926026415259</c:v>
                </c:pt>
                <c:pt idx="57619">
                  <c:v>24.621714242382634</c:v>
                </c:pt>
                <c:pt idx="57620">
                  <c:v>22.199858613501164</c:v>
                </c:pt>
                <c:pt idx="57621">
                  <c:v>45.858152652292603</c:v>
                </c:pt>
                <c:pt idx="57622">
                  <c:v>23.262609250940503</c:v>
                </c:pt>
                <c:pt idx="57623">
                  <c:v>35.82382734494837</c:v>
                </c:pt>
                <c:pt idx="57624">
                  <c:v>19.826486873063594</c:v>
                </c:pt>
                <c:pt idx="57625">
                  <c:v>23.802150716060471</c:v>
                </c:pt>
                <c:pt idx="57626">
                  <c:v>25.034207008438898</c:v>
                </c:pt>
                <c:pt idx="57627">
                  <c:v>24.572678528921216</c:v>
                </c:pt>
                <c:pt idx="57628">
                  <c:v>55.507600231012908</c:v>
                </c:pt>
                <c:pt idx="57629">
                  <c:v>30.348327787654686</c:v>
                </c:pt>
                <c:pt idx="57630">
                  <c:v>25.721700074681848</c:v>
                </c:pt>
                <c:pt idx="57631">
                  <c:v>47.322638529365626</c:v>
                </c:pt>
                <c:pt idx="57632">
                  <c:v>29.483473550333223</c:v>
                </c:pt>
                <c:pt idx="57633">
                  <c:v>17.866717919156763</c:v>
                </c:pt>
                <c:pt idx="57634">
                  <c:v>31.229871551448397</c:v>
                </c:pt>
                <c:pt idx="57635">
                  <c:v>27.189486735656224</c:v>
                </c:pt>
                <c:pt idx="57636">
                  <c:v>25.820360535312176</c:v>
                </c:pt>
                <c:pt idx="57637">
                  <c:v>26.075849481478773</c:v>
                </c:pt>
                <c:pt idx="57638">
                  <c:v>23.945950263086864</c:v>
                </c:pt>
                <c:pt idx="57639">
                  <c:v>25.619939979429592</c:v>
                </c:pt>
                <c:pt idx="57640">
                  <c:v>24.952562370331634</c:v>
                </c:pt>
                <c:pt idx="57641">
                  <c:v>34.193086057239277</c:v>
                </c:pt>
                <c:pt idx="57642">
                  <c:v>21.579512427918367</c:v>
                </c:pt>
                <c:pt idx="57643">
                  <c:v>21.871886359460973</c:v>
                </c:pt>
                <c:pt idx="57644">
                  <c:v>47.968929120339205</c:v>
                </c:pt>
                <c:pt idx="57645">
                  <c:v>29.521561940702259</c:v>
                </c:pt>
                <c:pt idx="57646">
                  <c:v>46.701387050470089</c:v>
                </c:pt>
                <c:pt idx="57647">
                  <c:v>28.067836544554023</c:v>
                </c:pt>
                <c:pt idx="57648">
                  <c:v>29.683272676511336</c:v>
                </c:pt>
                <c:pt idx="57649">
                  <c:v>28.794233948784342</c:v>
                </c:pt>
                <c:pt idx="57650">
                  <c:v>31.489138495322425</c:v>
                </c:pt>
                <c:pt idx="57651">
                  <c:v>43.886620039140041</c:v>
                </c:pt>
                <c:pt idx="57652">
                  <c:v>24.35492354533482</c:v>
                </c:pt>
                <c:pt idx="57653">
                  <c:v>40.736908002101785</c:v>
                </c:pt>
                <c:pt idx="57654">
                  <c:v>33.217334870677803</c:v>
                </c:pt>
                <c:pt idx="57655">
                  <c:v>24.468708207994354</c:v>
                </c:pt>
                <c:pt idx="57656">
                  <c:v>43.701223957220144</c:v>
                </c:pt>
                <c:pt idx="57657">
                  <c:v>30.337526281957771</c:v>
                </c:pt>
                <c:pt idx="57658">
                  <c:v>29.053590801774952</c:v>
                </c:pt>
                <c:pt idx="57659">
                  <c:v>27.438106508519006</c:v>
                </c:pt>
                <c:pt idx="57660">
                  <c:v>38.058022226841622</c:v>
                </c:pt>
                <c:pt idx="57661">
                  <c:v>27.679360368226515</c:v>
                </c:pt>
                <c:pt idx="57662">
                  <c:v>24.875921710015799</c:v>
                </c:pt>
                <c:pt idx="57663">
                  <c:v>46.924425886730297</c:v>
                </c:pt>
                <c:pt idx="57664">
                  <c:v>24.658544660036458</c:v>
                </c:pt>
                <c:pt idx="57665">
                  <c:v>25.870120709862299</c:v>
                </c:pt>
                <c:pt idx="57666">
                  <c:v>52.63005408830135</c:v>
                </c:pt>
                <c:pt idx="57667">
                  <c:v>45.346188582172516</c:v>
                </c:pt>
                <c:pt idx="57668">
                  <c:v>31.307659533753167</c:v>
                </c:pt>
                <c:pt idx="57669">
                  <c:v>47.150975548092774</c:v>
                </c:pt>
                <c:pt idx="57670">
                  <c:v>33.501253786547323</c:v>
                </c:pt>
                <c:pt idx="57671">
                  <c:v>34.881559368183602</c:v>
                </c:pt>
                <c:pt idx="57672">
                  <c:v>30.704960990791548</c:v>
                </c:pt>
                <c:pt idx="57673">
                  <c:v>40.445972019600845</c:v>
                </c:pt>
                <c:pt idx="57674">
                  <c:v>32.32539198865679</c:v>
                </c:pt>
                <c:pt idx="57675">
                  <c:v>33.062567718936911</c:v>
                </c:pt>
                <c:pt idx="57676">
                  <c:v>27.514645702213826</c:v>
                </c:pt>
                <c:pt idx="57677">
                  <c:v>29.028820549956237</c:v>
                </c:pt>
                <c:pt idx="57678">
                  <c:v>63.335438986384595</c:v>
                </c:pt>
                <c:pt idx="57679">
                  <c:v>45.889447521706785</c:v>
                </c:pt>
                <c:pt idx="57680">
                  <c:v>29.314130318036145</c:v>
                </c:pt>
                <c:pt idx="57681">
                  <c:v>17.610570360909488</c:v>
                </c:pt>
                <c:pt idx="57682">
                  <c:v>21.744711559062228</c:v>
                </c:pt>
                <c:pt idx="57683">
                  <c:v>22.010559082317489</c:v>
                </c:pt>
                <c:pt idx="57684">
                  <c:v>27.05277078894833</c:v>
                </c:pt>
                <c:pt idx="57685">
                  <c:v>24.600062043801337</c:v>
                </c:pt>
                <c:pt idx="57686">
                  <c:v>25.796281432712362</c:v>
                </c:pt>
                <c:pt idx="57687">
                  <c:v>31.74750713949496</c:v>
                </c:pt>
                <c:pt idx="57688">
                  <c:v>40.6186870667295</c:v>
                </c:pt>
                <c:pt idx="57689">
                  <c:v>53.055718489520054</c:v>
                </c:pt>
                <c:pt idx="57690">
                  <c:v>31.317674551040675</c:v>
                </c:pt>
                <c:pt idx="57691">
                  <c:v>20.513431054133434</c:v>
                </c:pt>
                <c:pt idx="57692">
                  <c:v>45.362705657579731</c:v>
                </c:pt>
                <c:pt idx="57693">
                  <c:v>27.057203488205282</c:v>
                </c:pt>
                <c:pt idx="57694">
                  <c:v>27.604766983175026</c:v>
                </c:pt>
                <c:pt idx="57695">
                  <c:v>47.483141348202203</c:v>
                </c:pt>
                <c:pt idx="57696">
                  <c:v>27.986988153537506</c:v>
                </c:pt>
                <c:pt idx="57697">
                  <c:v>54.456579651913913</c:v>
                </c:pt>
                <c:pt idx="57698">
                  <c:v>26.455946739978089</c:v>
                </c:pt>
                <c:pt idx="57699">
                  <c:v>27.059392473555612</c:v>
                </c:pt>
                <c:pt idx="57700">
                  <c:v>20.838367188639964</c:v>
                </c:pt>
                <c:pt idx="57701">
                  <c:v>42.276181299691075</c:v>
                </c:pt>
                <c:pt idx="57702">
                  <c:v>31.302802108833284</c:v>
                </c:pt>
                <c:pt idx="57703">
                  <c:v>30.269764606635096</c:v>
                </c:pt>
                <c:pt idx="57704">
                  <c:v>43.234280178592243</c:v>
                </c:pt>
                <c:pt idx="57705">
                  <c:v>24.808191488511632</c:v>
                </c:pt>
                <c:pt idx="57706">
                  <c:v>28.917268742681365</c:v>
                </c:pt>
                <c:pt idx="57707">
                  <c:v>17.113075574498435</c:v>
                </c:pt>
                <c:pt idx="57708">
                  <c:v>24.58941290775013</c:v>
                </c:pt>
                <c:pt idx="57709">
                  <c:v>49.173034903804378</c:v>
                </c:pt>
                <c:pt idx="57710">
                  <c:v>31.425390564805326</c:v>
                </c:pt>
                <c:pt idx="57711">
                  <c:v>25.970697599515656</c:v>
                </c:pt>
                <c:pt idx="57712">
                  <c:v>24.008340347354917</c:v>
                </c:pt>
                <c:pt idx="57713">
                  <c:v>30.678600916892435</c:v>
                </c:pt>
                <c:pt idx="57714">
                  <c:v>29.053314503382317</c:v>
                </c:pt>
                <c:pt idx="57715">
                  <c:v>28.030981985095963</c:v>
                </c:pt>
                <c:pt idx="57716">
                  <c:v>27.870973444166811</c:v>
                </c:pt>
                <c:pt idx="57717">
                  <c:v>27.659701059085414</c:v>
                </c:pt>
                <c:pt idx="57718">
                  <c:v>27.895138597303045</c:v>
                </c:pt>
                <c:pt idx="57719">
                  <c:v>30.241786316156251</c:v>
                </c:pt>
                <c:pt idx="57720">
                  <c:v>25.693190677484097</c:v>
                </c:pt>
                <c:pt idx="57721">
                  <c:v>21.367108063087819</c:v>
                </c:pt>
                <c:pt idx="57722">
                  <c:v>40.844056406388866</c:v>
                </c:pt>
                <c:pt idx="57723">
                  <c:v>33.083445971910805</c:v>
                </c:pt>
                <c:pt idx="57724">
                  <c:v>58.860247714402838</c:v>
                </c:pt>
                <c:pt idx="57725">
                  <c:v>30.969834575538513</c:v>
                </c:pt>
                <c:pt idx="57726">
                  <c:v>24.64578794809195</c:v>
                </c:pt>
                <c:pt idx="57727">
                  <c:v>25.875511114949873</c:v>
                </c:pt>
                <c:pt idx="57728">
                  <c:v>48.333267266813685</c:v>
                </c:pt>
                <c:pt idx="57729">
                  <c:v>30.555434107122792</c:v>
                </c:pt>
                <c:pt idx="57730">
                  <c:v>26.041918964948483</c:v>
                </c:pt>
                <c:pt idx="57731">
                  <c:v>53.167610934518223</c:v>
                </c:pt>
                <c:pt idx="57732">
                  <c:v>24.43890899111889</c:v>
                </c:pt>
                <c:pt idx="57733">
                  <c:v>22.234849052738383</c:v>
                </c:pt>
                <c:pt idx="57734">
                  <c:v>25.970170248529318</c:v>
                </c:pt>
                <c:pt idx="57735">
                  <c:v>32.774715180831848</c:v>
                </c:pt>
                <c:pt idx="57736">
                  <c:v>40.963021993924208</c:v>
                </c:pt>
                <c:pt idx="57737">
                  <c:v>29.103819956967623</c:v>
                </c:pt>
                <c:pt idx="57738">
                  <c:v>25.408512235915953</c:v>
                </c:pt>
                <c:pt idx="57739">
                  <c:v>26.314866721572496</c:v>
                </c:pt>
                <c:pt idx="57740">
                  <c:v>33.34526093373595</c:v>
                </c:pt>
                <c:pt idx="57741">
                  <c:v>38.732468043294745</c:v>
                </c:pt>
                <c:pt idx="57742">
                  <c:v>43.687831822415887</c:v>
                </c:pt>
                <c:pt idx="57743">
                  <c:v>50.518183660777233</c:v>
                </c:pt>
                <c:pt idx="57744">
                  <c:v>26.606894848276927</c:v>
                </c:pt>
                <c:pt idx="57745">
                  <c:v>24.750599942028302</c:v>
                </c:pt>
                <c:pt idx="57746">
                  <c:v>28.787360217375401</c:v>
                </c:pt>
                <c:pt idx="57747">
                  <c:v>21.322156517424254</c:v>
                </c:pt>
                <c:pt idx="57748">
                  <c:v>32.983626247122501</c:v>
                </c:pt>
                <c:pt idx="57749">
                  <c:v>23.651987542123898</c:v>
                </c:pt>
                <c:pt idx="57750">
                  <c:v>48.732390590936753</c:v>
                </c:pt>
                <c:pt idx="57751">
                  <c:v>39.323546397761632</c:v>
                </c:pt>
                <c:pt idx="57752">
                  <c:v>14.287923494834432</c:v>
                </c:pt>
                <c:pt idx="57753">
                  <c:v>32.680340627298328</c:v>
                </c:pt>
                <c:pt idx="57754">
                  <c:v>31.768563800570853</c:v>
                </c:pt>
                <c:pt idx="57755">
                  <c:v>15.977969805189417</c:v>
                </c:pt>
                <c:pt idx="57756">
                  <c:v>28.449784733144202</c:v>
                </c:pt>
                <c:pt idx="57757">
                  <c:v>42.562997177358724</c:v>
                </c:pt>
                <c:pt idx="57758">
                  <c:v>55.224237002689492</c:v>
                </c:pt>
                <c:pt idx="57759">
                  <c:v>32.538682639284055</c:v>
                </c:pt>
                <c:pt idx="57760">
                  <c:v>21.909329087599378</c:v>
                </c:pt>
                <c:pt idx="57761">
                  <c:v>22.533736615541102</c:v>
                </c:pt>
                <c:pt idx="57762">
                  <c:v>33.187286652118054</c:v>
                </c:pt>
                <c:pt idx="57763">
                  <c:v>27.72975932353712</c:v>
                </c:pt>
                <c:pt idx="57764">
                  <c:v>23.302016987274119</c:v>
                </c:pt>
                <c:pt idx="57765">
                  <c:v>19.638501594389997</c:v>
                </c:pt>
                <c:pt idx="57766">
                  <c:v>21.696385516716759</c:v>
                </c:pt>
                <c:pt idx="57767">
                  <c:v>48.743702367972233</c:v>
                </c:pt>
                <c:pt idx="57768">
                  <c:v>53.356888390912381</c:v>
                </c:pt>
                <c:pt idx="57769">
                  <c:v>19.473681144534162</c:v>
                </c:pt>
                <c:pt idx="57770">
                  <c:v>26.688688105234284</c:v>
                </c:pt>
                <c:pt idx="57771">
                  <c:v>21.007994561283454</c:v>
                </c:pt>
                <c:pt idx="57772">
                  <c:v>38.403216572749017</c:v>
                </c:pt>
                <c:pt idx="57773">
                  <c:v>25.8229126206509</c:v>
                </c:pt>
                <c:pt idx="57774">
                  <c:v>26.121709698877961</c:v>
                </c:pt>
                <c:pt idx="57775">
                  <c:v>35.73637435182777</c:v>
                </c:pt>
                <c:pt idx="57776">
                  <c:v>38.40788166401726</c:v>
                </c:pt>
                <c:pt idx="57777">
                  <c:v>47.382843360444447</c:v>
                </c:pt>
                <c:pt idx="57778">
                  <c:v>31.476491537129064</c:v>
                </c:pt>
                <c:pt idx="57779">
                  <c:v>31.091782380499982</c:v>
                </c:pt>
                <c:pt idx="57780">
                  <c:v>26.139070072202667</c:v>
                </c:pt>
                <c:pt idx="57781">
                  <c:v>26.444746381519685</c:v>
                </c:pt>
                <c:pt idx="57782">
                  <c:v>41.489622584842522</c:v>
                </c:pt>
                <c:pt idx="57783">
                  <c:v>52.092806987973411</c:v>
                </c:pt>
                <c:pt idx="57784">
                  <c:v>23.351634564747236</c:v>
                </c:pt>
                <c:pt idx="57785">
                  <c:v>34.431417569916476</c:v>
                </c:pt>
                <c:pt idx="57786">
                  <c:v>18.466099859595101</c:v>
                </c:pt>
                <c:pt idx="57787">
                  <c:v>29.925754569375428</c:v>
                </c:pt>
                <c:pt idx="57788">
                  <c:v>27.463465722117789</c:v>
                </c:pt>
                <c:pt idx="57789">
                  <c:v>24.741299027298261</c:v>
                </c:pt>
                <c:pt idx="57790">
                  <c:v>33.826177903429468</c:v>
                </c:pt>
                <c:pt idx="57791">
                  <c:v>51.812117429344035</c:v>
                </c:pt>
                <c:pt idx="57792">
                  <c:v>31.227917150058413</c:v>
                </c:pt>
                <c:pt idx="57793">
                  <c:v>33.440712429622558</c:v>
                </c:pt>
                <c:pt idx="57794">
                  <c:v>31.922302915806988</c:v>
                </c:pt>
                <c:pt idx="57795">
                  <c:v>21.75755117120957</c:v>
                </c:pt>
                <c:pt idx="57796">
                  <c:v>49.47007331025371</c:v>
                </c:pt>
                <c:pt idx="57797">
                  <c:v>25.53228463039677</c:v>
                </c:pt>
                <c:pt idx="57798">
                  <c:v>54.798033177367408</c:v>
                </c:pt>
                <c:pt idx="57799">
                  <c:v>27.765608218659736</c:v>
                </c:pt>
                <c:pt idx="57800">
                  <c:v>42.799869783709411</c:v>
                </c:pt>
                <c:pt idx="57801">
                  <c:v>25.599871824975633</c:v>
                </c:pt>
                <c:pt idx="57802">
                  <c:v>48.114194224278094</c:v>
                </c:pt>
                <c:pt idx="57803">
                  <c:v>26.641531816694691</c:v>
                </c:pt>
                <c:pt idx="57804">
                  <c:v>27.761501135566803</c:v>
                </c:pt>
                <c:pt idx="57805">
                  <c:v>30.377538424451433</c:v>
                </c:pt>
                <c:pt idx="57806">
                  <c:v>22.857851289284607</c:v>
                </c:pt>
                <c:pt idx="57807">
                  <c:v>53.007710232903634</c:v>
                </c:pt>
                <c:pt idx="57808">
                  <c:v>23.128126748695081</c:v>
                </c:pt>
                <c:pt idx="57809">
                  <c:v>31.244193373140863</c:v>
                </c:pt>
                <c:pt idx="57810">
                  <c:v>16.120247196835763</c:v>
                </c:pt>
                <c:pt idx="57811">
                  <c:v>26.606125721798293</c:v>
                </c:pt>
                <c:pt idx="57812">
                  <c:v>37.227740048925952</c:v>
                </c:pt>
                <c:pt idx="57813">
                  <c:v>52.146557578319026</c:v>
                </c:pt>
                <c:pt idx="57814">
                  <c:v>23.95431084210648</c:v>
                </c:pt>
                <c:pt idx="57815">
                  <c:v>59.874522354540687</c:v>
                </c:pt>
                <c:pt idx="57816">
                  <c:v>23.126063687104963</c:v>
                </c:pt>
                <c:pt idx="57817">
                  <c:v>23.10572987087863</c:v>
                </c:pt>
                <c:pt idx="57818">
                  <c:v>24.253447345869898</c:v>
                </c:pt>
                <c:pt idx="57819">
                  <c:v>21.451803202521642</c:v>
                </c:pt>
                <c:pt idx="57820">
                  <c:v>46.846685883667348</c:v>
                </c:pt>
                <c:pt idx="57821">
                  <c:v>25.709420405387746</c:v>
                </c:pt>
                <c:pt idx="57822">
                  <c:v>50.06945827247376</c:v>
                </c:pt>
                <c:pt idx="57823">
                  <c:v>24.001270408542226</c:v>
                </c:pt>
                <c:pt idx="57824">
                  <c:v>37.204753138212617</c:v>
                </c:pt>
                <c:pt idx="57825">
                  <c:v>20.615021445053294</c:v>
                </c:pt>
                <c:pt idx="57826">
                  <c:v>53.794450710780566</c:v>
                </c:pt>
                <c:pt idx="57827">
                  <c:v>22.864441401822027</c:v>
                </c:pt>
                <c:pt idx="57828">
                  <c:v>20.366421192863026</c:v>
                </c:pt>
                <c:pt idx="57829">
                  <c:v>34.044314770508251</c:v>
                </c:pt>
                <c:pt idx="57830">
                  <c:v>25.012980917283652</c:v>
                </c:pt>
                <c:pt idx="57831">
                  <c:v>23.172574723421715</c:v>
                </c:pt>
                <c:pt idx="57832">
                  <c:v>71.416722744403543</c:v>
                </c:pt>
                <c:pt idx="57833">
                  <c:v>23.492066687376283</c:v>
                </c:pt>
                <c:pt idx="57834">
                  <c:v>27.490141226788111</c:v>
                </c:pt>
                <c:pt idx="57835">
                  <c:v>24.308187625592637</c:v>
                </c:pt>
                <c:pt idx="57836">
                  <c:v>39.502305121714599</c:v>
                </c:pt>
                <c:pt idx="57837">
                  <c:v>19.315017966867817</c:v>
                </c:pt>
                <c:pt idx="57838">
                  <c:v>18.015429600155102</c:v>
                </c:pt>
                <c:pt idx="57839">
                  <c:v>35.606394436852014</c:v>
                </c:pt>
                <c:pt idx="57840">
                  <c:v>24.079132310123818</c:v>
                </c:pt>
                <c:pt idx="57841">
                  <c:v>24.887732322012386</c:v>
                </c:pt>
                <c:pt idx="57842">
                  <c:v>50.727021884166632</c:v>
                </c:pt>
                <c:pt idx="57843">
                  <c:v>15.897836113982367</c:v>
                </c:pt>
                <c:pt idx="57844">
                  <c:v>28.326668584568417</c:v>
                </c:pt>
                <c:pt idx="57845">
                  <c:v>22.682204381164116</c:v>
                </c:pt>
                <c:pt idx="57846">
                  <c:v>28.827786815813308</c:v>
                </c:pt>
                <c:pt idx="57847">
                  <c:v>25.184568891295335</c:v>
                </c:pt>
                <c:pt idx="57848">
                  <c:v>33.220494300603029</c:v>
                </c:pt>
                <c:pt idx="57849">
                  <c:v>26.310368497284916</c:v>
                </c:pt>
                <c:pt idx="57850">
                  <c:v>23.366058595252703</c:v>
                </c:pt>
                <c:pt idx="57851">
                  <c:v>35.37303457225012</c:v>
                </c:pt>
                <c:pt idx="57852">
                  <c:v>20.347959652277055</c:v>
                </c:pt>
                <c:pt idx="57853">
                  <c:v>23.736981581750211</c:v>
                </c:pt>
                <c:pt idx="57854">
                  <c:v>37.943414247526384</c:v>
                </c:pt>
                <c:pt idx="57855">
                  <c:v>31.737353660652481</c:v>
                </c:pt>
                <c:pt idx="57856">
                  <c:v>25.854638892185676</c:v>
                </c:pt>
                <c:pt idx="57857">
                  <c:v>50.749490707778016</c:v>
                </c:pt>
                <c:pt idx="57858">
                  <c:v>29.450325755711546</c:v>
                </c:pt>
                <c:pt idx="57859">
                  <c:v>28.472408558572987</c:v>
                </c:pt>
                <c:pt idx="57860">
                  <c:v>23.409055560883452</c:v>
                </c:pt>
                <c:pt idx="57861">
                  <c:v>23.725193414481048</c:v>
                </c:pt>
                <c:pt idx="57862">
                  <c:v>27.89337400045282</c:v>
                </c:pt>
                <c:pt idx="57863">
                  <c:v>38.306911938077384</c:v>
                </c:pt>
                <c:pt idx="57864">
                  <c:v>36.908935834185627</c:v>
                </c:pt>
                <c:pt idx="57865">
                  <c:v>24.119952041898934</c:v>
                </c:pt>
                <c:pt idx="57866">
                  <c:v>21.785553971694114</c:v>
                </c:pt>
                <c:pt idx="57867">
                  <c:v>23.349080159387178</c:v>
                </c:pt>
                <c:pt idx="57868">
                  <c:v>31.550152535409399</c:v>
                </c:pt>
                <c:pt idx="57869">
                  <c:v>47.979522202212301</c:v>
                </c:pt>
                <c:pt idx="57870">
                  <c:v>27.852002080571811</c:v>
                </c:pt>
                <c:pt idx="57871">
                  <c:v>22.039809531694193</c:v>
                </c:pt>
                <c:pt idx="57872">
                  <c:v>30.772454971824661</c:v>
                </c:pt>
                <c:pt idx="57873">
                  <c:v>37.50298917645349</c:v>
                </c:pt>
                <c:pt idx="57874">
                  <c:v>32.92489782995019</c:v>
                </c:pt>
                <c:pt idx="57875">
                  <c:v>56.065400683429317</c:v>
                </c:pt>
                <c:pt idx="57876">
                  <c:v>22.960397717834518</c:v>
                </c:pt>
                <c:pt idx="57877">
                  <c:v>25.06988516896855</c:v>
                </c:pt>
                <c:pt idx="57878">
                  <c:v>21.863715777626332</c:v>
                </c:pt>
                <c:pt idx="57879">
                  <c:v>32.556216221249073</c:v>
                </c:pt>
                <c:pt idx="57880">
                  <c:v>27.190938121718112</c:v>
                </c:pt>
                <c:pt idx="57881">
                  <c:v>29.157565314588339</c:v>
                </c:pt>
                <c:pt idx="57882">
                  <c:v>28.757943443656995</c:v>
                </c:pt>
                <c:pt idx="57883">
                  <c:v>28.676734805819102</c:v>
                </c:pt>
                <c:pt idx="57884">
                  <c:v>17.429066463083608</c:v>
                </c:pt>
                <c:pt idx="57885">
                  <c:v>24.924014535362467</c:v>
                </c:pt>
                <c:pt idx="57886">
                  <c:v>27.37866804962972</c:v>
                </c:pt>
                <c:pt idx="57887">
                  <c:v>22.951688616358176</c:v>
                </c:pt>
                <c:pt idx="57888">
                  <c:v>37.277718824431474</c:v>
                </c:pt>
                <c:pt idx="57889">
                  <c:v>19.597120719026869</c:v>
                </c:pt>
                <c:pt idx="57890">
                  <c:v>25.832017324434432</c:v>
                </c:pt>
                <c:pt idx="57891">
                  <c:v>23.255742385504121</c:v>
                </c:pt>
                <c:pt idx="57892">
                  <c:v>20.70182836182007</c:v>
                </c:pt>
                <c:pt idx="57893">
                  <c:v>22.323332282236354</c:v>
                </c:pt>
                <c:pt idx="57894">
                  <c:v>23.050252687210751</c:v>
                </c:pt>
                <c:pt idx="57895">
                  <c:v>45.405610457026654</c:v>
                </c:pt>
                <c:pt idx="57896">
                  <c:v>30.886060316307862</c:v>
                </c:pt>
                <c:pt idx="57897">
                  <c:v>41.523878959350725</c:v>
                </c:pt>
                <c:pt idx="57898">
                  <c:v>26.520714977598022</c:v>
                </c:pt>
                <c:pt idx="57899">
                  <c:v>32.68692328005816</c:v>
                </c:pt>
                <c:pt idx="57900">
                  <c:v>24.607472738898402</c:v>
                </c:pt>
                <c:pt idx="57901">
                  <c:v>23.761508037013584</c:v>
                </c:pt>
                <c:pt idx="57902">
                  <c:v>23.25600387046957</c:v>
                </c:pt>
                <c:pt idx="57903">
                  <c:v>35.098799295281843</c:v>
                </c:pt>
                <c:pt idx="57904">
                  <c:v>20.886132302311303</c:v>
                </c:pt>
                <c:pt idx="57905">
                  <c:v>41.586094084429746</c:v>
                </c:pt>
                <c:pt idx="57906">
                  <c:v>32.747604737206181</c:v>
                </c:pt>
                <c:pt idx="57907">
                  <c:v>26.057845168735732</c:v>
                </c:pt>
                <c:pt idx="57908">
                  <c:v>22.098303740909984</c:v>
                </c:pt>
                <c:pt idx="57909">
                  <c:v>38.920187892993312</c:v>
                </c:pt>
                <c:pt idx="57910">
                  <c:v>38.580217144099414</c:v>
                </c:pt>
                <c:pt idx="57911">
                  <c:v>18.01175961583472</c:v>
                </c:pt>
                <c:pt idx="57912">
                  <c:v>38.352671841797594</c:v>
                </c:pt>
                <c:pt idx="57913">
                  <c:v>27.623822030036546</c:v>
                </c:pt>
                <c:pt idx="57914">
                  <c:v>25.951794963791983</c:v>
                </c:pt>
                <c:pt idx="57915">
                  <c:v>26.602877577381747</c:v>
                </c:pt>
                <c:pt idx="57916">
                  <c:v>27.094518104431074</c:v>
                </c:pt>
                <c:pt idx="57917">
                  <c:v>26.565774602430597</c:v>
                </c:pt>
                <c:pt idx="57918">
                  <c:v>53.920903221214949</c:v>
                </c:pt>
                <c:pt idx="57919">
                  <c:v>27.936110576635532</c:v>
                </c:pt>
                <c:pt idx="57920">
                  <c:v>35.327706436841801</c:v>
                </c:pt>
                <c:pt idx="57921">
                  <c:v>26.113319137540124</c:v>
                </c:pt>
                <c:pt idx="57922">
                  <c:v>29.381385431438524</c:v>
                </c:pt>
                <c:pt idx="57923">
                  <c:v>47.124649024505068</c:v>
                </c:pt>
                <c:pt idx="57924">
                  <c:v>28.146087252931018</c:v>
                </c:pt>
                <c:pt idx="57925">
                  <c:v>26.12084197721256</c:v>
                </c:pt>
                <c:pt idx="57926">
                  <c:v>22.454944931827203</c:v>
                </c:pt>
                <c:pt idx="57927">
                  <c:v>29.291846527502372</c:v>
                </c:pt>
                <c:pt idx="57928">
                  <c:v>19.576683837789886</c:v>
                </c:pt>
                <c:pt idx="57929">
                  <c:v>25.162857144411639</c:v>
                </c:pt>
                <c:pt idx="57930">
                  <c:v>17.866480927248233</c:v>
                </c:pt>
                <c:pt idx="57931">
                  <c:v>34.499804469873659</c:v>
                </c:pt>
                <c:pt idx="57932">
                  <c:v>25.235875916482765</c:v>
                </c:pt>
                <c:pt idx="57933">
                  <c:v>22.322070463966572</c:v>
                </c:pt>
                <c:pt idx="57934">
                  <c:v>29.865581112751283</c:v>
                </c:pt>
                <c:pt idx="57935">
                  <c:v>40.345423245156411</c:v>
                </c:pt>
                <c:pt idx="57936">
                  <c:v>42.591119695637119</c:v>
                </c:pt>
                <c:pt idx="57937">
                  <c:v>28.855722116720777</c:v>
                </c:pt>
                <c:pt idx="57938">
                  <c:v>35.519613819053632</c:v>
                </c:pt>
                <c:pt idx="57939">
                  <c:v>28.141726067528246</c:v>
                </c:pt>
                <c:pt idx="57940">
                  <c:v>21.390718546012323</c:v>
                </c:pt>
                <c:pt idx="57941">
                  <c:v>27.328573164796357</c:v>
                </c:pt>
                <c:pt idx="57942">
                  <c:v>22.212344490577657</c:v>
                </c:pt>
                <c:pt idx="57943">
                  <c:v>29.138310456383433</c:v>
                </c:pt>
                <c:pt idx="57944">
                  <c:v>28.838000503440867</c:v>
                </c:pt>
                <c:pt idx="57945">
                  <c:v>45.17392090328044</c:v>
                </c:pt>
                <c:pt idx="57946">
                  <c:v>31.702430059954644</c:v>
                </c:pt>
                <c:pt idx="57947">
                  <c:v>33.17551081700649</c:v>
                </c:pt>
                <c:pt idx="57948">
                  <c:v>15.329620927415103</c:v>
                </c:pt>
                <c:pt idx="57949">
                  <c:v>26.686232935489368</c:v>
                </c:pt>
                <c:pt idx="57950">
                  <c:v>47.860582041843337</c:v>
                </c:pt>
                <c:pt idx="57951">
                  <c:v>24.676688596025613</c:v>
                </c:pt>
                <c:pt idx="57952">
                  <c:v>57.48225564433934</c:v>
                </c:pt>
                <c:pt idx="57953">
                  <c:v>33.300490589971702</c:v>
                </c:pt>
                <c:pt idx="57954">
                  <c:v>35.87450929176692</c:v>
                </c:pt>
                <c:pt idx="57955">
                  <c:v>26.817027391062062</c:v>
                </c:pt>
                <c:pt idx="57956">
                  <c:v>36.137475162951937</c:v>
                </c:pt>
                <c:pt idx="57957">
                  <c:v>44.065467387210262</c:v>
                </c:pt>
                <c:pt idx="57958">
                  <c:v>26.937509449028685</c:v>
                </c:pt>
                <c:pt idx="57959">
                  <c:v>38.847119783752511</c:v>
                </c:pt>
                <c:pt idx="57960">
                  <c:v>28.293894363372473</c:v>
                </c:pt>
                <c:pt idx="57961">
                  <c:v>24.51500968948395</c:v>
                </c:pt>
                <c:pt idx="57962">
                  <c:v>39.588162437467417</c:v>
                </c:pt>
                <c:pt idx="57963">
                  <c:v>27.30417658815729</c:v>
                </c:pt>
                <c:pt idx="57964">
                  <c:v>21.80390933030052</c:v>
                </c:pt>
                <c:pt idx="57965">
                  <c:v>34.836000779881999</c:v>
                </c:pt>
                <c:pt idx="57966">
                  <c:v>41.773652602308786</c:v>
                </c:pt>
                <c:pt idx="57967">
                  <c:v>22.646763273854038</c:v>
                </c:pt>
                <c:pt idx="57968">
                  <c:v>41.436620218373626</c:v>
                </c:pt>
                <c:pt idx="57969">
                  <c:v>22.54334032146938</c:v>
                </c:pt>
                <c:pt idx="57970">
                  <c:v>26.343221003595541</c:v>
                </c:pt>
                <c:pt idx="57971">
                  <c:v>24.037561897326871</c:v>
                </c:pt>
                <c:pt idx="57972">
                  <c:v>20.460582217598937</c:v>
                </c:pt>
                <c:pt idx="57973">
                  <c:v>27.384324862713108</c:v>
                </c:pt>
                <c:pt idx="57974">
                  <c:v>37.65157274821329</c:v>
                </c:pt>
                <c:pt idx="57975">
                  <c:v>22.408402441137959</c:v>
                </c:pt>
                <c:pt idx="57976">
                  <c:v>36.009890912839161</c:v>
                </c:pt>
                <c:pt idx="57977">
                  <c:v>26.157294446045739</c:v>
                </c:pt>
                <c:pt idx="57978">
                  <c:v>55.002617199917985</c:v>
                </c:pt>
                <c:pt idx="57979">
                  <c:v>41.169574546304062</c:v>
                </c:pt>
                <c:pt idx="57980">
                  <c:v>23.61109935369549</c:v>
                </c:pt>
                <c:pt idx="57981">
                  <c:v>23.053436185838674</c:v>
                </c:pt>
                <c:pt idx="57982">
                  <c:v>23.54977794405908</c:v>
                </c:pt>
                <c:pt idx="57983">
                  <c:v>29.48629069893288</c:v>
                </c:pt>
                <c:pt idx="57984">
                  <c:v>25.287849036707364</c:v>
                </c:pt>
                <c:pt idx="57985">
                  <c:v>15.115764838238075</c:v>
                </c:pt>
                <c:pt idx="57986">
                  <c:v>44.240948730661295</c:v>
                </c:pt>
                <c:pt idx="57987">
                  <c:v>22.298040184057296</c:v>
                </c:pt>
                <c:pt idx="57988">
                  <c:v>25.85889012047236</c:v>
                </c:pt>
                <c:pt idx="57989">
                  <c:v>21.415864660436331</c:v>
                </c:pt>
                <c:pt idx="57990">
                  <c:v>42.137729129110859</c:v>
                </c:pt>
                <c:pt idx="57991">
                  <c:v>26.632772764438911</c:v>
                </c:pt>
                <c:pt idx="57992">
                  <c:v>31.832001143365378</c:v>
                </c:pt>
                <c:pt idx="57993">
                  <c:v>25.727018262644769</c:v>
                </c:pt>
                <c:pt idx="57994">
                  <c:v>22.585693952292786</c:v>
                </c:pt>
                <c:pt idx="57995">
                  <c:v>31.4313245112915</c:v>
                </c:pt>
                <c:pt idx="57996">
                  <c:v>41.669859862554205</c:v>
                </c:pt>
                <c:pt idx="57997">
                  <c:v>27.337196245294823</c:v>
                </c:pt>
                <c:pt idx="57998">
                  <c:v>23.327756191735279</c:v>
                </c:pt>
                <c:pt idx="57999">
                  <c:v>28.171420649819975</c:v>
                </c:pt>
                <c:pt idx="58000">
                  <c:v>26.16172609194048</c:v>
                </c:pt>
                <c:pt idx="58001">
                  <c:v>24.50281539734334</c:v>
                </c:pt>
                <c:pt idx="58002">
                  <c:v>33.250736875699289</c:v>
                </c:pt>
                <c:pt idx="58003">
                  <c:v>21.143733282849212</c:v>
                </c:pt>
                <c:pt idx="58004">
                  <c:v>25.43330797922351</c:v>
                </c:pt>
                <c:pt idx="58005">
                  <c:v>24.409993594077637</c:v>
                </c:pt>
                <c:pt idx="58006">
                  <c:v>23.474049762390781</c:v>
                </c:pt>
                <c:pt idx="58007">
                  <c:v>20.292313815120014</c:v>
                </c:pt>
                <c:pt idx="58008">
                  <c:v>39.958014544566545</c:v>
                </c:pt>
                <c:pt idx="58009">
                  <c:v>51.117280018023756</c:v>
                </c:pt>
                <c:pt idx="58010">
                  <c:v>34.709773939833291</c:v>
                </c:pt>
                <c:pt idx="58011">
                  <c:v>27.376563283801296</c:v>
                </c:pt>
                <c:pt idx="58012">
                  <c:v>15.315509720320144</c:v>
                </c:pt>
                <c:pt idx="58013">
                  <c:v>62.541066760104869</c:v>
                </c:pt>
                <c:pt idx="58014">
                  <c:v>35.199582302281193</c:v>
                </c:pt>
                <c:pt idx="58015">
                  <c:v>36.420625942876448</c:v>
                </c:pt>
                <c:pt idx="58016">
                  <c:v>19.595798701338843</c:v>
                </c:pt>
                <c:pt idx="58017">
                  <c:v>58.052108878366639</c:v>
                </c:pt>
                <c:pt idx="58018">
                  <c:v>34.265111686040555</c:v>
                </c:pt>
                <c:pt idx="58019">
                  <c:v>36.275048835732349</c:v>
                </c:pt>
                <c:pt idx="58020">
                  <c:v>25.005498764056433</c:v>
                </c:pt>
                <c:pt idx="58021">
                  <c:v>20.384633222314939</c:v>
                </c:pt>
                <c:pt idx="58022">
                  <c:v>41.194374299308095</c:v>
                </c:pt>
                <c:pt idx="58023">
                  <c:v>31.07392241669994</c:v>
                </c:pt>
                <c:pt idx="58024">
                  <c:v>22.390190778052393</c:v>
                </c:pt>
                <c:pt idx="58025">
                  <c:v>22.985754128419146</c:v>
                </c:pt>
                <c:pt idx="58026">
                  <c:v>43.356919793096047</c:v>
                </c:pt>
                <c:pt idx="58027">
                  <c:v>21.191381940967769</c:v>
                </c:pt>
                <c:pt idx="58028">
                  <c:v>27.476194626467009</c:v>
                </c:pt>
                <c:pt idx="58029">
                  <c:v>20.697712869734655</c:v>
                </c:pt>
                <c:pt idx="58030">
                  <c:v>35.422804549012326</c:v>
                </c:pt>
                <c:pt idx="58031">
                  <c:v>25.185563357220701</c:v>
                </c:pt>
                <c:pt idx="58032">
                  <c:v>22.513081033309103</c:v>
                </c:pt>
                <c:pt idx="58033">
                  <c:v>46.634332396012027</c:v>
                </c:pt>
                <c:pt idx="58034">
                  <c:v>28.832429970805265</c:v>
                </c:pt>
                <c:pt idx="58035">
                  <c:v>19.59963755031762</c:v>
                </c:pt>
                <c:pt idx="58036">
                  <c:v>29.426175226740675</c:v>
                </c:pt>
                <c:pt idx="58037">
                  <c:v>48.800153362689386</c:v>
                </c:pt>
                <c:pt idx="58038">
                  <c:v>24.834935097401058</c:v>
                </c:pt>
                <c:pt idx="58039">
                  <c:v>20.725264855223365</c:v>
                </c:pt>
                <c:pt idx="58040">
                  <c:v>27.734495954270869</c:v>
                </c:pt>
                <c:pt idx="58041">
                  <c:v>34.828795193712018</c:v>
                </c:pt>
                <c:pt idx="58042">
                  <c:v>43.793047181829607</c:v>
                </c:pt>
                <c:pt idx="58043">
                  <c:v>19.096624966254183</c:v>
                </c:pt>
                <c:pt idx="58044">
                  <c:v>23.715216687127846</c:v>
                </c:pt>
                <c:pt idx="58045">
                  <c:v>24.810849725520892</c:v>
                </c:pt>
                <c:pt idx="58046">
                  <c:v>33.705405930697836</c:v>
                </c:pt>
                <c:pt idx="58047">
                  <c:v>30.222251995104486</c:v>
                </c:pt>
                <c:pt idx="58048">
                  <c:v>38.792648233057974</c:v>
                </c:pt>
                <c:pt idx="58049">
                  <c:v>36.782165326662906</c:v>
                </c:pt>
                <c:pt idx="58050">
                  <c:v>26.414209277011352</c:v>
                </c:pt>
                <c:pt idx="58051">
                  <c:v>27.461890896143789</c:v>
                </c:pt>
                <c:pt idx="58052">
                  <c:v>35.999302312849451</c:v>
                </c:pt>
                <c:pt idx="58053">
                  <c:v>24.854302622593252</c:v>
                </c:pt>
                <c:pt idx="58054">
                  <c:v>27.139981371486257</c:v>
                </c:pt>
                <c:pt idx="58055">
                  <c:v>23.150813950937074</c:v>
                </c:pt>
                <c:pt idx="58056">
                  <c:v>43.809169474047522</c:v>
                </c:pt>
                <c:pt idx="58057">
                  <c:v>49.824365314960779</c:v>
                </c:pt>
                <c:pt idx="58058">
                  <c:v>43.010814946771674</c:v>
                </c:pt>
                <c:pt idx="58059">
                  <c:v>28.321965393912844</c:v>
                </c:pt>
                <c:pt idx="58060">
                  <c:v>35.7248220031667</c:v>
                </c:pt>
                <c:pt idx="58061">
                  <c:v>28.113751400382586</c:v>
                </c:pt>
                <c:pt idx="58062">
                  <c:v>22.491474019937289</c:v>
                </c:pt>
                <c:pt idx="58063">
                  <c:v>37.479885579592484</c:v>
                </c:pt>
                <c:pt idx="58064">
                  <c:v>38.368295080372</c:v>
                </c:pt>
                <c:pt idx="58065">
                  <c:v>31.819726618983836</c:v>
                </c:pt>
                <c:pt idx="58066">
                  <c:v>50.434795402513366</c:v>
                </c:pt>
                <c:pt idx="58067">
                  <c:v>30.799471581000986</c:v>
                </c:pt>
                <c:pt idx="58068">
                  <c:v>32.969819256053015</c:v>
                </c:pt>
                <c:pt idx="58069">
                  <c:v>27.291949216714414</c:v>
                </c:pt>
                <c:pt idx="58070">
                  <c:v>28.935095613260188</c:v>
                </c:pt>
                <c:pt idx="58071">
                  <c:v>46.399580394689728</c:v>
                </c:pt>
                <c:pt idx="58072">
                  <c:v>46.073434523481012</c:v>
                </c:pt>
                <c:pt idx="58073">
                  <c:v>48.092375960684265</c:v>
                </c:pt>
                <c:pt idx="58074">
                  <c:v>49.649752003480017</c:v>
                </c:pt>
                <c:pt idx="58075">
                  <c:v>27.911900681385063</c:v>
                </c:pt>
                <c:pt idx="58076">
                  <c:v>21.045383834112791</c:v>
                </c:pt>
                <c:pt idx="58077">
                  <c:v>24.814494961003188</c:v>
                </c:pt>
                <c:pt idx="58078">
                  <c:v>16.517368063851464</c:v>
                </c:pt>
                <c:pt idx="58079">
                  <c:v>26.221607917982503</c:v>
                </c:pt>
                <c:pt idx="58080">
                  <c:v>41.604731592665743</c:v>
                </c:pt>
                <c:pt idx="58081">
                  <c:v>54.322358811884499</c:v>
                </c:pt>
                <c:pt idx="58082">
                  <c:v>32.933331283828132</c:v>
                </c:pt>
                <c:pt idx="58083">
                  <c:v>24.650353214599651</c:v>
                </c:pt>
                <c:pt idx="58084">
                  <c:v>31.926445117357709</c:v>
                </c:pt>
                <c:pt idx="58085">
                  <c:v>22.882272469103427</c:v>
                </c:pt>
                <c:pt idx="58086">
                  <c:v>40.142123659010821</c:v>
                </c:pt>
                <c:pt idx="58087">
                  <c:v>45.466676471375862</c:v>
                </c:pt>
                <c:pt idx="58088">
                  <c:v>20.180379606488174</c:v>
                </c:pt>
                <c:pt idx="58089">
                  <c:v>40.0894627924731</c:v>
                </c:pt>
                <c:pt idx="58090">
                  <c:v>24.431836951786764</c:v>
                </c:pt>
                <c:pt idx="58091">
                  <c:v>36.301189419151612</c:v>
                </c:pt>
                <c:pt idx="58092">
                  <c:v>18.791196150878164</c:v>
                </c:pt>
                <c:pt idx="58093">
                  <c:v>19.944103420243625</c:v>
                </c:pt>
                <c:pt idx="58094">
                  <c:v>41.333903252738068</c:v>
                </c:pt>
                <c:pt idx="58095">
                  <c:v>48.099643041285368</c:v>
                </c:pt>
                <c:pt idx="58096">
                  <c:v>20.247720064916034</c:v>
                </c:pt>
                <c:pt idx="58097">
                  <c:v>42.372227948719484</c:v>
                </c:pt>
                <c:pt idx="58098">
                  <c:v>47.317236287300339</c:v>
                </c:pt>
                <c:pt idx="58099">
                  <c:v>28.579281405779565</c:v>
                </c:pt>
                <c:pt idx="58100">
                  <c:v>32.438099363470641</c:v>
                </c:pt>
                <c:pt idx="58101">
                  <c:v>39.752528189244607</c:v>
                </c:pt>
                <c:pt idx="58102">
                  <c:v>34.72742391979483</c:v>
                </c:pt>
                <c:pt idx="58103">
                  <c:v>33.936974261008523</c:v>
                </c:pt>
                <c:pt idx="58104">
                  <c:v>28.789870508499568</c:v>
                </c:pt>
                <c:pt idx="58105">
                  <c:v>45.923674631716516</c:v>
                </c:pt>
                <c:pt idx="58106">
                  <c:v>28.882367837555613</c:v>
                </c:pt>
                <c:pt idx="58107">
                  <c:v>27.943151670924703</c:v>
                </c:pt>
                <c:pt idx="58108">
                  <c:v>22.640461342448027</c:v>
                </c:pt>
                <c:pt idx="58109">
                  <c:v>29.132570294516956</c:v>
                </c:pt>
                <c:pt idx="58110">
                  <c:v>38.870121449232066</c:v>
                </c:pt>
                <c:pt idx="58111">
                  <c:v>24.427946691104868</c:v>
                </c:pt>
                <c:pt idx="58112">
                  <c:v>23.076349968443999</c:v>
                </c:pt>
                <c:pt idx="58113">
                  <c:v>24.242118934137068</c:v>
                </c:pt>
                <c:pt idx="58114">
                  <c:v>30.310057518319073</c:v>
                </c:pt>
                <c:pt idx="58115">
                  <c:v>50.5553547436147</c:v>
                </c:pt>
                <c:pt idx="58116">
                  <c:v>25.432042952617373</c:v>
                </c:pt>
                <c:pt idx="58117">
                  <c:v>30.856720027798609</c:v>
                </c:pt>
                <c:pt idx="58118">
                  <c:v>52.281598722815303</c:v>
                </c:pt>
                <c:pt idx="58119">
                  <c:v>33.079945617354177</c:v>
                </c:pt>
                <c:pt idx="58120">
                  <c:v>24.244922222154862</c:v>
                </c:pt>
                <c:pt idx="58121">
                  <c:v>22.079666500577748</c:v>
                </c:pt>
                <c:pt idx="58122">
                  <c:v>21.203287876875891</c:v>
                </c:pt>
                <c:pt idx="58123">
                  <c:v>23.216816301186881</c:v>
                </c:pt>
                <c:pt idx="58124">
                  <c:v>29.78190808528911</c:v>
                </c:pt>
                <c:pt idx="58125">
                  <c:v>35.740299904410321</c:v>
                </c:pt>
                <c:pt idx="58126">
                  <c:v>28.396948428492209</c:v>
                </c:pt>
                <c:pt idx="58127">
                  <c:v>28.835433905474307</c:v>
                </c:pt>
                <c:pt idx="58128">
                  <c:v>22.83342099002142</c:v>
                </c:pt>
                <c:pt idx="58129">
                  <c:v>47.260648877828004</c:v>
                </c:pt>
                <c:pt idx="58130">
                  <c:v>24.415916179623242</c:v>
                </c:pt>
                <c:pt idx="58131">
                  <c:v>31.330543288727952</c:v>
                </c:pt>
                <c:pt idx="58132">
                  <c:v>32.258177486451551</c:v>
                </c:pt>
                <c:pt idx="58133">
                  <c:v>22.911072399137371</c:v>
                </c:pt>
                <c:pt idx="58134">
                  <c:v>21.751171688364963</c:v>
                </c:pt>
                <c:pt idx="58135">
                  <c:v>29.379637752465598</c:v>
                </c:pt>
                <c:pt idx="58136">
                  <c:v>29.681042702436095</c:v>
                </c:pt>
                <c:pt idx="58137">
                  <c:v>16.843658068758081</c:v>
                </c:pt>
                <c:pt idx="58138">
                  <c:v>29.04643267636251</c:v>
                </c:pt>
                <c:pt idx="58139">
                  <c:v>27.691451890230415</c:v>
                </c:pt>
                <c:pt idx="58140">
                  <c:v>22.314118589791409</c:v>
                </c:pt>
                <c:pt idx="58141">
                  <c:v>41.264576848597571</c:v>
                </c:pt>
                <c:pt idx="58142">
                  <c:v>25.361821283188171</c:v>
                </c:pt>
                <c:pt idx="58143">
                  <c:v>31.611328771730804</c:v>
                </c:pt>
                <c:pt idx="58144">
                  <c:v>47.103214670047045</c:v>
                </c:pt>
                <c:pt idx="58145">
                  <c:v>32.957955621585612</c:v>
                </c:pt>
                <c:pt idx="58146">
                  <c:v>47.764107693219486</c:v>
                </c:pt>
                <c:pt idx="58147">
                  <c:v>27.105426711781156</c:v>
                </c:pt>
                <c:pt idx="58148">
                  <c:v>35.080525285685582</c:v>
                </c:pt>
                <c:pt idx="58149">
                  <c:v>35.378339376499611</c:v>
                </c:pt>
                <c:pt idx="58150">
                  <c:v>30.058930916346029</c:v>
                </c:pt>
                <c:pt idx="58151">
                  <c:v>24.782712079202611</c:v>
                </c:pt>
                <c:pt idx="58152">
                  <c:v>41.166098190979469</c:v>
                </c:pt>
                <c:pt idx="58153">
                  <c:v>34.933260240966121</c:v>
                </c:pt>
                <c:pt idx="58154">
                  <c:v>16.808469802992217</c:v>
                </c:pt>
                <c:pt idx="58155">
                  <c:v>25.286172696866757</c:v>
                </c:pt>
                <c:pt idx="58156">
                  <c:v>37.731375043309868</c:v>
                </c:pt>
                <c:pt idx="58157">
                  <c:v>30.255457746827854</c:v>
                </c:pt>
                <c:pt idx="58158">
                  <c:v>37.259009674878648</c:v>
                </c:pt>
                <c:pt idx="58159">
                  <c:v>40.558162468431775</c:v>
                </c:pt>
                <c:pt idx="58160">
                  <c:v>46.655884742324162</c:v>
                </c:pt>
                <c:pt idx="58161">
                  <c:v>35.176829295121017</c:v>
                </c:pt>
                <c:pt idx="58162">
                  <c:v>26.390583402528762</c:v>
                </c:pt>
                <c:pt idx="58163">
                  <c:v>22.845986967420874</c:v>
                </c:pt>
                <c:pt idx="58164">
                  <c:v>30.462239177045724</c:v>
                </c:pt>
                <c:pt idx="58165">
                  <c:v>41.325756678705268</c:v>
                </c:pt>
                <c:pt idx="58166">
                  <c:v>23.345200032419935</c:v>
                </c:pt>
                <c:pt idx="58167">
                  <c:v>28.914613503824132</c:v>
                </c:pt>
                <c:pt idx="58168">
                  <c:v>26.028662548698872</c:v>
                </c:pt>
                <c:pt idx="58169">
                  <c:v>23.594519253531388</c:v>
                </c:pt>
                <c:pt idx="58170">
                  <c:v>31.460337089988894</c:v>
                </c:pt>
                <c:pt idx="58171">
                  <c:v>23.348357024827134</c:v>
                </c:pt>
                <c:pt idx="58172">
                  <c:v>26.750176689539778</c:v>
                </c:pt>
                <c:pt idx="58173">
                  <c:v>27.564212998939148</c:v>
                </c:pt>
                <c:pt idx="58174">
                  <c:v>24.10213178324792</c:v>
                </c:pt>
                <c:pt idx="58175">
                  <c:v>28.011901335440587</c:v>
                </c:pt>
                <c:pt idx="58176">
                  <c:v>24.204522177550345</c:v>
                </c:pt>
                <c:pt idx="58177">
                  <c:v>21.666307204923037</c:v>
                </c:pt>
                <c:pt idx="58178">
                  <c:v>33.586875328365601</c:v>
                </c:pt>
                <c:pt idx="58179">
                  <c:v>59.782612438678868</c:v>
                </c:pt>
                <c:pt idx="58180">
                  <c:v>36.715571140778877</c:v>
                </c:pt>
                <c:pt idx="58181">
                  <c:v>29.873617770407311</c:v>
                </c:pt>
                <c:pt idx="58182">
                  <c:v>32.2384514404079</c:v>
                </c:pt>
                <c:pt idx="58183">
                  <c:v>21.528989374698817</c:v>
                </c:pt>
                <c:pt idx="58184">
                  <c:v>25.096865867504164</c:v>
                </c:pt>
                <c:pt idx="58185">
                  <c:v>35.516276188780232</c:v>
                </c:pt>
                <c:pt idx="58186">
                  <c:v>25.579108475597419</c:v>
                </c:pt>
                <c:pt idx="58187">
                  <c:v>29.621007655117978</c:v>
                </c:pt>
                <c:pt idx="58188">
                  <c:v>21.73826661895912</c:v>
                </c:pt>
                <c:pt idx="58189">
                  <c:v>64.652322857899833</c:v>
                </c:pt>
                <c:pt idx="58190">
                  <c:v>50.877342146171685</c:v>
                </c:pt>
                <c:pt idx="58191">
                  <c:v>25.714541813103526</c:v>
                </c:pt>
                <c:pt idx="58192">
                  <c:v>37.979251372638508</c:v>
                </c:pt>
                <c:pt idx="58193">
                  <c:v>26.391370789236323</c:v>
                </c:pt>
                <c:pt idx="58194">
                  <c:v>31.984653108645848</c:v>
                </c:pt>
                <c:pt idx="58195">
                  <c:v>24.371445922662978</c:v>
                </c:pt>
                <c:pt idx="58196">
                  <c:v>30.102400351084654</c:v>
                </c:pt>
                <c:pt idx="58197">
                  <c:v>27.8755233715614</c:v>
                </c:pt>
                <c:pt idx="58198">
                  <c:v>27.9667043224621</c:v>
                </c:pt>
                <c:pt idx="58199">
                  <c:v>44.907857066391543</c:v>
                </c:pt>
                <c:pt idx="58200">
                  <c:v>27.632880042687223</c:v>
                </c:pt>
                <c:pt idx="58201">
                  <c:v>27.193049925459771</c:v>
                </c:pt>
                <c:pt idx="58202">
                  <c:v>35.441164804698218</c:v>
                </c:pt>
                <c:pt idx="58203">
                  <c:v>29.381650006142401</c:v>
                </c:pt>
                <c:pt idx="58204">
                  <c:v>23.624772687720181</c:v>
                </c:pt>
                <c:pt idx="58205">
                  <c:v>24.085523223385209</c:v>
                </c:pt>
                <c:pt idx="58206">
                  <c:v>34.71590303396372</c:v>
                </c:pt>
                <c:pt idx="58207">
                  <c:v>23.28195709793923</c:v>
                </c:pt>
                <c:pt idx="58208">
                  <c:v>31.557967944108238</c:v>
                </c:pt>
                <c:pt idx="58209">
                  <c:v>28.506266797033526</c:v>
                </c:pt>
                <c:pt idx="58210">
                  <c:v>31.624991621991441</c:v>
                </c:pt>
                <c:pt idx="58211">
                  <c:v>42.670701896440818</c:v>
                </c:pt>
                <c:pt idx="58212">
                  <c:v>38.788591322396989</c:v>
                </c:pt>
                <c:pt idx="58213">
                  <c:v>29.667569101199469</c:v>
                </c:pt>
                <c:pt idx="58214">
                  <c:v>22.775142378852077</c:v>
                </c:pt>
                <c:pt idx="58215">
                  <c:v>18.816519278568521</c:v>
                </c:pt>
                <c:pt idx="58216">
                  <c:v>37.812749796104477</c:v>
                </c:pt>
                <c:pt idx="58217">
                  <c:v>28.151628018682153</c:v>
                </c:pt>
                <c:pt idx="58218">
                  <c:v>27.415151526311888</c:v>
                </c:pt>
                <c:pt idx="58219">
                  <c:v>27.891044834654689</c:v>
                </c:pt>
                <c:pt idx="58220">
                  <c:v>58.41850733282984</c:v>
                </c:pt>
                <c:pt idx="58221">
                  <c:v>15.516630468560145</c:v>
                </c:pt>
                <c:pt idx="58222">
                  <c:v>24.000691587329598</c:v>
                </c:pt>
                <c:pt idx="58223">
                  <c:v>20.796594352156152</c:v>
                </c:pt>
                <c:pt idx="58224">
                  <c:v>24.358127012969607</c:v>
                </c:pt>
                <c:pt idx="58225">
                  <c:v>26.060237507950113</c:v>
                </c:pt>
                <c:pt idx="58226">
                  <c:v>35.406261223540582</c:v>
                </c:pt>
                <c:pt idx="58227">
                  <c:v>52.602356781210389</c:v>
                </c:pt>
                <c:pt idx="58228">
                  <c:v>24.867547209371168</c:v>
                </c:pt>
                <c:pt idx="58229">
                  <c:v>17.332069087589289</c:v>
                </c:pt>
                <c:pt idx="58230">
                  <c:v>25.605464650785208</c:v>
                </c:pt>
                <c:pt idx="58231">
                  <c:v>19.339298917724154</c:v>
                </c:pt>
                <c:pt idx="58232">
                  <c:v>23.972141717798575</c:v>
                </c:pt>
                <c:pt idx="58233">
                  <c:v>34.799709091348973</c:v>
                </c:pt>
                <c:pt idx="58234">
                  <c:v>50.956218320635671</c:v>
                </c:pt>
                <c:pt idx="58235">
                  <c:v>31.673991078316462</c:v>
                </c:pt>
                <c:pt idx="58236">
                  <c:v>25.537118068579396</c:v>
                </c:pt>
                <c:pt idx="58237">
                  <c:v>28.491122987490897</c:v>
                </c:pt>
                <c:pt idx="58238">
                  <c:v>47.754573896888914</c:v>
                </c:pt>
                <c:pt idx="58239">
                  <c:v>30.70351275479624</c:v>
                </c:pt>
                <c:pt idx="58240">
                  <c:v>22.901847175645141</c:v>
                </c:pt>
                <c:pt idx="58241">
                  <c:v>30.483995037418577</c:v>
                </c:pt>
                <c:pt idx="58242">
                  <c:v>19.938510119928061</c:v>
                </c:pt>
                <c:pt idx="58243">
                  <c:v>37.5924855414844</c:v>
                </c:pt>
                <c:pt idx="58244">
                  <c:v>27.153618648389596</c:v>
                </c:pt>
                <c:pt idx="58245">
                  <c:v>54.529625910115968</c:v>
                </c:pt>
                <c:pt idx="58246">
                  <c:v>25.619675241937124</c:v>
                </c:pt>
                <c:pt idx="58247">
                  <c:v>32.350933044635397</c:v>
                </c:pt>
                <c:pt idx="58248">
                  <c:v>31.398218677680973</c:v>
                </c:pt>
                <c:pt idx="58249">
                  <c:v>25.390398891038515</c:v>
                </c:pt>
                <c:pt idx="58250">
                  <c:v>22.218128333770697</c:v>
                </c:pt>
                <c:pt idx="58251">
                  <c:v>26.59771393635144</c:v>
                </c:pt>
                <c:pt idx="58252">
                  <c:v>34.382192708486798</c:v>
                </c:pt>
                <c:pt idx="58253">
                  <c:v>23.07660044908533</c:v>
                </c:pt>
                <c:pt idx="58254">
                  <c:v>22.223452116196601</c:v>
                </c:pt>
                <c:pt idx="58255">
                  <c:v>28.347668733936757</c:v>
                </c:pt>
                <c:pt idx="58256">
                  <c:v>27.356693326561647</c:v>
                </c:pt>
                <c:pt idx="58257">
                  <c:v>24.788035111191448</c:v>
                </c:pt>
                <c:pt idx="58258">
                  <c:v>41.684834764039515</c:v>
                </c:pt>
                <c:pt idx="58259">
                  <c:v>30.542208193510845</c:v>
                </c:pt>
                <c:pt idx="58260">
                  <c:v>16.174717442673202</c:v>
                </c:pt>
                <c:pt idx="58261">
                  <c:v>27.494585722407315</c:v>
                </c:pt>
                <c:pt idx="58262">
                  <c:v>26.947134305209154</c:v>
                </c:pt>
                <c:pt idx="58263">
                  <c:v>38.086346621430998</c:v>
                </c:pt>
                <c:pt idx="58264">
                  <c:v>36.011803559884974</c:v>
                </c:pt>
                <c:pt idx="58265">
                  <c:v>24.385912769350394</c:v>
                </c:pt>
                <c:pt idx="58266">
                  <c:v>22.103118697504499</c:v>
                </c:pt>
                <c:pt idx="58267">
                  <c:v>34.474585144244791</c:v>
                </c:pt>
                <c:pt idx="58268">
                  <c:v>24.01889219666095</c:v>
                </c:pt>
                <c:pt idx="58269">
                  <c:v>26.463431659870167</c:v>
                </c:pt>
                <c:pt idx="58270">
                  <c:v>47.983808012945069</c:v>
                </c:pt>
                <c:pt idx="58271">
                  <c:v>33.685994829672779</c:v>
                </c:pt>
                <c:pt idx="58272">
                  <c:v>21.141603185788924</c:v>
                </c:pt>
                <c:pt idx="58273">
                  <c:v>54.968743762696931</c:v>
                </c:pt>
                <c:pt idx="58274">
                  <c:v>28.148665282593711</c:v>
                </c:pt>
                <c:pt idx="58275">
                  <c:v>40.259092283351706</c:v>
                </c:pt>
                <c:pt idx="58276">
                  <c:v>29.333968312347274</c:v>
                </c:pt>
                <c:pt idx="58277">
                  <c:v>18.848994473495353</c:v>
                </c:pt>
                <c:pt idx="58278">
                  <c:v>23.435617199561218</c:v>
                </c:pt>
                <c:pt idx="58279">
                  <c:v>26.099780381425852</c:v>
                </c:pt>
                <c:pt idx="58280">
                  <c:v>26.408980800998645</c:v>
                </c:pt>
                <c:pt idx="58281">
                  <c:v>27.024029333986633</c:v>
                </c:pt>
                <c:pt idx="58282">
                  <c:v>26.947049232233596</c:v>
                </c:pt>
                <c:pt idx="58283">
                  <c:v>43.749633241829343</c:v>
                </c:pt>
                <c:pt idx="58284">
                  <c:v>28.995051939943266</c:v>
                </c:pt>
                <c:pt idx="58285">
                  <c:v>30.116097473860073</c:v>
                </c:pt>
                <c:pt idx="58286">
                  <c:v>33.14492060278824</c:v>
                </c:pt>
                <c:pt idx="58287">
                  <c:v>33.032329388121575</c:v>
                </c:pt>
                <c:pt idx="58288">
                  <c:v>27.945288617027501</c:v>
                </c:pt>
                <c:pt idx="58289">
                  <c:v>23.19914724694895</c:v>
                </c:pt>
                <c:pt idx="58290">
                  <c:v>28.269832785963697</c:v>
                </c:pt>
                <c:pt idx="58291">
                  <c:v>50.904846932656532</c:v>
                </c:pt>
                <c:pt idx="58292">
                  <c:v>24.192417341491677</c:v>
                </c:pt>
                <c:pt idx="58293">
                  <c:v>26.618255924584531</c:v>
                </c:pt>
                <c:pt idx="58294">
                  <c:v>41.776142656989258</c:v>
                </c:pt>
                <c:pt idx="58295">
                  <c:v>27.915752979257149</c:v>
                </c:pt>
                <c:pt idx="58296">
                  <c:v>53.137372672882897</c:v>
                </c:pt>
                <c:pt idx="58297">
                  <c:v>21.957562025669809</c:v>
                </c:pt>
                <c:pt idx="58298">
                  <c:v>28.037524638530506</c:v>
                </c:pt>
                <c:pt idx="58299">
                  <c:v>48.390583164183994</c:v>
                </c:pt>
                <c:pt idx="58300">
                  <c:v>46.207110755453662</c:v>
                </c:pt>
                <c:pt idx="58301">
                  <c:v>45.715587609341469</c:v>
                </c:pt>
                <c:pt idx="58302">
                  <c:v>31.940761203037763</c:v>
                </c:pt>
                <c:pt idx="58303">
                  <c:v>30.001904621353539</c:v>
                </c:pt>
                <c:pt idx="58304">
                  <c:v>38.150953872113291</c:v>
                </c:pt>
                <c:pt idx="58305">
                  <c:v>53.658852274486478</c:v>
                </c:pt>
                <c:pt idx="58306">
                  <c:v>28.554877454747373</c:v>
                </c:pt>
                <c:pt idx="58307">
                  <c:v>31.279529215883521</c:v>
                </c:pt>
                <c:pt idx="58308">
                  <c:v>24.701527507151404</c:v>
                </c:pt>
                <c:pt idx="58309">
                  <c:v>29.573377111958433</c:v>
                </c:pt>
                <c:pt idx="58310">
                  <c:v>21.369428030999543</c:v>
                </c:pt>
                <c:pt idx="58311">
                  <c:v>28.6833875741982</c:v>
                </c:pt>
                <c:pt idx="58312">
                  <c:v>24.502381675776231</c:v>
                </c:pt>
                <c:pt idx="58313">
                  <c:v>48.258206094907422</c:v>
                </c:pt>
                <c:pt idx="58314">
                  <c:v>27.980573308172055</c:v>
                </c:pt>
                <c:pt idx="58315">
                  <c:v>22.360263626299201</c:v>
                </c:pt>
                <c:pt idx="58316">
                  <c:v>24.914697635602309</c:v>
                </c:pt>
                <c:pt idx="58317">
                  <c:v>28.407956353592251</c:v>
                </c:pt>
                <c:pt idx="58318">
                  <c:v>46.258590003016749</c:v>
                </c:pt>
                <c:pt idx="58319">
                  <c:v>27.111025777287686</c:v>
                </c:pt>
                <c:pt idx="58320">
                  <c:v>24.198479170451741</c:v>
                </c:pt>
                <c:pt idx="58321">
                  <c:v>22.433994359765087</c:v>
                </c:pt>
                <c:pt idx="58322">
                  <c:v>40.849795498161875</c:v>
                </c:pt>
                <c:pt idx="58323">
                  <c:v>29.74062824086236</c:v>
                </c:pt>
                <c:pt idx="58324">
                  <c:v>40.011371264158157</c:v>
                </c:pt>
                <c:pt idx="58325">
                  <c:v>21.595684567045161</c:v>
                </c:pt>
                <c:pt idx="58326">
                  <c:v>35.267401706487775</c:v>
                </c:pt>
                <c:pt idx="58327">
                  <c:v>19.144859417931347</c:v>
                </c:pt>
                <c:pt idx="58328">
                  <c:v>22.788666546946637</c:v>
                </c:pt>
                <c:pt idx="58329">
                  <c:v>41.374222111972848</c:v>
                </c:pt>
                <c:pt idx="58330">
                  <c:v>23.722542906471702</c:v>
                </c:pt>
                <c:pt idx="58331">
                  <c:v>30.024162024637793</c:v>
                </c:pt>
                <c:pt idx="58332">
                  <c:v>49.996675372568987</c:v>
                </c:pt>
                <c:pt idx="58333">
                  <c:v>28.824163706445603</c:v>
                </c:pt>
                <c:pt idx="58334">
                  <c:v>45.979343814792117</c:v>
                </c:pt>
                <c:pt idx="58335">
                  <c:v>15.663823939814057</c:v>
                </c:pt>
                <c:pt idx="58336">
                  <c:v>20.816728196534108</c:v>
                </c:pt>
                <c:pt idx="58337">
                  <c:v>31.335685997481526</c:v>
                </c:pt>
                <c:pt idx="58338">
                  <c:v>23.984064205958649</c:v>
                </c:pt>
                <c:pt idx="58339">
                  <c:v>21.05173644443795</c:v>
                </c:pt>
                <c:pt idx="58340">
                  <c:v>22.999318507458991</c:v>
                </c:pt>
                <c:pt idx="58341">
                  <c:v>25.947891640663965</c:v>
                </c:pt>
                <c:pt idx="58342">
                  <c:v>29.602956696995768</c:v>
                </c:pt>
                <c:pt idx="58343">
                  <c:v>49.868648955654962</c:v>
                </c:pt>
                <c:pt idx="58344">
                  <c:v>27.773752529708897</c:v>
                </c:pt>
                <c:pt idx="58345">
                  <c:v>30.103202943560646</c:v>
                </c:pt>
                <c:pt idx="58346">
                  <c:v>52.706858594801858</c:v>
                </c:pt>
                <c:pt idx="58347">
                  <c:v>53.227833571214475</c:v>
                </c:pt>
                <c:pt idx="58348">
                  <c:v>23.970519314107186</c:v>
                </c:pt>
                <c:pt idx="58349">
                  <c:v>33.657198533923641</c:v>
                </c:pt>
                <c:pt idx="58350">
                  <c:v>30.20750292682045</c:v>
                </c:pt>
                <c:pt idx="58351">
                  <c:v>42.504993825943465</c:v>
                </c:pt>
                <c:pt idx="58352">
                  <c:v>24.057425698752692</c:v>
                </c:pt>
                <c:pt idx="58353">
                  <c:v>32.616502129258443</c:v>
                </c:pt>
                <c:pt idx="58354">
                  <c:v>23.403556615194091</c:v>
                </c:pt>
                <c:pt idx="58355">
                  <c:v>25.017268211587336</c:v>
                </c:pt>
                <c:pt idx="58356">
                  <c:v>24.500047247772031</c:v>
                </c:pt>
                <c:pt idx="58357">
                  <c:v>26.149432062850135</c:v>
                </c:pt>
                <c:pt idx="58358">
                  <c:v>22.459262326625939</c:v>
                </c:pt>
                <c:pt idx="58359">
                  <c:v>31.85547085898866</c:v>
                </c:pt>
                <c:pt idx="58360">
                  <c:v>47.484803810852362</c:v>
                </c:pt>
                <c:pt idx="58361">
                  <c:v>22.731484314959641</c:v>
                </c:pt>
                <c:pt idx="58362">
                  <c:v>18.512876163612738</c:v>
                </c:pt>
                <c:pt idx="58363">
                  <c:v>36.522536955994056</c:v>
                </c:pt>
                <c:pt idx="58364">
                  <c:v>22.630488080007176</c:v>
                </c:pt>
                <c:pt idx="58365">
                  <c:v>37.111737526256483</c:v>
                </c:pt>
                <c:pt idx="58366">
                  <c:v>18.5358373539318</c:v>
                </c:pt>
                <c:pt idx="58367">
                  <c:v>29.490615140117001</c:v>
                </c:pt>
                <c:pt idx="58368">
                  <c:v>29.535198429656951</c:v>
                </c:pt>
                <c:pt idx="58369">
                  <c:v>44.413402891149417</c:v>
                </c:pt>
                <c:pt idx="58370">
                  <c:v>30.914498039477376</c:v>
                </c:pt>
                <c:pt idx="58371">
                  <c:v>23.589854575257732</c:v>
                </c:pt>
                <c:pt idx="58372">
                  <c:v>47.090839014023977</c:v>
                </c:pt>
                <c:pt idx="58373">
                  <c:v>29.184454445680657</c:v>
                </c:pt>
                <c:pt idx="58374">
                  <c:v>35.593455329979832</c:v>
                </c:pt>
                <c:pt idx="58375">
                  <c:v>29.948025973158835</c:v>
                </c:pt>
                <c:pt idx="58376">
                  <c:v>33.863803522161348</c:v>
                </c:pt>
                <c:pt idx="58377">
                  <c:v>47.016023370069561</c:v>
                </c:pt>
                <c:pt idx="58378">
                  <c:v>45.520602549515154</c:v>
                </c:pt>
                <c:pt idx="58379">
                  <c:v>32.902952776752926</c:v>
                </c:pt>
                <c:pt idx="58380">
                  <c:v>45.163709167585019</c:v>
                </c:pt>
                <c:pt idx="58381">
                  <c:v>28.001071615286811</c:v>
                </c:pt>
                <c:pt idx="58382">
                  <c:v>30.496106897023822</c:v>
                </c:pt>
                <c:pt idx="58383">
                  <c:v>38.895866404009112</c:v>
                </c:pt>
                <c:pt idx="58384">
                  <c:v>26.109172238020118</c:v>
                </c:pt>
                <c:pt idx="58385">
                  <c:v>23.231392868549356</c:v>
                </c:pt>
                <c:pt idx="58386">
                  <c:v>23.286586451601913</c:v>
                </c:pt>
                <c:pt idx="58387">
                  <c:v>26.257683382540957</c:v>
                </c:pt>
                <c:pt idx="58388">
                  <c:v>42.620008213597885</c:v>
                </c:pt>
                <c:pt idx="58389">
                  <c:v>25.701762462394726</c:v>
                </c:pt>
                <c:pt idx="58390">
                  <c:v>50.059339811637592</c:v>
                </c:pt>
                <c:pt idx="58391">
                  <c:v>32.159443398862955</c:v>
                </c:pt>
                <c:pt idx="58392">
                  <c:v>17.269152917211652</c:v>
                </c:pt>
                <c:pt idx="58393">
                  <c:v>38.408247092832447</c:v>
                </c:pt>
                <c:pt idx="58394">
                  <c:v>47.124687841562228</c:v>
                </c:pt>
                <c:pt idx="58395">
                  <c:v>24.068957232538345</c:v>
                </c:pt>
                <c:pt idx="58396">
                  <c:v>16.67034030879126</c:v>
                </c:pt>
                <c:pt idx="58397">
                  <c:v>36.427638653675743</c:v>
                </c:pt>
                <c:pt idx="58398">
                  <c:v>44.915886702783361</c:v>
                </c:pt>
                <c:pt idx="58399">
                  <c:v>27.121358980478288</c:v>
                </c:pt>
                <c:pt idx="58400">
                  <c:v>45.68944353611063</c:v>
                </c:pt>
                <c:pt idx="58401">
                  <c:v>21.178354246626046</c:v>
                </c:pt>
                <c:pt idx="58402">
                  <c:v>35.373157590224018</c:v>
                </c:pt>
                <c:pt idx="58403">
                  <c:v>20.811147646489378</c:v>
                </c:pt>
                <c:pt idx="58404">
                  <c:v>37.114934557736888</c:v>
                </c:pt>
                <c:pt idx="58405">
                  <c:v>21.24715957543647</c:v>
                </c:pt>
                <c:pt idx="58406">
                  <c:v>28.193890945195982</c:v>
                </c:pt>
                <c:pt idx="58407">
                  <c:v>15.352511228839031</c:v>
                </c:pt>
                <c:pt idx="58408">
                  <c:v>39.686561127061857</c:v>
                </c:pt>
                <c:pt idx="58409">
                  <c:v>25.199836473182504</c:v>
                </c:pt>
                <c:pt idx="58410">
                  <c:v>36.830815977601581</c:v>
                </c:pt>
                <c:pt idx="58411">
                  <c:v>25.056759520971575</c:v>
                </c:pt>
                <c:pt idx="58412">
                  <c:v>17.912046122164409</c:v>
                </c:pt>
                <c:pt idx="58413">
                  <c:v>18.548889459134159</c:v>
                </c:pt>
                <c:pt idx="58414">
                  <c:v>26.19359017711589</c:v>
                </c:pt>
                <c:pt idx="58415">
                  <c:v>25.098724951565533</c:v>
                </c:pt>
                <c:pt idx="58416">
                  <c:v>26.503465291995695</c:v>
                </c:pt>
                <c:pt idx="58417">
                  <c:v>18.008942256306483</c:v>
                </c:pt>
                <c:pt idx="58418">
                  <c:v>45.522150787766215</c:v>
                </c:pt>
                <c:pt idx="58419">
                  <c:v>39.900884058648124</c:v>
                </c:pt>
                <c:pt idx="58420">
                  <c:v>20.171614341294408</c:v>
                </c:pt>
                <c:pt idx="58421">
                  <c:v>27.783122789570449</c:v>
                </c:pt>
                <c:pt idx="58422">
                  <c:v>40.228046037975233</c:v>
                </c:pt>
                <c:pt idx="58423">
                  <c:v>26.865854934597202</c:v>
                </c:pt>
                <c:pt idx="58424">
                  <c:v>32.799628848701133</c:v>
                </c:pt>
                <c:pt idx="58425">
                  <c:v>55.415547973686046</c:v>
                </c:pt>
                <c:pt idx="58426">
                  <c:v>30.011900079513147</c:v>
                </c:pt>
                <c:pt idx="58427">
                  <c:v>24.405411932838259</c:v>
                </c:pt>
                <c:pt idx="58428">
                  <c:v>26.666517058953922</c:v>
                </c:pt>
                <c:pt idx="58429">
                  <c:v>27.649457541347662</c:v>
                </c:pt>
                <c:pt idx="58430">
                  <c:v>31.219882695605129</c:v>
                </c:pt>
                <c:pt idx="58431">
                  <c:v>41.241604623966595</c:v>
                </c:pt>
                <c:pt idx="58432">
                  <c:v>23.196001926687011</c:v>
                </c:pt>
                <c:pt idx="58433">
                  <c:v>29.779444417796061</c:v>
                </c:pt>
                <c:pt idx="58434">
                  <c:v>24.679220621134743</c:v>
                </c:pt>
                <c:pt idx="58435">
                  <c:v>30.237240387606029</c:v>
                </c:pt>
                <c:pt idx="58436">
                  <c:v>44.98233301820612</c:v>
                </c:pt>
                <c:pt idx="58437">
                  <c:v>44.701863374501812</c:v>
                </c:pt>
                <c:pt idx="58438">
                  <c:v>28.242238033355576</c:v>
                </c:pt>
                <c:pt idx="58439">
                  <c:v>29.509159690174982</c:v>
                </c:pt>
                <c:pt idx="58440">
                  <c:v>33.317579218612394</c:v>
                </c:pt>
                <c:pt idx="58441">
                  <c:v>31.729778835561536</c:v>
                </c:pt>
                <c:pt idx="58442">
                  <c:v>22.664821186452599</c:v>
                </c:pt>
                <c:pt idx="58443">
                  <c:v>23.035973684694525</c:v>
                </c:pt>
                <c:pt idx="58444">
                  <c:v>40.802577999327411</c:v>
                </c:pt>
                <c:pt idx="58445">
                  <c:v>34.309592313028922</c:v>
                </c:pt>
                <c:pt idx="58446">
                  <c:v>25.439027037741695</c:v>
                </c:pt>
                <c:pt idx="58447">
                  <c:v>30.020271078034423</c:v>
                </c:pt>
                <c:pt idx="58448">
                  <c:v>26.090457348650631</c:v>
                </c:pt>
                <c:pt idx="58449">
                  <c:v>24.515634251075987</c:v>
                </c:pt>
                <c:pt idx="58450">
                  <c:v>25.88226375058062</c:v>
                </c:pt>
                <c:pt idx="58451">
                  <c:v>27.773231333494287</c:v>
                </c:pt>
                <c:pt idx="58452">
                  <c:v>54.392258406116227</c:v>
                </c:pt>
                <c:pt idx="58453">
                  <c:v>25.581348457833133</c:v>
                </c:pt>
                <c:pt idx="58454">
                  <c:v>46.054123217430977</c:v>
                </c:pt>
                <c:pt idx="58455">
                  <c:v>34.49537283073991</c:v>
                </c:pt>
                <c:pt idx="58456">
                  <c:v>39.136286516576256</c:v>
                </c:pt>
                <c:pt idx="58457">
                  <c:v>45.761150608244513</c:v>
                </c:pt>
                <c:pt idx="58458">
                  <c:v>39.087740723546915</c:v>
                </c:pt>
                <c:pt idx="58459">
                  <c:v>25.468238876734244</c:v>
                </c:pt>
                <c:pt idx="58460">
                  <c:v>20.142746277178681</c:v>
                </c:pt>
                <c:pt idx="58461">
                  <c:v>19.016290080706</c:v>
                </c:pt>
                <c:pt idx="58462">
                  <c:v>33.635766645618894</c:v>
                </c:pt>
                <c:pt idx="58463">
                  <c:v>23.623181150426912</c:v>
                </c:pt>
                <c:pt idx="58464">
                  <c:v>24.583276030256581</c:v>
                </c:pt>
                <c:pt idx="58465">
                  <c:v>44.483942823071153</c:v>
                </c:pt>
                <c:pt idx="58466">
                  <c:v>27.370727773405246</c:v>
                </c:pt>
                <c:pt idx="58467">
                  <c:v>27.854040289263232</c:v>
                </c:pt>
                <c:pt idx="58468">
                  <c:v>21.777769478001112</c:v>
                </c:pt>
                <c:pt idx="58469">
                  <c:v>48.718460212465473</c:v>
                </c:pt>
                <c:pt idx="58470">
                  <c:v>45.311358397879204</c:v>
                </c:pt>
                <c:pt idx="58471">
                  <c:v>28.225780579182548</c:v>
                </c:pt>
                <c:pt idx="58472">
                  <c:v>26.227996978003137</c:v>
                </c:pt>
                <c:pt idx="58473">
                  <c:v>27.008196467121177</c:v>
                </c:pt>
                <c:pt idx="58474">
                  <c:v>29.083915261553219</c:v>
                </c:pt>
                <c:pt idx="58475">
                  <c:v>44.312470996294479</c:v>
                </c:pt>
                <c:pt idx="58476">
                  <c:v>25.996600945147556</c:v>
                </c:pt>
                <c:pt idx="58477">
                  <c:v>28.695067458510991</c:v>
                </c:pt>
                <c:pt idx="58478">
                  <c:v>26.345779894768668</c:v>
                </c:pt>
                <c:pt idx="58479">
                  <c:v>34.861460127904515</c:v>
                </c:pt>
                <c:pt idx="58480">
                  <c:v>24.614684701287583</c:v>
                </c:pt>
                <c:pt idx="58481">
                  <c:v>29.288440098255641</c:v>
                </c:pt>
                <c:pt idx="58482">
                  <c:v>58.002762174316842</c:v>
                </c:pt>
                <c:pt idx="58483">
                  <c:v>34.729966275415578</c:v>
                </c:pt>
                <c:pt idx="58484">
                  <c:v>51.349452300967734</c:v>
                </c:pt>
                <c:pt idx="58485">
                  <c:v>28.448164557889804</c:v>
                </c:pt>
                <c:pt idx="58486">
                  <c:v>38.125512327411386</c:v>
                </c:pt>
                <c:pt idx="58487">
                  <c:v>43.24520008514488</c:v>
                </c:pt>
                <c:pt idx="58488">
                  <c:v>44.252359329056439</c:v>
                </c:pt>
                <c:pt idx="58489">
                  <c:v>53.126002609476885</c:v>
                </c:pt>
                <c:pt idx="58490">
                  <c:v>21.141114247463044</c:v>
                </c:pt>
                <c:pt idx="58491">
                  <c:v>22.163356974477054</c:v>
                </c:pt>
                <c:pt idx="58492">
                  <c:v>34.53886973765605</c:v>
                </c:pt>
                <c:pt idx="58493">
                  <c:v>30.19093270316769</c:v>
                </c:pt>
                <c:pt idx="58494">
                  <c:v>32.989014063541063</c:v>
                </c:pt>
                <c:pt idx="58495">
                  <c:v>27.399484210133267</c:v>
                </c:pt>
                <c:pt idx="58496">
                  <c:v>22.262506305509675</c:v>
                </c:pt>
                <c:pt idx="58497">
                  <c:v>25.148929830385171</c:v>
                </c:pt>
                <c:pt idx="58498">
                  <c:v>20.410616536539763</c:v>
                </c:pt>
                <c:pt idx="58499">
                  <c:v>39.874508113695171</c:v>
                </c:pt>
                <c:pt idx="58500">
                  <c:v>29.793034003390346</c:v>
                </c:pt>
                <c:pt idx="58501">
                  <c:v>26.428579099000043</c:v>
                </c:pt>
                <c:pt idx="58502">
                  <c:v>25.264010245056408</c:v>
                </c:pt>
                <c:pt idx="58503">
                  <c:v>26.59327331081419</c:v>
                </c:pt>
                <c:pt idx="58504">
                  <c:v>32.878053342953848</c:v>
                </c:pt>
                <c:pt idx="58505">
                  <c:v>33.134572887148011</c:v>
                </c:pt>
                <c:pt idx="58506">
                  <c:v>53.901963695990332</c:v>
                </c:pt>
                <c:pt idx="58507">
                  <c:v>30.215368359372661</c:v>
                </c:pt>
                <c:pt idx="58508">
                  <c:v>24.424131856755299</c:v>
                </c:pt>
                <c:pt idx="58509">
                  <c:v>36.119842979577633</c:v>
                </c:pt>
                <c:pt idx="58510">
                  <c:v>27.765704222240487</c:v>
                </c:pt>
                <c:pt idx="58511">
                  <c:v>40.26299302833381</c:v>
                </c:pt>
                <c:pt idx="58512">
                  <c:v>16.431658425792872</c:v>
                </c:pt>
                <c:pt idx="58513">
                  <c:v>46.230698923826189</c:v>
                </c:pt>
                <c:pt idx="58514">
                  <c:v>28.929926841447902</c:v>
                </c:pt>
                <c:pt idx="58515">
                  <c:v>25.977985065721874</c:v>
                </c:pt>
                <c:pt idx="58516">
                  <c:v>38.683014928262729</c:v>
                </c:pt>
                <c:pt idx="58517">
                  <c:v>42.761918877469611</c:v>
                </c:pt>
                <c:pt idx="58518">
                  <c:v>42.97944115242872</c:v>
                </c:pt>
                <c:pt idx="58519">
                  <c:v>62.479263192154406</c:v>
                </c:pt>
                <c:pt idx="58520">
                  <c:v>30.150110356634848</c:v>
                </c:pt>
                <c:pt idx="58521">
                  <c:v>31.722871787083587</c:v>
                </c:pt>
                <c:pt idx="58522">
                  <c:v>20.430790253542909</c:v>
                </c:pt>
                <c:pt idx="58523">
                  <c:v>22.995595518049669</c:v>
                </c:pt>
                <c:pt idx="58524">
                  <c:v>44.938915645432495</c:v>
                </c:pt>
                <c:pt idx="58525">
                  <c:v>32.588194085872672</c:v>
                </c:pt>
                <c:pt idx="58526">
                  <c:v>21.297518618467251</c:v>
                </c:pt>
                <c:pt idx="58527">
                  <c:v>28.206003054506233</c:v>
                </c:pt>
                <c:pt idx="58528">
                  <c:v>18.610372565231909</c:v>
                </c:pt>
                <c:pt idx="58529">
                  <c:v>26.452525034221555</c:v>
                </c:pt>
                <c:pt idx="58530">
                  <c:v>22.679122066322112</c:v>
                </c:pt>
                <c:pt idx="58531">
                  <c:v>59.323844309939176</c:v>
                </c:pt>
                <c:pt idx="58532">
                  <c:v>25.366644998742654</c:v>
                </c:pt>
                <c:pt idx="58533">
                  <c:v>53.618536642282145</c:v>
                </c:pt>
                <c:pt idx="58534">
                  <c:v>34.813668795636744</c:v>
                </c:pt>
                <c:pt idx="58535">
                  <c:v>26.419283819794732</c:v>
                </c:pt>
                <c:pt idx="58536">
                  <c:v>23.483336483417915</c:v>
                </c:pt>
                <c:pt idx="58537">
                  <c:v>31.074833572656249</c:v>
                </c:pt>
                <c:pt idx="58538">
                  <c:v>57.914410828187215</c:v>
                </c:pt>
                <c:pt idx="58539">
                  <c:v>37.759662357262528</c:v>
                </c:pt>
                <c:pt idx="58540">
                  <c:v>28.998778614503582</c:v>
                </c:pt>
                <c:pt idx="58541">
                  <c:v>31.459164409176893</c:v>
                </c:pt>
                <c:pt idx="58542">
                  <c:v>29.505839477398212</c:v>
                </c:pt>
                <c:pt idx="58543">
                  <c:v>30.927563243286951</c:v>
                </c:pt>
                <c:pt idx="58544">
                  <c:v>42.100803177031111</c:v>
                </c:pt>
                <c:pt idx="58545">
                  <c:v>22.88501435333076</c:v>
                </c:pt>
                <c:pt idx="58546">
                  <c:v>40.840026342820629</c:v>
                </c:pt>
                <c:pt idx="58547">
                  <c:v>45.240094126863163</c:v>
                </c:pt>
                <c:pt idx="58548">
                  <c:v>28.23422456312565</c:v>
                </c:pt>
                <c:pt idx="58549">
                  <c:v>19.464241693382071</c:v>
                </c:pt>
                <c:pt idx="58550">
                  <c:v>26.370353274138676</c:v>
                </c:pt>
                <c:pt idx="58551">
                  <c:v>32.04548695036344</c:v>
                </c:pt>
                <c:pt idx="58552">
                  <c:v>55.623895798236497</c:v>
                </c:pt>
                <c:pt idx="58553">
                  <c:v>35.960630714842559</c:v>
                </c:pt>
                <c:pt idx="58554">
                  <c:v>20.589452450077289</c:v>
                </c:pt>
                <c:pt idx="58555">
                  <c:v>29.119435330883022</c:v>
                </c:pt>
                <c:pt idx="58556">
                  <c:v>35.586421065693521</c:v>
                </c:pt>
                <c:pt idx="58557">
                  <c:v>52.772646327582585</c:v>
                </c:pt>
                <c:pt idx="58558">
                  <c:v>44.325388185571583</c:v>
                </c:pt>
                <c:pt idx="58559">
                  <c:v>23.151249767831416</c:v>
                </c:pt>
                <c:pt idx="58560">
                  <c:v>23.255806956988721</c:v>
                </c:pt>
                <c:pt idx="58561">
                  <c:v>33.162434764575956</c:v>
                </c:pt>
                <c:pt idx="58562">
                  <c:v>24.800983015768018</c:v>
                </c:pt>
                <c:pt idx="58563">
                  <c:v>39.794631820905749</c:v>
                </c:pt>
                <c:pt idx="58564">
                  <c:v>47.951783123234122</c:v>
                </c:pt>
                <c:pt idx="58565">
                  <c:v>31.508974014673637</c:v>
                </c:pt>
                <c:pt idx="58566">
                  <c:v>29.356460441482263</c:v>
                </c:pt>
                <c:pt idx="58567">
                  <c:v>30.034934784270646</c:v>
                </c:pt>
                <c:pt idx="58568">
                  <c:v>17.989114042488303</c:v>
                </c:pt>
                <c:pt idx="58569">
                  <c:v>26.74931756143949</c:v>
                </c:pt>
                <c:pt idx="58570">
                  <c:v>27.177362135057923</c:v>
                </c:pt>
                <c:pt idx="58571">
                  <c:v>31.591928597250241</c:v>
                </c:pt>
                <c:pt idx="58572">
                  <c:v>29.496401843934819</c:v>
                </c:pt>
                <c:pt idx="58573">
                  <c:v>25.045589643239385</c:v>
                </c:pt>
                <c:pt idx="58574">
                  <c:v>26.882095777807308</c:v>
                </c:pt>
                <c:pt idx="58575">
                  <c:v>21.764827281411669</c:v>
                </c:pt>
                <c:pt idx="58576">
                  <c:v>32.588754420301626</c:v>
                </c:pt>
                <c:pt idx="58577">
                  <c:v>29.978247006619579</c:v>
                </c:pt>
                <c:pt idx="58578">
                  <c:v>23.417965611844359</c:v>
                </c:pt>
                <c:pt idx="58579">
                  <c:v>30.119278141742509</c:v>
                </c:pt>
                <c:pt idx="58580">
                  <c:v>23.092393743343099</c:v>
                </c:pt>
                <c:pt idx="58581">
                  <c:v>40.101677791172619</c:v>
                </c:pt>
                <c:pt idx="58582">
                  <c:v>26.266433852246841</c:v>
                </c:pt>
                <c:pt idx="58583">
                  <c:v>27.398184354790864</c:v>
                </c:pt>
                <c:pt idx="58584">
                  <c:v>47.656708438676418</c:v>
                </c:pt>
                <c:pt idx="58585">
                  <c:v>38.904151628071212</c:v>
                </c:pt>
                <c:pt idx="58586">
                  <c:v>22.166106116805686</c:v>
                </c:pt>
                <c:pt idx="58587">
                  <c:v>33.507056015053159</c:v>
                </c:pt>
                <c:pt idx="58588">
                  <c:v>33.011141292649732</c:v>
                </c:pt>
                <c:pt idx="58589">
                  <c:v>31.81078708439335</c:v>
                </c:pt>
                <c:pt idx="58590">
                  <c:v>52.891562856391069</c:v>
                </c:pt>
                <c:pt idx="58591">
                  <c:v>27.45559938273</c:v>
                </c:pt>
                <c:pt idx="58592">
                  <c:v>19.399554352904442</c:v>
                </c:pt>
                <c:pt idx="58593">
                  <c:v>49.813662517557972</c:v>
                </c:pt>
                <c:pt idx="58594">
                  <c:v>24.467361270369938</c:v>
                </c:pt>
                <c:pt idx="58595">
                  <c:v>29.702325634440488</c:v>
                </c:pt>
                <c:pt idx="58596">
                  <c:v>49.733656689448878</c:v>
                </c:pt>
                <c:pt idx="58597">
                  <c:v>50.568688963969379</c:v>
                </c:pt>
                <c:pt idx="58598">
                  <c:v>22.616695792469724</c:v>
                </c:pt>
                <c:pt idx="58599">
                  <c:v>30.181995804351835</c:v>
                </c:pt>
                <c:pt idx="58600">
                  <c:v>18.876520158469404</c:v>
                </c:pt>
                <c:pt idx="58601">
                  <c:v>26.76813202378273</c:v>
                </c:pt>
                <c:pt idx="58602">
                  <c:v>23.520811480696633</c:v>
                </c:pt>
                <c:pt idx="58603">
                  <c:v>41.072540258365969</c:v>
                </c:pt>
                <c:pt idx="58604">
                  <c:v>23.919734297912925</c:v>
                </c:pt>
                <c:pt idx="58605">
                  <c:v>32.974367481198776</c:v>
                </c:pt>
                <c:pt idx="58606">
                  <c:v>53.899462462045619</c:v>
                </c:pt>
                <c:pt idx="58607">
                  <c:v>20.011368794151934</c:v>
                </c:pt>
                <c:pt idx="58608">
                  <c:v>43.356060060375221</c:v>
                </c:pt>
                <c:pt idx="58609">
                  <c:v>53.13176419136871</c:v>
                </c:pt>
                <c:pt idx="58610">
                  <c:v>23.24927056976767</c:v>
                </c:pt>
                <c:pt idx="58611">
                  <c:v>51.681602101801829</c:v>
                </c:pt>
                <c:pt idx="58612">
                  <c:v>51.192465597078026</c:v>
                </c:pt>
                <c:pt idx="58613">
                  <c:v>24.984203139924677</c:v>
                </c:pt>
                <c:pt idx="58614">
                  <c:v>25.553306591550722</c:v>
                </c:pt>
                <c:pt idx="58615">
                  <c:v>24.282345525045251</c:v>
                </c:pt>
                <c:pt idx="58616">
                  <c:v>50.008346004793182</c:v>
                </c:pt>
                <c:pt idx="58617">
                  <c:v>25.934403628542473</c:v>
                </c:pt>
                <c:pt idx="58618">
                  <c:v>27.37313866042027</c:v>
                </c:pt>
                <c:pt idx="58619">
                  <c:v>22.521941641635575</c:v>
                </c:pt>
                <c:pt idx="58620">
                  <c:v>32.733190403330653</c:v>
                </c:pt>
                <c:pt idx="58621">
                  <c:v>32.558248219440195</c:v>
                </c:pt>
                <c:pt idx="58622">
                  <c:v>29.730239052652458</c:v>
                </c:pt>
                <c:pt idx="58623">
                  <c:v>24.989048356897221</c:v>
                </c:pt>
                <c:pt idx="58624">
                  <c:v>37.733011919579305</c:v>
                </c:pt>
                <c:pt idx="58625">
                  <c:v>29.066640583125093</c:v>
                </c:pt>
                <c:pt idx="58626">
                  <c:v>46.163182137335433</c:v>
                </c:pt>
                <c:pt idx="58627">
                  <c:v>48.540631101552947</c:v>
                </c:pt>
                <c:pt idx="58628">
                  <c:v>23.721015023728626</c:v>
                </c:pt>
                <c:pt idx="58629">
                  <c:v>34.828088104997612</c:v>
                </c:pt>
                <c:pt idx="58630">
                  <c:v>25.809570474986625</c:v>
                </c:pt>
                <c:pt idx="58631">
                  <c:v>20.894520128094825</c:v>
                </c:pt>
                <c:pt idx="58632">
                  <c:v>31.583639710585413</c:v>
                </c:pt>
                <c:pt idx="58633">
                  <c:v>29.202861471472954</c:v>
                </c:pt>
                <c:pt idx="58634">
                  <c:v>26.218306531777095</c:v>
                </c:pt>
                <c:pt idx="58635">
                  <c:v>28.910213762395323</c:v>
                </c:pt>
                <c:pt idx="58636">
                  <c:v>25.933982294001542</c:v>
                </c:pt>
                <c:pt idx="58637">
                  <c:v>30.499313473529472</c:v>
                </c:pt>
                <c:pt idx="58638">
                  <c:v>53.910949424337879</c:v>
                </c:pt>
                <c:pt idx="58639">
                  <c:v>30.86511140282666</c:v>
                </c:pt>
                <c:pt idx="58640">
                  <c:v>27.386428294581002</c:v>
                </c:pt>
                <c:pt idx="58641">
                  <c:v>48.270445564283818</c:v>
                </c:pt>
                <c:pt idx="58642">
                  <c:v>34.10973740991443</c:v>
                </c:pt>
                <c:pt idx="58643">
                  <c:v>39.607108849450263</c:v>
                </c:pt>
                <c:pt idx="58644">
                  <c:v>25.497558050219979</c:v>
                </c:pt>
                <c:pt idx="58645">
                  <c:v>26.163552166973286</c:v>
                </c:pt>
                <c:pt idx="58646">
                  <c:v>33.029726562331057</c:v>
                </c:pt>
                <c:pt idx="58647">
                  <c:v>33.271535675456754</c:v>
                </c:pt>
                <c:pt idx="58648">
                  <c:v>28.693992386122375</c:v>
                </c:pt>
                <c:pt idx="58649">
                  <c:v>48.892740508219596</c:v>
                </c:pt>
                <c:pt idx="58650">
                  <c:v>24.802042243342079</c:v>
                </c:pt>
                <c:pt idx="58651">
                  <c:v>21.635424037283883</c:v>
                </c:pt>
                <c:pt idx="58652">
                  <c:v>24.054680873549671</c:v>
                </c:pt>
                <c:pt idx="58653">
                  <c:v>20.354873402097386</c:v>
                </c:pt>
                <c:pt idx="58654">
                  <c:v>46.495067078502132</c:v>
                </c:pt>
                <c:pt idx="58655">
                  <c:v>40.813606329797061</c:v>
                </c:pt>
                <c:pt idx="58656">
                  <c:v>32.237544798851992</c:v>
                </c:pt>
                <c:pt idx="58657">
                  <c:v>19.321264434980094</c:v>
                </c:pt>
                <c:pt idx="58658">
                  <c:v>25.613509209183938</c:v>
                </c:pt>
                <c:pt idx="58659">
                  <c:v>43.176373061679435</c:v>
                </c:pt>
                <c:pt idx="58660">
                  <c:v>30.565949846986477</c:v>
                </c:pt>
                <c:pt idx="58661">
                  <c:v>22.263296692824461</c:v>
                </c:pt>
                <c:pt idx="58662">
                  <c:v>23.148803854646225</c:v>
                </c:pt>
                <c:pt idx="58663">
                  <c:v>47.199212163949937</c:v>
                </c:pt>
                <c:pt idx="58664">
                  <c:v>18.774154441103086</c:v>
                </c:pt>
                <c:pt idx="58665">
                  <c:v>56.89390465083666</c:v>
                </c:pt>
                <c:pt idx="58666">
                  <c:v>28.917212015568897</c:v>
                </c:pt>
                <c:pt idx="58667">
                  <c:v>47.889411149046616</c:v>
                </c:pt>
                <c:pt idx="58668">
                  <c:v>19.943932196450266</c:v>
                </c:pt>
                <c:pt idx="58669">
                  <c:v>26.961105763803708</c:v>
                </c:pt>
                <c:pt idx="58670">
                  <c:v>40.593988786167564</c:v>
                </c:pt>
                <c:pt idx="58671">
                  <c:v>26.700169085323317</c:v>
                </c:pt>
                <c:pt idx="58672">
                  <c:v>29.641482966549539</c:v>
                </c:pt>
                <c:pt idx="58673">
                  <c:v>28.409963605097026</c:v>
                </c:pt>
                <c:pt idx="58674">
                  <c:v>57.751182992641063</c:v>
                </c:pt>
                <c:pt idx="58675">
                  <c:v>34.605525221965515</c:v>
                </c:pt>
                <c:pt idx="58676">
                  <c:v>43.691582306564783</c:v>
                </c:pt>
                <c:pt idx="58677">
                  <c:v>28.611680622738461</c:v>
                </c:pt>
                <c:pt idx="58678">
                  <c:v>26.731820919840324</c:v>
                </c:pt>
                <c:pt idx="58679">
                  <c:v>22.29894511302841</c:v>
                </c:pt>
                <c:pt idx="58680">
                  <c:v>30.515352985014438</c:v>
                </c:pt>
                <c:pt idx="58681">
                  <c:v>26.730600588840268</c:v>
                </c:pt>
                <c:pt idx="58682">
                  <c:v>56.331170849706936</c:v>
                </c:pt>
                <c:pt idx="58683">
                  <c:v>25.956516791767644</c:v>
                </c:pt>
                <c:pt idx="58684">
                  <c:v>22.229927964845814</c:v>
                </c:pt>
                <c:pt idx="58685">
                  <c:v>29.178386399768719</c:v>
                </c:pt>
                <c:pt idx="58686">
                  <c:v>44.237372058048727</c:v>
                </c:pt>
                <c:pt idx="58687">
                  <c:v>24.50651753676652</c:v>
                </c:pt>
                <c:pt idx="58688">
                  <c:v>23.935841353609529</c:v>
                </c:pt>
                <c:pt idx="58689">
                  <c:v>25.037084969492216</c:v>
                </c:pt>
                <c:pt idx="58690">
                  <c:v>44.716089148277561</c:v>
                </c:pt>
                <c:pt idx="58691">
                  <c:v>28.267672130023389</c:v>
                </c:pt>
                <c:pt idx="58692">
                  <c:v>27.045225998843282</c:v>
                </c:pt>
                <c:pt idx="58693">
                  <c:v>39.651279429663376</c:v>
                </c:pt>
                <c:pt idx="58694">
                  <c:v>27.426707925423329</c:v>
                </c:pt>
                <c:pt idx="58695">
                  <c:v>24.114789693859695</c:v>
                </c:pt>
                <c:pt idx="58696">
                  <c:v>34.704802769728396</c:v>
                </c:pt>
                <c:pt idx="58697">
                  <c:v>22.565015948519672</c:v>
                </c:pt>
                <c:pt idx="58698">
                  <c:v>41.785397614050254</c:v>
                </c:pt>
                <c:pt idx="58699">
                  <c:v>26.915328326775803</c:v>
                </c:pt>
                <c:pt idx="58700">
                  <c:v>23.635084488032888</c:v>
                </c:pt>
                <c:pt idx="58701">
                  <c:v>29.033478282085209</c:v>
                </c:pt>
                <c:pt idx="58702">
                  <c:v>44.908734916829864</c:v>
                </c:pt>
                <c:pt idx="58703">
                  <c:v>26.454429126428611</c:v>
                </c:pt>
                <c:pt idx="58704">
                  <c:v>17.904266401697154</c:v>
                </c:pt>
                <c:pt idx="58705">
                  <c:v>24.708841623283643</c:v>
                </c:pt>
                <c:pt idx="58706">
                  <c:v>51.4355277665423</c:v>
                </c:pt>
                <c:pt idx="58707">
                  <c:v>64.113972512574122</c:v>
                </c:pt>
                <c:pt idx="58708">
                  <c:v>27.728994579593305</c:v>
                </c:pt>
                <c:pt idx="58709">
                  <c:v>24.199999527743717</c:v>
                </c:pt>
                <c:pt idx="58710">
                  <c:v>41.464496034668329</c:v>
                </c:pt>
                <c:pt idx="58711">
                  <c:v>24.435371914993816</c:v>
                </c:pt>
                <c:pt idx="58712">
                  <c:v>24.037808521008795</c:v>
                </c:pt>
                <c:pt idx="58713">
                  <c:v>20.442516699945216</c:v>
                </c:pt>
                <c:pt idx="58714">
                  <c:v>27.075856387531246</c:v>
                </c:pt>
                <c:pt idx="58715">
                  <c:v>29.292311259341414</c:v>
                </c:pt>
                <c:pt idx="58716">
                  <c:v>35.841250826222968</c:v>
                </c:pt>
                <c:pt idx="58717">
                  <c:v>34.66275176956924</c:v>
                </c:pt>
                <c:pt idx="58718">
                  <c:v>20.260481858557675</c:v>
                </c:pt>
                <c:pt idx="58719">
                  <c:v>30.943022196477322</c:v>
                </c:pt>
                <c:pt idx="58720">
                  <c:v>29.513876426176658</c:v>
                </c:pt>
                <c:pt idx="58721">
                  <c:v>34.170923955301475</c:v>
                </c:pt>
                <c:pt idx="58722">
                  <c:v>28.336754587564009</c:v>
                </c:pt>
                <c:pt idx="58723">
                  <c:v>22.864713741608597</c:v>
                </c:pt>
                <c:pt idx="58724">
                  <c:v>22.714489211681595</c:v>
                </c:pt>
                <c:pt idx="58725">
                  <c:v>35.542635643348142</c:v>
                </c:pt>
                <c:pt idx="58726">
                  <c:v>27.574082589312336</c:v>
                </c:pt>
                <c:pt idx="58727">
                  <c:v>29.634224808868421</c:v>
                </c:pt>
                <c:pt idx="58728">
                  <c:v>17.48113894406579</c:v>
                </c:pt>
                <c:pt idx="58729">
                  <c:v>21.850529804625616</c:v>
                </c:pt>
                <c:pt idx="58730">
                  <c:v>40.225450296741201</c:v>
                </c:pt>
                <c:pt idx="58731">
                  <c:v>21.73206117806032</c:v>
                </c:pt>
                <c:pt idx="58732">
                  <c:v>27.434797343948247</c:v>
                </c:pt>
                <c:pt idx="58733">
                  <c:v>40.535810314706524</c:v>
                </c:pt>
                <c:pt idx="58734">
                  <c:v>47.639355901300313</c:v>
                </c:pt>
                <c:pt idx="58735">
                  <c:v>36.052088752521271</c:v>
                </c:pt>
                <c:pt idx="58736">
                  <c:v>30.441164552226208</c:v>
                </c:pt>
                <c:pt idx="58737">
                  <c:v>51.58680558096173</c:v>
                </c:pt>
                <c:pt idx="58738">
                  <c:v>21.204829223140649</c:v>
                </c:pt>
                <c:pt idx="58739">
                  <c:v>46.436734004742895</c:v>
                </c:pt>
                <c:pt idx="58740">
                  <c:v>41.950044479090216</c:v>
                </c:pt>
                <c:pt idx="58741">
                  <c:v>23.454155716353689</c:v>
                </c:pt>
                <c:pt idx="58742">
                  <c:v>44.719421341709534</c:v>
                </c:pt>
                <c:pt idx="58743">
                  <c:v>19.659934510667522</c:v>
                </c:pt>
                <c:pt idx="58744">
                  <c:v>20.930936209315828</c:v>
                </c:pt>
                <c:pt idx="58745">
                  <c:v>22.533918958370808</c:v>
                </c:pt>
                <c:pt idx="58746">
                  <c:v>28.404358016653294</c:v>
                </c:pt>
                <c:pt idx="58747">
                  <c:v>28.560454599990901</c:v>
                </c:pt>
                <c:pt idx="58748">
                  <c:v>42.149656849917854</c:v>
                </c:pt>
                <c:pt idx="58749">
                  <c:v>21.52516387548545</c:v>
                </c:pt>
                <c:pt idx="58750">
                  <c:v>27.355245358675411</c:v>
                </c:pt>
                <c:pt idx="58751">
                  <c:v>24.709769638248773</c:v>
                </c:pt>
                <c:pt idx="58752">
                  <c:v>32.094079954928056</c:v>
                </c:pt>
                <c:pt idx="58753">
                  <c:v>13.897498013173816</c:v>
                </c:pt>
                <c:pt idx="58754">
                  <c:v>24.288658980964144</c:v>
                </c:pt>
                <c:pt idx="58755">
                  <c:v>19.786534963341889</c:v>
                </c:pt>
                <c:pt idx="58756">
                  <c:v>48.020101283939489</c:v>
                </c:pt>
                <c:pt idx="58757">
                  <c:v>27.543663252785215</c:v>
                </c:pt>
                <c:pt idx="58758">
                  <c:v>20.305277828964307</c:v>
                </c:pt>
                <c:pt idx="58759">
                  <c:v>18.79459691846905</c:v>
                </c:pt>
                <c:pt idx="58760">
                  <c:v>24.289025202666274</c:v>
                </c:pt>
                <c:pt idx="58761">
                  <c:v>33.81684423982292</c:v>
                </c:pt>
                <c:pt idx="58762">
                  <c:v>22.079918907285922</c:v>
                </c:pt>
                <c:pt idx="58763">
                  <c:v>32.099674539957689</c:v>
                </c:pt>
                <c:pt idx="58764">
                  <c:v>35.556703264581607</c:v>
                </c:pt>
                <c:pt idx="58765">
                  <c:v>22.584934242975891</c:v>
                </c:pt>
                <c:pt idx="58766">
                  <c:v>24.804849472959262</c:v>
                </c:pt>
                <c:pt idx="58767">
                  <c:v>35.934675148377124</c:v>
                </c:pt>
                <c:pt idx="58768">
                  <c:v>31.709312881416963</c:v>
                </c:pt>
                <c:pt idx="58769">
                  <c:v>25.40663354481697</c:v>
                </c:pt>
                <c:pt idx="58770">
                  <c:v>30.965201616140622</c:v>
                </c:pt>
                <c:pt idx="58771">
                  <c:v>33.906320105682617</c:v>
                </c:pt>
                <c:pt idx="58772">
                  <c:v>41.048730213938747</c:v>
                </c:pt>
                <c:pt idx="58773">
                  <c:v>35.015121800214033</c:v>
                </c:pt>
                <c:pt idx="58774">
                  <c:v>53.553113008870653</c:v>
                </c:pt>
                <c:pt idx="58775">
                  <c:v>25.002513585317566</c:v>
                </c:pt>
                <c:pt idx="58776">
                  <c:v>23.060032642365424</c:v>
                </c:pt>
                <c:pt idx="58777">
                  <c:v>28.775969022687811</c:v>
                </c:pt>
                <c:pt idx="58778">
                  <c:v>29.829731357320707</c:v>
                </c:pt>
                <c:pt idx="58779">
                  <c:v>22.780587625563211</c:v>
                </c:pt>
                <c:pt idx="58780">
                  <c:v>22.02816244597355</c:v>
                </c:pt>
                <c:pt idx="58781">
                  <c:v>21.273194689542304</c:v>
                </c:pt>
                <c:pt idx="58782">
                  <c:v>24.635355474296663</c:v>
                </c:pt>
                <c:pt idx="58783">
                  <c:v>31.510664941773332</c:v>
                </c:pt>
                <c:pt idx="58784">
                  <c:v>58.716110576240084</c:v>
                </c:pt>
                <c:pt idx="58785">
                  <c:v>36.930009552102661</c:v>
                </c:pt>
                <c:pt idx="58786">
                  <c:v>45.553367664856303</c:v>
                </c:pt>
                <c:pt idx="58787">
                  <c:v>25.534987255435553</c:v>
                </c:pt>
                <c:pt idx="58788">
                  <c:v>20.978521124718455</c:v>
                </c:pt>
                <c:pt idx="58789">
                  <c:v>28.025367877061196</c:v>
                </c:pt>
                <c:pt idx="58790">
                  <c:v>40.322567565300439</c:v>
                </c:pt>
                <c:pt idx="58791">
                  <c:v>27.40561547779792</c:v>
                </c:pt>
                <c:pt idx="58792">
                  <c:v>42.450645912360727</c:v>
                </c:pt>
                <c:pt idx="58793">
                  <c:v>32.491425675753966</c:v>
                </c:pt>
                <c:pt idx="58794">
                  <c:v>35.224863588478996</c:v>
                </c:pt>
                <c:pt idx="58795">
                  <c:v>25.6968020705561</c:v>
                </c:pt>
                <c:pt idx="58796">
                  <c:v>24.712442408430981</c:v>
                </c:pt>
                <c:pt idx="58797">
                  <c:v>29.051850388476542</c:v>
                </c:pt>
                <c:pt idx="58798">
                  <c:v>30.984852068170724</c:v>
                </c:pt>
                <c:pt idx="58799">
                  <c:v>27.485341860071216</c:v>
                </c:pt>
                <c:pt idx="58800">
                  <c:v>20.396096590118034</c:v>
                </c:pt>
                <c:pt idx="58801">
                  <c:v>23.382556730561777</c:v>
                </c:pt>
                <c:pt idx="58802">
                  <c:v>37.54413458619964</c:v>
                </c:pt>
                <c:pt idx="58803">
                  <c:v>27.792994894079502</c:v>
                </c:pt>
                <c:pt idx="58804">
                  <c:v>37.061325532289601</c:v>
                </c:pt>
                <c:pt idx="58805">
                  <c:v>31.289067099311627</c:v>
                </c:pt>
                <c:pt idx="58806">
                  <c:v>20.547310370023204</c:v>
                </c:pt>
                <c:pt idx="58807">
                  <c:v>56.971941690116871</c:v>
                </c:pt>
                <c:pt idx="58808">
                  <c:v>18.897451567907378</c:v>
                </c:pt>
                <c:pt idx="58809">
                  <c:v>32.249018124186634</c:v>
                </c:pt>
                <c:pt idx="58810">
                  <c:v>28.102365235578368</c:v>
                </c:pt>
                <c:pt idx="58811">
                  <c:v>47.375374498172569</c:v>
                </c:pt>
                <c:pt idx="58812">
                  <c:v>17.636469483592808</c:v>
                </c:pt>
                <c:pt idx="58813">
                  <c:v>34.334013406852911</c:v>
                </c:pt>
                <c:pt idx="58814">
                  <c:v>27.033187680261982</c:v>
                </c:pt>
                <c:pt idx="58815">
                  <c:v>25.875633608014933</c:v>
                </c:pt>
                <c:pt idx="58816">
                  <c:v>18.974603851294031</c:v>
                </c:pt>
                <c:pt idx="58817">
                  <c:v>22.27019202740896</c:v>
                </c:pt>
                <c:pt idx="58818">
                  <c:v>22.661404722847735</c:v>
                </c:pt>
                <c:pt idx="58819">
                  <c:v>30.754559819414002</c:v>
                </c:pt>
                <c:pt idx="58820">
                  <c:v>31.692421874483411</c:v>
                </c:pt>
                <c:pt idx="58821">
                  <c:v>23.901919283603508</c:v>
                </c:pt>
                <c:pt idx="58822">
                  <c:v>45.655127562980901</c:v>
                </c:pt>
                <c:pt idx="58823">
                  <c:v>33.20381639929235</c:v>
                </c:pt>
                <c:pt idx="58824">
                  <c:v>55.225418882118369</c:v>
                </c:pt>
                <c:pt idx="58825">
                  <c:v>29.529867317544671</c:v>
                </c:pt>
                <c:pt idx="58826">
                  <c:v>21.971473070482187</c:v>
                </c:pt>
                <c:pt idx="58827">
                  <c:v>24.402300438892059</c:v>
                </c:pt>
                <c:pt idx="58828">
                  <c:v>41.238205096231432</c:v>
                </c:pt>
                <c:pt idx="58829">
                  <c:v>53.134703118968645</c:v>
                </c:pt>
                <c:pt idx="58830">
                  <c:v>15.196395083131438</c:v>
                </c:pt>
                <c:pt idx="58831">
                  <c:v>42.085078064719006</c:v>
                </c:pt>
                <c:pt idx="58832">
                  <c:v>45.031251190153569</c:v>
                </c:pt>
                <c:pt idx="58833">
                  <c:v>30.939959730990559</c:v>
                </c:pt>
                <c:pt idx="58834">
                  <c:v>35.450094808553253</c:v>
                </c:pt>
                <c:pt idx="58835">
                  <c:v>40.593875079536957</c:v>
                </c:pt>
                <c:pt idx="58836">
                  <c:v>42.835726668467593</c:v>
                </c:pt>
                <c:pt idx="58837">
                  <c:v>32.350434750532322</c:v>
                </c:pt>
                <c:pt idx="58838">
                  <c:v>21.658238392875717</c:v>
                </c:pt>
                <c:pt idx="58839">
                  <c:v>22.132319905478688</c:v>
                </c:pt>
                <c:pt idx="58840">
                  <c:v>21.887029112092584</c:v>
                </c:pt>
                <c:pt idx="58841">
                  <c:v>23.914930566372838</c:v>
                </c:pt>
                <c:pt idx="58842">
                  <c:v>25.520764240324723</c:v>
                </c:pt>
                <c:pt idx="58843">
                  <c:v>22.453153469450207</c:v>
                </c:pt>
                <c:pt idx="58844">
                  <c:v>32.172963623420571</c:v>
                </c:pt>
                <c:pt idx="58845">
                  <c:v>21.054476277143962</c:v>
                </c:pt>
                <c:pt idx="58846">
                  <c:v>43.392141235974783</c:v>
                </c:pt>
                <c:pt idx="58847">
                  <c:v>31.784576180489712</c:v>
                </c:pt>
                <c:pt idx="58848">
                  <c:v>23.745685259058323</c:v>
                </c:pt>
                <c:pt idx="58849">
                  <c:v>22.96118354365198</c:v>
                </c:pt>
                <c:pt idx="58850">
                  <c:v>24.372824117556512</c:v>
                </c:pt>
                <c:pt idx="58851">
                  <c:v>49.710011913400777</c:v>
                </c:pt>
                <c:pt idx="58852">
                  <c:v>32.706470171958422</c:v>
                </c:pt>
                <c:pt idx="58853">
                  <c:v>52.262976680590768</c:v>
                </c:pt>
                <c:pt idx="58854">
                  <c:v>24.571933327533614</c:v>
                </c:pt>
                <c:pt idx="58855">
                  <c:v>62.609971855652681</c:v>
                </c:pt>
                <c:pt idx="58856">
                  <c:v>26.359777003652496</c:v>
                </c:pt>
                <c:pt idx="58857">
                  <c:v>24.364969458561681</c:v>
                </c:pt>
                <c:pt idx="58858">
                  <c:v>45.625700674933057</c:v>
                </c:pt>
                <c:pt idx="58859">
                  <c:v>23.884430636980742</c:v>
                </c:pt>
                <c:pt idx="58860">
                  <c:v>52.078016488467405</c:v>
                </c:pt>
                <c:pt idx="58861">
                  <c:v>32.189790989522251</c:v>
                </c:pt>
                <c:pt idx="58862">
                  <c:v>24.473373308980932</c:v>
                </c:pt>
                <c:pt idx="58863">
                  <c:v>24.573280179083664</c:v>
                </c:pt>
                <c:pt idx="58864">
                  <c:v>22.868981100495176</c:v>
                </c:pt>
                <c:pt idx="58865">
                  <c:v>19.27532941118141</c:v>
                </c:pt>
                <c:pt idx="58866">
                  <c:v>19.671866860847341</c:v>
                </c:pt>
                <c:pt idx="58867">
                  <c:v>23.679848518317623</c:v>
                </c:pt>
                <c:pt idx="58868">
                  <c:v>52.536474001164002</c:v>
                </c:pt>
                <c:pt idx="58869">
                  <c:v>38.892930546055858</c:v>
                </c:pt>
                <c:pt idx="58870">
                  <c:v>26.583205006728868</c:v>
                </c:pt>
                <c:pt idx="58871">
                  <c:v>23.313800347098574</c:v>
                </c:pt>
                <c:pt idx="58872">
                  <c:v>33.415629961210897</c:v>
                </c:pt>
                <c:pt idx="58873">
                  <c:v>15.224769403359772</c:v>
                </c:pt>
                <c:pt idx="58874">
                  <c:v>25.5297442167439</c:v>
                </c:pt>
                <c:pt idx="58875">
                  <c:v>31.576246123671496</c:v>
                </c:pt>
                <c:pt idx="58876">
                  <c:v>35.259511687023391</c:v>
                </c:pt>
                <c:pt idx="58877">
                  <c:v>22.312774852660301</c:v>
                </c:pt>
                <c:pt idx="58878">
                  <c:v>35.098923694201808</c:v>
                </c:pt>
                <c:pt idx="58879">
                  <c:v>31.224878846575322</c:v>
                </c:pt>
                <c:pt idx="58880">
                  <c:v>34.550702253929501</c:v>
                </c:pt>
                <c:pt idx="58881">
                  <c:v>56.86049515623273</c:v>
                </c:pt>
                <c:pt idx="58882">
                  <c:v>35.615042379494227</c:v>
                </c:pt>
                <c:pt idx="58883">
                  <c:v>34.428072350349311</c:v>
                </c:pt>
                <c:pt idx="58884">
                  <c:v>24.208000056135909</c:v>
                </c:pt>
                <c:pt idx="58885">
                  <c:v>37.330565997443735</c:v>
                </c:pt>
                <c:pt idx="58886">
                  <c:v>30.902503133205354</c:v>
                </c:pt>
                <c:pt idx="58887">
                  <c:v>35.639595542572778</c:v>
                </c:pt>
                <c:pt idx="58888">
                  <c:v>27.136202399235525</c:v>
                </c:pt>
                <c:pt idx="58889">
                  <c:v>56.693055974581</c:v>
                </c:pt>
                <c:pt idx="58890">
                  <c:v>43.993194206277764</c:v>
                </c:pt>
                <c:pt idx="58891">
                  <c:v>25.397435977115883</c:v>
                </c:pt>
                <c:pt idx="58892">
                  <c:v>31.260177889027734</c:v>
                </c:pt>
                <c:pt idx="58893">
                  <c:v>27.344385980147766</c:v>
                </c:pt>
                <c:pt idx="58894">
                  <c:v>25.440598860595067</c:v>
                </c:pt>
                <c:pt idx="58895">
                  <c:v>34.9020590892775</c:v>
                </c:pt>
                <c:pt idx="58896">
                  <c:v>26.207142082574073</c:v>
                </c:pt>
                <c:pt idx="58897">
                  <c:v>44.121201089963357</c:v>
                </c:pt>
                <c:pt idx="58898">
                  <c:v>28.520070008918566</c:v>
                </c:pt>
                <c:pt idx="58899">
                  <c:v>30.753059120644465</c:v>
                </c:pt>
                <c:pt idx="58900">
                  <c:v>32.230723194235054</c:v>
                </c:pt>
                <c:pt idx="58901">
                  <c:v>23.292729289441233</c:v>
                </c:pt>
                <c:pt idx="58902">
                  <c:v>25.664468719162024</c:v>
                </c:pt>
                <c:pt idx="58903">
                  <c:v>30.057746030445209</c:v>
                </c:pt>
                <c:pt idx="58904">
                  <c:v>27.424648589046647</c:v>
                </c:pt>
                <c:pt idx="58905">
                  <c:v>38.612649870954257</c:v>
                </c:pt>
                <c:pt idx="58906">
                  <c:v>35.226504165251271</c:v>
                </c:pt>
                <c:pt idx="58907">
                  <c:v>20.942177694489203</c:v>
                </c:pt>
                <c:pt idx="58908">
                  <c:v>29.696324611226704</c:v>
                </c:pt>
                <c:pt idx="58909">
                  <c:v>18.944200091367506</c:v>
                </c:pt>
                <c:pt idx="58910">
                  <c:v>26.152525039885202</c:v>
                </c:pt>
                <c:pt idx="58911">
                  <c:v>19.812256595583186</c:v>
                </c:pt>
                <c:pt idx="58912">
                  <c:v>30.222517722189707</c:v>
                </c:pt>
                <c:pt idx="58913">
                  <c:v>25.502340485889953</c:v>
                </c:pt>
                <c:pt idx="58914">
                  <c:v>24.074782507943869</c:v>
                </c:pt>
                <c:pt idx="58915">
                  <c:v>22.025794330802849</c:v>
                </c:pt>
                <c:pt idx="58916">
                  <c:v>20.02210231058104</c:v>
                </c:pt>
                <c:pt idx="58917">
                  <c:v>20.901838981030707</c:v>
                </c:pt>
                <c:pt idx="58918">
                  <c:v>32.765966265944449</c:v>
                </c:pt>
                <c:pt idx="58919">
                  <c:v>20.665712664479493</c:v>
                </c:pt>
                <c:pt idx="58920">
                  <c:v>32.731504818052002</c:v>
                </c:pt>
                <c:pt idx="58921">
                  <c:v>23.292866626269234</c:v>
                </c:pt>
                <c:pt idx="58922">
                  <c:v>32.710195631315329</c:v>
                </c:pt>
                <c:pt idx="58923">
                  <c:v>25.520929296562826</c:v>
                </c:pt>
                <c:pt idx="58924">
                  <c:v>27.454338922040726</c:v>
                </c:pt>
                <c:pt idx="58925">
                  <c:v>26.445931234939586</c:v>
                </c:pt>
                <c:pt idx="58926">
                  <c:v>12.60237752749466</c:v>
                </c:pt>
                <c:pt idx="58927">
                  <c:v>35.836777798406679</c:v>
                </c:pt>
                <c:pt idx="58928">
                  <c:v>27.718495424669257</c:v>
                </c:pt>
                <c:pt idx="58929">
                  <c:v>23.697090569373948</c:v>
                </c:pt>
                <c:pt idx="58930">
                  <c:v>19.61543538417844</c:v>
                </c:pt>
                <c:pt idx="58931">
                  <c:v>50.912677161318918</c:v>
                </c:pt>
                <c:pt idx="58932">
                  <c:v>35.399240530802153</c:v>
                </c:pt>
                <c:pt idx="58933">
                  <c:v>38.207401852215028</c:v>
                </c:pt>
                <c:pt idx="58934">
                  <c:v>40.75756062790262</c:v>
                </c:pt>
                <c:pt idx="58935">
                  <c:v>24.406957721179381</c:v>
                </c:pt>
                <c:pt idx="58936">
                  <c:v>30.371162828828247</c:v>
                </c:pt>
                <c:pt idx="58937">
                  <c:v>27.984866142565494</c:v>
                </c:pt>
                <c:pt idx="58938">
                  <c:v>36.340620959679818</c:v>
                </c:pt>
                <c:pt idx="58939">
                  <c:v>44.801994580148978</c:v>
                </c:pt>
                <c:pt idx="58940">
                  <c:v>25.618704162627729</c:v>
                </c:pt>
                <c:pt idx="58941">
                  <c:v>41.992421329168849</c:v>
                </c:pt>
                <c:pt idx="58942">
                  <c:v>23.440016396029666</c:v>
                </c:pt>
                <c:pt idx="58943">
                  <c:v>29.564279830904887</c:v>
                </c:pt>
                <c:pt idx="58944">
                  <c:v>37.941644991601059</c:v>
                </c:pt>
                <c:pt idx="58945">
                  <c:v>31.249525654840237</c:v>
                </c:pt>
                <c:pt idx="58946">
                  <c:v>23.853398910103849</c:v>
                </c:pt>
                <c:pt idx="58947">
                  <c:v>51.578518167489321</c:v>
                </c:pt>
                <c:pt idx="58948">
                  <c:v>21.323018773953059</c:v>
                </c:pt>
                <c:pt idx="58949">
                  <c:v>19.226319978866911</c:v>
                </c:pt>
                <c:pt idx="58950">
                  <c:v>22.160744980608044</c:v>
                </c:pt>
                <c:pt idx="58951">
                  <c:v>26.063924066148111</c:v>
                </c:pt>
                <c:pt idx="58952">
                  <c:v>35.984372841936903</c:v>
                </c:pt>
                <c:pt idx="58953">
                  <c:v>32.157005422744781</c:v>
                </c:pt>
                <c:pt idx="58954">
                  <c:v>29.319224625543576</c:v>
                </c:pt>
                <c:pt idx="58955">
                  <c:v>28.608757789484564</c:v>
                </c:pt>
                <c:pt idx="58956">
                  <c:v>18.089230297860766</c:v>
                </c:pt>
                <c:pt idx="58957">
                  <c:v>38.90303663281108</c:v>
                </c:pt>
                <c:pt idx="58958">
                  <c:v>26.925150248790789</c:v>
                </c:pt>
                <c:pt idx="58959">
                  <c:v>42.540171825044609</c:v>
                </c:pt>
                <c:pt idx="58960">
                  <c:v>32.206327970240409</c:v>
                </c:pt>
                <c:pt idx="58961">
                  <c:v>24.675881908409487</c:v>
                </c:pt>
                <c:pt idx="58962">
                  <c:v>39.198362950758344</c:v>
                </c:pt>
                <c:pt idx="58963">
                  <c:v>21.709215147336167</c:v>
                </c:pt>
                <c:pt idx="58964">
                  <c:v>48.891965823720291</c:v>
                </c:pt>
                <c:pt idx="58965">
                  <c:v>40.197514912481147</c:v>
                </c:pt>
                <c:pt idx="58966">
                  <c:v>13.627284003302123</c:v>
                </c:pt>
                <c:pt idx="58967">
                  <c:v>30.415531654440166</c:v>
                </c:pt>
                <c:pt idx="58968">
                  <c:v>49.607910505846334</c:v>
                </c:pt>
                <c:pt idx="58969">
                  <c:v>31.311862898957898</c:v>
                </c:pt>
                <c:pt idx="58970">
                  <c:v>25.541241682685754</c:v>
                </c:pt>
                <c:pt idx="58971">
                  <c:v>45.480395591036107</c:v>
                </c:pt>
                <c:pt idx="58972">
                  <c:v>23.060190171185631</c:v>
                </c:pt>
                <c:pt idx="58973">
                  <c:v>16.246484970413999</c:v>
                </c:pt>
                <c:pt idx="58974">
                  <c:v>30.061623768788944</c:v>
                </c:pt>
                <c:pt idx="58975">
                  <c:v>35.027171655111424</c:v>
                </c:pt>
                <c:pt idx="58976">
                  <c:v>27.151459100213565</c:v>
                </c:pt>
                <c:pt idx="58977">
                  <c:v>53.445380738070419</c:v>
                </c:pt>
                <c:pt idx="58978">
                  <c:v>30.351178214815342</c:v>
                </c:pt>
                <c:pt idx="58979">
                  <c:v>33.449947795327134</c:v>
                </c:pt>
                <c:pt idx="58980">
                  <c:v>29.293427600405671</c:v>
                </c:pt>
                <c:pt idx="58981">
                  <c:v>18.083014392748641</c:v>
                </c:pt>
                <c:pt idx="58982">
                  <c:v>33.791335790942263</c:v>
                </c:pt>
                <c:pt idx="58983">
                  <c:v>25.400924046675691</c:v>
                </c:pt>
                <c:pt idx="58984">
                  <c:v>40.584148474905099</c:v>
                </c:pt>
                <c:pt idx="58985">
                  <c:v>25.216574292973593</c:v>
                </c:pt>
                <c:pt idx="58986">
                  <c:v>47.979536107609192</c:v>
                </c:pt>
                <c:pt idx="58987">
                  <c:v>27.610059244360155</c:v>
                </c:pt>
                <c:pt idx="58988">
                  <c:v>23.144395234079326</c:v>
                </c:pt>
                <c:pt idx="58989">
                  <c:v>32.180462520157825</c:v>
                </c:pt>
                <c:pt idx="58990">
                  <c:v>54.746482993298372</c:v>
                </c:pt>
                <c:pt idx="58991">
                  <c:v>21.216752609638426</c:v>
                </c:pt>
                <c:pt idx="58992">
                  <c:v>26.800658659605826</c:v>
                </c:pt>
                <c:pt idx="58993">
                  <c:v>25.405706094427888</c:v>
                </c:pt>
                <c:pt idx="58994">
                  <c:v>24.256811512666239</c:v>
                </c:pt>
                <c:pt idx="58995">
                  <c:v>41.077842007420436</c:v>
                </c:pt>
                <c:pt idx="58996">
                  <c:v>21.981908596975536</c:v>
                </c:pt>
                <c:pt idx="58997">
                  <c:v>27.399221805258058</c:v>
                </c:pt>
                <c:pt idx="58998">
                  <c:v>29.826599754552731</c:v>
                </c:pt>
                <c:pt idx="58999">
                  <c:v>24.93526487881012</c:v>
                </c:pt>
                <c:pt idx="59000">
                  <c:v>29.189833949626777</c:v>
                </c:pt>
                <c:pt idx="59001">
                  <c:v>22.441267063146267</c:v>
                </c:pt>
                <c:pt idx="59002">
                  <c:v>28.950415865132459</c:v>
                </c:pt>
                <c:pt idx="59003">
                  <c:v>34.736110508081779</c:v>
                </c:pt>
                <c:pt idx="59004">
                  <c:v>19.223906891776984</c:v>
                </c:pt>
                <c:pt idx="59005">
                  <c:v>27.904624179560791</c:v>
                </c:pt>
                <c:pt idx="59006">
                  <c:v>33.680827200934218</c:v>
                </c:pt>
                <c:pt idx="59007">
                  <c:v>29.68340998338217</c:v>
                </c:pt>
                <c:pt idx="59008">
                  <c:v>23.390521423983735</c:v>
                </c:pt>
                <c:pt idx="59009">
                  <c:v>38.372903531024747</c:v>
                </c:pt>
                <c:pt idx="59010">
                  <c:v>22.65747310234573</c:v>
                </c:pt>
                <c:pt idx="59011">
                  <c:v>29.299190045034788</c:v>
                </c:pt>
                <c:pt idx="59012">
                  <c:v>18.010140857225885</c:v>
                </c:pt>
                <c:pt idx="59013">
                  <c:v>23.669768363489759</c:v>
                </c:pt>
                <c:pt idx="59014">
                  <c:v>30.740273604082169</c:v>
                </c:pt>
                <c:pt idx="59015">
                  <c:v>36.937872221270254</c:v>
                </c:pt>
                <c:pt idx="59016">
                  <c:v>26.648938158682874</c:v>
                </c:pt>
                <c:pt idx="59017">
                  <c:v>34.920124584508727</c:v>
                </c:pt>
                <c:pt idx="59018">
                  <c:v>30.267674657079922</c:v>
                </c:pt>
                <c:pt idx="59019">
                  <c:v>32.248632379018829</c:v>
                </c:pt>
                <c:pt idx="59020">
                  <c:v>32.194039751273678</c:v>
                </c:pt>
                <c:pt idx="59021">
                  <c:v>31.199777441219066</c:v>
                </c:pt>
                <c:pt idx="59022">
                  <c:v>49.985145943946357</c:v>
                </c:pt>
                <c:pt idx="59023">
                  <c:v>28.853056489590614</c:v>
                </c:pt>
                <c:pt idx="59024">
                  <c:v>20.758620508022336</c:v>
                </c:pt>
                <c:pt idx="59025">
                  <c:v>32.132083916320482</c:v>
                </c:pt>
                <c:pt idx="59026">
                  <c:v>25.017415761770994</c:v>
                </c:pt>
                <c:pt idx="59027">
                  <c:v>25.889667007669622</c:v>
                </c:pt>
                <c:pt idx="59028">
                  <c:v>31.974894089737951</c:v>
                </c:pt>
                <c:pt idx="59029">
                  <c:v>57.821385742602679</c:v>
                </c:pt>
                <c:pt idx="59030">
                  <c:v>18.794513850478829</c:v>
                </c:pt>
                <c:pt idx="59031">
                  <c:v>33.419613573359882</c:v>
                </c:pt>
                <c:pt idx="59032">
                  <c:v>30.495211527212863</c:v>
                </c:pt>
                <c:pt idx="59033">
                  <c:v>17.109457192284342</c:v>
                </c:pt>
                <c:pt idx="59034">
                  <c:v>30.736281465291352</c:v>
                </c:pt>
                <c:pt idx="59035">
                  <c:v>31.337217902912734</c:v>
                </c:pt>
                <c:pt idx="59036">
                  <c:v>29.122475727838772</c:v>
                </c:pt>
                <c:pt idx="59037">
                  <c:v>22.30649523422651</c:v>
                </c:pt>
                <c:pt idx="59038">
                  <c:v>26.624977304992299</c:v>
                </c:pt>
                <c:pt idx="59039">
                  <c:v>30.072406778667116</c:v>
                </c:pt>
                <c:pt idx="59040">
                  <c:v>46.04231526401869</c:v>
                </c:pt>
                <c:pt idx="59041">
                  <c:v>23.457231856281723</c:v>
                </c:pt>
                <c:pt idx="59042">
                  <c:v>26.601790755354173</c:v>
                </c:pt>
                <c:pt idx="59043">
                  <c:v>28.239398751456186</c:v>
                </c:pt>
                <c:pt idx="59044">
                  <c:v>58.354414985242727</c:v>
                </c:pt>
                <c:pt idx="59045">
                  <c:v>24.041355961859992</c:v>
                </c:pt>
                <c:pt idx="59046">
                  <c:v>29.232946772470498</c:v>
                </c:pt>
                <c:pt idx="59047">
                  <c:v>33.22634196479332</c:v>
                </c:pt>
                <c:pt idx="59048">
                  <c:v>23.472716861199117</c:v>
                </c:pt>
                <c:pt idx="59049">
                  <c:v>25.209840828289561</c:v>
                </c:pt>
                <c:pt idx="59050">
                  <c:v>24.054900300123201</c:v>
                </c:pt>
                <c:pt idx="59051">
                  <c:v>18.299374658688947</c:v>
                </c:pt>
                <c:pt idx="59052">
                  <c:v>26.318468309905725</c:v>
                </c:pt>
                <c:pt idx="59053">
                  <c:v>30.826647236558905</c:v>
                </c:pt>
                <c:pt idx="59054">
                  <c:v>29.697867110505392</c:v>
                </c:pt>
                <c:pt idx="59055">
                  <c:v>35.869848364226371</c:v>
                </c:pt>
                <c:pt idx="59056">
                  <c:v>27.62524779073668</c:v>
                </c:pt>
                <c:pt idx="59057">
                  <c:v>22.901030756265623</c:v>
                </c:pt>
                <c:pt idx="59058">
                  <c:v>25.701516648758062</c:v>
                </c:pt>
                <c:pt idx="59059">
                  <c:v>21.789069739238432</c:v>
                </c:pt>
                <c:pt idx="59060">
                  <c:v>26.818964817038918</c:v>
                </c:pt>
                <c:pt idx="59061">
                  <c:v>31.65564765605432</c:v>
                </c:pt>
                <c:pt idx="59062">
                  <c:v>25.759477022443736</c:v>
                </c:pt>
                <c:pt idx="59063">
                  <c:v>49.377011670433674</c:v>
                </c:pt>
                <c:pt idx="59064">
                  <c:v>23.419505714988897</c:v>
                </c:pt>
                <c:pt idx="59065">
                  <c:v>41.178642268382852</c:v>
                </c:pt>
                <c:pt idx="59066">
                  <c:v>21.832768870970266</c:v>
                </c:pt>
                <c:pt idx="59067">
                  <c:v>44.60583899580562</c:v>
                </c:pt>
                <c:pt idx="59068">
                  <c:v>27.062185907403844</c:v>
                </c:pt>
                <c:pt idx="59069">
                  <c:v>29.803010065351152</c:v>
                </c:pt>
                <c:pt idx="59070">
                  <c:v>30.116904894042936</c:v>
                </c:pt>
                <c:pt idx="59071">
                  <c:v>26.164729585636618</c:v>
                </c:pt>
                <c:pt idx="59072">
                  <c:v>68.697128514892341</c:v>
                </c:pt>
                <c:pt idx="59073">
                  <c:v>25.425357160033009</c:v>
                </c:pt>
                <c:pt idx="59074">
                  <c:v>19.139870607764031</c:v>
                </c:pt>
                <c:pt idx="59075">
                  <c:v>50.441704348562993</c:v>
                </c:pt>
                <c:pt idx="59076">
                  <c:v>21.1005137401153</c:v>
                </c:pt>
                <c:pt idx="59077">
                  <c:v>35.668695073400379</c:v>
                </c:pt>
                <c:pt idx="59078">
                  <c:v>20.916382522006387</c:v>
                </c:pt>
                <c:pt idx="59079">
                  <c:v>50.119717198856677</c:v>
                </c:pt>
                <c:pt idx="59080">
                  <c:v>21.542515909961004</c:v>
                </c:pt>
                <c:pt idx="59081">
                  <c:v>32.602648767798684</c:v>
                </c:pt>
                <c:pt idx="59082">
                  <c:v>18.796048096072955</c:v>
                </c:pt>
                <c:pt idx="59083">
                  <c:v>32.604957764210965</c:v>
                </c:pt>
                <c:pt idx="59084">
                  <c:v>19.154602596359467</c:v>
                </c:pt>
                <c:pt idx="59085">
                  <c:v>27.028226532052273</c:v>
                </c:pt>
                <c:pt idx="59086">
                  <c:v>65.221647600354288</c:v>
                </c:pt>
                <c:pt idx="59087">
                  <c:v>25.801642022545561</c:v>
                </c:pt>
                <c:pt idx="59088">
                  <c:v>26.024698147179421</c:v>
                </c:pt>
                <c:pt idx="59089">
                  <c:v>30.753806778715944</c:v>
                </c:pt>
                <c:pt idx="59090">
                  <c:v>23.526727284465856</c:v>
                </c:pt>
                <c:pt idx="59091">
                  <c:v>23.544152845289979</c:v>
                </c:pt>
                <c:pt idx="59092">
                  <c:v>35.480820722518359</c:v>
                </c:pt>
                <c:pt idx="59093">
                  <c:v>24.102192200575892</c:v>
                </c:pt>
                <c:pt idx="59094">
                  <c:v>30.571946428874039</c:v>
                </c:pt>
                <c:pt idx="59095">
                  <c:v>23.58211959574011</c:v>
                </c:pt>
                <c:pt idx="59096">
                  <c:v>25.5341143068988</c:v>
                </c:pt>
                <c:pt idx="59097">
                  <c:v>27.399409998405407</c:v>
                </c:pt>
                <c:pt idx="59098">
                  <c:v>50.802186999306386</c:v>
                </c:pt>
                <c:pt idx="59099">
                  <c:v>19.586824505677065</c:v>
                </c:pt>
                <c:pt idx="59100">
                  <c:v>32.869435925737641</c:v>
                </c:pt>
                <c:pt idx="59101">
                  <c:v>22.135136741311484</c:v>
                </c:pt>
                <c:pt idx="59102">
                  <c:v>15.766093569647527</c:v>
                </c:pt>
                <c:pt idx="59103">
                  <c:v>27.753990475864114</c:v>
                </c:pt>
                <c:pt idx="59104">
                  <c:v>54.277213057797816</c:v>
                </c:pt>
                <c:pt idx="59105">
                  <c:v>27.993633844585805</c:v>
                </c:pt>
                <c:pt idx="59106">
                  <c:v>24.325062971884424</c:v>
                </c:pt>
                <c:pt idx="59107">
                  <c:v>43.513226731900673</c:v>
                </c:pt>
                <c:pt idx="59108">
                  <c:v>26.900490579302609</c:v>
                </c:pt>
                <c:pt idx="59109">
                  <c:v>25.167309555449069</c:v>
                </c:pt>
                <c:pt idx="59110">
                  <c:v>25.202535593641805</c:v>
                </c:pt>
                <c:pt idx="59111">
                  <c:v>40.726574332626413</c:v>
                </c:pt>
                <c:pt idx="59112">
                  <c:v>50.530918311096485</c:v>
                </c:pt>
                <c:pt idx="59113">
                  <c:v>23.074545314616728</c:v>
                </c:pt>
                <c:pt idx="59114">
                  <c:v>40.859604663933794</c:v>
                </c:pt>
                <c:pt idx="59115">
                  <c:v>22.583174768266364</c:v>
                </c:pt>
                <c:pt idx="59116">
                  <c:v>26.989992700406724</c:v>
                </c:pt>
                <c:pt idx="59117">
                  <c:v>48.71670802102593</c:v>
                </c:pt>
                <c:pt idx="59118">
                  <c:v>22.82937644073116</c:v>
                </c:pt>
                <c:pt idx="59119">
                  <c:v>47.608290151659496</c:v>
                </c:pt>
                <c:pt idx="59120">
                  <c:v>25.161441558032877</c:v>
                </c:pt>
                <c:pt idx="59121">
                  <c:v>32.632502900547536</c:v>
                </c:pt>
                <c:pt idx="59122">
                  <c:v>17.523280190550274</c:v>
                </c:pt>
                <c:pt idx="59123">
                  <c:v>23.822372312743184</c:v>
                </c:pt>
                <c:pt idx="59124">
                  <c:v>45.008797987692709</c:v>
                </c:pt>
                <c:pt idx="59125">
                  <c:v>21.031873893007976</c:v>
                </c:pt>
                <c:pt idx="59126">
                  <c:v>45.77543110662306</c:v>
                </c:pt>
                <c:pt idx="59127">
                  <c:v>49.310810595262993</c:v>
                </c:pt>
                <c:pt idx="59128">
                  <c:v>28.416651572662097</c:v>
                </c:pt>
                <c:pt idx="59129">
                  <c:v>50.684508329812346</c:v>
                </c:pt>
                <c:pt idx="59130">
                  <c:v>24.11547598296676</c:v>
                </c:pt>
                <c:pt idx="59131">
                  <c:v>20.008551932642131</c:v>
                </c:pt>
                <c:pt idx="59132">
                  <c:v>16.556544766410159</c:v>
                </c:pt>
                <c:pt idx="59133">
                  <c:v>35.567949507438719</c:v>
                </c:pt>
                <c:pt idx="59134">
                  <c:v>33.562726319492292</c:v>
                </c:pt>
                <c:pt idx="59135">
                  <c:v>31.986885507995126</c:v>
                </c:pt>
                <c:pt idx="59136">
                  <c:v>23.957702629693063</c:v>
                </c:pt>
                <c:pt idx="59137">
                  <c:v>58.415269863491766</c:v>
                </c:pt>
                <c:pt idx="59138">
                  <c:v>49.374536810457798</c:v>
                </c:pt>
                <c:pt idx="59139">
                  <c:v>23.619968325013794</c:v>
                </c:pt>
                <c:pt idx="59140">
                  <c:v>31.420502673685256</c:v>
                </c:pt>
                <c:pt idx="59141">
                  <c:v>53.872532333183457</c:v>
                </c:pt>
                <c:pt idx="59142">
                  <c:v>31.601462790111214</c:v>
                </c:pt>
                <c:pt idx="59143">
                  <c:v>25.460034955166488</c:v>
                </c:pt>
                <c:pt idx="59144">
                  <c:v>25.22326678371536</c:v>
                </c:pt>
                <c:pt idx="59145">
                  <c:v>49.009325410283893</c:v>
                </c:pt>
                <c:pt idx="59146">
                  <c:v>32.631646935442866</c:v>
                </c:pt>
                <c:pt idx="59147">
                  <c:v>49.278209969929179</c:v>
                </c:pt>
                <c:pt idx="59148">
                  <c:v>24.40866089288879</c:v>
                </c:pt>
                <c:pt idx="59149">
                  <c:v>29.24569014188959</c:v>
                </c:pt>
                <c:pt idx="59150">
                  <c:v>43.480219902743023</c:v>
                </c:pt>
                <c:pt idx="59151">
                  <c:v>20.753929025031169</c:v>
                </c:pt>
                <c:pt idx="59152">
                  <c:v>19.060913979552932</c:v>
                </c:pt>
                <c:pt idx="59153">
                  <c:v>25.794662718192075</c:v>
                </c:pt>
                <c:pt idx="59154">
                  <c:v>21.336123447025606</c:v>
                </c:pt>
                <c:pt idx="59155">
                  <c:v>25.185419304800423</c:v>
                </c:pt>
                <c:pt idx="59156">
                  <c:v>26.581590920997915</c:v>
                </c:pt>
                <c:pt idx="59157">
                  <c:v>47.541417550643047</c:v>
                </c:pt>
                <c:pt idx="59158">
                  <c:v>41.695349311549734</c:v>
                </c:pt>
                <c:pt idx="59159">
                  <c:v>15.398391341247855</c:v>
                </c:pt>
                <c:pt idx="59160">
                  <c:v>22.554384865259866</c:v>
                </c:pt>
                <c:pt idx="59161">
                  <c:v>46.366132785935186</c:v>
                </c:pt>
                <c:pt idx="59162">
                  <c:v>31.668608340845481</c:v>
                </c:pt>
                <c:pt idx="59163">
                  <c:v>24.987268373162202</c:v>
                </c:pt>
                <c:pt idx="59164">
                  <c:v>25.422398754770359</c:v>
                </c:pt>
                <c:pt idx="59165">
                  <c:v>20.98896592186237</c:v>
                </c:pt>
                <c:pt idx="59166">
                  <c:v>26.711178619138828</c:v>
                </c:pt>
                <c:pt idx="59167">
                  <c:v>37.66278258981464</c:v>
                </c:pt>
                <c:pt idx="59168">
                  <c:v>23.313274665181471</c:v>
                </c:pt>
                <c:pt idx="59169">
                  <c:v>27.269927304734409</c:v>
                </c:pt>
                <c:pt idx="59170">
                  <c:v>31.297865687767001</c:v>
                </c:pt>
                <c:pt idx="59171">
                  <c:v>28.843416458703228</c:v>
                </c:pt>
                <c:pt idx="59172">
                  <c:v>44.335195176303515</c:v>
                </c:pt>
                <c:pt idx="59173">
                  <c:v>27.03821054852288</c:v>
                </c:pt>
                <c:pt idx="59174">
                  <c:v>27.961429100838426</c:v>
                </c:pt>
                <c:pt idx="59175">
                  <c:v>39.226745374259579</c:v>
                </c:pt>
                <c:pt idx="59176">
                  <c:v>33.5307528580868</c:v>
                </c:pt>
                <c:pt idx="59177">
                  <c:v>36.740790258112817</c:v>
                </c:pt>
                <c:pt idx="59178">
                  <c:v>34.148810975139327</c:v>
                </c:pt>
                <c:pt idx="59179">
                  <c:v>19.50817819416266</c:v>
                </c:pt>
                <c:pt idx="59180">
                  <c:v>22.708642852465648</c:v>
                </c:pt>
                <c:pt idx="59181">
                  <c:v>32.728374750039599</c:v>
                </c:pt>
                <c:pt idx="59182">
                  <c:v>17.402238113378367</c:v>
                </c:pt>
                <c:pt idx="59183">
                  <c:v>37.482045676410777</c:v>
                </c:pt>
                <c:pt idx="59184">
                  <c:v>17.558681868870551</c:v>
                </c:pt>
                <c:pt idx="59185">
                  <c:v>25.472564591975271</c:v>
                </c:pt>
                <c:pt idx="59186">
                  <c:v>55.409012494829163</c:v>
                </c:pt>
                <c:pt idx="59187">
                  <c:v>46.294608666837235</c:v>
                </c:pt>
                <c:pt idx="59188">
                  <c:v>28.755429126440344</c:v>
                </c:pt>
                <c:pt idx="59189">
                  <c:v>48.649667897288666</c:v>
                </c:pt>
                <c:pt idx="59190">
                  <c:v>26.914316887402347</c:v>
                </c:pt>
                <c:pt idx="59191">
                  <c:v>29.762609935539594</c:v>
                </c:pt>
                <c:pt idx="59192">
                  <c:v>27.687296393031605</c:v>
                </c:pt>
                <c:pt idx="59193">
                  <c:v>26.563558738191631</c:v>
                </c:pt>
                <c:pt idx="59194">
                  <c:v>55.820117029876492</c:v>
                </c:pt>
                <c:pt idx="59195">
                  <c:v>35.089542326822652</c:v>
                </c:pt>
                <c:pt idx="59196">
                  <c:v>39.24102146570646</c:v>
                </c:pt>
                <c:pt idx="59197">
                  <c:v>39.883487691044856</c:v>
                </c:pt>
                <c:pt idx="59198">
                  <c:v>30.779525500978821</c:v>
                </c:pt>
                <c:pt idx="59199">
                  <c:v>61.120914189118132</c:v>
                </c:pt>
                <c:pt idx="59200">
                  <c:v>25.91808434209841</c:v>
                </c:pt>
                <c:pt idx="59201">
                  <c:v>24.237384321439887</c:v>
                </c:pt>
                <c:pt idx="59202">
                  <c:v>26.993634065890003</c:v>
                </c:pt>
                <c:pt idx="59203">
                  <c:v>26.639733929476968</c:v>
                </c:pt>
                <c:pt idx="59204">
                  <c:v>29.193360670205305</c:v>
                </c:pt>
                <c:pt idx="59205">
                  <c:v>35.990132255343639</c:v>
                </c:pt>
                <c:pt idx="59206">
                  <c:v>17.101983213899764</c:v>
                </c:pt>
                <c:pt idx="59207">
                  <c:v>21.407819833957998</c:v>
                </c:pt>
                <c:pt idx="59208">
                  <c:v>21.799643544142555</c:v>
                </c:pt>
                <c:pt idx="59209">
                  <c:v>30.690412706966669</c:v>
                </c:pt>
                <c:pt idx="59210">
                  <c:v>27.158960415540559</c:v>
                </c:pt>
                <c:pt idx="59211">
                  <c:v>22.107442427427173</c:v>
                </c:pt>
                <c:pt idx="59212">
                  <c:v>33.368610422827658</c:v>
                </c:pt>
                <c:pt idx="59213">
                  <c:v>39.335504335336402</c:v>
                </c:pt>
                <c:pt idx="59214">
                  <c:v>35.777821550902452</c:v>
                </c:pt>
                <c:pt idx="59215">
                  <c:v>24.634349479737946</c:v>
                </c:pt>
                <c:pt idx="59216">
                  <c:v>57.110784616079066</c:v>
                </c:pt>
                <c:pt idx="59217">
                  <c:v>29.677376353576218</c:v>
                </c:pt>
                <c:pt idx="59218">
                  <c:v>43.669281455166519</c:v>
                </c:pt>
                <c:pt idx="59219">
                  <c:v>30.646169643062855</c:v>
                </c:pt>
                <c:pt idx="59220">
                  <c:v>24.841936252979913</c:v>
                </c:pt>
                <c:pt idx="59221">
                  <c:v>51.297077338266227</c:v>
                </c:pt>
                <c:pt idx="59222">
                  <c:v>21.25422888601927</c:v>
                </c:pt>
                <c:pt idx="59223">
                  <c:v>47.264179084989244</c:v>
                </c:pt>
                <c:pt idx="59224">
                  <c:v>30.344837334883152</c:v>
                </c:pt>
                <c:pt idx="59225">
                  <c:v>19.332099389808782</c:v>
                </c:pt>
                <c:pt idx="59226">
                  <c:v>27.251811357616219</c:v>
                </c:pt>
                <c:pt idx="59227">
                  <c:v>53.566323844606259</c:v>
                </c:pt>
                <c:pt idx="59228">
                  <c:v>25.798770182217197</c:v>
                </c:pt>
                <c:pt idx="59229">
                  <c:v>54.299647068260441</c:v>
                </c:pt>
                <c:pt idx="59230">
                  <c:v>24.154949943964752</c:v>
                </c:pt>
                <c:pt idx="59231">
                  <c:v>20.153191506664019</c:v>
                </c:pt>
                <c:pt idx="59232">
                  <c:v>22.991449954676867</c:v>
                </c:pt>
                <c:pt idx="59233">
                  <c:v>17.223855172130197</c:v>
                </c:pt>
                <c:pt idx="59234">
                  <c:v>23.59495644630055</c:v>
                </c:pt>
                <c:pt idx="59235">
                  <c:v>42.997433158476937</c:v>
                </c:pt>
                <c:pt idx="59236">
                  <c:v>21.631137981206571</c:v>
                </c:pt>
                <c:pt idx="59237">
                  <c:v>40.009215436300082</c:v>
                </c:pt>
                <c:pt idx="59238">
                  <c:v>26.99478116294555</c:v>
                </c:pt>
                <c:pt idx="59239">
                  <c:v>22.94317045763848</c:v>
                </c:pt>
                <c:pt idx="59240">
                  <c:v>22.560842551640999</c:v>
                </c:pt>
                <c:pt idx="59241">
                  <c:v>19.656493713066837</c:v>
                </c:pt>
                <c:pt idx="59242">
                  <c:v>53.771076096455801</c:v>
                </c:pt>
                <c:pt idx="59243">
                  <c:v>30.144854887743644</c:v>
                </c:pt>
                <c:pt idx="59244">
                  <c:v>22.678192626737985</c:v>
                </c:pt>
                <c:pt idx="59245">
                  <c:v>38.396737667372157</c:v>
                </c:pt>
                <c:pt idx="59246">
                  <c:v>29.097418442376402</c:v>
                </c:pt>
                <c:pt idx="59247">
                  <c:v>21.529334167435248</c:v>
                </c:pt>
                <c:pt idx="59248">
                  <c:v>37.490442028791357</c:v>
                </c:pt>
                <c:pt idx="59249">
                  <c:v>66.327721531892394</c:v>
                </c:pt>
                <c:pt idx="59250">
                  <c:v>25.18435418556043</c:v>
                </c:pt>
                <c:pt idx="59251">
                  <c:v>44.036738786076839</c:v>
                </c:pt>
                <c:pt idx="59252">
                  <c:v>40.015146703400873</c:v>
                </c:pt>
                <c:pt idx="59253">
                  <c:v>25.544768523611005</c:v>
                </c:pt>
                <c:pt idx="59254">
                  <c:v>29.3694327901793</c:v>
                </c:pt>
                <c:pt idx="59255">
                  <c:v>23.603194744156934</c:v>
                </c:pt>
                <c:pt idx="59256">
                  <c:v>23.107029141697609</c:v>
                </c:pt>
                <c:pt idx="59257">
                  <c:v>42.749736217875942</c:v>
                </c:pt>
                <c:pt idx="59258">
                  <c:v>24.743179556731413</c:v>
                </c:pt>
                <c:pt idx="59259">
                  <c:v>27.702054896721013</c:v>
                </c:pt>
                <c:pt idx="59260">
                  <c:v>29.263993678752993</c:v>
                </c:pt>
                <c:pt idx="59261">
                  <c:v>44.613888875282434</c:v>
                </c:pt>
                <c:pt idx="59262">
                  <c:v>45.61242505427591</c:v>
                </c:pt>
                <c:pt idx="59263">
                  <c:v>28.615136195376969</c:v>
                </c:pt>
                <c:pt idx="59264">
                  <c:v>23.295062489282042</c:v>
                </c:pt>
                <c:pt idx="59265">
                  <c:v>38.001566789624597</c:v>
                </c:pt>
                <c:pt idx="59266">
                  <c:v>46.848344249037055</c:v>
                </c:pt>
                <c:pt idx="59267">
                  <c:v>29.399426595552832</c:v>
                </c:pt>
                <c:pt idx="59268">
                  <c:v>31.444745526450845</c:v>
                </c:pt>
                <c:pt idx="59269">
                  <c:v>26.891103416239051</c:v>
                </c:pt>
                <c:pt idx="59270">
                  <c:v>27.933597441161911</c:v>
                </c:pt>
                <c:pt idx="59271">
                  <c:v>58.813540442555521</c:v>
                </c:pt>
                <c:pt idx="59272">
                  <c:v>30.104831020293897</c:v>
                </c:pt>
                <c:pt idx="59273">
                  <c:v>41.42471907858728</c:v>
                </c:pt>
                <c:pt idx="59274">
                  <c:v>23.934941950211108</c:v>
                </c:pt>
                <c:pt idx="59275">
                  <c:v>35.460506625094162</c:v>
                </c:pt>
                <c:pt idx="59276">
                  <c:v>27.440704028291051</c:v>
                </c:pt>
                <c:pt idx="59277">
                  <c:v>23.554087086375905</c:v>
                </c:pt>
                <c:pt idx="59278">
                  <c:v>26.325512210155946</c:v>
                </c:pt>
                <c:pt idx="59279">
                  <c:v>45.757917924179104</c:v>
                </c:pt>
                <c:pt idx="59280">
                  <c:v>24.749002550459846</c:v>
                </c:pt>
                <c:pt idx="59281">
                  <c:v>30.142885342875864</c:v>
                </c:pt>
                <c:pt idx="59282">
                  <c:v>28.25099647660986</c:v>
                </c:pt>
                <c:pt idx="59283">
                  <c:v>20.384652485925649</c:v>
                </c:pt>
                <c:pt idx="59284">
                  <c:v>24.831918605419538</c:v>
                </c:pt>
                <c:pt idx="59285">
                  <c:v>23.362020601248904</c:v>
                </c:pt>
                <c:pt idx="59286">
                  <c:v>23.12198286478985</c:v>
                </c:pt>
                <c:pt idx="59287">
                  <c:v>49.797468291128531</c:v>
                </c:pt>
                <c:pt idx="59288">
                  <c:v>44.599860366573637</c:v>
                </c:pt>
                <c:pt idx="59289">
                  <c:v>52.964717114490917</c:v>
                </c:pt>
                <c:pt idx="59290">
                  <c:v>26.204414611391599</c:v>
                </c:pt>
                <c:pt idx="59291">
                  <c:v>39.931632328689972</c:v>
                </c:pt>
                <c:pt idx="59292">
                  <c:v>34.296489418424159</c:v>
                </c:pt>
                <c:pt idx="59293">
                  <c:v>27.365176307327125</c:v>
                </c:pt>
                <c:pt idx="59294">
                  <c:v>25.794385243638388</c:v>
                </c:pt>
                <c:pt idx="59295">
                  <c:v>20.043078684933093</c:v>
                </c:pt>
                <c:pt idx="59296">
                  <c:v>20.078861043106258</c:v>
                </c:pt>
                <c:pt idx="59297">
                  <c:v>18.788002775193412</c:v>
                </c:pt>
                <c:pt idx="59298">
                  <c:v>28.185328525466431</c:v>
                </c:pt>
                <c:pt idx="59299">
                  <c:v>31.724062155674776</c:v>
                </c:pt>
                <c:pt idx="59300">
                  <c:v>26.20601632279352</c:v>
                </c:pt>
                <c:pt idx="59301">
                  <c:v>22.861783741068646</c:v>
                </c:pt>
                <c:pt idx="59302">
                  <c:v>22.495973634327513</c:v>
                </c:pt>
                <c:pt idx="59303">
                  <c:v>39.243891875858523</c:v>
                </c:pt>
                <c:pt idx="59304">
                  <c:v>31.396152291925777</c:v>
                </c:pt>
                <c:pt idx="59305">
                  <c:v>31.356115871926949</c:v>
                </c:pt>
                <c:pt idx="59306">
                  <c:v>24.096952329114437</c:v>
                </c:pt>
                <c:pt idx="59307">
                  <c:v>26.619514123018327</c:v>
                </c:pt>
                <c:pt idx="59308">
                  <c:v>27.343898426612061</c:v>
                </c:pt>
                <c:pt idx="59309">
                  <c:v>25.008106537800437</c:v>
                </c:pt>
                <c:pt idx="59310">
                  <c:v>26.03644401146574</c:v>
                </c:pt>
                <c:pt idx="59311">
                  <c:v>29.487063603460705</c:v>
                </c:pt>
                <c:pt idx="59312">
                  <c:v>15.656730342875424</c:v>
                </c:pt>
                <c:pt idx="59313">
                  <c:v>21.173916284767763</c:v>
                </c:pt>
                <c:pt idx="59314">
                  <c:v>53.439522568093835</c:v>
                </c:pt>
                <c:pt idx="59315">
                  <c:v>34.82867555247006</c:v>
                </c:pt>
                <c:pt idx="59316">
                  <c:v>15.284713004053385</c:v>
                </c:pt>
                <c:pt idx="59317">
                  <c:v>46.306405270963339</c:v>
                </c:pt>
                <c:pt idx="59318">
                  <c:v>51.354949982090282</c:v>
                </c:pt>
                <c:pt idx="59319">
                  <c:v>30.047268360126608</c:v>
                </c:pt>
                <c:pt idx="59320">
                  <c:v>25.057130852905697</c:v>
                </c:pt>
                <c:pt idx="59321">
                  <c:v>51.81265789287189</c:v>
                </c:pt>
                <c:pt idx="59322">
                  <c:v>22.542162337529028</c:v>
                </c:pt>
                <c:pt idx="59323">
                  <c:v>23.316224524897528</c:v>
                </c:pt>
                <c:pt idx="59324">
                  <c:v>29.596070337240935</c:v>
                </c:pt>
                <c:pt idx="59325">
                  <c:v>23.934746426759485</c:v>
                </c:pt>
                <c:pt idx="59326">
                  <c:v>51.887748453052353</c:v>
                </c:pt>
                <c:pt idx="59327">
                  <c:v>28.252378947580684</c:v>
                </c:pt>
                <c:pt idx="59328">
                  <c:v>29.152014162801933</c:v>
                </c:pt>
                <c:pt idx="59329">
                  <c:v>25.573381658329986</c:v>
                </c:pt>
                <c:pt idx="59330">
                  <c:v>30.883788979463507</c:v>
                </c:pt>
                <c:pt idx="59331">
                  <c:v>33.620507585791735</c:v>
                </c:pt>
                <c:pt idx="59332">
                  <c:v>26.390217746700447</c:v>
                </c:pt>
                <c:pt idx="59333">
                  <c:v>25.936163396145581</c:v>
                </c:pt>
                <c:pt idx="59334">
                  <c:v>21.598262964212672</c:v>
                </c:pt>
                <c:pt idx="59335">
                  <c:v>25.925618361156506</c:v>
                </c:pt>
                <c:pt idx="59336">
                  <c:v>25.987980138939573</c:v>
                </c:pt>
                <c:pt idx="59337">
                  <c:v>29.95755167757401</c:v>
                </c:pt>
                <c:pt idx="59338">
                  <c:v>30.444188788959899</c:v>
                </c:pt>
                <c:pt idx="59339">
                  <c:v>20.053043152454631</c:v>
                </c:pt>
                <c:pt idx="59340">
                  <c:v>28.224305094022746</c:v>
                </c:pt>
                <c:pt idx="59341">
                  <c:v>23.132214044591791</c:v>
                </c:pt>
                <c:pt idx="59342">
                  <c:v>44.933626974406117</c:v>
                </c:pt>
                <c:pt idx="59343">
                  <c:v>38.288478081315446</c:v>
                </c:pt>
                <c:pt idx="59344">
                  <c:v>22.371605409316739</c:v>
                </c:pt>
                <c:pt idx="59345">
                  <c:v>35.160724851609977</c:v>
                </c:pt>
                <c:pt idx="59346">
                  <c:v>53.579260819275632</c:v>
                </c:pt>
                <c:pt idx="59347">
                  <c:v>52.179021682050255</c:v>
                </c:pt>
                <c:pt idx="59348">
                  <c:v>29.050801749512182</c:v>
                </c:pt>
                <c:pt idx="59349">
                  <c:v>22.418628624600196</c:v>
                </c:pt>
                <c:pt idx="59350">
                  <c:v>24.562674493980595</c:v>
                </c:pt>
                <c:pt idx="59351">
                  <c:v>28.235052695525923</c:v>
                </c:pt>
                <c:pt idx="59352">
                  <c:v>31.684351881038065</c:v>
                </c:pt>
                <c:pt idx="59353">
                  <c:v>23.262741983798573</c:v>
                </c:pt>
                <c:pt idx="59354">
                  <c:v>68.106365893070333</c:v>
                </c:pt>
                <c:pt idx="59355">
                  <c:v>30.593471124720544</c:v>
                </c:pt>
                <c:pt idx="59356">
                  <c:v>30.620474011327243</c:v>
                </c:pt>
                <c:pt idx="59357">
                  <c:v>27.935127061231579</c:v>
                </c:pt>
                <c:pt idx="59358">
                  <c:v>24.809421119747661</c:v>
                </c:pt>
                <c:pt idx="59359">
                  <c:v>30.612396545638951</c:v>
                </c:pt>
                <c:pt idx="59360">
                  <c:v>40.217005111097507</c:v>
                </c:pt>
                <c:pt idx="59361">
                  <c:v>46.785693256988125</c:v>
                </c:pt>
                <c:pt idx="59362">
                  <c:v>27.472189814071381</c:v>
                </c:pt>
                <c:pt idx="59363">
                  <c:v>25.62429698264204</c:v>
                </c:pt>
                <c:pt idx="59364">
                  <c:v>28.543613640055771</c:v>
                </c:pt>
                <c:pt idx="59365">
                  <c:v>43.367377041217338</c:v>
                </c:pt>
                <c:pt idx="59366">
                  <c:v>42.137884339074937</c:v>
                </c:pt>
                <c:pt idx="59367">
                  <c:v>25.270508607817085</c:v>
                </c:pt>
                <c:pt idx="59368">
                  <c:v>24.855615881612167</c:v>
                </c:pt>
                <c:pt idx="59369">
                  <c:v>33.318556143863567</c:v>
                </c:pt>
                <c:pt idx="59370">
                  <c:v>30.910757064559576</c:v>
                </c:pt>
                <c:pt idx="59371">
                  <c:v>28.158021385639159</c:v>
                </c:pt>
                <c:pt idx="59372">
                  <c:v>25.096879291035254</c:v>
                </c:pt>
                <c:pt idx="59373">
                  <c:v>47.597458944690317</c:v>
                </c:pt>
                <c:pt idx="59374">
                  <c:v>54.184138209500794</c:v>
                </c:pt>
                <c:pt idx="59375">
                  <c:v>46.354780451528683</c:v>
                </c:pt>
                <c:pt idx="59376">
                  <c:v>26.837328942592542</c:v>
                </c:pt>
                <c:pt idx="59377">
                  <c:v>26.44520310552339</c:v>
                </c:pt>
                <c:pt idx="59378">
                  <c:v>23.621188245007964</c:v>
                </c:pt>
                <c:pt idx="59379">
                  <c:v>24.503101707403008</c:v>
                </c:pt>
                <c:pt idx="59380">
                  <c:v>31.064638808592463</c:v>
                </c:pt>
                <c:pt idx="59381">
                  <c:v>22.043981511057318</c:v>
                </c:pt>
                <c:pt idx="59382">
                  <c:v>49.735180183430472</c:v>
                </c:pt>
                <c:pt idx="59383">
                  <c:v>42.719113786289</c:v>
                </c:pt>
                <c:pt idx="59384">
                  <c:v>58.374580238884832</c:v>
                </c:pt>
                <c:pt idx="59385">
                  <c:v>18.432084834293015</c:v>
                </c:pt>
                <c:pt idx="59386">
                  <c:v>23.092352742881666</c:v>
                </c:pt>
                <c:pt idx="59387">
                  <c:v>40.108772872577887</c:v>
                </c:pt>
                <c:pt idx="59388">
                  <c:v>38.750103749161802</c:v>
                </c:pt>
                <c:pt idx="59389">
                  <c:v>21.319623078096516</c:v>
                </c:pt>
                <c:pt idx="59390">
                  <c:v>28.683440356198894</c:v>
                </c:pt>
                <c:pt idx="59391">
                  <c:v>24.656205344445851</c:v>
                </c:pt>
                <c:pt idx="59392">
                  <c:v>51.122522820039762</c:v>
                </c:pt>
                <c:pt idx="59393">
                  <c:v>23.090004810859263</c:v>
                </c:pt>
                <c:pt idx="59394">
                  <c:v>30.72706187448243</c:v>
                </c:pt>
                <c:pt idx="59395">
                  <c:v>52.940519196796956</c:v>
                </c:pt>
                <c:pt idx="59396">
                  <c:v>49.077543617232664</c:v>
                </c:pt>
                <c:pt idx="59397">
                  <c:v>28.666508640075229</c:v>
                </c:pt>
                <c:pt idx="59398">
                  <c:v>22.735497502582252</c:v>
                </c:pt>
                <c:pt idx="59399">
                  <c:v>27.530173263740384</c:v>
                </c:pt>
                <c:pt idx="59400">
                  <c:v>27.635050035803665</c:v>
                </c:pt>
                <c:pt idx="59401">
                  <c:v>52.150701895635514</c:v>
                </c:pt>
                <c:pt idx="59402">
                  <c:v>28.771581441314297</c:v>
                </c:pt>
                <c:pt idx="59403">
                  <c:v>52.735076911951722</c:v>
                </c:pt>
                <c:pt idx="59404">
                  <c:v>30.341563155706247</c:v>
                </c:pt>
                <c:pt idx="59405">
                  <c:v>24.543528381618405</c:v>
                </c:pt>
                <c:pt idx="59406">
                  <c:v>29.854581624509922</c:v>
                </c:pt>
                <c:pt idx="59407">
                  <c:v>50.834435549036527</c:v>
                </c:pt>
                <c:pt idx="59408">
                  <c:v>50.529871494162876</c:v>
                </c:pt>
                <c:pt idx="59409">
                  <c:v>24.68563372983467</c:v>
                </c:pt>
                <c:pt idx="59410">
                  <c:v>24.248715342379136</c:v>
                </c:pt>
                <c:pt idx="59411">
                  <c:v>18.676804333970974</c:v>
                </c:pt>
                <c:pt idx="59412">
                  <c:v>46.945886275532231</c:v>
                </c:pt>
                <c:pt idx="59413">
                  <c:v>49.203456118190502</c:v>
                </c:pt>
                <c:pt idx="59414">
                  <c:v>34.233257792501462</c:v>
                </c:pt>
                <c:pt idx="59415">
                  <c:v>25.216893101903523</c:v>
                </c:pt>
                <c:pt idx="59416">
                  <c:v>25.122484635396326</c:v>
                </c:pt>
                <c:pt idx="59417">
                  <c:v>26.448208213959912</c:v>
                </c:pt>
                <c:pt idx="59418">
                  <c:v>22.031664745261718</c:v>
                </c:pt>
                <c:pt idx="59419">
                  <c:v>41.254751731150435</c:v>
                </c:pt>
                <c:pt idx="59420">
                  <c:v>30.76755481374401</c:v>
                </c:pt>
                <c:pt idx="59421">
                  <c:v>29.715881620092549</c:v>
                </c:pt>
                <c:pt idx="59422">
                  <c:v>56.875648611398539</c:v>
                </c:pt>
                <c:pt idx="59423">
                  <c:v>19.530455751670633</c:v>
                </c:pt>
                <c:pt idx="59424">
                  <c:v>18.835933593324356</c:v>
                </c:pt>
                <c:pt idx="59425">
                  <c:v>30.343137692522646</c:v>
                </c:pt>
                <c:pt idx="59426">
                  <c:v>25.095253522848886</c:v>
                </c:pt>
                <c:pt idx="59427">
                  <c:v>29.036636451835701</c:v>
                </c:pt>
                <c:pt idx="59428">
                  <c:v>21.82506196469042</c:v>
                </c:pt>
                <c:pt idx="59429">
                  <c:v>55.320380277748065</c:v>
                </c:pt>
                <c:pt idx="59430">
                  <c:v>37.03612761896634</c:v>
                </c:pt>
                <c:pt idx="59431">
                  <c:v>53.609930925151602</c:v>
                </c:pt>
                <c:pt idx="59432">
                  <c:v>27.695877828519357</c:v>
                </c:pt>
                <c:pt idx="59433">
                  <c:v>25.37922913633674</c:v>
                </c:pt>
                <c:pt idx="59434">
                  <c:v>35.57180266963794</c:v>
                </c:pt>
                <c:pt idx="59435">
                  <c:v>29.04677477280423</c:v>
                </c:pt>
                <c:pt idx="59436">
                  <c:v>26.666115541686764</c:v>
                </c:pt>
                <c:pt idx="59437">
                  <c:v>35.344198708496627</c:v>
                </c:pt>
                <c:pt idx="59438">
                  <c:v>22.460928547546853</c:v>
                </c:pt>
                <c:pt idx="59439">
                  <c:v>17.721362699456318</c:v>
                </c:pt>
                <c:pt idx="59440">
                  <c:v>48.418863318398081</c:v>
                </c:pt>
                <c:pt idx="59441">
                  <c:v>47.919472194813252</c:v>
                </c:pt>
                <c:pt idx="59442">
                  <c:v>21.478079846558302</c:v>
                </c:pt>
                <c:pt idx="59443">
                  <c:v>18.407963845540756</c:v>
                </c:pt>
                <c:pt idx="59444">
                  <c:v>29.093124705826419</c:v>
                </c:pt>
                <c:pt idx="59445">
                  <c:v>35.994638012120859</c:v>
                </c:pt>
                <c:pt idx="59446">
                  <c:v>39.557520573879884</c:v>
                </c:pt>
                <c:pt idx="59447">
                  <c:v>22.307669080131411</c:v>
                </c:pt>
                <c:pt idx="59448">
                  <c:v>22.012912014799809</c:v>
                </c:pt>
                <c:pt idx="59449">
                  <c:v>26.578218992818336</c:v>
                </c:pt>
                <c:pt idx="59450">
                  <c:v>30.695824374166151</c:v>
                </c:pt>
                <c:pt idx="59451">
                  <c:v>33.819511852899808</c:v>
                </c:pt>
                <c:pt idx="59452">
                  <c:v>57.141442386536099</c:v>
                </c:pt>
                <c:pt idx="59453">
                  <c:v>45.568683573469841</c:v>
                </c:pt>
                <c:pt idx="59454">
                  <c:v>47.04721370918616</c:v>
                </c:pt>
                <c:pt idx="59455">
                  <c:v>23.212493710942375</c:v>
                </c:pt>
                <c:pt idx="59456">
                  <c:v>29.481109004285923</c:v>
                </c:pt>
                <c:pt idx="59457">
                  <c:v>34.678550109736015</c:v>
                </c:pt>
                <c:pt idx="59458">
                  <c:v>31.49594470821107</c:v>
                </c:pt>
                <c:pt idx="59459">
                  <c:v>41.959970181543035</c:v>
                </c:pt>
                <c:pt idx="59460">
                  <c:v>24.872001653380675</c:v>
                </c:pt>
                <c:pt idx="59461">
                  <c:v>31.332690216996198</c:v>
                </c:pt>
                <c:pt idx="59462">
                  <c:v>50.321427630743514</c:v>
                </c:pt>
                <c:pt idx="59463">
                  <c:v>31.254519969418389</c:v>
                </c:pt>
                <c:pt idx="59464">
                  <c:v>63.803623500773902</c:v>
                </c:pt>
                <c:pt idx="59465">
                  <c:v>37.65500303846364</c:v>
                </c:pt>
                <c:pt idx="59466">
                  <c:v>37.110110528785299</c:v>
                </c:pt>
                <c:pt idx="59467">
                  <c:v>59.534249598783688</c:v>
                </c:pt>
                <c:pt idx="59468">
                  <c:v>34.022077637977063</c:v>
                </c:pt>
                <c:pt idx="59469">
                  <c:v>26.048871102970793</c:v>
                </c:pt>
                <c:pt idx="59470">
                  <c:v>40.272701419139281</c:v>
                </c:pt>
                <c:pt idx="59471">
                  <c:v>34.831597174941351</c:v>
                </c:pt>
                <c:pt idx="59472">
                  <c:v>39.36799975576038</c:v>
                </c:pt>
                <c:pt idx="59473">
                  <c:v>18.373933311680272</c:v>
                </c:pt>
                <c:pt idx="59474">
                  <c:v>27.298315805034626</c:v>
                </c:pt>
                <c:pt idx="59475">
                  <c:v>21.587693072772073</c:v>
                </c:pt>
                <c:pt idx="59476">
                  <c:v>22.316417135055438</c:v>
                </c:pt>
                <c:pt idx="59477">
                  <c:v>21.212149744967526</c:v>
                </c:pt>
                <c:pt idx="59478">
                  <c:v>27.767048091757783</c:v>
                </c:pt>
                <c:pt idx="59479">
                  <c:v>22.210369195478524</c:v>
                </c:pt>
                <c:pt idx="59480">
                  <c:v>23.394256565413091</c:v>
                </c:pt>
                <c:pt idx="59481">
                  <c:v>35.489165349935107</c:v>
                </c:pt>
                <c:pt idx="59482">
                  <c:v>21.263157937541528</c:v>
                </c:pt>
                <c:pt idx="59483">
                  <c:v>28.813083345548513</c:v>
                </c:pt>
                <c:pt idx="59484">
                  <c:v>48.758726036308353</c:v>
                </c:pt>
                <c:pt idx="59485">
                  <c:v>22.797990267239879</c:v>
                </c:pt>
                <c:pt idx="59486">
                  <c:v>23.783879289787862</c:v>
                </c:pt>
                <c:pt idx="59487">
                  <c:v>25.597782505067016</c:v>
                </c:pt>
                <c:pt idx="59488">
                  <c:v>31.82319963752834</c:v>
                </c:pt>
                <c:pt idx="59489">
                  <c:v>22.518336436350705</c:v>
                </c:pt>
                <c:pt idx="59490">
                  <c:v>24.997137420620206</c:v>
                </c:pt>
                <c:pt idx="59491">
                  <c:v>25.214746562389511</c:v>
                </c:pt>
                <c:pt idx="59492">
                  <c:v>31.356898463128111</c:v>
                </c:pt>
                <c:pt idx="59493">
                  <c:v>22.18454745959616</c:v>
                </c:pt>
                <c:pt idx="59494">
                  <c:v>31.075920059485039</c:v>
                </c:pt>
                <c:pt idx="59495">
                  <c:v>33.857084511505569</c:v>
                </c:pt>
                <c:pt idx="59496">
                  <c:v>34.792689879207586</c:v>
                </c:pt>
                <c:pt idx="59497">
                  <c:v>44.0106989901414</c:v>
                </c:pt>
                <c:pt idx="59498">
                  <c:v>46.804605898621325</c:v>
                </c:pt>
                <c:pt idx="59499">
                  <c:v>24.327812679220777</c:v>
                </c:pt>
                <c:pt idx="59500">
                  <c:v>24.721731671827314</c:v>
                </c:pt>
                <c:pt idx="59501">
                  <c:v>21.397942066625291</c:v>
                </c:pt>
                <c:pt idx="59502">
                  <c:v>30.3339878443713</c:v>
                </c:pt>
                <c:pt idx="59503">
                  <c:v>23.704378514093253</c:v>
                </c:pt>
                <c:pt idx="59504">
                  <c:v>27.90112327584994</c:v>
                </c:pt>
                <c:pt idx="59505">
                  <c:v>42.612168954046908</c:v>
                </c:pt>
                <c:pt idx="59506">
                  <c:v>27.840788602821188</c:v>
                </c:pt>
                <c:pt idx="59507">
                  <c:v>28.046649455503026</c:v>
                </c:pt>
                <c:pt idx="59508">
                  <c:v>27.97793817423927</c:v>
                </c:pt>
                <c:pt idx="59509">
                  <c:v>58.74792004536755</c:v>
                </c:pt>
                <c:pt idx="59510">
                  <c:v>50.051475019738803</c:v>
                </c:pt>
                <c:pt idx="59511">
                  <c:v>46.103500110337471</c:v>
                </c:pt>
                <c:pt idx="59512">
                  <c:v>24.381175430736597</c:v>
                </c:pt>
                <c:pt idx="59513">
                  <c:v>56.374679759284696</c:v>
                </c:pt>
                <c:pt idx="59514">
                  <c:v>25.106939512607486</c:v>
                </c:pt>
                <c:pt idx="59515">
                  <c:v>34.803825686726697</c:v>
                </c:pt>
                <c:pt idx="59516">
                  <c:v>47.740051277012313</c:v>
                </c:pt>
                <c:pt idx="59517">
                  <c:v>29.010469247334747</c:v>
                </c:pt>
                <c:pt idx="59518">
                  <c:v>27.52063613462624</c:v>
                </c:pt>
                <c:pt idx="59519">
                  <c:v>31.441745872614302</c:v>
                </c:pt>
                <c:pt idx="59520">
                  <c:v>23.852715590056828</c:v>
                </c:pt>
                <c:pt idx="59521">
                  <c:v>39.783482972812998</c:v>
                </c:pt>
                <c:pt idx="59522">
                  <c:v>39.163608038464403</c:v>
                </c:pt>
                <c:pt idx="59523">
                  <c:v>22.137648275387384</c:v>
                </c:pt>
                <c:pt idx="59524">
                  <c:v>23.691900241143692</c:v>
                </c:pt>
                <c:pt idx="59525">
                  <c:v>50.689883156427697</c:v>
                </c:pt>
                <c:pt idx="59526">
                  <c:v>20.976747044021746</c:v>
                </c:pt>
                <c:pt idx="59527">
                  <c:v>22.395707296331299</c:v>
                </c:pt>
                <c:pt idx="59528">
                  <c:v>31.476444065986669</c:v>
                </c:pt>
                <c:pt idx="59529">
                  <c:v>22.477503883254251</c:v>
                </c:pt>
                <c:pt idx="59530">
                  <c:v>31.795313354063012</c:v>
                </c:pt>
                <c:pt idx="59531">
                  <c:v>31.402694811867509</c:v>
                </c:pt>
                <c:pt idx="59532">
                  <c:v>23.334666681982043</c:v>
                </c:pt>
                <c:pt idx="59533">
                  <c:v>38.88888906158455</c:v>
                </c:pt>
                <c:pt idx="59534">
                  <c:v>23.601501340687953</c:v>
                </c:pt>
                <c:pt idx="59535">
                  <c:v>26.464826721331463</c:v>
                </c:pt>
                <c:pt idx="59536">
                  <c:v>23.945669243916683</c:v>
                </c:pt>
                <c:pt idx="59537">
                  <c:v>34.732318731130349</c:v>
                </c:pt>
                <c:pt idx="59538">
                  <c:v>43.648419802607613</c:v>
                </c:pt>
                <c:pt idx="59539">
                  <c:v>57.078018863449174</c:v>
                </c:pt>
                <c:pt idx="59540">
                  <c:v>25.377413126858777</c:v>
                </c:pt>
                <c:pt idx="59541">
                  <c:v>29.179868931531775</c:v>
                </c:pt>
                <c:pt idx="59542">
                  <c:v>25.60646385043847</c:v>
                </c:pt>
                <c:pt idx="59543">
                  <c:v>24.404960862827561</c:v>
                </c:pt>
                <c:pt idx="59544">
                  <c:v>22.665731845543576</c:v>
                </c:pt>
                <c:pt idx="59545">
                  <c:v>26.618083217445445</c:v>
                </c:pt>
                <c:pt idx="59546">
                  <c:v>27.823000905816031</c:v>
                </c:pt>
                <c:pt idx="59547">
                  <c:v>25.367560695002627</c:v>
                </c:pt>
                <c:pt idx="59548">
                  <c:v>20.89122702507057</c:v>
                </c:pt>
                <c:pt idx="59549">
                  <c:v>30.172732657232622</c:v>
                </c:pt>
                <c:pt idx="59550">
                  <c:v>45.513671413113073</c:v>
                </c:pt>
                <c:pt idx="59551">
                  <c:v>25.29633916368407</c:v>
                </c:pt>
                <c:pt idx="59552">
                  <c:v>27.58837907403926</c:v>
                </c:pt>
                <c:pt idx="59553">
                  <c:v>61.65827655995713</c:v>
                </c:pt>
                <c:pt idx="59554">
                  <c:v>28.030079378506347</c:v>
                </c:pt>
                <c:pt idx="59555">
                  <c:v>22.996838354883899</c:v>
                </c:pt>
                <c:pt idx="59556">
                  <c:v>29.661180380403518</c:v>
                </c:pt>
                <c:pt idx="59557">
                  <c:v>33.115979370816227</c:v>
                </c:pt>
                <c:pt idx="59558">
                  <c:v>30.303316360054438</c:v>
                </c:pt>
                <c:pt idx="59559">
                  <c:v>24.106047544561111</c:v>
                </c:pt>
                <c:pt idx="59560">
                  <c:v>26.988464422642458</c:v>
                </c:pt>
                <c:pt idx="59561">
                  <c:v>32.972367743767201</c:v>
                </c:pt>
                <c:pt idx="59562">
                  <c:v>24.972423065269112</c:v>
                </c:pt>
                <c:pt idx="59563">
                  <c:v>28.847505638638189</c:v>
                </c:pt>
                <c:pt idx="59564">
                  <c:v>28.310937351626894</c:v>
                </c:pt>
                <c:pt idx="59565">
                  <c:v>26.067151992002945</c:v>
                </c:pt>
                <c:pt idx="59566">
                  <c:v>23.181275469619475</c:v>
                </c:pt>
                <c:pt idx="59567">
                  <c:v>33.086687456388397</c:v>
                </c:pt>
                <c:pt idx="59568">
                  <c:v>29.438286794297813</c:v>
                </c:pt>
                <c:pt idx="59569">
                  <c:v>49.268388811019534</c:v>
                </c:pt>
                <c:pt idx="59570">
                  <c:v>28.871944701327209</c:v>
                </c:pt>
                <c:pt idx="59571">
                  <c:v>39.13773433155724</c:v>
                </c:pt>
                <c:pt idx="59572">
                  <c:v>19.87358382593812</c:v>
                </c:pt>
                <c:pt idx="59573">
                  <c:v>28.151728517146474</c:v>
                </c:pt>
                <c:pt idx="59574">
                  <c:v>33.271205728819751</c:v>
                </c:pt>
                <c:pt idx="59575">
                  <c:v>27.280061238472193</c:v>
                </c:pt>
                <c:pt idx="59576">
                  <c:v>20.424236659604567</c:v>
                </c:pt>
                <c:pt idx="59577">
                  <c:v>38.289820368774983</c:v>
                </c:pt>
                <c:pt idx="59578">
                  <c:v>36.831294774996969</c:v>
                </c:pt>
                <c:pt idx="59579">
                  <c:v>34.22297161182285</c:v>
                </c:pt>
                <c:pt idx="59580">
                  <c:v>30.155588113298293</c:v>
                </c:pt>
                <c:pt idx="59581">
                  <c:v>32.948483985317836</c:v>
                </c:pt>
                <c:pt idx="59582">
                  <c:v>30.004219642658736</c:v>
                </c:pt>
                <c:pt idx="59583">
                  <c:v>28.449370356392787</c:v>
                </c:pt>
                <c:pt idx="59584">
                  <c:v>24.659547267884093</c:v>
                </c:pt>
                <c:pt idx="59585">
                  <c:v>26.590652594170802</c:v>
                </c:pt>
                <c:pt idx="59586">
                  <c:v>31.839658401539644</c:v>
                </c:pt>
                <c:pt idx="59587">
                  <c:v>35.820171244961422</c:v>
                </c:pt>
                <c:pt idx="59588">
                  <c:v>26.511693460359297</c:v>
                </c:pt>
                <c:pt idx="59589">
                  <c:v>26.360707454075222</c:v>
                </c:pt>
                <c:pt idx="59590">
                  <c:v>30.288841009821486</c:v>
                </c:pt>
                <c:pt idx="59591">
                  <c:v>26.20707268923821</c:v>
                </c:pt>
                <c:pt idx="59592">
                  <c:v>46.260554006549555</c:v>
                </c:pt>
                <c:pt idx="59593">
                  <c:v>35.551151981886115</c:v>
                </c:pt>
                <c:pt idx="59594">
                  <c:v>63.192942102045606</c:v>
                </c:pt>
                <c:pt idx="59595">
                  <c:v>32.21247409363729</c:v>
                </c:pt>
                <c:pt idx="59596">
                  <c:v>37.963224768149587</c:v>
                </c:pt>
                <c:pt idx="59597">
                  <c:v>27.596145952952007</c:v>
                </c:pt>
                <c:pt idx="59598">
                  <c:v>20.136814347886837</c:v>
                </c:pt>
                <c:pt idx="59599">
                  <c:v>23.26936783374979</c:v>
                </c:pt>
                <c:pt idx="59600">
                  <c:v>25.074261338665227</c:v>
                </c:pt>
                <c:pt idx="59601">
                  <c:v>29.477290733693735</c:v>
                </c:pt>
                <c:pt idx="59602">
                  <c:v>20.655855858689307</c:v>
                </c:pt>
                <c:pt idx="59603">
                  <c:v>51.125402960685001</c:v>
                </c:pt>
                <c:pt idx="59604">
                  <c:v>28.210897373575296</c:v>
                </c:pt>
                <c:pt idx="59605">
                  <c:v>32.695772333896201</c:v>
                </c:pt>
                <c:pt idx="59606">
                  <c:v>26.490459182806561</c:v>
                </c:pt>
                <c:pt idx="59607">
                  <c:v>17.316686381140965</c:v>
                </c:pt>
                <c:pt idx="59608">
                  <c:v>31.238760802344711</c:v>
                </c:pt>
                <c:pt idx="59609">
                  <c:v>18.534431556017886</c:v>
                </c:pt>
                <c:pt idx="59610">
                  <c:v>33.618420628635526</c:v>
                </c:pt>
                <c:pt idx="59611">
                  <c:v>17.755446076379275</c:v>
                </c:pt>
                <c:pt idx="59612">
                  <c:v>34.15322948288901</c:v>
                </c:pt>
                <c:pt idx="59613">
                  <c:v>43.465233261436076</c:v>
                </c:pt>
                <c:pt idx="59614">
                  <c:v>29.10698771480477</c:v>
                </c:pt>
                <c:pt idx="59615">
                  <c:v>25.932392548994958</c:v>
                </c:pt>
                <c:pt idx="59616">
                  <c:v>26.75985777680398</c:v>
                </c:pt>
                <c:pt idx="59617">
                  <c:v>22.483721100273495</c:v>
                </c:pt>
                <c:pt idx="59618">
                  <c:v>23.063457219052715</c:v>
                </c:pt>
                <c:pt idx="59619">
                  <c:v>25.135108586438211</c:v>
                </c:pt>
                <c:pt idx="59620">
                  <c:v>21.547355466306417</c:v>
                </c:pt>
                <c:pt idx="59621">
                  <c:v>33.91016546190933</c:v>
                </c:pt>
                <c:pt idx="59622">
                  <c:v>24.782205207101597</c:v>
                </c:pt>
                <c:pt idx="59623">
                  <c:v>26.137030612418734</c:v>
                </c:pt>
                <c:pt idx="59624">
                  <c:v>18.613557623285018</c:v>
                </c:pt>
                <c:pt idx="59625">
                  <c:v>26.330580186384399</c:v>
                </c:pt>
                <c:pt idx="59626">
                  <c:v>30.217634765629459</c:v>
                </c:pt>
                <c:pt idx="59627">
                  <c:v>28.01127111061739</c:v>
                </c:pt>
                <c:pt idx="59628">
                  <c:v>30.1595583599454</c:v>
                </c:pt>
                <c:pt idx="59629">
                  <c:v>17.471834637083553</c:v>
                </c:pt>
                <c:pt idx="59630">
                  <c:v>21.024607313675283</c:v>
                </c:pt>
                <c:pt idx="59631">
                  <c:v>26.349923688043219</c:v>
                </c:pt>
                <c:pt idx="59632">
                  <c:v>28.94882017425266</c:v>
                </c:pt>
                <c:pt idx="59633">
                  <c:v>25.600959333689175</c:v>
                </c:pt>
                <c:pt idx="59634">
                  <c:v>30.102695136893754</c:v>
                </c:pt>
                <c:pt idx="59635">
                  <c:v>38.011224658253461</c:v>
                </c:pt>
                <c:pt idx="59636">
                  <c:v>46.380976722972378</c:v>
                </c:pt>
                <c:pt idx="59637">
                  <c:v>30.10784826945936</c:v>
                </c:pt>
                <c:pt idx="59638">
                  <c:v>30.019726346591671</c:v>
                </c:pt>
                <c:pt idx="59639">
                  <c:v>19.92258934960433</c:v>
                </c:pt>
                <c:pt idx="59640">
                  <c:v>26.28879881683811</c:v>
                </c:pt>
                <c:pt idx="59641">
                  <c:v>28.241846404544109</c:v>
                </c:pt>
                <c:pt idx="59642">
                  <c:v>22.90125164803715</c:v>
                </c:pt>
                <c:pt idx="59643">
                  <c:v>22.953425521430994</c:v>
                </c:pt>
                <c:pt idx="59644">
                  <c:v>23.068238361272968</c:v>
                </c:pt>
                <c:pt idx="59645">
                  <c:v>19.439462812952062</c:v>
                </c:pt>
                <c:pt idx="59646">
                  <c:v>48.953342820999246</c:v>
                </c:pt>
                <c:pt idx="59647">
                  <c:v>20.390666280570215</c:v>
                </c:pt>
                <c:pt idx="59648">
                  <c:v>34.174143558034118</c:v>
                </c:pt>
                <c:pt idx="59649">
                  <c:v>23.348517258269254</c:v>
                </c:pt>
                <c:pt idx="59650">
                  <c:v>42.456622623046208</c:v>
                </c:pt>
                <c:pt idx="59651">
                  <c:v>58.002819115300653</c:v>
                </c:pt>
                <c:pt idx="59652">
                  <c:v>54.015172882936497</c:v>
                </c:pt>
                <c:pt idx="59653">
                  <c:v>30.717685298228886</c:v>
                </c:pt>
                <c:pt idx="59654">
                  <c:v>28.965749297294618</c:v>
                </c:pt>
                <c:pt idx="59655">
                  <c:v>53.879770166592365</c:v>
                </c:pt>
                <c:pt idx="59656">
                  <c:v>22.294654771872828</c:v>
                </c:pt>
                <c:pt idx="59657">
                  <c:v>37.592455193102936</c:v>
                </c:pt>
                <c:pt idx="59658">
                  <c:v>31.118791765200736</c:v>
                </c:pt>
                <c:pt idx="59659">
                  <c:v>51.529168043760883</c:v>
                </c:pt>
                <c:pt idx="59660">
                  <c:v>24.803205106634692</c:v>
                </c:pt>
                <c:pt idx="59661">
                  <c:v>45.543783649252575</c:v>
                </c:pt>
                <c:pt idx="59662">
                  <c:v>24.096548744916625</c:v>
                </c:pt>
                <c:pt idx="59663">
                  <c:v>18.78185024828257</c:v>
                </c:pt>
                <c:pt idx="59664">
                  <c:v>31.111210096875421</c:v>
                </c:pt>
                <c:pt idx="59665">
                  <c:v>52.436880675905677</c:v>
                </c:pt>
                <c:pt idx="59666">
                  <c:v>27.478358486675571</c:v>
                </c:pt>
                <c:pt idx="59667">
                  <c:v>32.824335127244268</c:v>
                </c:pt>
                <c:pt idx="59668">
                  <c:v>36.925316008077338</c:v>
                </c:pt>
                <c:pt idx="59669">
                  <c:v>18.023945938000644</c:v>
                </c:pt>
                <c:pt idx="59670">
                  <c:v>27.683526749876972</c:v>
                </c:pt>
                <c:pt idx="59671">
                  <c:v>22.600415581692413</c:v>
                </c:pt>
                <c:pt idx="59672">
                  <c:v>37.179145548969935</c:v>
                </c:pt>
                <c:pt idx="59673">
                  <c:v>27.916303632762762</c:v>
                </c:pt>
                <c:pt idx="59674">
                  <c:v>33.31572326099365</c:v>
                </c:pt>
                <c:pt idx="59675">
                  <c:v>47.138247484695405</c:v>
                </c:pt>
                <c:pt idx="59676">
                  <c:v>22.072907227345187</c:v>
                </c:pt>
                <c:pt idx="59677">
                  <c:v>34.851223189111309</c:v>
                </c:pt>
                <c:pt idx="59678">
                  <c:v>29.720662623765332</c:v>
                </c:pt>
                <c:pt idx="59679">
                  <c:v>25.636302808122128</c:v>
                </c:pt>
                <c:pt idx="59680">
                  <c:v>41.278043556492065</c:v>
                </c:pt>
                <c:pt idx="59681">
                  <c:v>30.143585674649511</c:v>
                </c:pt>
                <c:pt idx="59682">
                  <c:v>49.943725387068177</c:v>
                </c:pt>
                <c:pt idx="59683">
                  <c:v>70.295343130639196</c:v>
                </c:pt>
                <c:pt idx="59684">
                  <c:v>35.917548428442629</c:v>
                </c:pt>
                <c:pt idx="59685">
                  <c:v>34.981000297353035</c:v>
                </c:pt>
                <c:pt idx="59686">
                  <c:v>24.280151546984239</c:v>
                </c:pt>
                <c:pt idx="59687">
                  <c:v>26.022693855913715</c:v>
                </c:pt>
                <c:pt idx="59688">
                  <c:v>33.044837573979216</c:v>
                </c:pt>
                <c:pt idx="59689">
                  <c:v>34.823276709627734</c:v>
                </c:pt>
                <c:pt idx="59690">
                  <c:v>34.25421575637673</c:v>
                </c:pt>
                <c:pt idx="59691">
                  <c:v>30.960856817598973</c:v>
                </c:pt>
                <c:pt idx="59692">
                  <c:v>31.661331341739018</c:v>
                </c:pt>
                <c:pt idx="59693">
                  <c:v>19.709603441252757</c:v>
                </c:pt>
                <c:pt idx="59694">
                  <c:v>20.209210264763612</c:v>
                </c:pt>
                <c:pt idx="59695">
                  <c:v>22.998495001938736</c:v>
                </c:pt>
                <c:pt idx="59696">
                  <c:v>28.431436986425215</c:v>
                </c:pt>
                <c:pt idx="59697">
                  <c:v>21.055921690161096</c:v>
                </c:pt>
                <c:pt idx="59698">
                  <c:v>33.70494487435495</c:v>
                </c:pt>
                <c:pt idx="59699">
                  <c:v>27.8333560779751</c:v>
                </c:pt>
                <c:pt idx="59700">
                  <c:v>26.329981552123613</c:v>
                </c:pt>
                <c:pt idx="59701">
                  <c:v>48.756050577843226</c:v>
                </c:pt>
                <c:pt idx="59702">
                  <c:v>24.95310855671007</c:v>
                </c:pt>
                <c:pt idx="59703">
                  <c:v>51.429082170930698</c:v>
                </c:pt>
                <c:pt idx="59704">
                  <c:v>23.500507418291448</c:v>
                </c:pt>
                <c:pt idx="59705">
                  <c:v>28.918913959334986</c:v>
                </c:pt>
                <c:pt idx="59706">
                  <c:v>26.49619777042399</c:v>
                </c:pt>
                <c:pt idx="59707">
                  <c:v>44.463300913415175</c:v>
                </c:pt>
                <c:pt idx="59708">
                  <c:v>51.772179233019443</c:v>
                </c:pt>
                <c:pt idx="59709">
                  <c:v>30.985381588087186</c:v>
                </c:pt>
                <c:pt idx="59710">
                  <c:v>35.386247771655221</c:v>
                </c:pt>
                <c:pt idx="59711">
                  <c:v>48.069166494222223</c:v>
                </c:pt>
                <c:pt idx="59712">
                  <c:v>44.677025447044386</c:v>
                </c:pt>
                <c:pt idx="59713">
                  <c:v>24.486442078487446</c:v>
                </c:pt>
                <c:pt idx="59714">
                  <c:v>31.289959703887384</c:v>
                </c:pt>
                <c:pt idx="59715">
                  <c:v>25.334669293689032</c:v>
                </c:pt>
                <c:pt idx="59716">
                  <c:v>42.827280613509373</c:v>
                </c:pt>
                <c:pt idx="59717">
                  <c:v>48.93074727579755</c:v>
                </c:pt>
                <c:pt idx="59718">
                  <c:v>35.852965450111135</c:v>
                </c:pt>
                <c:pt idx="59719">
                  <c:v>27.687821541311692</c:v>
                </c:pt>
                <c:pt idx="59720">
                  <c:v>16.679389859695402</c:v>
                </c:pt>
                <c:pt idx="59721">
                  <c:v>23.633306413824041</c:v>
                </c:pt>
                <c:pt idx="59722">
                  <c:v>32.000538201016234</c:v>
                </c:pt>
                <c:pt idx="59723">
                  <c:v>41.685476248073869</c:v>
                </c:pt>
                <c:pt idx="59724">
                  <c:v>28.008685606754909</c:v>
                </c:pt>
                <c:pt idx="59725">
                  <c:v>19.923919443198557</c:v>
                </c:pt>
                <c:pt idx="59726">
                  <c:v>32.898020791823264</c:v>
                </c:pt>
                <c:pt idx="59727">
                  <c:v>32.93291278775542</c:v>
                </c:pt>
                <c:pt idx="59728">
                  <c:v>21.877944340132604</c:v>
                </c:pt>
                <c:pt idx="59729">
                  <c:v>24.180934100080361</c:v>
                </c:pt>
                <c:pt idx="59730">
                  <c:v>35.070512448413822</c:v>
                </c:pt>
                <c:pt idx="59731">
                  <c:v>28.569142066923792</c:v>
                </c:pt>
                <c:pt idx="59732">
                  <c:v>29.758564217679762</c:v>
                </c:pt>
                <c:pt idx="59733">
                  <c:v>29.011507176735797</c:v>
                </c:pt>
                <c:pt idx="59734">
                  <c:v>21.792835372275242</c:v>
                </c:pt>
                <c:pt idx="59735">
                  <c:v>44.651894510153028</c:v>
                </c:pt>
                <c:pt idx="59736">
                  <c:v>27.227457162730467</c:v>
                </c:pt>
                <c:pt idx="59737">
                  <c:v>32.126985972124722</c:v>
                </c:pt>
                <c:pt idx="59738">
                  <c:v>23.341945472946609</c:v>
                </c:pt>
                <c:pt idx="59739">
                  <c:v>24.417002260876334</c:v>
                </c:pt>
                <c:pt idx="59740">
                  <c:v>23.826322792891443</c:v>
                </c:pt>
                <c:pt idx="59741">
                  <c:v>25.332872277433449</c:v>
                </c:pt>
                <c:pt idx="59742">
                  <c:v>54.574447617287682</c:v>
                </c:pt>
                <c:pt idx="59743">
                  <c:v>53.574990165210387</c:v>
                </c:pt>
                <c:pt idx="59744">
                  <c:v>26.418460638226247</c:v>
                </c:pt>
                <c:pt idx="59745">
                  <c:v>52.936991372443273</c:v>
                </c:pt>
                <c:pt idx="59746">
                  <c:v>23.534972757614185</c:v>
                </c:pt>
                <c:pt idx="59747">
                  <c:v>53.855352844679558</c:v>
                </c:pt>
                <c:pt idx="59748">
                  <c:v>28.638377892060522</c:v>
                </c:pt>
                <c:pt idx="59749">
                  <c:v>30.446863950002761</c:v>
                </c:pt>
                <c:pt idx="59750">
                  <c:v>24.758789477318857</c:v>
                </c:pt>
                <c:pt idx="59751">
                  <c:v>42.985009286242835</c:v>
                </c:pt>
                <c:pt idx="59752">
                  <c:v>23.255792438015053</c:v>
                </c:pt>
                <c:pt idx="59753">
                  <c:v>23.525358394411032</c:v>
                </c:pt>
                <c:pt idx="59754">
                  <c:v>25.341710323481227</c:v>
                </c:pt>
                <c:pt idx="59755">
                  <c:v>53.331904393677874</c:v>
                </c:pt>
                <c:pt idx="59756">
                  <c:v>55.324131642928684</c:v>
                </c:pt>
                <c:pt idx="59757">
                  <c:v>29.426020314608536</c:v>
                </c:pt>
                <c:pt idx="59758">
                  <c:v>38.939961914159099</c:v>
                </c:pt>
                <c:pt idx="59759">
                  <c:v>29.631393976819108</c:v>
                </c:pt>
                <c:pt idx="59760">
                  <c:v>36.756813592671975</c:v>
                </c:pt>
                <c:pt idx="59761">
                  <c:v>17.345524993091125</c:v>
                </c:pt>
                <c:pt idx="59762">
                  <c:v>28.023872281998091</c:v>
                </c:pt>
                <c:pt idx="59763">
                  <c:v>42.202495166299506</c:v>
                </c:pt>
                <c:pt idx="59764">
                  <c:v>18.256630966126142</c:v>
                </c:pt>
                <c:pt idx="59765">
                  <c:v>18.661779952805958</c:v>
                </c:pt>
                <c:pt idx="59766">
                  <c:v>59.536195075193632</c:v>
                </c:pt>
                <c:pt idx="59767">
                  <c:v>20.262996315325807</c:v>
                </c:pt>
                <c:pt idx="59768">
                  <c:v>26.520657172591122</c:v>
                </c:pt>
                <c:pt idx="59769">
                  <c:v>29.826265896577098</c:v>
                </c:pt>
                <c:pt idx="59770">
                  <c:v>30.950843208191813</c:v>
                </c:pt>
                <c:pt idx="59771">
                  <c:v>26.886362885243663</c:v>
                </c:pt>
                <c:pt idx="59772">
                  <c:v>29.857442843670547</c:v>
                </c:pt>
                <c:pt idx="59773">
                  <c:v>32.092248616976704</c:v>
                </c:pt>
                <c:pt idx="59774">
                  <c:v>27.791704936624264</c:v>
                </c:pt>
                <c:pt idx="59775">
                  <c:v>25.355213789794636</c:v>
                </c:pt>
                <c:pt idx="59776">
                  <c:v>28.903785767179698</c:v>
                </c:pt>
                <c:pt idx="59777">
                  <c:v>29.601254403075153</c:v>
                </c:pt>
                <c:pt idx="59778">
                  <c:v>26.432776178282712</c:v>
                </c:pt>
                <c:pt idx="59779">
                  <c:v>29.858749239761302</c:v>
                </c:pt>
                <c:pt idx="59780">
                  <c:v>47.74107170222161</c:v>
                </c:pt>
                <c:pt idx="59781">
                  <c:v>31.985018998243671</c:v>
                </c:pt>
                <c:pt idx="59782">
                  <c:v>27.269350545080982</c:v>
                </c:pt>
                <c:pt idx="59783">
                  <c:v>30.844812555231183</c:v>
                </c:pt>
                <c:pt idx="59784">
                  <c:v>45.197349982592698</c:v>
                </c:pt>
                <c:pt idx="59785">
                  <c:v>21.041688251447376</c:v>
                </c:pt>
                <c:pt idx="59786">
                  <c:v>33.608291519454013</c:v>
                </c:pt>
                <c:pt idx="59787">
                  <c:v>35.722477858597749</c:v>
                </c:pt>
                <c:pt idx="59788">
                  <c:v>49.15350204787822</c:v>
                </c:pt>
                <c:pt idx="59789">
                  <c:v>21.752972306632831</c:v>
                </c:pt>
                <c:pt idx="59790">
                  <c:v>25.945947717718898</c:v>
                </c:pt>
                <c:pt idx="59791">
                  <c:v>22.575268599606218</c:v>
                </c:pt>
                <c:pt idx="59792">
                  <c:v>23.650123714327396</c:v>
                </c:pt>
                <c:pt idx="59793">
                  <c:v>29.892978414637199</c:v>
                </c:pt>
                <c:pt idx="59794">
                  <c:v>27.87163753918345</c:v>
                </c:pt>
                <c:pt idx="59795">
                  <c:v>48.979359818910268</c:v>
                </c:pt>
                <c:pt idx="59796">
                  <c:v>31.018852124439789</c:v>
                </c:pt>
                <c:pt idx="59797">
                  <c:v>26.625712215826368</c:v>
                </c:pt>
                <c:pt idx="59798">
                  <c:v>26.222322749386443</c:v>
                </c:pt>
                <c:pt idx="59799">
                  <c:v>20.844147066979701</c:v>
                </c:pt>
                <c:pt idx="59800">
                  <c:v>26.083659511623562</c:v>
                </c:pt>
                <c:pt idx="59801">
                  <c:v>42.551646483340292</c:v>
                </c:pt>
                <c:pt idx="59802">
                  <c:v>29.874054384233467</c:v>
                </c:pt>
                <c:pt idx="59803">
                  <c:v>26.314051193530389</c:v>
                </c:pt>
                <c:pt idx="59804">
                  <c:v>24.944738033609749</c:v>
                </c:pt>
                <c:pt idx="59805">
                  <c:v>25.573387321767665</c:v>
                </c:pt>
                <c:pt idx="59806">
                  <c:v>28.295121605678546</c:v>
                </c:pt>
                <c:pt idx="59807">
                  <c:v>45.710175516702847</c:v>
                </c:pt>
                <c:pt idx="59808">
                  <c:v>25.85693162666977</c:v>
                </c:pt>
                <c:pt idx="59809">
                  <c:v>35.080895759076981</c:v>
                </c:pt>
                <c:pt idx="59810">
                  <c:v>23.123758543479227</c:v>
                </c:pt>
                <c:pt idx="59811">
                  <c:v>28.459087204431217</c:v>
                </c:pt>
                <c:pt idx="59812">
                  <c:v>25.319569287307392</c:v>
                </c:pt>
                <c:pt idx="59813">
                  <c:v>19.432605010350979</c:v>
                </c:pt>
                <c:pt idx="59814">
                  <c:v>23.394475670473216</c:v>
                </c:pt>
                <c:pt idx="59815">
                  <c:v>47.673441252364107</c:v>
                </c:pt>
                <c:pt idx="59816">
                  <c:v>34.37848074757386</c:v>
                </c:pt>
                <c:pt idx="59817">
                  <c:v>15.580689050553122</c:v>
                </c:pt>
                <c:pt idx="59818">
                  <c:v>21.981720794383371</c:v>
                </c:pt>
                <c:pt idx="59819">
                  <c:v>18.479260982462328</c:v>
                </c:pt>
                <c:pt idx="59820">
                  <c:v>27.724371718244303</c:v>
                </c:pt>
                <c:pt idx="59821">
                  <c:v>24.093606898635802</c:v>
                </c:pt>
                <c:pt idx="59822">
                  <c:v>30.444915336342397</c:v>
                </c:pt>
                <c:pt idx="59823">
                  <c:v>32.003637114630664</c:v>
                </c:pt>
                <c:pt idx="59824">
                  <c:v>24.791022558332923</c:v>
                </c:pt>
                <c:pt idx="59825">
                  <c:v>18.341922894997964</c:v>
                </c:pt>
                <c:pt idx="59826">
                  <c:v>40.168803287010633</c:v>
                </c:pt>
                <c:pt idx="59827">
                  <c:v>18.862215856650504</c:v>
                </c:pt>
                <c:pt idx="59828">
                  <c:v>26.060047885687801</c:v>
                </c:pt>
                <c:pt idx="59829">
                  <c:v>24.993706486231229</c:v>
                </c:pt>
                <c:pt idx="59830">
                  <c:v>29.257999700627792</c:v>
                </c:pt>
                <c:pt idx="59831">
                  <c:v>15.967245489724707</c:v>
                </c:pt>
                <c:pt idx="59832">
                  <c:v>30.084377162035075</c:v>
                </c:pt>
                <c:pt idx="59833">
                  <c:v>38.627760694242632</c:v>
                </c:pt>
                <c:pt idx="59834">
                  <c:v>35.656660142995875</c:v>
                </c:pt>
                <c:pt idx="59835">
                  <c:v>36.687765565923428</c:v>
                </c:pt>
                <c:pt idx="59836">
                  <c:v>34.469920804615171</c:v>
                </c:pt>
                <c:pt idx="59837">
                  <c:v>39.786466801536221</c:v>
                </c:pt>
                <c:pt idx="59838">
                  <c:v>23.949174691824503</c:v>
                </c:pt>
                <c:pt idx="59839">
                  <c:v>20.978282532735179</c:v>
                </c:pt>
                <c:pt idx="59840">
                  <c:v>52.185416904554046</c:v>
                </c:pt>
                <c:pt idx="59841">
                  <c:v>23.68570836295941</c:v>
                </c:pt>
                <c:pt idx="59842">
                  <c:v>42.589374750820745</c:v>
                </c:pt>
                <c:pt idx="59843">
                  <c:v>25.003312493838347</c:v>
                </c:pt>
                <c:pt idx="59844">
                  <c:v>29.598679807067867</c:v>
                </c:pt>
                <c:pt idx="59845">
                  <c:v>13.949100145792052</c:v>
                </c:pt>
                <c:pt idx="59846">
                  <c:v>46.222152277858832</c:v>
                </c:pt>
                <c:pt idx="59847">
                  <c:v>19.379547259487708</c:v>
                </c:pt>
                <c:pt idx="59848">
                  <c:v>17.59696915467492</c:v>
                </c:pt>
                <c:pt idx="59849">
                  <c:v>36.387184337694961</c:v>
                </c:pt>
                <c:pt idx="59850">
                  <c:v>51.941279615584392</c:v>
                </c:pt>
                <c:pt idx="59851">
                  <c:v>25.096981763186491</c:v>
                </c:pt>
                <c:pt idx="59852">
                  <c:v>39.436397042632628</c:v>
                </c:pt>
                <c:pt idx="59853">
                  <c:v>22.003681451019201</c:v>
                </c:pt>
                <c:pt idx="59854">
                  <c:v>17.32005525105604</c:v>
                </c:pt>
                <c:pt idx="59855">
                  <c:v>28.078501941894135</c:v>
                </c:pt>
                <c:pt idx="59856">
                  <c:v>32.447917839752712</c:v>
                </c:pt>
                <c:pt idx="59857">
                  <c:v>25.800574429755812</c:v>
                </c:pt>
                <c:pt idx="59858">
                  <c:v>30.386752762921727</c:v>
                </c:pt>
                <c:pt idx="59859">
                  <c:v>24.03792632084636</c:v>
                </c:pt>
                <c:pt idx="59860">
                  <c:v>29.627944401972051</c:v>
                </c:pt>
                <c:pt idx="59861">
                  <c:v>24.645035390571028</c:v>
                </c:pt>
                <c:pt idx="59862">
                  <c:v>32.928550578574473</c:v>
                </c:pt>
                <c:pt idx="59863">
                  <c:v>35.044050417641756</c:v>
                </c:pt>
                <c:pt idx="59864">
                  <c:v>46.357504997037971</c:v>
                </c:pt>
                <c:pt idx="59865">
                  <c:v>31.549434433461517</c:v>
                </c:pt>
                <c:pt idx="59866">
                  <c:v>23.656239569887184</c:v>
                </c:pt>
                <c:pt idx="59867">
                  <c:v>31.780801865868327</c:v>
                </c:pt>
                <c:pt idx="59868">
                  <c:v>35.791499589062909</c:v>
                </c:pt>
                <c:pt idx="59869">
                  <c:v>25.502326983787668</c:v>
                </c:pt>
                <c:pt idx="59870">
                  <c:v>48.974698424563236</c:v>
                </c:pt>
                <c:pt idx="59871">
                  <c:v>31.722698673333387</c:v>
                </c:pt>
                <c:pt idx="59872">
                  <c:v>44.885108401292477</c:v>
                </c:pt>
                <c:pt idx="59873">
                  <c:v>34.034529099302617</c:v>
                </c:pt>
                <c:pt idx="59874">
                  <c:v>25.81291234917953</c:v>
                </c:pt>
                <c:pt idx="59875">
                  <c:v>46.124647290008014</c:v>
                </c:pt>
                <c:pt idx="59876">
                  <c:v>27.635851811411715</c:v>
                </c:pt>
                <c:pt idx="59877">
                  <c:v>25.977097696581744</c:v>
                </c:pt>
                <c:pt idx="59878">
                  <c:v>27.152850558343236</c:v>
                </c:pt>
                <c:pt idx="59879">
                  <c:v>23.185353006526498</c:v>
                </c:pt>
                <c:pt idx="59880">
                  <c:v>52.247399452428873</c:v>
                </c:pt>
                <c:pt idx="59881">
                  <c:v>37.090401274696625</c:v>
                </c:pt>
                <c:pt idx="59882">
                  <c:v>31.133367846009428</c:v>
                </c:pt>
                <c:pt idx="59883">
                  <c:v>20.952327717771205</c:v>
                </c:pt>
                <c:pt idx="59884">
                  <c:v>38.787885720663418</c:v>
                </c:pt>
                <c:pt idx="59885">
                  <c:v>33.454254001146033</c:v>
                </c:pt>
                <c:pt idx="59886">
                  <c:v>33.889959447112894</c:v>
                </c:pt>
                <c:pt idx="59887">
                  <c:v>24.186295764129348</c:v>
                </c:pt>
                <c:pt idx="59888">
                  <c:v>36.334514245548263</c:v>
                </c:pt>
                <c:pt idx="59889">
                  <c:v>48.228164607043468</c:v>
                </c:pt>
                <c:pt idx="59890">
                  <c:v>25.247909302257209</c:v>
                </c:pt>
                <c:pt idx="59891">
                  <c:v>24.683318168303813</c:v>
                </c:pt>
                <c:pt idx="59892">
                  <c:v>41.302292255529949</c:v>
                </c:pt>
                <c:pt idx="59893">
                  <c:v>25.020982793551362</c:v>
                </c:pt>
                <c:pt idx="59894">
                  <c:v>23.62524776549138</c:v>
                </c:pt>
                <c:pt idx="59895">
                  <c:v>22.197782673882699</c:v>
                </c:pt>
                <c:pt idx="59896">
                  <c:v>27.366195187219319</c:v>
                </c:pt>
                <c:pt idx="59897">
                  <c:v>34.42777607103573</c:v>
                </c:pt>
                <c:pt idx="59898">
                  <c:v>29.952227650563138</c:v>
                </c:pt>
                <c:pt idx="59899">
                  <c:v>68.853326343706414</c:v>
                </c:pt>
                <c:pt idx="59900">
                  <c:v>19.59051995194757</c:v>
                </c:pt>
                <c:pt idx="59901">
                  <c:v>27.81050906790113</c:v>
                </c:pt>
                <c:pt idx="59902">
                  <c:v>51.031153300716987</c:v>
                </c:pt>
                <c:pt idx="59903">
                  <c:v>29.892621796227839</c:v>
                </c:pt>
                <c:pt idx="59904">
                  <c:v>30.990220463321453</c:v>
                </c:pt>
                <c:pt idx="59905">
                  <c:v>29.525383368159336</c:v>
                </c:pt>
                <c:pt idx="59906">
                  <c:v>58.380904732908895</c:v>
                </c:pt>
                <c:pt idx="59907">
                  <c:v>45.741706404523946</c:v>
                </c:pt>
                <c:pt idx="59908">
                  <c:v>18.348470028525913</c:v>
                </c:pt>
                <c:pt idx="59909">
                  <c:v>25.645353011820188</c:v>
                </c:pt>
                <c:pt idx="59910">
                  <c:v>28.238529097471513</c:v>
                </c:pt>
                <c:pt idx="59911">
                  <c:v>31.854384843425819</c:v>
                </c:pt>
                <c:pt idx="59912">
                  <c:v>46.18762546273291</c:v>
                </c:pt>
                <c:pt idx="59913">
                  <c:v>26.460091413502763</c:v>
                </c:pt>
                <c:pt idx="59914">
                  <c:v>25.670931348104407</c:v>
                </c:pt>
                <c:pt idx="59915">
                  <c:v>39.455047897838554</c:v>
                </c:pt>
                <c:pt idx="59916">
                  <c:v>48.245634096434969</c:v>
                </c:pt>
                <c:pt idx="59917">
                  <c:v>23.856304643498788</c:v>
                </c:pt>
                <c:pt idx="59918">
                  <c:v>28.972380051793614</c:v>
                </c:pt>
                <c:pt idx="59919">
                  <c:v>27.845580598707155</c:v>
                </c:pt>
                <c:pt idx="59920">
                  <c:v>25.524934598759145</c:v>
                </c:pt>
                <c:pt idx="59921">
                  <c:v>28.048775949017269</c:v>
                </c:pt>
                <c:pt idx="59922">
                  <c:v>26.151754002900525</c:v>
                </c:pt>
                <c:pt idx="59923">
                  <c:v>19.103023867129732</c:v>
                </c:pt>
                <c:pt idx="59924">
                  <c:v>37.458251623922557</c:v>
                </c:pt>
                <c:pt idx="59925">
                  <c:v>28.692388188494199</c:v>
                </c:pt>
                <c:pt idx="59926">
                  <c:v>14.339830968728906</c:v>
                </c:pt>
                <c:pt idx="59927">
                  <c:v>48.211553644429877</c:v>
                </c:pt>
                <c:pt idx="59928">
                  <c:v>36.251751142899728</c:v>
                </c:pt>
                <c:pt idx="59929">
                  <c:v>18.937111543972996</c:v>
                </c:pt>
                <c:pt idx="59930">
                  <c:v>46.19419811139656</c:v>
                </c:pt>
                <c:pt idx="59931">
                  <c:v>50.402135615160518</c:v>
                </c:pt>
                <c:pt idx="59932">
                  <c:v>62.433674514152472</c:v>
                </c:pt>
                <c:pt idx="59933">
                  <c:v>25.751275807313348</c:v>
                </c:pt>
                <c:pt idx="59934">
                  <c:v>30.068264092419266</c:v>
                </c:pt>
                <c:pt idx="59935">
                  <c:v>23.418710340982553</c:v>
                </c:pt>
                <c:pt idx="59936">
                  <c:v>50.295330051369561</c:v>
                </c:pt>
                <c:pt idx="59937">
                  <c:v>34.046446062692006</c:v>
                </c:pt>
                <c:pt idx="59938">
                  <c:v>28.021848946918446</c:v>
                </c:pt>
                <c:pt idx="59939">
                  <c:v>31.311641036230487</c:v>
                </c:pt>
                <c:pt idx="59940">
                  <c:v>21.975684700091733</c:v>
                </c:pt>
                <c:pt idx="59941">
                  <c:v>20.41200225575518</c:v>
                </c:pt>
                <c:pt idx="59942">
                  <c:v>26.542683885243846</c:v>
                </c:pt>
                <c:pt idx="59943">
                  <c:v>25.620484559992956</c:v>
                </c:pt>
                <c:pt idx="59944">
                  <c:v>39.982407532259792</c:v>
                </c:pt>
                <c:pt idx="59945">
                  <c:v>22.517431986174198</c:v>
                </c:pt>
                <c:pt idx="59946">
                  <c:v>20.220807805202512</c:v>
                </c:pt>
                <c:pt idx="59947">
                  <c:v>32.032940096578471</c:v>
                </c:pt>
                <c:pt idx="59948">
                  <c:v>36.498452475489032</c:v>
                </c:pt>
                <c:pt idx="59949">
                  <c:v>28.524875845984372</c:v>
                </c:pt>
                <c:pt idx="59950">
                  <c:v>30.385694436776092</c:v>
                </c:pt>
                <c:pt idx="59951">
                  <c:v>48.54411043698623</c:v>
                </c:pt>
                <c:pt idx="59952">
                  <c:v>24.632337882549603</c:v>
                </c:pt>
                <c:pt idx="59953">
                  <c:v>25.433829518567254</c:v>
                </c:pt>
                <c:pt idx="59954">
                  <c:v>32.043318053354682</c:v>
                </c:pt>
                <c:pt idx="59955">
                  <c:v>44.374986430679655</c:v>
                </c:pt>
                <c:pt idx="59956">
                  <c:v>35.163291449306911</c:v>
                </c:pt>
                <c:pt idx="59957">
                  <c:v>25.57049329193671</c:v>
                </c:pt>
                <c:pt idx="59958">
                  <c:v>24.094077492805106</c:v>
                </c:pt>
                <c:pt idx="59959">
                  <c:v>42.381471300010595</c:v>
                </c:pt>
                <c:pt idx="59960">
                  <c:v>32.776559177753796</c:v>
                </c:pt>
                <c:pt idx="59961">
                  <c:v>24.286658233684459</c:v>
                </c:pt>
                <c:pt idx="59962">
                  <c:v>27.430304337347117</c:v>
                </c:pt>
                <c:pt idx="59963">
                  <c:v>23.961933052003403</c:v>
                </c:pt>
                <c:pt idx="59964">
                  <c:v>29.473877008624264</c:v>
                </c:pt>
                <c:pt idx="59965">
                  <c:v>50.426102761990322</c:v>
                </c:pt>
                <c:pt idx="59966">
                  <c:v>44.349741717370982</c:v>
                </c:pt>
                <c:pt idx="59967">
                  <c:v>47.456230650123842</c:v>
                </c:pt>
                <c:pt idx="59968">
                  <c:v>35.717096026257956</c:v>
                </c:pt>
                <c:pt idx="59969">
                  <c:v>19.419626525353241</c:v>
                </c:pt>
                <c:pt idx="59970">
                  <c:v>36.316514962416306</c:v>
                </c:pt>
                <c:pt idx="59971">
                  <c:v>30.153589444140877</c:v>
                </c:pt>
                <c:pt idx="59972">
                  <c:v>45.949988106255439</c:v>
                </c:pt>
                <c:pt idx="59973">
                  <c:v>21.39918929385221</c:v>
                </c:pt>
                <c:pt idx="59974">
                  <c:v>33.268346004012891</c:v>
                </c:pt>
                <c:pt idx="59975">
                  <c:v>28.279277754122703</c:v>
                </c:pt>
                <c:pt idx="59976">
                  <c:v>33.702038409016879</c:v>
                </c:pt>
                <c:pt idx="59977">
                  <c:v>23.494180517954483</c:v>
                </c:pt>
                <c:pt idx="59978">
                  <c:v>38.010435903252201</c:v>
                </c:pt>
                <c:pt idx="59979">
                  <c:v>24.856802866506698</c:v>
                </c:pt>
                <c:pt idx="59980">
                  <c:v>50.179291086034794</c:v>
                </c:pt>
                <c:pt idx="59981">
                  <c:v>23.722046620204154</c:v>
                </c:pt>
                <c:pt idx="59982">
                  <c:v>22.17764494562514</c:v>
                </c:pt>
                <c:pt idx="59983">
                  <c:v>25.562225317968995</c:v>
                </c:pt>
                <c:pt idx="59984">
                  <c:v>29.674730616803757</c:v>
                </c:pt>
                <c:pt idx="59985">
                  <c:v>51.940937473773737</c:v>
                </c:pt>
                <c:pt idx="59986">
                  <c:v>37.794345900597676</c:v>
                </c:pt>
                <c:pt idx="59987">
                  <c:v>24.146271977828022</c:v>
                </c:pt>
                <c:pt idx="59988">
                  <c:v>25.810846133378806</c:v>
                </c:pt>
                <c:pt idx="59989">
                  <c:v>26.789512872277111</c:v>
                </c:pt>
                <c:pt idx="59990">
                  <c:v>27.408497985508511</c:v>
                </c:pt>
                <c:pt idx="59991">
                  <c:v>18.52348223472999</c:v>
                </c:pt>
                <c:pt idx="59992">
                  <c:v>43.707965503956551</c:v>
                </c:pt>
                <c:pt idx="59993">
                  <c:v>19.881762680048336</c:v>
                </c:pt>
                <c:pt idx="59994">
                  <c:v>31.523776207642811</c:v>
                </c:pt>
                <c:pt idx="59995">
                  <c:v>26.632688015397957</c:v>
                </c:pt>
                <c:pt idx="59996">
                  <c:v>20.876845638742616</c:v>
                </c:pt>
                <c:pt idx="59997">
                  <c:v>24.040391037016398</c:v>
                </c:pt>
                <c:pt idx="59998">
                  <c:v>30.890713859523519</c:v>
                </c:pt>
                <c:pt idx="59999">
                  <c:v>45.091238501842078</c:v>
                </c:pt>
                <c:pt idx="60000">
                  <c:v>26.133330709461745</c:v>
                </c:pt>
                <c:pt idx="60001">
                  <c:v>34.402907646824808</c:v>
                </c:pt>
                <c:pt idx="60002">
                  <c:v>34.243614327327037</c:v>
                </c:pt>
                <c:pt idx="60003">
                  <c:v>29.537275799810125</c:v>
                </c:pt>
                <c:pt idx="60004">
                  <c:v>36.81990286564487</c:v>
                </c:pt>
                <c:pt idx="60005">
                  <c:v>60.104756373357368</c:v>
                </c:pt>
                <c:pt idx="60006">
                  <c:v>23.216555817832877</c:v>
                </c:pt>
                <c:pt idx="60007">
                  <c:v>25.414813161850383</c:v>
                </c:pt>
                <c:pt idx="60008">
                  <c:v>29.236887994548873</c:v>
                </c:pt>
                <c:pt idx="60009">
                  <c:v>31.170482562284192</c:v>
                </c:pt>
                <c:pt idx="60010">
                  <c:v>54.395138170976786</c:v>
                </c:pt>
                <c:pt idx="60011">
                  <c:v>38.117914714797969</c:v>
                </c:pt>
                <c:pt idx="60012">
                  <c:v>53.747360495387113</c:v>
                </c:pt>
                <c:pt idx="60013">
                  <c:v>27.640002602927122</c:v>
                </c:pt>
                <c:pt idx="60014">
                  <c:v>25.480970970295161</c:v>
                </c:pt>
                <c:pt idx="60015">
                  <c:v>26.918542379890592</c:v>
                </c:pt>
                <c:pt idx="60016">
                  <c:v>28.044854009177193</c:v>
                </c:pt>
                <c:pt idx="60017">
                  <c:v>47.020891164544871</c:v>
                </c:pt>
                <c:pt idx="60018">
                  <c:v>45.771970162222338</c:v>
                </c:pt>
                <c:pt idx="60019">
                  <c:v>27.9753230544441</c:v>
                </c:pt>
                <c:pt idx="60020">
                  <c:v>24.500450146068463</c:v>
                </c:pt>
                <c:pt idx="60021">
                  <c:v>20.717409041161943</c:v>
                </c:pt>
                <c:pt idx="60022">
                  <c:v>27.211624246549768</c:v>
                </c:pt>
                <c:pt idx="60023">
                  <c:v>25.455513806543781</c:v>
                </c:pt>
                <c:pt idx="60024">
                  <c:v>43.723213915599558</c:v>
                </c:pt>
                <c:pt idx="60025">
                  <c:v>49.152633762860233</c:v>
                </c:pt>
                <c:pt idx="60026">
                  <c:v>26.985666016748834</c:v>
                </c:pt>
                <c:pt idx="60027">
                  <c:v>48.93585260315642</c:v>
                </c:pt>
                <c:pt idx="60028">
                  <c:v>25.937957270822864</c:v>
                </c:pt>
                <c:pt idx="60029">
                  <c:v>22.955744672582973</c:v>
                </c:pt>
                <c:pt idx="60030">
                  <c:v>35.243750335549926</c:v>
                </c:pt>
                <c:pt idx="60031">
                  <c:v>48.751926620588783</c:v>
                </c:pt>
                <c:pt idx="60032">
                  <c:v>28.019940569240269</c:v>
                </c:pt>
                <c:pt idx="60033">
                  <c:v>32.096211091713748</c:v>
                </c:pt>
                <c:pt idx="60034">
                  <c:v>21.442046819169246</c:v>
                </c:pt>
                <c:pt idx="60035">
                  <c:v>27.972324719719172</c:v>
                </c:pt>
                <c:pt idx="60036">
                  <c:v>53.908350236586635</c:v>
                </c:pt>
                <c:pt idx="60037">
                  <c:v>17.207914208294824</c:v>
                </c:pt>
                <c:pt idx="60038">
                  <c:v>33.278047945589627</c:v>
                </c:pt>
                <c:pt idx="60039">
                  <c:v>33.821028460810687</c:v>
                </c:pt>
                <c:pt idx="60040">
                  <c:v>27.266248885083762</c:v>
                </c:pt>
                <c:pt idx="60041">
                  <c:v>24.015413821275512</c:v>
                </c:pt>
                <c:pt idx="60042">
                  <c:v>18.438576180859421</c:v>
                </c:pt>
                <c:pt idx="60043">
                  <c:v>26.470983088389531</c:v>
                </c:pt>
                <c:pt idx="60044">
                  <c:v>65.251529930974868</c:v>
                </c:pt>
                <c:pt idx="60045">
                  <c:v>50.73741525630011</c:v>
                </c:pt>
                <c:pt idx="60046">
                  <c:v>18.012797484167486</c:v>
                </c:pt>
                <c:pt idx="60047">
                  <c:v>19.976332937324468</c:v>
                </c:pt>
                <c:pt idx="60048">
                  <c:v>26.742095979667546</c:v>
                </c:pt>
                <c:pt idx="60049">
                  <c:v>22.823668768981836</c:v>
                </c:pt>
                <c:pt idx="60050">
                  <c:v>30.553891235229738</c:v>
                </c:pt>
                <c:pt idx="60051">
                  <c:v>42.495404649817743</c:v>
                </c:pt>
                <c:pt idx="60052">
                  <c:v>49.545595577084903</c:v>
                </c:pt>
                <c:pt idx="60053">
                  <c:v>32.579406548890105</c:v>
                </c:pt>
                <c:pt idx="60054">
                  <c:v>37.235703988121564</c:v>
                </c:pt>
                <c:pt idx="60055">
                  <c:v>23.4188325006306</c:v>
                </c:pt>
                <c:pt idx="60056">
                  <c:v>22.213111522641558</c:v>
                </c:pt>
                <c:pt idx="60057">
                  <c:v>37.17979381464442</c:v>
                </c:pt>
                <c:pt idx="60058">
                  <c:v>26.83848774061088</c:v>
                </c:pt>
                <c:pt idx="60059">
                  <c:v>40.088041655414905</c:v>
                </c:pt>
                <c:pt idx="60060">
                  <c:v>20.541729681529834</c:v>
                </c:pt>
                <c:pt idx="60061">
                  <c:v>47.024259602258141</c:v>
                </c:pt>
                <c:pt idx="60062">
                  <c:v>24.080947620713104</c:v>
                </c:pt>
                <c:pt idx="60063">
                  <c:v>32.058058653143476</c:v>
                </c:pt>
                <c:pt idx="60064">
                  <c:v>38.786900547328734</c:v>
                </c:pt>
                <c:pt idx="60065">
                  <c:v>31.573102567474514</c:v>
                </c:pt>
                <c:pt idx="60066">
                  <c:v>54.421928000521284</c:v>
                </c:pt>
                <c:pt idx="60067">
                  <c:v>42.322511595888166</c:v>
                </c:pt>
                <c:pt idx="60068">
                  <c:v>23.652146315573852</c:v>
                </c:pt>
                <c:pt idx="60069">
                  <c:v>26.632862160322517</c:v>
                </c:pt>
                <c:pt idx="60070">
                  <c:v>22.308154398234421</c:v>
                </c:pt>
                <c:pt idx="60071">
                  <c:v>26.697686495410856</c:v>
                </c:pt>
                <c:pt idx="60072">
                  <c:v>23.382422754216009</c:v>
                </c:pt>
                <c:pt idx="60073">
                  <c:v>43.674933923865964</c:v>
                </c:pt>
                <c:pt idx="60074">
                  <c:v>25.386163150312569</c:v>
                </c:pt>
                <c:pt idx="60075">
                  <c:v>40.942523965985906</c:v>
                </c:pt>
                <c:pt idx="60076">
                  <c:v>25.062297673628422</c:v>
                </c:pt>
                <c:pt idx="60077">
                  <c:v>19.812858026742397</c:v>
                </c:pt>
                <c:pt idx="60078">
                  <c:v>21.868722091484383</c:v>
                </c:pt>
                <c:pt idx="60079">
                  <c:v>27.625469363946248</c:v>
                </c:pt>
                <c:pt idx="60080">
                  <c:v>27.266143624409992</c:v>
                </c:pt>
                <c:pt idx="60081">
                  <c:v>47.193781929531148</c:v>
                </c:pt>
                <c:pt idx="60082">
                  <c:v>29.615343716965221</c:v>
                </c:pt>
                <c:pt idx="60083">
                  <c:v>27.282555947393874</c:v>
                </c:pt>
                <c:pt idx="60084">
                  <c:v>25.946599579277013</c:v>
                </c:pt>
                <c:pt idx="60085">
                  <c:v>31.449361696313964</c:v>
                </c:pt>
                <c:pt idx="60086">
                  <c:v>26.662047130041863</c:v>
                </c:pt>
                <c:pt idx="60087">
                  <c:v>28.62185757540464</c:v>
                </c:pt>
                <c:pt idx="60088">
                  <c:v>30.430579767856266</c:v>
                </c:pt>
                <c:pt idx="60089">
                  <c:v>20.588889059590048</c:v>
                </c:pt>
                <c:pt idx="60090">
                  <c:v>46.890942151773167</c:v>
                </c:pt>
                <c:pt idx="60091">
                  <c:v>25.572445347406372</c:v>
                </c:pt>
                <c:pt idx="60092">
                  <c:v>52.479874958043816</c:v>
                </c:pt>
                <c:pt idx="60093">
                  <c:v>26.356689582162133</c:v>
                </c:pt>
                <c:pt idx="60094">
                  <c:v>22.841316279224831</c:v>
                </c:pt>
                <c:pt idx="60095">
                  <c:v>35.798031779134888</c:v>
                </c:pt>
                <c:pt idx="60096">
                  <c:v>23.063836367428905</c:v>
                </c:pt>
                <c:pt idx="60097">
                  <c:v>33.833444266204218</c:v>
                </c:pt>
                <c:pt idx="60098">
                  <c:v>27.438796866316395</c:v>
                </c:pt>
                <c:pt idx="60099">
                  <c:v>26.968780919063573</c:v>
                </c:pt>
                <c:pt idx="60100">
                  <c:v>24.619664715987145</c:v>
                </c:pt>
                <c:pt idx="60101">
                  <c:v>20.46071153895522</c:v>
                </c:pt>
                <c:pt idx="60102">
                  <c:v>23.528028518597832</c:v>
                </c:pt>
                <c:pt idx="60103">
                  <c:v>25.109987614132237</c:v>
                </c:pt>
                <c:pt idx="60104">
                  <c:v>35.53175808826181</c:v>
                </c:pt>
                <c:pt idx="60105">
                  <c:v>31.76863239120188</c:v>
                </c:pt>
                <c:pt idx="60106">
                  <c:v>25.686387462195519</c:v>
                </c:pt>
                <c:pt idx="60107">
                  <c:v>30.360180728216761</c:v>
                </c:pt>
                <c:pt idx="60108">
                  <c:v>26.213572047568519</c:v>
                </c:pt>
                <c:pt idx="60109">
                  <c:v>52.07617275330098</c:v>
                </c:pt>
                <c:pt idx="60110">
                  <c:v>30.343044923901875</c:v>
                </c:pt>
                <c:pt idx="60111">
                  <c:v>27.199098741938073</c:v>
                </c:pt>
                <c:pt idx="60112">
                  <c:v>24.987451584640681</c:v>
                </c:pt>
                <c:pt idx="60113">
                  <c:v>24.584181966360376</c:v>
                </c:pt>
                <c:pt idx="60114">
                  <c:v>20.583996903625771</c:v>
                </c:pt>
                <c:pt idx="60115">
                  <c:v>47.991234026169693</c:v>
                </c:pt>
                <c:pt idx="60116">
                  <c:v>57.250051538989581</c:v>
                </c:pt>
                <c:pt idx="60117">
                  <c:v>17.049771381856811</c:v>
                </c:pt>
                <c:pt idx="60118">
                  <c:v>23.868966758154688</c:v>
                </c:pt>
                <c:pt idx="60119">
                  <c:v>45.706153791031987</c:v>
                </c:pt>
                <c:pt idx="60120">
                  <c:v>24.592741497054387</c:v>
                </c:pt>
                <c:pt idx="60121">
                  <c:v>21.379175968144612</c:v>
                </c:pt>
                <c:pt idx="60122">
                  <c:v>25.517713565833358</c:v>
                </c:pt>
                <c:pt idx="60123">
                  <c:v>24.56602766998483</c:v>
                </c:pt>
                <c:pt idx="60124">
                  <c:v>46.947171603115862</c:v>
                </c:pt>
                <c:pt idx="60125">
                  <c:v>31.427992874766918</c:v>
                </c:pt>
                <c:pt idx="60126">
                  <c:v>29.15444403642697</c:v>
                </c:pt>
                <c:pt idx="60127">
                  <c:v>56.637854144733048</c:v>
                </c:pt>
                <c:pt idx="60128">
                  <c:v>29.054650843408034</c:v>
                </c:pt>
                <c:pt idx="60129">
                  <c:v>30.299890016666843</c:v>
                </c:pt>
                <c:pt idx="60130">
                  <c:v>52.053741958748404</c:v>
                </c:pt>
                <c:pt idx="60131">
                  <c:v>30.153208792263154</c:v>
                </c:pt>
                <c:pt idx="60132">
                  <c:v>25.511623295257909</c:v>
                </c:pt>
                <c:pt idx="60133">
                  <c:v>18.697879818097398</c:v>
                </c:pt>
                <c:pt idx="60134">
                  <c:v>55.425683530991634</c:v>
                </c:pt>
                <c:pt idx="60135">
                  <c:v>27.919056867672666</c:v>
                </c:pt>
                <c:pt idx="60136">
                  <c:v>25.531561352405809</c:v>
                </c:pt>
                <c:pt idx="60137">
                  <c:v>40.34860673085025</c:v>
                </c:pt>
                <c:pt idx="60138">
                  <c:v>23.249132780121428</c:v>
                </c:pt>
                <c:pt idx="60139">
                  <c:v>26.027845445986841</c:v>
                </c:pt>
                <c:pt idx="60140">
                  <c:v>14.450095587942455</c:v>
                </c:pt>
                <c:pt idx="60141">
                  <c:v>24.239600357321216</c:v>
                </c:pt>
                <c:pt idx="60142">
                  <c:v>41.25577089246655</c:v>
                </c:pt>
                <c:pt idx="60143">
                  <c:v>60.084038423385046</c:v>
                </c:pt>
                <c:pt idx="60144">
                  <c:v>23.86278995456572</c:v>
                </c:pt>
                <c:pt idx="60145">
                  <c:v>28.249419612662855</c:v>
                </c:pt>
                <c:pt idx="60146">
                  <c:v>19.483530743845087</c:v>
                </c:pt>
                <c:pt idx="60147">
                  <c:v>33.184525999563505</c:v>
                </c:pt>
                <c:pt idx="60148">
                  <c:v>34.576984862639634</c:v>
                </c:pt>
                <c:pt idx="60149">
                  <c:v>24.362011147217817</c:v>
                </c:pt>
                <c:pt idx="60150">
                  <c:v>49.617438901502446</c:v>
                </c:pt>
                <c:pt idx="60151">
                  <c:v>27.538174458430113</c:v>
                </c:pt>
                <c:pt idx="60152">
                  <c:v>20.046403357665849</c:v>
                </c:pt>
                <c:pt idx="60153">
                  <c:v>29.038223195430579</c:v>
                </c:pt>
                <c:pt idx="60154">
                  <c:v>43.543867695692001</c:v>
                </c:pt>
                <c:pt idx="60155">
                  <c:v>20.213199422233373</c:v>
                </c:pt>
                <c:pt idx="60156">
                  <c:v>42.436492074100457</c:v>
                </c:pt>
                <c:pt idx="60157">
                  <c:v>18.50477051914482</c:v>
                </c:pt>
                <c:pt idx="60158">
                  <c:v>30.024937436626566</c:v>
                </c:pt>
                <c:pt idx="60159">
                  <c:v>37.45612731746867</c:v>
                </c:pt>
                <c:pt idx="60160">
                  <c:v>20.635711148506459</c:v>
                </c:pt>
                <c:pt idx="60161">
                  <c:v>26.865139458907109</c:v>
                </c:pt>
                <c:pt idx="60162">
                  <c:v>23.359282093371977</c:v>
                </c:pt>
                <c:pt idx="60163">
                  <c:v>47.248006606245305</c:v>
                </c:pt>
                <c:pt idx="60164">
                  <c:v>31.504732757234255</c:v>
                </c:pt>
                <c:pt idx="60165">
                  <c:v>25.080245318853244</c:v>
                </c:pt>
                <c:pt idx="60166">
                  <c:v>35.353108980078318</c:v>
                </c:pt>
                <c:pt idx="60167">
                  <c:v>42.987656031983427</c:v>
                </c:pt>
                <c:pt idx="60168">
                  <c:v>48.360127463750715</c:v>
                </c:pt>
                <c:pt idx="60169">
                  <c:v>18.863126953918279</c:v>
                </c:pt>
                <c:pt idx="60170">
                  <c:v>48.382646523229873</c:v>
                </c:pt>
                <c:pt idx="60171">
                  <c:v>31.28575779408088</c:v>
                </c:pt>
                <c:pt idx="60172">
                  <c:v>42.678397620457289</c:v>
                </c:pt>
                <c:pt idx="60173">
                  <c:v>52.532767597983877</c:v>
                </c:pt>
                <c:pt idx="60174">
                  <c:v>23.697370182572232</c:v>
                </c:pt>
                <c:pt idx="60175">
                  <c:v>58.587613259420323</c:v>
                </c:pt>
                <c:pt idx="60176">
                  <c:v>43.41734804122887</c:v>
                </c:pt>
                <c:pt idx="60177">
                  <c:v>22.045623695042242</c:v>
                </c:pt>
                <c:pt idx="60178">
                  <c:v>31.112256431298217</c:v>
                </c:pt>
                <c:pt idx="60179">
                  <c:v>27.780610249937219</c:v>
                </c:pt>
                <c:pt idx="60180">
                  <c:v>23.717572929779994</c:v>
                </c:pt>
                <c:pt idx="60181">
                  <c:v>44.939126762910668</c:v>
                </c:pt>
                <c:pt idx="60182">
                  <c:v>31.296304321764936</c:v>
                </c:pt>
                <c:pt idx="60183">
                  <c:v>37.511330469987826</c:v>
                </c:pt>
                <c:pt idx="60184">
                  <c:v>27.427077788166798</c:v>
                </c:pt>
                <c:pt idx="60185">
                  <c:v>24.069904954271717</c:v>
                </c:pt>
                <c:pt idx="60186">
                  <c:v>54.016998268474048</c:v>
                </c:pt>
                <c:pt idx="60187">
                  <c:v>25.559195571412861</c:v>
                </c:pt>
                <c:pt idx="60188">
                  <c:v>52.894688925980013</c:v>
                </c:pt>
                <c:pt idx="60189">
                  <c:v>28.626016891602209</c:v>
                </c:pt>
                <c:pt idx="60190">
                  <c:v>28.91808285122773</c:v>
                </c:pt>
                <c:pt idx="60191">
                  <c:v>32.303100559629883</c:v>
                </c:pt>
                <c:pt idx="60192">
                  <c:v>17.498061151846009</c:v>
                </c:pt>
                <c:pt idx="60193">
                  <c:v>36.413188180619713</c:v>
                </c:pt>
                <c:pt idx="60194">
                  <c:v>28.079894934269721</c:v>
                </c:pt>
                <c:pt idx="60195">
                  <c:v>58.05944018551871</c:v>
                </c:pt>
                <c:pt idx="60196">
                  <c:v>31.292001479864137</c:v>
                </c:pt>
                <c:pt idx="60197">
                  <c:v>50.55491907760122</c:v>
                </c:pt>
                <c:pt idx="60198">
                  <c:v>30.581698231587893</c:v>
                </c:pt>
                <c:pt idx="60199">
                  <c:v>37.70621799406738</c:v>
                </c:pt>
                <c:pt idx="60200">
                  <c:v>28.123011924088161</c:v>
                </c:pt>
                <c:pt idx="60201">
                  <c:v>25.559811033166945</c:v>
                </c:pt>
                <c:pt idx="60202">
                  <c:v>45.263545207098026</c:v>
                </c:pt>
                <c:pt idx="60203">
                  <c:v>22.454522342155919</c:v>
                </c:pt>
                <c:pt idx="60204">
                  <c:v>37.428483656933679</c:v>
                </c:pt>
                <c:pt idx="60205">
                  <c:v>32.371054935624848</c:v>
                </c:pt>
                <c:pt idx="60206">
                  <c:v>17.999346094224034</c:v>
                </c:pt>
                <c:pt idx="60207">
                  <c:v>22.16440168588797</c:v>
                </c:pt>
                <c:pt idx="60208">
                  <c:v>33.045204749861021</c:v>
                </c:pt>
                <c:pt idx="60209">
                  <c:v>29.41734477968469</c:v>
                </c:pt>
                <c:pt idx="60210">
                  <c:v>25.286638775968424</c:v>
                </c:pt>
                <c:pt idx="60211">
                  <c:v>28.34607232773212</c:v>
                </c:pt>
                <c:pt idx="60212">
                  <c:v>29.645888153481561</c:v>
                </c:pt>
                <c:pt idx="60213">
                  <c:v>30.748401819307883</c:v>
                </c:pt>
                <c:pt idx="60214">
                  <c:v>26.948937342364907</c:v>
                </c:pt>
                <c:pt idx="60215">
                  <c:v>26.155209245597995</c:v>
                </c:pt>
                <c:pt idx="60216">
                  <c:v>51.909447729314557</c:v>
                </c:pt>
                <c:pt idx="60217">
                  <c:v>54.187892732101623</c:v>
                </c:pt>
                <c:pt idx="60218">
                  <c:v>40.414848536417317</c:v>
                </c:pt>
                <c:pt idx="60219">
                  <c:v>36.782369220710414</c:v>
                </c:pt>
                <c:pt idx="60220">
                  <c:v>20.858143242828305</c:v>
                </c:pt>
                <c:pt idx="60221">
                  <c:v>51.154019064111615</c:v>
                </c:pt>
                <c:pt idx="60222">
                  <c:v>25.785563798758702</c:v>
                </c:pt>
                <c:pt idx="60223">
                  <c:v>33.73678489173237</c:v>
                </c:pt>
                <c:pt idx="60224">
                  <c:v>30.952122788110124</c:v>
                </c:pt>
                <c:pt idx="60225">
                  <c:v>25.623014712819515</c:v>
                </c:pt>
                <c:pt idx="60226">
                  <c:v>27.56872976609251</c:v>
                </c:pt>
                <c:pt idx="60227">
                  <c:v>19.332344948860602</c:v>
                </c:pt>
                <c:pt idx="60228">
                  <c:v>29.745018286538652</c:v>
                </c:pt>
                <c:pt idx="60229">
                  <c:v>40.867894586663574</c:v>
                </c:pt>
                <c:pt idx="60230">
                  <c:v>36.376666975065227</c:v>
                </c:pt>
                <c:pt idx="60231">
                  <c:v>37.150735752026229</c:v>
                </c:pt>
                <c:pt idx="60232">
                  <c:v>29.691846443262101</c:v>
                </c:pt>
                <c:pt idx="60233">
                  <c:v>20.049644068516955</c:v>
                </c:pt>
                <c:pt idx="60234">
                  <c:v>25.528402000486459</c:v>
                </c:pt>
                <c:pt idx="60235">
                  <c:v>32.675518503932679</c:v>
                </c:pt>
                <c:pt idx="60236">
                  <c:v>22.147863843045567</c:v>
                </c:pt>
                <c:pt idx="60237">
                  <c:v>28.356331869290877</c:v>
                </c:pt>
                <c:pt idx="60238">
                  <c:v>26.196278529201894</c:v>
                </c:pt>
                <c:pt idx="60239">
                  <c:v>23.435861526061242</c:v>
                </c:pt>
                <c:pt idx="60240">
                  <c:v>31.233235864685803</c:v>
                </c:pt>
                <c:pt idx="60241">
                  <c:v>28.25001069705559</c:v>
                </c:pt>
                <c:pt idx="60242">
                  <c:v>32.605028394142906</c:v>
                </c:pt>
                <c:pt idx="60243">
                  <c:v>25.082708008284893</c:v>
                </c:pt>
                <c:pt idx="60244">
                  <c:v>47.316648460982393</c:v>
                </c:pt>
                <c:pt idx="60245">
                  <c:v>31.351769417925951</c:v>
                </c:pt>
                <c:pt idx="60246">
                  <c:v>22.94154755955546</c:v>
                </c:pt>
                <c:pt idx="60247">
                  <c:v>35.892022871598314</c:v>
                </c:pt>
                <c:pt idx="60248">
                  <c:v>22.058485290238888</c:v>
                </c:pt>
                <c:pt idx="60249">
                  <c:v>45.431970773751623</c:v>
                </c:pt>
                <c:pt idx="60250">
                  <c:v>31.562936720505174</c:v>
                </c:pt>
                <c:pt idx="60251">
                  <c:v>26.888170633754946</c:v>
                </c:pt>
                <c:pt idx="60252">
                  <c:v>23.172928992167737</c:v>
                </c:pt>
                <c:pt idx="60253">
                  <c:v>43.518208265417442</c:v>
                </c:pt>
                <c:pt idx="60254">
                  <c:v>22.801254102455673</c:v>
                </c:pt>
                <c:pt idx="60255">
                  <c:v>46.073662369750096</c:v>
                </c:pt>
                <c:pt idx="60256">
                  <c:v>32.154477957242406</c:v>
                </c:pt>
                <c:pt idx="60257">
                  <c:v>43.891104348624154</c:v>
                </c:pt>
                <c:pt idx="60258">
                  <c:v>44.187978437843057</c:v>
                </c:pt>
                <c:pt idx="60259">
                  <c:v>26.228188578378003</c:v>
                </c:pt>
                <c:pt idx="60260">
                  <c:v>55.430567114448444</c:v>
                </c:pt>
                <c:pt idx="60261">
                  <c:v>47.705822637080658</c:v>
                </c:pt>
                <c:pt idx="60262">
                  <c:v>17.13611977602018</c:v>
                </c:pt>
                <c:pt idx="60263">
                  <c:v>26.476773225811485</c:v>
                </c:pt>
                <c:pt idx="60264">
                  <c:v>22.130798881089021</c:v>
                </c:pt>
                <c:pt idx="60265">
                  <c:v>24.149390094549332</c:v>
                </c:pt>
                <c:pt idx="60266">
                  <c:v>33.271600393012115</c:v>
                </c:pt>
                <c:pt idx="60267">
                  <c:v>35.474337655436507</c:v>
                </c:pt>
                <c:pt idx="60268">
                  <c:v>26.851403199908621</c:v>
                </c:pt>
                <c:pt idx="60269">
                  <c:v>43.410838689815094</c:v>
                </c:pt>
                <c:pt idx="60270">
                  <c:v>25.879655908673652</c:v>
                </c:pt>
                <c:pt idx="60271">
                  <c:v>30.347619751174957</c:v>
                </c:pt>
                <c:pt idx="60272">
                  <c:v>24.143766782765432</c:v>
                </c:pt>
                <c:pt idx="60273">
                  <c:v>19.272658485452514</c:v>
                </c:pt>
                <c:pt idx="60274">
                  <c:v>24.648985421710037</c:v>
                </c:pt>
                <c:pt idx="60275">
                  <c:v>31.250494185386376</c:v>
                </c:pt>
                <c:pt idx="60276">
                  <c:v>29.581466502156637</c:v>
                </c:pt>
                <c:pt idx="60277">
                  <c:v>27.510199510683645</c:v>
                </c:pt>
                <c:pt idx="60278">
                  <c:v>36.573589470946168</c:v>
                </c:pt>
                <c:pt idx="60279">
                  <c:v>22.789485791363319</c:v>
                </c:pt>
                <c:pt idx="60280">
                  <c:v>27.317471716163066</c:v>
                </c:pt>
                <c:pt idx="60281">
                  <c:v>24.125094855486402</c:v>
                </c:pt>
                <c:pt idx="60282">
                  <c:v>25.631505671362632</c:v>
                </c:pt>
                <c:pt idx="60283">
                  <c:v>27.276099734951806</c:v>
                </c:pt>
                <c:pt idx="60284">
                  <c:v>22.239489781390848</c:v>
                </c:pt>
                <c:pt idx="60285">
                  <c:v>31.766080614058701</c:v>
                </c:pt>
                <c:pt idx="60286">
                  <c:v>28.175119029969736</c:v>
                </c:pt>
                <c:pt idx="60287">
                  <c:v>27.882583827294212</c:v>
                </c:pt>
                <c:pt idx="60288">
                  <c:v>31.544098983689697</c:v>
                </c:pt>
                <c:pt idx="60289">
                  <c:v>27.552680534523841</c:v>
                </c:pt>
                <c:pt idx="60290">
                  <c:v>27.482744014485245</c:v>
                </c:pt>
                <c:pt idx="60291">
                  <c:v>27.119157338960637</c:v>
                </c:pt>
                <c:pt idx="60292">
                  <c:v>35.129059609395135</c:v>
                </c:pt>
                <c:pt idx="60293">
                  <c:v>45.947406103370746</c:v>
                </c:pt>
                <c:pt idx="60294">
                  <c:v>53.994890574072862</c:v>
                </c:pt>
                <c:pt idx="60295">
                  <c:v>36.089761207183294</c:v>
                </c:pt>
                <c:pt idx="60296">
                  <c:v>55.587197573273144</c:v>
                </c:pt>
                <c:pt idx="60297">
                  <c:v>31.736312595881312</c:v>
                </c:pt>
                <c:pt idx="60298">
                  <c:v>40.623702740240077</c:v>
                </c:pt>
                <c:pt idx="60299">
                  <c:v>20.682937720250482</c:v>
                </c:pt>
                <c:pt idx="60300">
                  <c:v>25.324471826846469</c:v>
                </c:pt>
                <c:pt idx="60301">
                  <c:v>26.442728899649783</c:v>
                </c:pt>
                <c:pt idx="60302">
                  <c:v>27.830373157482306</c:v>
                </c:pt>
                <c:pt idx="60303">
                  <c:v>23.684658397719076</c:v>
                </c:pt>
                <c:pt idx="60304">
                  <c:v>23.0111852301232</c:v>
                </c:pt>
                <c:pt idx="60305">
                  <c:v>28.255610064069668</c:v>
                </c:pt>
                <c:pt idx="60306">
                  <c:v>26.98602345926016</c:v>
                </c:pt>
                <c:pt idx="60307">
                  <c:v>30.888156517721072</c:v>
                </c:pt>
                <c:pt idx="60308">
                  <c:v>47.657026914378825</c:v>
                </c:pt>
                <c:pt idx="60309">
                  <c:v>34.52412940082543</c:v>
                </c:pt>
                <c:pt idx="60310">
                  <c:v>22.45456818053362</c:v>
                </c:pt>
                <c:pt idx="60311">
                  <c:v>21.57481667845807</c:v>
                </c:pt>
                <c:pt idx="60312">
                  <c:v>17.518227638120251</c:v>
                </c:pt>
                <c:pt idx="60313">
                  <c:v>23.771024436696482</c:v>
                </c:pt>
                <c:pt idx="60314">
                  <c:v>25.038969462148579</c:v>
                </c:pt>
                <c:pt idx="60315">
                  <c:v>29.001261174606498</c:v>
                </c:pt>
                <c:pt idx="60316">
                  <c:v>51.422275781656744</c:v>
                </c:pt>
                <c:pt idx="60317">
                  <c:v>29.731419146223736</c:v>
                </c:pt>
                <c:pt idx="60318">
                  <c:v>25.337063166726896</c:v>
                </c:pt>
                <c:pt idx="60319">
                  <c:v>30.730181231406551</c:v>
                </c:pt>
                <c:pt idx="60320">
                  <c:v>44.934963868377146</c:v>
                </c:pt>
                <c:pt idx="60321">
                  <c:v>55.138181813757654</c:v>
                </c:pt>
                <c:pt idx="60322">
                  <c:v>45.019967805825893</c:v>
                </c:pt>
                <c:pt idx="60323">
                  <c:v>23.95610078187395</c:v>
                </c:pt>
                <c:pt idx="60324">
                  <c:v>23.49341027861794</c:v>
                </c:pt>
                <c:pt idx="60325">
                  <c:v>22.658336184511654</c:v>
                </c:pt>
                <c:pt idx="60326">
                  <c:v>24.262168946300676</c:v>
                </c:pt>
                <c:pt idx="60327">
                  <c:v>33.863270955080296</c:v>
                </c:pt>
                <c:pt idx="60328">
                  <c:v>22.985991313741899</c:v>
                </c:pt>
                <c:pt idx="60329">
                  <c:v>23.888934749198224</c:v>
                </c:pt>
                <c:pt idx="60330">
                  <c:v>25.160377882213918</c:v>
                </c:pt>
                <c:pt idx="60331">
                  <c:v>44.242580763757957</c:v>
                </c:pt>
                <c:pt idx="60332">
                  <c:v>29.966117074118657</c:v>
                </c:pt>
                <c:pt idx="60333">
                  <c:v>25.612389434808193</c:v>
                </c:pt>
                <c:pt idx="60334">
                  <c:v>29.494212572478215</c:v>
                </c:pt>
                <c:pt idx="60335">
                  <c:v>20.301999451320306</c:v>
                </c:pt>
                <c:pt idx="60336">
                  <c:v>23.347149181554009</c:v>
                </c:pt>
                <c:pt idx="60337">
                  <c:v>25.595725359369396</c:v>
                </c:pt>
                <c:pt idx="60338">
                  <c:v>51.608944952344793</c:v>
                </c:pt>
                <c:pt idx="60339">
                  <c:v>45.485632947493507</c:v>
                </c:pt>
                <c:pt idx="60340">
                  <c:v>28.771663790758524</c:v>
                </c:pt>
                <c:pt idx="60341">
                  <c:v>46.196943594535298</c:v>
                </c:pt>
                <c:pt idx="60342">
                  <c:v>38.956058578763901</c:v>
                </c:pt>
                <c:pt idx="60343">
                  <c:v>35.282041881998822</c:v>
                </c:pt>
                <c:pt idx="60344">
                  <c:v>18.580844822227458</c:v>
                </c:pt>
                <c:pt idx="60345">
                  <c:v>40.707579100163571</c:v>
                </c:pt>
                <c:pt idx="60346">
                  <c:v>36.16234865805221</c:v>
                </c:pt>
                <c:pt idx="60347">
                  <c:v>30.955984466344955</c:v>
                </c:pt>
                <c:pt idx="60348">
                  <c:v>35.895975593511267</c:v>
                </c:pt>
                <c:pt idx="60349">
                  <c:v>24.693253972426923</c:v>
                </c:pt>
                <c:pt idx="60350">
                  <c:v>21.176062551146767</c:v>
                </c:pt>
                <c:pt idx="60351">
                  <c:v>44.280753088931291</c:v>
                </c:pt>
                <c:pt idx="60352">
                  <c:v>30.21784437181568</c:v>
                </c:pt>
                <c:pt idx="60353">
                  <c:v>38.942866816193302</c:v>
                </c:pt>
                <c:pt idx="60354">
                  <c:v>26.784259356743156</c:v>
                </c:pt>
                <c:pt idx="60355">
                  <c:v>26.129808470143672</c:v>
                </c:pt>
                <c:pt idx="60356">
                  <c:v>21.707096917257999</c:v>
                </c:pt>
                <c:pt idx="60357">
                  <c:v>30.702849394736592</c:v>
                </c:pt>
                <c:pt idx="60358">
                  <c:v>48.583058997770095</c:v>
                </c:pt>
                <c:pt idx="60359">
                  <c:v>27.687176161663867</c:v>
                </c:pt>
                <c:pt idx="60360">
                  <c:v>30.779560357969629</c:v>
                </c:pt>
                <c:pt idx="60361">
                  <c:v>21.302478849188294</c:v>
                </c:pt>
                <c:pt idx="60362">
                  <c:v>28.991322428621551</c:v>
                </c:pt>
                <c:pt idx="60363">
                  <c:v>31.333755477416034</c:v>
                </c:pt>
                <c:pt idx="60364">
                  <c:v>30.826173034029228</c:v>
                </c:pt>
                <c:pt idx="60365">
                  <c:v>50.038363759998482</c:v>
                </c:pt>
                <c:pt idx="60366">
                  <c:v>26.517441043604137</c:v>
                </c:pt>
                <c:pt idx="60367">
                  <c:v>44.538822047813269</c:v>
                </c:pt>
                <c:pt idx="60368">
                  <c:v>25.720478383796731</c:v>
                </c:pt>
                <c:pt idx="60369">
                  <c:v>29.480052775917262</c:v>
                </c:pt>
                <c:pt idx="60370">
                  <c:v>48.037175179200794</c:v>
                </c:pt>
                <c:pt idx="60371">
                  <c:v>50.052089595615818</c:v>
                </c:pt>
                <c:pt idx="60372">
                  <c:v>53.265898318993635</c:v>
                </c:pt>
                <c:pt idx="60373">
                  <c:v>27.581903507864425</c:v>
                </c:pt>
                <c:pt idx="60374">
                  <c:v>23.83799535144988</c:v>
                </c:pt>
                <c:pt idx="60375">
                  <c:v>25.380980376161112</c:v>
                </c:pt>
                <c:pt idx="60376">
                  <c:v>49.500405214960381</c:v>
                </c:pt>
                <c:pt idx="60377">
                  <c:v>27.441894652204912</c:v>
                </c:pt>
                <c:pt idx="60378">
                  <c:v>57.332238422858012</c:v>
                </c:pt>
                <c:pt idx="60379">
                  <c:v>18.226372434776561</c:v>
                </c:pt>
                <c:pt idx="60380">
                  <c:v>48.413392814301872</c:v>
                </c:pt>
                <c:pt idx="60381">
                  <c:v>37.011796127128854</c:v>
                </c:pt>
                <c:pt idx="60382">
                  <c:v>52.287617692547904</c:v>
                </c:pt>
                <c:pt idx="60383">
                  <c:v>27.779231520035051</c:v>
                </c:pt>
                <c:pt idx="60384">
                  <c:v>30.347706450103985</c:v>
                </c:pt>
                <c:pt idx="60385">
                  <c:v>31.487469570044595</c:v>
                </c:pt>
                <c:pt idx="60386">
                  <c:v>35.025642562902036</c:v>
                </c:pt>
                <c:pt idx="60387">
                  <c:v>30.436769971375391</c:v>
                </c:pt>
                <c:pt idx="60388">
                  <c:v>21.418516005297299</c:v>
                </c:pt>
                <c:pt idx="60389">
                  <c:v>48.640458245334138</c:v>
                </c:pt>
                <c:pt idx="60390">
                  <c:v>16.857012931892349</c:v>
                </c:pt>
                <c:pt idx="60391">
                  <c:v>23.24887379968591</c:v>
                </c:pt>
                <c:pt idx="60392">
                  <c:v>29.753646414053172</c:v>
                </c:pt>
                <c:pt idx="60393">
                  <c:v>24.877120122525945</c:v>
                </c:pt>
                <c:pt idx="60394">
                  <c:v>43.359156536041503</c:v>
                </c:pt>
                <c:pt idx="60395">
                  <c:v>34.309651141092601</c:v>
                </c:pt>
                <c:pt idx="60396">
                  <c:v>39.34247228943785</c:v>
                </c:pt>
                <c:pt idx="60397">
                  <c:v>32.012544246010762</c:v>
                </c:pt>
                <c:pt idx="60398">
                  <c:v>23.68454379338862</c:v>
                </c:pt>
                <c:pt idx="60399">
                  <c:v>20.621132288484532</c:v>
                </c:pt>
                <c:pt idx="60400">
                  <c:v>34.928383945546202</c:v>
                </c:pt>
                <c:pt idx="60401">
                  <c:v>30.563172968752692</c:v>
                </c:pt>
                <c:pt idx="60402">
                  <c:v>53.47155319101941</c:v>
                </c:pt>
                <c:pt idx="60403">
                  <c:v>29.751695224089119</c:v>
                </c:pt>
                <c:pt idx="60404">
                  <c:v>17.508975372987571</c:v>
                </c:pt>
                <c:pt idx="60405">
                  <c:v>34.371458582264864</c:v>
                </c:pt>
                <c:pt idx="60406">
                  <c:v>49.572422369032928</c:v>
                </c:pt>
                <c:pt idx="60407">
                  <c:v>16.228953651920271</c:v>
                </c:pt>
                <c:pt idx="60408">
                  <c:v>26.458167526184361</c:v>
                </c:pt>
                <c:pt idx="60409">
                  <c:v>25.64994499308164</c:v>
                </c:pt>
                <c:pt idx="60410">
                  <c:v>35.886405798570607</c:v>
                </c:pt>
                <c:pt idx="60411">
                  <c:v>20.037876651269919</c:v>
                </c:pt>
                <c:pt idx="60412">
                  <c:v>26.424119098320443</c:v>
                </c:pt>
                <c:pt idx="60413">
                  <c:v>21.869988594697638</c:v>
                </c:pt>
                <c:pt idx="60414">
                  <c:v>41.315161805800827</c:v>
                </c:pt>
                <c:pt idx="60415">
                  <c:v>17.614474069747047</c:v>
                </c:pt>
                <c:pt idx="60416">
                  <c:v>27.074977978328583</c:v>
                </c:pt>
                <c:pt idx="60417">
                  <c:v>35.078481528830508</c:v>
                </c:pt>
                <c:pt idx="60418">
                  <c:v>25.689123917194959</c:v>
                </c:pt>
                <c:pt idx="60419">
                  <c:v>31.713673578834069</c:v>
                </c:pt>
                <c:pt idx="60420">
                  <c:v>21.435440748880005</c:v>
                </c:pt>
                <c:pt idx="60421">
                  <c:v>40.658015376993802</c:v>
                </c:pt>
                <c:pt idx="60422">
                  <c:v>25.394415571798355</c:v>
                </c:pt>
                <c:pt idx="60423">
                  <c:v>22.289623766648813</c:v>
                </c:pt>
                <c:pt idx="60424">
                  <c:v>32.835621711121988</c:v>
                </c:pt>
                <c:pt idx="60425">
                  <c:v>48.44877901925905</c:v>
                </c:pt>
                <c:pt idx="60426">
                  <c:v>22.9583399336978</c:v>
                </c:pt>
                <c:pt idx="60427">
                  <c:v>45.440026975251087</c:v>
                </c:pt>
                <c:pt idx="60428">
                  <c:v>29.84237864372907</c:v>
                </c:pt>
                <c:pt idx="60429">
                  <c:v>27.459665714478984</c:v>
                </c:pt>
                <c:pt idx="60430">
                  <c:v>23.400014241436306</c:v>
                </c:pt>
                <c:pt idx="60431">
                  <c:v>30.533239102958177</c:v>
                </c:pt>
                <c:pt idx="60432">
                  <c:v>32.29769890025392</c:v>
                </c:pt>
                <c:pt idx="60433">
                  <c:v>28.869989026428659</c:v>
                </c:pt>
                <c:pt idx="60434">
                  <c:v>45.912094113080506</c:v>
                </c:pt>
                <c:pt idx="60435">
                  <c:v>31.790039031640017</c:v>
                </c:pt>
                <c:pt idx="60436">
                  <c:v>24.94600142740402</c:v>
                </c:pt>
                <c:pt idx="60437">
                  <c:v>25.004220233631187</c:v>
                </c:pt>
                <c:pt idx="60438">
                  <c:v>34.934628344438963</c:v>
                </c:pt>
                <c:pt idx="60439">
                  <c:v>31.842396014600528</c:v>
                </c:pt>
                <c:pt idx="60440">
                  <c:v>27.527409870614342</c:v>
                </c:pt>
                <c:pt idx="60441">
                  <c:v>34.602922063106746</c:v>
                </c:pt>
                <c:pt idx="60442">
                  <c:v>19.305880681845181</c:v>
                </c:pt>
                <c:pt idx="60443">
                  <c:v>28.817384131759439</c:v>
                </c:pt>
                <c:pt idx="60444">
                  <c:v>25.920992471137534</c:v>
                </c:pt>
                <c:pt idx="60445">
                  <c:v>23.959836535462742</c:v>
                </c:pt>
                <c:pt idx="60446">
                  <c:v>24.711462145257286</c:v>
                </c:pt>
                <c:pt idx="60447">
                  <c:v>26.95320933931518</c:v>
                </c:pt>
                <c:pt idx="60448">
                  <c:v>24.996636936660387</c:v>
                </c:pt>
                <c:pt idx="60449">
                  <c:v>29.660317510715554</c:v>
                </c:pt>
                <c:pt idx="60450">
                  <c:v>28.936315409522933</c:v>
                </c:pt>
                <c:pt idx="60451">
                  <c:v>23.845304773122411</c:v>
                </c:pt>
                <c:pt idx="60452">
                  <c:v>49.221843825699779</c:v>
                </c:pt>
                <c:pt idx="60453">
                  <c:v>23.872552825692136</c:v>
                </c:pt>
                <c:pt idx="60454">
                  <c:v>41.595862482967178</c:v>
                </c:pt>
                <c:pt idx="60455">
                  <c:v>34.078141501490549</c:v>
                </c:pt>
                <c:pt idx="60456">
                  <c:v>25.580504782053215</c:v>
                </c:pt>
                <c:pt idx="60457">
                  <c:v>20.382154676428208</c:v>
                </c:pt>
                <c:pt idx="60458">
                  <c:v>50.322645582261096</c:v>
                </c:pt>
                <c:pt idx="60459">
                  <c:v>43.048148097317373</c:v>
                </c:pt>
                <c:pt idx="60460">
                  <c:v>47.49662840803218</c:v>
                </c:pt>
                <c:pt idx="60461">
                  <c:v>27.186260527088645</c:v>
                </c:pt>
                <c:pt idx="60462">
                  <c:v>27.717314041072175</c:v>
                </c:pt>
                <c:pt idx="60463">
                  <c:v>23.2419675832137</c:v>
                </c:pt>
                <c:pt idx="60464">
                  <c:v>22.222895130290532</c:v>
                </c:pt>
                <c:pt idx="60465">
                  <c:v>27.432488797302845</c:v>
                </c:pt>
                <c:pt idx="60466">
                  <c:v>30.972998511028969</c:v>
                </c:pt>
                <c:pt idx="60467">
                  <c:v>26.646521531494265</c:v>
                </c:pt>
                <c:pt idx="60468">
                  <c:v>26.778823690074461</c:v>
                </c:pt>
                <c:pt idx="60469">
                  <c:v>26.374089036356473</c:v>
                </c:pt>
                <c:pt idx="60470">
                  <c:v>38.809339552470668</c:v>
                </c:pt>
                <c:pt idx="60471">
                  <c:v>24.443038738067052</c:v>
                </c:pt>
                <c:pt idx="60472">
                  <c:v>29.660705550411272</c:v>
                </c:pt>
                <c:pt idx="60473">
                  <c:v>23.853597042876544</c:v>
                </c:pt>
                <c:pt idx="60474">
                  <c:v>21.654386444940755</c:v>
                </c:pt>
                <c:pt idx="60475">
                  <c:v>24.79954584537083</c:v>
                </c:pt>
                <c:pt idx="60476">
                  <c:v>23.738005187950872</c:v>
                </c:pt>
                <c:pt idx="60477">
                  <c:v>54.172494960748594</c:v>
                </c:pt>
                <c:pt idx="60478">
                  <c:v>39.397174795061773</c:v>
                </c:pt>
                <c:pt idx="60479">
                  <c:v>34.160644151539266</c:v>
                </c:pt>
                <c:pt idx="60480">
                  <c:v>28.998023243940089</c:v>
                </c:pt>
                <c:pt idx="60481">
                  <c:v>18.899839659334166</c:v>
                </c:pt>
                <c:pt idx="60482">
                  <c:v>46.056857639777427</c:v>
                </c:pt>
                <c:pt idx="60483">
                  <c:v>30.614615854997673</c:v>
                </c:pt>
                <c:pt idx="60484">
                  <c:v>47.966442102826328</c:v>
                </c:pt>
                <c:pt idx="60485">
                  <c:v>32.42810656217484</c:v>
                </c:pt>
                <c:pt idx="60486">
                  <c:v>17.957245527430945</c:v>
                </c:pt>
                <c:pt idx="60487">
                  <c:v>58.763317119673275</c:v>
                </c:pt>
                <c:pt idx="60488">
                  <c:v>33.46861502292299</c:v>
                </c:pt>
                <c:pt idx="60489">
                  <c:v>44.916811830953229</c:v>
                </c:pt>
                <c:pt idx="60490">
                  <c:v>24.727799282470613</c:v>
                </c:pt>
                <c:pt idx="60491">
                  <c:v>47.531227120483031</c:v>
                </c:pt>
                <c:pt idx="60492">
                  <c:v>44.578201379879062</c:v>
                </c:pt>
                <c:pt idx="60493">
                  <c:v>23.391684104307604</c:v>
                </c:pt>
                <c:pt idx="60494">
                  <c:v>18.550993626803237</c:v>
                </c:pt>
                <c:pt idx="60495">
                  <c:v>22.292877797489023</c:v>
                </c:pt>
                <c:pt idx="60496">
                  <c:v>24.200866835056097</c:v>
                </c:pt>
                <c:pt idx="60497">
                  <c:v>25.268202029082168</c:v>
                </c:pt>
                <c:pt idx="60498">
                  <c:v>16.479436042028446</c:v>
                </c:pt>
                <c:pt idx="60499">
                  <c:v>22.065365419205367</c:v>
                </c:pt>
                <c:pt idx="60500">
                  <c:v>18.706535275251781</c:v>
                </c:pt>
                <c:pt idx="60501">
                  <c:v>20.468947493741187</c:v>
                </c:pt>
                <c:pt idx="60502">
                  <c:v>51.20846697056578</c:v>
                </c:pt>
                <c:pt idx="60503">
                  <c:v>23.507180237106002</c:v>
                </c:pt>
                <c:pt idx="60504">
                  <c:v>49.840445068075546</c:v>
                </c:pt>
                <c:pt idx="60505">
                  <c:v>32.483122382897889</c:v>
                </c:pt>
                <c:pt idx="60506">
                  <c:v>34.430824075402612</c:v>
                </c:pt>
                <c:pt idx="60507">
                  <c:v>45.768368620403621</c:v>
                </c:pt>
                <c:pt idx="60508">
                  <c:v>24.598297388681694</c:v>
                </c:pt>
                <c:pt idx="60509">
                  <c:v>33.676285381748386</c:v>
                </c:pt>
                <c:pt idx="60510">
                  <c:v>37.200682321948555</c:v>
                </c:pt>
                <c:pt idx="60511">
                  <c:v>28.827090337150342</c:v>
                </c:pt>
                <c:pt idx="60512">
                  <c:v>25.912969257036764</c:v>
                </c:pt>
                <c:pt idx="60513">
                  <c:v>25.803766191036384</c:v>
                </c:pt>
                <c:pt idx="60514">
                  <c:v>25.804543730785866</c:v>
                </c:pt>
                <c:pt idx="60515">
                  <c:v>22.713197820433923</c:v>
                </c:pt>
                <c:pt idx="60516">
                  <c:v>28.236379819314827</c:v>
                </c:pt>
                <c:pt idx="60517">
                  <c:v>26.819563255165921</c:v>
                </c:pt>
                <c:pt idx="60518">
                  <c:v>51.715187787292429</c:v>
                </c:pt>
                <c:pt idx="60519">
                  <c:v>29.088714534075358</c:v>
                </c:pt>
                <c:pt idx="60520">
                  <c:v>26.192257376622933</c:v>
                </c:pt>
                <c:pt idx="60521">
                  <c:v>57.994478589745057</c:v>
                </c:pt>
                <c:pt idx="60522">
                  <c:v>26.319325217763961</c:v>
                </c:pt>
                <c:pt idx="60523">
                  <c:v>42.304691116103562</c:v>
                </c:pt>
                <c:pt idx="60524">
                  <c:v>18.761103390007598</c:v>
                </c:pt>
                <c:pt idx="60525">
                  <c:v>20.430857711588857</c:v>
                </c:pt>
                <c:pt idx="60526">
                  <c:v>37.707261148556782</c:v>
                </c:pt>
                <c:pt idx="60527">
                  <c:v>25.601737244010756</c:v>
                </c:pt>
                <c:pt idx="60528">
                  <c:v>26.479110412541907</c:v>
                </c:pt>
                <c:pt idx="60529">
                  <c:v>30.60655453906697</c:v>
                </c:pt>
                <c:pt idx="60530">
                  <c:v>29.206185568887566</c:v>
                </c:pt>
                <c:pt idx="60531">
                  <c:v>33.202067434839222</c:v>
                </c:pt>
                <c:pt idx="60532">
                  <c:v>24.054445808387172</c:v>
                </c:pt>
                <c:pt idx="60533">
                  <c:v>28.836394190850907</c:v>
                </c:pt>
                <c:pt idx="60534">
                  <c:v>31.228174053488743</c:v>
                </c:pt>
                <c:pt idx="60535">
                  <c:v>27.655288918288647</c:v>
                </c:pt>
                <c:pt idx="60536">
                  <c:v>27.97193113156424</c:v>
                </c:pt>
                <c:pt idx="60537">
                  <c:v>41.364028329689887</c:v>
                </c:pt>
                <c:pt idx="60538">
                  <c:v>29.112281332763903</c:v>
                </c:pt>
                <c:pt idx="60539">
                  <c:v>19.701495738756762</c:v>
                </c:pt>
                <c:pt idx="60540">
                  <c:v>25.252260150958353</c:v>
                </c:pt>
                <c:pt idx="60541">
                  <c:v>22.357247574791504</c:v>
                </c:pt>
                <c:pt idx="60542">
                  <c:v>23.182868509406063</c:v>
                </c:pt>
                <c:pt idx="60543">
                  <c:v>25.260654887213683</c:v>
                </c:pt>
                <c:pt idx="60544">
                  <c:v>31.725178599092711</c:v>
                </c:pt>
                <c:pt idx="60545">
                  <c:v>22.621705372951489</c:v>
                </c:pt>
                <c:pt idx="60546">
                  <c:v>16.436731526769144</c:v>
                </c:pt>
                <c:pt idx="60547">
                  <c:v>54.421834172959201</c:v>
                </c:pt>
                <c:pt idx="60548">
                  <c:v>29.899950241788687</c:v>
                </c:pt>
                <c:pt idx="60549">
                  <c:v>38.601706401120595</c:v>
                </c:pt>
                <c:pt idx="60550">
                  <c:v>53.702618077188838</c:v>
                </c:pt>
                <c:pt idx="60551">
                  <c:v>25.476392632343092</c:v>
                </c:pt>
                <c:pt idx="60552">
                  <c:v>18.043725159355457</c:v>
                </c:pt>
                <c:pt idx="60553">
                  <c:v>27.138105597041161</c:v>
                </c:pt>
                <c:pt idx="60554">
                  <c:v>22.496728660599352</c:v>
                </c:pt>
                <c:pt idx="60555">
                  <c:v>29.206151744605801</c:v>
                </c:pt>
                <c:pt idx="60556">
                  <c:v>35.927718869272127</c:v>
                </c:pt>
                <c:pt idx="60557">
                  <c:v>25.343209281541213</c:v>
                </c:pt>
                <c:pt idx="60558">
                  <c:v>25.818381679718673</c:v>
                </c:pt>
                <c:pt idx="60559">
                  <c:v>48.13075320462481</c:v>
                </c:pt>
                <c:pt idx="60560">
                  <c:v>24.799869445214842</c:v>
                </c:pt>
                <c:pt idx="60561">
                  <c:v>21.218779058838908</c:v>
                </c:pt>
                <c:pt idx="60562">
                  <c:v>32.758274197219592</c:v>
                </c:pt>
                <c:pt idx="60563">
                  <c:v>25.155707986054178</c:v>
                </c:pt>
                <c:pt idx="60564">
                  <c:v>26.57316819433553</c:v>
                </c:pt>
                <c:pt idx="60565">
                  <c:v>28.620038897740397</c:v>
                </c:pt>
                <c:pt idx="60566">
                  <c:v>21.248826701508026</c:v>
                </c:pt>
                <c:pt idx="60567">
                  <c:v>30.327546254489135</c:v>
                </c:pt>
                <c:pt idx="60568">
                  <c:v>44.944772777426834</c:v>
                </c:pt>
                <c:pt idx="60569">
                  <c:v>46.700027431893858</c:v>
                </c:pt>
                <c:pt idx="60570">
                  <c:v>27.15525519797006</c:v>
                </c:pt>
                <c:pt idx="60571">
                  <c:v>26.611605244084025</c:v>
                </c:pt>
                <c:pt idx="60572">
                  <c:v>37.465981170824044</c:v>
                </c:pt>
                <c:pt idx="60573">
                  <c:v>28.292756727843258</c:v>
                </c:pt>
                <c:pt idx="60574">
                  <c:v>21.677503054592236</c:v>
                </c:pt>
                <c:pt idx="60575">
                  <c:v>19.510795345281316</c:v>
                </c:pt>
                <c:pt idx="60576">
                  <c:v>54.132554390080571</c:v>
                </c:pt>
                <c:pt idx="60577">
                  <c:v>24.639582879041747</c:v>
                </c:pt>
                <c:pt idx="60578">
                  <c:v>28.490510300184877</c:v>
                </c:pt>
                <c:pt idx="60579">
                  <c:v>21.983103202627095</c:v>
                </c:pt>
                <c:pt idx="60580">
                  <c:v>25.550721054763599</c:v>
                </c:pt>
                <c:pt idx="60581">
                  <c:v>43.080059934174812</c:v>
                </c:pt>
                <c:pt idx="60582">
                  <c:v>36.639445208856941</c:v>
                </c:pt>
                <c:pt idx="60583">
                  <c:v>28.396654549293984</c:v>
                </c:pt>
                <c:pt idx="60584">
                  <c:v>25.522216989974723</c:v>
                </c:pt>
                <c:pt idx="60585">
                  <c:v>24.183917493589881</c:v>
                </c:pt>
                <c:pt idx="60586">
                  <c:v>21.795538617698675</c:v>
                </c:pt>
                <c:pt idx="60587">
                  <c:v>31.70337533315308</c:v>
                </c:pt>
                <c:pt idx="60588">
                  <c:v>22.232439911264464</c:v>
                </c:pt>
                <c:pt idx="60589">
                  <c:v>27.409371230678296</c:v>
                </c:pt>
                <c:pt idx="60590">
                  <c:v>43.742459348249568</c:v>
                </c:pt>
                <c:pt idx="60591">
                  <c:v>43.418628598155927</c:v>
                </c:pt>
                <c:pt idx="60592">
                  <c:v>38.889155127152094</c:v>
                </c:pt>
                <c:pt idx="60593">
                  <c:v>33.645785139920335</c:v>
                </c:pt>
                <c:pt idx="60594">
                  <c:v>39.508724136316225</c:v>
                </c:pt>
                <c:pt idx="60595">
                  <c:v>31.857611393353938</c:v>
                </c:pt>
                <c:pt idx="60596">
                  <c:v>20.915260454325693</c:v>
                </c:pt>
                <c:pt idx="60597">
                  <c:v>29.479215639371162</c:v>
                </c:pt>
                <c:pt idx="60598">
                  <c:v>43.385090387575183</c:v>
                </c:pt>
                <c:pt idx="60599">
                  <c:v>26.468710518188058</c:v>
                </c:pt>
                <c:pt idx="60600">
                  <c:v>28.674301366143439</c:v>
                </c:pt>
                <c:pt idx="60601">
                  <c:v>27.258944398748277</c:v>
                </c:pt>
                <c:pt idx="60602">
                  <c:v>19.743108186974286</c:v>
                </c:pt>
                <c:pt idx="60603">
                  <c:v>29.137273072322522</c:v>
                </c:pt>
                <c:pt idx="60604">
                  <c:v>55.133599123450068</c:v>
                </c:pt>
                <c:pt idx="60605">
                  <c:v>33.145857923349709</c:v>
                </c:pt>
                <c:pt idx="60606">
                  <c:v>33.284933644729733</c:v>
                </c:pt>
                <c:pt idx="60607">
                  <c:v>21.6757627109899</c:v>
                </c:pt>
                <c:pt idx="60608">
                  <c:v>29.490789019379331</c:v>
                </c:pt>
                <c:pt idx="60609">
                  <c:v>27.960675890084062</c:v>
                </c:pt>
                <c:pt idx="60610">
                  <c:v>24.500714305981198</c:v>
                </c:pt>
                <c:pt idx="60611">
                  <c:v>18.933508885966937</c:v>
                </c:pt>
                <c:pt idx="60612">
                  <c:v>22.706445756581175</c:v>
                </c:pt>
                <c:pt idx="60613">
                  <c:v>40.529197119613904</c:v>
                </c:pt>
                <c:pt idx="60614">
                  <c:v>48.215872579262879</c:v>
                </c:pt>
                <c:pt idx="60615">
                  <c:v>26.146396466933442</c:v>
                </c:pt>
                <c:pt idx="60616">
                  <c:v>22.565876701123425</c:v>
                </c:pt>
                <c:pt idx="60617">
                  <c:v>34.095887652112964</c:v>
                </c:pt>
                <c:pt idx="60618">
                  <c:v>27.820667117946321</c:v>
                </c:pt>
                <c:pt idx="60619">
                  <c:v>35.170549722295817</c:v>
                </c:pt>
                <c:pt idx="60620">
                  <c:v>34.791864316292397</c:v>
                </c:pt>
                <c:pt idx="60621">
                  <c:v>28.423998207411632</c:v>
                </c:pt>
                <c:pt idx="60622">
                  <c:v>30.271458979945201</c:v>
                </c:pt>
                <c:pt idx="60623">
                  <c:v>54.213343728218682</c:v>
                </c:pt>
                <c:pt idx="60624">
                  <c:v>51.417548200975268</c:v>
                </c:pt>
                <c:pt idx="60625">
                  <c:v>19.568344811778019</c:v>
                </c:pt>
                <c:pt idx="60626">
                  <c:v>21.831716752820519</c:v>
                </c:pt>
                <c:pt idx="60627">
                  <c:v>27.338778063155161</c:v>
                </c:pt>
                <c:pt idx="60628">
                  <c:v>16.309834313621888</c:v>
                </c:pt>
                <c:pt idx="60629">
                  <c:v>31.58501128837041</c:v>
                </c:pt>
                <c:pt idx="60630">
                  <c:v>24.30643010565802</c:v>
                </c:pt>
                <c:pt idx="60631">
                  <c:v>27.13001683029238</c:v>
                </c:pt>
                <c:pt idx="60632">
                  <c:v>27.744891015364317</c:v>
                </c:pt>
                <c:pt idx="60633">
                  <c:v>25.313244020072915</c:v>
                </c:pt>
                <c:pt idx="60634">
                  <c:v>47.476306637467516</c:v>
                </c:pt>
                <c:pt idx="60635">
                  <c:v>49.43503213080556</c:v>
                </c:pt>
                <c:pt idx="60636">
                  <c:v>30.510218904166443</c:v>
                </c:pt>
                <c:pt idx="60637">
                  <c:v>53.694533922369637</c:v>
                </c:pt>
                <c:pt idx="60638">
                  <c:v>31.707892940099093</c:v>
                </c:pt>
                <c:pt idx="60639">
                  <c:v>49.345038894691868</c:v>
                </c:pt>
                <c:pt idx="60640">
                  <c:v>43.398704415517372</c:v>
                </c:pt>
                <c:pt idx="60641">
                  <c:v>46.370358925919049</c:v>
                </c:pt>
                <c:pt idx="60642">
                  <c:v>39.152041640688019</c:v>
                </c:pt>
                <c:pt idx="60643">
                  <c:v>31.720831466230727</c:v>
                </c:pt>
                <c:pt idx="60644">
                  <c:v>21.899990729705053</c:v>
                </c:pt>
                <c:pt idx="60645">
                  <c:v>40.620220836244769</c:v>
                </c:pt>
                <c:pt idx="60646">
                  <c:v>35.001070723122702</c:v>
                </c:pt>
                <c:pt idx="60647">
                  <c:v>28.97131020826906</c:v>
                </c:pt>
                <c:pt idx="60648">
                  <c:v>28.468681469901981</c:v>
                </c:pt>
                <c:pt idx="60649">
                  <c:v>30.78884113412396</c:v>
                </c:pt>
                <c:pt idx="60650">
                  <c:v>31.669917497932857</c:v>
                </c:pt>
                <c:pt idx="60651">
                  <c:v>26.2310903707086</c:v>
                </c:pt>
                <c:pt idx="60652">
                  <c:v>37.476440604815721</c:v>
                </c:pt>
                <c:pt idx="60653">
                  <c:v>37.296550062725231</c:v>
                </c:pt>
                <c:pt idx="60654">
                  <c:v>28.414166328499544</c:v>
                </c:pt>
                <c:pt idx="60655">
                  <c:v>27.100002410694096</c:v>
                </c:pt>
                <c:pt idx="60656">
                  <c:v>30.759565071127724</c:v>
                </c:pt>
                <c:pt idx="60657">
                  <c:v>20.86679567627607</c:v>
                </c:pt>
                <c:pt idx="60658">
                  <c:v>48.947467555030457</c:v>
                </c:pt>
                <c:pt idx="60659">
                  <c:v>39.416967150206332</c:v>
                </c:pt>
                <c:pt idx="60660">
                  <c:v>47.275893724502517</c:v>
                </c:pt>
                <c:pt idx="60661">
                  <c:v>26.801182339047152</c:v>
                </c:pt>
                <c:pt idx="60662">
                  <c:v>28.79215593121566</c:v>
                </c:pt>
                <c:pt idx="60663">
                  <c:v>21.916375776890192</c:v>
                </c:pt>
                <c:pt idx="60664">
                  <c:v>31.897338797681904</c:v>
                </c:pt>
                <c:pt idx="60665">
                  <c:v>22.045038030929291</c:v>
                </c:pt>
                <c:pt idx="60666">
                  <c:v>41.280101022715314</c:v>
                </c:pt>
                <c:pt idx="60667">
                  <c:v>44.370051633920326</c:v>
                </c:pt>
                <c:pt idx="60668">
                  <c:v>28.041974318704604</c:v>
                </c:pt>
                <c:pt idx="60669">
                  <c:v>47.300594574785222</c:v>
                </c:pt>
                <c:pt idx="60670">
                  <c:v>18.961138994328458</c:v>
                </c:pt>
                <c:pt idx="60671">
                  <c:v>21.543932856728819</c:v>
                </c:pt>
                <c:pt idx="60672">
                  <c:v>23.574953270075437</c:v>
                </c:pt>
                <c:pt idx="60673">
                  <c:v>21.980549307757862</c:v>
                </c:pt>
                <c:pt idx="60674">
                  <c:v>45.490614937295319</c:v>
                </c:pt>
                <c:pt idx="60675">
                  <c:v>54.04477314890871</c:v>
                </c:pt>
                <c:pt idx="60676">
                  <c:v>29.56097253491961</c:v>
                </c:pt>
                <c:pt idx="60677">
                  <c:v>29.604724379886203</c:v>
                </c:pt>
                <c:pt idx="60678">
                  <c:v>28.272363000336743</c:v>
                </c:pt>
                <c:pt idx="60679">
                  <c:v>52.773748363949963</c:v>
                </c:pt>
                <c:pt idx="60680">
                  <c:v>28.049235886561341</c:v>
                </c:pt>
                <c:pt idx="60681">
                  <c:v>19.456724970509175</c:v>
                </c:pt>
                <c:pt idx="60682">
                  <c:v>32.37405180725672</c:v>
                </c:pt>
                <c:pt idx="60683">
                  <c:v>37.115295654220695</c:v>
                </c:pt>
                <c:pt idx="60684">
                  <c:v>24.513922223960286</c:v>
                </c:pt>
                <c:pt idx="60685">
                  <c:v>23.399238763070812</c:v>
                </c:pt>
                <c:pt idx="60686">
                  <c:v>46.875318523801802</c:v>
                </c:pt>
                <c:pt idx="60687">
                  <c:v>23.381828637265166</c:v>
                </c:pt>
                <c:pt idx="60688">
                  <c:v>47.561411287502786</c:v>
                </c:pt>
                <c:pt idx="60689">
                  <c:v>29.242188489989804</c:v>
                </c:pt>
                <c:pt idx="60690">
                  <c:v>24.809208518472335</c:v>
                </c:pt>
                <c:pt idx="60691">
                  <c:v>26.22266471325139</c:v>
                </c:pt>
                <c:pt idx="60692">
                  <c:v>21.841175611734094</c:v>
                </c:pt>
                <c:pt idx="60693">
                  <c:v>36.025210844687223</c:v>
                </c:pt>
                <c:pt idx="60694">
                  <c:v>28.12706577492645</c:v>
                </c:pt>
                <c:pt idx="60695">
                  <c:v>15.009304843505781</c:v>
                </c:pt>
                <c:pt idx="60696">
                  <c:v>29.921235053992973</c:v>
                </c:pt>
                <c:pt idx="60697">
                  <c:v>48.080965172882451</c:v>
                </c:pt>
                <c:pt idx="60698">
                  <c:v>23.68298701411554</c:v>
                </c:pt>
                <c:pt idx="60699">
                  <c:v>26.16367423192175</c:v>
                </c:pt>
                <c:pt idx="60700">
                  <c:v>33.582778644375317</c:v>
                </c:pt>
                <c:pt idx="60701">
                  <c:v>29.648363963478559</c:v>
                </c:pt>
                <c:pt idx="60702">
                  <c:v>34.591287075457529</c:v>
                </c:pt>
                <c:pt idx="60703">
                  <c:v>30.449298988837164</c:v>
                </c:pt>
                <c:pt idx="60704">
                  <c:v>26.353269239463494</c:v>
                </c:pt>
                <c:pt idx="60705">
                  <c:v>27.61974712640783</c:v>
                </c:pt>
                <c:pt idx="60706">
                  <c:v>29.837564067944889</c:v>
                </c:pt>
                <c:pt idx="60707">
                  <c:v>11.0398508486574</c:v>
                </c:pt>
                <c:pt idx="60708">
                  <c:v>54.615946006531807</c:v>
                </c:pt>
                <c:pt idx="60709">
                  <c:v>21.938113083853359</c:v>
                </c:pt>
                <c:pt idx="60710">
                  <c:v>20.347428802445783</c:v>
                </c:pt>
                <c:pt idx="60711">
                  <c:v>32.590073975003591</c:v>
                </c:pt>
                <c:pt idx="60712">
                  <c:v>32.582658904649193</c:v>
                </c:pt>
                <c:pt idx="60713">
                  <c:v>21.992940095423307</c:v>
                </c:pt>
                <c:pt idx="60714">
                  <c:v>32.265329715538826</c:v>
                </c:pt>
                <c:pt idx="60715">
                  <c:v>24.958239104218421</c:v>
                </c:pt>
                <c:pt idx="60716">
                  <c:v>27.253069959467187</c:v>
                </c:pt>
                <c:pt idx="60717">
                  <c:v>35.595772788226782</c:v>
                </c:pt>
                <c:pt idx="60718">
                  <c:v>38.89356336965659</c:v>
                </c:pt>
                <c:pt idx="60719">
                  <c:v>25.651194287079164</c:v>
                </c:pt>
                <c:pt idx="60720">
                  <c:v>36.673094225861654</c:v>
                </c:pt>
                <c:pt idx="60721">
                  <c:v>27.077265040774478</c:v>
                </c:pt>
                <c:pt idx="60722">
                  <c:v>24.804065067078</c:v>
                </c:pt>
                <c:pt idx="60723">
                  <c:v>29.708203452323247</c:v>
                </c:pt>
                <c:pt idx="60724">
                  <c:v>26.372042551185796</c:v>
                </c:pt>
                <c:pt idx="60725">
                  <c:v>22.088408391437543</c:v>
                </c:pt>
                <c:pt idx="60726">
                  <c:v>27.985510939971505</c:v>
                </c:pt>
                <c:pt idx="60727">
                  <c:v>49.89670430557274</c:v>
                </c:pt>
                <c:pt idx="60728">
                  <c:v>26.773717911285136</c:v>
                </c:pt>
                <c:pt idx="60729">
                  <c:v>26.041214741923181</c:v>
                </c:pt>
                <c:pt idx="60730">
                  <c:v>45.133319184538479</c:v>
                </c:pt>
                <c:pt idx="60731">
                  <c:v>25.056337580170869</c:v>
                </c:pt>
                <c:pt idx="60732">
                  <c:v>40.719444248302956</c:v>
                </c:pt>
                <c:pt idx="60733">
                  <c:v>24.505477167020143</c:v>
                </c:pt>
                <c:pt idx="60734">
                  <c:v>22.955579981318461</c:v>
                </c:pt>
                <c:pt idx="60735">
                  <c:v>25.352399246642648</c:v>
                </c:pt>
                <c:pt idx="60736">
                  <c:v>30.527309194188106</c:v>
                </c:pt>
                <c:pt idx="60737">
                  <c:v>25.238212011213928</c:v>
                </c:pt>
                <c:pt idx="60738">
                  <c:v>20.980796945009597</c:v>
                </c:pt>
                <c:pt idx="60739">
                  <c:v>34.073974057118882</c:v>
                </c:pt>
                <c:pt idx="60740">
                  <c:v>26.967494443832052</c:v>
                </c:pt>
                <c:pt idx="60741">
                  <c:v>31.08520660382694</c:v>
                </c:pt>
                <c:pt idx="60742">
                  <c:v>23.682692234405032</c:v>
                </c:pt>
                <c:pt idx="60743">
                  <c:v>28.058952710806075</c:v>
                </c:pt>
                <c:pt idx="60744">
                  <c:v>30.995664577114635</c:v>
                </c:pt>
                <c:pt idx="60745">
                  <c:v>25.225717782013682</c:v>
                </c:pt>
                <c:pt idx="60746">
                  <c:v>25.257634447568705</c:v>
                </c:pt>
                <c:pt idx="60747">
                  <c:v>26.080290850150746</c:v>
                </c:pt>
                <c:pt idx="60748">
                  <c:v>27.360326185042183</c:v>
                </c:pt>
                <c:pt idx="60749">
                  <c:v>19.041073256666287</c:v>
                </c:pt>
                <c:pt idx="60750">
                  <c:v>35.880124356463185</c:v>
                </c:pt>
                <c:pt idx="60751">
                  <c:v>26.261441124545101</c:v>
                </c:pt>
                <c:pt idx="60752">
                  <c:v>25.645387908779576</c:v>
                </c:pt>
                <c:pt idx="60753">
                  <c:v>26.249035213721115</c:v>
                </c:pt>
                <c:pt idx="60754">
                  <c:v>41.271447905296732</c:v>
                </c:pt>
                <c:pt idx="60755">
                  <c:v>39.252014194159798</c:v>
                </c:pt>
                <c:pt idx="60756">
                  <c:v>23.969916438723175</c:v>
                </c:pt>
                <c:pt idx="60757">
                  <c:v>41.004656878922425</c:v>
                </c:pt>
                <c:pt idx="60758">
                  <c:v>21.661892259072221</c:v>
                </c:pt>
                <c:pt idx="60759">
                  <c:v>22.981907516653578</c:v>
                </c:pt>
                <c:pt idx="60760">
                  <c:v>31.733710794154298</c:v>
                </c:pt>
                <c:pt idx="60761">
                  <c:v>26.480842495936194</c:v>
                </c:pt>
                <c:pt idx="60762">
                  <c:v>24.160811939913252</c:v>
                </c:pt>
                <c:pt idx="60763">
                  <c:v>29.681843993891327</c:v>
                </c:pt>
                <c:pt idx="60764">
                  <c:v>20.928105673555649</c:v>
                </c:pt>
                <c:pt idx="60765">
                  <c:v>25.176749398800787</c:v>
                </c:pt>
                <c:pt idx="60766">
                  <c:v>31.39408509246736</c:v>
                </c:pt>
                <c:pt idx="60767">
                  <c:v>28.192563703190942</c:v>
                </c:pt>
                <c:pt idx="60768">
                  <c:v>24.599985371633533</c:v>
                </c:pt>
                <c:pt idx="60769">
                  <c:v>39.572111363497179</c:v>
                </c:pt>
                <c:pt idx="60770">
                  <c:v>37.100670403670946</c:v>
                </c:pt>
                <c:pt idx="60771">
                  <c:v>19.907049626244387</c:v>
                </c:pt>
                <c:pt idx="60772">
                  <c:v>37.19203237882585</c:v>
                </c:pt>
                <c:pt idx="60773">
                  <c:v>34.180673732898946</c:v>
                </c:pt>
                <c:pt idx="60774">
                  <c:v>43.433743562444683</c:v>
                </c:pt>
                <c:pt idx="60775">
                  <c:v>30.80367551838787</c:v>
                </c:pt>
                <c:pt idx="60776">
                  <c:v>41.284213754243979</c:v>
                </c:pt>
                <c:pt idx="60777">
                  <c:v>29.094326294482574</c:v>
                </c:pt>
                <c:pt idx="60778">
                  <c:v>22.587949406670504</c:v>
                </c:pt>
                <c:pt idx="60779">
                  <c:v>25.921287172445673</c:v>
                </c:pt>
                <c:pt idx="60780">
                  <c:v>27.654117216044952</c:v>
                </c:pt>
                <c:pt idx="60781">
                  <c:v>30.10419622272271</c:v>
                </c:pt>
                <c:pt idx="60782">
                  <c:v>41.571194143015035</c:v>
                </c:pt>
                <c:pt idx="60783">
                  <c:v>52.610442397652136</c:v>
                </c:pt>
                <c:pt idx="60784">
                  <c:v>27.324798986539236</c:v>
                </c:pt>
                <c:pt idx="60785">
                  <c:v>21.890614699136123</c:v>
                </c:pt>
                <c:pt idx="60786">
                  <c:v>60.492424876449462</c:v>
                </c:pt>
                <c:pt idx="60787">
                  <c:v>17.382960543546261</c:v>
                </c:pt>
                <c:pt idx="60788">
                  <c:v>37.683450760938918</c:v>
                </c:pt>
                <c:pt idx="60789">
                  <c:v>52.5799163083149</c:v>
                </c:pt>
                <c:pt idx="60790">
                  <c:v>25.027436407062847</c:v>
                </c:pt>
                <c:pt idx="60791">
                  <c:v>22.027674396232658</c:v>
                </c:pt>
                <c:pt idx="60792">
                  <c:v>45.219084782599374</c:v>
                </c:pt>
                <c:pt idx="60793">
                  <c:v>52.145803066972974</c:v>
                </c:pt>
                <c:pt idx="60794">
                  <c:v>47.036198309057184</c:v>
                </c:pt>
                <c:pt idx="60795">
                  <c:v>25.128639258084839</c:v>
                </c:pt>
                <c:pt idx="60796">
                  <c:v>30.074200415452047</c:v>
                </c:pt>
                <c:pt idx="60797">
                  <c:v>33.566398294983955</c:v>
                </c:pt>
                <c:pt idx="60798">
                  <c:v>22.071387551749517</c:v>
                </c:pt>
                <c:pt idx="60799">
                  <c:v>20.77442643346934</c:v>
                </c:pt>
                <c:pt idx="60800">
                  <c:v>49.421563778825664</c:v>
                </c:pt>
                <c:pt idx="60801">
                  <c:v>31.449257574562324</c:v>
                </c:pt>
                <c:pt idx="60802">
                  <c:v>30.130955986948081</c:v>
                </c:pt>
                <c:pt idx="60803">
                  <c:v>26.225808770020919</c:v>
                </c:pt>
                <c:pt idx="60804">
                  <c:v>27.253624160681891</c:v>
                </c:pt>
                <c:pt idx="60805">
                  <c:v>26.956432718649282</c:v>
                </c:pt>
                <c:pt idx="60806">
                  <c:v>20.880740828094215</c:v>
                </c:pt>
                <c:pt idx="60807">
                  <c:v>31.683291754885467</c:v>
                </c:pt>
                <c:pt idx="60808">
                  <c:v>30.267535320969088</c:v>
                </c:pt>
                <c:pt idx="60809">
                  <c:v>42.568831780119517</c:v>
                </c:pt>
                <c:pt idx="60810">
                  <c:v>21.471311608310007</c:v>
                </c:pt>
                <c:pt idx="60811">
                  <c:v>28.856419236454776</c:v>
                </c:pt>
                <c:pt idx="60812">
                  <c:v>26.266095252273526</c:v>
                </c:pt>
                <c:pt idx="60813">
                  <c:v>28.421030717116899</c:v>
                </c:pt>
                <c:pt idx="60814">
                  <c:v>23.02405815080796</c:v>
                </c:pt>
                <c:pt idx="60815">
                  <c:v>58.253956925708572</c:v>
                </c:pt>
                <c:pt idx="60816">
                  <c:v>15.533272249581012</c:v>
                </c:pt>
                <c:pt idx="60817">
                  <c:v>44.161071002345253</c:v>
                </c:pt>
                <c:pt idx="60818">
                  <c:v>37.98102873238058</c:v>
                </c:pt>
                <c:pt idx="60819">
                  <c:v>24.775208637610952</c:v>
                </c:pt>
                <c:pt idx="60820">
                  <c:v>23.481652838572092</c:v>
                </c:pt>
                <c:pt idx="60821">
                  <c:v>25.876101113564545</c:v>
                </c:pt>
                <c:pt idx="60822">
                  <c:v>58.91788045478512</c:v>
                </c:pt>
                <c:pt idx="60823">
                  <c:v>53.440465502445122</c:v>
                </c:pt>
                <c:pt idx="60824">
                  <c:v>46.941576195564082</c:v>
                </c:pt>
                <c:pt idx="60825">
                  <c:v>31.242769122089491</c:v>
                </c:pt>
                <c:pt idx="60826">
                  <c:v>34.919079779084001</c:v>
                </c:pt>
                <c:pt idx="60827">
                  <c:v>29.502729656855571</c:v>
                </c:pt>
                <c:pt idx="60828">
                  <c:v>25.776366173401478</c:v>
                </c:pt>
                <c:pt idx="60829">
                  <c:v>37.479560403543637</c:v>
                </c:pt>
                <c:pt idx="60830">
                  <c:v>28.527852003385576</c:v>
                </c:pt>
                <c:pt idx="60831">
                  <c:v>30.062907776139426</c:v>
                </c:pt>
                <c:pt idx="60832">
                  <c:v>33.191662473819861</c:v>
                </c:pt>
                <c:pt idx="60833">
                  <c:v>23.603644953802991</c:v>
                </c:pt>
                <c:pt idx="60834">
                  <c:v>32.034387540006733</c:v>
                </c:pt>
                <c:pt idx="60835">
                  <c:v>43.00836252865345</c:v>
                </c:pt>
                <c:pt idx="60836">
                  <c:v>31.131299454523827</c:v>
                </c:pt>
                <c:pt idx="60837">
                  <c:v>23.138453189899547</c:v>
                </c:pt>
                <c:pt idx="60838">
                  <c:v>25.25540340391602</c:v>
                </c:pt>
                <c:pt idx="60839">
                  <c:v>24.370329088125757</c:v>
                </c:pt>
                <c:pt idx="60840">
                  <c:v>32.773681236148207</c:v>
                </c:pt>
                <c:pt idx="60841">
                  <c:v>28.85925540860605</c:v>
                </c:pt>
                <c:pt idx="60842">
                  <c:v>24.455975964768093</c:v>
                </c:pt>
                <c:pt idx="60843">
                  <c:v>42.045008015926712</c:v>
                </c:pt>
                <c:pt idx="60844">
                  <c:v>26.709243945402534</c:v>
                </c:pt>
                <c:pt idx="60845">
                  <c:v>20.221495654903123</c:v>
                </c:pt>
                <c:pt idx="60846">
                  <c:v>24.069774595299819</c:v>
                </c:pt>
                <c:pt idx="60847">
                  <c:v>50.75674784125134</c:v>
                </c:pt>
                <c:pt idx="60848">
                  <c:v>22.568493387008676</c:v>
                </c:pt>
                <c:pt idx="60849">
                  <c:v>36.748353336971547</c:v>
                </c:pt>
                <c:pt idx="60850">
                  <c:v>34.134194162240412</c:v>
                </c:pt>
                <c:pt idx="60851">
                  <c:v>27.675785799651344</c:v>
                </c:pt>
                <c:pt idx="60852">
                  <c:v>20.900548386602811</c:v>
                </c:pt>
                <c:pt idx="60853">
                  <c:v>27.364750384580489</c:v>
                </c:pt>
                <c:pt idx="60854">
                  <c:v>25.954381653288262</c:v>
                </c:pt>
                <c:pt idx="60855">
                  <c:v>25.574008797770954</c:v>
                </c:pt>
                <c:pt idx="60856">
                  <c:v>27.039363683269706</c:v>
                </c:pt>
                <c:pt idx="60857">
                  <c:v>25.456749866830172</c:v>
                </c:pt>
                <c:pt idx="60858">
                  <c:v>30.538729242846912</c:v>
                </c:pt>
                <c:pt idx="60859">
                  <c:v>26.504172627235491</c:v>
                </c:pt>
                <c:pt idx="60860">
                  <c:v>20.337322536684059</c:v>
                </c:pt>
                <c:pt idx="60861">
                  <c:v>41.428523724014021</c:v>
                </c:pt>
                <c:pt idx="60862">
                  <c:v>24.993406520161987</c:v>
                </c:pt>
                <c:pt idx="60863">
                  <c:v>26.098413421847848</c:v>
                </c:pt>
                <c:pt idx="60864">
                  <c:v>31.653351844782495</c:v>
                </c:pt>
                <c:pt idx="60865">
                  <c:v>25.64472895284635</c:v>
                </c:pt>
                <c:pt idx="60866">
                  <c:v>24.771058080960636</c:v>
                </c:pt>
                <c:pt idx="60867">
                  <c:v>32.420299179222837</c:v>
                </c:pt>
                <c:pt idx="60868">
                  <c:v>20.859935207128277</c:v>
                </c:pt>
                <c:pt idx="60869">
                  <c:v>24.695511034088558</c:v>
                </c:pt>
                <c:pt idx="60870">
                  <c:v>30.769181919863261</c:v>
                </c:pt>
                <c:pt idx="60871">
                  <c:v>39.501734670286922</c:v>
                </c:pt>
                <c:pt idx="60872">
                  <c:v>26.534924849094146</c:v>
                </c:pt>
                <c:pt idx="60873">
                  <c:v>32.342559495678742</c:v>
                </c:pt>
                <c:pt idx="60874">
                  <c:v>17.129422771788093</c:v>
                </c:pt>
                <c:pt idx="60875">
                  <c:v>32.118667293784434</c:v>
                </c:pt>
                <c:pt idx="60876">
                  <c:v>36.311205276469551</c:v>
                </c:pt>
                <c:pt idx="60877">
                  <c:v>40.986637541156007</c:v>
                </c:pt>
                <c:pt idx="60878">
                  <c:v>30.388585865638227</c:v>
                </c:pt>
                <c:pt idx="60879">
                  <c:v>41.559955596316946</c:v>
                </c:pt>
                <c:pt idx="60880">
                  <c:v>35.942428949192561</c:v>
                </c:pt>
                <c:pt idx="60881">
                  <c:v>52.501749005299587</c:v>
                </c:pt>
                <c:pt idx="60882">
                  <c:v>26.959151230183405</c:v>
                </c:pt>
                <c:pt idx="60883">
                  <c:v>34.990004918688001</c:v>
                </c:pt>
                <c:pt idx="60884">
                  <c:v>24.010223849356979</c:v>
                </c:pt>
                <c:pt idx="60885">
                  <c:v>39.103409544526393</c:v>
                </c:pt>
                <c:pt idx="60886">
                  <c:v>26.275202159073256</c:v>
                </c:pt>
                <c:pt idx="60887">
                  <c:v>36.373360775950459</c:v>
                </c:pt>
                <c:pt idx="60888">
                  <c:v>22.128105693344757</c:v>
                </c:pt>
                <c:pt idx="60889">
                  <c:v>31.523097637019784</c:v>
                </c:pt>
                <c:pt idx="60890">
                  <c:v>28.113280909061277</c:v>
                </c:pt>
                <c:pt idx="60891">
                  <c:v>47.336815725658575</c:v>
                </c:pt>
                <c:pt idx="60892">
                  <c:v>16.460497009910831</c:v>
                </c:pt>
                <c:pt idx="60893">
                  <c:v>21.873763008015111</c:v>
                </c:pt>
                <c:pt idx="60894">
                  <c:v>30.794158862724867</c:v>
                </c:pt>
                <c:pt idx="60895">
                  <c:v>26.047863611894222</c:v>
                </c:pt>
                <c:pt idx="60896">
                  <c:v>29.664785027155258</c:v>
                </c:pt>
                <c:pt idx="60897">
                  <c:v>36.868312524793367</c:v>
                </c:pt>
                <c:pt idx="60898">
                  <c:v>25.825074882559651</c:v>
                </c:pt>
                <c:pt idx="60899">
                  <c:v>49.693526203244751</c:v>
                </c:pt>
                <c:pt idx="60900">
                  <c:v>36.800993714144717</c:v>
                </c:pt>
                <c:pt idx="60901">
                  <c:v>27.467685361205415</c:v>
                </c:pt>
                <c:pt idx="60902">
                  <c:v>40.373574100929787</c:v>
                </c:pt>
                <c:pt idx="60903">
                  <c:v>29.592226601074628</c:v>
                </c:pt>
                <c:pt idx="60904">
                  <c:v>27.6342457185619</c:v>
                </c:pt>
                <c:pt idx="60905">
                  <c:v>33.350394780030989</c:v>
                </c:pt>
                <c:pt idx="60906">
                  <c:v>30.683037605971627</c:v>
                </c:pt>
                <c:pt idx="60907">
                  <c:v>18.528635072679073</c:v>
                </c:pt>
                <c:pt idx="60908">
                  <c:v>25.064490138686352</c:v>
                </c:pt>
                <c:pt idx="60909">
                  <c:v>46.935767064856407</c:v>
                </c:pt>
                <c:pt idx="60910">
                  <c:v>43.508781540512295</c:v>
                </c:pt>
                <c:pt idx="60911">
                  <c:v>24.564659046486955</c:v>
                </c:pt>
                <c:pt idx="60912">
                  <c:v>19.906154842246021</c:v>
                </c:pt>
                <c:pt idx="60913">
                  <c:v>22.699339659296072</c:v>
                </c:pt>
                <c:pt idx="60914">
                  <c:v>24.835926671599701</c:v>
                </c:pt>
                <c:pt idx="60915">
                  <c:v>15.634700159991477</c:v>
                </c:pt>
                <c:pt idx="60916">
                  <c:v>20.634417363944333</c:v>
                </c:pt>
                <c:pt idx="60917">
                  <c:v>22.329758914065351</c:v>
                </c:pt>
                <c:pt idx="60918">
                  <c:v>28.108192044156549</c:v>
                </c:pt>
                <c:pt idx="60919">
                  <c:v>47.44029122901236</c:v>
                </c:pt>
                <c:pt idx="60920">
                  <c:v>31.121119479543285</c:v>
                </c:pt>
                <c:pt idx="60921">
                  <c:v>50.721555352436397</c:v>
                </c:pt>
                <c:pt idx="60922">
                  <c:v>53.167365487934617</c:v>
                </c:pt>
                <c:pt idx="60923">
                  <c:v>25.483608190633369</c:v>
                </c:pt>
                <c:pt idx="60924">
                  <c:v>20.108489859328259</c:v>
                </c:pt>
                <c:pt idx="60925">
                  <c:v>36.335717629832324</c:v>
                </c:pt>
                <c:pt idx="60926">
                  <c:v>21.595383219926322</c:v>
                </c:pt>
                <c:pt idx="60927">
                  <c:v>37.378926517753179</c:v>
                </c:pt>
                <c:pt idx="60928">
                  <c:v>33.022043594652104</c:v>
                </c:pt>
                <c:pt idx="60929">
                  <c:v>26.108018456139945</c:v>
                </c:pt>
                <c:pt idx="60930">
                  <c:v>26.833906966417363</c:v>
                </c:pt>
                <c:pt idx="60931">
                  <c:v>26.423529366498755</c:v>
                </c:pt>
                <c:pt idx="60932">
                  <c:v>61.886923836234956</c:v>
                </c:pt>
                <c:pt idx="60933">
                  <c:v>22.077462243609624</c:v>
                </c:pt>
                <c:pt idx="60934">
                  <c:v>30.369296644384573</c:v>
                </c:pt>
                <c:pt idx="60935">
                  <c:v>23.600874385071346</c:v>
                </c:pt>
                <c:pt idx="60936">
                  <c:v>23.623680168464254</c:v>
                </c:pt>
                <c:pt idx="60937">
                  <c:v>33.680228298132953</c:v>
                </c:pt>
                <c:pt idx="60938">
                  <c:v>37.510072368299774</c:v>
                </c:pt>
                <c:pt idx="60939">
                  <c:v>22.024290764131948</c:v>
                </c:pt>
                <c:pt idx="60940">
                  <c:v>55.550444520268826</c:v>
                </c:pt>
                <c:pt idx="60941">
                  <c:v>28.326938867039146</c:v>
                </c:pt>
                <c:pt idx="60942">
                  <c:v>42.717275226219805</c:v>
                </c:pt>
                <c:pt idx="60943">
                  <c:v>38.389227662842174</c:v>
                </c:pt>
                <c:pt idx="60944">
                  <c:v>34.214940114793123</c:v>
                </c:pt>
                <c:pt idx="60945">
                  <c:v>55.276398623409264</c:v>
                </c:pt>
                <c:pt idx="60946">
                  <c:v>31.657279065143676</c:v>
                </c:pt>
                <c:pt idx="60947">
                  <c:v>35.814201765102297</c:v>
                </c:pt>
                <c:pt idx="60948">
                  <c:v>32.248867588784748</c:v>
                </c:pt>
                <c:pt idx="60949">
                  <c:v>24.267224726285924</c:v>
                </c:pt>
                <c:pt idx="60950">
                  <c:v>23.83698982723168</c:v>
                </c:pt>
                <c:pt idx="60951">
                  <c:v>47.875304210001545</c:v>
                </c:pt>
                <c:pt idx="60952">
                  <c:v>27.491640015876939</c:v>
                </c:pt>
                <c:pt idx="60953">
                  <c:v>23.047522745514765</c:v>
                </c:pt>
                <c:pt idx="60954">
                  <c:v>38.780158360701719</c:v>
                </c:pt>
                <c:pt idx="60955">
                  <c:v>30.406285521100681</c:v>
                </c:pt>
                <c:pt idx="60956">
                  <c:v>35.845821705129048</c:v>
                </c:pt>
                <c:pt idx="60957">
                  <c:v>32.283835260326036</c:v>
                </c:pt>
                <c:pt idx="60958">
                  <c:v>18.84116554437767</c:v>
                </c:pt>
                <c:pt idx="60959">
                  <c:v>17.610435104482431</c:v>
                </c:pt>
                <c:pt idx="60960">
                  <c:v>50.822043128775412</c:v>
                </c:pt>
                <c:pt idx="60961">
                  <c:v>36.387490957093391</c:v>
                </c:pt>
                <c:pt idx="60962">
                  <c:v>41.438474158306668</c:v>
                </c:pt>
                <c:pt idx="60963">
                  <c:v>18.036083580317388</c:v>
                </c:pt>
                <c:pt idx="60964">
                  <c:v>28.198887388187963</c:v>
                </c:pt>
                <c:pt idx="60965">
                  <c:v>30.896355869235485</c:v>
                </c:pt>
                <c:pt idx="60966">
                  <c:v>29.899497021898171</c:v>
                </c:pt>
                <c:pt idx="60967">
                  <c:v>29.230497043101582</c:v>
                </c:pt>
                <c:pt idx="60968">
                  <c:v>23.625397341981941</c:v>
                </c:pt>
                <c:pt idx="60969">
                  <c:v>36.748839600412559</c:v>
                </c:pt>
                <c:pt idx="60970">
                  <c:v>25.159456039156513</c:v>
                </c:pt>
                <c:pt idx="60971">
                  <c:v>41.471692155538307</c:v>
                </c:pt>
                <c:pt idx="60972">
                  <c:v>25.474531577130719</c:v>
                </c:pt>
                <c:pt idx="60973">
                  <c:v>27.138352686372897</c:v>
                </c:pt>
                <c:pt idx="60974">
                  <c:v>34.606716002875821</c:v>
                </c:pt>
                <c:pt idx="60975">
                  <c:v>23.050331847316169</c:v>
                </c:pt>
                <c:pt idx="60976">
                  <c:v>52.764605233890755</c:v>
                </c:pt>
                <c:pt idx="60977">
                  <c:v>43.188189946446812</c:v>
                </c:pt>
                <c:pt idx="60978">
                  <c:v>18.708103492859063</c:v>
                </c:pt>
                <c:pt idx="60979">
                  <c:v>32.559449833279082</c:v>
                </c:pt>
                <c:pt idx="60980">
                  <c:v>30.531224532962653</c:v>
                </c:pt>
                <c:pt idx="60981">
                  <c:v>25.990000662858602</c:v>
                </c:pt>
                <c:pt idx="60982">
                  <c:v>26.921802095318061</c:v>
                </c:pt>
                <c:pt idx="60983">
                  <c:v>27.463580888221738</c:v>
                </c:pt>
                <c:pt idx="60984">
                  <c:v>41.715885918548402</c:v>
                </c:pt>
                <c:pt idx="60985">
                  <c:v>23.127454523278303</c:v>
                </c:pt>
                <c:pt idx="60986">
                  <c:v>32.190467214104437</c:v>
                </c:pt>
                <c:pt idx="60987">
                  <c:v>29.180949504305829</c:v>
                </c:pt>
                <c:pt idx="60988">
                  <c:v>22.470807452116482</c:v>
                </c:pt>
                <c:pt idx="60989">
                  <c:v>21.791649028491086</c:v>
                </c:pt>
                <c:pt idx="60990">
                  <c:v>27.912228800881042</c:v>
                </c:pt>
                <c:pt idx="60991">
                  <c:v>27.982298495187781</c:v>
                </c:pt>
                <c:pt idx="60992">
                  <c:v>23.602022064410793</c:v>
                </c:pt>
                <c:pt idx="60993">
                  <c:v>40.261296121924275</c:v>
                </c:pt>
                <c:pt idx="60994">
                  <c:v>40.306105313716245</c:v>
                </c:pt>
                <c:pt idx="60995">
                  <c:v>27.978104663851049</c:v>
                </c:pt>
                <c:pt idx="60996">
                  <c:v>52.849080029547025</c:v>
                </c:pt>
                <c:pt idx="60997">
                  <c:v>46.532741812439426</c:v>
                </c:pt>
                <c:pt idx="60998">
                  <c:v>22.137102330574589</c:v>
                </c:pt>
                <c:pt idx="60999">
                  <c:v>21.289488982631269</c:v>
                </c:pt>
                <c:pt idx="61000">
                  <c:v>24.40605270760858</c:v>
                </c:pt>
                <c:pt idx="61001">
                  <c:v>18.674295459672436</c:v>
                </c:pt>
                <c:pt idx="61002">
                  <c:v>44.054433828179818</c:v>
                </c:pt>
                <c:pt idx="61003">
                  <c:v>21.818254340379305</c:v>
                </c:pt>
                <c:pt idx="61004">
                  <c:v>25.055699449891499</c:v>
                </c:pt>
                <c:pt idx="61005">
                  <c:v>45.653310232184381</c:v>
                </c:pt>
                <c:pt idx="61006">
                  <c:v>54.036944943571839</c:v>
                </c:pt>
                <c:pt idx="61007">
                  <c:v>29.371983247925829</c:v>
                </c:pt>
                <c:pt idx="61008">
                  <c:v>27.593077622154404</c:v>
                </c:pt>
                <c:pt idx="61009">
                  <c:v>25.753876254121931</c:v>
                </c:pt>
                <c:pt idx="61010">
                  <c:v>25.129172079451976</c:v>
                </c:pt>
                <c:pt idx="61011">
                  <c:v>35.682442173103404</c:v>
                </c:pt>
                <c:pt idx="61012">
                  <c:v>25.6585671014548</c:v>
                </c:pt>
                <c:pt idx="61013">
                  <c:v>43.456533583145585</c:v>
                </c:pt>
                <c:pt idx="61014">
                  <c:v>51.087267266996683</c:v>
                </c:pt>
                <c:pt idx="61015">
                  <c:v>52.838214469786088</c:v>
                </c:pt>
                <c:pt idx="61016">
                  <c:v>31.957045131912569</c:v>
                </c:pt>
                <c:pt idx="61017">
                  <c:v>32.064790443588535</c:v>
                </c:pt>
                <c:pt idx="61018">
                  <c:v>42.619690245733047</c:v>
                </c:pt>
                <c:pt idx="61019">
                  <c:v>18.540824107655759</c:v>
                </c:pt>
                <c:pt idx="61020">
                  <c:v>28.26484416257092</c:v>
                </c:pt>
                <c:pt idx="61021">
                  <c:v>49.101668972541461</c:v>
                </c:pt>
                <c:pt idx="61022">
                  <c:v>25.332656588663824</c:v>
                </c:pt>
                <c:pt idx="61023">
                  <c:v>25.399795916339166</c:v>
                </c:pt>
                <c:pt idx="61024">
                  <c:v>33.290278127096684</c:v>
                </c:pt>
                <c:pt idx="61025">
                  <c:v>25.299218221121826</c:v>
                </c:pt>
                <c:pt idx="61026">
                  <c:v>22.973984707280273</c:v>
                </c:pt>
                <c:pt idx="61027">
                  <c:v>54.296389718286036</c:v>
                </c:pt>
                <c:pt idx="61028">
                  <c:v>25.898484787977178</c:v>
                </c:pt>
                <c:pt idx="61029">
                  <c:v>28.343418530196857</c:v>
                </c:pt>
                <c:pt idx="61030">
                  <c:v>22.662594888919095</c:v>
                </c:pt>
                <c:pt idx="61031">
                  <c:v>45.9599951574613</c:v>
                </c:pt>
                <c:pt idx="61032">
                  <c:v>31.360725989235718</c:v>
                </c:pt>
                <c:pt idx="61033">
                  <c:v>26.649527776054441</c:v>
                </c:pt>
                <c:pt idx="61034">
                  <c:v>20.59857326690263</c:v>
                </c:pt>
                <c:pt idx="61035">
                  <c:v>43.925369084644494</c:v>
                </c:pt>
                <c:pt idx="61036">
                  <c:v>31.928593238462781</c:v>
                </c:pt>
                <c:pt idx="61037">
                  <c:v>28.825675031247343</c:v>
                </c:pt>
                <c:pt idx="61038">
                  <c:v>33.536327126924718</c:v>
                </c:pt>
                <c:pt idx="61039">
                  <c:v>38.576929274326901</c:v>
                </c:pt>
                <c:pt idx="61040">
                  <c:v>25.815976122688259</c:v>
                </c:pt>
                <c:pt idx="61041">
                  <c:v>23.286292032248241</c:v>
                </c:pt>
                <c:pt idx="61042">
                  <c:v>21.404258608040191</c:v>
                </c:pt>
                <c:pt idx="61043">
                  <c:v>47.960660333184691</c:v>
                </c:pt>
                <c:pt idx="61044">
                  <c:v>34.282939182097472</c:v>
                </c:pt>
                <c:pt idx="61045">
                  <c:v>26.664003202583906</c:v>
                </c:pt>
                <c:pt idx="61046">
                  <c:v>30.241226011492419</c:v>
                </c:pt>
                <c:pt idx="61047">
                  <c:v>26.934032686886987</c:v>
                </c:pt>
                <c:pt idx="61048">
                  <c:v>34.977963248570099</c:v>
                </c:pt>
                <c:pt idx="61049">
                  <c:v>49.42647142452843</c:v>
                </c:pt>
                <c:pt idx="61050">
                  <c:v>24.105592085359334</c:v>
                </c:pt>
                <c:pt idx="61051">
                  <c:v>26.456361255718384</c:v>
                </c:pt>
                <c:pt idx="61052">
                  <c:v>41.191373008029522</c:v>
                </c:pt>
                <c:pt idx="61053">
                  <c:v>32.52327445555548</c:v>
                </c:pt>
                <c:pt idx="61054">
                  <c:v>41.185278994008932</c:v>
                </c:pt>
                <c:pt idx="61055">
                  <c:v>44.038023026756086</c:v>
                </c:pt>
                <c:pt idx="61056">
                  <c:v>30.16773106400121</c:v>
                </c:pt>
                <c:pt idx="61057">
                  <c:v>27.485150567188246</c:v>
                </c:pt>
                <c:pt idx="61058">
                  <c:v>24.323244986208174</c:v>
                </c:pt>
                <c:pt idx="61059">
                  <c:v>31.733260795518206</c:v>
                </c:pt>
                <c:pt idx="61060">
                  <c:v>31.80137480452133</c:v>
                </c:pt>
                <c:pt idx="61061">
                  <c:v>29.831058251546466</c:v>
                </c:pt>
                <c:pt idx="61062">
                  <c:v>57.441746838374172</c:v>
                </c:pt>
                <c:pt idx="61063">
                  <c:v>36.435424099092153</c:v>
                </c:pt>
                <c:pt idx="61064">
                  <c:v>26.064771103045405</c:v>
                </c:pt>
                <c:pt idx="61065">
                  <c:v>23.823985930485669</c:v>
                </c:pt>
                <c:pt idx="61066">
                  <c:v>52.843098909005782</c:v>
                </c:pt>
                <c:pt idx="61067">
                  <c:v>56.426827338852796</c:v>
                </c:pt>
                <c:pt idx="61068">
                  <c:v>21.502838483059538</c:v>
                </c:pt>
                <c:pt idx="61069">
                  <c:v>32.169582112378876</c:v>
                </c:pt>
                <c:pt idx="61070">
                  <c:v>25.94079312909378</c:v>
                </c:pt>
                <c:pt idx="61071">
                  <c:v>49.878982194374146</c:v>
                </c:pt>
                <c:pt idx="61072">
                  <c:v>26.889142169008366</c:v>
                </c:pt>
                <c:pt idx="61073">
                  <c:v>42.846773927043657</c:v>
                </c:pt>
                <c:pt idx="61074">
                  <c:v>37.992824493827882</c:v>
                </c:pt>
                <c:pt idx="61075">
                  <c:v>30.04983285946691</c:v>
                </c:pt>
                <c:pt idx="61076">
                  <c:v>32.215450944747325</c:v>
                </c:pt>
                <c:pt idx="61077">
                  <c:v>25.681243702574534</c:v>
                </c:pt>
                <c:pt idx="61078">
                  <c:v>14.964291620698781</c:v>
                </c:pt>
                <c:pt idx="61079">
                  <c:v>31.030721992566267</c:v>
                </c:pt>
                <c:pt idx="61080">
                  <c:v>41.476528480927485</c:v>
                </c:pt>
                <c:pt idx="61081">
                  <c:v>26.661207070033853</c:v>
                </c:pt>
                <c:pt idx="61082">
                  <c:v>26.052449023564574</c:v>
                </c:pt>
                <c:pt idx="61083">
                  <c:v>27.213728574050791</c:v>
                </c:pt>
                <c:pt idx="61084">
                  <c:v>55.904217491139065</c:v>
                </c:pt>
                <c:pt idx="61085">
                  <c:v>53.001657096817979</c:v>
                </c:pt>
                <c:pt idx="61086">
                  <c:v>32.287319098858156</c:v>
                </c:pt>
                <c:pt idx="61087">
                  <c:v>27.137657132675905</c:v>
                </c:pt>
                <c:pt idx="61088">
                  <c:v>52.633330158842256</c:v>
                </c:pt>
                <c:pt idx="61089">
                  <c:v>16.932472325368984</c:v>
                </c:pt>
                <c:pt idx="61090">
                  <c:v>20.43250166200071</c:v>
                </c:pt>
                <c:pt idx="61091">
                  <c:v>31.725581614420957</c:v>
                </c:pt>
                <c:pt idx="61092">
                  <c:v>29.426474811907095</c:v>
                </c:pt>
                <c:pt idx="61093">
                  <c:v>48.085147428943941</c:v>
                </c:pt>
                <c:pt idx="61094">
                  <c:v>59.403189936623086</c:v>
                </c:pt>
                <c:pt idx="61095">
                  <c:v>37.926942242604298</c:v>
                </c:pt>
                <c:pt idx="61096">
                  <c:v>25.042219669076538</c:v>
                </c:pt>
                <c:pt idx="61097">
                  <c:v>40.822552982773985</c:v>
                </c:pt>
                <c:pt idx="61098">
                  <c:v>46.097359081719333</c:v>
                </c:pt>
                <c:pt idx="61099">
                  <c:v>22.226353650584528</c:v>
                </c:pt>
                <c:pt idx="61100">
                  <c:v>38.806050486332452</c:v>
                </c:pt>
                <c:pt idx="61101">
                  <c:v>29.082678291877983</c:v>
                </c:pt>
                <c:pt idx="61102">
                  <c:v>27.22191019480406</c:v>
                </c:pt>
                <c:pt idx="61103">
                  <c:v>22.370625505429071</c:v>
                </c:pt>
                <c:pt idx="61104">
                  <c:v>45.79510144196081</c:v>
                </c:pt>
                <c:pt idx="61105">
                  <c:v>62.276866518475835</c:v>
                </c:pt>
                <c:pt idx="61106">
                  <c:v>50.098575439712434</c:v>
                </c:pt>
                <c:pt idx="61107">
                  <c:v>18.311549591138224</c:v>
                </c:pt>
                <c:pt idx="61108">
                  <c:v>22.794016325260436</c:v>
                </c:pt>
                <c:pt idx="61109">
                  <c:v>35.622337856379588</c:v>
                </c:pt>
                <c:pt idx="61110">
                  <c:v>22.02657580568005</c:v>
                </c:pt>
                <c:pt idx="61111">
                  <c:v>22.548029537559934</c:v>
                </c:pt>
                <c:pt idx="61112">
                  <c:v>31.071739990520374</c:v>
                </c:pt>
                <c:pt idx="61113">
                  <c:v>31.364619834024328</c:v>
                </c:pt>
                <c:pt idx="61114">
                  <c:v>24.061826855790457</c:v>
                </c:pt>
                <c:pt idx="61115">
                  <c:v>21.06212614271476</c:v>
                </c:pt>
                <c:pt idx="61116">
                  <c:v>30.203851644469761</c:v>
                </c:pt>
                <c:pt idx="61117">
                  <c:v>43.681729709886859</c:v>
                </c:pt>
                <c:pt idx="61118">
                  <c:v>31.350364593337794</c:v>
                </c:pt>
                <c:pt idx="61119">
                  <c:v>27.384418383938332</c:v>
                </c:pt>
                <c:pt idx="61120">
                  <c:v>48.298281925260845</c:v>
                </c:pt>
                <c:pt idx="61121">
                  <c:v>29.70856072692348</c:v>
                </c:pt>
                <c:pt idx="61122">
                  <c:v>33.2324550402246</c:v>
                </c:pt>
                <c:pt idx="61123">
                  <c:v>37.046586337614677</c:v>
                </c:pt>
                <c:pt idx="61124">
                  <c:v>21.862023987762594</c:v>
                </c:pt>
                <c:pt idx="61125">
                  <c:v>28.258433882069646</c:v>
                </c:pt>
                <c:pt idx="61126">
                  <c:v>23.630838151933357</c:v>
                </c:pt>
                <c:pt idx="61127">
                  <c:v>22.124994077729617</c:v>
                </c:pt>
                <c:pt idx="61128">
                  <c:v>21.007553873149849</c:v>
                </c:pt>
                <c:pt idx="61129">
                  <c:v>29.669055014430601</c:v>
                </c:pt>
                <c:pt idx="61130">
                  <c:v>24.3165378730932</c:v>
                </c:pt>
                <c:pt idx="61131">
                  <c:v>27.467970098109568</c:v>
                </c:pt>
                <c:pt idx="61132">
                  <c:v>26.513053757799298</c:v>
                </c:pt>
                <c:pt idx="61133">
                  <c:v>23.199912392703673</c:v>
                </c:pt>
                <c:pt idx="61134">
                  <c:v>23.658878330584891</c:v>
                </c:pt>
                <c:pt idx="61135">
                  <c:v>31.321966525928939</c:v>
                </c:pt>
                <c:pt idx="61136">
                  <c:v>33.014074853666429</c:v>
                </c:pt>
                <c:pt idx="61137">
                  <c:v>26.745312912507725</c:v>
                </c:pt>
                <c:pt idx="61138">
                  <c:v>30.258558834206831</c:v>
                </c:pt>
                <c:pt idx="61139">
                  <c:v>22.679093231557225</c:v>
                </c:pt>
                <c:pt idx="61140">
                  <c:v>24.772782771265938</c:v>
                </c:pt>
                <c:pt idx="61141">
                  <c:v>19.065397592268496</c:v>
                </c:pt>
                <c:pt idx="61142">
                  <c:v>23.790949902504195</c:v>
                </c:pt>
                <c:pt idx="61143">
                  <c:v>17.83315521562929</c:v>
                </c:pt>
                <c:pt idx="61144">
                  <c:v>27.889532565861195</c:v>
                </c:pt>
                <c:pt idx="61145">
                  <c:v>50.902578493710166</c:v>
                </c:pt>
                <c:pt idx="61146">
                  <c:v>47.417126379721907</c:v>
                </c:pt>
                <c:pt idx="61147">
                  <c:v>23.045492280434217</c:v>
                </c:pt>
                <c:pt idx="61148">
                  <c:v>26.984424802574196</c:v>
                </c:pt>
                <c:pt idx="61149">
                  <c:v>32.703443180264685</c:v>
                </c:pt>
                <c:pt idx="61150">
                  <c:v>45.484529548539186</c:v>
                </c:pt>
                <c:pt idx="61151">
                  <c:v>35.693288586072654</c:v>
                </c:pt>
                <c:pt idx="61152">
                  <c:v>40.1545451580971</c:v>
                </c:pt>
                <c:pt idx="61153">
                  <c:v>27.210314545618388</c:v>
                </c:pt>
                <c:pt idx="61154">
                  <c:v>27.486744818042386</c:v>
                </c:pt>
                <c:pt idx="61155">
                  <c:v>47.321330174420311</c:v>
                </c:pt>
                <c:pt idx="61156">
                  <c:v>31.732374779796572</c:v>
                </c:pt>
                <c:pt idx="61157">
                  <c:v>46.026242517993865</c:v>
                </c:pt>
                <c:pt idx="61158">
                  <c:v>47.024253142375336</c:v>
                </c:pt>
                <c:pt idx="61159">
                  <c:v>28.410335514617287</c:v>
                </c:pt>
                <c:pt idx="61160">
                  <c:v>29.967395569998288</c:v>
                </c:pt>
                <c:pt idx="61161">
                  <c:v>26.282838382597003</c:v>
                </c:pt>
                <c:pt idx="61162">
                  <c:v>37.661762648541192</c:v>
                </c:pt>
                <c:pt idx="61163">
                  <c:v>37.813378941330164</c:v>
                </c:pt>
                <c:pt idx="61164">
                  <c:v>35.054577548778944</c:v>
                </c:pt>
                <c:pt idx="61165">
                  <c:v>30.455658026226835</c:v>
                </c:pt>
                <c:pt idx="61166">
                  <c:v>29.742116227377345</c:v>
                </c:pt>
                <c:pt idx="61167">
                  <c:v>28.676667557835376</c:v>
                </c:pt>
                <c:pt idx="61168">
                  <c:v>27.395865581277974</c:v>
                </c:pt>
                <c:pt idx="61169">
                  <c:v>28.373339499850658</c:v>
                </c:pt>
                <c:pt idx="61170">
                  <c:v>54.271058704530859</c:v>
                </c:pt>
                <c:pt idx="61171">
                  <c:v>44.351208511736473</c:v>
                </c:pt>
                <c:pt idx="61172">
                  <c:v>25.761176620827044</c:v>
                </c:pt>
                <c:pt idx="61173">
                  <c:v>23.068052349704693</c:v>
                </c:pt>
                <c:pt idx="61174">
                  <c:v>30.469162794861489</c:v>
                </c:pt>
                <c:pt idx="61175">
                  <c:v>19.074415693811439</c:v>
                </c:pt>
                <c:pt idx="61176">
                  <c:v>32.183211565986319</c:v>
                </c:pt>
                <c:pt idx="61177">
                  <c:v>22.310053462031213</c:v>
                </c:pt>
                <c:pt idx="61178">
                  <c:v>51.224657295539487</c:v>
                </c:pt>
                <c:pt idx="61179">
                  <c:v>40.668238775430794</c:v>
                </c:pt>
                <c:pt idx="61180">
                  <c:v>23.768369130619696</c:v>
                </c:pt>
                <c:pt idx="61181">
                  <c:v>52.524238505989736</c:v>
                </c:pt>
                <c:pt idx="61182">
                  <c:v>24.448903972279382</c:v>
                </c:pt>
                <c:pt idx="61183">
                  <c:v>18.100404521082133</c:v>
                </c:pt>
                <c:pt idx="61184">
                  <c:v>44.010274794837599</c:v>
                </c:pt>
                <c:pt idx="61185">
                  <c:v>30.402085508124948</c:v>
                </c:pt>
                <c:pt idx="61186">
                  <c:v>17.452767848043827</c:v>
                </c:pt>
                <c:pt idx="61187">
                  <c:v>26.722876086410519</c:v>
                </c:pt>
                <c:pt idx="61188">
                  <c:v>22.159166736425892</c:v>
                </c:pt>
                <c:pt idx="61189">
                  <c:v>34.92497624696702</c:v>
                </c:pt>
                <c:pt idx="61190">
                  <c:v>27.386888082324816</c:v>
                </c:pt>
                <c:pt idx="61191">
                  <c:v>34.229369216136995</c:v>
                </c:pt>
                <c:pt idx="61192">
                  <c:v>30.973150833991095</c:v>
                </c:pt>
                <c:pt idx="61193">
                  <c:v>30.45219785312004</c:v>
                </c:pt>
                <c:pt idx="61194">
                  <c:v>27.388384112189499</c:v>
                </c:pt>
                <c:pt idx="61195">
                  <c:v>33.02420781585446</c:v>
                </c:pt>
                <c:pt idx="61196">
                  <c:v>25.447877822625003</c:v>
                </c:pt>
                <c:pt idx="61197">
                  <c:v>23.24183795387885</c:v>
                </c:pt>
                <c:pt idx="61198">
                  <c:v>30.391801286516777</c:v>
                </c:pt>
                <c:pt idx="61199">
                  <c:v>41.818690274913777</c:v>
                </c:pt>
                <c:pt idx="61200">
                  <c:v>31.360738431639497</c:v>
                </c:pt>
                <c:pt idx="61201">
                  <c:v>31.769812192316472</c:v>
                </c:pt>
                <c:pt idx="61202">
                  <c:v>29.18319766016868</c:v>
                </c:pt>
                <c:pt idx="61203">
                  <c:v>19.29738996440274</c:v>
                </c:pt>
                <c:pt idx="61204">
                  <c:v>20.386354186552776</c:v>
                </c:pt>
                <c:pt idx="61205">
                  <c:v>31.07126274923457</c:v>
                </c:pt>
                <c:pt idx="61206">
                  <c:v>29.514771246356769</c:v>
                </c:pt>
                <c:pt idx="61207">
                  <c:v>55.95627502021815</c:v>
                </c:pt>
                <c:pt idx="61208">
                  <c:v>43.233401095671844</c:v>
                </c:pt>
                <c:pt idx="61209">
                  <c:v>41.985127932649682</c:v>
                </c:pt>
                <c:pt idx="61210">
                  <c:v>58.518854558659193</c:v>
                </c:pt>
                <c:pt idx="61211">
                  <c:v>33.446805622986403</c:v>
                </c:pt>
                <c:pt idx="61212">
                  <c:v>32.437283082377213</c:v>
                </c:pt>
                <c:pt idx="61213">
                  <c:v>41.754086788685299</c:v>
                </c:pt>
                <c:pt idx="61214">
                  <c:v>17.628602276263109</c:v>
                </c:pt>
                <c:pt idx="61215">
                  <c:v>33.154223881015817</c:v>
                </c:pt>
                <c:pt idx="61216">
                  <c:v>42.932466035236203</c:v>
                </c:pt>
                <c:pt idx="61217">
                  <c:v>24.218649391541703</c:v>
                </c:pt>
                <c:pt idx="61218">
                  <c:v>28.534281137289021</c:v>
                </c:pt>
                <c:pt idx="61219">
                  <c:v>29.118472221276527</c:v>
                </c:pt>
                <c:pt idx="61220">
                  <c:v>44.849967378541997</c:v>
                </c:pt>
                <c:pt idx="61221">
                  <c:v>36.325748759128615</c:v>
                </c:pt>
                <c:pt idx="61222">
                  <c:v>23.512537494570104</c:v>
                </c:pt>
                <c:pt idx="61223">
                  <c:v>25.886389989049093</c:v>
                </c:pt>
                <c:pt idx="61224">
                  <c:v>23.520690623037172</c:v>
                </c:pt>
                <c:pt idx="61225">
                  <c:v>28.141161540655737</c:v>
                </c:pt>
                <c:pt idx="61226">
                  <c:v>24.651712940655091</c:v>
                </c:pt>
                <c:pt idx="61227">
                  <c:v>31.810103055603179</c:v>
                </c:pt>
                <c:pt idx="61228">
                  <c:v>23.662255889174784</c:v>
                </c:pt>
                <c:pt idx="61229">
                  <c:v>28.956352230250587</c:v>
                </c:pt>
                <c:pt idx="61230">
                  <c:v>44.823879750756809</c:v>
                </c:pt>
                <c:pt idx="61231">
                  <c:v>35.345025976737716</c:v>
                </c:pt>
                <c:pt idx="61232">
                  <c:v>21.653094457466125</c:v>
                </c:pt>
                <c:pt idx="61233">
                  <c:v>26.673982645648181</c:v>
                </c:pt>
                <c:pt idx="61234">
                  <c:v>32.234725049332816</c:v>
                </c:pt>
                <c:pt idx="61235">
                  <c:v>27.015231113744065</c:v>
                </c:pt>
                <c:pt idx="61236">
                  <c:v>26.437010749440784</c:v>
                </c:pt>
                <c:pt idx="61237">
                  <c:v>29.578206803925209</c:v>
                </c:pt>
                <c:pt idx="61238">
                  <c:v>23.078667391013546</c:v>
                </c:pt>
                <c:pt idx="61239">
                  <c:v>29.973643258446927</c:v>
                </c:pt>
                <c:pt idx="61240">
                  <c:v>38.388793034846955</c:v>
                </c:pt>
                <c:pt idx="61241">
                  <c:v>27.308102966836383</c:v>
                </c:pt>
                <c:pt idx="61242">
                  <c:v>27.667801191218146</c:v>
                </c:pt>
                <c:pt idx="61243">
                  <c:v>32.683290458447573</c:v>
                </c:pt>
                <c:pt idx="61244">
                  <c:v>23.236557695388079</c:v>
                </c:pt>
                <c:pt idx="61245">
                  <c:v>31.693798816005046</c:v>
                </c:pt>
                <c:pt idx="61246">
                  <c:v>25.933110331680595</c:v>
                </c:pt>
                <c:pt idx="61247">
                  <c:v>53.9253250131462</c:v>
                </c:pt>
                <c:pt idx="61248">
                  <c:v>28.154935336543105</c:v>
                </c:pt>
                <c:pt idx="61249">
                  <c:v>26.686795064886944</c:v>
                </c:pt>
                <c:pt idx="61250">
                  <c:v>32.710919305163372</c:v>
                </c:pt>
                <c:pt idx="61251">
                  <c:v>26.31978029283006</c:v>
                </c:pt>
                <c:pt idx="61252">
                  <c:v>32.017831013692849</c:v>
                </c:pt>
                <c:pt idx="61253">
                  <c:v>38.804928189947887</c:v>
                </c:pt>
                <c:pt idx="61254">
                  <c:v>25.967674118483028</c:v>
                </c:pt>
                <c:pt idx="61255">
                  <c:v>30.920927041337009</c:v>
                </c:pt>
                <c:pt idx="61256">
                  <c:v>33.687948667846456</c:v>
                </c:pt>
                <c:pt idx="61257">
                  <c:v>45.564783681691146</c:v>
                </c:pt>
                <c:pt idx="61258">
                  <c:v>30.115727885852515</c:v>
                </c:pt>
                <c:pt idx="61259">
                  <c:v>34.473526475808185</c:v>
                </c:pt>
                <c:pt idx="61260">
                  <c:v>19.976282376868323</c:v>
                </c:pt>
                <c:pt idx="61261">
                  <c:v>24.11277089313139</c:v>
                </c:pt>
                <c:pt idx="61262">
                  <c:v>30.419544061243307</c:v>
                </c:pt>
                <c:pt idx="61263">
                  <c:v>26.513874067012161</c:v>
                </c:pt>
                <c:pt idx="61264">
                  <c:v>30.58490409004029</c:v>
                </c:pt>
                <c:pt idx="61265">
                  <c:v>31.143754503788294</c:v>
                </c:pt>
                <c:pt idx="61266">
                  <c:v>22.136178788612419</c:v>
                </c:pt>
                <c:pt idx="61267">
                  <c:v>40.615520174392685</c:v>
                </c:pt>
                <c:pt idx="61268">
                  <c:v>25.326856773905568</c:v>
                </c:pt>
                <c:pt idx="61269">
                  <c:v>19.056598809918693</c:v>
                </c:pt>
                <c:pt idx="61270">
                  <c:v>26.019065969790717</c:v>
                </c:pt>
                <c:pt idx="61271">
                  <c:v>29.528762665504509</c:v>
                </c:pt>
                <c:pt idx="61272">
                  <c:v>28.007589642866314</c:v>
                </c:pt>
                <c:pt idx="61273">
                  <c:v>33.12812374111661</c:v>
                </c:pt>
                <c:pt idx="61274">
                  <c:v>29.388634108165061</c:v>
                </c:pt>
                <c:pt idx="61275">
                  <c:v>24.785219702261418</c:v>
                </c:pt>
                <c:pt idx="61276">
                  <c:v>36.912660557005921</c:v>
                </c:pt>
                <c:pt idx="61277">
                  <c:v>33.085839545000873</c:v>
                </c:pt>
                <c:pt idx="61278">
                  <c:v>40.402441696361983</c:v>
                </c:pt>
                <c:pt idx="61279">
                  <c:v>24.244519295099668</c:v>
                </c:pt>
                <c:pt idx="61280">
                  <c:v>45.975115345994389</c:v>
                </c:pt>
                <c:pt idx="61281">
                  <c:v>36.148858490166646</c:v>
                </c:pt>
                <c:pt idx="61282">
                  <c:v>46.220327625078696</c:v>
                </c:pt>
                <c:pt idx="61283">
                  <c:v>26.25000166841297</c:v>
                </c:pt>
                <c:pt idx="61284">
                  <c:v>39.531985164135342</c:v>
                </c:pt>
                <c:pt idx="61285">
                  <c:v>57.389215321355763</c:v>
                </c:pt>
                <c:pt idx="61286">
                  <c:v>20.718926689939064</c:v>
                </c:pt>
                <c:pt idx="61287">
                  <c:v>27.30435544826409</c:v>
                </c:pt>
                <c:pt idx="61288">
                  <c:v>42.336049948246512</c:v>
                </c:pt>
                <c:pt idx="61289">
                  <c:v>22.677262372684858</c:v>
                </c:pt>
                <c:pt idx="61290">
                  <c:v>22.184086355933367</c:v>
                </c:pt>
                <c:pt idx="61291">
                  <c:v>27.27731979296675</c:v>
                </c:pt>
                <c:pt idx="61292">
                  <c:v>28.222536808936418</c:v>
                </c:pt>
                <c:pt idx="61293">
                  <c:v>28.737419380072211</c:v>
                </c:pt>
                <c:pt idx="61294">
                  <c:v>54.40331977799724</c:v>
                </c:pt>
                <c:pt idx="61295">
                  <c:v>36.112039617489756</c:v>
                </c:pt>
                <c:pt idx="61296">
                  <c:v>27.558120625683731</c:v>
                </c:pt>
                <c:pt idx="61297">
                  <c:v>34.039266200929873</c:v>
                </c:pt>
                <c:pt idx="61298">
                  <c:v>28.476492538520606</c:v>
                </c:pt>
                <c:pt idx="61299">
                  <c:v>28.038713203905072</c:v>
                </c:pt>
                <c:pt idx="61300">
                  <c:v>39.807680256914594</c:v>
                </c:pt>
                <c:pt idx="61301">
                  <c:v>27.489375105535263</c:v>
                </c:pt>
                <c:pt idx="61302">
                  <c:v>28.275630083369087</c:v>
                </c:pt>
                <c:pt idx="61303">
                  <c:v>28.273183550479057</c:v>
                </c:pt>
                <c:pt idx="61304">
                  <c:v>28.941309088868927</c:v>
                </c:pt>
                <c:pt idx="61305">
                  <c:v>40.081270960755035</c:v>
                </c:pt>
                <c:pt idx="61306">
                  <c:v>23.536937675096876</c:v>
                </c:pt>
                <c:pt idx="61307">
                  <c:v>23.872894674688879</c:v>
                </c:pt>
                <c:pt idx="61308">
                  <c:v>26.852061756217502</c:v>
                </c:pt>
                <c:pt idx="61309">
                  <c:v>57.08950476971733</c:v>
                </c:pt>
                <c:pt idx="61310">
                  <c:v>26.872850988652168</c:v>
                </c:pt>
                <c:pt idx="61311">
                  <c:v>43.392771675687626</c:v>
                </c:pt>
                <c:pt idx="61312">
                  <c:v>34.698745019604736</c:v>
                </c:pt>
                <c:pt idx="61313">
                  <c:v>24.400029353372698</c:v>
                </c:pt>
                <c:pt idx="61314">
                  <c:v>35.588396642890842</c:v>
                </c:pt>
                <c:pt idx="61315">
                  <c:v>24.009513230407926</c:v>
                </c:pt>
                <c:pt idx="61316">
                  <c:v>28.991041420836602</c:v>
                </c:pt>
                <c:pt idx="61317">
                  <c:v>21.232058128801619</c:v>
                </c:pt>
                <c:pt idx="61318">
                  <c:v>37.551120789441846</c:v>
                </c:pt>
                <c:pt idx="61319">
                  <c:v>25.749343685086437</c:v>
                </c:pt>
                <c:pt idx="61320">
                  <c:v>27.940936198311551</c:v>
                </c:pt>
                <c:pt idx="61321">
                  <c:v>51.464152302452803</c:v>
                </c:pt>
                <c:pt idx="61322">
                  <c:v>35.207415477724012</c:v>
                </c:pt>
                <c:pt idx="61323">
                  <c:v>19.658786483822663</c:v>
                </c:pt>
                <c:pt idx="61324">
                  <c:v>28.071285110584043</c:v>
                </c:pt>
                <c:pt idx="61325">
                  <c:v>41.034030478526944</c:v>
                </c:pt>
                <c:pt idx="61326">
                  <c:v>22.91857033020025</c:v>
                </c:pt>
                <c:pt idx="61327">
                  <c:v>26.974260514789336</c:v>
                </c:pt>
                <c:pt idx="61328">
                  <c:v>30.95106740334597</c:v>
                </c:pt>
                <c:pt idx="61329">
                  <c:v>31.942153779113095</c:v>
                </c:pt>
                <c:pt idx="61330">
                  <c:v>22.852619319123313</c:v>
                </c:pt>
                <c:pt idx="61331">
                  <c:v>31.864391496574648</c:v>
                </c:pt>
                <c:pt idx="61332">
                  <c:v>25.901323800754405</c:v>
                </c:pt>
                <c:pt idx="61333">
                  <c:v>61.650595363802019</c:v>
                </c:pt>
                <c:pt idx="61334">
                  <c:v>60.454191951125324</c:v>
                </c:pt>
                <c:pt idx="61335">
                  <c:v>27.78839980794918</c:v>
                </c:pt>
                <c:pt idx="61336">
                  <c:v>25.536068165798774</c:v>
                </c:pt>
                <c:pt idx="61337">
                  <c:v>18.739923911309738</c:v>
                </c:pt>
                <c:pt idx="61338">
                  <c:v>34.020493898405206</c:v>
                </c:pt>
                <c:pt idx="61339">
                  <c:v>18.624394971245589</c:v>
                </c:pt>
                <c:pt idx="61340">
                  <c:v>28.388219779096382</c:v>
                </c:pt>
                <c:pt idx="61341">
                  <c:v>34.110095620853485</c:v>
                </c:pt>
                <c:pt idx="61342">
                  <c:v>25.120168209957733</c:v>
                </c:pt>
                <c:pt idx="61343">
                  <c:v>28.659323704917295</c:v>
                </c:pt>
                <c:pt idx="61344">
                  <c:v>26.361140092398113</c:v>
                </c:pt>
                <c:pt idx="61345">
                  <c:v>54.60650157069405</c:v>
                </c:pt>
                <c:pt idx="61346">
                  <c:v>23.617546833016192</c:v>
                </c:pt>
                <c:pt idx="61347">
                  <c:v>29.39369794266732</c:v>
                </c:pt>
                <c:pt idx="61348">
                  <c:v>41.662974450639467</c:v>
                </c:pt>
                <c:pt idx="61349">
                  <c:v>31.699995136800347</c:v>
                </c:pt>
                <c:pt idx="61350">
                  <c:v>36.530008263550471</c:v>
                </c:pt>
                <c:pt idx="61351">
                  <c:v>32.874491258214114</c:v>
                </c:pt>
                <c:pt idx="61352">
                  <c:v>27.135277573272372</c:v>
                </c:pt>
                <c:pt idx="61353">
                  <c:v>43.602103589058167</c:v>
                </c:pt>
                <c:pt idx="61354">
                  <c:v>29.936308627288579</c:v>
                </c:pt>
                <c:pt idx="61355">
                  <c:v>38.600494151468354</c:v>
                </c:pt>
                <c:pt idx="61356">
                  <c:v>36.827078011876566</c:v>
                </c:pt>
                <c:pt idx="61357">
                  <c:v>25.298882589218913</c:v>
                </c:pt>
                <c:pt idx="61358">
                  <c:v>25.371916810381524</c:v>
                </c:pt>
                <c:pt idx="61359">
                  <c:v>24.733823792245744</c:v>
                </c:pt>
                <c:pt idx="61360">
                  <c:v>27.102672795437776</c:v>
                </c:pt>
                <c:pt idx="61361">
                  <c:v>26.082132086774489</c:v>
                </c:pt>
                <c:pt idx="61362">
                  <c:v>61.529410571243069</c:v>
                </c:pt>
                <c:pt idx="61363">
                  <c:v>43.417952959878278</c:v>
                </c:pt>
                <c:pt idx="61364">
                  <c:v>31.579004666460335</c:v>
                </c:pt>
                <c:pt idx="61365">
                  <c:v>23.737523830139668</c:v>
                </c:pt>
                <c:pt idx="61366">
                  <c:v>28.423172120322281</c:v>
                </c:pt>
                <c:pt idx="61367">
                  <c:v>21.400571706932546</c:v>
                </c:pt>
                <c:pt idx="61368">
                  <c:v>21.667359944536045</c:v>
                </c:pt>
                <c:pt idx="61369">
                  <c:v>25.202754374892944</c:v>
                </c:pt>
                <c:pt idx="61370">
                  <c:v>29.527074900888625</c:v>
                </c:pt>
                <c:pt idx="61371">
                  <c:v>27.775743154332346</c:v>
                </c:pt>
                <c:pt idx="61372">
                  <c:v>28.261140536018402</c:v>
                </c:pt>
                <c:pt idx="61373">
                  <c:v>21.243591752437048</c:v>
                </c:pt>
                <c:pt idx="61374">
                  <c:v>55.184914490821406</c:v>
                </c:pt>
                <c:pt idx="61375">
                  <c:v>52.325154513320939</c:v>
                </c:pt>
                <c:pt idx="61376">
                  <c:v>31.94271707211719</c:v>
                </c:pt>
                <c:pt idx="61377">
                  <c:v>31.222369831952292</c:v>
                </c:pt>
                <c:pt idx="61378">
                  <c:v>31.119973430273234</c:v>
                </c:pt>
                <c:pt idx="61379">
                  <c:v>23.816720061817694</c:v>
                </c:pt>
                <c:pt idx="61380">
                  <c:v>27.931059279932022</c:v>
                </c:pt>
                <c:pt idx="61381">
                  <c:v>28.557684160636679</c:v>
                </c:pt>
                <c:pt idx="61382">
                  <c:v>24.057674721030743</c:v>
                </c:pt>
                <c:pt idx="61383">
                  <c:v>22.455061651966879</c:v>
                </c:pt>
                <c:pt idx="61384">
                  <c:v>30.894843397363619</c:v>
                </c:pt>
                <c:pt idx="61385">
                  <c:v>41.887479932945595</c:v>
                </c:pt>
                <c:pt idx="61386">
                  <c:v>50.665192847197872</c:v>
                </c:pt>
                <c:pt idx="61387">
                  <c:v>36.181449732291199</c:v>
                </c:pt>
                <c:pt idx="61388">
                  <c:v>25.822543759940807</c:v>
                </c:pt>
                <c:pt idx="61389">
                  <c:v>29.56138429836804</c:v>
                </c:pt>
                <c:pt idx="61390">
                  <c:v>22.744557173640697</c:v>
                </c:pt>
                <c:pt idx="61391">
                  <c:v>39.991616754726856</c:v>
                </c:pt>
                <c:pt idx="61392">
                  <c:v>27.824400465063594</c:v>
                </c:pt>
                <c:pt idx="61393">
                  <c:v>24.024096596664933</c:v>
                </c:pt>
                <c:pt idx="61394">
                  <c:v>24.869836650612584</c:v>
                </c:pt>
                <c:pt idx="61395">
                  <c:v>34.381494770967585</c:v>
                </c:pt>
                <c:pt idx="61396">
                  <c:v>25.020315264124385</c:v>
                </c:pt>
                <c:pt idx="61397">
                  <c:v>20.120646072184222</c:v>
                </c:pt>
                <c:pt idx="61398">
                  <c:v>27.9224062746889</c:v>
                </c:pt>
                <c:pt idx="61399">
                  <c:v>24.293120013881012</c:v>
                </c:pt>
                <c:pt idx="61400">
                  <c:v>28.535441365939615</c:v>
                </c:pt>
                <c:pt idx="61401">
                  <c:v>28.41922993241247</c:v>
                </c:pt>
                <c:pt idx="61402">
                  <c:v>24.486631755714193</c:v>
                </c:pt>
                <c:pt idx="61403">
                  <c:v>26.552208761357178</c:v>
                </c:pt>
                <c:pt idx="61404">
                  <c:v>19.047318655919057</c:v>
                </c:pt>
                <c:pt idx="61405">
                  <c:v>23.311963037279273</c:v>
                </c:pt>
                <c:pt idx="61406">
                  <c:v>33.065256943721131</c:v>
                </c:pt>
                <c:pt idx="61407">
                  <c:v>29.274535223680111</c:v>
                </c:pt>
                <c:pt idx="61408">
                  <c:v>32.777238781246602</c:v>
                </c:pt>
                <c:pt idx="61409">
                  <c:v>33.13290667971534</c:v>
                </c:pt>
                <c:pt idx="61410">
                  <c:v>53.099066181340476</c:v>
                </c:pt>
                <c:pt idx="61411">
                  <c:v>29.834358705457387</c:v>
                </c:pt>
                <c:pt idx="61412">
                  <c:v>31.972380820911511</c:v>
                </c:pt>
                <c:pt idx="61413">
                  <c:v>29.357813166165919</c:v>
                </c:pt>
                <c:pt idx="61414">
                  <c:v>29.952777135767871</c:v>
                </c:pt>
                <c:pt idx="61415">
                  <c:v>29.953851812829672</c:v>
                </c:pt>
                <c:pt idx="61416">
                  <c:v>32.840832993945448</c:v>
                </c:pt>
                <c:pt idx="61417">
                  <c:v>23.685379843053571</c:v>
                </c:pt>
                <c:pt idx="61418">
                  <c:v>20.004617700384241</c:v>
                </c:pt>
                <c:pt idx="61419">
                  <c:v>42.299804682223083</c:v>
                </c:pt>
                <c:pt idx="61420">
                  <c:v>27.58290868738607</c:v>
                </c:pt>
                <c:pt idx="61421">
                  <c:v>26.491474053119145</c:v>
                </c:pt>
                <c:pt idx="61422">
                  <c:v>21.962725211813005</c:v>
                </c:pt>
                <c:pt idx="61423">
                  <c:v>46.069335252372902</c:v>
                </c:pt>
                <c:pt idx="61424">
                  <c:v>24.249603114675814</c:v>
                </c:pt>
                <c:pt idx="61425">
                  <c:v>31.392440326532281</c:v>
                </c:pt>
                <c:pt idx="61426">
                  <c:v>24.097171898254413</c:v>
                </c:pt>
                <c:pt idx="61427">
                  <c:v>26.937401849437098</c:v>
                </c:pt>
                <c:pt idx="61428">
                  <c:v>19.700804417766527</c:v>
                </c:pt>
                <c:pt idx="61429">
                  <c:v>33.332202251944913</c:v>
                </c:pt>
                <c:pt idx="61430">
                  <c:v>26.759572682460075</c:v>
                </c:pt>
                <c:pt idx="61431">
                  <c:v>23.931884049541978</c:v>
                </c:pt>
                <c:pt idx="61432">
                  <c:v>35.607800982262624</c:v>
                </c:pt>
                <c:pt idx="61433">
                  <c:v>52.825183132659099</c:v>
                </c:pt>
                <c:pt idx="61434">
                  <c:v>57.05088001635783</c:v>
                </c:pt>
                <c:pt idx="61435">
                  <c:v>34.376447251525484</c:v>
                </c:pt>
                <c:pt idx="61436">
                  <c:v>25.745880762853421</c:v>
                </c:pt>
                <c:pt idx="61437">
                  <c:v>29.777707547137389</c:v>
                </c:pt>
                <c:pt idx="61438">
                  <c:v>35.045672565757151</c:v>
                </c:pt>
                <c:pt idx="61439">
                  <c:v>35.299597174187291</c:v>
                </c:pt>
                <c:pt idx="61440">
                  <c:v>28.20041064804273</c:v>
                </c:pt>
                <c:pt idx="61441">
                  <c:v>30.145340218983179</c:v>
                </c:pt>
                <c:pt idx="61442">
                  <c:v>25.184326177950819</c:v>
                </c:pt>
                <c:pt idx="61443">
                  <c:v>20.634487412670477</c:v>
                </c:pt>
                <c:pt idx="61444">
                  <c:v>32.3183150838695</c:v>
                </c:pt>
                <c:pt idx="61445">
                  <c:v>38.370151076272066</c:v>
                </c:pt>
                <c:pt idx="61446">
                  <c:v>22.281121684574913</c:v>
                </c:pt>
                <c:pt idx="61447">
                  <c:v>28.202741424084721</c:v>
                </c:pt>
                <c:pt idx="61448">
                  <c:v>30.783833524278968</c:v>
                </c:pt>
                <c:pt idx="61449">
                  <c:v>23.207470922433664</c:v>
                </c:pt>
                <c:pt idx="61450">
                  <c:v>31.397584542189211</c:v>
                </c:pt>
                <c:pt idx="61451">
                  <c:v>31.818746058367019</c:v>
                </c:pt>
                <c:pt idx="61452">
                  <c:v>29.340862933875492</c:v>
                </c:pt>
                <c:pt idx="61453">
                  <c:v>54.965875833450269</c:v>
                </c:pt>
                <c:pt idx="61454">
                  <c:v>30.641085651783964</c:v>
                </c:pt>
                <c:pt idx="61455">
                  <c:v>26.344479577180444</c:v>
                </c:pt>
                <c:pt idx="61456">
                  <c:v>34.794965184693964</c:v>
                </c:pt>
                <c:pt idx="61457">
                  <c:v>37.551246633639877</c:v>
                </c:pt>
                <c:pt idx="61458">
                  <c:v>45.395966244781107</c:v>
                </c:pt>
                <c:pt idx="61459">
                  <c:v>23.543665001517837</c:v>
                </c:pt>
                <c:pt idx="61460">
                  <c:v>47.675150476588023</c:v>
                </c:pt>
                <c:pt idx="61461">
                  <c:v>43.794510544128016</c:v>
                </c:pt>
                <c:pt idx="61462">
                  <c:v>29.811206865753775</c:v>
                </c:pt>
                <c:pt idx="61463">
                  <c:v>47.821272102756978</c:v>
                </c:pt>
                <c:pt idx="61464">
                  <c:v>22.721447508971519</c:v>
                </c:pt>
                <c:pt idx="61465">
                  <c:v>11.541323983887548</c:v>
                </c:pt>
                <c:pt idx="61466">
                  <c:v>55.71549548727954</c:v>
                </c:pt>
                <c:pt idx="61467">
                  <c:v>37.227727649167591</c:v>
                </c:pt>
                <c:pt idx="61468">
                  <c:v>26.739699749606171</c:v>
                </c:pt>
                <c:pt idx="61469">
                  <c:v>21.032737929584385</c:v>
                </c:pt>
                <c:pt idx="61470">
                  <c:v>24.504281724548587</c:v>
                </c:pt>
                <c:pt idx="61471">
                  <c:v>39.20663761209547</c:v>
                </c:pt>
                <c:pt idx="61472">
                  <c:v>23.7648631028331</c:v>
                </c:pt>
                <c:pt idx="61473">
                  <c:v>41.455404278028446</c:v>
                </c:pt>
                <c:pt idx="61474">
                  <c:v>45.316522258697916</c:v>
                </c:pt>
                <c:pt idx="61475">
                  <c:v>15.405814404644822</c:v>
                </c:pt>
                <c:pt idx="61476">
                  <c:v>28.844406702828628</c:v>
                </c:pt>
                <c:pt idx="61477">
                  <c:v>27.984415175049186</c:v>
                </c:pt>
                <c:pt idx="61478">
                  <c:v>32.127962495294682</c:v>
                </c:pt>
                <c:pt idx="61479">
                  <c:v>23.784664065577434</c:v>
                </c:pt>
                <c:pt idx="61480">
                  <c:v>52.211777891092368</c:v>
                </c:pt>
                <c:pt idx="61481">
                  <c:v>25.552780477808735</c:v>
                </c:pt>
                <c:pt idx="61482">
                  <c:v>23.105873256231114</c:v>
                </c:pt>
                <c:pt idx="61483">
                  <c:v>26.792388129624101</c:v>
                </c:pt>
                <c:pt idx="61484">
                  <c:v>21.248032281643813</c:v>
                </c:pt>
                <c:pt idx="61485">
                  <c:v>31.389338759263449</c:v>
                </c:pt>
                <c:pt idx="61486">
                  <c:v>40.651888244055399</c:v>
                </c:pt>
                <c:pt idx="61487">
                  <c:v>28.632637228038085</c:v>
                </c:pt>
                <c:pt idx="61488">
                  <c:v>24.18923660874443</c:v>
                </c:pt>
                <c:pt idx="61489">
                  <c:v>33.018710910257617</c:v>
                </c:pt>
                <c:pt idx="61490">
                  <c:v>45.2923080530135</c:v>
                </c:pt>
                <c:pt idx="61491">
                  <c:v>21.880371464309533</c:v>
                </c:pt>
                <c:pt idx="61492">
                  <c:v>43.159721161206178</c:v>
                </c:pt>
                <c:pt idx="61493">
                  <c:v>27.261044263544626</c:v>
                </c:pt>
                <c:pt idx="61494">
                  <c:v>25.22630792608339</c:v>
                </c:pt>
                <c:pt idx="61495">
                  <c:v>20.072533414778011</c:v>
                </c:pt>
                <c:pt idx="61496">
                  <c:v>34.079813298532805</c:v>
                </c:pt>
                <c:pt idx="61497">
                  <c:v>24.554678110773335</c:v>
                </c:pt>
                <c:pt idx="61498">
                  <c:v>29.171290152901516</c:v>
                </c:pt>
                <c:pt idx="61499">
                  <c:v>52.085502529848291</c:v>
                </c:pt>
                <c:pt idx="61500">
                  <c:v>37.477158917697679</c:v>
                </c:pt>
                <c:pt idx="61501">
                  <c:v>24.274233208562567</c:v>
                </c:pt>
                <c:pt idx="61502">
                  <c:v>22.602833803900957</c:v>
                </c:pt>
                <c:pt idx="61503">
                  <c:v>28.437611035496172</c:v>
                </c:pt>
                <c:pt idx="61504">
                  <c:v>29.385435484706385</c:v>
                </c:pt>
                <c:pt idx="61505">
                  <c:v>22.559181510841405</c:v>
                </c:pt>
                <c:pt idx="61506">
                  <c:v>23.788125295776517</c:v>
                </c:pt>
                <c:pt idx="61507">
                  <c:v>30.881923485085789</c:v>
                </c:pt>
                <c:pt idx="61508">
                  <c:v>38.390292858423635</c:v>
                </c:pt>
                <c:pt idx="61509">
                  <c:v>20.897152519500679</c:v>
                </c:pt>
                <c:pt idx="61510">
                  <c:v>24.292133234943833</c:v>
                </c:pt>
                <c:pt idx="61511">
                  <c:v>35.401252132381501</c:v>
                </c:pt>
                <c:pt idx="61512">
                  <c:v>23.22896670341926</c:v>
                </c:pt>
                <c:pt idx="61513">
                  <c:v>54.110298122504922</c:v>
                </c:pt>
                <c:pt idx="61514">
                  <c:v>26.476462624389736</c:v>
                </c:pt>
                <c:pt idx="61515">
                  <c:v>31.538710905421524</c:v>
                </c:pt>
                <c:pt idx="61516">
                  <c:v>35.685961187223242</c:v>
                </c:pt>
                <c:pt idx="61517">
                  <c:v>27.404979609123242</c:v>
                </c:pt>
                <c:pt idx="61518">
                  <c:v>24.679519266057774</c:v>
                </c:pt>
                <c:pt idx="61519">
                  <c:v>35.063362734931793</c:v>
                </c:pt>
                <c:pt idx="61520">
                  <c:v>52.807396429124616</c:v>
                </c:pt>
                <c:pt idx="61521">
                  <c:v>29.126411814877997</c:v>
                </c:pt>
                <c:pt idx="61522">
                  <c:v>23.263859766777383</c:v>
                </c:pt>
                <c:pt idx="61523">
                  <c:v>24.644492728821085</c:v>
                </c:pt>
                <c:pt idx="61524">
                  <c:v>30.601100649463973</c:v>
                </c:pt>
                <c:pt idx="61525">
                  <c:v>30.379965246134542</c:v>
                </c:pt>
                <c:pt idx="61526">
                  <c:v>41.944360733384855</c:v>
                </c:pt>
                <c:pt idx="61527">
                  <c:v>32.50268019311374</c:v>
                </c:pt>
                <c:pt idx="61528">
                  <c:v>25.441853975789829</c:v>
                </c:pt>
                <c:pt idx="61529">
                  <c:v>29.612846361083164</c:v>
                </c:pt>
                <c:pt idx="61530">
                  <c:v>39.750387361694955</c:v>
                </c:pt>
                <c:pt idx="61531">
                  <c:v>43.641465509904869</c:v>
                </c:pt>
                <c:pt idx="61532">
                  <c:v>25.414041146678439</c:v>
                </c:pt>
                <c:pt idx="61533">
                  <c:v>28.6394444735528</c:v>
                </c:pt>
                <c:pt idx="61534">
                  <c:v>17.888072364600674</c:v>
                </c:pt>
                <c:pt idx="61535">
                  <c:v>22.083369293135984</c:v>
                </c:pt>
                <c:pt idx="61536">
                  <c:v>31.050404935402497</c:v>
                </c:pt>
                <c:pt idx="61537">
                  <c:v>19.156045496819637</c:v>
                </c:pt>
                <c:pt idx="61538">
                  <c:v>30.969129972941186</c:v>
                </c:pt>
                <c:pt idx="61539">
                  <c:v>26.325499943160239</c:v>
                </c:pt>
                <c:pt idx="61540">
                  <c:v>30.484544775712937</c:v>
                </c:pt>
                <c:pt idx="61541">
                  <c:v>20.714301406233922</c:v>
                </c:pt>
                <c:pt idx="61542">
                  <c:v>27.882590289965883</c:v>
                </c:pt>
                <c:pt idx="61543">
                  <c:v>24.769600903352462</c:v>
                </c:pt>
                <c:pt idx="61544">
                  <c:v>55.472571245890634</c:v>
                </c:pt>
                <c:pt idx="61545">
                  <c:v>35.328319166561961</c:v>
                </c:pt>
                <c:pt idx="61546">
                  <c:v>32.626940096077668</c:v>
                </c:pt>
                <c:pt idx="61547">
                  <c:v>19.983103184727462</c:v>
                </c:pt>
                <c:pt idx="61548">
                  <c:v>35.891871675391315</c:v>
                </c:pt>
                <c:pt idx="61549">
                  <c:v>17.827382974288852</c:v>
                </c:pt>
                <c:pt idx="61550">
                  <c:v>45.722889040210305</c:v>
                </c:pt>
                <c:pt idx="61551">
                  <c:v>21.226764621528773</c:v>
                </c:pt>
                <c:pt idx="61552">
                  <c:v>35.661724510449496</c:v>
                </c:pt>
                <c:pt idx="61553">
                  <c:v>23.767831453522483</c:v>
                </c:pt>
                <c:pt idx="61554">
                  <c:v>43.586622935460959</c:v>
                </c:pt>
                <c:pt idx="61555">
                  <c:v>44.91808005449991</c:v>
                </c:pt>
                <c:pt idx="61556">
                  <c:v>33.957088121712644</c:v>
                </c:pt>
                <c:pt idx="61557">
                  <c:v>35.17245360978437</c:v>
                </c:pt>
                <c:pt idx="61558">
                  <c:v>18.777687822737786</c:v>
                </c:pt>
                <c:pt idx="61559">
                  <c:v>22.231003799213141</c:v>
                </c:pt>
                <c:pt idx="61560">
                  <c:v>28.827448380325301</c:v>
                </c:pt>
                <c:pt idx="61561">
                  <c:v>25.305021794045846</c:v>
                </c:pt>
                <c:pt idx="61562">
                  <c:v>24.024707709578703</c:v>
                </c:pt>
                <c:pt idx="61563">
                  <c:v>32.653633135847002</c:v>
                </c:pt>
                <c:pt idx="61564">
                  <c:v>49.92770584686879</c:v>
                </c:pt>
                <c:pt idx="61565">
                  <c:v>25.521724401029612</c:v>
                </c:pt>
                <c:pt idx="61566">
                  <c:v>28.478042892650901</c:v>
                </c:pt>
                <c:pt idx="61567">
                  <c:v>47.763881358360422</c:v>
                </c:pt>
                <c:pt idx="61568">
                  <c:v>44.82988505496678</c:v>
                </c:pt>
                <c:pt idx="61569">
                  <c:v>30.547435599774545</c:v>
                </c:pt>
                <c:pt idx="61570">
                  <c:v>25.821742027748982</c:v>
                </c:pt>
                <c:pt idx="61571">
                  <c:v>34.90731774233025</c:v>
                </c:pt>
                <c:pt idx="61572">
                  <c:v>45.386714005448923</c:v>
                </c:pt>
                <c:pt idx="61573">
                  <c:v>41.007705178111834</c:v>
                </c:pt>
                <c:pt idx="61574">
                  <c:v>31.178795841607617</c:v>
                </c:pt>
                <c:pt idx="61575">
                  <c:v>22.603618980767628</c:v>
                </c:pt>
                <c:pt idx="61576">
                  <c:v>24.074468618418543</c:v>
                </c:pt>
                <c:pt idx="61577">
                  <c:v>47.461986227865978</c:v>
                </c:pt>
                <c:pt idx="61578">
                  <c:v>31.077978881070443</c:v>
                </c:pt>
                <c:pt idx="61579">
                  <c:v>26.25015437843124</c:v>
                </c:pt>
                <c:pt idx="61580">
                  <c:v>35.516407395181112</c:v>
                </c:pt>
                <c:pt idx="61581">
                  <c:v>22.261142736522817</c:v>
                </c:pt>
                <c:pt idx="61582">
                  <c:v>24.165998007284117</c:v>
                </c:pt>
                <c:pt idx="61583">
                  <c:v>21.798802939103595</c:v>
                </c:pt>
                <c:pt idx="61584">
                  <c:v>32.450665352771985</c:v>
                </c:pt>
                <c:pt idx="61585">
                  <c:v>28.261999260869011</c:v>
                </c:pt>
                <c:pt idx="61586">
                  <c:v>29.928035773395504</c:v>
                </c:pt>
                <c:pt idx="61587">
                  <c:v>21.113684193487053</c:v>
                </c:pt>
                <c:pt idx="61588">
                  <c:v>33.805648472108345</c:v>
                </c:pt>
                <c:pt idx="61589">
                  <c:v>21.649175094921926</c:v>
                </c:pt>
                <c:pt idx="61590">
                  <c:v>25.405023557367539</c:v>
                </c:pt>
                <c:pt idx="61591">
                  <c:v>25.536731051418478</c:v>
                </c:pt>
                <c:pt idx="61592">
                  <c:v>22.938325989420811</c:v>
                </c:pt>
                <c:pt idx="61593">
                  <c:v>29.064599409645304</c:v>
                </c:pt>
                <c:pt idx="61594">
                  <c:v>25.62299329210531</c:v>
                </c:pt>
                <c:pt idx="61595">
                  <c:v>37.675241399502653</c:v>
                </c:pt>
                <c:pt idx="61596">
                  <c:v>25.875191479497762</c:v>
                </c:pt>
                <c:pt idx="61597">
                  <c:v>26.303812486392367</c:v>
                </c:pt>
                <c:pt idx="61598">
                  <c:v>20.076594202478482</c:v>
                </c:pt>
                <c:pt idx="61599">
                  <c:v>29.352528036634919</c:v>
                </c:pt>
                <c:pt idx="61600">
                  <c:v>28.18761155167979</c:v>
                </c:pt>
                <c:pt idx="61601">
                  <c:v>29.906169582435442</c:v>
                </c:pt>
                <c:pt idx="61602">
                  <c:v>43.522860043490738</c:v>
                </c:pt>
                <c:pt idx="61603">
                  <c:v>24.701634187132868</c:v>
                </c:pt>
                <c:pt idx="61604">
                  <c:v>35.44447656916347</c:v>
                </c:pt>
                <c:pt idx="61605">
                  <c:v>31.846020259624908</c:v>
                </c:pt>
                <c:pt idx="61606">
                  <c:v>19.616036782972827</c:v>
                </c:pt>
                <c:pt idx="61607">
                  <c:v>36.372665169455217</c:v>
                </c:pt>
                <c:pt idx="61608">
                  <c:v>22.989454454414329</c:v>
                </c:pt>
                <c:pt idx="61609">
                  <c:v>23.492763558551584</c:v>
                </c:pt>
                <c:pt idx="61610">
                  <c:v>29.535472888400754</c:v>
                </c:pt>
                <c:pt idx="61611">
                  <c:v>49.630316135256315</c:v>
                </c:pt>
                <c:pt idx="61612">
                  <c:v>25.126112837464124</c:v>
                </c:pt>
                <c:pt idx="61613">
                  <c:v>35.157274340041575</c:v>
                </c:pt>
                <c:pt idx="61614">
                  <c:v>19.58384043126167</c:v>
                </c:pt>
                <c:pt idx="61615">
                  <c:v>25.591988403507067</c:v>
                </c:pt>
                <c:pt idx="61616">
                  <c:v>53.882836810162416</c:v>
                </c:pt>
                <c:pt idx="61617">
                  <c:v>19.742713194846143</c:v>
                </c:pt>
                <c:pt idx="61618">
                  <c:v>26.160498889074905</c:v>
                </c:pt>
                <c:pt idx="61619">
                  <c:v>47.623309249984828</c:v>
                </c:pt>
                <c:pt idx="61620">
                  <c:v>22.901815545714101</c:v>
                </c:pt>
                <c:pt idx="61621">
                  <c:v>26.393228281592464</c:v>
                </c:pt>
                <c:pt idx="61622">
                  <c:v>27.193570508857114</c:v>
                </c:pt>
                <c:pt idx="61623">
                  <c:v>29.196336282263985</c:v>
                </c:pt>
                <c:pt idx="61624">
                  <c:v>24.122291200530317</c:v>
                </c:pt>
                <c:pt idx="61625">
                  <c:v>28.454603693468357</c:v>
                </c:pt>
                <c:pt idx="61626">
                  <c:v>30.092836651598226</c:v>
                </c:pt>
                <c:pt idx="61627">
                  <c:v>19.536641391195896</c:v>
                </c:pt>
                <c:pt idx="61628">
                  <c:v>31.970716336318628</c:v>
                </c:pt>
                <c:pt idx="61629">
                  <c:v>24.793174483595823</c:v>
                </c:pt>
                <c:pt idx="61630">
                  <c:v>55.541288938549954</c:v>
                </c:pt>
                <c:pt idx="61631">
                  <c:v>20.159393512935328</c:v>
                </c:pt>
                <c:pt idx="61632">
                  <c:v>42.59647301771593</c:v>
                </c:pt>
                <c:pt idx="61633">
                  <c:v>39.753889453956759</c:v>
                </c:pt>
                <c:pt idx="61634">
                  <c:v>26.290829830570427</c:v>
                </c:pt>
                <c:pt idx="61635">
                  <c:v>24.291420431780605</c:v>
                </c:pt>
                <c:pt idx="61636">
                  <c:v>30.488295358207299</c:v>
                </c:pt>
                <c:pt idx="61637">
                  <c:v>33.190888633444366</c:v>
                </c:pt>
                <c:pt idx="61638">
                  <c:v>24.566926522763669</c:v>
                </c:pt>
                <c:pt idx="61639">
                  <c:v>26.098577700143636</c:v>
                </c:pt>
                <c:pt idx="61640">
                  <c:v>41.371217194714717</c:v>
                </c:pt>
                <c:pt idx="61641">
                  <c:v>21.13533373385474</c:v>
                </c:pt>
                <c:pt idx="61642">
                  <c:v>27.811104695820308</c:v>
                </c:pt>
                <c:pt idx="61643">
                  <c:v>27.25596406465348</c:v>
                </c:pt>
                <c:pt idx="61644">
                  <c:v>22.788603309734533</c:v>
                </c:pt>
                <c:pt idx="61645">
                  <c:v>29.68695135492878</c:v>
                </c:pt>
                <c:pt idx="61646">
                  <c:v>48.659297822439626</c:v>
                </c:pt>
                <c:pt idx="61647">
                  <c:v>38.297023045317459</c:v>
                </c:pt>
                <c:pt idx="61648">
                  <c:v>51.830845535812273</c:v>
                </c:pt>
                <c:pt idx="61649">
                  <c:v>46.460635465132739</c:v>
                </c:pt>
                <c:pt idx="61650">
                  <c:v>47.704718714282286</c:v>
                </c:pt>
                <c:pt idx="61651">
                  <c:v>24.017509183102387</c:v>
                </c:pt>
                <c:pt idx="61652">
                  <c:v>27.971994317563645</c:v>
                </c:pt>
                <c:pt idx="61653">
                  <c:v>19.002277316534464</c:v>
                </c:pt>
                <c:pt idx="61654">
                  <c:v>28.076999567074541</c:v>
                </c:pt>
                <c:pt idx="61655">
                  <c:v>20.339365689148757</c:v>
                </c:pt>
                <c:pt idx="61656">
                  <c:v>21.290694673125465</c:v>
                </c:pt>
                <c:pt idx="61657">
                  <c:v>52.946178405555131</c:v>
                </c:pt>
                <c:pt idx="61658">
                  <c:v>18.603112810777368</c:v>
                </c:pt>
                <c:pt idx="61659">
                  <c:v>24.259406964841254</c:v>
                </c:pt>
                <c:pt idx="61660">
                  <c:v>48.316360169935017</c:v>
                </c:pt>
                <c:pt idx="61661">
                  <c:v>24.907510082284386</c:v>
                </c:pt>
                <c:pt idx="61662">
                  <c:v>25.948993154877375</c:v>
                </c:pt>
                <c:pt idx="61663">
                  <c:v>28.397677881476007</c:v>
                </c:pt>
                <c:pt idx="61664">
                  <c:v>26.002148482639974</c:v>
                </c:pt>
                <c:pt idx="61665">
                  <c:v>31.555803075862091</c:v>
                </c:pt>
                <c:pt idx="61666">
                  <c:v>26.532442768311839</c:v>
                </c:pt>
                <c:pt idx="61667">
                  <c:v>24.127313068163069</c:v>
                </c:pt>
                <c:pt idx="61668">
                  <c:v>22.986412893914082</c:v>
                </c:pt>
                <c:pt idx="61669">
                  <c:v>53.395931771580649</c:v>
                </c:pt>
                <c:pt idx="61670">
                  <c:v>23.337653392878373</c:v>
                </c:pt>
                <c:pt idx="61671">
                  <c:v>27.221197988252609</c:v>
                </c:pt>
                <c:pt idx="61672">
                  <c:v>23.695587974244003</c:v>
                </c:pt>
                <c:pt idx="61673">
                  <c:v>20.493419126764174</c:v>
                </c:pt>
                <c:pt idx="61674">
                  <c:v>28.906533987063614</c:v>
                </c:pt>
                <c:pt idx="61675">
                  <c:v>24.758334048343791</c:v>
                </c:pt>
                <c:pt idx="61676">
                  <c:v>33.537873108788901</c:v>
                </c:pt>
                <c:pt idx="61677">
                  <c:v>17.647636005298057</c:v>
                </c:pt>
                <c:pt idx="61678">
                  <c:v>33.74098588364096</c:v>
                </c:pt>
                <c:pt idx="61679">
                  <c:v>20.002899616598278</c:v>
                </c:pt>
                <c:pt idx="61680">
                  <c:v>24.511287899744772</c:v>
                </c:pt>
                <c:pt idx="61681">
                  <c:v>46.889267363002674</c:v>
                </c:pt>
                <c:pt idx="61682">
                  <c:v>46.106339436232361</c:v>
                </c:pt>
                <c:pt idx="61683">
                  <c:v>26.10011145818526</c:v>
                </c:pt>
                <c:pt idx="61684">
                  <c:v>38.197224607343429</c:v>
                </c:pt>
                <c:pt idx="61685">
                  <c:v>23.26382960669703</c:v>
                </c:pt>
                <c:pt idx="61686">
                  <c:v>53.01606705472409</c:v>
                </c:pt>
                <c:pt idx="61687">
                  <c:v>28.173520620121906</c:v>
                </c:pt>
                <c:pt idx="61688">
                  <c:v>55.059373595631001</c:v>
                </c:pt>
                <c:pt idx="61689">
                  <c:v>47.052393996813954</c:v>
                </c:pt>
                <c:pt idx="61690">
                  <c:v>45.280976692446359</c:v>
                </c:pt>
                <c:pt idx="61691">
                  <c:v>46.124530436240839</c:v>
                </c:pt>
                <c:pt idx="61692">
                  <c:v>19.64151152486378</c:v>
                </c:pt>
                <c:pt idx="61693">
                  <c:v>16.639141934995436</c:v>
                </c:pt>
                <c:pt idx="61694">
                  <c:v>23.613768975348183</c:v>
                </c:pt>
                <c:pt idx="61695">
                  <c:v>24.90018796769116</c:v>
                </c:pt>
                <c:pt idx="61696">
                  <c:v>33.378693182152375</c:v>
                </c:pt>
                <c:pt idx="61697">
                  <c:v>24.67930162083735</c:v>
                </c:pt>
                <c:pt idx="61698">
                  <c:v>55.92533390476099</c:v>
                </c:pt>
                <c:pt idx="61699">
                  <c:v>20.598358539511981</c:v>
                </c:pt>
                <c:pt idx="61700">
                  <c:v>18.569679543626428</c:v>
                </c:pt>
                <c:pt idx="61701">
                  <c:v>21.423677739822331</c:v>
                </c:pt>
                <c:pt idx="61702">
                  <c:v>26.30175462365716</c:v>
                </c:pt>
                <c:pt idx="61703">
                  <c:v>36.911470286880672</c:v>
                </c:pt>
                <c:pt idx="61704">
                  <c:v>25.349388027071093</c:v>
                </c:pt>
                <c:pt idx="61705">
                  <c:v>28.801620285319466</c:v>
                </c:pt>
                <c:pt idx="61706">
                  <c:v>54.153798548083827</c:v>
                </c:pt>
                <c:pt idx="61707">
                  <c:v>27.702304830942161</c:v>
                </c:pt>
                <c:pt idx="61708">
                  <c:v>27.653653166565299</c:v>
                </c:pt>
                <c:pt idx="61709">
                  <c:v>29.638914072762038</c:v>
                </c:pt>
                <c:pt idx="61710">
                  <c:v>31.632908268365981</c:v>
                </c:pt>
                <c:pt idx="61711">
                  <c:v>21.129809258238375</c:v>
                </c:pt>
                <c:pt idx="61712">
                  <c:v>32.766987509498584</c:v>
                </c:pt>
                <c:pt idx="61713">
                  <c:v>19.726140532520773</c:v>
                </c:pt>
                <c:pt idx="61714">
                  <c:v>27.547316814099588</c:v>
                </c:pt>
                <c:pt idx="61715">
                  <c:v>30.101588376738221</c:v>
                </c:pt>
                <c:pt idx="61716">
                  <c:v>21.657833102486567</c:v>
                </c:pt>
                <c:pt idx="61717">
                  <c:v>33.797822063003309</c:v>
                </c:pt>
                <c:pt idx="61718">
                  <c:v>43.924353321401853</c:v>
                </c:pt>
                <c:pt idx="61719">
                  <c:v>48.656972718466584</c:v>
                </c:pt>
                <c:pt idx="61720">
                  <c:v>53.44083859973226</c:v>
                </c:pt>
                <c:pt idx="61721">
                  <c:v>38.639194223409191</c:v>
                </c:pt>
                <c:pt idx="61722">
                  <c:v>30.884964643717815</c:v>
                </c:pt>
                <c:pt idx="61723">
                  <c:v>23.828187431605585</c:v>
                </c:pt>
                <c:pt idx="61724">
                  <c:v>29.399567926880962</c:v>
                </c:pt>
                <c:pt idx="61725">
                  <c:v>46.05305922246837</c:v>
                </c:pt>
                <c:pt idx="61726">
                  <c:v>35.124271347369238</c:v>
                </c:pt>
                <c:pt idx="61727">
                  <c:v>51.314827136128649</c:v>
                </c:pt>
                <c:pt idx="61728">
                  <c:v>27.955994807714895</c:v>
                </c:pt>
                <c:pt idx="61729">
                  <c:v>23.348103152199627</c:v>
                </c:pt>
                <c:pt idx="61730">
                  <c:v>26.284819893802727</c:v>
                </c:pt>
                <c:pt idx="61731">
                  <c:v>24.827258232861709</c:v>
                </c:pt>
                <c:pt idx="61732">
                  <c:v>23.897025310972207</c:v>
                </c:pt>
                <c:pt idx="61733">
                  <c:v>34.224560158084302</c:v>
                </c:pt>
                <c:pt idx="61734">
                  <c:v>48.107437117408359</c:v>
                </c:pt>
                <c:pt idx="61735">
                  <c:v>44.073398477383215</c:v>
                </c:pt>
                <c:pt idx="61736">
                  <c:v>20.780822213235599</c:v>
                </c:pt>
                <c:pt idx="61737">
                  <c:v>36.596396082604841</c:v>
                </c:pt>
                <c:pt idx="61738">
                  <c:v>25.690889713174151</c:v>
                </c:pt>
                <c:pt idx="61739">
                  <c:v>50.025706022145471</c:v>
                </c:pt>
                <c:pt idx="61740">
                  <c:v>39.667402693496228</c:v>
                </c:pt>
                <c:pt idx="61741">
                  <c:v>42.830302331717164</c:v>
                </c:pt>
                <c:pt idx="61742">
                  <c:v>31.888785737090469</c:v>
                </c:pt>
                <c:pt idx="61743">
                  <c:v>29.646251454771452</c:v>
                </c:pt>
                <c:pt idx="61744">
                  <c:v>48.794850121522799</c:v>
                </c:pt>
                <c:pt idx="61745">
                  <c:v>28.602980770711358</c:v>
                </c:pt>
                <c:pt idx="61746">
                  <c:v>37.69563918840457</c:v>
                </c:pt>
                <c:pt idx="61747">
                  <c:v>35.367876150887433</c:v>
                </c:pt>
                <c:pt idx="61748">
                  <c:v>54.059520136388969</c:v>
                </c:pt>
                <c:pt idx="61749">
                  <c:v>18.141154685880547</c:v>
                </c:pt>
                <c:pt idx="61750">
                  <c:v>21.196654979189411</c:v>
                </c:pt>
                <c:pt idx="61751">
                  <c:v>22.689863565275498</c:v>
                </c:pt>
                <c:pt idx="61752">
                  <c:v>33.013644479264649</c:v>
                </c:pt>
                <c:pt idx="61753">
                  <c:v>40.900576954048496</c:v>
                </c:pt>
                <c:pt idx="61754">
                  <c:v>34.443344982132857</c:v>
                </c:pt>
                <c:pt idx="61755">
                  <c:v>20.772910183425875</c:v>
                </c:pt>
                <c:pt idx="61756">
                  <c:v>26.502850985499265</c:v>
                </c:pt>
                <c:pt idx="61757">
                  <c:v>55.188341329894442</c:v>
                </c:pt>
                <c:pt idx="61758">
                  <c:v>16.506586279467275</c:v>
                </c:pt>
                <c:pt idx="61759">
                  <c:v>40.682662868477877</c:v>
                </c:pt>
                <c:pt idx="61760">
                  <c:v>27.1804774200425</c:v>
                </c:pt>
                <c:pt idx="61761">
                  <c:v>37.649615356706512</c:v>
                </c:pt>
                <c:pt idx="61762">
                  <c:v>26.757424614054816</c:v>
                </c:pt>
                <c:pt idx="61763">
                  <c:v>35.637704091856534</c:v>
                </c:pt>
                <c:pt idx="61764">
                  <c:v>29.938666105308389</c:v>
                </c:pt>
                <c:pt idx="61765">
                  <c:v>59.017085559780156</c:v>
                </c:pt>
                <c:pt idx="61766">
                  <c:v>18.392050865228224</c:v>
                </c:pt>
                <c:pt idx="61767">
                  <c:v>28.417931406516995</c:v>
                </c:pt>
                <c:pt idx="61768">
                  <c:v>22.280086024469245</c:v>
                </c:pt>
                <c:pt idx="61769">
                  <c:v>40.681416827802437</c:v>
                </c:pt>
                <c:pt idx="61770">
                  <c:v>21.504435905953162</c:v>
                </c:pt>
                <c:pt idx="61771">
                  <c:v>26.487741380881882</c:v>
                </c:pt>
                <c:pt idx="61772">
                  <c:v>33.887809911148942</c:v>
                </c:pt>
                <c:pt idx="61773">
                  <c:v>23.123961706003016</c:v>
                </c:pt>
                <c:pt idx="61774">
                  <c:v>51.120449554985875</c:v>
                </c:pt>
                <c:pt idx="61775">
                  <c:v>23.820972128150192</c:v>
                </c:pt>
                <c:pt idx="61776">
                  <c:v>33.638269524987429</c:v>
                </c:pt>
                <c:pt idx="61777">
                  <c:v>29.196670705140768</c:v>
                </c:pt>
                <c:pt idx="61778">
                  <c:v>25.514419515732406</c:v>
                </c:pt>
                <c:pt idx="61779">
                  <c:v>33.835765135462538</c:v>
                </c:pt>
                <c:pt idx="61780">
                  <c:v>26.803827281206406</c:v>
                </c:pt>
                <c:pt idx="61781">
                  <c:v>31.938988794528733</c:v>
                </c:pt>
                <c:pt idx="61782">
                  <c:v>41.383382839242287</c:v>
                </c:pt>
                <c:pt idx="61783">
                  <c:v>24.73624411177131</c:v>
                </c:pt>
                <c:pt idx="61784">
                  <c:v>41.414010489030659</c:v>
                </c:pt>
                <c:pt idx="61785">
                  <c:v>27.397543088021855</c:v>
                </c:pt>
                <c:pt idx="61786">
                  <c:v>40.600428595618027</c:v>
                </c:pt>
                <c:pt idx="61787">
                  <c:v>30.998125197866134</c:v>
                </c:pt>
                <c:pt idx="61788">
                  <c:v>34.744817282093301</c:v>
                </c:pt>
                <c:pt idx="61789">
                  <c:v>45.419826558617068</c:v>
                </c:pt>
                <c:pt idx="61790">
                  <c:v>34.290264059676566</c:v>
                </c:pt>
                <c:pt idx="61791">
                  <c:v>38.328585392657097</c:v>
                </c:pt>
                <c:pt idx="61792">
                  <c:v>50.902862541501989</c:v>
                </c:pt>
                <c:pt idx="61793">
                  <c:v>22.40614804667289</c:v>
                </c:pt>
                <c:pt idx="61794">
                  <c:v>34.37908130845782</c:v>
                </c:pt>
                <c:pt idx="61795">
                  <c:v>22.167574213629653</c:v>
                </c:pt>
                <c:pt idx="61796">
                  <c:v>28.464854724984335</c:v>
                </c:pt>
                <c:pt idx="61797">
                  <c:v>43.591322093252074</c:v>
                </c:pt>
                <c:pt idx="61798">
                  <c:v>23.918449317929721</c:v>
                </c:pt>
                <c:pt idx="61799">
                  <c:v>23.480635447860877</c:v>
                </c:pt>
                <c:pt idx="61800">
                  <c:v>54.741371860543076</c:v>
                </c:pt>
                <c:pt idx="61801">
                  <c:v>26.616150473788444</c:v>
                </c:pt>
                <c:pt idx="61802">
                  <c:v>43.411253889785236</c:v>
                </c:pt>
                <c:pt idx="61803">
                  <c:v>35.041782154740552</c:v>
                </c:pt>
                <c:pt idx="61804">
                  <c:v>49.433039639362804</c:v>
                </c:pt>
                <c:pt idx="61805">
                  <c:v>20.819010984454323</c:v>
                </c:pt>
                <c:pt idx="61806">
                  <c:v>33.309674117233108</c:v>
                </c:pt>
                <c:pt idx="61807">
                  <c:v>49.377660395205147</c:v>
                </c:pt>
                <c:pt idx="61808">
                  <c:v>47.003486230541988</c:v>
                </c:pt>
                <c:pt idx="61809">
                  <c:v>49.46371655558999</c:v>
                </c:pt>
                <c:pt idx="61810">
                  <c:v>24.994469015774378</c:v>
                </c:pt>
                <c:pt idx="61811">
                  <c:v>27.743930533039432</c:v>
                </c:pt>
                <c:pt idx="61812">
                  <c:v>21.916134072820523</c:v>
                </c:pt>
                <c:pt idx="61813">
                  <c:v>26.218655489738644</c:v>
                </c:pt>
                <c:pt idx="61814">
                  <c:v>30.499072458104063</c:v>
                </c:pt>
                <c:pt idx="61815">
                  <c:v>27.877097971882755</c:v>
                </c:pt>
                <c:pt idx="61816">
                  <c:v>36.115640793174101</c:v>
                </c:pt>
                <c:pt idx="61817">
                  <c:v>37.627693154421266</c:v>
                </c:pt>
                <c:pt idx="61818">
                  <c:v>30.563083424971676</c:v>
                </c:pt>
                <c:pt idx="61819">
                  <c:v>29.856488955797332</c:v>
                </c:pt>
                <c:pt idx="61820">
                  <c:v>24.25163470725446</c:v>
                </c:pt>
                <c:pt idx="61821">
                  <c:v>22.847614635889592</c:v>
                </c:pt>
                <c:pt idx="61822">
                  <c:v>24.84121579614979</c:v>
                </c:pt>
                <c:pt idx="61823">
                  <c:v>28.33201292571815</c:v>
                </c:pt>
                <c:pt idx="61824">
                  <c:v>19.649238554346969</c:v>
                </c:pt>
                <c:pt idx="61825">
                  <c:v>25.364480814605429</c:v>
                </c:pt>
                <c:pt idx="61826">
                  <c:v>45.39200983748885</c:v>
                </c:pt>
                <c:pt idx="61827">
                  <c:v>20.66907275432181</c:v>
                </c:pt>
                <c:pt idx="61828">
                  <c:v>23.123138946389769</c:v>
                </c:pt>
                <c:pt idx="61829">
                  <c:v>19.01868528151406</c:v>
                </c:pt>
                <c:pt idx="61830">
                  <c:v>28.258638543869836</c:v>
                </c:pt>
                <c:pt idx="61831">
                  <c:v>33.820012992674798</c:v>
                </c:pt>
                <c:pt idx="61832">
                  <c:v>20.671549020879581</c:v>
                </c:pt>
                <c:pt idx="61833">
                  <c:v>37.661251058823389</c:v>
                </c:pt>
                <c:pt idx="61834">
                  <c:v>19.717499542721082</c:v>
                </c:pt>
                <c:pt idx="61835">
                  <c:v>23.682287725091605</c:v>
                </c:pt>
                <c:pt idx="61836">
                  <c:v>20.083996893459101</c:v>
                </c:pt>
                <c:pt idx="61837">
                  <c:v>40.379926284859707</c:v>
                </c:pt>
                <c:pt idx="61838">
                  <c:v>22.400246083702832</c:v>
                </c:pt>
                <c:pt idx="61839">
                  <c:v>49.773243031242529</c:v>
                </c:pt>
                <c:pt idx="61840">
                  <c:v>29.291043909707987</c:v>
                </c:pt>
                <c:pt idx="61841">
                  <c:v>20.450002773555529</c:v>
                </c:pt>
                <c:pt idx="61842">
                  <c:v>18.713433434618295</c:v>
                </c:pt>
                <c:pt idx="61843">
                  <c:v>21.043064740963356</c:v>
                </c:pt>
                <c:pt idx="61844">
                  <c:v>33.494402114425512</c:v>
                </c:pt>
                <c:pt idx="61845">
                  <c:v>24.212936432182694</c:v>
                </c:pt>
                <c:pt idx="61846">
                  <c:v>24.194098416404358</c:v>
                </c:pt>
                <c:pt idx="61847">
                  <c:v>35.262399286630718</c:v>
                </c:pt>
                <c:pt idx="61848">
                  <c:v>28.568579197755462</c:v>
                </c:pt>
                <c:pt idx="61849">
                  <c:v>25.517258681605682</c:v>
                </c:pt>
                <c:pt idx="61850">
                  <c:v>28.84825925597459</c:v>
                </c:pt>
                <c:pt idx="61851">
                  <c:v>26.168594271467203</c:v>
                </c:pt>
                <c:pt idx="61852">
                  <c:v>29.959670998034298</c:v>
                </c:pt>
                <c:pt idx="61853">
                  <c:v>21.222291296692831</c:v>
                </c:pt>
                <c:pt idx="61854">
                  <c:v>42.53576807360642</c:v>
                </c:pt>
                <c:pt idx="61855">
                  <c:v>23.224427645867436</c:v>
                </c:pt>
                <c:pt idx="61856">
                  <c:v>31.073975278288163</c:v>
                </c:pt>
                <c:pt idx="61857">
                  <c:v>31.479263469375994</c:v>
                </c:pt>
                <c:pt idx="61858">
                  <c:v>29.866089966439652</c:v>
                </c:pt>
                <c:pt idx="61859">
                  <c:v>24.659579285609254</c:v>
                </c:pt>
                <c:pt idx="61860">
                  <c:v>33.201903639664565</c:v>
                </c:pt>
                <c:pt idx="61861">
                  <c:v>48.019846979747044</c:v>
                </c:pt>
                <c:pt idx="61862">
                  <c:v>35.288640566190324</c:v>
                </c:pt>
                <c:pt idx="61863">
                  <c:v>26.354410253123561</c:v>
                </c:pt>
                <c:pt idx="61864">
                  <c:v>28.37558539073936</c:v>
                </c:pt>
                <c:pt idx="61865">
                  <c:v>27.17662142091617</c:v>
                </c:pt>
                <c:pt idx="61866">
                  <c:v>28.586568850225586</c:v>
                </c:pt>
                <c:pt idx="61867">
                  <c:v>50.133312969942551</c:v>
                </c:pt>
                <c:pt idx="61868">
                  <c:v>45.367437422989369</c:v>
                </c:pt>
                <c:pt idx="61869">
                  <c:v>23.156097512085921</c:v>
                </c:pt>
                <c:pt idx="61870">
                  <c:v>21.69761358798792</c:v>
                </c:pt>
                <c:pt idx="61871">
                  <c:v>27.543108657820753</c:v>
                </c:pt>
                <c:pt idx="61872">
                  <c:v>32.421728077498926</c:v>
                </c:pt>
                <c:pt idx="61873">
                  <c:v>20.936028152552389</c:v>
                </c:pt>
                <c:pt idx="61874">
                  <c:v>23.501887251752756</c:v>
                </c:pt>
                <c:pt idx="61875">
                  <c:v>20.588157721104963</c:v>
                </c:pt>
                <c:pt idx="61876">
                  <c:v>28.726174105905052</c:v>
                </c:pt>
                <c:pt idx="61877">
                  <c:v>47.980873990414217</c:v>
                </c:pt>
                <c:pt idx="61878">
                  <c:v>29.097950678780958</c:v>
                </c:pt>
                <c:pt idx="61879">
                  <c:v>48.746472796269543</c:v>
                </c:pt>
                <c:pt idx="61880">
                  <c:v>33.872258885463637</c:v>
                </c:pt>
                <c:pt idx="61881">
                  <c:v>23.132696368317411</c:v>
                </c:pt>
                <c:pt idx="61882">
                  <c:v>20.159122016008091</c:v>
                </c:pt>
                <c:pt idx="61883">
                  <c:v>29.699160925489444</c:v>
                </c:pt>
                <c:pt idx="61884">
                  <c:v>26.947797085566151</c:v>
                </c:pt>
                <c:pt idx="61885">
                  <c:v>37.381801985177894</c:v>
                </c:pt>
                <c:pt idx="61886">
                  <c:v>28.945195070396945</c:v>
                </c:pt>
                <c:pt idx="61887">
                  <c:v>21.484420794269695</c:v>
                </c:pt>
                <c:pt idx="61888">
                  <c:v>26.114834716696265</c:v>
                </c:pt>
                <c:pt idx="61889">
                  <c:v>34.07103225813789</c:v>
                </c:pt>
                <c:pt idx="61890">
                  <c:v>37.183721374802516</c:v>
                </c:pt>
                <c:pt idx="61891">
                  <c:v>28.753198572647186</c:v>
                </c:pt>
                <c:pt idx="61892">
                  <c:v>30.208876290827803</c:v>
                </c:pt>
                <c:pt idx="61893">
                  <c:v>28.819441330460215</c:v>
                </c:pt>
                <c:pt idx="61894">
                  <c:v>26.523631287064845</c:v>
                </c:pt>
                <c:pt idx="61895">
                  <c:v>19.066407784772167</c:v>
                </c:pt>
                <c:pt idx="61896">
                  <c:v>31.54418158395368</c:v>
                </c:pt>
                <c:pt idx="61897">
                  <c:v>24.556939718085509</c:v>
                </c:pt>
                <c:pt idx="61898">
                  <c:v>29.982039810642075</c:v>
                </c:pt>
                <c:pt idx="61899">
                  <c:v>18.993661731659017</c:v>
                </c:pt>
                <c:pt idx="61900">
                  <c:v>46.045512987572934</c:v>
                </c:pt>
                <c:pt idx="61901">
                  <c:v>28.486191812573864</c:v>
                </c:pt>
                <c:pt idx="61902">
                  <c:v>23.786042025242594</c:v>
                </c:pt>
                <c:pt idx="61903">
                  <c:v>35.179582793272111</c:v>
                </c:pt>
                <c:pt idx="61904">
                  <c:v>18.126255165904645</c:v>
                </c:pt>
                <c:pt idx="61905">
                  <c:v>47.116743966635468</c:v>
                </c:pt>
                <c:pt idx="61906">
                  <c:v>26.643961774775676</c:v>
                </c:pt>
                <c:pt idx="61907">
                  <c:v>37.517814761998082</c:v>
                </c:pt>
                <c:pt idx="61908">
                  <c:v>26.454985050052436</c:v>
                </c:pt>
                <c:pt idx="61909">
                  <c:v>22.49750982686454</c:v>
                </c:pt>
                <c:pt idx="61910">
                  <c:v>26.804747948892135</c:v>
                </c:pt>
                <c:pt idx="61911">
                  <c:v>19.288867175514859</c:v>
                </c:pt>
                <c:pt idx="61912">
                  <c:v>58.490838469235996</c:v>
                </c:pt>
                <c:pt idx="61913">
                  <c:v>39.702375945579014</c:v>
                </c:pt>
                <c:pt idx="61914">
                  <c:v>20.923271576650706</c:v>
                </c:pt>
                <c:pt idx="61915">
                  <c:v>21.876130886843427</c:v>
                </c:pt>
                <c:pt idx="61916">
                  <c:v>52.519525894817086</c:v>
                </c:pt>
                <c:pt idx="61917">
                  <c:v>22.980463451098228</c:v>
                </c:pt>
                <c:pt idx="61918">
                  <c:v>27.75611367698135</c:v>
                </c:pt>
                <c:pt idx="61919">
                  <c:v>50.935231716582557</c:v>
                </c:pt>
                <c:pt idx="61920">
                  <c:v>27.187205800387481</c:v>
                </c:pt>
                <c:pt idx="61921">
                  <c:v>31.45803716163309</c:v>
                </c:pt>
                <c:pt idx="61922">
                  <c:v>25.90649415300852</c:v>
                </c:pt>
                <c:pt idx="61923">
                  <c:v>31.358996950031333</c:v>
                </c:pt>
                <c:pt idx="61924">
                  <c:v>24.628531605244376</c:v>
                </c:pt>
                <c:pt idx="61925">
                  <c:v>24.132920816300988</c:v>
                </c:pt>
                <c:pt idx="61926">
                  <c:v>28.549893369488029</c:v>
                </c:pt>
                <c:pt idx="61927">
                  <c:v>27.89300111946768</c:v>
                </c:pt>
                <c:pt idx="61928">
                  <c:v>25.544059942363226</c:v>
                </c:pt>
                <c:pt idx="61929">
                  <c:v>32.045225893904686</c:v>
                </c:pt>
                <c:pt idx="61930">
                  <c:v>31.47010401396027</c:v>
                </c:pt>
                <c:pt idx="61931">
                  <c:v>45.471653748634139</c:v>
                </c:pt>
                <c:pt idx="61932">
                  <c:v>26.275773614020853</c:v>
                </c:pt>
                <c:pt idx="61933">
                  <c:v>24.790333149399821</c:v>
                </c:pt>
                <c:pt idx="61934">
                  <c:v>24.937503019296798</c:v>
                </c:pt>
                <c:pt idx="61935">
                  <c:v>28.84807985234616</c:v>
                </c:pt>
                <c:pt idx="61936">
                  <c:v>54.811290582619208</c:v>
                </c:pt>
                <c:pt idx="61937">
                  <c:v>26.284604893588025</c:v>
                </c:pt>
                <c:pt idx="61938">
                  <c:v>30.968469915764416</c:v>
                </c:pt>
                <c:pt idx="61939">
                  <c:v>18.15924810628043</c:v>
                </c:pt>
                <c:pt idx="61940">
                  <c:v>27.319631195523378</c:v>
                </c:pt>
                <c:pt idx="61941">
                  <c:v>27.315985977301096</c:v>
                </c:pt>
                <c:pt idx="61942">
                  <c:v>34.382222539560701</c:v>
                </c:pt>
                <c:pt idx="61943">
                  <c:v>28.880456009028489</c:v>
                </c:pt>
                <c:pt idx="61944">
                  <c:v>31.207604786153528</c:v>
                </c:pt>
                <c:pt idx="61945">
                  <c:v>27.085213682947344</c:v>
                </c:pt>
                <c:pt idx="61946">
                  <c:v>18.97039905357077</c:v>
                </c:pt>
                <c:pt idx="61947">
                  <c:v>41.288230023675297</c:v>
                </c:pt>
                <c:pt idx="61948">
                  <c:v>26.761946199353623</c:v>
                </c:pt>
                <c:pt idx="61949">
                  <c:v>48.754304819532834</c:v>
                </c:pt>
                <c:pt idx="61950">
                  <c:v>32.76428896400899</c:v>
                </c:pt>
                <c:pt idx="61951">
                  <c:v>23.753462090838791</c:v>
                </c:pt>
                <c:pt idx="61952">
                  <c:v>49.979712620419356</c:v>
                </c:pt>
                <c:pt idx="61953">
                  <c:v>33.980113275274348</c:v>
                </c:pt>
                <c:pt idx="61954">
                  <c:v>25.192579407730392</c:v>
                </c:pt>
                <c:pt idx="61955">
                  <c:v>46.92528908068067</c:v>
                </c:pt>
                <c:pt idx="61956">
                  <c:v>37.999983999112956</c:v>
                </c:pt>
                <c:pt idx="61957">
                  <c:v>28.967832802220968</c:v>
                </c:pt>
                <c:pt idx="61958">
                  <c:v>28.227809958072644</c:v>
                </c:pt>
                <c:pt idx="61959">
                  <c:v>24.393716133782927</c:v>
                </c:pt>
                <c:pt idx="61960">
                  <c:v>25.501527692271132</c:v>
                </c:pt>
                <c:pt idx="61961">
                  <c:v>23.197939865733751</c:v>
                </c:pt>
                <c:pt idx="61962">
                  <c:v>22.972495567470961</c:v>
                </c:pt>
                <c:pt idx="61963">
                  <c:v>23.340749758717401</c:v>
                </c:pt>
                <c:pt idx="61964">
                  <c:v>25.771880108852965</c:v>
                </c:pt>
                <c:pt idx="61965">
                  <c:v>17.308887528918842</c:v>
                </c:pt>
                <c:pt idx="61966">
                  <c:v>32.953775706119217</c:v>
                </c:pt>
                <c:pt idx="61967">
                  <c:v>28.044747082589609</c:v>
                </c:pt>
                <c:pt idx="61968">
                  <c:v>26.22267900833182</c:v>
                </c:pt>
                <c:pt idx="61969">
                  <c:v>49.207192829458492</c:v>
                </c:pt>
                <c:pt idx="61970">
                  <c:v>43.857640009912714</c:v>
                </c:pt>
                <c:pt idx="61971">
                  <c:v>22.068968030162612</c:v>
                </c:pt>
                <c:pt idx="61972">
                  <c:v>24.386093896494678</c:v>
                </c:pt>
                <c:pt idx="61973">
                  <c:v>35.144492769535546</c:v>
                </c:pt>
                <c:pt idx="61974">
                  <c:v>25.975159386316413</c:v>
                </c:pt>
                <c:pt idx="61975">
                  <c:v>22.597393209926551</c:v>
                </c:pt>
                <c:pt idx="61976">
                  <c:v>27.945131523080278</c:v>
                </c:pt>
                <c:pt idx="61977">
                  <c:v>26.268149463348216</c:v>
                </c:pt>
                <c:pt idx="61978">
                  <c:v>44.59340178405197</c:v>
                </c:pt>
                <c:pt idx="61979">
                  <c:v>60.482055260012913</c:v>
                </c:pt>
                <c:pt idx="61980">
                  <c:v>45.919890743142531</c:v>
                </c:pt>
                <c:pt idx="61981">
                  <c:v>26.611833524791798</c:v>
                </c:pt>
                <c:pt idx="61982">
                  <c:v>23.388646107240756</c:v>
                </c:pt>
                <c:pt idx="61983">
                  <c:v>30.698982764592152</c:v>
                </c:pt>
                <c:pt idx="61984">
                  <c:v>40.979918041026338</c:v>
                </c:pt>
                <c:pt idx="61985">
                  <c:v>42.868629901199135</c:v>
                </c:pt>
                <c:pt idx="61986">
                  <c:v>34.709801411776198</c:v>
                </c:pt>
                <c:pt idx="61987">
                  <c:v>19.816035398257561</c:v>
                </c:pt>
                <c:pt idx="61988">
                  <c:v>53.931739894185498</c:v>
                </c:pt>
                <c:pt idx="61989">
                  <c:v>25.253564662086081</c:v>
                </c:pt>
                <c:pt idx="61990">
                  <c:v>22.626734157737481</c:v>
                </c:pt>
                <c:pt idx="61991">
                  <c:v>24.392591947639076</c:v>
                </c:pt>
                <c:pt idx="61992">
                  <c:v>28.853859801313121</c:v>
                </c:pt>
                <c:pt idx="61993">
                  <c:v>20.607932634093185</c:v>
                </c:pt>
                <c:pt idx="61994">
                  <c:v>33.017219532713973</c:v>
                </c:pt>
                <c:pt idx="61995">
                  <c:v>24.772567897301037</c:v>
                </c:pt>
                <c:pt idx="61996">
                  <c:v>23.019397384978461</c:v>
                </c:pt>
                <c:pt idx="61997">
                  <c:v>48.728068344661821</c:v>
                </c:pt>
                <c:pt idx="61998">
                  <c:v>26.652651045121324</c:v>
                </c:pt>
                <c:pt idx="61999">
                  <c:v>25.467606621251676</c:v>
                </c:pt>
                <c:pt idx="62000">
                  <c:v>32.231392275161348</c:v>
                </c:pt>
                <c:pt idx="62001">
                  <c:v>21.119847953266721</c:v>
                </c:pt>
                <c:pt idx="62002">
                  <c:v>32.535811041955625</c:v>
                </c:pt>
                <c:pt idx="62003">
                  <c:v>17.669071094178591</c:v>
                </c:pt>
                <c:pt idx="62004">
                  <c:v>34.852959231993765</c:v>
                </c:pt>
                <c:pt idx="62005">
                  <c:v>31.471420551136696</c:v>
                </c:pt>
                <c:pt idx="62006">
                  <c:v>47.389499305603515</c:v>
                </c:pt>
                <c:pt idx="62007">
                  <c:v>23.774145263783133</c:v>
                </c:pt>
                <c:pt idx="62008">
                  <c:v>25.910753438390444</c:v>
                </c:pt>
                <c:pt idx="62009">
                  <c:v>53.118431279372587</c:v>
                </c:pt>
                <c:pt idx="62010">
                  <c:v>44.982248469677899</c:v>
                </c:pt>
                <c:pt idx="62011">
                  <c:v>25.318347315182386</c:v>
                </c:pt>
                <c:pt idx="62012">
                  <c:v>28.561586497954856</c:v>
                </c:pt>
                <c:pt idx="62013">
                  <c:v>27.019763908145858</c:v>
                </c:pt>
                <c:pt idx="62014">
                  <c:v>23.749733080952197</c:v>
                </c:pt>
                <c:pt idx="62015">
                  <c:v>31.437423272398963</c:v>
                </c:pt>
                <c:pt idx="62016">
                  <c:v>20.626839624028015</c:v>
                </c:pt>
                <c:pt idx="62017">
                  <c:v>33.340479413364349</c:v>
                </c:pt>
                <c:pt idx="62018">
                  <c:v>20.289588165179481</c:v>
                </c:pt>
                <c:pt idx="62019">
                  <c:v>41.811104303821089</c:v>
                </c:pt>
                <c:pt idx="62020">
                  <c:v>26.997487511353604</c:v>
                </c:pt>
                <c:pt idx="62021">
                  <c:v>23.642806223186049</c:v>
                </c:pt>
                <c:pt idx="62022">
                  <c:v>23.619362884270799</c:v>
                </c:pt>
                <c:pt idx="62023">
                  <c:v>24.259255350258428</c:v>
                </c:pt>
                <c:pt idx="62024">
                  <c:v>29.83124306232299</c:v>
                </c:pt>
                <c:pt idx="62025">
                  <c:v>23.499285576222984</c:v>
                </c:pt>
                <c:pt idx="62026">
                  <c:v>21.529414661997308</c:v>
                </c:pt>
                <c:pt idx="62027">
                  <c:v>29.473287582438605</c:v>
                </c:pt>
                <c:pt idx="62028">
                  <c:v>49.156718400435658</c:v>
                </c:pt>
                <c:pt idx="62029">
                  <c:v>44.861812731531863</c:v>
                </c:pt>
                <c:pt idx="62030">
                  <c:v>25.329170696772721</c:v>
                </c:pt>
                <c:pt idx="62031">
                  <c:v>29.23665863744386</c:v>
                </c:pt>
                <c:pt idx="62032">
                  <c:v>17.084671148164126</c:v>
                </c:pt>
                <c:pt idx="62033">
                  <c:v>33.166499911133933</c:v>
                </c:pt>
                <c:pt idx="62034">
                  <c:v>48.95065219617809</c:v>
                </c:pt>
                <c:pt idx="62035">
                  <c:v>25.010163687426665</c:v>
                </c:pt>
                <c:pt idx="62036">
                  <c:v>25.864317041606782</c:v>
                </c:pt>
                <c:pt idx="62037">
                  <c:v>43.815522680964506</c:v>
                </c:pt>
                <c:pt idx="62038">
                  <c:v>24.660691289174718</c:v>
                </c:pt>
                <c:pt idx="62039">
                  <c:v>29.219230442693728</c:v>
                </c:pt>
                <c:pt idx="62040">
                  <c:v>32.643471274611784</c:v>
                </c:pt>
                <c:pt idx="62041">
                  <c:v>25.433816608867144</c:v>
                </c:pt>
                <c:pt idx="62042">
                  <c:v>22.519557524953555</c:v>
                </c:pt>
                <c:pt idx="62043">
                  <c:v>48.695604163176974</c:v>
                </c:pt>
                <c:pt idx="62044">
                  <c:v>25.343370235155632</c:v>
                </c:pt>
                <c:pt idx="62045">
                  <c:v>23.161607968927242</c:v>
                </c:pt>
                <c:pt idx="62046">
                  <c:v>38.148477994782141</c:v>
                </c:pt>
                <c:pt idx="62047">
                  <c:v>31.201824265774388</c:v>
                </c:pt>
                <c:pt idx="62048">
                  <c:v>20.582930145415165</c:v>
                </c:pt>
                <c:pt idx="62049">
                  <c:v>32.352020240824473</c:v>
                </c:pt>
                <c:pt idx="62050">
                  <c:v>22.234710238911951</c:v>
                </c:pt>
                <c:pt idx="62051">
                  <c:v>27.110697879858765</c:v>
                </c:pt>
                <c:pt idx="62052">
                  <c:v>32.415308350248587</c:v>
                </c:pt>
                <c:pt idx="62053">
                  <c:v>22.75939294470642</c:v>
                </c:pt>
                <c:pt idx="62054">
                  <c:v>39.328645789254203</c:v>
                </c:pt>
                <c:pt idx="62055">
                  <c:v>31.810522043481953</c:v>
                </c:pt>
                <c:pt idx="62056">
                  <c:v>26.068109558628088</c:v>
                </c:pt>
                <c:pt idx="62057">
                  <c:v>19.8127537231546</c:v>
                </c:pt>
                <c:pt idx="62058">
                  <c:v>39.323648711982941</c:v>
                </c:pt>
                <c:pt idx="62059">
                  <c:v>29.891083233584116</c:v>
                </c:pt>
                <c:pt idx="62060">
                  <c:v>30.40373119178626</c:v>
                </c:pt>
                <c:pt idx="62061">
                  <c:v>61.831100218853194</c:v>
                </c:pt>
                <c:pt idx="62062">
                  <c:v>20.506688420201499</c:v>
                </c:pt>
                <c:pt idx="62063">
                  <c:v>58.254911959819289</c:v>
                </c:pt>
                <c:pt idx="62064">
                  <c:v>32.801328899066199</c:v>
                </c:pt>
                <c:pt idx="62065">
                  <c:v>50.026886077403141</c:v>
                </c:pt>
                <c:pt idx="62066">
                  <c:v>30.685951268192809</c:v>
                </c:pt>
                <c:pt idx="62067">
                  <c:v>21.801272871083274</c:v>
                </c:pt>
                <c:pt idx="62068">
                  <c:v>26.667354670925882</c:v>
                </c:pt>
                <c:pt idx="62069">
                  <c:v>30.278286842610733</c:v>
                </c:pt>
                <c:pt idx="62070">
                  <c:v>24.357947289141087</c:v>
                </c:pt>
                <c:pt idx="62071">
                  <c:v>27.577529725263783</c:v>
                </c:pt>
                <c:pt idx="62072">
                  <c:v>31.692479256827905</c:v>
                </c:pt>
                <c:pt idx="62073">
                  <c:v>27.733430215420739</c:v>
                </c:pt>
                <c:pt idx="62074">
                  <c:v>26.885377921837708</c:v>
                </c:pt>
                <c:pt idx="62075">
                  <c:v>22.167703877613377</c:v>
                </c:pt>
                <c:pt idx="62076">
                  <c:v>30.753622550028375</c:v>
                </c:pt>
                <c:pt idx="62077">
                  <c:v>29.214690174680342</c:v>
                </c:pt>
                <c:pt idx="62078">
                  <c:v>32.187980400305158</c:v>
                </c:pt>
                <c:pt idx="62079">
                  <c:v>29.806367888981828</c:v>
                </c:pt>
                <c:pt idx="62080">
                  <c:v>25.41628040400537</c:v>
                </c:pt>
                <c:pt idx="62081">
                  <c:v>25.460521730699682</c:v>
                </c:pt>
                <c:pt idx="62082">
                  <c:v>25.233027667625244</c:v>
                </c:pt>
                <c:pt idx="62083">
                  <c:v>27.357235099312451</c:v>
                </c:pt>
                <c:pt idx="62084">
                  <c:v>29.741509202351036</c:v>
                </c:pt>
                <c:pt idx="62085">
                  <c:v>49.917636375552718</c:v>
                </c:pt>
                <c:pt idx="62086">
                  <c:v>25.911863310920854</c:v>
                </c:pt>
                <c:pt idx="62087">
                  <c:v>30.018049920189263</c:v>
                </c:pt>
                <c:pt idx="62088">
                  <c:v>43.596810319067124</c:v>
                </c:pt>
                <c:pt idx="62089">
                  <c:v>27.440356239688839</c:v>
                </c:pt>
                <c:pt idx="62090">
                  <c:v>54.725065729758803</c:v>
                </c:pt>
                <c:pt idx="62091">
                  <c:v>43.211809858202088</c:v>
                </c:pt>
                <c:pt idx="62092">
                  <c:v>19.320474501733887</c:v>
                </c:pt>
                <c:pt idx="62093">
                  <c:v>25.159358822225848</c:v>
                </c:pt>
                <c:pt idx="62094">
                  <c:v>29.495982594473432</c:v>
                </c:pt>
                <c:pt idx="62095">
                  <c:v>68.572122025883559</c:v>
                </c:pt>
                <c:pt idx="62096">
                  <c:v>39.903301095622098</c:v>
                </c:pt>
                <c:pt idx="62097">
                  <c:v>35.932412351706915</c:v>
                </c:pt>
                <c:pt idx="62098">
                  <c:v>19.026556450314484</c:v>
                </c:pt>
                <c:pt idx="62099">
                  <c:v>29.605135756194247</c:v>
                </c:pt>
                <c:pt idx="62100">
                  <c:v>56.877068751528924</c:v>
                </c:pt>
                <c:pt idx="62101">
                  <c:v>30.377983796428527</c:v>
                </c:pt>
                <c:pt idx="62102">
                  <c:v>30.237718498199747</c:v>
                </c:pt>
                <c:pt idx="62103">
                  <c:v>25.092767768714218</c:v>
                </c:pt>
                <c:pt idx="62104">
                  <c:v>27.69530885111762</c:v>
                </c:pt>
                <c:pt idx="62105">
                  <c:v>44.919704833261882</c:v>
                </c:pt>
                <c:pt idx="62106">
                  <c:v>28.063094598158933</c:v>
                </c:pt>
                <c:pt idx="62107">
                  <c:v>25.425816356714527</c:v>
                </c:pt>
                <c:pt idx="62108">
                  <c:v>25.86507886584392</c:v>
                </c:pt>
                <c:pt idx="62109">
                  <c:v>31.884525119497241</c:v>
                </c:pt>
                <c:pt idx="62110">
                  <c:v>44.641409998898453</c:v>
                </c:pt>
                <c:pt idx="62111">
                  <c:v>47.089493264945887</c:v>
                </c:pt>
                <c:pt idx="62112">
                  <c:v>40.757289956878857</c:v>
                </c:pt>
                <c:pt idx="62113">
                  <c:v>29.748266142084347</c:v>
                </c:pt>
                <c:pt idx="62114">
                  <c:v>31.128527427920815</c:v>
                </c:pt>
                <c:pt idx="62115">
                  <c:v>30.657341746224937</c:v>
                </c:pt>
                <c:pt idx="62116">
                  <c:v>28.720899782244842</c:v>
                </c:pt>
                <c:pt idx="62117">
                  <c:v>25.025503734093594</c:v>
                </c:pt>
                <c:pt idx="62118">
                  <c:v>22.168916949404306</c:v>
                </c:pt>
                <c:pt idx="62119">
                  <c:v>25.326019238537476</c:v>
                </c:pt>
                <c:pt idx="62120">
                  <c:v>26.525254968241526</c:v>
                </c:pt>
                <c:pt idx="62121">
                  <c:v>31.374880617234062</c:v>
                </c:pt>
                <c:pt idx="62122">
                  <c:v>35.161230154399789</c:v>
                </c:pt>
                <c:pt idx="62123">
                  <c:v>50.368479265244716</c:v>
                </c:pt>
                <c:pt idx="62124">
                  <c:v>23.11284929740307</c:v>
                </c:pt>
                <c:pt idx="62125">
                  <c:v>51.313182450740776</c:v>
                </c:pt>
                <c:pt idx="62126">
                  <c:v>22.449822638158288</c:v>
                </c:pt>
                <c:pt idx="62127">
                  <c:v>25.494943116142657</c:v>
                </c:pt>
                <c:pt idx="62128">
                  <c:v>24.522871692108772</c:v>
                </c:pt>
                <c:pt idx="62129">
                  <c:v>33.594600047714749</c:v>
                </c:pt>
                <c:pt idx="62130">
                  <c:v>26.731526336548008</c:v>
                </c:pt>
                <c:pt idx="62131">
                  <c:v>55.430873695549266</c:v>
                </c:pt>
                <c:pt idx="62132">
                  <c:v>44.435843590807337</c:v>
                </c:pt>
                <c:pt idx="62133">
                  <c:v>24.24281360502885</c:v>
                </c:pt>
                <c:pt idx="62134">
                  <c:v>24.075396855601589</c:v>
                </c:pt>
                <c:pt idx="62135">
                  <c:v>51.677062959621409</c:v>
                </c:pt>
                <c:pt idx="62136">
                  <c:v>27.679803668234008</c:v>
                </c:pt>
                <c:pt idx="62137">
                  <c:v>24.608211536090124</c:v>
                </c:pt>
                <c:pt idx="62138">
                  <c:v>31.309137196092799</c:v>
                </c:pt>
                <c:pt idx="62139">
                  <c:v>39.727678459119709</c:v>
                </c:pt>
                <c:pt idx="62140">
                  <c:v>37.121252558509802</c:v>
                </c:pt>
                <c:pt idx="62141">
                  <c:v>25.165585429456421</c:v>
                </c:pt>
                <c:pt idx="62142">
                  <c:v>23.561337289481411</c:v>
                </c:pt>
                <c:pt idx="62143">
                  <c:v>28.753426753739973</c:v>
                </c:pt>
                <c:pt idx="62144">
                  <c:v>24.778062587786124</c:v>
                </c:pt>
                <c:pt idx="62145">
                  <c:v>27.230545688368007</c:v>
                </c:pt>
                <c:pt idx="62146">
                  <c:v>28.243744050360583</c:v>
                </c:pt>
                <c:pt idx="62147">
                  <c:v>31.096040695971226</c:v>
                </c:pt>
                <c:pt idx="62148">
                  <c:v>23.107462584577771</c:v>
                </c:pt>
                <c:pt idx="62149">
                  <c:v>26.965677832609423</c:v>
                </c:pt>
                <c:pt idx="62150">
                  <c:v>31.504024019101866</c:v>
                </c:pt>
                <c:pt idx="62151">
                  <c:v>45.096806061805736</c:v>
                </c:pt>
                <c:pt idx="62152">
                  <c:v>32.402328611561273</c:v>
                </c:pt>
                <c:pt idx="62153">
                  <c:v>29.525662669995196</c:v>
                </c:pt>
                <c:pt idx="62154">
                  <c:v>22.325907654152243</c:v>
                </c:pt>
                <c:pt idx="62155">
                  <c:v>46.92200260341135</c:v>
                </c:pt>
                <c:pt idx="62156">
                  <c:v>39.788195398240347</c:v>
                </c:pt>
                <c:pt idx="62157">
                  <c:v>31.626243501954953</c:v>
                </c:pt>
                <c:pt idx="62158">
                  <c:v>43.037389990396413</c:v>
                </c:pt>
                <c:pt idx="62159">
                  <c:v>33.080028217985586</c:v>
                </c:pt>
                <c:pt idx="62160">
                  <c:v>29.681497996962101</c:v>
                </c:pt>
                <c:pt idx="62161">
                  <c:v>28.07094094919249</c:v>
                </c:pt>
                <c:pt idx="62162">
                  <c:v>16.749061303573761</c:v>
                </c:pt>
                <c:pt idx="62163">
                  <c:v>42.835429534500953</c:v>
                </c:pt>
                <c:pt idx="62164">
                  <c:v>24.046434232320777</c:v>
                </c:pt>
                <c:pt idx="62165">
                  <c:v>35.651261521681668</c:v>
                </c:pt>
                <c:pt idx="62166">
                  <c:v>23.609811546893187</c:v>
                </c:pt>
                <c:pt idx="62167">
                  <c:v>29.997734206974961</c:v>
                </c:pt>
                <c:pt idx="62168">
                  <c:v>30.164772090650921</c:v>
                </c:pt>
                <c:pt idx="62169">
                  <c:v>24.941204382471437</c:v>
                </c:pt>
                <c:pt idx="62170">
                  <c:v>36.828443317118271</c:v>
                </c:pt>
                <c:pt idx="62171">
                  <c:v>37.119666040307223</c:v>
                </c:pt>
                <c:pt idx="62172">
                  <c:v>29.657930074410018</c:v>
                </c:pt>
                <c:pt idx="62173">
                  <c:v>33.3102505345556</c:v>
                </c:pt>
                <c:pt idx="62174">
                  <c:v>22.838999621246039</c:v>
                </c:pt>
                <c:pt idx="62175">
                  <c:v>43.315956980579983</c:v>
                </c:pt>
                <c:pt idx="62176">
                  <c:v>31.782466796711876</c:v>
                </c:pt>
                <c:pt idx="62177">
                  <c:v>21.674033554130148</c:v>
                </c:pt>
                <c:pt idx="62178">
                  <c:v>46.609876974018896</c:v>
                </c:pt>
                <c:pt idx="62179">
                  <c:v>30.533433439063188</c:v>
                </c:pt>
                <c:pt idx="62180">
                  <c:v>31.096459172039275</c:v>
                </c:pt>
                <c:pt idx="62181">
                  <c:v>23.550891397262927</c:v>
                </c:pt>
                <c:pt idx="62182">
                  <c:v>20.97568352643086</c:v>
                </c:pt>
                <c:pt idx="62183">
                  <c:v>25.22227346382714</c:v>
                </c:pt>
                <c:pt idx="62184">
                  <c:v>39.888261067168202</c:v>
                </c:pt>
                <c:pt idx="62185">
                  <c:v>50.309752488173686</c:v>
                </c:pt>
                <c:pt idx="62186">
                  <c:v>50.869002719935509</c:v>
                </c:pt>
                <c:pt idx="62187">
                  <c:v>19.981429319019121</c:v>
                </c:pt>
                <c:pt idx="62188">
                  <c:v>21.882539518022647</c:v>
                </c:pt>
                <c:pt idx="62189">
                  <c:v>26.779885998605042</c:v>
                </c:pt>
                <c:pt idx="62190">
                  <c:v>34.993790657987581</c:v>
                </c:pt>
                <c:pt idx="62191">
                  <c:v>32.618012457711451</c:v>
                </c:pt>
                <c:pt idx="62192">
                  <c:v>41.839621407467803</c:v>
                </c:pt>
                <c:pt idx="62193">
                  <c:v>50.308716540350524</c:v>
                </c:pt>
                <c:pt idx="62194">
                  <c:v>24.322378487759487</c:v>
                </c:pt>
                <c:pt idx="62195">
                  <c:v>22.550063796377628</c:v>
                </c:pt>
                <c:pt idx="62196">
                  <c:v>28.477481127444999</c:v>
                </c:pt>
                <c:pt idx="62197">
                  <c:v>26.847468802197799</c:v>
                </c:pt>
                <c:pt idx="62198">
                  <c:v>47.147588676756776</c:v>
                </c:pt>
                <c:pt idx="62199">
                  <c:v>15.899851669342867</c:v>
                </c:pt>
                <c:pt idx="62200">
                  <c:v>25.137074852389397</c:v>
                </c:pt>
                <c:pt idx="62201">
                  <c:v>26.18032124686659</c:v>
                </c:pt>
                <c:pt idx="62202">
                  <c:v>28.208866735855672</c:v>
                </c:pt>
                <c:pt idx="62203">
                  <c:v>27.248066181444788</c:v>
                </c:pt>
                <c:pt idx="62204">
                  <c:v>40.770976255182568</c:v>
                </c:pt>
                <c:pt idx="62205">
                  <c:v>21.824892182766789</c:v>
                </c:pt>
                <c:pt idx="62206">
                  <c:v>24.423401306190268</c:v>
                </c:pt>
                <c:pt idx="62207">
                  <c:v>48.104982256700012</c:v>
                </c:pt>
                <c:pt idx="62208">
                  <c:v>29.800681112194322</c:v>
                </c:pt>
                <c:pt idx="62209">
                  <c:v>31.237312812856132</c:v>
                </c:pt>
                <c:pt idx="62210">
                  <c:v>25.47845270276061</c:v>
                </c:pt>
                <c:pt idx="62211">
                  <c:v>28.231783956001731</c:v>
                </c:pt>
                <c:pt idx="62212">
                  <c:v>20.659851606035346</c:v>
                </c:pt>
                <c:pt idx="62213">
                  <c:v>26.379090459027719</c:v>
                </c:pt>
                <c:pt idx="62214">
                  <c:v>23.32614627356287</c:v>
                </c:pt>
                <c:pt idx="62215">
                  <c:v>24.100920252786757</c:v>
                </c:pt>
                <c:pt idx="62216">
                  <c:v>22.351652793289286</c:v>
                </c:pt>
                <c:pt idx="62217">
                  <c:v>57.078837534460703</c:v>
                </c:pt>
                <c:pt idx="62218">
                  <c:v>38.624584899622455</c:v>
                </c:pt>
                <c:pt idx="62219">
                  <c:v>21.983581742040602</c:v>
                </c:pt>
                <c:pt idx="62220">
                  <c:v>34.577393892250022</c:v>
                </c:pt>
                <c:pt idx="62221">
                  <c:v>35.740192745223439</c:v>
                </c:pt>
                <c:pt idx="62222">
                  <c:v>17.165993898041247</c:v>
                </c:pt>
                <c:pt idx="62223">
                  <c:v>36.355731211054639</c:v>
                </c:pt>
                <c:pt idx="62224">
                  <c:v>44.769098629643395</c:v>
                </c:pt>
                <c:pt idx="62225">
                  <c:v>42.661669247950236</c:v>
                </c:pt>
                <c:pt idx="62226">
                  <c:v>25.474290047865647</c:v>
                </c:pt>
                <c:pt idx="62227">
                  <c:v>29.305659898537716</c:v>
                </c:pt>
                <c:pt idx="62228">
                  <c:v>21.023407620664045</c:v>
                </c:pt>
                <c:pt idx="62229">
                  <c:v>24.391715257427233</c:v>
                </c:pt>
                <c:pt idx="62230">
                  <c:v>36.942900098127012</c:v>
                </c:pt>
                <c:pt idx="62231">
                  <c:v>29.602833525895534</c:v>
                </c:pt>
                <c:pt idx="62232">
                  <c:v>27.02156258419706</c:v>
                </c:pt>
                <c:pt idx="62233">
                  <c:v>34.276682152785398</c:v>
                </c:pt>
                <c:pt idx="62234">
                  <c:v>44.497705779113247</c:v>
                </c:pt>
                <c:pt idx="62235">
                  <c:v>25.93008200104585</c:v>
                </c:pt>
                <c:pt idx="62236">
                  <c:v>26.582164940013136</c:v>
                </c:pt>
                <c:pt idx="62237">
                  <c:v>15.280835900264833</c:v>
                </c:pt>
                <c:pt idx="62238">
                  <c:v>22.558787809221393</c:v>
                </c:pt>
                <c:pt idx="62239">
                  <c:v>41.859783292031935</c:v>
                </c:pt>
                <c:pt idx="62240">
                  <c:v>37.712066135400072</c:v>
                </c:pt>
                <c:pt idx="62241">
                  <c:v>28.147251979717161</c:v>
                </c:pt>
                <c:pt idx="62242">
                  <c:v>31.844037694329153</c:v>
                </c:pt>
                <c:pt idx="62243">
                  <c:v>28.774771526769996</c:v>
                </c:pt>
                <c:pt idx="62244">
                  <c:v>20.426879112316577</c:v>
                </c:pt>
                <c:pt idx="62245">
                  <c:v>26.742975860873191</c:v>
                </c:pt>
                <c:pt idx="62246">
                  <c:v>25.012761630748237</c:v>
                </c:pt>
                <c:pt idx="62247">
                  <c:v>29.57015090325563</c:v>
                </c:pt>
                <c:pt idx="62248">
                  <c:v>27.177084619378618</c:v>
                </c:pt>
                <c:pt idx="62249">
                  <c:v>31.320740851896716</c:v>
                </c:pt>
                <c:pt idx="62250">
                  <c:v>46.593812278103947</c:v>
                </c:pt>
                <c:pt idx="62251">
                  <c:v>29.111897551711301</c:v>
                </c:pt>
                <c:pt idx="62252">
                  <c:v>37.374226475551865</c:v>
                </c:pt>
                <c:pt idx="62253">
                  <c:v>28.368791571908833</c:v>
                </c:pt>
                <c:pt idx="62254">
                  <c:v>22.678268566213092</c:v>
                </c:pt>
                <c:pt idx="62255">
                  <c:v>32.42919585730624</c:v>
                </c:pt>
                <c:pt idx="62256">
                  <c:v>18.249596173804754</c:v>
                </c:pt>
                <c:pt idx="62257">
                  <c:v>24.526580572465676</c:v>
                </c:pt>
                <c:pt idx="62258">
                  <c:v>28.95342417646102</c:v>
                </c:pt>
                <c:pt idx="62259">
                  <c:v>23.587890011429117</c:v>
                </c:pt>
                <c:pt idx="62260">
                  <c:v>46.050232030894094</c:v>
                </c:pt>
                <c:pt idx="62261">
                  <c:v>23.941660443775238</c:v>
                </c:pt>
                <c:pt idx="62262">
                  <c:v>23.947947983367328</c:v>
                </c:pt>
                <c:pt idx="62263">
                  <c:v>37.970474011714018</c:v>
                </c:pt>
                <c:pt idx="62264">
                  <c:v>22.200595088994234</c:v>
                </c:pt>
                <c:pt idx="62265">
                  <c:v>30.838217323837615</c:v>
                </c:pt>
                <c:pt idx="62266">
                  <c:v>39.153836468186469</c:v>
                </c:pt>
                <c:pt idx="62267">
                  <c:v>24.885942906731685</c:v>
                </c:pt>
                <c:pt idx="62268">
                  <c:v>26.602094541413997</c:v>
                </c:pt>
                <c:pt idx="62269">
                  <c:v>30.076002182687603</c:v>
                </c:pt>
                <c:pt idx="62270">
                  <c:v>27.605208628855873</c:v>
                </c:pt>
                <c:pt idx="62271">
                  <c:v>21.126942917338056</c:v>
                </c:pt>
                <c:pt idx="62272">
                  <c:v>25.580589095146991</c:v>
                </c:pt>
                <c:pt idx="62273">
                  <c:v>24.578679089039348</c:v>
                </c:pt>
                <c:pt idx="62274">
                  <c:v>30.885102623595312</c:v>
                </c:pt>
                <c:pt idx="62275">
                  <c:v>22.104363328344665</c:v>
                </c:pt>
                <c:pt idx="62276">
                  <c:v>32.936450612559014</c:v>
                </c:pt>
                <c:pt idx="62277">
                  <c:v>18.909389983957738</c:v>
                </c:pt>
                <c:pt idx="62278">
                  <c:v>25.819845311922531</c:v>
                </c:pt>
                <c:pt idx="62279">
                  <c:v>30.131038072769691</c:v>
                </c:pt>
                <c:pt idx="62280">
                  <c:v>27.151408847108414</c:v>
                </c:pt>
                <c:pt idx="62281">
                  <c:v>23.290042723211418</c:v>
                </c:pt>
                <c:pt idx="62282">
                  <c:v>38.043612575356839</c:v>
                </c:pt>
                <c:pt idx="62283">
                  <c:v>47.749537475913229</c:v>
                </c:pt>
                <c:pt idx="62284">
                  <c:v>32.930423827607925</c:v>
                </c:pt>
                <c:pt idx="62285">
                  <c:v>31.987777411469136</c:v>
                </c:pt>
                <c:pt idx="62286">
                  <c:v>38.400755438642157</c:v>
                </c:pt>
                <c:pt idx="62287">
                  <c:v>17.657041591281029</c:v>
                </c:pt>
                <c:pt idx="62288">
                  <c:v>50.731336776054057</c:v>
                </c:pt>
                <c:pt idx="62289">
                  <c:v>17.416192585854787</c:v>
                </c:pt>
                <c:pt idx="62290">
                  <c:v>24.173043921539477</c:v>
                </c:pt>
                <c:pt idx="62291">
                  <c:v>39.426330642932143</c:v>
                </c:pt>
                <c:pt idx="62292">
                  <c:v>36.142051115545961</c:v>
                </c:pt>
                <c:pt idx="62293">
                  <c:v>30.178890861011165</c:v>
                </c:pt>
                <c:pt idx="62294">
                  <c:v>53.787348631551517</c:v>
                </c:pt>
                <c:pt idx="62295">
                  <c:v>48.838940658591305</c:v>
                </c:pt>
                <c:pt idx="62296">
                  <c:v>22.658355138872281</c:v>
                </c:pt>
                <c:pt idx="62297">
                  <c:v>31.871030552978581</c:v>
                </c:pt>
                <c:pt idx="62298">
                  <c:v>35.905580402811083</c:v>
                </c:pt>
                <c:pt idx="62299">
                  <c:v>45.412334695423375</c:v>
                </c:pt>
                <c:pt idx="62300">
                  <c:v>24.111826657064839</c:v>
                </c:pt>
                <c:pt idx="62301">
                  <c:v>34.211479183843267</c:v>
                </c:pt>
                <c:pt idx="62302">
                  <c:v>33.587293519343511</c:v>
                </c:pt>
                <c:pt idx="62303">
                  <c:v>29.303163079124861</c:v>
                </c:pt>
                <c:pt idx="62304">
                  <c:v>20.229850806891683</c:v>
                </c:pt>
                <c:pt idx="62305">
                  <c:v>28.890032253697342</c:v>
                </c:pt>
                <c:pt idx="62306">
                  <c:v>22.630323625487428</c:v>
                </c:pt>
                <c:pt idx="62307">
                  <c:v>25.373587283546826</c:v>
                </c:pt>
                <c:pt idx="62308">
                  <c:v>34.086948128758713</c:v>
                </c:pt>
                <c:pt idx="62309">
                  <c:v>23.58050857222004</c:v>
                </c:pt>
                <c:pt idx="62310">
                  <c:v>46.834197259904585</c:v>
                </c:pt>
                <c:pt idx="62311">
                  <c:v>26.112453538994338</c:v>
                </c:pt>
                <c:pt idx="62312">
                  <c:v>41.99779654599314</c:v>
                </c:pt>
                <c:pt idx="62313">
                  <c:v>30.102590489192053</c:v>
                </c:pt>
                <c:pt idx="62314">
                  <c:v>19.602788000012847</c:v>
                </c:pt>
                <c:pt idx="62315">
                  <c:v>24.976257059059527</c:v>
                </c:pt>
                <c:pt idx="62316">
                  <c:v>34.23233515750686</c:v>
                </c:pt>
                <c:pt idx="62317">
                  <c:v>33.087821064905889</c:v>
                </c:pt>
                <c:pt idx="62318">
                  <c:v>29.31298087908695</c:v>
                </c:pt>
                <c:pt idx="62319">
                  <c:v>45.104158607745418</c:v>
                </c:pt>
                <c:pt idx="62320">
                  <c:v>25.455131005813044</c:v>
                </c:pt>
                <c:pt idx="62321">
                  <c:v>22.170386315238822</c:v>
                </c:pt>
                <c:pt idx="62322">
                  <c:v>27.451124150631479</c:v>
                </c:pt>
                <c:pt idx="62323">
                  <c:v>30.212010230054688</c:v>
                </c:pt>
                <c:pt idx="62324">
                  <c:v>32.971872136305088</c:v>
                </c:pt>
                <c:pt idx="62325">
                  <c:v>48.500976370238092</c:v>
                </c:pt>
                <c:pt idx="62326">
                  <c:v>25.818667342313393</c:v>
                </c:pt>
                <c:pt idx="62327">
                  <c:v>24.385489893026623</c:v>
                </c:pt>
                <c:pt idx="62328">
                  <c:v>24.690815767218311</c:v>
                </c:pt>
                <c:pt idx="62329">
                  <c:v>28.528671579781875</c:v>
                </c:pt>
                <c:pt idx="62330">
                  <c:v>29.117409752968669</c:v>
                </c:pt>
                <c:pt idx="62331">
                  <c:v>42.925552248866616</c:v>
                </c:pt>
                <c:pt idx="62332">
                  <c:v>31.820937845412278</c:v>
                </c:pt>
                <c:pt idx="62333">
                  <c:v>47.442628371765593</c:v>
                </c:pt>
                <c:pt idx="62334">
                  <c:v>39.87038541589996</c:v>
                </c:pt>
                <c:pt idx="62335">
                  <c:v>35.940429007592293</c:v>
                </c:pt>
                <c:pt idx="62336">
                  <c:v>20.13684446905124</c:v>
                </c:pt>
                <c:pt idx="62337">
                  <c:v>19.951979717416577</c:v>
                </c:pt>
                <c:pt idx="62338">
                  <c:v>19.248928595836656</c:v>
                </c:pt>
                <c:pt idx="62339">
                  <c:v>43.524390646646239</c:v>
                </c:pt>
                <c:pt idx="62340">
                  <c:v>28.101446016143221</c:v>
                </c:pt>
                <c:pt idx="62341">
                  <c:v>26.238099999964316</c:v>
                </c:pt>
                <c:pt idx="62342">
                  <c:v>31.21074097317959</c:v>
                </c:pt>
                <c:pt idx="62343">
                  <c:v>26.246385997286826</c:v>
                </c:pt>
                <c:pt idx="62344">
                  <c:v>33.513437862745704</c:v>
                </c:pt>
                <c:pt idx="62345">
                  <c:v>29.386761162226104</c:v>
                </c:pt>
                <c:pt idx="62346">
                  <c:v>31.260034207988152</c:v>
                </c:pt>
                <c:pt idx="62347">
                  <c:v>56.484031829262918</c:v>
                </c:pt>
                <c:pt idx="62348">
                  <c:v>26.747078882019611</c:v>
                </c:pt>
                <c:pt idx="62349">
                  <c:v>24.283967258593211</c:v>
                </c:pt>
                <c:pt idx="62350">
                  <c:v>37.143976129295794</c:v>
                </c:pt>
                <c:pt idx="62351">
                  <c:v>25.405708835999693</c:v>
                </c:pt>
                <c:pt idx="62352">
                  <c:v>41.970817328740864</c:v>
                </c:pt>
                <c:pt idx="62353">
                  <c:v>31.555652051236407</c:v>
                </c:pt>
                <c:pt idx="62354">
                  <c:v>49.336827045741167</c:v>
                </c:pt>
                <c:pt idx="62355">
                  <c:v>30.106499204423425</c:v>
                </c:pt>
                <c:pt idx="62356">
                  <c:v>28.843558838294761</c:v>
                </c:pt>
                <c:pt idx="62357">
                  <c:v>48.393279576488446</c:v>
                </c:pt>
                <c:pt idx="62358">
                  <c:v>26.444218439389278</c:v>
                </c:pt>
                <c:pt idx="62359">
                  <c:v>39.526759495477137</c:v>
                </c:pt>
                <c:pt idx="62360">
                  <c:v>37.257980622417698</c:v>
                </c:pt>
                <c:pt idx="62361">
                  <c:v>29.835151302147089</c:v>
                </c:pt>
                <c:pt idx="62362">
                  <c:v>43.767028656917105</c:v>
                </c:pt>
                <c:pt idx="62363">
                  <c:v>26.013182801502186</c:v>
                </c:pt>
                <c:pt idx="62364">
                  <c:v>46.418620336960196</c:v>
                </c:pt>
                <c:pt idx="62365">
                  <c:v>25.533780934138154</c:v>
                </c:pt>
                <c:pt idx="62366">
                  <c:v>64.337749303781663</c:v>
                </c:pt>
                <c:pt idx="62367">
                  <c:v>31.096738477322528</c:v>
                </c:pt>
                <c:pt idx="62368">
                  <c:v>23.18087182373354</c:v>
                </c:pt>
                <c:pt idx="62369">
                  <c:v>54.63184448315463</c:v>
                </c:pt>
                <c:pt idx="62370">
                  <c:v>22.628890790451965</c:v>
                </c:pt>
                <c:pt idx="62371">
                  <c:v>51.271885146652536</c:v>
                </c:pt>
                <c:pt idx="62372">
                  <c:v>47.556751158839603</c:v>
                </c:pt>
                <c:pt idx="62373">
                  <c:v>29.858423294763114</c:v>
                </c:pt>
                <c:pt idx="62374">
                  <c:v>27.434400850630563</c:v>
                </c:pt>
                <c:pt idx="62375">
                  <c:v>25.424349210838336</c:v>
                </c:pt>
                <c:pt idx="62376">
                  <c:v>22.564180049411164</c:v>
                </c:pt>
                <c:pt idx="62377">
                  <c:v>27.352792733289391</c:v>
                </c:pt>
                <c:pt idx="62378">
                  <c:v>32.786704589581802</c:v>
                </c:pt>
                <c:pt idx="62379">
                  <c:v>28.894437299776087</c:v>
                </c:pt>
                <c:pt idx="62380">
                  <c:v>36.323285168293978</c:v>
                </c:pt>
                <c:pt idx="62381">
                  <c:v>28.408619917916539</c:v>
                </c:pt>
                <c:pt idx="62382">
                  <c:v>23.543217318466869</c:v>
                </c:pt>
                <c:pt idx="62383">
                  <c:v>23.578878905581384</c:v>
                </c:pt>
                <c:pt idx="62384">
                  <c:v>51.607309479930088</c:v>
                </c:pt>
                <c:pt idx="62385">
                  <c:v>24.525704403742736</c:v>
                </c:pt>
                <c:pt idx="62386">
                  <c:v>24.011509600574261</c:v>
                </c:pt>
                <c:pt idx="62387">
                  <c:v>48.916695350446048</c:v>
                </c:pt>
                <c:pt idx="62388">
                  <c:v>26.908643732026274</c:v>
                </c:pt>
                <c:pt idx="62389">
                  <c:v>41.865014268960543</c:v>
                </c:pt>
                <c:pt idx="62390">
                  <c:v>26.638785445081343</c:v>
                </c:pt>
                <c:pt idx="62391">
                  <c:v>39.36082298906534</c:v>
                </c:pt>
                <c:pt idx="62392">
                  <c:v>21.371152744963567</c:v>
                </c:pt>
                <c:pt idx="62393">
                  <c:v>27.879829729981449</c:v>
                </c:pt>
                <c:pt idx="62394">
                  <c:v>27.474003634402337</c:v>
                </c:pt>
                <c:pt idx="62395">
                  <c:v>34.717132955771625</c:v>
                </c:pt>
                <c:pt idx="62396">
                  <c:v>23.792067141431605</c:v>
                </c:pt>
                <c:pt idx="62397">
                  <c:v>37.173257818274791</c:v>
                </c:pt>
                <c:pt idx="62398">
                  <c:v>48.194176770309895</c:v>
                </c:pt>
                <c:pt idx="62399">
                  <c:v>24.691370628395038</c:v>
                </c:pt>
                <c:pt idx="62400">
                  <c:v>28.988080208035583</c:v>
                </c:pt>
                <c:pt idx="62401">
                  <c:v>51.224535795575676</c:v>
                </c:pt>
                <c:pt idx="62402">
                  <c:v>26.41451930277973</c:v>
                </c:pt>
                <c:pt idx="62403">
                  <c:v>36.806284772016731</c:v>
                </c:pt>
                <c:pt idx="62404">
                  <c:v>24.971353053550853</c:v>
                </c:pt>
                <c:pt idx="62405">
                  <c:v>31.951939134176616</c:v>
                </c:pt>
                <c:pt idx="62406">
                  <c:v>48.772169173465592</c:v>
                </c:pt>
                <c:pt idx="62407">
                  <c:v>36.021842306729937</c:v>
                </c:pt>
                <c:pt idx="62408">
                  <c:v>25.980266368700839</c:v>
                </c:pt>
                <c:pt idx="62409">
                  <c:v>32.260081033888575</c:v>
                </c:pt>
                <c:pt idx="62410">
                  <c:v>20.810811334332449</c:v>
                </c:pt>
                <c:pt idx="62411">
                  <c:v>52.844770351378827</c:v>
                </c:pt>
                <c:pt idx="62412">
                  <c:v>44.459611206336277</c:v>
                </c:pt>
                <c:pt idx="62413">
                  <c:v>40.265327832187602</c:v>
                </c:pt>
                <c:pt idx="62414">
                  <c:v>45.485846528118735</c:v>
                </c:pt>
                <c:pt idx="62415">
                  <c:v>22.00652096127023</c:v>
                </c:pt>
                <c:pt idx="62416">
                  <c:v>25.988262388325801</c:v>
                </c:pt>
                <c:pt idx="62417">
                  <c:v>33.00055830774766</c:v>
                </c:pt>
                <c:pt idx="62418">
                  <c:v>21.086923042910293</c:v>
                </c:pt>
                <c:pt idx="62419">
                  <c:v>34.013937423904942</c:v>
                </c:pt>
                <c:pt idx="62420">
                  <c:v>52.745906231778719</c:v>
                </c:pt>
                <c:pt idx="62421">
                  <c:v>25.38590284982169</c:v>
                </c:pt>
                <c:pt idx="62422">
                  <c:v>25.343375933716004</c:v>
                </c:pt>
                <c:pt idx="62423">
                  <c:v>22.209907183326081</c:v>
                </c:pt>
                <c:pt idx="62424">
                  <c:v>36.126126700068475</c:v>
                </c:pt>
                <c:pt idx="62425">
                  <c:v>28.478430619543548</c:v>
                </c:pt>
                <c:pt idx="62426">
                  <c:v>44.915587664793172</c:v>
                </c:pt>
                <c:pt idx="62427">
                  <c:v>38.916895799449023</c:v>
                </c:pt>
                <c:pt idx="62428">
                  <c:v>21.908134793185432</c:v>
                </c:pt>
                <c:pt idx="62429">
                  <c:v>20.599106539053896</c:v>
                </c:pt>
                <c:pt idx="62430">
                  <c:v>27.360124479244202</c:v>
                </c:pt>
                <c:pt idx="62431">
                  <c:v>28.046407333623964</c:v>
                </c:pt>
                <c:pt idx="62432">
                  <c:v>23.948812945234497</c:v>
                </c:pt>
                <c:pt idx="62433">
                  <c:v>71.229811747550272</c:v>
                </c:pt>
                <c:pt idx="62434">
                  <c:v>31.426516730530317</c:v>
                </c:pt>
                <c:pt idx="62435">
                  <c:v>28.550784626539304</c:v>
                </c:pt>
                <c:pt idx="62436">
                  <c:v>26.797622865953851</c:v>
                </c:pt>
                <c:pt idx="62437">
                  <c:v>24.12223370003872</c:v>
                </c:pt>
                <c:pt idx="62438">
                  <c:v>24.635185082529581</c:v>
                </c:pt>
                <c:pt idx="62439">
                  <c:v>36.347664254973417</c:v>
                </c:pt>
                <c:pt idx="62440">
                  <c:v>41.124760718407188</c:v>
                </c:pt>
                <c:pt idx="62441">
                  <c:v>26.493142374050372</c:v>
                </c:pt>
                <c:pt idx="62442">
                  <c:v>17.084186582159312</c:v>
                </c:pt>
                <c:pt idx="62443">
                  <c:v>28.829110006540152</c:v>
                </c:pt>
                <c:pt idx="62444">
                  <c:v>20.775352518172419</c:v>
                </c:pt>
                <c:pt idx="62445">
                  <c:v>48.382498284250062</c:v>
                </c:pt>
                <c:pt idx="62446">
                  <c:v>25.583495440574961</c:v>
                </c:pt>
                <c:pt idx="62447">
                  <c:v>32.017329138803277</c:v>
                </c:pt>
                <c:pt idx="62448">
                  <c:v>20.790515465476286</c:v>
                </c:pt>
                <c:pt idx="62449">
                  <c:v>20.390533097653318</c:v>
                </c:pt>
                <c:pt idx="62450">
                  <c:v>25.603479463581799</c:v>
                </c:pt>
                <c:pt idx="62451">
                  <c:v>34.597316557214491</c:v>
                </c:pt>
                <c:pt idx="62452">
                  <c:v>36.242993224389068</c:v>
                </c:pt>
                <c:pt idx="62453">
                  <c:v>25.747560460310552</c:v>
                </c:pt>
                <c:pt idx="62454">
                  <c:v>27.059204077588763</c:v>
                </c:pt>
                <c:pt idx="62455">
                  <c:v>25.553310298656857</c:v>
                </c:pt>
                <c:pt idx="62456">
                  <c:v>31.566086386392005</c:v>
                </c:pt>
                <c:pt idx="62457">
                  <c:v>43.225546611362752</c:v>
                </c:pt>
                <c:pt idx="62458">
                  <c:v>27.693286148138434</c:v>
                </c:pt>
                <c:pt idx="62459">
                  <c:v>35.071374344108371</c:v>
                </c:pt>
                <c:pt idx="62460">
                  <c:v>14.926330354708302</c:v>
                </c:pt>
                <c:pt idx="62461">
                  <c:v>26.491016165932365</c:v>
                </c:pt>
                <c:pt idx="62462">
                  <c:v>52.753772996273007</c:v>
                </c:pt>
                <c:pt idx="62463">
                  <c:v>27.987781976247557</c:v>
                </c:pt>
                <c:pt idx="62464">
                  <c:v>49.33774691816037</c:v>
                </c:pt>
                <c:pt idx="62465">
                  <c:v>32.140759307467562</c:v>
                </c:pt>
                <c:pt idx="62466">
                  <c:v>29.043858157895368</c:v>
                </c:pt>
                <c:pt idx="62467">
                  <c:v>49.950012454858935</c:v>
                </c:pt>
                <c:pt idx="62468">
                  <c:v>27.015379290105123</c:v>
                </c:pt>
                <c:pt idx="62469">
                  <c:v>28.33640201427324</c:v>
                </c:pt>
                <c:pt idx="62470">
                  <c:v>24.419657804377742</c:v>
                </c:pt>
                <c:pt idx="62471">
                  <c:v>24.079508776873592</c:v>
                </c:pt>
                <c:pt idx="62472">
                  <c:v>25.014229631241125</c:v>
                </c:pt>
                <c:pt idx="62473">
                  <c:v>25.765716388025727</c:v>
                </c:pt>
                <c:pt idx="62474">
                  <c:v>23.629934844539743</c:v>
                </c:pt>
                <c:pt idx="62475">
                  <c:v>31.233936603012317</c:v>
                </c:pt>
                <c:pt idx="62476">
                  <c:v>18.513685604141767</c:v>
                </c:pt>
                <c:pt idx="62477">
                  <c:v>27.157163950932564</c:v>
                </c:pt>
                <c:pt idx="62478">
                  <c:v>33.152064552212899</c:v>
                </c:pt>
                <c:pt idx="62479">
                  <c:v>42.879615195338324</c:v>
                </c:pt>
                <c:pt idx="62480">
                  <c:v>18.736221720604277</c:v>
                </c:pt>
                <c:pt idx="62481">
                  <c:v>29.519796233384909</c:v>
                </c:pt>
                <c:pt idx="62482">
                  <c:v>27.034527963976359</c:v>
                </c:pt>
                <c:pt idx="62483">
                  <c:v>44.421432177854264</c:v>
                </c:pt>
                <c:pt idx="62484">
                  <c:v>26.637347300757249</c:v>
                </c:pt>
                <c:pt idx="62485">
                  <c:v>34.748297152178807</c:v>
                </c:pt>
                <c:pt idx="62486">
                  <c:v>30.708663532100005</c:v>
                </c:pt>
                <c:pt idx="62487">
                  <c:v>23.190460163624952</c:v>
                </c:pt>
                <c:pt idx="62488">
                  <c:v>29.415798850487345</c:v>
                </c:pt>
                <c:pt idx="62489">
                  <c:v>25.382208276441517</c:v>
                </c:pt>
                <c:pt idx="62490">
                  <c:v>22.646968037601695</c:v>
                </c:pt>
                <c:pt idx="62491">
                  <c:v>20.633911858745314</c:v>
                </c:pt>
                <c:pt idx="62492">
                  <c:v>21.11051419281489</c:v>
                </c:pt>
                <c:pt idx="62493">
                  <c:v>34.89446180703127</c:v>
                </c:pt>
                <c:pt idx="62494">
                  <c:v>31.414339993696657</c:v>
                </c:pt>
                <c:pt idx="62495">
                  <c:v>33.450477282481124</c:v>
                </c:pt>
                <c:pt idx="62496">
                  <c:v>43.35563459661379</c:v>
                </c:pt>
                <c:pt idx="62497">
                  <c:v>20.570568327362121</c:v>
                </c:pt>
                <c:pt idx="62498">
                  <c:v>32.151290178122515</c:v>
                </c:pt>
                <c:pt idx="62499">
                  <c:v>23.605634604450742</c:v>
                </c:pt>
                <c:pt idx="62500">
                  <c:v>48.782627150814463</c:v>
                </c:pt>
                <c:pt idx="62501">
                  <c:v>27.908620905630158</c:v>
                </c:pt>
                <c:pt idx="62502">
                  <c:v>51.903307947020309</c:v>
                </c:pt>
                <c:pt idx="62503">
                  <c:v>44.55931458363677</c:v>
                </c:pt>
                <c:pt idx="62504">
                  <c:v>68.188027842389815</c:v>
                </c:pt>
                <c:pt idx="62505">
                  <c:v>41.922454274685791</c:v>
                </c:pt>
                <c:pt idx="62506">
                  <c:v>35.66573776233728</c:v>
                </c:pt>
                <c:pt idx="62507">
                  <c:v>59.866937154347028</c:v>
                </c:pt>
                <c:pt idx="62508">
                  <c:v>48.516688186652729</c:v>
                </c:pt>
                <c:pt idx="62509">
                  <c:v>42.230552173873519</c:v>
                </c:pt>
                <c:pt idx="62510">
                  <c:v>26.896490821509168</c:v>
                </c:pt>
                <c:pt idx="62511">
                  <c:v>24.719223018156818</c:v>
                </c:pt>
                <c:pt idx="62512">
                  <c:v>31.608411910480157</c:v>
                </c:pt>
                <c:pt idx="62513">
                  <c:v>21.951521426783458</c:v>
                </c:pt>
                <c:pt idx="62514">
                  <c:v>20.306633115979505</c:v>
                </c:pt>
                <c:pt idx="62515">
                  <c:v>44.251212166834819</c:v>
                </c:pt>
                <c:pt idx="62516">
                  <c:v>24.094314317195408</c:v>
                </c:pt>
                <c:pt idx="62517">
                  <c:v>29.764823339733809</c:v>
                </c:pt>
                <c:pt idx="62518">
                  <c:v>37.692052296732953</c:v>
                </c:pt>
                <c:pt idx="62519">
                  <c:v>28.163527479665632</c:v>
                </c:pt>
                <c:pt idx="62520">
                  <c:v>40.368490716751346</c:v>
                </c:pt>
                <c:pt idx="62521">
                  <c:v>22.05261875777925</c:v>
                </c:pt>
                <c:pt idx="62522">
                  <c:v>52.414120029394155</c:v>
                </c:pt>
                <c:pt idx="62523">
                  <c:v>31.033745351967809</c:v>
                </c:pt>
                <c:pt idx="62524">
                  <c:v>37.121533903853503</c:v>
                </c:pt>
                <c:pt idx="62525">
                  <c:v>44.741760770597011</c:v>
                </c:pt>
                <c:pt idx="62526">
                  <c:v>33.726336023993774</c:v>
                </c:pt>
                <c:pt idx="62527">
                  <c:v>59.25455763186438</c:v>
                </c:pt>
                <c:pt idx="62528">
                  <c:v>27.150760432594282</c:v>
                </c:pt>
                <c:pt idx="62529">
                  <c:v>25.785220134443954</c:v>
                </c:pt>
                <c:pt idx="62530">
                  <c:v>34.408370577383906</c:v>
                </c:pt>
                <c:pt idx="62531">
                  <c:v>25.316055716949734</c:v>
                </c:pt>
                <c:pt idx="62532">
                  <c:v>44.869921648218785</c:v>
                </c:pt>
                <c:pt idx="62533">
                  <c:v>29.287917594957097</c:v>
                </c:pt>
                <c:pt idx="62534">
                  <c:v>20.385236581090098</c:v>
                </c:pt>
                <c:pt idx="62535">
                  <c:v>18.447742319213237</c:v>
                </c:pt>
                <c:pt idx="62536">
                  <c:v>27.793701795940976</c:v>
                </c:pt>
                <c:pt idx="62537">
                  <c:v>47.012102815893982</c:v>
                </c:pt>
                <c:pt idx="62538">
                  <c:v>26.541028105880287</c:v>
                </c:pt>
                <c:pt idx="62539">
                  <c:v>26.043340191942349</c:v>
                </c:pt>
                <c:pt idx="62540">
                  <c:v>25.942366767647108</c:v>
                </c:pt>
                <c:pt idx="62541">
                  <c:v>30.871022140452542</c:v>
                </c:pt>
                <c:pt idx="62542">
                  <c:v>33.592469928583341</c:v>
                </c:pt>
                <c:pt idx="62543">
                  <c:v>52.004093704134164</c:v>
                </c:pt>
                <c:pt idx="62544">
                  <c:v>47.473489467623203</c:v>
                </c:pt>
                <c:pt idx="62545">
                  <c:v>19.533858400610907</c:v>
                </c:pt>
                <c:pt idx="62546">
                  <c:v>26.164759754783336</c:v>
                </c:pt>
                <c:pt idx="62547">
                  <c:v>32.450986500634286</c:v>
                </c:pt>
                <c:pt idx="62548">
                  <c:v>21.364870472614061</c:v>
                </c:pt>
                <c:pt idx="62549">
                  <c:v>33.226379692112275</c:v>
                </c:pt>
                <c:pt idx="62550">
                  <c:v>26.393620017745299</c:v>
                </c:pt>
                <c:pt idx="62551">
                  <c:v>24.658107470495743</c:v>
                </c:pt>
                <c:pt idx="62552">
                  <c:v>44.315719812818621</c:v>
                </c:pt>
                <c:pt idx="62553">
                  <c:v>38.46031383786876</c:v>
                </c:pt>
                <c:pt idx="62554">
                  <c:v>25.424150236038329</c:v>
                </c:pt>
                <c:pt idx="62555">
                  <c:v>23.840369157572024</c:v>
                </c:pt>
                <c:pt idx="62556">
                  <c:v>44.885684001487419</c:v>
                </c:pt>
                <c:pt idx="62557">
                  <c:v>16.729739764363053</c:v>
                </c:pt>
                <c:pt idx="62558">
                  <c:v>39.460406526659895</c:v>
                </c:pt>
                <c:pt idx="62559">
                  <c:v>26.00510500181046</c:v>
                </c:pt>
                <c:pt idx="62560">
                  <c:v>21.139751581831646</c:v>
                </c:pt>
                <c:pt idx="62561">
                  <c:v>48.504113195706189</c:v>
                </c:pt>
                <c:pt idx="62562">
                  <c:v>35.106742778675425</c:v>
                </c:pt>
                <c:pt idx="62563">
                  <c:v>32.38859888592247</c:v>
                </c:pt>
                <c:pt idx="62564">
                  <c:v>22.819001482553148</c:v>
                </c:pt>
                <c:pt idx="62565">
                  <c:v>29.545053655522906</c:v>
                </c:pt>
                <c:pt idx="62566">
                  <c:v>25.740055763603301</c:v>
                </c:pt>
                <c:pt idx="62567">
                  <c:v>37.068911001292463</c:v>
                </c:pt>
                <c:pt idx="62568">
                  <c:v>46.92310530207611</c:v>
                </c:pt>
                <c:pt idx="62569">
                  <c:v>38.416493830383978</c:v>
                </c:pt>
                <c:pt idx="62570">
                  <c:v>24.194829042147646</c:v>
                </c:pt>
                <c:pt idx="62571">
                  <c:v>23.051468154690433</c:v>
                </c:pt>
                <c:pt idx="62572">
                  <c:v>24.578909472184144</c:v>
                </c:pt>
                <c:pt idx="62573">
                  <c:v>28.261329990763457</c:v>
                </c:pt>
                <c:pt idx="62574">
                  <c:v>46.188369020371596</c:v>
                </c:pt>
                <c:pt idx="62575">
                  <c:v>26.663874860564906</c:v>
                </c:pt>
                <c:pt idx="62576">
                  <c:v>20.533193413954514</c:v>
                </c:pt>
                <c:pt idx="62577">
                  <c:v>35.32687395213641</c:v>
                </c:pt>
                <c:pt idx="62578">
                  <c:v>25.885416948095525</c:v>
                </c:pt>
                <c:pt idx="62579">
                  <c:v>48.239455346426844</c:v>
                </c:pt>
                <c:pt idx="62580">
                  <c:v>16.572731294840903</c:v>
                </c:pt>
                <c:pt idx="62581">
                  <c:v>39.600596587589948</c:v>
                </c:pt>
                <c:pt idx="62582">
                  <c:v>26.9051946658793</c:v>
                </c:pt>
                <c:pt idx="62583">
                  <c:v>33.489642693339881</c:v>
                </c:pt>
                <c:pt idx="62584">
                  <c:v>32.813513537463677</c:v>
                </c:pt>
                <c:pt idx="62585">
                  <c:v>25.777969491385768</c:v>
                </c:pt>
                <c:pt idx="62586">
                  <c:v>24.041659794616976</c:v>
                </c:pt>
                <c:pt idx="62587">
                  <c:v>30.150033013416905</c:v>
                </c:pt>
                <c:pt idx="62588">
                  <c:v>25.945775415801659</c:v>
                </c:pt>
                <c:pt idx="62589">
                  <c:v>37.769073807092035</c:v>
                </c:pt>
                <c:pt idx="62590">
                  <c:v>24.150717559941686</c:v>
                </c:pt>
                <c:pt idx="62591">
                  <c:v>26.334849258273138</c:v>
                </c:pt>
                <c:pt idx="62592">
                  <c:v>28.969217823233212</c:v>
                </c:pt>
                <c:pt idx="62593">
                  <c:v>29.584937181795315</c:v>
                </c:pt>
                <c:pt idx="62594">
                  <c:v>42.520767105773409</c:v>
                </c:pt>
                <c:pt idx="62595">
                  <c:v>49.106225221385984</c:v>
                </c:pt>
                <c:pt idx="62596">
                  <c:v>49.285039681662028</c:v>
                </c:pt>
                <c:pt idx="62597">
                  <c:v>25.065175033331023</c:v>
                </c:pt>
                <c:pt idx="62598">
                  <c:v>40.877056438722974</c:v>
                </c:pt>
                <c:pt idx="62599">
                  <c:v>16.894209860979014</c:v>
                </c:pt>
                <c:pt idx="62600">
                  <c:v>29.415852903249082</c:v>
                </c:pt>
                <c:pt idx="62601">
                  <c:v>24.152916394237042</c:v>
                </c:pt>
                <c:pt idx="62602">
                  <c:v>34.856875933592463</c:v>
                </c:pt>
                <c:pt idx="62603">
                  <c:v>13.744175578473591</c:v>
                </c:pt>
                <c:pt idx="62604">
                  <c:v>59.697577413766901</c:v>
                </c:pt>
                <c:pt idx="62605">
                  <c:v>23.863832245211839</c:v>
                </c:pt>
                <c:pt idx="62606">
                  <c:v>28.261711007163775</c:v>
                </c:pt>
                <c:pt idx="62607">
                  <c:v>49.249009088563994</c:v>
                </c:pt>
                <c:pt idx="62608">
                  <c:v>22.801270863986506</c:v>
                </c:pt>
                <c:pt idx="62609">
                  <c:v>55.732966031524242</c:v>
                </c:pt>
                <c:pt idx="62610">
                  <c:v>23.03365982777726</c:v>
                </c:pt>
                <c:pt idx="62611">
                  <c:v>21.510836474602169</c:v>
                </c:pt>
                <c:pt idx="62612">
                  <c:v>23.944506895813216</c:v>
                </c:pt>
                <c:pt idx="62613">
                  <c:v>17.665668193258405</c:v>
                </c:pt>
                <c:pt idx="62614">
                  <c:v>26.743847500951283</c:v>
                </c:pt>
                <c:pt idx="62615">
                  <c:v>24.319146888504431</c:v>
                </c:pt>
                <c:pt idx="62616">
                  <c:v>26.011152978341457</c:v>
                </c:pt>
                <c:pt idx="62617">
                  <c:v>35.727178526057692</c:v>
                </c:pt>
                <c:pt idx="62618">
                  <c:v>26.327119851954112</c:v>
                </c:pt>
                <c:pt idx="62619">
                  <c:v>28.545309099269307</c:v>
                </c:pt>
                <c:pt idx="62620">
                  <c:v>36.2334706975019</c:v>
                </c:pt>
                <c:pt idx="62621">
                  <c:v>25.2525636660923</c:v>
                </c:pt>
                <c:pt idx="62622">
                  <c:v>28.434204567166741</c:v>
                </c:pt>
                <c:pt idx="62623">
                  <c:v>42.007545708267202</c:v>
                </c:pt>
                <c:pt idx="62624">
                  <c:v>33.922034645205414</c:v>
                </c:pt>
                <c:pt idx="62625">
                  <c:v>40.626736405147604</c:v>
                </c:pt>
                <c:pt idx="62626">
                  <c:v>38.002999527801528</c:v>
                </c:pt>
                <c:pt idx="62627">
                  <c:v>26.209127830839833</c:v>
                </c:pt>
                <c:pt idx="62628">
                  <c:v>25.649648114247949</c:v>
                </c:pt>
                <c:pt idx="62629">
                  <c:v>24.454140468202681</c:v>
                </c:pt>
                <c:pt idx="62630">
                  <c:v>18.371352263625461</c:v>
                </c:pt>
                <c:pt idx="62631">
                  <c:v>29.990007782214363</c:v>
                </c:pt>
                <c:pt idx="62632">
                  <c:v>40.589151398142484</c:v>
                </c:pt>
                <c:pt idx="62633">
                  <c:v>39.788848405170391</c:v>
                </c:pt>
                <c:pt idx="62634">
                  <c:v>21.179755950643731</c:v>
                </c:pt>
                <c:pt idx="62635">
                  <c:v>44.647289262178447</c:v>
                </c:pt>
                <c:pt idx="62636">
                  <c:v>39.697293226382008</c:v>
                </c:pt>
                <c:pt idx="62637">
                  <c:v>25.062449443932756</c:v>
                </c:pt>
                <c:pt idx="62638">
                  <c:v>48.961493769275876</c:v>
                </c:pt>
                <c:pt idx="62639">
                  <c:v>42.283933968857852</c:v>
                </c:pt>
                <c:pt idx="62640">
                  <c:v>17.253701283161</c:v>
                </c:pt>
                <c:pt idx="62641">
                  <c:v>33.920935692208985</c:v>
                </c:pt>
                <c:pt idx="62642">
                  <c:v>28.862222145232707</c:v>
                </c:pt>
                <c:pt idx="62643">
                  <c:v>33.260424108478766</c:v>
                </c:pt>
                <c:pt idx="62644">
                  <c:v>25.165866202346859</c:v>
                </c:pt>
                <c:pt idx="62645">
                  <c:v>23.432791545569078</c:v>
                </c:pt>
                <c:pt idx="62646">
                  <c:v>39.147185339519531</c:v>
                </c:pt>
                <c:pt idx="62647">
                  <c:v>28.721158844956488</c:v>
                </c:pt>
                <c:pt idx="62648">
                  <c:v>28.631438548989507</c:v>
                </c:pt>
                <c:pt idx="62649">
                  <c:v>27.135723376975093</c:v>
                </c:pt>
                <c:pt idx="62650">
                  <c:v>33.877419099187833</c:v>
                </c:pt>
                <c:pt idx="62651">
                  <c:v>24.451661992088258</c:v>
                </c:pt>
                <c:pt idx="62652">
                  <c:v>24.850016238399551</c:v>
                </c:pt>
                <c:pt idx="62653">
                  <c:v>30.578287144996484</c:v>
                </c:pt>
                <c:pt idx="62654">
                  <c:v>21.587226471204698</c:v>
                </c:pt>
                <c:pt idx="62655">
                  <c:v>25.951863712184565</c:v>
                </c:pt>
                <c:pt idx="62656">
                  <c:v>24.256363881281281</c:v>
                </c:pt>
                <c:pt idx="62657">
                  <c:v>39.413582002734891</c:v>
                </c:pt>
                <c:pt idx="62658">
                  <c:v>43.460057885391045</c:v>
                </c:pt>
                <c:pt idx="62659">
                  <c:v>44.687811978008881</c:v>
                </c:pt>
                <c:pt idx="62660">
                  <c:v>21.050503825982094</c:v>
                </c:pt>
                <c:pt idx="62661">
                  <c:v>28.060029828379211</c:v>
                </c:pt>
                <c:pt idx="62662">
                  <c:v>29.57723213907564</c:v>
                </c:pt>
                <c:pt idx="62663">
                  <c:v>32.143168176370629</c:v>
                </c:pt>
                <c:pt idx="62664">
                  <c:v>32.607085926502521</c:v>
                </c:pt>
                <c:pt idx="62665">
                  <c:v>42.217841299936538</c:v>
                </c:pt>
                <c:pt idx="62666">
                  <c:v>39.861415650881391</c:v>
                </c:pt>
                <c:pt idx="62667">
                  <c:v>26.386687497650186</c:v>
                </c:pt>
                <c:pt idx="62668">
                  <c:v>17.630944774583298</c:v>
                </c:pt>
                <c:pt idx="62669">
                  <c:v>28.477499869760461</c:v>
                </c:pt>
                <c:pt idx="62670">
                  <c:v>57.379111750553399</c:v>
                </c:pt>
                <c:pt idx="62671">
                  <c:v>36.554143168675175</c:v>
                </c:pt>
                <c:pt idx="62672">
                  <c:v>37.949898784382228</c:v>
                </c:pt>
                <c:pt idx="62673">
                  <c:v>26.697679868438353</c:v>
                </c:pt>
                <c:pt idx="62674">
                  <c:v>26.868002537714865</c:v>
                </c:pt>
                <c:pt idx="62675">
                  <c:v>24.504268086445894</c:v>
                </c:pt>
                <c:pt idx="62676">
                  <c:v>41.536451664247927</c:v>
                </c:pt>
                <c:pt idx="62677">
                  <c:v>30.873162483191535</c:v>
                </c:pt>
                <c:pt idx="62678">
                  <c:v>31.333703105203057</c:v>
                </c:pt>
                <c:pt idx="62679">
                  <c:v>47.438633506858039</c:v>
                </c:pt>
                <c:pt idx="62680">
                  <c:v>51.330784451694932</c:v>
                </c:pt>
                <c:pt idx="62681">
                  <c:v>51.25233703969149</c:v>
                </c:pt>
                <c:pt idx="62682">
                  <c:v>32.695333938784003</c:v>
                </c:pt>
                <c:pt idx="62683">
                  <c:v>24.026064452609333</c:v>
                </c:pt>
                <c:pt idx="62684">
                  <c:v>22.419614592771815</c:v>
                </c:pt>
                <c:pt idx="62685">
                  <c:v>30.971196197108352</c:v>
                </c:pt>
                <c:pt idx="62686">
                  <c:v>46.199953620681697</c:v>
                </c:pt>
                <c:pt idx="62687">
                  <c:v>51.595125501792694</c:v>
                </c:pt>
                <c:pt idx="62688">
                  <c:v>41.787047819411313</c:v>
                </c:pt>
                <c:pt idx="62689">
                  <c:v>23.943739954433795</c:v>
                </c:pt>
                <c:pt idx="62690">
                  <c:v>24.850234073653183</c:v>
                </c:pt>
                <c:pt idx="62691">
                  <c:v>29.175125517829439</c:v>
                </c:pt>
                <c:pt idx="62692">
                  <c:v>46.54493385762305</c:v>
                </c:pt>
                <c:pt idx="62693">
                  <c:v>26.775669177486222</c:v>
                </c:pt>
                <c:pt idx="62694">
                  <c:v>26.665360432169642</c:v>
                </c:pt>
                <c:pt idx="62695">
                  <c:v>51.301633513379095</c:v>
                </c:pt>
                <c:pt idx="62696">
                  <c:v>47.135972012878732</c:v>
                </c:pt>
                <c:pt idx="62697">
                  <c:v>35.392066180346177</c:v>
                </c:pt>
                <c:pt idx="62698">
                  <c:v>47.592064818322811</c:v>
                </c:pt>
                <c:pt idx="62699">
                  <c:v>18.839557311528967</c:v>
                </c:pt>
                <c:pt idx="62700">
                  <c:v>27.960244955230259</c:v>
                </c:pt>
                <c:pt idx="62701">
                  <c:v>27.139000191867119</c:v>
                </c:pt>
                <c:pt idx="62702">
                  <c:v>23.960437652059937</c:v>
                </c:pt>
                <c:pt idx="62703">
                  <c:v>26.326519719291781</c:v>
                </c:pt>
                <c:pt idx="62704">
                  <c:v>21.418713633380349</c:v>
                </c:pt>
                <c:pt idx="62705">
                  <c:v>21.485612601028471</c:v>
                </c:pt>
                <c:pt idx="62706">
                  <c:v>24.184525634282245</c:v>
                </c:pt>
                <c:pt idx="62707">
                  <c:v>32.435477448541356</c:v>
                </c:pt>
                <c:pt idx="62708">
                  <c:v>28.643991364605657</c:v>
                </c:pt>
                <c:pt idx="62709">
                  <c:v>28.091573365250152</c:v>
                </c:pt>
                <c:pt idx="62710">
                  <c:v>58.8919026527727</c:v>
                </c:pt>
                <c:pt idx="62711">
                  <c:v>31.035043295851189</c:v>
                </c:pt>
                <c:pt idx="62712">
                  <c:v>40.826186009720303</c:v>
                </c:pt>
                <c:pt idx="62713">
                  <c:v>30.074312684650547</c:v>
                </c:pt>
                <c:pt idx="62714">
                  <c:v>30.913669979622231</c:v>
                </c:pt>
                <c:pt idx="62715">
                  <c:v>29.663407161779581</c:v>
                </c:pt>
                <c:pt idx="62716">
                  <c:v>23.349775906982948</c:v>
                </c:pt>
                <c:pt idx="62717">
                  <c:v>45.870532588266954</c:v>
                </c:pt>
                <c:pt idx="62718">
                  <c:v>30.022222147540965</c:v>
                </c:pt>
                <c:pt idx="62719">
                  <c:v>22.487003343373512</c:v>
                </c:pt>
                <c:pt idx="62720">
                  <c:v>23.091472645664265</c:v>
                </c:pt>
                <c:pt idx="62721">
                  <c:v>18.363217005347931</c:v>
                </c:pt>
                <c:pt idx="62722">
                  <c:v>22.24911844809159</c:v>
                </c:pt>
                <c:pt idx="62723">
                  <c:v>50.097999735101929</c:v>
                </c:pt>
                <c:pt idx="62724">
                  <c:v>47.488709835028168</c:v>
                </c:pt>
                <c:pt idx="62725">
                  <c:v>57.895678716018743</c:v>
                </c:pt>
                <c:pt idx="62726">
                  <c:v>29.095981383770564</c:v>
                </c:pt>
                <c:pt idx="62727">
                  <c:v>28.371949421121272</c:v>
                </c:pt>
                <c:pt idx="62728">
                  <c:v>37.892886956125793</c:v>
                </c:pt>
                <c:pt idx="62729">
                  <c:v>24.007555180541338</c:v>
                </c:pt>
                <c:pt idx="62730">
                  <c:v>32.820557836625092</c:v>
                </c:pt>
                <c:pt idx="62731">
                  <c:v>20.511064626235257</c:v>
                </c:pt>
                <c:pt idx="62732">
                  <c:v>45.117662664919585</c:v>
                </c:pt>
                <c:pt idx="62733">
                  <c:v>52.401873206707755</c:v>
                </c:pt>
                <c:pt idx="62734">
                  <c:v>20.45204025888237</c:v>
                </c:pt>
                <c:pt idx="62735">
                  <c:v>26.918064162090928</c:v>
                </c:pt>
                <c:pt idx="62736">
                  <c:v>28.852690510018434</c:v>
                </c:pt>
                <c:pt idx="62737">
                  <c:v>29.384191059016363</c:v>
                </c:pt>
                <c:pt idx="62738">
                  <c:v>16.515646128170268</c:v>
                </c:pt>
                <c:pt idx="62739">
                  <c:v>17.85647962954533</c:v>
                </c:pt>
                <c:pt idx="62740">
                  <c:v>14.665711979650991</c:v>
                </c:pt>
                <c:pt idx="62741">
                  <c:v>29.145481032335042</c:v>
                </c:pt>
                <c:pt idx="62742">
                  <c:v>32.141193521451221</c:v>
                </c:pt>
                <c:pt idx="62743">
                  <c:v>35.390777299699103</c:v>
                </c:pt>
                <c:pt idx="62744">
                  <c:v>37.713085049192792</c:v>
                </c:pt>
                <c:pt idx="62745">
                  <c:v>44.606389113191263</c:v>
                </c:pt>
                <c:pt idx="62746">
                  <c:v>18.500840654773789</c:v>
                </c:pt>
                <c:pt idx="62747">
                  <c:v>30.853181187120391</c:v>
                </c:pt>
                <c:pt idx="62748">
                  <c:v>31.653756594927298</c:v>
                </c:pt>
                <c:pt idx="62749">
                  <c:v>24.672431051761251</c:v>
                </c:pt>
                <c:pt idx="62750">
                  <c:v>24.607588315025446</c:v>
                </c:pt>
                <c:pt idx="62751">
                  <c:v>31.05597047620828</c:v>
                </c:pt>
                <c:pt idx="62752">
                  <c:v>28.26537628401643</c:v>
                </c:pt>
                <c:pt idx="62753">
                  <c:v>51.631843961750043</c:v>
                </c:pt>
                <c:pt idx="62754">
                  <c:v>45.30547138553122</c:v>
                </c:pt>
                <c:pt idx="62755">
                  <c:v>55.04483755242881</c:v>
                </c:pt>
                <c:pt idx="62756">
                  <c:v>40.829673596716766</c:v>
                </c:pt>
                <c:pt idx="62757">
                  <c:v>29.404583863673295</c:v>
                </c:pt>
                <c:pt idx="62758">
                  <c:v>40.632517247892686</c:v>
                </c:pt>
                <c:pt idx="62759">
                  <c:v>24.657064760887209</c:v>
                </c:pt>
                <c:pt idx="62760">
                  <c:v>61.195665349859112</c:v>
                </c:pt>
                <c:pt idx="62761">
                  <c:v>33.999281691868894</c:v>
                </c:pt>
                <c:pt idx="62762">
                  <c:v>26.177090151354946</c:v>
                </c:pt>
                <c:pt idx="62763">
                  <c:v>40.237497594626944</c:v>
                </c:pt>
                <c:pt idx="62764">
                  <c:v>27.621553606614498</c:v>
                </c:pt>
                <c:pt idx="62765">
                  <c:v>20.814926035832297</c:v>
                </c:pt>
                <c:pt idx="62766">
                  <c:v>20.574039388172597</c:v>
                </c:pt>
                <c:pt idx="62767">
                  <c:v>29.012478813031148</c:v>
                </c:pt>
                <c:pt idx="62768">
                  <c:v>21.837113295406848</c:v>
                </c:pt>
                <c:pt idx="62769">
                  <c:v>29.041776816376434</c:v>
                </c:pt>
                <c:pt idx="62770">
                  <c:v>41.718553087081872</c:v>
                </c:pt>
                <c:pt idx="62771">
                  <c:v>39.1707484548498</c:v>
                </c:pt>
                <c:pt idx="62772">
                  <c:v>29.376064229474007</c:v>
                </c:pt>
                <c:pt idx="62773">
                  <c:v>23.70547684280745</c:v>
                </c:pt>
                <c:pt idx="62774">
                  <c:v>39.578651391765838</c:v>
                </c:pt>
                <c:pt idx="62775">
                  <c:v>41.218589634092723</c:v>
                </c:pt>
                <c:pt idx="62776">
                  <c:v>36.86629391652972</c:v>
                </c:pt>
                <c:pt idx="62777">
                  <c:v>45.734739126175512</c:v>
                </c:pt>
                <c:pt idx="62778">
                  <c:v>33.326969656374537</c:v>
                </c:pt>
                <c:pt idx="62779">
                  <c:v>47.030657907834424</c:v>
                </c:pt>
                <c:pt idx="62780">
                  <c:v>23.825076396065946</c:v>
                </c:pt>
                <c:pt idx="62781">
                  <c:v>34.699089938307615</c:v>
                </c:pt>
                <c:pt idx="62782">
                  <c:v>26.706061925625967</c:v>
                </c:pt>
                <c:pt idx="62783">
                  <c:v>27.51290854314145</c:v>
                </c:pt>
                <c:pt idx="62784">
                  <c:v>18.485241370484193</c:v>
                </c:pt>
                <c:pt idx="62785">
                  <c:v>23.954898146622138</c:v>
                </c:pt>
                <c:pt idx="62786">
                  <c:v>51.184543507376908</c:v>
                </c:pt>
                <c:pt idx="62787">
                  <c:v>28.461826781293581</c:v>
                </c:pt>
                <c:pt idx="62788">
                  <c:v>19.349129148316642</c:v>
                </c:pt>
                <c:pt idx="62789">
                  <c:v>17.983561691099922</c:v>
                </c:pt>
                <c:pt idx="62790">
                  <c:v>36.264925834539667</c:v>
                </c:pt>
                <c:pt idx="62791">
                  <c:v>20.348499072454576</c:v>
                </c:pt>
                <c:pt idx="62792">
                  <c:v>29.758643054891316</c:v>
                </c:pt>
                <c:pt idx="62793">
                  <c:v>26.462304105313059</c:v>
                </c:pt>
                <c:pt idx="62794">
                  <c:v>22.786241862709719</c:v>
                </c:pt>
                <c:pt idx="62795">
                  <c:v>28.672508044278917</c:v>
                </c:pt>
                <c:pt idx="62796">
                  <c:v>33.544406547711304</c:v>
                </c:pt>
                <c:pt idx="62797">
                  <c:v>23.386550422207954</c:v>
                </c:pt>
                <c:pt idx="62798">
                  <c:v>25.211479884191956</c:v>
                </c:pt>
                <c:pt idx="62799">
                  <c:v>55.74990398180077</c:v>
                </c:pt>
                <c:pt idx="62800">
                  <c:v>60.987208599422623</c:v>
                </c:pt>
                <c:pt idx="62801">
                  <c:v>40.00161684361337</c:v>
                </c:pt>
                <c:pt idx="62802">
                  <c:v>53.802163616397969</c:v>
                </c:pt>
                <c:pt idx="62803">
                  <c:v>22.416602945773455</c:v>
                </c:pt>
                <c:pt idx="62804">
                  <c:v>22.592881962509303</c:v>
                </c:pt>
                <c:pt idx="62805">
                  <c:v>27.631311454620729</c:v>
                </c:pt>
                <c:pt idx="62806">
                  <c:v>32.709771231329647</c:v>
                </c:pt>
                <c:pt idx="62807">
                  <c:v>24.160282791947022</c:v>
                </c:pt>
                <c:pt idx="62808">
                  <c:v>38.568681648662121</c:v>
                </c:pt>
                <c:pt idx="62809">
                  <c:v>31.972943961398133</c:v>
                </c:pt>
                <c:pt idx="62810">
                  <c:v>23.680303454059818</c:v>
                </c:pt>
                <c:pt idx="62811">
                  <c:v>33.222383140878712</c:v>
                </c:pt>
                <c:pt idx="62812">
                  <c:v>31.115964194441027</c:v>
                </c:pt>
                <c:pt idx="62813">
                  <c:v>38.112868392374899</c:v>
                </c:pt>
                <c:pt idx="62814">
                  <c:v>22.743203953788537</c:v>
                </c:pt>
                <c:pt idx="62815">
                  <c:v>21.330410702793806</c:v>
                </c:pt>
                <c:pt idx="62816">
                  <c:v>24.908655387363588</c:v>
                </c:pt>
                <c:pt idx="62817">
                  <c:v>21.840584182887856</c:v>
                </c:pt>
                <c:pt idx="62818">
                  <c:v>29.482989060766744</c:v>
                </c:pt>
                <c:pt idx="62819">
                  <c:v>19.317321709336035</c:v>
                </c:pt>
                <c:pt idx="62820">
                  <c:v>41.828012141074581</c:v>
                </c:pt>
                <c:pt idx="62821">
                  <c:v>33.313906344321943</c:v>
                </c:pt>
                <c:pt idx="62822">
                  <c:v>22.783901777898752</c:v>
                </c:pt>
                <c:pt idx="62823">
                  <c:v>45.027052946219285</c:v>
                </c:pt>
                <c:pt idx="62824">
                  <c:v>28.977669474063362</c:v>
                </c:pt>
                <c:pt idx="62825">
                  <c:v>18.370491462436433</c:v>
                </c:pt>
                <c:pt idx="62826">
                  <c:v>21.828944269943054</c:v>
                </c:pt>
                <c:pt idx="62827">
                  <c:v>27.860480979694639</c:v>
                </c:pt>
                <c:pt idx="62828">
                  <c:v>25.724070750148847</c:v>
                </c:pt>
                <c:pt idx="62829">
                  <c:v>18.294129793195349</c:v>
                </c:pt>
                <c:pt idx="62830">
                  <c:v>31.861298514490692</c:v>
                </c:pt>
                <c:pt idx="62831">
                  <c:v>26.457936719778758</c:v>
                </c:pt>
                <c:pt idx="62832">
                  <c:v>33.51811167532896</c:v>
                </c:pt>
                <c:pt idx="62833">
                  <c:v>21.922446316687044</c:v>
                </c:pt>
                <c:pt idx="62834">
                  <c:v>56.028595177746112</c:v>
                </c:pt>
                <c:pt idx="62835">
                  <c:v>21.427795676194748</c:v>
                </c:pt>
                <c:pt idx="62836">
                  <c:v>25.154074910883679</c:v>
                </c:pt>
                <c:pt idx="62837">
                  <c:v>20.62059684514735</c:v>
                </c:pt>
                <c:pt idx="62838">
                  <c:v>26.559881920721239</c:v>
                </c:pt>
                <c:pt idx="62839">
                  <c:v>18.836345228230947</c:v>
                </c:pt>
                <c:pt idx="62840">
                  <c:v>31.826611285607978</c:v>
                </c:pt>
                <c:pt idx="62841">
                  <c:v>19.585407133372708</c:v>
                </c:pt>
                <c:pt idx="62842">
                  <c:v>27.423697391565696</c:v>
                </c:pt>
                <c:pt idx="62843">
                  <c:v>21.164931557814342</c:v>
                </c:pt>
                <c:pt idx="62844">
                  <c:v>32.138065943388966</c:v>
                </c:pt>
                <c:pt idx="62845">
                  <c:v>24.139879466933383</c:v>
                </c:pt>
                <c:pt idx="62846">
                  <c:v>31.88824343839326</c:v>
                </c:pt>
                <c:pt idx="62847">
                  <c:v>28.524045624487204</c:v>
                </c:pt>
                <c:pt idx="62848">
                  <c:v>46.784649126815864</c:v>
                </c:pt>
                <c:pt idx="62849">
                  <c:v>26.941403547487734</c:v>
                </c:pt>
                <c:pt idx="62850">
                  <c:v>26.804172305572777</c:v>
                </c:pt>
                <c:pt idx="62851">
                  <c:v>40.229945322353345</c:v>
                </c:pt>
                <c:pt idx="62852">
                  <c:v>21.17070419307155</c:v>
                </c:pt>
                <c:pt idx="62853">
                  <c:v>26.611973718241416</c:v>
                </c:pt>
                <c:pt idx="62854">
                  <c:v>27.300393697180354</c:v>
                </c:pt>
                <c:pt idx="62855">
                  <c:v>25.916814480484867</c:v>
                </c:pt>
                <c:pt idx="62856">
                  <c:v>28.365786329683491</c:v>
                </c:pt>
                <c:pt idx="62857">
                  <c:v>42.516751946655255</c:v>
                </c:pt>
                <c:pt idx="62858">
                  <c:v>36.867071313012815</c:v>
                </c:pt>
                <c:pt idx="62859">
                  <c:v>28.495201652905578</c:v>
                </c:pt>
                <c:pt idx="62860">
                  <c:v>24.130350454637316</c:v>
                </c:pt>
                <c:pt idx="62861">
                  <c:v>30.853654836691781</c:v>
                </c:pt>
                <c:pt idx="62862">
                  <c:v>41.037034078729256</c:v>
                </c:pt>
                <c:pt idx="62863">
                  <c:v>58.052449017356281</c:v>
                </c:pt>
                <c:pt idx="62864">
                  <c:v>23.313574190113194</c:v>
                </c:pt>
                <c:pt idx="62865">
                  <c:v>26.055944295026233</c:v>
                </c:pt>
                <c:pt idx="62866">
                  <c:v>55.132221071442203</c:v>
                </c:pt>
                <c:pt idx="62867">
                  <c:v>19.311067085345393</c:v>
                </c:pt>
                <c:pt idx="62868">
                  <c:v>18.95476224258875</c:v>
                </c:pt>
                <c:pt idx="62869">
                  <c:v>40.400083779861333</c:v>
                </c:pt>
                <c:pt idx="62870">
                  <c:v>28.741707908203168</c:v>
                </c:pt>
                <c:pt idx="62871">
                  <c:v>39.48061200052679</c:v>
                </c:pt>
                <c:pt idx="62872">
                  <c:v>28.046986626805353</c:v>
                </c:pt>
                <c:pt idx="62873">
                  <c:v>23.067095223343184</c:v>
                </c:pt>
                <c:pt idx="62874">
                  <c:v>19.901218697275084</c:v>
                </c:pt>
                <c:pt idx="62875">
                  <c:v>36.602897682886876</c:v>
                </c:pt>
                <c:pt idx="62876">
                  <c:v>31.251309467275064</c:v>
                </c:pt>
                <c:pt idx="62877">
                  <c:v>27.743383152908351</c:v>
                </c:pt>
                <c:pt idx="62878">
                  <c:v>22.438287375570766</c:v>
                </c:pt>
                <c:pt idx="62879">
                  <c:v>31.548391754655153</c:v>
                </c:pt>
                <c:pt idx="62880">
                  <c:v>18.293666300791234</c:v>
                </c:pt>
                <c:pt idx="62881">
                  <c:v>33.415232979341674</c:v>
                </c:pt>
                <c:pt idx="62882">
                  <c:v>44.262942814020988</c:v>
                </c:pt>
                <c:pt idx="62883">
                  <c:v>29.945298660076478</c:v>
                </c:pt>
                <c:pt idx="62884">
                  <c:v>56.628249647820951</c:v>
                </c:pt>
                <c:pt idx="62885">
                  <c:v>36.398181934535351</c:v>
                </c:pt>
                <c:pt idx="62886">
                  <c:v>23.050660561945204</c:v>
                </c:pt>
                <c:pt idx="62887">
                  <c:v>25.654778155041548</c:v>
                </c:pt>
                <c:pt idx="62888">
                  <c:v>35.00619683526358</c:v>
                </c:pt>
                <c:pt idx="62889">
                  <c:v>30.408572970022778</c:v>
                </c:pt>
                <c:pt idx="62890">
                  <c:v>38.767344933234106</c:v>
                </c:pt>
                <c:pt idx="62891">
                  <c:v>26.422829590100044</c:v>
                </c:pt>
                <c:pt idx="62892">
                  <c:v>42.404304402722651</c:v>
                </c:pt>
                <c:pt idx="62893">
                  <c:v>28.289937072972734</c:v>
                </c:pt>
                <c:pt idx="62894">
                  <c:v>46.115942212665402</c:v>
                </c:pt>
                <c:pt idx="62895">
                  <c:v>20.782447793200383</c:v>
                </c:pt>
                <c:pt idx="62896">
                  <c:v>19.102706931460634</c:v>
                </c:pt>
                <c:pt idx="62897">
                  <c:v>27.144063786679848</c:v>
                </c:pt>
                <c:pt idx="62898">
                  <c:v>27.480581618153312</c:v>
                </c:pt>
                <c:pt idx="62899">
                  <c:v>31.067044236992178</c:v>
                </c:pt>
                <c:pt idx="62900">
                  <c:v>25.735870535392969</c:v>
                </c:pt>
                <c:pt idx="62901">
                  <c:v>30.93572873520494</c:v>
                </c:pt>
                <c:pt idx="62902">
                  <c:v>15.994429980732006</c:v>
                </c:pt>
                <c:pt idx="62903">
                  <c:v>29.806278546617087</c:v>
                </c:pt>
                <c:pt idx="62904">
                  <c:v>24.897759213937036</c:v>
                </c:pt>
                <c:pt idx="62905">
                  <c:v>37.449448304244953</c:v>
                </c:pt>
                <c:pt idx="62906">
                  <c:v>27.624250258562419</c:v>
                </c:pt>
                <c:pt idx="62907">
                  <c:v>24.733727249773423</c:v>
                </c:pt>
                <c:pt idx="62908">
                  <c:v>31.535458728860185</c:v>
                </c:pt>
                <c:pt idx="62909">
                  <c:v>57.887632701413231</c:v>
                </c:pt>
                <c:pt idx="62910">
                  <c:v>19.434897212299525</c:v>
                </c:pt>
                <c:pt idx="62911">
                  <c:v>21.005190847508914</c:v>
                </c:pt>
                <c:pt idx="62912">
                  <c:v>19.111394949199237</c:v>
                </c:pt>
                <c:pt idx="62913">
                  <c:v>27.037491141907665</c:v>
                </c:pt>
                <c:pt idx="62914">
                  <c:v>29.249023332218783</c:v>
                </c:pt>
                <c:pt idx="62915">
                  <c:v>21.194840329064817</c:v>
                </c:pt>
                <c:pt idx="62916">
                  <c:v>38.158854180832392</c:v>
                </c:pt>
                <c:pt idx="62917">
                  <c:v>31.57809489632788</c:v>
                </c:pt>
                <c:pt idx="62918">
                  <c:v>42.870125535254836</c:v>
                </c:pt>
                <c:pt idx="62919">
                  <c:v>25.523496549973206</c:v>
                </c:pt>
                <c:pt idx="62920">
                  <c:v>22.218856921900773</c:v>
                </c:pt>
                <c:pt idx="62921">
                  <c:v>29.068548304333589</c:v>
                </c:pt>
                <c:pt idx="62922">
                  <c:v>45.505173314035382</c:v>
                </c:pt>
                <c:pt idx="62923">
                  <c:v>25.968689762702244</c:v>
                </c:pt>
                <c:pt idx="62924">
                  <c:v>20.12126759757091</c:v>
                </c:pt>
                <c:pt idx="62925">
                  <c:v>21.028450750856109</c:v>
                </c:pt>
                <c:pt idx="62926">
                  <c:v>21.318477946503847</c:v>
                </c:pt>
                <c:pt idx="62927">
                  <c:v>27.927124470063589</c:v>
                </c:pt>
                <c:pt idx="62928">
                  <c:v>62.188473553449256</c:v>
                </c:pt>
                <c:pt idx="62929">
                  <c:v>26.004246482618537</c:v>
                </c:pt>
                <c:pt idx="62930">
                  <c:v>28.161427587953035</c:v>
                </c:pt>
                <c:pt idx="62931">
                  <c:v>28.312836525717941</c:v>
                </c:pt>
                <c:pt idx="62932">
                  <c:v>53.440046187814282</c:v>
                </c:pt>
                <c:pt idx="62933">
                  <c:v>25.719014734686684</c:v>
                </c:pt>
                <c:pt idx="62934">
                  <c:v>28.205296668752872</c:v>
                </c:pt>
                <c:pt idx="62935">
                  <c:v>30.00116461900107</c:v>
                </c:pt>
                <c:pt idx="62936">
                  <c:v>23.200174275646074</c:v>
                </c:pt>
                <c:pt idx="62937">
                  <c:v>29.259541804671233</c:v>
                </c:pt>
                <c:pt idx="62938">
                  <c:v>49.733372707491249</c:v>
                </c:pt>
                <c:pt idx="62939">
                  <c:v>18.460614564653447</c:v>
                </c:pt>
                <c:pt idx="62940">
                  <c:v>26.017461325561243</c:v>
                </c:pt>
                <c:pt idx="62941">
                  <c:v>58.174807027126072</c:v>
                </c:pt>
                <c:pt idx="62942">
                  <c:v>42.486269036255038</c:v>
                </c:pt>
                <c:pt idx="62943">
                  <c:v>25.296843450558342</c:v>
                </c:pt>
                <c:pt idx="62944">
                  <c:v>43.293424849625659</c:v>
                </c:pt>
                <c:pt idx="62945">
                  <c:v>46.589577223432585</c:v>
                </c:pt>
                <c:pt idx="62946">
                  <c:v>23.181567060385412</c:v>
                </c:pt>
                <c:pt idx="62947">
                  <c:v>31.669902230293125</c:v>
                </c:pt>
                <c:pt idx="62948">
                  <c:v>17.892685152363491</c:v>
                </c:pt>
                <c:pt idx="62949">
                  <c:v>22.438303366489706</c:v>
                </c:pt>
                <c:pt idx="62950">
                  <c:v>30.158115330939943</c:v>
                </c:pt>
                <c:pt idx="62951">
                  <c:v>27.465185698543845</c:v>
                </c:pt>
                <c:pt idx="62952">
                  <c:v>62.76202997978622</c:v>
                </c:pt>
                <c:pt idx="62953">
                  <c:v>27.597040978655176</c:v>
                </c:pt>
                <c:pt idx="62954">
                  <c:v>29.506801424450746</c:v>
                </c:pt>
                <c:pt idx="62955">
                  <c:v>29.067910760986827</c:v>
                </c:pt>
                <c:pt idx="62956">
                  <c:v>25.327732463282064</c:v>
                </c:pt>
                <c:pt idx="62957">
                  <c:v>25.209716273736557</c:v>
                </c:pt>
                <c:pt idx="62958">
                  <c:v>24.259370382235613</c:v>
                </c:pt>
                <c:pt idx="62959">
                  <c:v>18.555964221425238</c:v>
                </c:pt>
                <c:pt idx="62960">
                  <c:v>30.904644915974512</c:v>
                </c:pt>
                <c:pt idx="62961">
                  <c:v>35.876199126418747</c:v>
                </c:pt>
                <c:pt idx="62962">
                  <c:v>22.388616630237117</c:v>
                </c:pt>
                <c:pt idx="62963">
                  <c:v>37.12449263360206</c:v>
                </c:pt>
                <c:pt idx="62964">
                  <c:v>26.453574949957918</c:v>
                </c:pt>
                <c:pt idx="62965">
                  <c:v>26.986160286922676</c:v>
                </c:pt>
                <c:pt idx="62966">
                  <c:v>23.528812443359818</c:v>
                </c:pt>
                <c:pt idx="62967">
                  <c:v>31.438509708904988</c:v>
                </c:pt>
                <c:pt idx="62968">
                  <c:v>25.853434578673919</c:v>
                </c:pt>
                <c:pt idx="62969">
                  <c:v>29.90174744173585</c:v>
                </c:pt>
                <c:pt idx="62970">
                  <c:v>45.189064625728356</c:v>
                </c:pt>
                <c:pt idx="62971">
                  <c:v>57.602919840600478</c:v>
                </c:pt>
                <c:pt idx="62972">
                  <c:v>57.003810663037463</c:v>
                </c:pt>
                <c:pt idx="62973">
                  <c:v>42.93721559563842</c:v>
                </c:pt>
                <c:pt idx="62974">
                  <c:v>33.770990280185096</c:v>
                </c:pt>
                <c:pt idx="62975">
                  <c:v>21.429510264786213</c:v>
                </c:pt>
                <c:pt idx="62976">
                  <c:v>28.957373637834813</c:v>
                </c:pt>
                <c:pt idx="62977">
                  <c:v>22.074054352972478</c:v>
                </c:pt>
                <c:pt idx="62978">
                  <c:v>37.185326678268801</c:v>
                </c:pt>
                <c:pt idx="62979">
                  <c:v>27.567003398705001</c:v>
                </c:pt>
                <c:pt idx="62980">
                  <c:v>23.756401952135743</c:v>
                </c:pt>
                <c:pt idx="62981">
                  <c:v>31.241442108755081</c:v>
                </c:pt>
                <c:pt idx="62982">
                  <c:v>23.354444483690614</c:v>
                </c:pt>
                <c:pt idx="62983">
                  <c:v>30.637511032308016</c:v>
                </c:pt>
                <c:pt idx="62984">
                  <c:v>23.125397391854342</c:v>
                </c:pt>
                <c:pt idx="62985">
                  <c:v>19.882721741840101</c:v>
                </c:pt>
                <c:pt idx="62986">
                  <c:v>27.808681489215207</c:v>
                </c:pt>
                <c:pt idx="62987">
                  <c:v>26.45728336575246</c:v>
                </c:pt>
                <c:pt idx="62988">
                  <c:v>43.786238628146826</c:v>
                </c:pt>
                <c:pt idx="62989">
                  <c:v>29.33897200571133</c:v>
                </c:pt>
                <c:pt idx="62990">
                  <c:v>21.461248356782882</c:v>
                </c:pt>
                <c:pt idx="62991">
                  <c:v>27.965345575805362</c:v>
                </c:pt>
                <c:pt idx="62992">
                  <c:v>29.608483478030656</c:v>
                </c:pt>
                <c:pt idx="62993">
                  <c:v>47.960715220887906</c:v>
                </c:pt>
                <c:pt idx="62994">
                  <c:v>21.054666299390451</c:v>
                </c:pt>
                <c:pt idx="62995">
                  <c:v>24.069725906050827</c:v>
                </c:pt>
                <c:pt idx="62996">
                  <c:v>54.428869601831053</c:v>
                </c:pt>
                <c:pt idx="62997">
                  <c:v>55.576036674251704</c:v>
                </c:pt>
                <c:pt idx="62998">
                  <c:v>41.198550019547142</c:v>
                </c:pt>
                <c:pt idx="62999">
                  <c:v>33.344816637216894</c:v>
                </c:pt>
                <c:pt idx="63000">
                  <c:v>34.980413712582489</c:v>
                </c:pt>
                <c:pt idx="63001">
                  <c:v>23.642243464495341</c:v>
                </c:pt>
                <c:pt idx="63002">
                  <c:v>24.842929632553343</c:v>
                </c:pt>
                <c:pt idx="63003">
                  <c:v>33.108714286807974</c:v>
                </c:pt>
                <c:pt idx="63004">
                  <c:v>43.1074021569462</c:v>
                </c:pt>
                <c:pt idx="63005">
                  <c:v>28.950846706278842</c:v>
                </c:pt>
                <c:pt idx="63006">
                  <c:v>34.28750412056133</c:v>
                </c:pt>
                <c:pt idx="63007">
                  <c:v>47.840851226500639</c:v>
                </c:pt>
                <c:pt idx="63008">
                  <c:v>23.24596460858448</c:v>
                </c:pt>
                <c:pt idx="63009">
                  <c:v>25.060169074074587</c:v>
                </c:pt>
                <c:pt idx="63010">
                  <c:v>22.498736191110915</c:v>
                </c:pt>
                <c:pt idx="63011">
                  <c:v>38.011686588123034</c:v>
                </c:pt>
                <c:pt idx="63012">
                  <c:v>40.045757458896588</c:v>
                </c:pt>
                <c:pt idx="63013">
                  <c:v>45.132629546677556</c:v>
                </c:pt>
                <c:pt idx="63014">
                  <c:v>27.760195388471217</c:v>
                </c:pt>
                <c:pt idx="63015">
                  <c:v>18.358529606594388</c:v>
                </c:pt>
                <c:pt idx="63016">
                  <c:v>30.301616625821037</c:v>
                </c:pt>
                <c:pt idx="63017">
                  <c:v>23.596078992344001</c:v>
                </c:pt>
                <c:pt idx="63018">
                  <c:v>23.985188568432296</c:v>
                </c:pt>
                <c:pt idx="63019">
                  <c:v>27.518925822529418</c:v>
                </c:pt>
                <c:pt idx="63020">
                  <c:v>34.833105345567731</c:v>
                </c:pt>
                <c:pt idx="63021">
                  <c:v>25.171866381795276</c:v>
                </c:pt>
                <c:pt idx="63022">
                  <c:v>57.585106264324125</c:v>
                </c:pt>
                <c:pt idx="63023">
                  <c:v>49.727966552128962</c:v>
                </c:pt>
                <c:pt idx="63024">
                  <c:v>33.877684018266713</c:v>
                </c:pt>
                <c:pt idx="63025">
                  <c:v>18.941308017479059</c:v>
                </c:pt>
                <c:pt idx="63026">
                  <c:v>54.013193714761023</c:v>
                </c:pt>
                <c:pt idx="63027">
                  <c:v>23.804098021751322</c:v>
                </c:pt>
                <c:pt idx="63028">
                  <c:v>48.052595426936257</c:v>
                </c:pt>
                <c:pt idx="63029">
                  <c:v>26.432307804666671</c:v>
                </c:pt>
                <c:pt idx="63030">
                  <c:v>35.132319661350657</c:v>
                </c:pt>
                <c:pt idx="63031">
                  <c:v>25.387160842047784</c:v>
                </c:pt>
                <c:pt idx="63032">
                  <c:v>26.684494843402526</c:v>
                </c:pt>
                <c:pt idx="63033">
                  <c:v>34.660722536302153</c:v>
                </c:pt>
                <c:pt idx="63034">
                  <c:v>32.541373497228143</c:v>
                </c:pt>
                <c:pt idx="63035">
                  <c:v>17.143150231724547</c:v>
                </c:pt>
                <c:pt idx="63036">
                  <c:v>26.592040500283918</c:v>
                </c:pt>
                <c:pt idx="63037">
                  <c:v>35.519193596407227</c:v>
                </c:pt>
                <c:pt idx="63038">
                  <c:v>45.176731934000955</c:v>
                </c:pt>
                <c:pt idx="63039">
                  <c:v>31.544609547119542</c:v>
                </c:pt>
                <c:pt idx="63040">
                  <c:v>26.185998181242102</c:v>
                </c:pt>
                <c:pt idx="63041">
                  <c:v>24.088485748180837</c:v>
                </c:pt>
                <c:pt idx="63042">
                  <c:v>60.877150568626071</c:v>
                </c:pt>
                <c:pt idx="63043">
                  <c:v>42.902175564882903</c:v>
                </c:pt>
                <c:pt idx="63044">
                  <c:v>24.589925966104456</c:v>
                </c:pt>
                <c:pt idx="63045">
                  <c:v>24.149845250719522</c:v>
                </c:pt>
                <c:pt idx="63046">
                  <c:v>42.49267602269137</c:v>
                </c:pt>
                <c:pt idx="63047">
                  <c:v>20.582695274448437</c:v>
                </c:pt>
                <c:pt idx="63048">
                  <c:v>41.70114787283039</c:v>
                </c:pt>
                <c:pt idx="63049">
                  <c:v>25.053540925078494</c:v>
                </c:pt>
                <c:pt idx="63050">
                  <c:v>22.59812815508068</c:v>
                </c:pt>
                <c:pt idx="63051">
                  <c:v>26.1693160098147</c:v>
                </c:pt>
                <c:pt idx="63052">
                  <c:v>43.513380851549357</c:v>
                </c:pt>
                <c:pt idx="63053">
                  <c:v>28.401938378936968</c:v>
                </c:pt>
                <c:pt idx="63054">
                  <c:v>26.943382847580093</c:v>
                </c:pt>
                <c:pt idx="63055">
                  <c:v>18.331286971696507</c:v>
                </c:pt>
                <c:pt idx="63056">
                  <c:v>28.745531221236433</c:v>
                </c:pt>
                <c:pt idx="63057">
                  <c:v>25.512941105127883</c:v>
                </c:pt>
                <c:pt idx="63058">
                  <c:v>53.114845851552239</c:v>
                </c:pt>
                <c:pt idx="63059">
                  <c:v>38.950369774014895</c:v>
                </c:pt>
                <c:pt idx="63060">
                  <c:v>20.969854314310904</c:v>
                </c:pt>
                <c:pt idx="63061">
                  <c:v>40.806852264310272</c:v>
                </c:pt>
                <c:pt idx="63062">
                  <c:v>32.468935835828766</c:v>
                </c:pt>
                <c:pt idx="63063">
                  <c:v>35.806446541833139</c:v>
                </c:pt>
                <c:pt idx="63064">
                  <c:v>35.526630628842064</c:v>
                </c:pt>
                <c:pt idx="63065">
                  <c:v>24.873252262668256</c:v>
                </c:pt>
                <c:pt idx="63066">
                  <c:v>26.383687849704614</c:v>
                </c:pt>
                <c:pt idx="63067">
                  <c:v>33.355207635728028</c:v>
                </c:pt>
                <c:pt idx="63068">
                  <c:v>31.529752988823915</c:v>
                </c:pt>
                <c:pt idx="63069">
                  <c:v>45.60729650216404</c:v>
                </c:pt>
                <c:pt idx="63070">
                  <c:v>22.915532226738687</c:v>
                </c:pt>
                <c:pt idx="63071">
                  <c:v>25.322561072804049</c:v>
                </c:pt>
                <c:pt idx="63072">
                  <c:v>25.932617386555442</c:v>
                </c:pt>
                <c:pt idx="63073">
                  <c:v>29.3761286588513</c:v>
                </c:pt>
                <c:pt idx="63074">
                  <c:v>32.051795492522785</c:v>
                </c:pt>
                <c:pt idx="63075">
                  <c:v>25.235031419978782</c:v>
                </c:pt>
                <c:pt idx="63076">
                  <c:v>24.971782718495295</c:v>
                </c:pt>
                <c:pt idx="63077">
                  <c:v>27.638839373607382</c:v>
                </c:pt>
                <c:pt idx="63078">
                  <c:v>21.806237355021487</c:v>
                </c:pt>
                <c:pt idx="63079">
                  <c:v>51.23418565226725</c:v>
                </c:pt>
                <c:pt idx="63080">
                  <c:v>29.26441756346971</c:v>
                </c:pt>
                <c:pt idx="63081">
                  <c:v>38.507898490536355</c:v>
                </c:pt>
                <c:pt idx="63082">
                  <c:v>59.923064389156998</c:v>
                </c:pt>
                <c:pt idx="63083">
                  <c:v>29.852829343648736</c:v>
                </c:pt>
                <c:pt idx="63084">
                  <c:v>24.976554278011484</c:v>
                </c:pt>
                <c:pt idx="63085">
                  <c:v>39.748041117718046</c:v>
                </c:pt>
                <c:pt idx="63086">
                  <c:v>49.72945369384778</c:v>
                </c:pt>
                <c:pt idx="63087">
                  <c:v>48.358161510170504</c:v>
                </c:pt>
                <c:pt idx="63088">
                  <c:v>41.65426508187447</c:v>
                </c:pt>
                <c:pt idx="63089">
                  <c:v>24.572922282760132</c:v>
                </c:pt>
                <c:pt idx="63090">
                  <c:v>21.272930497777047</c:v>
                </c:pt>
                <c:pt idx="63091">
                  <c:v>23.370223988396521</c:v>
                </c:pt>
                <c:pt idx="63092">
                  <c:v>44.807917593852544</c:v>
                </c:pt>
                <c:pt idx="63093">
                  <c:v>35.667076459552945</c:v>
                </c:pt>
                <c:pt idx="63094">
                  <c:v>24.967914439190089</c:v>
                </c:pt>
                <c:pt idx="63095">
                  <c:v>25.236675938070061</c:v>
                </c:pt>
                <c:pt idx="63096">
                  <c:v>32.407538008029107</c:v>
                </c:pt>
                <c:pt idx="63097">
                  <c:v>23.656589128817604</c:v>
                </c:pt>
                <c:pt idx="63098">
                  <c:v>15.03929057720174</c:v>
                </c:pt>
                <c:pt idx="63099">
                  <c:v>23.340688588318919</c:v>
                </c:pt>
                <c:pt idx="63100">
                  <c:v>23.669914414941481</c:v>
                </c:pt>
                <c:pt idx="63101">
                  <c:v>52.309507860864294</c:v>
                </c:pt>
                <c:pt idx="63102">
                  <c:v>24.816538997089133</c:v>
                </c:pt>
                <c:pt idx="63103">
                  <c:v>32.79908854277695</c:v>
                </c:pt>
                <c:pt idx="63104">
                  <c:v>22.469413574648918</c:v>
                </c:pt>
                <c:pt idx="63105">
                  <c:v>41.241837732212041</c:v>
                </c:pt>
                <c:pt idx="63106">
                  <c:v>29.605005632566023</c:v>
                </c:pt>
                <c:pt idx="63107">
                  <c:v>23.213105953727762</c:v>
                </c:pt>
                <c:pt idx="63108">
                  <c:v>25.067307018627332</c:v>
                </c:pt>
                <c:pt idx="63109">
                  <c:v>51.742404851303718</c:v>
                </c:pt>
                <c:pt idx="63110">
                  <c:v>36.909412851048714</c:v>
                </c:pt>
                <c:pt idx="63111">
                  <c:v>48.725197762943353</c:v>
                </c:pt>
                <c:pt idx="63112">
                  <c:v>33.437326840023616</c:v>
                </c:pt>
                <c:pt idx="63113">
                  <c:v>24.370629218071375</c:v>
                </c:pt>
                <c:pt idx="63114">
                  <c:v>27.79871811870931</c:v>
                </c:pt>
                <c:pt idx="63115">
                  <c:v>14.824686297495939</c:v>
                </c:pt>
                <c:pt idx="63116">
                  <c:v>45.965000278885597</c:v>
                </c:pt>
                <c:pt idx="63117">
                  <c:v>41.571656408019393</c:v>
                </c:pt>
                <c:pt idx="63118">
                  <c:v>31.592378666007534</c:v>
                </c:pt>
                <c:pt idx="63119">
                  <c:v>24.72528013193206</c:v>
                </c:pt>
                <c:pt idx="63120">
                  <c:v>20.614418036528871</c:v>
                </c:pt>
                <c:pt idx="63121">
                  <c:v>34.040842648919352</c:v>
                </c:pt>
                <c:pt idx="63122">
                  <c:v>21.449164428432432</c:v>
                </c:pt>
                <c:pt idx="63123">
                  <c:v>37.582487456836049</c:v>
                </c:pt>
                <c:pt idx="63124">
                  <c:v>20.482625690946573</c:v>
                </c:pt>
                <c:pt idx="63125">
                  <c:v>37.996471999880782</c:v>
                </c:pt>
                <c:pt idx="63126">
                  <c:v>33.816235822107231</c:v>
                </c:pt>
                <c:pt idx="63127">
                  <c:v>18.67253800961123</c:v>
                </c:pt>
                <c:pt idx="63128">
                  <c:v>29.93796700202239</c:v>
                </c:pt>
                <c:pt idx="63129">
                  <c:v>47.919284590958767</c:v>
                </c:pt>
                <c:pt idx="63130">
                  <c:v>24.345268145481914</c:v>
                </c:pt>
                <c:pt idx="63131">
                  <c:v>19.500839197481326</c:v>
                </c:pt>
                <c:pt idx="63132">
                  <c:v>33.781782996875464</c:v>
                </c:pt>
                <c:pt idx="63133">
                  <c:v>41.38216920541911</c:v>
                </c:pt>
                <c:pt idx="63134">
                  <c:v>52.532181145804188</c:v>
                </c:pt>
                <c:pt idx="63135">
                  <c:v>29.188080203499098</c:v>
                </c:pt>
                <c:pt idx="63136">
                  <c:v>43.69039366524602</c:v>
                </c:pt>
                <c:pt idx="63137">
                  <c:v>24.51829997907247</c:v>
                </c:pt>
                <c:pt idx="63138">
                  <c:v>43.113706986007742</c:v>
                </c:pt>
                <c:pt idx="63139">
                  <c:v>17.494288589659522</c:v>
                </c:pt>
                <c:pt idx="63140">
                  <c:v>30.876089796528454</c:v>
                </c:pt>
                <c:pt idx="63141">
                  <c:v>23.250206991674471</c:v>
                </c:pt>
                <c:pt idx="63142">
                  <c:v>28.33779828507496</c:v>
                </c:pt>
                <c:pt idx="63143">
                  <c:v>29.242275788160491</c:v>
                </c:pt>
                <c:pt idx="63144">
                  <c:v>28.280984687484658</c:v>
                </c:pt>
                <c:pt idx="63145">
                  <c:v>20.378964918760804</c:v>
                </c:pt>
                <c:pt idx="63146">
                  <c:v>30.201985008193695</c:v>
                </c:pt>
                <c:pt idx="63147">
                  <c:v>28.406319707231965</c:v>
                </c:pt>
                <c:pt idx="63148">
                  <c:v>34.174309131749879</c:v>
                </c:pt>
                <c:pt idx="63149">
                  <c:v>36.847091389837217</c:v>
                </c:pt>
                <c:pt idx="63150">
                  <c:v>20.80616604238288</c:v>
                </c:pt>
                <c:pt idx="63151">
                  <c:v>21.352579075257101</c:v>
                </c:pt>
                <c:pt idx="63152">
                  <c:v>28.649704339423415</c:v>
                </c:pt>
                <c:pt idx="63153">
                  <c:v>26.400194200891459</c:v>
                </c:pt>
                <c:pt idx="63154">
                  <c:v>27.16313474933505</c:v>
                </c:pt>
                <c:pt idx="63155">
                  <c:v>20.262274302634669</c:v>
                </c:pt>
                <c:pt idx="63156">
                  <c:v>21.197134045778295</c:v>
                </c:pt>
                <c:pt idx="63157">
                  <c:v>26.532797179479061</c:v>
                </c:pt>
                <c:pt idx="63158">
                  <c:v>38.942682603964968</c:v>
                </c:pt>
                <c:pt idx="63159">
                  <c:v>27.553426913670656</c:v>
                </c:pt>
                <c:pt idx="63160">
                  <c:v>25.261377337042777</c:v>
                </c:pt>
                <c:pt idx="63161">
                  <c:v>40.781713439841369</c:v>
                </c:pt>
                <c:pt idx="63162">
                  <c:v>26.029774575106327</c:v>
                </c:pt>
                <c:pt idx="63163">
                  <c:v>21.454724593793088</c:v>
                </c:pt>
                <c:pt idx="63164">
                  <c:v>50.174145443240043</c:v>
                </c:pt>
                <c:pt idx="63165">
                  <c:v>29.761564193340256</c:v>
                </c:pt>
                <c:pt idx="63166">
                  <c:v>34.003117811641289</c:v>
                </c:pt>
                <c:pt idx="63167">
                  <c:v>27.000062841400812</c:v>
                </c:pt>
                <c:pt idx="63168">
                  <c:v>21.410589235884164</c:v>
                </c:pt>
                <c:pt idx="63169">
                  <c:v>22.775110037158303</c:v>
                </c:pt>
                <c:pt idx="63170">
                  <c:v>26.465965658038364</c:v>
                </c:pt>
                <c:pt idx="63171">
                  <c:v>44.124679971161932</c:v>
                </c:pt>
                <c:pt idx="63172">
                  <c:v>25.242118268930486</c:v>
                </c:pt>
                <c:pt idx="63173">
                  <c:v>25.898555100816928</c:v>
                </c:pt>
                <c:pt idx="63174">
                  <c:v>28.415079548665009</c:v>
                </c:pt>
                <c:pt idx="63175">
                  <c:v>40.61923021758242</c:v>
                </c:pt>
                <c:pt idx="63176">
                  <c:v>22.373956772685215</c:v>
                </c:pt>
                <c:pt idx="63177">
                  <c:v>26.753149039546123</c:v>
                </c:pt>
                <c:pt idx="63178">
                  <c:v>51.103303083440224</c:v>
                </c:pt>
                <c:pt idx="63179">
                  <c:v>33.458972537319269</c:v>
                </c:pt>
                <c:pt idx="63180">
                  <c:v>32.479245296923452</c:v>
                </c:pt>
                <c:pt idx="63181">
                  <c:v>22.858205353546911</c:v>
                </c:pt>
                <c:pt idx="63182">
                  <c:v>27.669414656948327</c:v>
                </c:pt>
                <c:pt idx="63183">
                  <c:v>28.951921029405433</c:v>
                </c:pt>
                <c:pt idx="63184">
                  <c:v>31.391433319361653</c:v>
                </c:pt>
                <c:pt idx="63185">
                  <c:v>16.66875792616576</c:v>
                </c:pt>
                <c:pt idx="63186">
                  <c:v>50.909258449735098</c:v>
                </c:pt>
                <c:pt idx="63187">
                  <c:v>29.621266418888563</c:v>
                </c:pt>
                <c:pt idx="63188">
                  <c:v>36.283210219072245</c:v>
                </c:pt>
                <c:pt idx="63189">
                  <c:v>29.577014974923802</c:v>
                </c:pt>
                <c:pt idx="63190">
                  <c:v>17.252504687941233</c:v>
                </c:pt>
                <c:pt idx="63191">
                  <c:v>28.410961131912313</c:v>
                </c:pt>
                <c:pt idx="63192">
                  <c:v>45.970577870781391</c:v>
                </c:pt>
                <c:pt idx="63193">
                  <c:v>18.071382885770475</c:v>
                </c:pt>
                <c:pt idx="63194">
                  <c:v>27.712926363330908</c:v>
                </c:pt>
                <c:pt idx="63195">
                  <c:v>30.094252553703114</c:v>
                </c:pt>
                <c:pt idx="63196">
                  <c:v>23.335924603449374</c:v>
                </c:pt>
                <c:pt idx="63197">
                  <c:v>36.971320566846487</c:v>
                </c:pt>
                <c:pt idx="63198">
                  <c:v>34.677150728244207</c:v>
                </c:pt>
                <c:pt idx="63199">
                  <c:v>32.729495100842477</c:v>
                </c:pt>
                <c:pt idx="63200">
                  <c:v>35.66107490881997</c:v>
                </c:pt>
                <c:pt idx="63201">
                  <c:v>44.8652502094412</c:v>
                </c:pt>
                <c:pt idx="63202">
                  <c:v>20.058596756240398</c:v>
                </c:pt>
                <c:pt idx="63203">
                  <c:v>32.319743926386991</c:v>
                </c:pt>
                <c:pt idx="63204">
                  <c:v>40.445044380849119</c:v>
                </c:pt>
                <c:pt idx="63205">
                  <c:v>30.43670515145299</c:v>
                </c:pt>
                <c:pt idx="63206">
                  <c:v>22.216819466308873</c:v>
                </c:pt>
                <c:pt idx="63207">
                  <c:v>26.569119585716141</c:v>
                </c:pt>
                <c:pt idx="63208">
                  <c:v>24.453156273920335</c:v>
                </c:pt>
                <c:pt idx="63209">
                  <c:v>32.968484786574507</c:v>
                </c:pt>
                <c:pt idx="63210">
                  <c:v>24.451959343488525</c:v>
                </c:pt>
                <c:pt idx="63211">
                  <c:v>43.553118020322877</c:v>
                </c:pt>
                <c:pt idx="63212">
                  <c:v>37.976905981190853</c:v>
                </c:pt>
                <c:pt idx="63213">
                  <c:v>44.525098731228233</c:v>
                </c:pt>
                <c:pt idx="63214">
                  <c:v>23.976316127411227</c:v>
                </c:pt>
                <c:pt idx="63215">
                  <c:v>27.644101950578293</c:v>
                </c:pt>
                <c:pt idx="63216">
                  <c:v>27.4552596292096</c:v>
                </c:pt>
                <c:pt idx="63217">
                  <c:v>34.171181751349074</c:v>
                </c:pt>
                <c:pt idx="63218">
                  <c:v>21.06274934999745</c:v>
                </c:pt>
                <c:pt idx="63219">
                  <c:v>30.879606216575791</c:v>
                </c:pt>
                <c:pt idx="63220">
                  <c:v>29.893780354344045</c:v>
                </c:pt>
                <c:pt idx="63221">
                  <c:v>42.842483778169289</c:v>
                </c:pt>
                <c:pt idx="63222">
                  <c:v>25.243600748433259</c:v>
                </c:pt>
                <c:pt idx="63223">
                  <c:v>25.887411872562449</c:v>
                </c:pt>
                <c:pt idx="63224">
                  <c:v>23.657856870525286</c:v>
                </c:pt>
                <c:pt idx="63225">
                  <c:v>24.453206809182717</c:v>
                </c:pt>
                <c:pt idx="63226">
                  <c:v>46.078620587414989</c:v>
                </c:pt>
                <c:pt idx="63227">
                  <c:v>20.850260648665753</c:v>
                </c:pt>
                <c:pt idx="63228">
                  <c:v>27.043155359665395</c:v>
                </c:pt>
                <c:pt idx="63229">
                  <c:v>35.496651815672465</c:v>
                </c:pt>
                <c:pt idx="63230">
                  <c:v>39.671758919779293</c:v>
                </c:pt>
                <c:pt idx="63231">
                  <c:v>23.704734444986521</c:v>
                </c:pt>
                <c:pt idx="63232">
                  <c:v>33.235495443367554</c:v>
                </c:pt>
                <c:pt idx="63233">
                  <c:v>48.034654642296061</c:v>
                </c:pt>
                <c:pt idx="63234">
                  <c:v>23.459953160828242</c:v>
                </c:pt>
                <c:pt idx="63235">
                  <c:v>16.477180607310679</c:v>
                </c:pt>
                <c:pt idx="63236">
                  <c:v>21.989751403635868</c:v>
                </c:pt>
                <c:pt idx="63237">
                  <c:v>29.049889038495884</c:v>
                </c:pt>
                <c:pt idx="63238">
                  <c:v>27.57297941554388</c:v>
                </c:pt>
                <c:pt idx="63239">
                  <c:v>43.649155432158992</c:v>
                </c:pt>
                <c:pt idx="63240">
                  <c:v>48.596259523425104</c:v>
                </c:pt>
                <c:pt idx="63241">
                  <c:v>42.474111039839556</c:v>
                </c:pt>
                <c:pt idx="63242">
                  <c:v>32.952322997025789</c:v>
                </c:pt>
                <c:pt idx="63243">
                  <c:v>48.858931627341775</c:v>
                </c:pt>
                <c:pt idx="63244">
                  <c:v>26.445135675403304</c:v>
                </c:pt>
                <c:pt idx="63245">
                  <c:v>21.567600244278996</c:v>
                </c:pt>
                <c:pt idx="63246">
                  <c:v>24.228811077003481</c:v>
                </c:pt>
                <c:pt idx="63247">
                  <c:v>34.304623038430961</c:v>
                </c:pt>
                <c:pt idx="63248">
                  <c:v>47.077127494345184</c:v>
                </c:pt>
                <c:pt idx="63249">
                  <c:v>38.753707386392882</c:v>
                </c:pt>
                <c:pt idx="63250">
                  <c:v>30.04440469835718</c:v>
                </c:pt>
                <c:pt idx="63251">
                  <c:v>29.20149834513191</c:v>
                </c:pt>
                <c:pt idx="63252">
                  <c:v>40.431224452847019</c:v>
                </c:pt>
                <c:pt idx="63253">
                  <c:v>23.748866890299922</c:v>
                </c:pt>
                <c:pt idx="63254">
                  <c:v>34.705291178857983</c:v>
                </c:pt>
                <c:pt idx="63255">
                  <c:v>27.304834660909506</c:v>
                </c:pt>
                <c:pt idx="63256">
                  <c:v>28.607790012405012</c:v>
                </c:pt>
                <c:pt idx="63257">
                  <c:v>49.218232610738681</c:v>
                </c:pt>
                <c:pt idx="63258">
                  <c:v>41.453097668686013</c:v>
                </c:pt>
                <c:pt idx="63259">
                  <c:v>42.658812666798475</c:v>
                </c:pt>
                <c:pt idx="63260">
                  <c:v>31.637581359443505</c:v>
                </c:pt>
                <c:pt idx="63261">
                  <c:v>54.444023403185589</c:v>
                </c:pt>
                <c:pt idx="63262">
                  <c:v>48.553476803384392</c:v>
                </c:pt>
                <c:pt idx="63263">
                  <c:v>27.692483301454875</c:v>
                </c:pt>
                <c:pt idx="63264">
                  <c:v>40.747160147608909</c:v>
                </c:pt>
                <c:pt idx="63265">
                  <c:v>27.26975078088568</c:v>
                </c:pt>
                <c:pt idx="63266">
                  <c:v>34.722060787225743</c:v>
                </c:pt>
                <c:pt idx="63267">
                  <c:v>25.919364936997461</c:v>
                </c:pt>
                <c:pt idx="63268">
                  <c:v>34.46275489785026</c:v>
                </c:pt>
                <c:pt idx="63269">
                  <c:v>25.912170729011553</c:v>
                </c:pt>
                <c:pt idx="63270">
                  <c:v>25.993132188470135</c:v>
                </c:pt>
                <c:pt idx="63271">
                  <c:v>50.473351922001903</c:v>
                </c:pt>
                <c:pt idx="63272">
                  <c:v>30.151923244519121</c:v>
                </c:pt>
                <c:pt idx="63273">
                  <c:v>26.128990154966345</c:v>
                </c:pt>
                <c:pt idx="63274">
                  <c:v>36.117176467449298</c:v>
                </c:pt>
                <c:pt idx="63275">
                  <c:v>39.672053943364901</c:v>
                </c:pt>
                <c:pt idx="63276">
                  <c:v>55.999480947122365</c:v>
                </c:pt>
                <c:pt idx="63277">
                  <c:v>20.151980985149542</c:v>
                </c:pt>
                <c:pt idx="63278">
                  <c:v>44.898618399822894</c:v>
                </c:pt>
                <c:pt idx="63279">
                  <c:v>18.721235422656491</c:v>
                </c:pt>
                <c:pt idx="63280">
                  <c:v>31.866228141981733</c:v>
                </c:pt>
                <c:pt idx="63281">
                  <c:v>51.915951785590252</c:v>
                </c:pt>
                <c:pt idx="63282">
                  <c:v>48.379729982664529</c:v>
                </c:pt>
                <c:pt idx="63283">
                  <c:v>23.240469087581083</c:v>
                </c:pt>
                <c:pt idx="63284">
                  <c:v>26.58908158687472</c:v>
                </c:pt>
                <c:pt idx="63285">
                  <c:v>41.28294185040275</c:v>
                </c:pt>
                <c:pt idx="63286">
                  <c:v>25.640637670042018</c:v>
                </c:pt>
                <c:pt idx="63287">
                  <c:v>30.445287127684423</c:v>
                </c:pt>
                <c:pt idx="63288">
                  <c:v>27.901211807056566</c:v>
                </c:pt>
                <c:pt idx="63289">
                  <c:v>26.318382005414762</c:v>
                </c:pt>
                <c:pt idx="63290">
                  <c:v>29.034795202060703</c:v>
                </c:pt>
                <c:pt idx="63291">
                  <c:v>29.758903013177381</c:v>
                </c:pt>
                <c:pt idx="63292">
                  <c:v>19.031459717186163</c:v>
                </c:pt>
                <c:pt idx="63293">
                  <c:v>37.620867366777432</c:v>
                </c:pt>
                <c:pt idx="63294">
                  <c:v>23.963668037773026</c:v>
                </c:pt>
                <c:pt idx="63295">
                  <c:v>22.504659332561506</c:v>
                </c:pt>
                <c:pt idx="63296">
                  <c:v>26.855080885605126</c:v>
                </c:pt>
                <c:pt idx="63297">
                  <c:v>38.863544035666095</c:v>
                </c:pt>
                <c:pt idx="63298">
                  <c:v>21.432182789636592</c:v>
                </c:pt>
                <c:pt idx="63299">
                  <c:v>32.211253152150789</c:v>
                </c:pt>
                <c:pt idx="63300">
                  <c:v>27.29771060883148</c:v>
                </c:pt>
                <c:pt idx="63301">
                  <c:v>41.04531859388468</c:v>
                </c:pt>
                <c:pt idx="63302">
                  <c:v>27.839846235189494</c:v>
                </c:pt>
                <c:pt idx="63303">
                  <c:v>29.610529669111287</c:v>
                </c:pt>
                <c:pt idx="63304">
                  <c:v>20.639615257200532</c:v>
                </c:pt>
                <c:pt idx="63305">
                  <c:v>19.47243499269856</c:v>
                </c:pt>
                <c:pt idx="63306">
                  <c:v>24.485738825670566</c:v>
                </c:pt>
                <c:pt idx="63307">
                  <c:v>32.069929014974676</c:v>
                </c:pt>
                <c:pt idx="63308">
                  <c:v>23.001275380782399</c:v>
                </c:pt>
                <c:pt idx="63309">
                  <c:v>29.315776272164122</c:v>
                </c:pt>
                <c:pt idx="63310">
                  <c:v>58.409227570619635</c:v>
                </c:pt>
                <c:pt idx="63311">
                  <c:v>41.52144892325714</c:v>
                </c:pt>
                <c:pt idx="63312">
                  <c:v>46.854651209065388</c:v>
                </c:pt>
                <c:pt idx="63313">
                  <c:v>23.683079252585564</c:v>
                </c:pt>
                <c:pt idx="63314">
                  <c:v>17.743101896744836</c:v>
                </c:pt>
                <c:pt idx="63315">
                  <c:v>27.241871646472767</c:v>
                </c:pt>
                <c:pt idx="63316">
                  <c:v>24.423625317633093</c:v>
                </c:pt>
                <c:pt idx="63317">
                  <c:v>37.898186658104564</c:v>
                </c:pt>
                <c:pt idx="63318">
                  <c:v>35.411324395971718</c:v>
                </c:pt>
                <c:pt idx="63319">
                  <c:v>25.685710216267328</c:v>
                </c:pt>
                <c:pt idx="63320">
                  <c:v>39.964096586857195</c:v>
                </c:pt>
                <c:pt idx="63321">
                  <c:v>21.886938519193887</c:v>
                </c:pt>
                <c:pt idx="63322">
                  <c:v>26.318907622714633</c:v>
                </c:pt>
                <c:pt idx="63323">
                  <c:v>47.022543052628727</c:v>
                </c:pt>
                <c:pt idx="63324">
                  <c:v>26.183486554416497</c:v>
                </c:pt>
                <c:pt idx="63325">
                  <c:v>32.084449501915408</c:v>
                </c:pt>
                <c:pt idx="63326">
                  <c:v>32.981708703758514</c:v>
                </c:pt>
                <c:pt idx="63327">
                  <c:v>56.974145485831208</c:v>
                </c:pt>
                <c:pt idx="63328">
                  <c:v>21.125037646035885</c:v>
                </c:pt>
                <c:pt idx="63329">
                  <c:v>28.179247283073916</c:v>
                </c:pt>
                <c:pt idx="63330">
                  <c:v>26.90659074052023</c:v>
                </c:pt>
                <c:pt idx="63331">
                  <c:v>50.339896267035272</c:v>
                </c:pt>
                <c:pt idx="63332">
                  <c:v>20.337150228435117</c:v>
                </c:pt>
                <c:pt idx="63333">
                  <c:v>60.49406815700533</c:v>
                </c:pt>
                <c:pt idx="63334">
                  <c:v>33.237787384204267</c:v>
                </c:pt>
                <c:pt idx="63335">
                  <c:v>25.547631531802139</c:v>
                </c:pt>
                <c:pt idx="63336">
                  <c:v>22.55281375699257</c:v>
                </c:pt>
                <c:pt idx="63337">
                  <c:v>32.762463583509643</c:v>
                </c:pt>
                <c:pt idx="63338">
                  <c:v>29.168915556336199</c:v>
                </c:pt>
                <c:pt idx="63339">
                  <c:v>26.662775815491376</c:v>
                </c:pt>
                <c:pt idx="63340">
                  <c:v>43.520169032463116</c:v>
                </c:pt>
                <c:pt idx="63341">
                  <c:v>25.654122688394772</c:v>
                </c:pt>
                <c:pt idx="63342">
                  <c:v>23.570728760398985</c:v>
                </c:pt>
                <c:pt idx="63343">
                  <c:v>23.075846392130149</c:v>
                </c:pt>
                <c:pt idx="63344">
                  <c:v>19.614672443024887</c:v>
                </c:pt>
                <c:pt idx="63345">
                  <c:v>21.140971766802423</c:v>
                </c:pt>
                <c:pt idx="63346">
                  <c:v>25.940051694294539</c:v>
                </c:pt>
                <c:pt idx="63347">
                  <c:v>30.607229223432576</c:v>
                </c:pt>
                <c:pt idx="63348">
                  <c:v>32.686262241348096</c:v>
                </c:pt>
                <c:pt idx="63349">
                  <c:v>33.452216980528462</c:v>
                </c:pt>
                <c:pt idx="63350">
                  <c:v>49.478436458186451</c:v>
                </c:pt>
                <c:pt idx="63351">
                  <c:v>24.859423661262412</c:v>
                </c:pt>
                <c:pt idx="63352">
                  <c:v>25.691668196296611</c:v>
                </c:pt>
                <c:pt idx="63353">
                  <c:v>22.997011571449846</c:v>
                </c:pt>
                <c:pt idx="63354">
                  <c:v>46.980926249053745</c:v>
                </c:pt>
                <c:pt idx="63355">
                  <c:v>48.856562528030167</c:v>
                </c:pt>
                <c:pt idx="63356">
                  <c:v>26.910236979153627</c:v>
                </c:pt>
                <c:pt idx="63357">
                  <c:v>32.396773681424094</c:v>
                </c:pt>
                <c:pt idx="63358">
                  <c:v>34.196679749654237</c:v>
                </c:pt>
                <c:pt idx="63359">
                  <c:v>32.111588155209603</c:v>
                </c:pt>
                <c:pt idx="63360">
                  <c:v>19.979019359944019</c:v>
                </c:pt>
                <c:pt idx="63361">
                  <c:v>27.391442437469223</c:v>
                </c:pt>
                <c:pt idx="63362">
                  <c:v>42.565953156627451</c:v>
                </c:pt>
                <c:pt idx="63363">
                  <c:v>35.645201056656603</c:v>
                </c:pt>
                <c:pt idx="63364">
                  <c:v>24.653862197472925</c:v>
                </c:pt>
                <c:pt idx="63365">
                  <c:v>29.446767335377508</c:v>
                </c:pt>
                <c:pt idx="63366">
                  <c:v>33.088751275085123</c:v>
                </c:pt>
                <c:pt idx="63367">
                  <c:v>18.608467927619422</c:v>
                </c:pt>
                <c:pt idx="63368">
                  <c:v>24.442602310122584</c:v>
                </c:pt>
                <c:pt idx="63369">
                  <c:v>22.881822376038542</c:v>
                </c:pt>
                <c:pt idx="63370">
                  <c:v>44.593102386548402</c:v>
                </c:pt>
                <c:pt idx="63371">
                  <c:v>25.716300977743295</c:v>
                </c:pt>
                <c:pt idx="63372">
                  <c:v>28.250662594105023</c:v>
                </c:pt>
                <c:pt idx="63373">
                  <c:v>25.359475906267601</c:v>
                </c:pt>
                <c:pt idx="63374">
                  <c:v>25.596467022025681</c:v>
                </c:pt>
                <c:pt idx="63375">
                  <c:v>47.655352193589358</c:v>
                </c:pt>
                <c:pt idx="63376">
                  <c:v>21.35522632646445</c:v>
                </c:pt>
                <c:pt idx="63377">
                  <c:v>40.999625492906219</c:v>
                </c:pt>
                <c:pt idx="63378">
                  <c:v>30.886945787634033</c:v>
                </c:pt>
                <c:pt idx="63379">
                  <c:v>29.756055217889571</c:v>
                </c:pt>
                <c:pt idx="63380">
                  <c:v>25.510814338290142</c:v>
                </c:pt>
                <c:pt idx="63381">
                  <c:v>29.914223005787186</c:v>
                </c:pt>
                <c:pt idx="63382">
                  <c:v>48.073243342417058</c:v>
                </c:pt>
                <c:pt idx="63383">
                  <c:v>36.010202344436635</c:v>
                </c:pt>
                <c:pt idx="63384">
                  <c:v>49.666202887648886</c:v>
                </c:pt>
                <c:pt idx="63385">
                  <c:v>22.803135864195831</c:v>
                </c:pt>
                <c:pt idx="63386">
                  <c:v>22.085765661083961</c:v>
                </c:pt>
                <c:pt idx="63387">
                  <c:v>24.158011562775187</c:v>
                </c:pt>
                <c:pt idx="63388">
                  <c:v>24.923288988413571</c:v>
                </c:pt>
                <c:pt idx="63389">
                  <c:v>26.411542277687381</c:v>
                </c:pt>
                <c:pt idx="63390">
                  <c:v>18.705486694079461</c:v>
                </c:pt>
                <c:pt idx="63391">
                  <c:v>38.642406601549609</c:v>
                </c:pt>
                <c:pt idx="63392">
                  <c:v>53.118767420351972</c:v>
                </c:pt>
                <c:pt idx="63393">
                  <c:v>26.823219559795294</c:v>
                </c:pt>
                <c:pt idx="63394">
                  <c:v>21.568230141206367</c:v>
                </c:pt>
                <c:pt idx="63395">
                  <c:v>29.716401733838556</c:v>
                </c:pt>
                <c:pt idx="63396">
                  <c:v>18.303186740705073</c:v>
                </c:pt>
                <c:pt idx="63397">
                  <c:v>36.131875479043138</c:v>
                </c:pt>
                <c:pt idx="63398">
                  <c:v>26.394628274061404</c:v>
                </c:pt>
                <c:pt idx="63399">
                  <c:v>24.441960560940828</c:v>
                </c:pt>
                <c:pt idx="63400">
                  <c:v>27.460377631816499</c:v>
                </c:pt>
                <c:pt idx="63401">
                  <c:v>24.422979125291519</c:v>
                </c:pt>
                <c:pt idx="63402">
                  <c:v>54.555364403833465</c:v>
                </c:pt>
                <c:pt idx="63403">
                  <c:v>31.598018423345277</c:v>
                </c:pt>
                <c:pt idx="63404">
                  <c:v>22.278967727203739</c:v>
                </c:pt>
                <c:pt idx="63405">
                  <c:v>22.59794045499148</c:v>
                </c:pt>
                <c:pt idx="63406">
                  <c:v>24.24666076168312</c:v>
                </c:pt>
                <c:pt idx="63407">
                  <c:v>32.439561363423962</c:v>
                </c:pt>
                <c:pt idx="63408">
                  <c:v>30.827996479899895</c:v>
                </c:pt>
                <c:pt idx="63409">
                  <c:v>45.68146442326352</c:v>
                </c:pt>
                <c:pt idx="63410">
                  <c:v>31.826525992304358</c:v>
                </c:pt>
                <c:pt idx="63411">
                  <c:v>34.829914245122893</c:v>
                </c:pt>
                <c:pt idx="63412">
                  <c:v>24.55108701404183</c:v>
                </c:pt>
                <c:pt idx="63413">
                  <c:v>57.25949431094508</c:v>
                </c:pt>
                <c:pt idx="63414">
                  <c:v>21.735146391245515</c:v>
                </c:pt>
                <c:pt idx="63415">
                  <c:v>32.481454369535719</c:v>
                </c:pt>
                <c:pt idx="63416">
                  <c:v>28.518062129118089</c:v>
                </c:pt>
                <c:pt idx="63417">
                  <c:v>48.241501754757891</c:v>
                </c:pt>
                <c:pt idx="63418">
                  <c:v>53.68695217618901</c:v>
                </c:pt>
                <c:pt idx="63419">
                  <c:v>28.376667805327646</c:v>
                </c:pt>
                <c:pt idx="63420">
                  <c:v>22.934958238026841</c:v>
                </c:pt>
                <c:pt idx="63421">
                  <c:v>26.394606554832535</c:v>
                </c:pt>
                <c:pt idx="63422">
                  <c:v>18.2741037035914</c:v>
                </c:pt>
                <c:pt idx="63423">
                  <c:v>38.945516310178633</c:v>
                </c:pt>
                <c:pt idx="63424">
                  <c:v>50.618715857264277</c:v>
                </c:pt>
                <c:pt idx="63425">
                  <c:v>41.849087926679331</c:v>
                </c:pt>
                <c:pt idx="63426">
                  <c:v>44.118077468571613</c:v>
                </c:pt>
                <c:pt idx="63427">
                  <c:v>33.825782493353884</c:v>
                </c:pt>
                <c:pt idx="63428">
                  <c:v>30.56890765191941</c:v>
                </c:pt>
                <c:pt idx="63429">
                  <c:v>29.430875986618503</c:v>
                </c:pt>
                <c:pt idx="63430">
                  <c:v>43.897726760857374</c:v>
                </c:pt>
                <c:pt idx="63431">
                  <c:v>41.949713052388717</c:v>
                </c:pt>
                <c:pt idx="63432">
                  <c:v>32.795123937764835</c:v>
                </c:pt>
                <c:pt idx="63433">
                  <c:v>42.286851092200848</c:v>
                </c:pt>
                <c:pt idx="63434">
                  <c:v>27.310622177162433</c:v>
                </c:pt>
                <c:pt idx="63435">
                  <c:v>34.013167740871651</c:v>
                </c:pt>
                <c:pt idx="63436">
                  <c:v>34.588093211465093</c:v>
                </c:pt>
                <c:pt idx="63437">
                  <c:v>29.860770180063586</c:v>
                </c:pt>
                <c:pt idx="63438">
                  <c:v>20.515663230141875</c:v>
                </c:pt>
                <c:pt idx="63439">
                  <c:v>23.118413713856462</c:v>
                </c:pt>
                <c:pt idx="63440">
                  <c:v>45.104703272591195</c:v>
                </c:pt>
                <c:pt idx="63441">
                  <c:v>19.655390107470289</c:v>
                </c:pt>
                <c:pt idx="63442">
                  <c:v>19.955030057550413</c:v>
                </c:pt>
                <c:pt idx="63443">
                  <c:v>27.464499591415834</c:v>
                </c:pt>
                <c:pt idx="63444">
                  <c:v>17.963832772406409</c:v>
                </c:pt>
                <c:pt idx="63445">
                  <c:v>19.305669741083854</c:v>
                </c:pt>
                <c:pt idx="63446">
                  <c:v>44.325999085009812</c:v>
                </c:pt>
                <c:pt idx="63447">
                  <c:v>35.510556975041062</c:v>
                </c:pt>
                <c:pt idx="63448">
                  <c:v>29.960252266498713</c:v>
                </c:pt>
                <c:pt idx="63449">
                  <c:v>25.115641419207591</c:v>
                </c:pt>
                <c:pt idx="63450">
                  <c:v>23.058741933767056</c:v>
                </c:pt>
                <c:pt idx="63451">
                  <c:v>51.949268500430293</c:v>
                </c:pt>
                <c:pt idx="63452">
                  <c:v>24.692246551123304</c:v>
                </c:pt>
                <c:pt idx="63453">
                  <c:v>28.0684321625446</c:v>
                </c:pt>
                <c:pt idx="63454">
                  <c:v>40.804260458177922</c:v>
                </c:pt>
                <c:pt idx="63455">
                  <c:v>29.296364116388247</c:v>
                </c:pt>
                <c:pt idx="63456">
                  <c:v>29.610411113835006</c:v>
                </c:pt>
                <c:pt idx="63457">
                  <c:v>21.406196814329022</c:v>
                </c:pt>
                <c:pt idx="63458">
                  <c:v>23.977568934556249</c:v>
                </c:pt>
                <c:pt idx="63459">
                  <c:v>37.310571261825707</c:v>
                </c:pt>
                <c:pt idx="63460">
                  <c:v>47.97973880000167</c:v>
                </c:pt>
                <c:pt idx="63461">
                  <c:v>19.153116802195228</c:v>
                </c:pt>
                <c:pt idx="63462">
                  <c:v>47.726926758842126</c:v>
                </c:pt>
                <c:pt idx="63463">
                  <c:v>24.02212002403234</c:v>
                </c:pt>
                <c:pt idx="63464">
                  <c:v>32.139738723471872</c:v>
                </c:pt>
                <c:pt idx="63465">
                  <c:v>44.688544500053773</c:v>
                </c:pt>
                <c:pt idx="63466">
                  <c:v>41.967128262274557</c:v>
                </c:pt>
                <c:pt idx="63467">
                  <c:v>36.538654136665819</c:v>
                </c:pt>
                <c:pt idx="63468">
                  <c:v>28.111373483425293</c:v>
                </c:pt>
                <c:pt idx="63469">
                  <c:v>30.232234740686764</c:v>
                </c:pt>
                <c:pt idx="63470">
                  <c:v>47.831907358576963</c:v>
                </c:pt>
                <c:pt idx="63471">
                  <c:v>34.120354399418247</c:v>
                </c:pt>
                <c:pt idx="63472">
                  <c:v>30.081661151356766</c:v>
                </c:pt>
                <c:pt idx="63473">
                  <c:v>26.396563372684568</c:v>
                </c:pt>
                <c:pt idx="63474">
                  <c:v>26.751907676115806</c:v>
                </c:pt>
                <c:pt idx="63475">
                  <c:v>25.213226974326602</c:v>
                </c:pt>
                <c:pt idx="63476">
                  <c:v>22.87452995482338</c:v>
                </c:pt>
                <c:pt idx="63477">
                  <c:v>53.392165857245487</c:v>
                </c:pt>
                <c:pt idx="63478">
                  <c:v>35.369278936659008</c:v>
                </c:pt>
                <c:pt idx="63479">
                  <c:v>25.42421889023467</c:v>
                </c:pt>
                <c:pt idx="63480">
                  <c:v>25.349518722253269</c:v>
                </c:pt>
                <c:pt idx="63481">
                  <c:v>30.059741062124296</c:v>
                </c:pt>
                <c:pt idx="63482">
                  <c:v>27.578510222552339</c:v>
                </c:pt>
                <c:pt idx="63483">
                  <c:v>23.157831965065402</c:v>
                </c:pt>
                <c:pt idx="63484">
                  <c:v>21.418980802895895</c:v>
                </c:pt>
                <c:pt idx="63485">
                  <c:v>33.949919796138452</c:v>
                </c:pt>
                <c:pt idx="63486">
                  <c:v>22.014240398854877</c:v>
                </c:pt>
                <c:pt idx="63487">
                  <c:v>23.714683735400193</c:v>
                </c:pt>
                <c:pt idx="63488">
                  <c:v>29.199425035293558</c:v>
                </c:pt>
                <c:pt idx="63489">
                  <c:v>31.382770551281432</c:v>
                </c:pt>
                <c:pt idx="63490">
                  <c:v>23.020981625828416</c:v>
                </c:pt>
                <c:pt idx="63491">
                  <c:v>23.335665521822357</c:v>
                </c:pt>
                <c:pt idx="63492">
                  <c:v>26.4246982907665</c:v>
                </c:pt>
                <c:pt idx="63493">
                  <c:v>60.034857678820593</c:v>
                </c:pt>
                <c:pt idx="63494">
                  <c:v>28.535646358860564</c:v>
                </c:pt>
                <c:pt idx="63495">
                  <c:v>26.899580954011149</c:v>
                </c:pt>
                <c:pt idx="63496">
                  <c:v>33.426457860358362</c:v>
                </c:pt>
                <c:pt idx="63497">
                  <c:v>24.208625566502974</c:v>
                </c:pt>
                <c:pt idx="63498">
                  <c:v>22.998575247463094</c:v>
                </c:pt>
                <c:pt idx="63499">
                  <c:v>52.689517235665377</c:v>
                </c:pt>
                <c:pt idx="63500">
                  <c:v>26.274466247167414</c:v>
                </c:pt>
                <c:pt idx="63501">
                  <c:v>21.249869200746936</c:v>
                </c:pt>
                <c:pt idx="63502">
                  <c:v>58.790283120789901</c:v>
                </c:pt>
                <c:pt idx="63503">
                  <c:v>30.162420207522956</c:v>
                </c:pt>
                <c:pt idx="63504">
                  <c:v>31.9710649810612</c:v>
                </c:pt>
                <c:pt idx="63505">
                  <c:v>20.651663189423211</c:v>
                </c:pt>
                <c:pt idx="63506">
                  <c:v>57.146317976309625</c:v>
                </c:pt>
                <c:pt idx="63507">
                  <c:v>21.688098858357531</c:v>
                </c:pt>
                <c:pt idx="63508">
                  <c:v>25.380978792168065</c:v>
                </c:pt>
                <c:pt idx="63509">
                  <c:v>45.570274936203298</c:v>
                </c:pt>
                <c:pt idx="63510">
                  <c:v>20.005056072213797</c:v>
                </c:pt>
                <c:pt idx="63511">
                  <c:v>31.133073673940352</c:v>
                </c:pt>
                <c:pt idx="63512">
                  <c:v>24.862904672435096</c:v>
                </c:pt>
                <c:pt idx="63513">
                  <c:v>25.683832412778145</c:v>
                </c:pt>
                <c:pt idx="63514">
                  <c:v>22.299277712456981</c:v>
                </c:pt>
                <c:pt idx="63515">
                  <c:v>27.28989563240907</c:v>
                </c:pt>
                <c:pt idx="63516">
                  <c:v>28.799084740534191</c:v>
                </c:pt>
                <c:pt idx="63517">
                  <c:v>23.386260697366286</c:v>
                </c:pt>
                <c:pt idx="63518">
                  <c:v>35.585716645116669</c:v>
                </c:pt>
                <c:pt idx="63519">
                  <c:v>19.888011268733624</c:v>
                </c:pt>
                <c:pt idx="63520">
                  <c:v>31.946182590230208</c:v>
                </c:pt>
                <c:pt idx="63521">
                  <c:v>25.862661178850161</c:v>
                </c:pt>
                <c:pt idx="63522">
                  <c:v>19.32008060685115</c:v>
                </c:pt>
                <c:pt idx="63523">
                  <c:v>52.534057754949565</c:v>
                </c:pt>
                <c:pt idx="63524">
                  <c:v>20.759854426306397</c:v>
                </c:pt>
                <c:pt idx="63525">
                  <c:v>49.987648497096757</c:v>
                </c:pt>
                <c:pt idx="63526">
                  <c:v>25.062962923088541</c:v>
                </c:pt>
                <c:pt idx="63527">
                  <c:v>53.646266042690684</c:v>
                </c:pt>
                <c:pt idx="63528">
                  <c:v>19.30588187906389</c:v>
                </c:pt>
                <c:pt idx="63529">
                  <c:v>41.778312795270018</c:v>
                </c:pt>
                <c:pt idx="63530">
                  <c:v>29.723203141903024</c:v>
                </c:pt>
                <c:pt idx="63531">
                  <c:v>30.255213531429302</c:v>
                </c:pt>
                <c:pt idx="63532">
                  <c:v>26.964862542898281</c:v>
                </c:pt>
                <c:pt idx="63533">
                  <c:v>26.13263483005948</c:v>
                </c:pt>
                <c:pt idx="63534">
                  <c:v>43.522812172658071</c:v>
                </c:pt>
                <c:pt idx="63535">
                  <c:v>29.803040716233497</c:v>
                </c:pt>
                <c:pt idx="63536">
                  <c:v>44.157103072266729</c:v>
                </c:pt>
                <c:pt idx="63537">
                  <c:v>38.429342811675866</c:v>
                </c:pt>
                <c:pt idx="63538">
                  <c:v>31.022821626780321</c:v>
                </c:pt>
                <c:pt idx="63539">
                  <c:v>44.384702924463291</c:v>
                </c:pt>
                <c:pt idx="63540">
                  <c:v>45.990146835263161</c:v>
                </c:pt>
                <c:pt idx="63541">
                  <c:v>27.164057377734792</c:v>
                </c:pt>
                <c:pt idx="63542">
                  <c:v>32.358603495395819</c:v>
                </c:pt>
                <c:pt idx="63543">
                  <c:v>23.400212144229272</c:v>
                </c:pt>
                <c:pt idx="63544">
                  <c:v>28.80933282723198</c:v>
                </c:pt>
                <c:pt idx="63545">
                  <c:v>23.001618795078166</c:v>
                </c:pt>
                <c:pt idx="63546">
                  <c:v>27.38920076940283</c:v>
                </c:pt>
                <c:pt idx="63547">
                  <c:v>26.859680646150284</c:v>
                </c:pt>
                <c:pt idx="63548">
                  <c:v>25.440677462244903</c:v>
                </c:pt>
                <c:pt idx="63549">
                  <c:v>34.219915704144206</c:v>
                </c:pt>
                <c:pt idx="63550">
                  <c:v>32.786131170292826</c:v>
                </c:pt>
                <c:pt idx="63551">
                  <c:v>24.550894122683403</c:v>
                </c:pt>
                <c:pt idx="63552">
                  <c:v>23.335271679141389</c:v>
                </c:pt>
                <c:pt idx="63553">
                  <c:v>42.3169301518517</c:v>
                </c:pt>
                <c:pt idx="63554">
                  <c:v>39.057512160841675</c:v>
                </c:pt>
                <c:pt idx="63555">
                  <c:v>28.608986614361275</c:v>
                </c:pt>
                <c:pt idx="63556">
                  <c:v>20.861960060909723</c:v>
                </c:pt>
                <c:pt idx="63557">
                  <c:v>22.948082728217912</c:v>
                </c:pt>
                <c:pt idx="63558">
                  <c:v>28.502301605925339</c:v>
                </c:pt>
                <c:pt idx="63559">
                  <c:v>32.473384409561028</c:v>
                </c:pt>
                <c:pt idx="63560">
                  <c:v>28.344547985680741</c:v>
                </c:pt>
                <c:pt idx="63561">
                  <c:v>45.995569509652384</c:v>
                </c:pt>
                <c:pt idx="63562">
                  <c:v>24.748061795980025</c:v>
                </c:pt>
                <c:pt idx="63563">
                  <c:v>31.053125874688213</c:v>
                </c:pt>
                <c:pt idx="63564">
                  <c:v>26.334659727285448</c:v>
                </c:pt>
                <c:pt idx="63565">
                  <c:v>22.477573690343057</c:v>
                </c:pt>
                <c:pt idx="63566">
                  <c:v>28.217405565615941</c:v>
                </c:pt>
                <c:pt idx="63567">
                  <c:v>24.293699387204398</c:v>
                </c:pt>
                <c:pt idx="63568">
                  <c:v>25.042117849998377</c:v>
                </c:pt>
                <c:pt idx="63569">
                  <c:v>29.325730878458891</c:v>
                </c:pt>
                <c:pt idx="63570">
                  <c:v>25.015432035590518</c:v>
                </c:pt>
                <c:pt idx="63571">
                  <c:v>21.485375060668687</c:v>
                </c:pt>
                <c:pt idx="63572">
                  <c:v>27.803662835480885</c:v>
                </c:pt>
                <c:pt idx="63573">
                  <c:v>25.445827088840442</c:v>
                </c:pt>
                <c:pt idx="63574">
                  <c:v>20.097568224862634</c:v>
                </c:pt>
                <c:pt idx="63575">
                  <c:v>26.402971570920243</c:v>
                </c:pt>
                <c:pt idx="63576">
                  <c:v>38.706372762371323</c:v>
                </c:pt>
                <c:pt idx="63577">
                  <c:v>53.005536168081171</c:v>
                </c:pt>
                <c:pt idx="63578">
                  <c:v>54.961490591990867</c:v>
                </c:pt>
                <c:pt idx="63579">
                  <c:v>48.688435278309377</c:v>
                </c:pt>
                <c:pt idx="63580">
                  <c:v>31.299498561557353</c:v>
                </c:pt>
                <c:pt idx="63581">
                  <c:v>20.530011736510357</c:v>
                </c:pt>
                <c:pt idx="63582">
                  <c:v>25.347497004016407</c:v>
                </c:pt>
                <c:pt idx="63583">
                  <c:v>30.867595800459345</c:v>
                </c:pt>
                <c:pt idx="63584">
                  <c:v>27.745590778386976</c:v>
                </c:pt>
                <c:pt idx="63585">
                  <c:v>30.563711745112034</c:v>
                </c:pt>
                <c:pt idx="63586">
                  <c:v>27.942425771820883</c:v>
                </c:pt>
                <c:pt idx="63587">
                  <c:v>39.380547912045216</c:v>
                </c:pt>
                <c:pt idx="63588">
                  <c:v>23.988652056401619</c:v>
                </c:pt>
                <c:pt idx="63589">
                  <c:v>25.436411416493101</c:v>
                </c:pt>
                <c:pt idx="63590">
                  <c:v>25.462835670575519</c:v>
                </c:pt>
                <c:pt idx="63591">
                  <c:v>16.982548771413054</c:v>
                </c:pt>
                <c:pt idx="63592">
                  <c:v>22.700352740887986</c:v>
                </c:pt>
                <c:pt idx="63593">
                  <c:v>50.962722633948232</c:v>
                </c:pt>
                <c:pt idx="63594">
                  <c:v>18.02550915018589</c:v>
                </c:pt>
                <c:pt idx="63595">
                  <c:v>29.599760316362218</c:v>
                </c:pt>
                <c:pt idx="63596">
                  <c:v>28.337983854153023</c:v>
                </c:pt>
                <c:pt idx="63597">
                  <c:v>23.63003546634868</c:v>
                </c:pt>
                <c:pt idx="63598">
                  <c:v>29.938943899682513</c:v>
                </c:pt>
                <c:pt idx="63599">
                  <c:v>48.826598685046832</c:v>
                </c:pt>
                <c:pt idx="63600">
                  <c:v>38.838045100888792</c:v>
                </c:pt>
                <c:pt idx="63601">
                  <c:v>29.945548741875967</c:v>
                </c:pt>
                <c:pt idx="63602">
                  <c:v>49.863454244903252</c:v>
                </c:pt>
                <c:pt idx="63603">
                  <c:v>28.383959841532981</c:v>
                </c:pt>
                <c:pt idx="63604">
                  <c:v>26.423308647942182</c:v>
                </c:pt>
                <c:pt idx="63605">
                  <c:v>32.441772762022765</c:v>
                </c:pt>
                <c:pt idx="63606">
                  <c:v>29.003667865626049</c:v>
                </c:pt>
                <c:pt idx="63607">
                  <c:v>18.12862249687392</c:v>
                </c:pt>
                <c:pt idx="63608">
                  <c:v>35.352436637934275</c:v>
                </c:pt>
                <c:pt idx="63609">
                  <c:v>22.666620402785771</c:v>
                </c:pt>
                <c:pt idx="63610">
                  <c:v>24.824343800136631</c:v>
                </c:pt>
                <c:pt idx="63611">
                  <c:v>21.782753047314884</c:v>
                </c:pt>
                <c:pt idx="63612">
                  <c:v>27.478441354640648</c:v>
                </c:pt>
                <c:pt idx="63613">
                  <c:v>22.439885660294184</c:v>
                </c:pt>
                <c:pt idx="63614">
                  <c:v>29.94341390959908</c:v>
                </c:pt>
                <c:pt idx="63615">
                  <c:v>49.411262450494633</c:v>
                </c:pt>
                <c:pt idx="63616">
                  <c:v>25.841497432451106</c:v>
                </c:pt>
                <c:pt idx="63617">
                  <c:v>21.516698102482277</c:v>
                </c:pt>
                <c:pt idx="63618">
                  <c:v>33.719347615200036</c:v>
                </c:pt>
                <c:pt idx="63619">
                  <c:v>30.598682490202208</c:v>
                </c:pt>
                <c:pt idx="63620">
                  <c:v>30.179966617994047</c:v>
                </c:pt>
                <c:pt idx="63621">
                  <c:v>22.662483273754724</c:v>
                </c:pt>
                <c:pt idx="63622">
                  <c:v>20.988620501195779</c:v>
                </c:pt>
                <c:pt idx="63623">
                  <c:v>26.659978244463165</c:v>
                </c:pt>
                <c:pt idx="63624">
                  <c:v>43.550516475769584</c:v>
                </c:pt>
                <c:pt idx="63625">
                  <c:v>31.837358937092581</c:v>
                </c:pt>
                <c:pt idx="63626">
                  <c:v>21.184303217760796</c:v>
                </c:pt>
                <c:pt idx="63627">
                  <c:v>49.298073607512919</c:v>
                </c:pt>
                <c:pt idx="63628">
                  <c:v>38.796571326582942</c:v>
                </c:pt>
                <c:pt idx="63629">
                  <c:v>28.220947945374288</c:v>
                </c:pt>
                <c:pt idx="63630">
                  <c:v>25.4845514012395</c:v>
                </c:pt>
                <c:pt idx="63631">
                  <c:v>27.074120012242073</c:v>
                </c:pt>
                <c:pt idx="63632">
                  <c:v>48.962769352856888</c:v>
                </c:pt>
                <c:pt idx="63633">
                  <c:v>25.121542223159452</c:v>
                </c:pt>
                <c:pt idx="63634">
                  <c:v>24.489001647956609</c:v>
                </c:pt>
                <c:pt idx="63635">
                  <c:v>28.748366438941503</c:v>
                </c:pt>
                <c:pt idx="63636">
                  <c:v>25.003632682120219</c:v>
                </c:pt>
                <c:pt idx="63637">
                  <c:v>26.582982221388388</c:v>
                </c:pt>
                <c:pt idx="63638">
                  <c:v>25.526204631512901</c:v>
                </c:pt>
                <c:pt idx="63639">
                  <c:v>23.626128412448214</c:v>
                </c:pt>
                <c:pt idx="63640">
                  <c:v>25.962384523524705</c:v>
                </c:pt>
                <c:pt idx="63641">
                  <c:v>19.1948117765448</c:v>
                </c:pt>
                <c:pt idx="63642">
                  <c:v>43.144389179548661</c:v>
                </c:pt>
                <c:pt idx="63643">
                  <c:v>41.040079192320832</c:v>
                </c:pt>
                <c:pt idx="63644">
                  <c:v>47.719480406211808</c:v>
                </c:pt>
                <c:pt idx="63645">
                  <c:v>24.192546450960261</c:v>
                </c:pt>
                <c:pt idx="63646">
                  <c:v>44.985833084374804</c:v>
                </c:pt>
                <c:pt idx="63647">
                  <c:v>30.922678689959788</c:v>
                </c:pt>
                <c:pt idx="63648">
                  <c:v>27.822164150934771</c:v>
                </c:pt>
                <c:pt idx="63649">
                  <c:v>34.739229912101223</c:v>
                </c:pt>
                <c:pt idx="63650">
                  <c:v>27.302910685064099</c:v>
                </c:pt>
                <c:pt idx="63651">
                  <c:v>51.261007413228093</c:v>
                </c:pt>
                <c:pt idx="63652">
                  <c:v>51.841955435227455</c:v>
                </c:pt>
                <c:pt idx="63653">
                  <c:v>19.623671147565812</c:v>
                </c:pt>
                <c:pt idx="63654">
                  <c:v>18.638592257045325</c:v>
                </c:pt>
                <c:pt idx="63655">
                  <c:v>28.152582013223586</c:v>
                </c:pt>
                <c:pt idx="63656">
                  <c:v>53.499235463659559</c:v>
                </c:pt>
                <c:pt idx="63657">
                  <c:v>18.9567536987106</c:v>
                </c:pt>
                <c:pt idx="63658">
                  <c:v>21.028216698990278</c:v>
                </c:pt>
                <c:pt idx="63659">
                  <c:v>43.956825986227337</c:v>
                </c:pt>
                <c:pt idx="63660">
                  <c:v>30.32308121951559</c:v>
                </c:pt>
                <c:pt idx="63661">
                  <c:v>26.119554031948823</c:v>
                </c:pt>
                <c:pt idx="63662">
                  <c:v>22.940916938453864</c:v>
                </c:pt>
                <c:pt idx="63663">
                  <c:v>21.591984420919616</c:v>
                </c:pt>
                <c:pt idx="63664">
                  <c:v>32.197534670463902</c:v>
                </c:pt>
                <c:pt idx="63665">
                  <c:v>21.831217897031497</c:v>
                </c:pt>
                <c:pt idx="63666">
                  <c:v>30.406322604657589</c:v>
                </c:pt>
                <c:pt idx="63667">
                  <c:v>17.550232901546234</c:v>
                </c:pt>
                <c:pt idx="63668">
                  <c:v>32.102502791591014</c:v>
                </c:pt>
                <c:pt idx="63669">
                  <c:v>25.98992588466184</c:v>
                </c:pt>
                <c:pt idx="63670">
                  <c:v>32.072823653306386</c:v>
                </c:pt>
                <c:pt idx="63671">
                  <c:v>27.315181002358703</c:v>
                </c:pt>
                <c:pt idx="63672">
                  <c:v>32.756480551138544</c:v>
                </c:pt>
                <c:pt idx="63673">
                  <c:v>31.923999443595058</c:v>
                </c:pt>
                <c:pt idx="63674">
                  <c:v>25.741354157032205</c:v>
                </c:pt>
                <c:pt idx="63675">
                  <c:v>23.626947518214095</c:v>
                </c:pt>
                <c:pt idx="63676">
                  <c:v>21.302642888297896</c:v>
                </c:pt>
                <c:pt idx="63677">
                  <c:v>43.300838247181531</c:v>
                </c:pt>
                <c:pt idx="63678">
                  <c:v>20.342096398266484</c:v>
                </c:pt>
                <c:pt idx="63679">
                  <c:v>46.69079007795321</c:v>
                </c:pt>
                <c:pt idx="63680">
                  <c:v>24.060358924476624</c:v>
                </c:pt>
                <c:pt idx="63681">
                  <c:v>38.085952886301797</c:v>
                </c:pt>
                <c:pt idx="63682">
                  <c:v>30.929996854167975</c:v>
                </c:pt>
                <c:pt idx="63683">
                  <c:v>15.921092661076109</c:v>
                </c:pt>
                <c:pt idx="63684">
                  <c:v>49.990148966142193</c:v>
                </c:pt>
                <c:pt idx="63685">
                  <c:v>29.663675806876917</c:v>
                </c:pt>
                <c:pt idx="63686">
                  <c:v>21.079140907142317</c:v>
                </c:pt>
                <c:pt idx="63687">
                  <c:v>49.147538634461583</c:v>
                </c:pt>
                <c:pt idx="63688">
                  <c:v>52.474724603363782</c:v>
                </c:pt>
                <c:pt idx="63689">
                  <c:v>21.674221632713596</c:v>
                </c:pt>
                <c:pt idx="63690">
                  <c:v>50.677685959792939</c:v>
                </c:pt>
                <c:pt idx="63691">
                  <c:v>31.680881554823685</c:v>
                </c:pt>
                <c:pt idx="63692">
                  <c:v>21.336345644959575</c:v>
                </c:pt>
                <c:pt idx="63693">
                  <c:v>27.819525440791463</c:v>
                </c:pt>
                <c:pt idx="63694">
                  <c:v>51.007312622096521</c:v>
                </c:pt>
                <c:pt idx="63695">
                  <c:v>45.124506987974556</c:v>
                </c:pt>
                <c:pt idx="63696">
                  <c:v>42.3826302553842</c:v>
                </c:pt>
                <c:pt idx="63697">
                  <c:v>34.606315921124072</c:v>
                </c:pt>
                <c:pt idx="63698">
                  <c:v>36.428830494077332</c:v>
                </c:pt>
                <c:pt idx="63699">
                  <c:v>33.445087871251246</c:v>
                </c:pt>
                <c:pt idx="63700">
                  <c:v>32.48660536314398</c:v>
                </c:pt>
                <c:pt idx="63701">
                  <c:v>21.766899710596469</c:v>
                </c:pt>
                <c:pt idx="63702">
                  <c:v>18.503174692185635</c:v>
                </c:pt>
                <c:pt idx="63703">
                  <c:v>27.716432957261404</c:v>
                </c:pt>
                <c:pt idx="63704">
                  <c:v>35.060234327601371</c:v>
                </c:pt>
                <c:pt idx="63705">
                  <c:v>24.115638886254107</c:v>
                </c:pt>
                <c:pt idx="63706">
                  <c:v>21.868079397658491</c:v>
                </c:pt>
                <c:pt idx="63707">
                  <c:v>46.535511432378634</c:v>
                </c:pt>
                <c:pt idx="63708">
                  <c:v>32.649669174038593</c:v>
                </c:pt>
                <c:pt idx="63709">
                  <c:v>25.033159537917182</c:v>
                </c:pt>
                <c:pt idx="63710">
                  <c:v>60.205097787616076</c:v>
                </c:pt>
                <c:pt idx="63711">
                  <c:v>30.859245021872376</c:v>
                </c:pt>
                <c:pt idx="63712">
                  <c:v>21.017147795027952</c:v>
                </c:pt>
                <c:pt idx="63713">
                  <c:v>27.292813709882527</c:v>
                </c:pt>
                <c:pt idx="63714">
                  <c:v>44.901360930595835</c:v>
                </c:pt>
                <c:pt idx="63715">
                  <c:v>23.452329568462211</c:v>
                </c:pt>
                <c:pt idx="63716">
                  <c:v>29.938273493107062</c:v>
                </c:pt>
                <c:pt idx="63717">
                  <c:v>32.326124732544102</c:v>
                </c:pt>
                <c:pt idx="63718">
                  <c:v>25.045203711707245</c:v>
                </c:pt>
                <c:pt idx="63719">
                  <c:v>21.050991296020182</c:v>
                </c:pt>
                <c:pt idx="63720">
                  <c:v>21.420477224264829</c:v>
                </c:pt>
                <c:pt idx="63721">
                  <c:v>25.766240623212209</c:v>
                </c:pt>
                <c:pt idx="63722">
                  <c:v>43.328655140672829</c:v>
                </c:pt>
                <c:pt idx="63723">
                  <c:v>24.918171927866869</c:v>
                </c:pt>
                <c:pt idx="63724">
                  <c:v>37.110640878146498</c:v>
                </c:pt>
                <c:pt idx="63725">
                  <c:v>21.930396468743787</c:v>
                </c:pt>
                <c:pt idx="63726">
                  <c:v>23.488292527821095</c:v>
                </c:pt>
                <c:pt idx="63727">
                  <c:v>18.212752576242213</c:v>
                </c:pt>
                <c:pt idx="63728">
                  <c:v>22.049187150206656</c:v>
                </c:pt>
                <c:pt idx="63729">
                  <c:v>31.70807371495285</c:v>
                </c:pt>
                <c:pt idx="63730">
                  <c:v>40.971645936883839</c:v>
                </c:pt>
                <c:pt idx="63731">
                  <c:v>24.102272554885577</c:v>
                </c:pt>
                <c:pt idx="63732">
                  <c:v>31.401266394646687</c:v>
                </c:pt>
                <c:pt idx="63733">
                  <c:v>27.496045680289189</c:v>
                </c:pt>
                <c:pt idx="63734">
                  <c:v>23.884425018296913</c:v>
                </c:pt>
                <c:pt idx="63735">
                  <c:v>51.324560883674607</c:v>
                </c:pt>
                <c:pt idx="63736">
                  <c:v>22.43830376282212</c:v>
                </c:pt>
                <c:pt idx="63737">
                  <c:v>47.376075646000189</c:v>
                </c:pt>
                <c:pt idx="63738">
                  <c:v>20.959288652169956</c:v>
                </c:pt>
                <c:pt idx="63739">
                  <c:v>57.494160791484894</c:v>
                </c:pt>
                <c:pt idx="63740">
                  <c:v>41.598626364984298</c:v>
                </c:pt>
                <c:pt idx="63741">
                  <c:v>48.833496840551319</c:v>
                </c:pt>
                <c:pt idx="63742">
                  <c:v>27.102267475302902</c:v>
                </c:pt>
                <c:pt idx="63743">
                  <c:v>30.297703362177138</c:v>
                </c:pt>
                <c:pt idx="63744">
                  <c:v>44.596841203994828</c:v>
                </c:pt>
                <c:pt idx="63745">
                  <c:v>33.496203297555063</c:v>
                </c:pt>
                <c:pt idx="63746">
                  <c:v>26.820675756056033</c:v>
                </c:pt>
                <c:pt idx="63747">
                  <c:v>25.374459299135605</c:v>
                </c:pt>
                <c:pt idx="63748">
                  <c:v>34.18887781100301</c:v>
                </c:pt>
                <c:pt idx="63749">
                  <c:v>25.067175949989117</c:v>
                </c:pt>
                <c:pt idx="63750">
                  <c:v>33.88021192485531</c:v>
                </c:pt>
                <c:pt idx="63751">
                  <c:v>25.997801579692982</c:v>
                </c:pt>
                <c:pt idx="63752">
                  <c:v>51.155197724985079</c:v>
                </c:pt>
                <c:pt idx="63753">
                  <c:v>27.66372865741068</c:v>
                </c:pt>
                <c:pt idx="63754">
                  <c:v>31.052701314215263</c:v>
                </c:pt>
                <c:pt idx="63755">
                  <c:v>18.841263091026089</c:v>
                </c:pt>
                <c:pt idx="63756">
                  <c:v>32.323490389377746</c:v>
                </c:pt>
                <c:pt idx="63757">
                  <c:v>26.501274133011599</c:v>
                </c:pt>
                <c:pt idx="63758">
                  <c:v>32.972331408821113</c:v>
                </c:pt>
                <c:pt idx="63759">
                  <c:v>18.96148964941273</c:v>
                </c:pt>
                <c:pt idx="63760">
                  <c:v>26.658920386037625</c:v>
                </c:pt>
                <c:pt idx="63761">
                  <c:v>45.963035433543283</c:v>
                </c:pt>
                <c:pt idx="63762">
                  <c:v>25.024259079060762</c:v>
                </c:pt>
                <c:pt idx="63763">
                  <c:v>31.862520613741676</c:v>
                </c:pt>
                <c:pt idx="63764">
                  <c:v>21.431068264260357</c:v>
                </c:pt>
                <c:pt idx="63765">
                  <c:v>31.057299674138783</c:v>
                </c:pt>
                <c:pt idx="63766">
                  <c:v>22.640486882827691</c:v>
                </c:pt>
                <c:pt idx="63767">
                  <c:v>27.14828923558126</c:v>
                </c:pt>
                <c:pt idx="63768">
                  <c:v>32.512770961858045</c:v>
                </c:pt>
                <c:pt idx="63769">
                  <c:v>56.054425711726466</c:v>
                </c:pt>
                <c:pt idx="63770">
                  <c:v>34.832547659299806</c:v>
                </c:pt>
                <c:pt idx="63771">
                  <c:v>35.15504589051546</c:v>
                </c:pt>
                <c:pt idx="63772">
                  <c:v>33.115968861244284</c:v>
                </c:pt>
                <c:pt idx="63773">
                  <c:v>32.129994556905814</c:v>
                </c:pt>
                <c:pt idx="63774">
                  <c:v>23.434681701302818</c:v>
                </c:pt>
                <c:pt idx="63775">
                  <c:v>26.804656557352271</c:v>
                </c:pt>
                <c:pt idx="63776">
                  <c:v>22.740427463189434</c:v>
                </c:pt>
                <c:pt idx="63777">
                  <c:v>22.440324029032226</c:v>
                </c:pt>
                <c:pt idx="63778">
                  <c:v>22.672807430075217</c:v>
                </c:pt>
                <c:pt idx="63779">
                  <c:v>25.630115603386297</c:v>
                </c:pt>
                <c:pt idx="63780">
                  <c:v>33.001849149914726</c:v>
                </c:pt>
                <c:pt idx="63781">
                  <c:v>17.133164750891947</c:v>
                </c:pt>
                <c:pt idx="63782">
                  <c:v>23.975206419055279</c:v>
                </c:pt>
                <c:pt idx="63783">
                  <c:v>29.634354338381243</c:v>
                </c:pt>
                <c:pt idx="63784">
                  <c:v>33.100914644876461</c:v>
                </c:pt>
                <c:pt idx="63785">
                  <c:v>44.110278085320267</c:v>
                </c:pt>
                <c:pt idx="63786">
                  <c:v>28.790969697433994</c:v>
                </c:pt>
                <c:pt idx="63787">
                  <c:v>23.675176091086492</c:v>
                </c:pt>
                <c:pt idx="63788">
                  <c:v>38.01899921404523</c:v>
                </c:pt>
                <c:pt idx="63789">
                  <c:v>21.209614441822847</c:v>
                </c:pt>
                <c:pt idx="63790">
                  <c:v>26.945336809006875</c:v>
                </c:pt>
                <c:pt idx="63791">
                  <c:v>26.188110485424101</c:v>
                </c:pt>
                <c:pt idx="63792">
                  <c:v>27.260402704756647</c:v>
                </c:pt>
                <c:pt idx="63793">
                  <c:v>26.339122315408481</c:v>
                </c:pt>
                <c:pt idx="63794">
                  <c:v>31.32591971808467</c:v>
                </c:pt>
                <c:pt idx="63795">
                  <c:v>48.707964786414685</c:v>
                </c:pt>
                <c:pt idx="63796">
                  <c:v>26.227029116619878</c:v>
                </c:pt>
                <c:pt idx="63797">
                  <c:v>27.719431194659215</c:v>
                </c:pt>
                <c:pt idx="63798">
                  <c:v>41.240689798315842</c:v>
                </c:pt>
                <c:pt idx="63799">
                  <c:v>52.389546953820911</c:v>
                </c:pt>
                <c:pt idx="63800">
                  <c:v>27.347204991472321</c:v>
                </c:pt>
                <c:pt idx="63801">
                  <c:v>48.903472339680114</c:v>
                </c:pt>
                <c:pt idx="63802">
                  <c:v>27.058691969165128</c:v>
                </c:pt>
                <c:pt idx="63803">
                  <c:v>32.912011429831438</c:v>
                </c:pt>
                <c:pt idx="63804">
                  <c:v>19.72261764920033</c:v>
                </c:pt>
                <c:pt idx="63805">
                  <c:v>24.652922981864357</c:v>
                </c:pt>
                <c:pt idx="63806">
                  <c:v>28.914756699087434</c:v>
                </c:pt>
                <c:pt idx="63807">
                  <c:v>40.322338640626903</c:v>
                </c:pt>
                <c:pt idx="63808">
                  <c:v>29.825000400935963</c:v>
                </c:pt>
                <c:pt idx="63809">
                  <c:v>27.345980686783914</c:v>
                </c:pt>
                <c:pt idx="63810">
                  <c:v>20.066540421973727</c:v>
                </c:pt>
                <c:pt idx="63811">
                  <c:v>59.774235087115471</c:v>
                </c:pt>
                <c:pt idx="63812">
                  <c:v>15.992547978830416</c:v>
                </c:pt>
                <c:pt idx="63813">
                  <c:v>24.866359182012751</c:v>
                </c:pt>
                <c:pt idx="63814">
                  <c:v>53.574570805353694</c:v>
                </c:pt>
                <c:pt idx="63815">
                  <c:v>25.462425088834099</c:v>
                </c:pt>
                <c:pt idx="63816">
                  <c:v>30.60836841574212</c:v>
                </c:pt>
                <c:pt idx="63817">
                  <c:v>32.605964723736719</c:v>
                </c:pt>
                <c:pt idx="63818">
                  <c:v>21.552423340530794</c:v>
                </c:pt>
                <c:pt idx="63819">
                  <c:v>20.61703630512638</c:v>
                </c:pt>
                <c:pt idx="63820">
                  <c:v>35.978163622061906</c:v>
                </c:pt>
                <c:pt idx="63821">
                  <c:v>29.154712553161094</c:v>
                </c:pt>
                <c:pt idx="63822">
                  <c:v>38.45422949778802</c:v>
                </c:pt>
                <c:pt idx="63823">
                  <c:v>25.211917157669582</c:v>
                </c:pt>
                <c:pt idx="63824">
                  <c:v>27.139575528044318</c:v>
                </c:pt>
                <c:pt idx="63825">
                  <c:v>25.545658743261033</c:v>
                </c:pt>
                <c:pt idx="63826">
                  <c:v>37.731307664476439</c:v>
                </c:pt>
                <c:pt idx="63827">
                  <c:v>58.05065029393046</c:v>
                </c:pt>
                <c:pt idx="63828">
                  <c:v>49.669307894895681</c:v>
                </c:pt>
                <c:pt idx="63829">
                  <c:v>21.024900222859738</c:v>
                </c:pt>
                <c:pt idx="63830">
                  <c:v>28.341257974582945</c:v>
                </c:pt>
                <c:pt idx="63831">
                  <c:v>23.316753972307787</c:v>
                </c:pt>
                <c:pt idx="63832">
                  <c:v>36.333939547347605</c:v>
                </c:pt>
                <c:pt idx="63833">
                  <c:v>24.659485802207147</c:v>
                </c:pt>
                <c:pt idx="63834">
                  <c:v>25.99618733393438</c:v>
                </c:pt>
                <c:pt idx="63835">
                  <c:v>21.093132454374437</c:v>
                </c:pt>
                <c:pt idx="63836">
                  <c:v>22.026423347225158</c:v>
                </c:pt>
                <c:pt idx="63837">
                  <c:v>20.347793017838129</c:v>
                </c:pt>
                <c:pt idx="63838">
                  <c:v>25.548019943976122</c:v>
                </c:pt>
                <c:pt idx="63839">
                  <c:v>47.932982753351311</c:v>
                </c:pt>
                <c:pt idx="63840">
                  <c:v>36.047335704803096</c:v>
                </c:pt>
                <c:pt idx="63841">
                  <c:v>22.456862296729405</c:v>
                </c:pt>
                <c:pt idx="63842">
                  <c:v>19.206220422597514</c:v>
                </c:pt>
                <c:pt idx="63843">
                  <c:v>36.056199306293401</c:v>
                </c:pt>
                <c:pt idx="63844">
                  <c:v>41.596511050234483</c:v>
                </c:pt>
                <c:pt idx="63845">
                  <c:v>31.859805884456012</c:v>
                </c:pt>
                <c:pt idx="63846">
                  <c:v>26.103960332120309</c:v>
                </c:pt>
                <c:pt idx="63847">
                  <c:v>38.413647540804476</c:v>
                </c:pt>
                <c:pt idx="63848">
                  <c:v>29.550329301211733</c:v>
                </c:pt>
                <c:pt idx="63849">
                  <c:v>43.664341759482511</c:v>
                </c:pt>
                <c:pt idx="63850">
                  <c:v>17.910866302941251</c:v>
                </c:pt>
                <c:pt idx="63851">
                  <c:v>25.860982498246226</c:v>
                </c:pt>
                <c:pt idx="63852">
                  <c:v>29.376518449869543</c:v>
                </c:pt>
                <c:pt idx="63853">
                  <c:v>31.628510526227288</c:v>
                </c:pt>
                <c:pt idx="63854">
                  <c:v>25.075746376258259</c:v>
                </c:pt>
                <c:pt idx="63855">
                  <c:v>32.286628737027961</c:v>
                </c:pt>
                <c:pt idx="63856">
                  <c:v>23.320031566537928</c:v>
                </c:pt>
                <c:pt idx="63857">
                  <c:v>54.934973868760167</c:v>
                </c:pt>
                <c:pt idx="63858">
                  <c:v>34.514716647014914</c:v>
                </c:pt>
                <c:pt idx="63859">
                  <c:v>23.339991582502517</c:v>
                </c:pt>
                <c:pt idx="63860">
                  <c:v>43.492033343457209</c:v>
                </c:pt>
                <c:pt idx="63861">
                  <c:v>53.504515587308141</c:v>
                </c:pt>
                <c:pt idx="63862">
                  <c:v>19.016442142273295</c:v>
                </c:pt>
                <c:pt idx="63863">
                  <c:v>27.638712408197449</c:v>
                </c:pt>
                <c:pt idx="63864">
                  <c:v>32.729984757513982</c:v>
                </c:pt>
                <c:pt idx="63865">
                  <c:v>24.560509802969293</c:v>
                </c:pt>
                <c:pt idx="63866">
                  <c:v>24.54725454078487</c:v>
                </c:pt>
                <c:pt idx="63867">
                  <c:v>27.651357979759194</c:v>
                </c:pt>
                <c:pt idx="63868">
                  <c:v>20.408248468561329</c:v>
                </c:pt>
                <c:pt idx="63869">
                  <c:v>26.539655776741377</c:v>
                </c:pt>
                <c:pt idx="63870">
                  <c:v>23.193103665752545</c:v>
                </c:pt>
                <c:pt idx="63871">
                  <c:v>31.762863803655293</c:v>
                </c:pt>
                <c:pt idx="63872">
                  <c:v>23.282263352460419</c:v>
                </c:pt>
                <c:pt idx="63873">
                  <c:v>32.639424976791013</c:v>
                </c:pt>
                <c:pt idx="63874">
                  <c:v>25.518693049157886</c:v>
                </c:pt>
                <c:pt idx="63875">
                  <c:v>45.68409427861107</c:v>
                </c:pt>
                <c:pt idx="63876">
                  <c:v>23.562649833246901</c:v>
                </c:pt>
                <c:pt idx="63877">
                  <c:v>27.180865109864396</c:v>
                </c:pt>
                <c:pt idx="63878">
                  <c:v>45.753510041302413</c:v>
                </c:pt>
                <c:pt idx="63879">
                  <c:v>41.707726143669881</c:v>
                </c:pt>
                <c:pt idx="63880">
                  <c:v>36.58723673626956</c:v>
                </c:pt>
                <c:pt idx="63881">
                  <c:v>32.624790520999248</c:v>
                </c:pt>
                <c:pt idx="63882">
                  <c:v>59.412957052784208</c:v>
                </c:pt>
                <c:pt idx="63883">
                  <c:v>31.143560101497517</c:v>
                </c:pt>
                <c:pt idx="63884">
                  <c:v>24.181889538679432</c:v>
                </c:pt>
                <c:pt idx="63885">
                  <c:v>26.706768204680795</c:v>
                </c:pt>
                <c:pt idx="63886">
                  <c:v>24.451764890136896</c:v>
                </c:pt>
                <c:pt idx="63887">
                  <c:v>48.418901677484357</c:v>
                </c:pt>
                <c:pt idx="63888">
                  <c:v>44.253607306433118</c:v>
                </c:pt>
                <c:pt idx="63889">
                  <c:v>20.278023050882009</c:v>
                </c:pt>
                <c:pt idx="63890">
                  <c:v>37.521548227711051</c:v>
                </c:pt>
                <c:pt idx="63891">
                  <c:v>22.32672718465771</c:v>
                </c:pt>
                <c:pt idx="63892">
                  <c:v>31.663515413188676</c:v>
                </c:pt>
                <c:pt idx="63893">
                  <c:v>20.310007481167968</c:v>
                </c:pt>
                <c:pt idx="63894">
                  <c:v>30.74655682291807</c:v>
                </c:pt>
                <c:pt idx="63895">
                  <c:v>23.488814527494092</c:v>
                </c:pt>
                <c:pt idx="63896">
                  <c:v>23.593513030088928</c:v>
                </c:pt>
                <c:pt idx="63897">
                  <c:v>28.622496986630072</c:v>
                </c:pt>
                <c:pt idx="63898">
                  <c:v>48.029410437770821</c:v>
                </c:pt>
                <c:pt idx="63899">
                  <c:v>31.661849270394526</c:v>
                </c:pt>
                <c:pt idx="63900">
                  <c:v>26.569804727649252</c:v>
                </c:pt>
                <c:pt idx="63901">
                  <c:v>30.036297462589925</c:v>
                </c:pt>
                <c:pt idx="63902">
                  <c:v>52.327969254909462</c:v>
                </c:pt>
                <c:pt idx="63903">
                  <c:v>25.990156074264309</c:v>
                </c:pt>
                <c:pt idx="63904">
                  <c:v>22.308096927491931</c:v>
                </c:pt>
                <c:pt idx="63905">
                  <c:v>42.468495137727913</c:v>
                </c:pt>
                <c:pt idx="63906">
                  <c:v>48.772296917034332</c:v>
                </c:pt>
                <c:pt idx="63907">
                  <c:v>26.182578593565129</c:v>
                </c:pt>
                <c:pt idx="63908">
                  <c:v>36.027397866187329</c:v>
                </c:pt>
                <c:pt idx="63909">
                  <c:v>15.416651885957219</c:v>
                </c:pt>
                <c:pt idx="63910">
                  <c:v>41.077406592974874</c:v>
                </c:pt>
                <c:pt idx="63911">
                  <c:v>52.3895168288633</c:v>
                </c:pt>
                <c:pt idx="63912">
                  <c:v>38.23480475476925</c:v>
                </c:pt>
                <c:pt idx="63913">
                  <c:v>47.442508109729168</c:v>
                </c:pt>
                <c:pt idx="63914">
                  <c:v>24.448076094051494</c:v>
                </c:pt>
                <c:pt idx="63915">
                  <c:v>34.729515887427596</c:v>
                </c:pt>
                <c:pt idx="63916">
                  <c:v>36.31599596709956</c:v>
                </c:pt>
                <c:pt idx="63917">
                  <c:v>21.656672163012576</c:v>
                </c:pt>
                <c:pt idx="63918">
                  <c:v>26.954473014704277</c:v>
                </c:pt>
                <c:pt idx="63919">
                  <c:v>51.993021254046859</c:v>
                </c:pt>
                <c:pt idx="63920">
                  <c:v>43.500981431009897</c:v>
                </c:pt>
                <c:pt idx="63921">
                  <c:v>37.020535102400864</c:v>
                </c:pt>
                <c:pt idx="63922">
                  <c:v>24.81901779172464</c:v>
                </c:pt>
                <c:pt idx="63923">
                  <c:v>24.340755539600323</c:v>
                </c:pt>
                <c:pt idx="63924">
                  <c:v>25.3076706183388</c:v>
                </c:pt>
                <c:pt idx="63925">
                  <c:v>47.110379747119438</c:v>
                </c:pt>
                <c:pt idx="63926">
                  <c:v>25.924257697704558</c:v>
                </c:pt>
                <c:pt idx="63927">
                  <c:v>22.09317435261908</c:v>
                </c:pt>
                <c:pt idx="63928">
                  <c:v>21.14292032271851</c:v>
                </c:pt>
                <c:pt idx="63929">
                  <c:v>34.469079050618717</c:v>
                </c:pt>
                <c:pt idx="63930">
                  <c:v>17.952005592755548</c:v>
                </c:pt>
                <c:pt idx="63931">
                  <c:v>25.257739445907891</c:v>
                </c:pt>
                <c:pt idx="63932">
                  <c:v>51.312669984099287</c:v>
                </c:pt>
                <c:pt idx="63933">
                  <c:v>31.287377319114004</c:v>
                </c:pt>
                <c:pt idx="63934">
                  <c:v>27.228784150938445</c:v>
                </c:pt>
                <c:pt idx="63935">
                  <c:v>26.882818635179575</c:v>
                </c:pt>
                <c:pt idx="63936">
                  <c:v>30.506893810469446</c:v>
                </c:pt>
                <c:pt idx="63937">
                  <c:v>35.899239595688677</c:v>
                </c:pt>
                <c:pt idx="63938">
                  <c:v>16.74202246551646</c:v>
                </c:pt>
                <c:pt idx="63939">
                  <c:v>32.373460266382942</c:v>
                </c:pt>
                <c:pt idx="63940">
                  <c:v>27.086335289449114</c:v>
                </c:pt>
                <c:pt idx="63941">
                  <c:v>28.476506267266931</c:v>
                </c:pt>
                <c:pt idx="63942">
                  <c:v>28.088608689662774</c:v>
                </c:pt>
                <c:pt idx="63943">
                  <c:v>23.112686901328846</c:v>
                </c:pt>
                <c:pt idx="63944">
                  <c:v>36.77352089753375</c:v>
                </c:pt>
                <c:pt idx="63945">
                  <c:v>18.537733226169575</c:v>
                </c:pt>
                <c:pt idx="63946">
                  <c:v>23.076021895953424</c:v>
                </c:pt>
                <c:pt idx="63947">
                  <c:v>24.975262832736146</c:v>
                </c:pt>
                <c:pt idx="63948">
                  <c:v>23.786464581218702</c:v>
                </c:pt>
                <c:pt idx="63949">
                  <c:v>36.495942839961828</c:v>
                </c:pt>
                <c:pt idx="63950">
                  <c:v>32.147877425321887</c:v>
                </c:pt>
                <c:pt idx="63951">
                  <c:v>25.699436900216764</c:v>
                </c:pt>
                <c:pt idx="63952">
                  <c:v>28.238363707421154</c:v>
                </c:pt>
                <c:pt idx="63953">
                  <c:v>24.341097458994778</c:v>
                </c:pt>
                <c:pt idx="63954">
                  <c:v>25.355419755847603</c:v>
                </c:pt>
                <c:pt idx="63955">
                  <c:v>24.649175415197899</c:v>
                </c:pt>
                <c:pt idx="63956">
                  <c:v>23.171924557146014</c:v>
                </c:pt>
                <c:pt idx="63957">
                  <c:v>50.158783604950365</c:v>
                </c:pt>
                <c:pt idx="63958">
                  <c:v>24.497335309351545</c:v>
                </c:pt>
                <c:pt idx="63959">
                  <c:v>23.66555545582618</c:v>
                </c:pt>
                <c:pt idx="63960">
                  <c:v>16.928200915181733</c:v>
                </c:pt>
                <c:pt idx="63961">
                  <c:v>19.1070596425606</c:v>
                </c:pt>
                <c:pt idx="63962">
                  <c:v>26.772197846670753</c:v>
                </c:pt>
                <c:pt idx="63963">
                  <c:v>39.071531170078408</c:v>
                </c:pt>
                <c:pt idx="63964">
                  <c:v>26.575789715629071</c:v>
                </c:pt>
                <c:pt idx="63965">
                  <c:v>27.583970829057574</c:v>
                </c:pt>
                <c:pt idx="63966">
                  <c:v>27.851888719412283</c:v>
                </c:pt>
                <c:pt idx="63967">
                  <c:v>42.648998735964426</c:v>
                </c:pt>
                <c:pt idx="63968">
                  <c:v>23.513962769252359</c:v>
                </c:pt>
                <c:pt idx="63969">
                  <c:v>30.386589681868411</c:v>
                </c:pt>
                <c:pt idx="63970">
                  <c:v>40.948094005268594</c:v>
                </c:pt>
                <c:pt idx="63971">
                  <c:v>21.85836710228509</c:v>
                </c:pt>
                <c:pt idx="63972">
                  <c:v>40.788267591690676</c:v>
                </c:pt>
                <c:pt idx="63973">
                  <c:v>35.784482571977996</c:v>
                </c:pt>
                <c:pt idx="63974">
                  <c:v>31.418556552054667</c:v>
                </c:pt>
                <c:pt idx="63975">
                  <c:v>24.920620186655817</c:v>
                </c:pt>
                <c:pt idx="63976">
                  <c:v>61.448611115382619</c:v>
                </c:pt>
                <c:pt idx="63977">
                  <c:v>48.280342402751195</c:v>
                </c:pt>
                <c:pt idx="63978">
                  <c:v>20.980162095162015</c:v>
                </c:pt>
                <c:pt idx="63979">
                  <c:v>20.442938311480617</c:v>
                </c:pt>
                <c:pt idx="63980">
                  <c:v>19.389803611129771</c:v>
                </c:pt>
                <c:pt idx="63981">
                  <c:v>31.168174446883611</c:v>
                </c:pt>
                <c:pt idx="63982">
                  <c:v>23.023574053366492</c:v>
                </c:pt>
                <c:pt idx="63983">
                  <c:v>31.707833426652261</c:v>
                </c:pt>
                <c:pt idx="63984">
                  <c:v>27.181987676547688</c:v>
                </c:pt>
                <c:pt idx="63985">
                  <c:v>45.555198861419953</c:v>
                </c:pt>
                <c:pt idx="63986">
                  <c:v>27.754647686642553</c:v>
                </c:pt>
                <c:pt idx="63987">
                  <c:v>30.954763205933631</c:v>
                </c:pt>
                <c:pt idx="63988">
                  <c:v>51.064596850238345</c:v>
                </c:pt>
                <c:pt idx="63989">
                  <c:v>28.82530895412831</c:v>
                </c:pt>
                <c:pt idx="63990">
                  <c:v>27.382023224559397</c:v>
                </c:pt>
                <c:pt idx="63991">
                  <c:v>48.482819994265391</c:v>
                </c:pt>
                <c:pt idx="63992">
                  <c:v>46.484044446688479</c:v>
                </c:pt>
                <c:pt idx="63993">
                  <c:v>24.220176526282369</c:v>
                </c:pt>
                <c:pt idx="63994">
                  <c:v>20.646921502673798</c:v>
                </c:pt>
                <c:pt idx="63995">
                  <c:v>23.060182637672895</c:v>
                </c:pt>
                <c:pt idx="63996">
                  <c:v>25.879213531879309</c:v>
                </c:pt>
                <c:pt idx="63997">
                  <c:v>20.881747603993919</c:v>
                </c:pt>
                <c:pt idx="63998">
                  <c:v>19.047078615794678</c:v>
                </c:pt>
                <c:pt idx="63999">
                  <c:v>24.315655953705619</c:v>
                </c:pt>
                <c:pt idx="64000">
                  <c:v>23.369344523807129</c:v>
                </c:pt>
                <c:pt idx="64001">
                  <c:v>29.290763144274077</c:v>
                </c:pt>
                <c:pt idx="64002">
                  <c:v>22.373468012757897</c:v>
                </c:pt>
                <c:pt idx="64003">
                  <c:v>18.761755895222997</c:v>
                </c:pt>
                <c:pt idx="64004">
                  <c:v>26.642044132559786</c:v>
                </c:pt>
                <c:pt idx="64005">
                  <c:v>27.985744828926485</c:v>
                </c:pt>
                <c:pt idx="64006">
                  <c:v>32.239583392942471</c:v>
                </c:pt>
                <c:pt idx="64007">
                  <c:v>29.166601650706095</c:v>
                </c:pt>
                <c:pt idx="64008">
                  <c:v>25.801286660995022</c:v>
                </c:pt>
                <c:pt idx="64009">
                  <c:v>27.298200754425796</c:v>
                </c:pt>
                <c:pt idx="64010">
                  <c:v>29.575208642520902</c:v>
                </c:pt>
                <c:pt idx="64011">
                  <c:v>35.808722327243359</c:v>
                </c:pt>
                <c:pt idx="64012">
                  <c:v>24.26275494667356</c:v>
                </c:pt>
                <c:pt idx="64013">
                  <c:v>31.075815693512528</c:v>
                </c:pt>
                <c:pt idx="64014">
                  <c:v>41.301733640531801</c:v>
                </c:pt>
                <c:pt idx="64015">
                  <c:v>28.997115009731203</c:v>
                </c:pt>
                <c:pt idx="64016">
                  <c:v>25.240549175761217</c:v>
                </c:pt>
                <c:pt idx="64017">
                  <c:v>23.849688574270566</c:v>
                </c:pt>
                <c:pt idx="64018">
                  <c:v>43.588280617270321</c:v>
                </c:pt>
                <c:pt idx="64019">
                  <c:v>22.079741708783043</c:v>
                </c:pt>
                <c:pt idx="64020">
                  <c:v>26.704657246697579</c:v>
                </c:pt>
                <c:pt idx="64021">
                  <c:v>30.128492284845283</c:v>
                </c:pt>
                <c:pt idx="64022">
                  <c:v>31.116156268047934</c:v>
                </c:pt>
                <c:pt idx="64023">
                  <c:v>14.806326566254969</c:v>
                </c:pt>
                <c:pt idx="64024">
                  <c:v>18.821301510838552</c:v>
                </c:pt>
                <c:pt idx="64025">
                  <c:v>18.472545339068319</c:v>
                </c:pt>
                <c:pt idx="64026">
                  <c:v>24.425769059612172</c:v>
                </c:pt>
                <c:pt idx="64027">
                  <c:v>22.50768676567353</c:v>
                </c:pt>
                <c:pt idx="64028">
                  <c:v>21.280304532305369</c:v>
                </c:pt>
                <c:pt idx="64029">
                  <c:v>54.365291323192643</c:v>
                </c:pt>
                <c:pt idx="64030">
                  <c:v>48.611738668161465</c:v>
                </c:pt>
                <c:pt idx="64031">
                  <c:v>26.470336369942963</c:v>
                </c:pt>
                <c:pt idx="64032">
                  <c:v>24.430312721862379</c:v>
                </c:pt>
                <c:pt idx="64033">
                  <c:v>24.59428807451404</c:v>
                </c:pt>
                <c:pt idx="64034">
                  <c:v>20.584362637278442</c:v>
                </c:pt>
                <c:pt idx="64035">
                  <c:v>31.069734908946845</c:v>
                </c:pt>
                <c:pt idx="64036">
                  <c:v>36.698348551323392</c:v>
                </c:pt>
                <c:pt idx="64037">
                  <c:v>59.333006434944181</c:v>
                </c:pt>
                <c:pt idx="64038">
                  <c:v>38.483714520778513</c:v>
                </c:pt>
                <c:pt idx="64039">
                  <c:v>55.575390568313296</c:v>
                </c:pt>
                <c:pt idx="64040">
                  <c:v>32.988197887444443</c:v>
                </c:pt>
                <c:pt idx="64041">
                  <c:v>37.444180584488606</c:v>
                </c:pt>
                <c:pt idx="64042">
                  <c:v>41.518432424315137</c:v>
                </c:pt>
                <c:pt idx="64043">
                  <c:v>28.045033709513657</c:v>
                </c:pt>
                <c:pt idx="64044">
                  <c:v>19.380640950545576</c:v>
                </c:pt>
                <c:pt idx="64045">
                  <c:v>25.20591794935337</c:v>
                </c:pt>
                <c:pt idx="64046">
                  <c:v>26.505683001883646</c:v>
                </c:pt>
                <c:pt idx="64047">
                  <c:v>48.884769413904557</c:v>
                </c:pt>
                <c:pt idx="64048">
                  <c:v>51.321611560218024</c:v>
                </c:pt>
                <c:pt idx="64049">
                  <c:v>37.63153179928829</c:v>
                </c:pt>
                <c:pt idx="64050">
                  <c:v>21.220876242736818</c:v>
                </c:pt>
                <c:pt idx="64051">
                  <c:v>27.253685494298807</c:v>
                </c:pt>
                <c:pt idx="64052">
                  <c:v>28.107617183519711</c:v>
                </c:pt>
                <c:pt idx="64053">
                  <c:v>27.451201546280458</c:v>
                </c:pt>
                <c:pt idx="64054">
                  <c:v>27.90026912917185</c:v>
                </c:pt>
                <c:pt idx="64055">
                  <c:v>53.180495474205777</c:v>
                </c:pt>
                <c:pt idx="64056">
                  <c:v>47.000596404808022</c:v>
                </c:pt>
                <c:pt idx="64057">
                  <c:v>44.009861972171166</c:v>
                </c:pt>
                <c:pt idx="64058">
                  <c:v>26.869028831387268</c:v>
                </c:pt>
                <c:pt idx="64059">
                  <c:v>30.113485453560251</c:v>
                </c:pt>
                <c:pt idx="64060">
                  <c:v>17.571658066649434</c:v>
                </c:pt>
                <c:pt idx="64061">
                  <c:v>53.616183078965541</c:v>
                </c:pt>
                <c:pt idx="64062">
                  <c:v>57.082117223059889</c:v>
                </c:pt>
                <c:pt idx="64063">
                  <c:v>27.499733488515943</c:v>
                </c:pt>
                <c:pt idx="64064">
                  <c:v>17.101485942397964</c:v>
                </c:pt>
                <c:pt idx="64065">
                  <c:v>20.975535593925887</c:v>
                </c:pt>
                <c:pt idx="64066">
                  <c:v>27.406672211734929</c:v>
                </c:pt>
                <c:pt idx="64067">
                  <c:v>43.228985296662607</c:v>
                </c:pt>
                <c:pt idx="64068">
                  <c:v>30.039381166049598</c:v>
                </c:pt>
                <c:pt idx="64069">
                  <c:v>31.423757341662501</c:v>
                </c:pt>
                <c:pt idx="64070">
                  <c:v>27.21558719190309</c:v>
                </c:pt>
                <c:pt idx="64071">
                  <c:v>29.54191927218309</c:v>
                </c:pt>
                <c:pt idx="64072">
                  <c:v>46.013396044665072</c:v>
                </c:pt>
                <c:pt idx="64073">
                  <c:v>26.631503080824665</c:v>
                </c:pt>
                <c:pt idx="64074">
                  <c:v>23.702326725705998</c:v>
                </c:pt>
                <c:pt idx="64075">
                  <c:v>24.474856292249829</c:v>
                </c:pt>
                <c:pt idx="64076">
                  <c:v>54.747885796490486</c:v>
                </c:pt>
                <c:pt idx="64077">
                  <c:v>31.013341130141793</c:v>
                </c:pt>
                <c:pt idx="64078">
                  <c:v>26.079895668263671</c:v>
                </c:pt>
                <c:pt idx="64079">
                  <c:v>39.171578753656966</c:v>
                </c:pt>
                <c:pt idx="64080">
                  <c:v>46.912290352346552</c:v>
                </c:pt>
                <c:pt idx="64081">
                  <c:v>25.103226949106766</c:v>
                </c:pt>
                <c:pt idx="64082">
                  <c:v>26.58663659287712</c:v>
                </c:pt>
                <c:pt idx="64083">
                  <c:v>41.629941437568014</c:v>
                </c:pt>
                <c:pt idx="64084">
                  <c:v>24.56175156874118</c:v>
                </c:pt>
                <c:pt idx="64085">
                  <c:v>43.251039542480278</c:v>
                </c:pt>
                <c:pt idx="64086">
                  <c:v>33.993790477754715</c:v>
                </c:pt>
                <c:pt idx="64087">
                  <c:v>26.43986221722723</c:v>
                </c:pt>
                <c:pt idx="64088">
                  <c:v>27.391158262784778</c:v>
                </c:pt>
                <c:pt idx="64089">
                  <c:v>31.064138083269118</c:v>
                </c:pt>
                <c:pt idx="64090">
                  <c:v>20.324284414480253</c:v>
                </c:pt>
                <c:pt idx="64091">
                  <c:v>20.348777884323052</c:v>
                </c:pt>
                <c:pt idx="64092">
                  <c:v>27.988280160529161</c:v>
                </c:pt>
                <c:pt idx="64093">
                  <c:v>21.573970656030887</c:v>
                </c:pt>
                <c:pt idx="64094">
                  <c:v>27.896341741502589</c:v>
                </c:pt>
                <c:pt idx="64095">
                  <c:v>24.48000567814119</c:v>
                </c:pt>
                <c:pt idx="64096">
                  <c:v>30.920792893335648</c:v>
                </c:pt>
                <c:pt idx="64097">
                  <c:v>42.787658874987272</c:v>
                </c:pt>
                <c:pt idx="64098">
                  <c:v>33.388896588843423</c:v>
                </c:pt>
                <c:pt idx="64099">
                  <c:v>21.442901449326037</c:v>
                </c:pt>
                <c:pt idx="64100">
                  <c:v>26.769361053859839</c:v>
                </c:pt>
                <c:pt idx="64101">
                  <c:v>32.091667121590127</c:v>
                </c:pt>
                <c:pt idx="64102">
                  <c:v>28.163735069011157</c:v>
                </c:pt>
                <c:pt idx="64103">
                  <c:v>23.638568938686554</c:v>
                </c:pt>
                <c:pt idx="64104">
                  <c:v>34.645934967155753</c:v>
                </c:pt>
                <c:pt idx="64105">
                  <c:v>44.986144401420667</c:v>
                </c:pt>
                <c:pt idx="64106">
                  <c:v>32.961208748461338</c:v>
                </c:pt>
                <c:pt idx="64107">
                  <c:v>19.025571796397202</c:v>
                </c:pt>
                <c:pt idx="64108">
                  <c:v>26.332174359519879</c:v>
                </c:pt>
                <c:pt idx="64109">
                  <c:v>19.435633483896154</c:v>
                </c:pt>
                <c:pt idx="64110">
                  <c:v>45.820493712968613</c:v>
                </c:pt>
                <c:pt idx="64111">
                  <c:v>51.646275690887407</c:v>
                </c:pt>
                <c:pt idx="64112">
                  <c:v>30.468545256631149</c:v>
                </c:pt>
                <c:pt idx="64113">
                  <c:v>23.373466087370488</c:v>
                </c:pt>
                <c:pt idx="64114">
                  <c:v>32.196063327094997</c:v>
                </c:pt>
                <c:pt idx="64115">
                  <c:v>54.88360659442052</c:v>
                </c:pt>
                <c:pt idx="64116">
                  <c:v>27.086378268593062</c:v>
                </c:pt>
                <c:pt idx="64117">
                  <c:v>49.749728805691205</c:v>
                </c:pt>
                <c:pt idx="64118">
                  <c:v>19.314491901727557</c:v>
                </c:pt>
                <c:pt idx="64119">
                  <c:v>35.637248070405967</c:v>
                </c:pt>
                <c:pt idx="64120">
                  <c:v>21.466705799589715</c:v>
                </c:pt>
                <c:pt idx="64121">
                  <c:v>27.919312505555897</c:v>
                </c:pt>
                <c:pt idx="64122">
                  <c:v>21.438982633990442</c:v>
                </c:pt>
                <c:pt idx="64123">
                  <c:v>30.199515039000957</c:v>
                </c:pt>
                <c:pt idx="64124">
                  <c:v>27.405595426424345</c:v>
                </c:pt>
                <c:pt idx="64125">
                  <c:v>47.559744767948445</c:v>
                </c:pt>
                <c:pt idx="64126">
                  <c:v>31.176035439696676</c:v>
                </c:pt>
                <c:pt idx="64127">
                  <c:v>20.173005740546433</c:v>
                </c:pt>
                <c:pt idx="64128">
                  <c:v>28.293815891598783</c:v>
                </c:pt>
                <c:pt idx="64129">
                  <c:v>28.838146516355696</c:v>
                </c:pt>
                <c:pt idx="64130">
                  <c:v>52.427392039059974</c:v>
                </c:pt>
                <c:pt idx="64131">
                  <c:v>31.700498911560423</c:v>
                </c:pt>
                <c:pt idx="64132">
                  <c:v>46.034613563444275</c:v>
                </c:pt>
                <c:pt idx="64133">
                  <c:v>37.197601636207239</c:v>
                </c:pt>
                <c:pt idx="64134">
                  <c:v>49.359058387445813</c:v>
                </c:pt>
                <c:pt idx="64135">
                  <c:v>50.793494925900887</c:v>
                </c:pt>
                <c:pt idx="64136">
                  <c:v>49.949161739515063</c:v>
                </c:pt>
                <c:pt idx="64137">
                  <c:v>27.44702552009398</c:v>
                </c:pt>
                <c:pt idx="64138">
                  <c:v>20.750452265194188</c:v>
                </c:pt>
                <c:pt idx="64139">
                  <c:v>27.983329822621204</c:v>
                </c:pt>
                <c:pt idx="64140">
                  <c:v>24.206401079471991</c:v>
                </c:pt>
                <c:pt idx="64141">
                  <c:v>39.083164713127275</c:v>
                </c:pt>
                <c:pt idx="64142">
                  <c:v>25.387044440751449</c:v>
                </c:pt>
                <c:pt idx="64143">
                  <c:v>49.703022127427921</c:v>
                </c:pt>
                <c:pt idx="64144">
                  <c:v>34.492208181194087</c:v>
                </c:pt>
                <c:pt idx="64145">
                  <c:v>37.621119099889157</c:v>
                </c:pt>
                <c:pt idx="64146">
                  <c:v>28.455880779918193</c:v>
                </c:pt>
                <c:pt idx="64147">
                  <c:v>51.23984160266135</c:v>
                </c:pt>
                <c:pt idx="64148">
                  <c:v>24.188905427062274</c:v>
                </c:pt>
                <c:pt idx="64149">
                  <c:v>23.380650388408412</c:v>
                </c:pt>
                <c:pt idx="64150">
                  <c:v>23.701391020703277</c:v>
                </c:pt>
                <c:pt idx="64151">
                  <c:v>37.472699799421612</c:v>
                </c:pt>
                <c:pt idx="64152">
                  <c:v>28.889550236954022</c:v>
                </c:pt>
                <c:pt idx="64153">
                  <c:v>24.901950581043785</c:v>
                </c:pt>
                <c:pt idx="64154">
                  <c:v>22.866843091554951</c:v>
                </c:pt>
                <c:pt idx="64155">
                  <c:v>21.994568664220289</c:v>
                </c:pt>
                <c:pt idx="64156">
                  <c:v>42.347871653899134</c:v>
                </c:pt>
                <c:pt idx="64157">
                  <c:v>38.378857978086586</c:v>
                </c:pt>
                <c:pt idx="64158">
                  <c:v>29.990814495023081</c:v>
                </c:pt>
                <c:pt idx="64159">
                  <c:v>30.052768948841305</c:v>
                </c:pt>
                <c:pt idx="64160">
                  <c:v>37.490412248982018</c:v>
                </c:pt>
                <c:pt idx="64161">
                  <c:v>42.828839526204902</c:v>
                </c:pt>
                <c:pt idx="64162">
                  <c:v>26.371173019554796</c:v>
                </c:pt>
                <c:pt idx="64163">
                  <c:v>44.984943098808102</c:v>
                </c:pt>
                <c:pt idx="64164">
                  <c:v>22.090114274059239</c:v>
                </c:pt>
                <c:pt idx="64165">
                  <c:v>23.750097934252107</c:v>
                </c:pt>
                <c:pt idx="64166">
                  <c:v>46.936865152713423</c:v>
                </c:pt>
                <c:pt idx="64167">
                  <c:v>45.36857767165445</c:v>
                </c:pt>
                <c:pt idx="64168">
                  <c:v>28.127424204367195</c:v>
                </c:pt>
                <c:pt idx="64169">
                  <c:v>28.48165983182448</c:v>
                </c:pt>
                <c:pt idx="64170">
                  <c:v>25.162190569299103</c:v>
                </c:pt>
                <c:pt idx="64171">
                  <c:v>42.110240558310871</c:v>
                </c:pt>
                <c:pt idx="64172">
                  <c:v>36.100442654376685</c:v>
                </c:pt>
                <c:pt idx="64173">
                  <c:v>24.930131732674933</c:v>
                </c:pt>
                <c:pt idx="64174">
                  <c:v>38.908630758286819</c:v>
                </c:pt>
                <c:pt idx="64175">
                  <c:v>34.145651340848161</c:v>
                </c:pt>
                <c:pt idx="64176">
                  <c:v>37.147958160799938</c:v>
                </c:pt>
                <c:pt idx="64177">
                  <c:v>25.282698720897805</c:v>
                </c:pt>
                <c:pt idx="64178">
                  <c:v>46.60185766866428</c:v>
                </c:pt>
                <c:pt idx="64179">
                  <c:v>21.920274716259414</c:v>
                </c:pt>
                <c:pt idx="64180">
                  <c:v>17.899188685067635</c:v>
                </c:pt>
                <c:pt idx="64181">
                  <c:v>26.507674181677782</c:v>
                </c:pt>
                <c:pt idx="64182">
                  <c:v>33.816051870855098</c:v>
                </c:pt>
                <c:pt idx="64183">
                  <c:v>22.104764046874571</c:v>
                </c:pt>
                <c:pt idx="64184">
                  <c:v>23.085140154583272</c:v>
                </c:pt>
                <c:pt idx="64185">
                  <c:v>27.718756824862275</c:v>
                </c:pt>
                <c:pt idx="64186">
                  <c:v>31.819756270675473</c:v>
                </c:pt>
                <c:pt idx="64187">
                  <c:v>51.738032056162581</c:v>
                </c:pt>
                <c:pt idx="64188">
                  <c:v>49.746959718207954</c:v>
                </c:pt>
                <c:pt idx="64189">
                  <c:v>21.565673375247478</c:v>
                </c:pt>
                <c:pt idx="64190">
                  <c:v>16.153219917872345</c:v>
                </c:pt>
                <c:pt idx="64191">
                  <c:v>47.625388652156744</c:v>
                </c:pt>
                <c:pt idx="64192">
                  <c:v>28.340217575516682</c:v>
                </c:pt>
                <c:pt idx="64193">
                  <c:v>49.261275834168281</c:v>
                </c:pt>
                <c:pt idx="64194">
                  <c:v>47.82331874791597</c:v>
                </c:pt>
                <c:pt idx="64195">
                  <c:v>28.058312648685554</c:v>
                </c:pt>
                <c:pt idx="64196">
                  <c:v>50.954934146543621</c:v>
                </c:pt>
                <c:pt idx="64197">
                  <c:v>54.04770596476196</c:v>
                </c:pt>
                <c:pt idx="64198">
                  <c:v>31.243707372857504</c:v>
                </c:pt>
                <c:pt idx="64199">
                  <c:v>21.272534990199308</c:v>
                </c:pt>
                <c:pt idx="64200">
                  <c:v>37.976732325659597</c:v>
                </c:pt>
                <c:pt idx="64201">
                  <c:v>17.741540167482285</c:v>
                </c:pt>
                <c:pt idx="64202">
                  <c:v>48.204258283824466</c:v>
                </c:pt>
                <c:pt idx="64203">
                  <c:v>27.210136676126151</c:v>
                </c:pt>
                <c:pt idx="64204">
                  <c:v>28.076755915435562</c:v>
                </c:pt>
                <c:pt idx="64205">
                  <c:v>25.755285486323878</c:v>
                </c:pt>
                <c:pt idx="64206">
                  <c:v>30.033460326244818</c:v>
                </c:pt>
                <c:pt idx="64207">
                  <c:v>29.737020315331897</c:v>
                </c:pt>
                <c:pt idx="64208">
                  <c:v>24.770235186450378</c:v>
                </c:pt>
                <c:pt idx="64209">
                  <c:v>36.566794551127217</c:v>
                </c:pt>
                <c:pt idx="64210">
                  <c:v>38.540692901134392</c:v>
                </c:pt>
                <c:pt idx="64211">
                  <c:v>38.496826021621388</c:v>
                </c:pt>
                <c:pt idx="64212">
                  <c:v>45.852069626320628</c:v>
                </c:pt>
                <c:pt idx="64213">
                  <c:v>36.260146618922704</c:v>
                </c:pt>
                <c:pt idx="64214">
                  <c:v>25.235872244937525</c:v>
                </c:pt>
                <c:pt idx="64215">
                  <c:v>19.876771532267028</c:v>
                </c:pt>
                <c:pt idx="64216">
                  <c:v>25.499990451438805</c:v>
                </c:pt>
                <c:pt idx="64217">
                  <c:v>22.240981230007591</c:v>
                </c:pt>
                <c:pt idx="64218">
                  <c:v>26.932773538409059</c:v>
                </c:pt>
                <c:pt idx="64219">
                  <c:v>29.418542905622964</c:v>
                </c:pt>
                <c:pt idx="64220">
                  <c:v>25.550226943981762</c:v>
                </c:pt>
                <c:pt idx="64221">
                  <c:v>27.670373094412781</c:v>
                </c:pt>
                <c:pt idx="64222">
                  <c:v>19.93925831385933</c:v>
                </c:pt>
                <c:pt idx="64223">
                  <c:v>48.989959992267195</c:v>
                </c:pt>
                <c:pt idx="64224">
                  <c:v>29.575800337117723</c:v>
                </c:pt>
                <c:pt idx="64225">
                  <c:v>39.716435598684683</c:v>
                </c:pt>
                <c:pt idx="64226">
                  <c:v>33.006101162026475</c:v>
                </c:pt>
                <c:pt idx="64227">
                  <c:v>22.807774908930583</c:v>
                </c:pt>
                <c:pt idx="64228">
                  <c:v>25.918545622740965</c:v>
                </c:pt>
                <c:pt idx="64229">
                  <c:v>22.190504719412964</c:v>
                </c:pt>
                <c:pt idx="64230">
                  <c:v>32.719689137014782</c:v>
                </c:pt>
                <c:pt idx="64231">
                  <c:v>24.404071065086725</c:v>
                </c:pt>
                <c:pt idx="64232">
                  <c:v>24.60736693214735</c:v>
                </c:pt>
                <c:pt idx="64233">
                  <c:v>16.434208885291241</c:v>
                </c:pt>
                <c:pt idx="64234">
                  <c:v>30.928492292838939</c:v>
                </c:pt>
                <c:pt idx="64235">
                  <c:v>37.350547843367778</c:v>
                </c:pt>
                <c:pt idx="64236">
                  <c:v>25.398356607183448</c:v>
                </c:pt>
                <c:pt idx="64237">
                  <c:v>46.700639685310378</c:v>
                </c:pt>
                <c:pt idx="64238">
                  <c:v>24.307271937088856</c:v>
                </c:pt>
                <c:pt idx="64239">
                  <c:v>19.60752097305533</c:v>
                </c:pt>
                <c:pt idx="64240">
                  <c:v>17.439976784499532</c:v>
                </c:pt>
                <c:pt idx="64241">
                  <c:v>19.701504493265453</c:v>
                </c:pt>
                <c:pt idx="64242">
                  <c:v>21.465619335598383</c:v>
                </c:pt>
                <c:pt idx="64243">
                  <c:v>17.247715327784501</c:v>
                </c:pt>
                <c:pt idx="64244">
                  <c:v>17.58670720294748</c:v>
                </c:pt>
                <c:pt idx="64245">
                  <c:v>22.897537889362482</c:v>
                </c:pt>
                <c:pt idx="64246">
                  <c:v>35.409986314439905</c:v>
                </c:pt>
                <c:pt idx="64247">
                  <c:v>28.482940858486167</c:v>
                </c:pt>
                <c:pt idx="64248">
                  <c:v>38.929255330979409</c:v>
                </c:pt>
                <c:pt idx="64249">
                  <c:v>25.222840796613291</c:v>
                </c:pt>
                <c:pt idx="64250">
                  <c:v>34.485484643299372</c:v>
                </c:pt>
                <c:pt idx="64251">
                  <c:v>53.241177375543515</c:v>
                </c:pt>
                <c:pt idx="64252">
                  <c:v>60.432462423376272</c:v>
                </c:pt>
                <c:pt idx="64253">
                  <c:v>20.595336285675664</c:v>
                </c:pt>
                <c:pt idx="64254">
                  <c:v>27.853732519851519</c:v>
                </c:pt>
                <c:pt idx="64255">
                  <c:v>24.802391508141909</c:v>
                </c:pt>
                <c:pt idx="64256">
                  <c:v>42.19604544792081</c:v>
                </c:pt>
                <c:pt idx="64257">
                  <c:v>29.884757676574349</c:v>
                </c:pt>
                <c:pt idx="64258">
                  <c:v>26.270668506675854</c:v>
                </c:pt>
                <c:pt idx="64259">
                  <c:v>51.958549031651494</c:v>
                </c:pt>
                <c:pt idx="64260">
                  <c:v>31.507345677604821</c:v>
                </c:pt>
                <c:pt idx="64261">
                  <c:v>22.507790143525661</c:v>
                </c:pt>
                <c:pt idx="64262">
                  <c:v>26.160087151722333</c:v>
                </c:pt>
                <c:pt idx="64263">
                  <c:v>54.07198546343043</c:v>
                </c:pt>
                <c:pt idx="64264">
                  <c:v>20.855156016366454</c:v>
                </c:pt>
                <c:pt idx="64265">
                  <c:v>21.243545781092031</c:v>
                </c:pt>
                <c:pt idx="64266">
                  <c:v>20.35892533750388</c:v>
                </c:pt>
                <c:pt idx="64267">
                  <c:v>41.852689192569471</c:v>
                </c:pt>
                <c:pt idx="64268">
                  <c:v>34.811822808838997</c:v>
                </c:pt>
                <c:pt idx="64269">
                  <c:v>36.746752358602556</c:v>
                </c:pt>
                <c:pt idx="64270">
                  <c:v>36.653318556436993</c:v>
                </c:pt>
                <c:pt idx="64271">
                  <c:v>26.38969019766332</c:v>
                </c:pt>
                <c:pt idx="64272">
                  <c:v>26.315650078311588</c:v>
                </c:pt>
                <c:pt idx="64273">
                  <c:v>23.02589567987512</c:v>
                </c:pt>
                <c:pt idx="64274">
                  <c:v>20.967872880747976</c:v>
                </c:pt>
                <c:pt idx="64275">
                  <c:v>33.921763301976881</c:v>
                </c:pt>
                <c:pt idx="64276">
                  <c:v>16.887378965277303</c:v>
                </c:pt>
                <c:pt idx="64277">
                  <c:v>22.913791905879769</c:v>
                </c:pt>
                <c:pt idx="64278">
                  <c:v>23.650213097105208</c:v>
                </c:pt>
                <c:pt idx="64279">
                  <c:v>21.296117442290168</c:v>
                </c:pt>
                <c:pt idx="64280">
                  <c:v>27.208576042733274</c:v>
                </c:pt>
                <c:pt idx="64281">
                  <c:v>28.448343809292705</c:v>
                </c:pt>
                <c:pt idx="64282">
                  <c:v>40.860868981628414</c:v>
                </c:pt>
                <c:pt idx="64283">
                  <c:v>26.756483199458103</c:v>
                </c:pt>
                <c:pt idx="64284">
                  <c:v>36.338318031586006</c:v>
                </c:pt>
                <c:pt idx="64285">
                  <c:v>23.319385872802645</c:v>
                </c:pt>
                <c:pt idx="64286">
                  <c:v>29.797776392331475</c:v>
                </c:pt>
                <c:pt idx="64287">
                  <c:v>34.398555318791836</c:v>
                </c:pt>
                <c:pt idx="64288">
                  <c:v>29.574099703503634</c:v>
                </c:pt>
                <c:pt idx="64289">
                  <c:v>49.358233732068769</c:v>
                </c:pt>
                <c:pt idx="64290">
                  <c:v>28.174825316295905</c:v>
                </c:pt>
                <c:pt idx="64291">
                  <c:v>35.677135194548498</c:v>
                </c:pt>
                <c:pt idx="64292">
                  <c:v>53.393501745235483</c:v>
                </c:pt>
                <c:pt idx="64293">
                  <c:v>38.96767351064004</c:v>
                </c:pt>
                <c:pt idx="64294">
                  <c:v>21.43416811217152</c:v>
                </c:pt>
                <c:pt idx="64295">
                  <c:v>45.668728325942631</c:v>
                </c:pt>
                <c:pt idx="64296">
                  <c:v>22.252861081542825</c:v>
                </c:pt>
                <c:pt idx="64297">
                  <c:v>50.482253957797546</c:v>
                </c:pt>
                <c:pt idx="64298">
                  <c:v>40.035065550286738</c:v>
                </c:pt>
                <c:pt idx="64299">
                  <c:v>49.786282306870582</c:v>
                </c:pt>
                <c:pt idx="64300">
                  <c:v>25.627820765385152</c:v>
                </c:pt>
                <c:pt idx="64301">
                  <c:v>29.374568075441395</c:v>
                </c:pt>
                <c:pt idx="64302">
                  <c:v>45.650004849317433</c:v>
                </c:pt>
                <c:pt idx="64303">
                  <c:v>21.820857548982019</c:v>
                </c:pt>
                <c:pt idx="64304">
                  <c:v>27.599842027430231</c:v>
                </c:pt>
                <c:pt idx="64305">
                  <c:v>51.393779548656461</c:v>
                </c:pt>
                <c:pt idx="64306">
                  <c:v>25.839717281788865</c:v>
                </c:pt>
                <c:pt idx="64307">
                  <c:v>43.001532481759064</c:v>
                </c:pt>
                <c:pt idx="64308">
                  <c:v>33.917936267357376</c:v>
                </c:pt>
                <c:pt idx="64309">
                  <c:v>39.623659790523156</c:v>
                </c:pt>
                <c:pt idx="64310">
                  <c:v>31.082333930813462</c:v>
                </c:pt>
                <c:pt idx="64311">
                  <c:v>49.620894166319573</c:v>
                </c:pt>
                <c:pt idx="64312">
                  <c:v>22.918826160866999</c:v>
                </c:pt>
                <c:pt idx="64313">
                  <c:v>34.798670071508404</c:v>
                </c:pt>
                <c:pt idx="64314">
                  <c:v>41.97501484706585</c:v>
                </c:pt>
                <c:pt idx="64315">
                  <c:v>36.128364427833084</c:v>
                </c:pt>
                <c:pt idx="64316">
                  <c:v>27.974632489475653</c:v>
                </c:pt>
                <c:pt idx="64317">
                  <c:v>25.52090115854697</c:v>
                </c:pt>
                <c:pt idx="64318">
                  <c:v>23.855245039990738</c:v>
                </c:pt>
                <c:pt idx="64319">
                  <c:v>35.113307031323522</c:v>
                </c:pt>
                <c:pt idx="64320">
                  <c:v>41.430687040283225</c:v>
                </c:pt>
                <c:pt idx="64321">
                  <c:v>30.164909706570292</c:v>
                </c:pt>
                <c:pt idx="64322">
                  <c:v>35.762783515309721</c:v>
                </c:pt>
                <c:pt idx="64323">
                  <c:v>31.580321101232116</c:v>
                </c:pt>
                <c:pt idx="64324">
                  <c:v>25.700441104126405</c:v>
                </c:pt>
                <c:pt idx="64325">
                  <c:v>40.349542895448415</c:v>
                </c:pt>
                <c:pt idx="64326">
                  <c:v>26.492618381272393</c:v>
                </c:pt>
                <c:pt idx="64327">
                  <c:v>28.976753917991704</c:v>
                </c:pt>
                <c:pt idx="64328">
                  <c:v>27.623434075008561</c:v>
                </c:pt>
                <c:pt idx="64329">
                  <c:v>24.065249575545387</c:v>
                </c:pt>
                <c:pt idx="64330">
                  <c:v>34.241324541024319</c:v>
                </c:pt>
                <c:pt idx="64331">
                  <c:v>53.375424427581429</c:v>
                </c:pt>
                <c:pt idx="64332">
                  <c:v>26.378800270605979</c:v>
                </c:pt>
                <c:pt idx="64333">
                  <c:v>26.568448279209129</c:v>
                </c:pt>
                <c:pt idx="64334">
                  <c:v>40.011679042286637</c:v>
                </c:pt>
                <c:pt idx="64335">
                  <c:v>24.778785112762812</c:v>
                </c:pt>
                <c:pt idx="64336">
                  <c:v>23.490461304869417</c:v>
                </c:pt>
                <c:pt idx="64337">
                  <c:v>25.310415979372536</c:v>
                </c:pt>
                <c:pt idx="64338">
                  <c:v>29.111241787251988</c:v>
                </c:pt>
                <c:pt idx="64339">
                  <c:v>22.379639612821087</c:v>
                </c:pt>
                <c:pt idx="64340">
                  <c:v>25.669631334946299</c:v>
                </c:pt>
                <c:pt idx="64341">
                  <c:v>46.879974362712446</c:v>
                </c:pt>
                <c:pt idx="64342">
                  <c:v>22.246158923543064</c:v>
                </c:pt>
                <c:pt idx="64343">
                  <c:v>23.490397063002376</c:v>
                </c:pt>
                <c:pt idx="64344">
                  <c:v>35.294646159043872</c:v>
                </c:pt>
                <c:pt idx="64345">
                  <c:v>30.991820788600378</c:v>
                </c:pt>
                <c:pt idx="64346">
                  <c:v>20.11995117787723</c:v>
                </c:pt>
                <c:pt idx="64347">
                  <c:v>30.53363538021452</c:v>
                </c:pt>
                <c:pt idx="64348">
                  <c:v>23.920969715242208</c:v>
                </c:pt>
                <c:pt idx="64349">
                  <c:v>23.101624918803665</c:v>
                </c:pt>
                <c:pt idx="64350">
                  <c:v>20.378676656154916</c:v>
                </c:pt>
                <c:pt idx="64351">
                  <c:v>19.751942864745583</c:v>
                </c:pt>
                <c:pt idx="64352">
                  <c:v>25.214855947556618</c:v>
                </c:pt>
                <c:pt idx="64353">
                  <c:v>18.77734276256702</c:v>
                </c:pt>
                <c:pt idx="64354">
                  <c:v>36.285456876213416</c:v>
                </c:pt>
                <c:pt idx="64355">
                  <c:v>22.587193867164906</c:v>
                </c:pt>
                <c:pt idx="64356">
                  <c:v>22.840300085489503</c:v>
                </c:pt>
                <c:pt idx="64357">
                  <c:v>46.968811724070498</c:v>
                </c:pt>
                <c:pt idx="64358">
                  <c:v>22.588760962499755</c:v>
                </c:pt>
                <c:pt idx="64359">
                  <c:v>23.382368386091731</c:v>
                </c:pt>
                <c:pt idx="64360">
                  <c:v>38.018390931809108</c:v>
                </c:pt>
                <c:pt idx="64361">
                  <c:v>22.778328754905097</c:v>
                </c:pt>
                <c:pt idx="64362">
                  <c:v>24.002017042817577</c:v>
                </c:pt>
                <c:pt idx="64363">
                  <c:v>32.236978992683404</c:v>
                </c:pt>
                <c:pt idx="64364">
                  <c:v>18.375399155920697</c:v>
                </c:pt>
                <c:pt idx="64365">
                  <c:v>32.943896745832497</c:v>
                </c:pt>
                <c:pt idx="64366">
                  <c:v>20.316909488034252</c:v>
                </c:pt>
                <c:pt idx="64367">
                  <c:v>32.813864279177999</c:v>
                </c:pt>
                <c:pt idx="64368">
                  <c:v>25.537933376488773</c:v>
                </c:pt>
                <c:pt idx="64369">
                  <c:v>26.948637914990819</c:v>
                </c:pt>
                <c:pt idx="64370">
                  <c:v>40.607670464952839</c:v>
                </c:pt>
                <c:pt idx="64371">
                  <c:v>47.856089195689222</c:v>
                </c:pt>
                <c:pt idx="64372">
                  <c:v>38.065905126137643</c:v>
                </c:pt>
                <c:pt idx="64373">
                  <c:v>25.675996719431794</c:v>
                </c:pt>
                <c:pt idx="64374">
                  <c:v>44.025458497382566</c:v>
                </c:pt>
                <c:pt idx="64375">
                  <c:v>23.717262378430888</c:v>
                </c:pt>
                <c:pt idx="64376">
                  <c:v>32.277492186961162</c:v>
                </c:pt>
                <c:pt idx="64377">
                  <c:v>26.096457705702385</c:v>
                </c:pt>
                <c:pt idx="64378">
                  <c:v>41.585252524309269</c:v>
                </c:pt>
                <c:pt idx="64379">
                  <c:v>28.232317855806532</c:v>
                </c:pt>
                <c:pt idx="64380">
                  <c:v>22.940638143324193</c:v>
                </c:pt>
                <c:pt idx="64381">
                  <c:v>47.425905781203603</c:v>
                </c:pt>
                <c:pt idx="64382">
                  <c:v>23.845531878871785</c:v>
                </c:pt>
                <c:pt idx="64383">
                  <c:v>29.760722440605647</c:v>
                </c:pt>
                <c:pt idx="64384">
                  <c:v>34.484901104682763</c:v>
                </c:pt>
                <c:pt idx="64385">
                  <c:v>34.200393719494343</c:v>
                </c:pt>
                <c:pt idx="64386">
                  <c:v>27.729066125202973</c:v>
                </c:pt>
                <c:pt idx="64387">
                  <c:v>27.211139682924596</c:v>
                </c:pt>
                <c:pt idx="64388">
                  <c:v>28.070769049406451</c:v>
                </c:pt>
                <c:pt idx="64389">
                  <c:v>23.211465753155032</c:v>
                </c:pt>
                <c:pt idx="64390">
                  <c:v>32.159365562287867</c:v>
                </c:pt>
                <c:pt idx="64391">
                  <c:v>24.039722955765733</c:v>
                </c:pt>
                <c:pt idx="64392">
                  <c:v>26.600636984589595</c:v>
                </c:pt>
                <c:pt idx="64393">
                  <c:v>22.997391097188785</c:v>
                </c:pt>
                <c:pt idx="64394">
                  <c:v>26.313855084679272</c:v>
                </c:pt>
                <c:pt idx="64395">
                  <c:v>17.672369092942446</c:v>
                </c:pt>
                <c:pt idx="64396">
                  <c:v>31.165311934486585</c:v>
                </c:pt>
                <c:pt idx="64397">
                  <c:v>25.204597380458274</c:v>
                </c:pt>
                <c:pt idx="64398">
                  <c:v>27.483546697817481</c:v>
                </c:pt>
                <c:pt idx="64399">
                  <c:v>24.814412730834057</c:v>
                </c:pt>
                <c:pt idx="64400">
                  <c:v>24.974607997082181</c:v>
                </c:pt>
                <c:pt idx="64401">
                  <c:v>25.568390097126635</c:v>
                </c:pt>
                <c:pt idx="64402">
                  <c:v>27.550690372998233</c:v>
                </c:pt>
                <c:pt idx="64403">
                  <c:v>30.74580245704399</c:v>
                </c:pt>
                <c:pt idx="64404">
                  <c:v>23.464433163230215</c:v>
                </c:pt>
                <c:pt idx="64405">
                  <c:v>28.576963510056295</c:v>
                </c:pt>
                <c:pt idx="64406">
                  <c:v>25.160669407871424</c:v>
                </c:pt>
                <c:pt idx="64407">
                  <c:v>41.936144116781421</c:v>
                </c:pt>
                <c:pt idx="64408">
                  <c:v>55.073268762458916</c:v>
                </c:pt>
                <c:pt idx="64409">
                  <c:v>25.136651842908492</c:v>
                </c:pt>
                <c:pt idx="64410">
                  <c:v>42.911682438935003</c:v>
                </c:pt>
                <c:pt idx="64411">
                  <c:v>23.367575406386049</c:v>
                </c:pt>
                <c:pt idx="64412">
                  <c:v>19.93948901828567</c:v>
                </c:pt>
                <c:pt idx="64413">
                  <c:v>25.490064349635386</c:v>
                </c:pt>
                <c:pt idx="64414">
                  <c:v>24.531346960690861</c:v>
                </c:pt>
                <c:pt idx="64415">
                  <c:v>26.662655606996392</c:v>
                </c:pt>
                <c:pt idx="64416">
                  <c:v>26.647494501629946</c:v>
                </c:pt>
                <c:pt idx="64417">
                  <c:v>20.88749387814196</c:v>
                </c:pt>
                <c:pt idx="64418">
                  <c:v>32.250795572556953</c:v>
                </c:pt>
                <c:pt idx="64419">
                  <c:v>34.581656732467174</c:v>
                </c:pt>
                <c:pt idx="64420">
                  <c:v>33.089756973123315</c:v>
                </c:pt>
                <c:pt idx="64421">
                  <c:v>26.320183483979861</c:v>
                </c:pt>
                <c:pt idx="64422">
                  <c:v>45.749285259682033</c:v>
                </c:pt>
                <c:pt idx="64423">
                  <c:v>36.902467322164057</c:v>
                </c:pt>
                <c:pt idx="64424">
                  <c:v>28.161667703506552</c:v>
                </c:pt>
                <c:pt idx="64425">
                  <c:v>22.092435474688649</c:v>
                </c:pt>
                <c:pt idx="64426">
                  <c:v>22.911076961711384</c:v>
                </c:pt>
                <c:pt idx="64427">
                  <c:v>28.066581863746265</c:v>
                </c:pt>
                <c:pt idx="64428">
                  <c:v>25.014633921853925</c:v>
                </c:pt>
                <c:pt idx="64429">
                  <c:v>25.199762390670745</c:v>
                </c:pt>
                <c:pt idx="64430">
                  <c:v>46.939975065154833</c:v>
                </c:pt>
                <c:pt idx="64431">
                  <c:v>35.618408091919733</c:v>
                </c:pt>
                <c:pt idx="64432">
                  <c:v>41.472413612632323</c:v>
                </c:pt>
                <c:pt idx="64433">
                  <c:v>51.828440106007207</c:v>
                </c:pt>
                <c:pt idx="64434">
                  <c:v>24.896270216918278</c:v>
                </c:pt>
                <c:pt idx="64435">
                  <c:v>19.473109188665497</c:v>
                </c:pt>
                <c:pt idx="64436">
                  <c:v>30.488146982805326</c:v>
                </c:pt>
                <c:pt idx="64437">
                  <c:v>23.978463464722328</c:v>
                </c:pt>
                <c:pt idx="64438">
                  <c:v>36.706098777114065</c:v>
                </c:pt>
                <c:pt idx="64439">
                  <c:v>28.426191985080671</c:v>
                </c:pt>
                <c:pt idx="64440">
                  <c:v>25.712734578807257</c:v>
                </c:pt>
                <c:pt idx="64441">
                  <c:v>43.151465008759871</c:v>
                </c:pt>
                <c:pt idx="64442">
                  <c:v>22.67961893057328</c:v>
                </c:pt>
                <c:pt idx="64443">
                  <c:v>31.414386175888367</c:v>
                </c:pt>
                <c:pt idx="64444">
                  <c:v>21.613230548953666</c:v>
                </c:pt>
                <c:pt idx="64445">
                  <c:v>52.863775030815468</c:v>
                </c:pt>
                <c:pt idx="64446">
                  <c:v>26.905525038689593</c:v>
                </c:pt>
                <c:pt idx="64447">
                  <c:v>20.828150605909006</c:v>
                </c:pt>
                <c:pt idx="64448">
                  <c:v>25.87222387357733</c:v>
                </c:pt>
                <c:pt idx="64449">
                  <c:v>43.803254660010403</c:v>
                </c:pt>
                <c:pt idx="64450">
                  <c:v>56.180573140651767</c:v>
                </c:pt>
                <c:pt idx="64451">
                  <c:v>66.542200583382794</c:v>
                </c:pt>
                <c:pt idx="64452">
                  <c:v>34.884070324552184</c:v>
                </c:pt>
                <c:pt idx="64453">
                  <c:v>19.580497075090147</c:v>
                </c:pt>
                <c:pt idx="64454">
                  <c:v>20.84770158444217</c:v>
                </c:pt>
                <c:pt idx="64455">
                  <c:v>24.18737031018884</c:v>
                </c:pt>
                <c:pt idx="64456">
                  <c:v>26.091751029682868</c:v>
                </c:pt>
                <c:pt idx="64457">
                  <c:v>27.467393892338983</c:v>
                </c:pt>
                <c:pt idx="64458">
                  <c:v>24.811638941942491</c:v>
                </c:pt>
                <c:pt idx="64459">
                  <c:v>51.705308439342609</c:v>
                </c:pt>
                <c:pt idx="64460">
                  <c:v>33.849866146849038</c:v>
                </c:pt>
                <c:pt idx="64461">
                  <c:v>33.368506022232907</c:v>
                </c:pt>
                <c:pt idx="64462">
                  <c:v>22.141878548699026</c:v>
                </c:pt>
                <c:pt idx="64463">
                  <c:v>24.52446229030911</c:v>
                </c:pt>
                <c:pt idx="64464">
                  <c:v>21.189821122760328</c:v>
                </c:pt>
                <c:pt idx="64465">
                  <c:v>50.128365107857412</c:v>
                </c:pt>
                <c:pt idx="64466">
                  <c:v>21.395255426301688</c:v>
                </c:pt>
                <c:pt idx="64467">
                  <c:v>17.612030667293883</c:v>
                </c:pt>
                <c:pt idx="64468">
                  <c:v>50.598200085785294</c:v>
                </c:pt>
                <c:pt idx="64469">
                  <c:v>33.787092128301929</c:v>
                </c:pt>
                <c:pt idx="64470">
                  <c:v>31.314303430643456</c:v>
                </c:pt>
                <c:pt idx="64471">
                  <c:v>46.082073849070923</c:v>
                </c:pt>
                <c:pt idx="64472">
                  <c:v>23.36160544088861</c:v>
                </c:pt>
                <c:pt idx="64473">
                  <c:v>51.318775714503722</c:v>
                </c:pt>
                <c:pt idx="64474">
                  <c:v>45.083074968023688</c:v>
                </c:pt>
                <c:pt idx="64475">
                  <c:v>28.329411110070044</c:v>
                </c:pt>
                <c:pt idx="64476">
                  <c:v>27.278442185031892</c:v>
                </c:pt>
                <c:pt idx="64477">
                  <c:v>38.471298451693897</c:v>
                </c:pt>
                <c:pt idx="64478">
                  <c:v>46.843227486387889</c:v>
                </c:pt>
                <c:pt idx="64479">
                  <c:v>52.104189152130843</c:v>
                </c:pt>
                <c:pt idx="64480">
                  <c:v>24.873954444661276</c:v>
                </c:pt>
                <c:pt idx="64481">
                  <c:v>17.85168385760225</c:v>
                </c:pt>
                <c:pt idx="64482">
                  <c:v>24.759530315085684</c:v>
                </c:pt>
                <c:pt idx="64483">
                  <c:v>44.560385312422326</c:v>
                </c:pt>
                <c:pt idx="64484">
                  <c:v>22.925583844059485</c:v>
                </c:pt>
                <c:pt idx="64485">
                  <c:v>48.153209761230414</c:v>
                </c:pt>
                <c:pt idx="64486">
                  <c:v>61.448203299002941</c:v>
                </c:pt>
                <c:pt idx="64487">
                  <c:v>27.460356690936674</c:v>
                </c:pt>
                <c:pt idx="64488">
                  <c:v>20.205258448609257</c:v>
                </c:pt>
                <c:pt idx="64489">
                  <c:v>48.434640612470773</c:v>
                </c:pt>
                <c:pt idx="64490">
                  <c:v>29.008266766455613</c:v>
                </c:pt>
                <c:pt idx="64491">
                  <c:v>27.3573930933394</c:v>
                </c:pt>
                <c:pt idx="64492">
                  <c:v>21.647449115236896</c:v>
                </c:pt>
                <c:pt idx="64493">
                  <c:v>48.500972094649477</c:v>
                </c:pt>
                <c:pt idx="64494">
                  <c:v>21.65505050841934</c:v>
                </c:pt>
                <c:pt idx="64495">
                  <c:v>21.669156515037319</c:v>
                </c:pt>
                <c:pt idx="64496">
                  <c:v>49.732195235366447</c:v>
                </c:pt>
                <c:pt idx="64497">
                  <c:v>26.141455573144803</c:v>
                </c:pt>
                <c:pt idx="64498">
                  <c:v>56.027271824413504</c:v>
                </c:pt>
                <c:pt idx="64499">
                  <c:v>43.095538505769063</c:v>
                </c:pt>
                <c:pt idx="64500">
                  <c:v>27.232264314196549</c:v>
                </c:pt>
                <c:pt idx="64501">
                  <c:v>27.485793130825403</c:v>
                </c:pt>
                <c:pt idx="64502">
                  <c:v>50.10861410938935</c:v>
                </c:pt>
                <c:pt idx="64503">
                  <c:v>28.629147157068449</c:v>
                </c:pt>
                <c:pt idx="64504">
                  <c:v>29.787577432573791</c:v>
                </c:pt>
                <c:pt idx="64505">
                  <c:v>23.155098054374555</c:v>
                </c:pt>
                <c:pt idx="64506">
                  <c:v>24.641189163693873</c:v>
                </c:pt>
                <c:pt idx="64507">
                  <c:v>47.301366641057044</c:v>
                </c:pt>
                <c:pt idx="64508">
                  <c:v>53.451845952892278</c:v>
                </c:pt>
                <c:pt idx="64509">
                  <c:v>54.830974335338709</c:v>
                </c:pt>
                <c:pt idx="64510">
                  <c:v>20.413077983044129</c:v>
                </c:pt>
                <c:pt idx="64511">
                  <c:v>11.193254260350948</c:v>
                </c:pt>
                <c:pt idx="64512">
                  <c:v>21.714511055057237</c:v>
                </c:pt>
                <c:pt idx="64513">
                  <c:v>35.077263888141204</c:v>
                </c:pt>
                <c:pt idx="64514">
                  <c:v>42.5003402026054</c:v>
                </c:pt>
                <c:pt idx="64515">
                  <c:v>38.759420339782913</c:v>
                </c:pt>
                <c:pt idx="64516">
                  <c:v>20.868493675272546</c:v>
                </c:pt>
                <c:pt idx="64517">
                  <c:v>37.014447631263948</c:v>
                </c:pt>
                <c:pt idx="64518">
                  <c:v>37.741529349573653</c:v>
                </c:pt>
                <c:pt idx="64519">
                  <c:v>29.905136611984886</c:v>
                </c:pt>
                <c:pt idx="64520">
                  <c:v>40.532766442955378</c:v>
                </c:pt>
                <c:pt idx="64521">
                  <c:v>64.163733677383306</c:v>
                </c:pt>
                <c:pt idx="64522">
                  <c:v>24.993328520008319</c:v>
                </c:pt>
                <c:pt idx="64523">
                  <c:v>29.893888331446821</c:v>
                </c:pt>
                <c:pt idx="64524">
                  <c:v>53.933823082212101</c:v>
                </c:pt>
                <c:pt idx="64525">
                  <c:v>19.068820086516297</c:v>
                </c:pt>
                <c:pt idx="64526">
                  <c:v>35.397500171203077</c:v>
                </c:pt>
                <c:pt idx="64527">
                  <c:v>23.782493851481192</c:v>
                </c:pt>
                <c:pt idx="64528">
                  <c:v>41.42139552636899</c:v>
                </c:pt>
                <c:pt idx="64529">
                  <c:v>26.898614685147322</c:v>
                </c:pt>
                <c:pt idx="64530">
                  <c:v>38.025846560103417</c:v>
                </c:pt>
                <c:pt idx="64531">
                  <c:v>30.873519841978514</c:v>
                </c:pt>
                <c:pt idx="64532">
                  <c:v>48.602418922938554</c:v>
                </c:pt>
                <c:pt idx="64533">
                  <c:v>22.217732771475681</c:v>
                </c:pt>
                <c:pt idx="64534">
                  <c:v>24.363771359411942</c:v>
                </c:pt>
                <c:pt idx="64535">
                  <c:v>26.269977661879288</c:v>
                </c:pt>
                <c:pt idx="64536">
                  <c:v>29.757541473864887</c:v>
                </c:pt>
                <c:pt idx="64537">
                  <c:v>17.61063205568912</c:v>
                </c:pt>
                <c:pt idx="64538">
                  <c:v>24.839277702152049</c:v>
                </c:pt>
                <c:pt idx="64539">
                  <c:v>29.500185051675384</c:v>
                </c:pt>
                <c:pt idx="64540">
                  <c:v>21.598911906363419</c:v>
                </c:pt>
                <c:pt idx="64541">
                  <c:v>34.189290663272679</c:v>
                </c:pt>
                <c:pt idx="64542">
                  <c:v>30.523043075592099</c:v>
                </c:pt>
                <c:pt idx="64543">
                  <c:v>47.824190545758931</c:v>
                </c:pt>
                <c:pt idx="64544">
                  <c:v>28.905773631911327</c:v>
                </c:pt>
                <c:pt idx="64545">
                  <c:v>31.497762768104373</c:v>
                </c:pt>
                <c:pt idx="64546">
                  <c:v>51.239115481239601</c:v>
                </c:pt>
                <c:pt idx="64547">
                  <c:v>30.126052424549066</c:v>
                </c:pt>
                <c:pt idx="64548">
                  <c:v>20.820186511716059</c:v>
                </c:pt>
                <c:pt idx="64549">
                  <c:v>23.526734523852049</c:v>
                </c:pt>
                <c:pt idx="64550">
                  <c:v>17.110673912050132</c:v>
                </c:pt>
                <c:pt idx="64551">
                  <c:v>24.478696285478097</c:v>
                </c:pt>
                <c:pt idx="64552">
                  <c:v>52.347917884481944</c:v>
                </c:pt>
                <c:pt idx="64553">
                  <c:v>37.474317585398779</c:v>
                </c:pt>
                <c:pt idx="64554">
                  <c:v>30.554422333203451</c:v>
                </c:pt>
                <c:pt idx="64555">
                  <c:v>22.713002786633933</c:v>
                </c:pt>
                <c:pt idx="64556">
                  <c:v>21.35574405642123</c:v>
                </c:pt>
                <c:pt idx="64557">
                  <c:v>55.200956294293952</c:v>
                </c:pt>
                <c:pt idx="64558">
                  <c:v>39.451543687255736</c:v>
                </c:pt>
                <c:pt idx="64559">
                  <c:v>26.293225092246644</c:v>
                </c:pt>
                <c:pt idx="64560">
                  <c:v>49.312522408633654</c:v>
                </c:pt>
                <c:pt idx="64561">
                  <c:v>35.584381120618737</c:v>
                </c:pt>
                <c:pt idx="64562">
                  <c:v>29.275823114869389</c:v>
                </c:pt>
                <c:pt idx="64563">
                  <c:v>20.49190698252897</c:v>
                </c:pt>
                <c:pt idx="64564">
                  <c:v>18.312026708400197</c:v>
                </c:pt>
                <c:pt idx="64565">
                  <c:v>18.967208057605031</c:v>
                </c:pt>
                <c:pt idx="64566">
                  <c:v>21.194348001147517</c:v>
                </c:pt>
                <c:pt idx="64567">
                  <c:v>32.929901795837694</c:v>
                </c:pt>
                <c:pt idx="64568">
                  <c:v>28.140461840921773</c:v>
                </c:pt>
                <c:pt idx="64569">
                  <c:v>26.412859364007097</c:v>
                </c:pt>
                <c:pt idx="64570">
                  <c:v>28.844755057121986</c:v>
                </c:pt>
                <c:pt idx="64571">
                  <c:v>30.309801764937699</c:v>
                </c:pt>
                <c:pt idx="64572">
                  <c:v>21.962291122714824</c:v>
                </c:pt>
                <c:pt idx="64573">
                  <c:v>23.968666971173743</c:v>
                </c:pt>
                <c:pt idx="64574">
                  <c:v>28.913301419786922</c:v>
                </c:pt>
                <c:pt idx="64575">
                  <c:v>20.750248972938053</c:v>
                </c:pt>
                <c:pt idx="64576">
                  <c:v>25.156565691254478</c:v>
                </c:pt>
                <c:pt idx="64577">
                  <c:v>28.966396283309361</c:v>
                </c:pt>
                <c:pt idx="64578">
                  <c:v>50.304279843563869</c:v>
                </c:pt>
                <c:pt idx="64579">
                  <c:v>28.649589513598468</c:v>
                </c:pt>
                <c:pt idx="64580">
                  <c:v>22.037681204564624</c:v>
                </c:pt>
                <c:pt idx="64581">
                  <c:v>20.224390402532503</c:v>
                </c:pt>
                <c:pt idx="64582">
                  <c:v>15.138961648888692</c:v>
                </c:pt>
                <c:pt idx="64583">
                  <c:v>27.072208274521405</c:v>
                </c:pt>
                <c:pt idx="64584">
                  <c:v>29.005796733426966</c:v>
                </c:pt>
                <c:pt idx="64585">
                  <c:v>21.173035622571447</c:v>
                </c:pt>
                <c:pt idx="64586">
                  <c:v>34.835123694050793</c:v>
                </c:pt>
                <c:pt idx="64587">
                  <c:v>38.857125881289456</c:v>
                </c:pt>
                <c:pt idx="64588">
                  <c:v>17.350002001864986</c:v>
                </c:pt>
                <c:pt idx="64589">
                  <c:v>21.283998714565453</c:v>
                </c:pt>
                <c:pt idx="64590">
                  <c:v>28.963078926783712</c:v>
                </c:pt>
                <c:pt idx="64591">
                  <c:v>47.499598059904898</c:v>
                </c:pt>
                <c:pt idx="64592">
                  <c:v>53.50264858249863</c:v>
                </c:pt>
                <c:pt idx="64593">
                  <c:v>40.597445175368911</c:v>
                </c:pt>
                <c:pt idx="64594">
                  <c:v>18.421724062026257</c:v>
                </c:pt>
                <c:pt idx="64595">
                  <c:v>28.124553668893078</c:v>
                </c:pt>
                <c:pt idx="64596">
                  <c:v>27.923607228655666</c:v>
                </c:pt>
                <c:pt idx="64597">
                  <c:v>21.471386429189067</c:v>
                </c:pt>
                <c:pt idx="64598">
                  <c:v>32.056829429736268</c:v>
                </c:pt>
                <c:pt idx="64599">
                  <c:v>29.430858679347399</c:v>
                </c:pt>
                <c:pt idx="64600">
                  <c:v>25.312897845493005</c:v>
                </c:pt>
                <c:pt idx="64601">
                  <c:v>31.668289029168889</c:v>
                </c:pt>
                <c:pt idx="64602">
                  <c:v>27.656609755660249</c:v>
                </c:pt>
                <c:pt idx="64603">
                  <c:v>20.640180955092696</c:v>
                </c:pt>
                <c:pt idx="64604">
                  <c:v>21.933496987120964</c:v>
                </c:pt>
                <c:pt idx="64605">
                  <c:v>24.307351770821274</c:v>
                </c:pt>
                <c:pt idx="64606">
                  <c:v>24.055314693824393</c:v>
                </c:pt>
                <c:pt idx="64607">
                  <c:v>19.552131973102284</c:v>
                </c:pt>
                <c:pt idx="64608">
                  <c:v>20.930408903410939</c:v>
                </c:pt>
                <c:pt idx="64609">
                  <c:v>27.991659763656639</c:v>
                </c:pt>
                <c:pt idx="64610">
                  <c:v>24.353089327584332</c:v>
                </c:pt>
                <c:pt idx="64611">
                  <c:v>30.196442584991235</c:v>
                </c:pt>
                <c:pt idx="64612">
                  <c:v>29.530441459134117</c:v>
                </c:pt>
                <c:pt idx="64613">
                  <c:v>26.269754098710948</c:v>
                </c:pt>
                <c:pt idx="64614">
                  <c:v>29.407512639434987</c:v>
                </c:pt>
                <c:pt idx="64615">
                  <c:v>44.506835553237046</c:v>
                </c:pt>
                <c:pt idx="64616">
                  <c:v>22.097281418936468</c:v>
                </c:pt>
                <c:pt idx="64617">
                  <c:v>25.39672754198962</c:v>
                </c:pt>
                <c:pt idx="64618">
                  <c:v>28.63243022737846</c:v>
                </c:pt>
                <c:pt idx="64619">
                  <c:v>23.675292300350677</c:v>
                </c:pt>
                <c:pt idx="64620">
                  <c:v>31.581346156744807</c:v>
                </c:pt>
                <c:pt idx="64621">
                  <c:v>42.865902085560911</c:v>
                </c:pt>
                <c:pt idx="64622">
                  <c:v>25.641309538670377</c:v>
                </c:pt>
                <c:pt idx="64623">
                  <c:v>33.974475966259604</c:v>
                </c:pt>
                <c:pt idx="64624">
                  <c:v>43.807756810633698</c:v>
                </c:pt>
                <c:pt idx="64625">
                  <c:v>28.212725434152599</c:v>
                </c:pt>
                <c:pt idx="64626">
                  <c:v>47.835028831265987</c:v>
                </c:pt>
                <c:pt idx="64627">
                  <c:v>30.821904542423329</c:v>
                </c:pt>
                <c:pt idx="64628">
                  <c:v>32.837610387662373</c:v>
                </c:pt>
                <c:pt idx="64629">
                  <c:v>31.478693158714478</c:v>
                </c:pt>
                <c:pt idx="64630">
                  <c:v>23.604542157078427</c:v>
                </c:pt>
                <c:pt idx="64631">
                  <c:v>21.074987856155822</c:v>
                </c:pt>
                <c:pt idx="64632">
                  <c:v>26.158791696070999</c:v>
                </c:pt>
                <c:pt idx="64633">
                  <c:v>24.799960989456618</c:v>
                </c:pt>
                <c:pt idx="64634">
                  <c:v>22.21176850372138</c:v>
                </c:pt>
                <c:pt idx="64635">
                  <c:v>27.836771347641065</c:v>
                </c:pt>
                <c:pt idx="64636">
                  <c:v>32.266167931562556</c:v>
                </c:pt>
                <c:pt idx="64637">
                  <c:v>37.790344716729365</c:v>
                </c:pt>
                <c:pt idx="64638">
                  <c:v>23.471529396061104</c:v>
                </c:pt>
                <c:pt idx="64639">
                  <c:v>31.925441820432034</c:v>
                </c:pt>
                <c:pt idx="64640">
                  <c:v>22.892537978319542</c:v>
                </c:pt>
                <c:pt idx="64641">
                  <c:v>45.630929524031281</c:v>
                </c:pt>
                <c:pt idx="64642">
                  <c:v>26.958665902490246</c:v>
                </c:pt>
                <c:pt idx="64643">
                  <c:v>30.63057181106079</c:v>
                </c:pt>
                <c:pt idx="64644">
                  <c:v>51.498693715021012</c:v>
                </c:pt>
                <c:pt idx="64645">
                  <c:v>20.221417545907435</c:v>
                </c:pt>
                <c:pt idx="64646">
                  <c:v>22.834581943803848</c:v>
                </c:pt>
                <c:pt idx="64647">
                  <c:v>34.600664354112659</c:v>
                </c:pt>
                <c:pt idx="64648">
                  <c:v>23.410971407690525</c:v>
                </c:pt>
                <c:pt idx="64649">
                  <c:v>28.591897572311456</c:v>
                </c:pt>
                <c:pt idx="64650">
                  <c:v>26.090373337659777</c:v>
                </c:pt>
                <c:pt idx="64651">
                  <c:v>25.436795165664282</c:v>
                </c:pt>
                <c:pt idx="64652">
                  <c:v>42.025756485001239</c:v>
                </c:pt>
                <c:pt idx="64653">
                  <c:v>25.479459274247318</c:v>
                </c:pt>
                <c:pt idx="64654">
                  <c:v>19.408188403990149</c:v>
                </c:pt>
                <c:pt idx="64655">
                  <c:v>26.978375940994908</c:v>
                </c:pt>
                <c:pt idx="64656">
                  <c:v>41.256969077263669</c:v>
                </c:pt>
                <c:pt idx="64657">
                  <c:v>25.884071576265693</c:v>
                </c:pt>
                <c:pt idx="64658">
                  <c:v>26.316842659460086</c:v>
                </c:pt>
                <c:pt idx="64659">
                  <c:v>43.759209790149846</c:v>
                </c:pt>
                <c:pt idx="64660">
                  <c:v>24.03572509106651</c:v>
                </c:pt>
                <c:pt idx="64661">
                  <c:v>30.57472539172003</c:v>
                </c:pt>
                <c:pt idx="64662">
                  <c:v>24.14447262048521</c:v>
                </c:pt>
                <c:pt idx="64663">
                  <c:v>53.696303398884488</c:v>
                </c:pt>
                <c:pt idx="64664">
                  <c:v>20.653982426559846</c:v>
                </c:pt>
                <c:pt idx="64665">
                  <c:v>52.552316553661875</c:v>
                </c:pt>
                <c:pt idx="64666">
                  <c:v>35.735387865076177</c:v>
                </c:pt>
                <c:pt idx="64667">
                  <c:v>24.465826748177971</c:v>
                </c:pt>
                <c:pt idx="64668">
                  <c:v>42.740685598282568</c:v>
                </c:pt>
                <c:pt idx="64669">
                  <c:v>33.16422835652908</c:v>
                </c:pt>
                <c:pt idx="64670">
                  <c:v>24.940363521633369</c:v>
                </c:pt>
                <c:pt idx="64671">
                  <c:v>19.327621729354671</c:v>
                </c:pt>
                <c:pt idx="64672">
                  <c:v>21.177152165517331</c:v>
                </c:pt>
                <c:pt idx="64673">
                  <c:v>22.556166881464378</c:v>
                </c:pt>
                <c:pt idx="64674">
                  <c:v>41.077560465851178</c:v>
                </c:pt>
                <c:pt idx="64675">
                  <c:v>17.032763041283275</c:v>
                </c:pt>
                <c:pt idx="64676">
                  <c:v>21.523276015643081</c:v>
                </c:pt>
                <c:pt idx="64677">
                  <c:v>24.116962286570626</c:v>
                </c:pt>
                <c:pt idx="64678">
                  <c:v>24.744822581838857</c:v>
                </c:pt>
                <c:pt idx="64679">
                  <c:v>40.540160277128479</c:v>
                </c:pt>
                <c:pt idx="64680">
                  <c:v>59.464790913579158</c:v>
                </c:pt>
                <c:pt idx="64681">
                  <c:v>41.924681554314297</c:v>
                </c:pt>
                <c:pt idx="64682">
                  <c:v>21.474729965739144</c:v>
                </c:pt>
                <c:pt idx="64683">
                  <c:v>78.544553191330138</c:v>
                </c:pt>
                <c:pt idx="64684">
                  <c:v>49.827295615055142</c:v>
                </c:pt>
                <c:pt idx="64685">
                  <c:v>28.395494058810367</c:v>
                </c:pt>
                <c:pt idx="64686">
                  <c:v>17.344090978397624</c:v>
                </c:pt>
                <c:pt idx="64687">
                  <c:v>27.903574828704844</c:v>
                </c:pt>
                <c:pt idx="64688">
                  <c:v>26.173202612177164</c:v>
                </c:pt>
                <c:pt idx="64689">
                  <c:v>55.320730145848138</c:v>
                </c:pt>
                <c:pt idx="64690">
                  <c:v>30.270670345537098</c:v>
                </c:pt>
                <c:pt idx="64691">
                  <c:v>47.945586305572952</c:v>
                </c:pt>
                <c:pt idx="64692">
                  <c:v>25.667331043039212</c:v>
                </c:pt>
                <c:pt idx="64693">
                  <c:v>35.526610516915312</c:v>
                </c:pt>
                <c:pt idx="64694">
                  <c:v>21.022356044763967</c:v>
                </c:pt>
                <c:pt idx="64695">
                  <c:v>36.69504864371649</c:v>
                </c:pt>
                <c:pt idx="64696">
                  <c:v>36.786664414328072</c:v>
                </c:pt>
                <c:pt idx="64697">
                  <c:v>45.34096508054914</c:v>
                </c:pt>
                <c:pt idx="64698">
                  <c:v>24.188636647260605</c:v>
                </c:pt>
                <c:pt idx="64699">
                  <c:v>32.538201003093519</c:v>
                </c:pt>
                <c:pt idx="64700">
                  <c:v>18.453004289242447</c:v>
                </c:pt>
                <c:pt idx="64701">
                  <c:v>29.004756939169027</c:v>
                </c:pt>
                <c:pt idx="64702">
                  <c:v>47.368032378365292</c:v>
                </c:pt>
                <c:pt idx="64703">
                  <c:v>43.775231060630041</c:v>
                </c:pt>
                <c:pt idx="64704">
                  <c:v>29.943918329260548</c:v>
                </c:pt>
                <c:pt idx="64705">
                  <c:v>26.857647569188106</c:v>
                </c:pt>
                <c:pt idx="64706">
                  <c:v>27.382409226944578</c:v>
                </c:pt>
                <c:pt idx="64707">
                  <c:v>49.612180423973122</c:v>
                </c:pt>
                <c:pt idx="64708">
                  <c:v>38.623319982528429</c:v>
                </c:pt>
                <c:pt idx="64709">
                  <c:v>34.679519609846238</c:v>
                </c:pt>
                <c:pt idx="64710">
                  <c:v>30.434918344196312</c:v>
                </c:pt>
                <c:pt idx="64711">
                  <c:v>26.060648535376536</c:v>
                </c:pt>
                <c:pt idx="64712">
                  <c:v>21.970830730581312</c:v>
                </c:pt>
                <c:pt idx="64713">
                  <c:v>22.253990053127488</c:v>
                </c:pt>
                <c:pt idx="64714">
                  <c:v>16.708311082806993</c:v>
                </c:pt>
                <c:pt idx="64715">
                  <c:v>51.814152346534755</c:v>
                </c:pt>
                <c:pt idx="64716">
                  <c:v>33.590295986338418</c:v>
                </c:pt>
                <c:pt idx="64717">
                  <c:v>27.710627043059347</c:v>
                </c:pt>
                <c:pt idx="64718">
                  <c:v>22.773024461202503</c:v>
                </c:pt>
                <c:pt idx="64719">
                  <c:v>28.236383777217508</c:v>
                </c:pt>
                <c:pt idx="64720">
                  <c:v>25.541752068496258</c:v>
                </c:pt>
                <c:pt idx="64721">
                  <c:v>44.595902110634569</c:v>
                </c:pt>
                <c:pt idx="64722">
                  <c:v>22.687324119171787</c:v>
                </c:pt>
                <c:pt idx="64723">
                  <c:v>25.94401370704583</c:v>
                </c:pt>
                <c:pt idx="64724">
                  <c:v>17.901267211435478</c:v>
                </c:pt>
                <c:pt idx="64725">
                  <c:v>23.270549993960515</c:v>
                </c:pt>
                <c:pt idx="64726">
                  <c:v>22.348661478609916</c:v>
                </c:pt>
                <c:pt idx="64727">
                  <c:v>18.368170038643477</c:v>
                </c:pt>
                <c:pt idx="64728">
                  <c:v>27.387094033332446</c:v>
                </c:pt>
                <c:pt idx="64729">
                  <c:v>19.996861426379414</c:v>
                </c:pt>
                <c:pt idx="64730">
                  <c:v>40.944615626298969</c:v>
                </c:pt>
                <c:pt idx="64731">
                  <c:v>30.158379883360883</c:v>
                </c:pt>
                <c:pt idx="64732">
                  <c:v>24.235122771301679</c:v>
                </c:pt>
                <c:pt idx="64733">
                  <c:v>25.065414964012255</c:v>
                </c:pt>
                <c:pt idx="64734">
                  <c:v>22.180390111544909</c:v>
                </c:pt>
                <c:pt idx="64735">
                  <c:v>24.744008301634985</c:v>
                </c:pt>
                <c:pt idx="64736">
                  <c:v>34.918761284791948</c:v>
                </c:pt>
                <c:pt idx="64737">
                  <c:v>23.995557227531826</c:v>
                </c:pt>
                <c:pt idx="64738">
                  <c:v>20.569345312452626</c:v>
                </c:pt>
                <c:pt idx="64739">
                  <c:v>20.736970347373816</c:v>
                </c:pt>
                <c:pt idx="64740">
                  <c:v>45.885072820445359</c:v>
                </c:pt>
                <c:pt idx="64741">
                  <c:v>27.229091709938675</c:v>
                </c:pt>
                <c:pt idx="64742">
                  <c:v>29.182259920477733</c:v>
                </c:pt>
                <c:pt idx="64743">
                  <c:v>32.937435589222616</c:v>
                </c:pt>
                <c:pt idx="64744">
                  <c:v>29.908641397026226</c:v>
                </c:pt>
                <c:pt idx="64745">
                  <c:v>35.851765319804386</c:v>
                </c:pt>
                <c:pt idx="64746">
                  <c:v>25.497928205595041</c:v>
                </c:pt>
                <c:pt idx="64747">
                  <c:v>40.20829134877571</c:v>
                </c:pt>
                <c:pt idx="64748">
                  <c:v>29.622067704028648</c:v>
                </c:pt>
                <c:pt idx="64749">
                  <c:v>20.267845654172739</c:v>
                </c:pt>
                <c:pt idx="64750">
                  <c:v>19.640994379759473</c:v>
                </c:pt>
                <c:pt idx="64751">
                  <c:v>37.877153232336958</c:v>
                </c:pt>
                <c:pt idx="64752">
                  <c:v>57.258476338318928</c:v>
                </c:pt>
                <c:pt idx="64753">
                  <c:v>28.889165492047582</c:v>
                </c:pt>
                <c:pt idx="64754">
                  <c:v>17.632728049443219</c:v>
                </c:pt>
                <c:pt idx="64755">
                  <c:v>42.700587902091328</c:v>
                </c:pt>
                <c:pt idx="64756">
                  <c:v>49.450649083178753</c:v>
                </c:pt>
                <c:pt idx="64757">
                  <c:v>38.499032463363903</c:v>
                </c:pt>
                <c:pt idx="64758">
                  <c:v>26.406507963711402</c:v>
                </c:pt>
                <c:pt idx="64759">
                  <c:v>20.403939399223063</c:v>
                </c:pt>
                <c:pt idx="64760">
                  <c:v>35.663184857236502</c:v>
                </c:pt>
                <c:pt idx="64761">
                  <c:v>19.812038521357444</c:v>
                </c:pt>
                <c:pt idx="64762">
                  <c:v>21.772207184940484</c:v>
                </c:pt>
                <c:pt idx="64763">
                  <c:v>21.442927316484408</c:v>
                </c:pt>
                <c:pt idx="64764">
                  <c:v>24.750719111087051</c:v>
                </c:pt>
                <c:pt idx="64765">
                  <c:v>47.410055835601298</c:v>
                </c:pt>
                <c:pt idx="64766">
                  <c:v>29.352013151150175</c:v>
                </c:pt>
                <c:pt idx="64767">
                  <c:v>26.329807613175049</c:v>
                </c:pt>
                <c:pt idx="64768">
                  <c:v>39.043064579049698</c:v>
                </c:pt>
                <c:pt idx="64769">
                  <c:v>33.097850741393046</c:v>
                </c:pt>
                <c:pt idx="64770">
                  <c:v>32.064852359959204</c:v>
                </c:pt>
                <c:pt idx="64771">
                  <c:v>28.584821385448169</c:v>
                </c:pt>
                <c:pt idx="64772">
                  <c:v>25.962728105953644</c:v>
                </c:pt>
                <c:pt idx="64773">
                  <c:v>19.392315738134151</c:v>
                </c:pt>
                <c:pt idx="64774">
                  <c:v>27.564205759891777</c:v>
                </c:pt>
                <c:pt idx="64775">
                  <c:v>25.857614647179023</c:v>
                </c:pt>
                <c:pt idx="64776">
                  <c:v>26.809935570523784</c:v>
                </c:pt>
                <c:pt idx="64777">
                  <c:v>24.929924345153559</c:v>
                </c:pt>
                <c:pt idx="64778">
                  <c:v>24.678898014608485</c:v>
                </c:pt>
                <c:pt idx="64779">
                  <c:v>49.534533664460589</c:v>
                </c:pt>
                <c:pt idx="64780">
                  <c:v>42.496275416816459</c:v>
                </c:pt>
                <c:pt idx="64781">
                  <c:v>18.371736396519786</c:v>
                </c:pt>
                <c:pt idx="64782">
                  <c:v>48.055489037237123</c:v>
                </c:pt>
                <c:pt idx="64783">
                  <c:v>23.750056505909157</c:v>
                </c:pt>
                <c:pt idx="64784">
                  <c:v>28.567299365184972</c:v>
                </c:pt>
                <c:pt idx="64785">
                  <c:v>21.662132197128692</c:v>
                </c:pt>
                <c:pt idx="64786">
                  <c:v>21.587028819242661</c:v>
                </c:pt>
                <c:pt idx="64787">
                  <c:v>55.548755901533646</c:v>
                </c:pt>
                <c:pt idx="64788">
                  <c:v>24.896617462177787</c:v>
                </c:pt>
                <c:pt idx="64789">
                  <c:v>34.534703354212354</c:v>
                </c:pt>
                <c:pt idx="64790">
                  <c:v>18.62394138207949</c:v>
                </c:pt>
                <c:pt idx="64791">
                  <c:v>18.429730816451183</c:v>
                </c:pt>
                <c:pt idx="64792">
                  <c:v>52.621449570631775</c:v>
                </c:pt>
                <c:pt idx="64793">
                  <c:v>23.198620726651605</c:v>
                </c:pt>
                <c:pt idx="64794">
                  <c:v>23.913234815291048</c:v>
                </c:pt>
                <c:pt idx="64795">
                  <c:v>21.974566429540989</c:v>
                </c:pt>
                <c:pt idx="64796">
                  <c:v>51.668486105167233</c:v>
                </c:pt>
                <c:pt idx="64797">
                  <c:v>33.57725695448152</c:v>
                </c:pt>
                <c:pt idx="64798">
                  <c:v>30.267345999849688</c:v>
                </c:pt>
                <c:pt idx="64799">
                  <c:v>24.342301086696047</c:v>
                </c:pt>
                <c:pt idx="64800">
                  <c:v>22.87181361126364</c:v>
                </c:pt>
                <c:pt idx="64801">
                  <c:v>23.153635543002487</c:v>
                </c:pt>
                <c:pt idx="64802">
                  <c:v>34.078221419631312</c:v>
                </c:pt>
                <c:pt idx="64803">
                  <c:v>37.924154238396504</c:v>
                </c:pt>
                <c:pt idx="64804">
                  <c:v>43.908184947557601</c:v>
                </c:pt>
                <c:pt idx="64805">
                  <c:v>32.642637732050119</c:v>
                </c:pt>
                <c:pt idx="64806">
                  <c:v>50.372715443491337</c:v>
                </c:pt>
                <c:pt idx="64807">
                  <c:v>31.477707694788901</c:v>
                </c:pt>
                <c:pt idx="64808">
                  <c:v>20.87287557676234</c:v>
                </c:pt>
                <c:pt idx="64809">
                  <c:v>34.205551243016991</c:v>
                </c:pt>
                <c:pt idx="64810">
                  <c:v>25.982376425715451</c:v>
                </c:pt>
                <c:pt idx="64811">
                  <c:v>44.452826438987415</c:v>
                </c:pt>
                <c:pt idx="64812">
                  <c:v>45.117465699353104</c:v>
                </c:pt>
                <c:pt idx="64813">
                  <c:v>25.008431039354512</c:v>
                </c:pt>
                <c:pt idx="64814">
                  <c:v>23.188940834690175</c:v>
                </c:pt>
                <c:pt idx="64815">
                  <c:v>46.104602142857161</c:v>
                </c:pt>
                <c:pt idx="64816">
                  <c:v>43.486910721829474</c:v>
                </c:pt>
                <c:pt idx="64817">
                  <c:v>26.584061531403428</c:v>
                </c:pt>
                <c:pt idx="64818">
                  <c:v>48.708015674784946</c:v>
                </c:pt>
                <c:pt idx="64819">
                  <c:v>40.627813385938751</c:v>
                </c:pt>
                <c:pt idx="64820">
                  <c:v>47.35445078889618</c:v>
                </c:pt>
                <c:pt idx="64821">
                  <c:v>29.046808430244692</c:v>
                </c:pt>
                <c:pt idx="64822">
                  <c:v>25.991968202536473</c:v>
                </c:pt>
                <c:pt idx="64823">
                  <c:v>29.575383186897145</c:v>
                </c:pt>
                <c:pt idx="64824">
                  <c:v>36.002194881316257</c:v>
                </c:pt>
                <c:pt idx="64825">
                  <c:v>28.539530767271227</c:v>
                </c:pt>
                <c:pt idx="64826">
                  <c:v>21.676111917368814</c:v>
                </c:pt>
                <c:pt idx="64827">
                  <c:v>29.458359357692618</c:v>
                </c:pt>
                <c:pt idx="64828">
                  <c:v>43.476095133758783</c:v>
                </c:pt>
                <c:pt idx="64829">
                  <c:v>29.719423208175165</c:v>
                </c:pt>
                <c:pt idx="64830">
                  <c:v>28.896565481842035</c:v>
                </c:pt>
                <c:pt idx="64831">
                  <c:v>30.449007274518014</c:v>
                </c:pt>
                <c:pt idx="64832">
                  <c:v>53.136628699170792</c:v>
                </c:pt>
                <c:pt idx="64833">
                  <c:v>22.782737903830871</c:v>
                </c:pt>
                <c:pt idx="64834">
                  <c:v>41.517845356849385</c:v>
                </c:pt>
                <c:pt idx="64835">
                  <c:v>22.873597122519953</c:v>
                </c:pt>
                <c:pt idx="64836">
                  <c:v>26.172834541339242</c:v>
                </c:pt>
                <c:pt idx="64837">
                  <c:v>33.288289240682367</c:v>
                </c:pt>
                <c:pt idx="64838">
                  <c:v>26.175515496571407</c:v>
                </c:pt>
                <c:pt idx="64839">
                  <c:v>45.974263495465351</c:v>
                </c:pt>
                <c:pt idx="64840">
                  <c:v>28.337825897714506</c:v>
                </c:pt>
                <c:pt idx="64841">
                  <c:v>30.289702569079257</c:v>
                </c:pt>
                <c:pt idx="64842">
                  <c:v>34.20907963750426</c:v>
                </c:pt>
                <c:pt idx="64843">
                  <c:v>26.510893762721324</c:v>
                </c:pt>
                <c:pt idx="64844">
                  <c:v>34.540388690800839</c:v>
                </c:pt>
                <c:pt idx="64845">
                  <c:v>22.191403914160791</c:v>
                </c:pt>
                <c:pt idx="64846">
                  <c:v>26.771198819212884</c:v>
                </c:pt>
                <c:pt idx="64847">
                  <c:v>45.253045374803534</c:v>
                </c:pt>
                <c:pt idx="64848">
                  <c:v>43.98165178129458</c:v>
                </c:pt>
                <c:pt idx="64849">
                  <c:v>47.986004305119998</c:v>
                </c:pt>
                <c:pt idx="64850">
                  <c:v>27.362937417811231</c:v>
                </c:pt>
                <c:pt idx="64851">
                  <c:v>26.069309657720648</c:v>
                </c:pt>
                <c:pt idx="64852">
                  <c:v>20.400892099906574</c:v>
                </c:pt>
                <c:pt idx="64853">
                  <c:v>41.244863193208651</c:v>
                </c:pt>
                <c:pt idx="64854">
                  <c:v>24.543108121003293</c:v>
                </c:pt>
                <c:pt idx="64855">
                  <c:v>16.547980263511807</c:v>
                </c:pt>
                <c:pt idx="64856">
                  <c:v>31.125362042350332</c:v>
                </c:pt>
                <c:pt idx="64857">
                  <c:v>20.129626738389732</c:v>
                </c:pt>
                <c:pt idx="64858">
                  <c:v>24.097910615137224</c:v>
                </c:pt>
                <c:pt idx="64859">
                  <c:v>38.918428856629447</c:v>
                </c:pt>
                <c:pt idx="64860">
                  <c:v>44.705260604600568</c:v>
                </c:pt>
                <c:pt idx="64861">
                  <c:v>50.433131561881424</c:v>
                </c:pt>
                <c:pt idx="64862">
                  <c:v>23.514540532466516</c:v>
                </c:pt>
                <c:pt idx="64863">
                  <c:v>40.606671200947886</c:v>
                </c:pt>
                <c:pt idx="64864">
                  <c:v>23.74891498705539</c:v>
                </c:pt>
                <c:pt idx="64865">
                  <c:v>34.701324477907491</c:v>
                </c:pt>
                <c:pt idx="64866">
                  <c:v>23.95035471090878</c:v>
                </c:pt>
                <c:pt idx="64867">
                  <c:v>30.363894203457377</c:v>
                </c:pt>
                <c:pt idx="64868">
                  <c:v>42.041373811522661</c:v>
                </c:pt>
                <c:pt idx="64869">
                  <c:v>56.277390424871342</c:v>
                </c:pt>
                <c:pt idx="64870">
                  <c:v>31.071800138517869</c:v>
                </c:pt>
                <c:pt idx="64871">
                  <c:v>48.988291729095678</c:v>
                </c:pt>
                <c:pt idx="64872">
                  <c:v>21.793702079556763</c:v>
                </c:pt>
                <c:pt idx="64873">
                  <c:v>56.198017791067443</c:v>
                </c:pt>
                <c:pt idx="64874">
                  <c:v>26.452550061547822</c:v>
                </c:pt>
                <c:pt idx="64875">
                  <c:v>36.196192650920672</c:v>
                </c:pt>
                <c:pt idx="64876">
                  <c:v>38.807834935303568</c:v>
                </c:pt>
                <c:pt idx="64877">
                  <c:v>27.298813604516685</c:v>
                </c:pt>
                <c:pt idx="64878">
                  <c:v>30.931259991818656</c:v>
                </c:pt>
                <c:pt idx="64879">
                  <c:v>34.671507549541545</c:v>
                </c:pt>
                <c:pt idx="64880">
                  <c:v>19.939321094324853</c:v>
                </c:pt>
                <c:pt idx="64881">
                  <c:v>22.250182545592917</c:v>
                </c:pt>
                <c:pt idx="64882">
                  <c:v>30.065532610995845</c:v>
                </c:pt>
                <c:pt idx="64883">
                  <c:v>23.413836762497574</c:v>
                </c:pt>
                <c:pt idx="64884">
                  <c:v>22.111961799424655</c:v>
                </c:pt>
                <c:pt idx="64885">
                  <c:v>21.557244850382524</c:v>
                </c:pt>
                <c:pt idx="64886">
                  <c:v>23.393247733437651</c:v>
                </c:pt>
                <c:pt idx="64887">
                  <c:v>41.880374061282659</c:v>
                </c:pt>
                <c:pt idx="64888">
                  <c:v>29.525203068287002</c:v>
                </c:pt>
                <c:pt idx="64889">
                  <c:v>35.908458580059332</c:v>
                </c:pt>
                <c:pt idx="64890">
                  <c:v>46.034913419754268</c:v>
                </c:pt>
                <c:pt idx="64891">
                  <c:v>28.682134566319846</c:v>
                </c:pt>
                <c:pt idx="64892">
                  <c:v>43.850916891474363</c:v>
                </c:pt>
                <c:pt idx="64893">
                  <c:v>25.669922536369263</c:v>
                </c:pt>
                <c:pt idx="64894">
                  <c:v>44.783081927083252</c:v>
                </c:pt>
                <c:pt idx="64895">
                  <c:v>27.442094939051302</c:v>
                </c:pt>
                <c:pt idx="64896">
                  <c:v>27.638436948428097</c:v>
                </c:pt>
                <c:pt idx="64897">
                  <c:v>40.122512723871417</c:v>
                </c:pt>
                <c:pt idx="64898">
                  <c:v>17.965984418783894</c:v>
                </c:pt>
                <c:pt idx="64899">
                  <c:v>27.848885605762156</c:v>
                </c:pt>
                <c:pt idx="64900">
                  <c:v>26.748806569425444</c:v>
                </c:pt>
                <c:pt idx="64901">
                  <c:v>43.658708650595266</c:v>
                </c:pt>
                <c:pt idx="64902">
                  <c:v>20.447216756469373</c:v>
                </c:pt>
                <c:pt idx="64903">
                  <c:v>57.34623697097112</c:v>
                </c:pt>
                <c:pt idx="64904">
                  <c:v>24.671539992764473</c:v>
                </c:pt>
                <c:pt idx="64905">
                  <c:v>38.27201432725429</c:v>
                </c:pt>
                <c:pt idx="64906">
                  <c:v>25.235957959851266</c:v>
                </c:pt>
                <c:pt idx="64907">
                  <c:v>27.226357866800118</c:v>
                </c:pt>
                <c:pt idx="64908">
                  <c:v>28.526904853469578</c:v>
                </c:pt>
                <c:pt idx="64909">
                  <c:v>21.726431571695453</c:v>
                </c:pt>
                <c:pt idx="64910">
                  <c:v>22.870305006510232</c:v>
                </c:pt>
                <c:pt idx="64911">
                  <c:v>39.986500587099201</c:v>
                </c:pt>
                <c:pt idx="64912">
                  <c:v>28.392833503874193</c:v>
                </c:pt>
                <c:pt idx="64913">
                  <c:v>51.091645789205266</c:v>
                </c:pt>
                <c:pt idx="64914">
                  <c:v>43.393965715793257</c:v>
                </c:pt>
                <c:pt idx="64915">
                  <c:v>22.547339755558269</c:v>
                </c:pt>
                <c:pt idx="64916">
                  <c:v>27.216166322459099</c:v>
                </c:pt>
                <c:pt idx="64917">
                  <c:v>21.860369340614593</c:v>
                </c:pt>
                <c:pt idx="64918">
                  <c:v>29.901811080068669</c:v>
                </c:pt>
                <c:pt idx="64919">
                  <c:v>29.28256242850205</c:v>
                </c:pt>
                <c:pt idx="64920">
                  <c:v>22.377516423078969</c:v>
                </c:pt>
                <c:pt idx="64921">
                  <c:v>43.01807516495397</c:v>
                </c:pt>
                <c:pt idx="64922">
                  <c:v>23.486723771095313</c:v>
                </c:pt>
                <c:pt idx="64923">
                  <c:v>43.287431825420548</c:v>
                </c:pt>
                <c:pt idx="64924">
                  <c:v>30.916786488555474</c:v>
                </c:pt>
                <c:pt idx="64925">
                  <c:v>32.36710440512767</c:v>
                </c:pt>
                <c:pt idx="64926">
                  <c:v>51.108756321724421</c:v>
                </c:pt>
                <c:pt idx="64927">
                  <c:v>22.499226944290218</c:v>
                </c:pt>
                <c:pt idx="64928">
                  <c:v>38.245257116190146</c:v>
                </c:pt>
                <c:pt idx="64929">
                  <c:v>31.76367310889734</c:v>
                </c:pt>
                <c:pt idx="64930">
                  <c:v>23.844472235668942</c:v>
                </c:pt>
                <c:pt idx="64931">
                  <c:v>33.679160126013613</c:v>
                </c:pt>
                <c:pt idx="64932">
                  <c:v>21.542532825442699</c:v>
                </c:pt>
                <c:pt idx="64933">
                  <c:v>23.865589724693756</c:v>
                </c:pt>
                <c:pt idx="64934">
                  <c:v>33.239442978785029</c:v>
                </c:pt>
                <c:pt idx="64935">
                  <c:v>65.896743683545481</c:v>
                </c:pt>
                <c:pt idx="64936">
                  <c:v>28.777501747313423</c:v>
                </c:pt>
                <c:pt idx="64937">
                  <c:v>32.448509313801466</c:v>
                </c:pt>
                <c:pt idx="64938">
                  <c:v>43.061424375158929</c:v>
                </c:pt>
                <c:pt idx="64939">
                  <c:v>28.445190708277885</c:v>
                </c:pt>
                <c:pt idx="64940">
                  <c:v>27.415736703685614</c:v>
                </c:pt>
                <c:pt idx="64941">
                  <c:v>33.119150151269793</c:v>
                </c:pt>
                <c:pt idx="64942">
                  <c:v>30.566235905950688</c:v>
                </c:pt>
                <c:pt idx="64943">
                  <c:v>52.954652616271993</c:v>
                </c:pt>
                <c:pt idx="64944">
                  <c:v>51.273042195189177</c:v>
                </c:pt>
                <c:pt idx="64945">
                  <c:v>21.065323861268936</c:v>
                </c:pt>
                <c:pt idx="64946">
                  <c:v>29.256136326827235</c:v>
                </c:pt>
                <c:pt idx="64947">
                  <c:v>26.918555534895241</c:v>
                </c:pt>
                <c:pt idx="64948">
                  <c:v>25.378248352119606</c:v>
                </c:pt>
                <c:pt idx="64949">
                  <c:v>46.675973807005896</c:v>
                </c:pt>
                <c:pt idx="64950">
                  <c:v>22.828323578895098</c:v>
                </c:pt>
                <c:pt idx="64951">
                  <c:v>23.527082745979865</c:v>
                </c:pt>
                <c:pt idx="64952">
                  <c:v>29.822242914982457</c:v>
                </c:pt>
                <c:pt idx="64953">
                  <c:v>24.615222097559574</c:v>
                </c:pt>
                <c:pt idx="64954">
                  <c:v>25.240000363560696</c:v>
                </c:pt>
                <c:pt idx="64955">
                  <c:v>36.275872701477333</c:v>
                </c:pt>
                <c:pt idx="64956">
                  <c:v>32.528706219173678</c:v>
                </c:pt>
                <c:pt idx="64957">
                  <c:v>29.742772358413344</c:v>
                </c:pt>
                <c:pt idx="64958">
                  <c:v>30.332844633259377</c:v>
                </c:pt>
                <c:pt idx="64959">
                  <c:v>18.599879676916345</c:v>
                </c:pt>
                <c:pt idx="64960">
                  <c:v>56.369828353241729</c:v>
                </c:pt>
                <c:pt idx="64961">
                  <c:v>32.040399202785487</c:v>
                </c:pt>
                <c:pt idx="64962">
                  <c:v>29.707784335981231</c:v>
                </c:pt>
                <c:pt idx="64963">
                  <c:v>26.188163570905409</c:v>
                </c:pt>
                <c:pt idx="64964">
                  <c:v>14.345681788583056</c:v>
                </c:pt>
                <c:pt idx="64965">
                  <c:v>22.363414391190556</c:v>
                </c:pt>
                <c:pt idx="64966">
                  <c:v>53.076894564901124</c:v>
                </c:pt>
                <c:pt idx="64967">
                  <c:v>19.959095861602943</c:v>
                </c:pt>
                <c:pt idx="64968">
                  <c:v>23.532102329509602</c:v>
                </c:pt>
                <c:pt idx="64969">
                  <c:v>37.446850261527253</c:v>
                </c:pt>
                <c:pt idx="64970">
                  <c:v>41.655672929000218</c:v>
                </c:pt>
                <c:pt idx="64971">
                  <c:v>29.314032475443799</c:v>
                </c:pt>
                <c:pt idx="64972">
                  <c:v>43.661487852286754</c:v>
                </c:pt>
                <c:pt idx="64973">
                  <c:v>20.585646882155014</c:v>
                </c:pt>
                <c:pt idx="64974">
                  <c:v>24.184551979055371</c:v>
                </c:pt>
                <c:pt idx="64975">
                  <c:v>26.973435754816826</c:v>
                </c:pt>
                <c:pt idx="64976">
                  <c:v>27.367989051923427</c:v>
                </c:pt>
                <c:pt idx="64977">
                  <c:v>33.732617108920614</c:v>
                </c:pt>
                <c:pt idx="64978">
                  <c:v>40.450871815197445</c:v>
                </c:pt>
                <c:pt idx="64979">
                  <c:v>34.529581769061082</c:v>
                </c:pt>
                <c:pt idx="64980">
                  <c:v>18.413281664465025</c:v>
                </c:pt>
                <c:pt idx="64981">
                  <c:v>22.704306665028803</c:v>
                </c:pt>
                <c:pt idx="64982">
                  <c:v>31.755529973347571</c:v>
                </c:pt>
                <c:pt idx="64983">
                  <c:v>21.901954538511056</c:v>
                </c:pt>
                <c:pt idx="64984">
                  <c:v>18.168365250829897</c:v>
                </c:pt>
                <c:pt idx="64985">
                  <c:v>28.946521306119561</c:v>
                </c:pt>
                <c:pt idx="64986">
                  <c:v>50.14230090531747</c:v>
                </c:pt>
                <c:pt idx="64987">
                  <c:v>28.884075975975936</c:v>
                </c:pt>
                <c:pt idx="64988">
                  <c:v>25.954051182976933</c:v>
                </c:pt>
                <c:pt idx="64989">
                  <c:v>28.889615080755782</c:v>
                </c:pt>
                <c:pt idx="64990">
                  <c:v>44.093016279058361</c:v>
                </c:pt>
                <c:pt idx="64991">
                  <c:v>30.314464253809756</c:v>
                </c:pt>
                <c:pt idx="64992">
                  <c:v>27.390648324799479</c:v>
                </c:pt>
                <c:pt idx="64993">
                  <c:v>24.336048700418942</c:v>
                </c:pt>
                <c:pt idx="64994">
                  <c:v>21.771653463831967</c:v>
                </c:pt>
                <c:pt idx="64995">
                  <c:v>22.472969513868634</c:v>
                </c:pt>
                <c:pt idx="64996">
                  <c:v>47.836602211442482</c:v>
                </c:pt>
                <c:pt idx="64997">
                  <c:v>19.801470604258178</c:v>
                </c:pt>
                <c:pt idx="64998">
                  <c:v>53.555351615087972</c:v>
                </c:pt>
                <c:pt idx="64999">
                  <c:v>43.516361844094952</c:v>
                </c:pt>
                <c:pt idx="65000">
                  <c:v>21.648724386138671</c:v>
                </c:pt>
                <c:pt idx="65001">
                  <c:v>33.912440984096598</c:v>
                </c:pt>
                <c:pt idx="65002">
                  <c:v>37.271593780465146</c:v>
                </c:pt>
                <c:pt idx="65003">
                  <c:v>28.073705844489584</c:v>
                </c:pt>
                <c:pt idx="65004">
                  <c:v>26.297192924118796</c:v>
                </c:pt>
                <c:pt idx="65005">
                  <c:v>23.229870846512675</c:v>
                </c:pt>
                <c:pt idx="65006">
                  <c:v>46.442622392917094</c:v>
                </c:pt>
                <c:pt idx="65007">
                  <c:v>22.397700689101434</c:v>
                </c:pt>
                <c:pt idx="65008">
                  <c:v>43.51093429457184</c:v>
                </c:pt>
                <c:pt idx="65009">
                  <c:v>20.704875443137514</c:v>
                </c:pt>
                <c:pt idx="65010">
                  <c:v>24.6574003301292</c:v>
                </c:pt>
                <c:pt idx="65011">
                  <c:v>43.645649419273958</c:v>
                </c:pt>
                <c:pt idx="65012">
                  <c:v>30.217760178408732</c:v>
                </c:pt>
                <c:pt idx="65013">
                  <c:v>28.494426579523356</c:v>
                </c:pt>
                <c:pt idx="65014">
                  <c:v>38.810693779614716</c:v>
                </c:pt>
                <c:pt idx="65015">
                  <c:v>31.624064643964068</c:v>
                </c:pt>
                <c:pt idx="65016">
                  <c:v>29.384571713351306</c:v>
                </c:pt>
                <c:pt idx="65017">
                  <c:v>19.802742607217613</c:v>
                </c:pt>
                <c:pt idx="65018">
                  <c:v>24.188758402492539</c:v>
                </c:pt>
                <c:pt idx="65019">
                  <c:v>27.982474670344804</c:v>
                </c:pt>
                <c:pt idx="65020">
                  <c:v>28.019120260124467</c:v>
                </c:pt>
                <c:pt idx="65021">
                  <c:v>21.254837682443902</c:v>
                </c:pt>
                <c:pt idx="65022">
                  <c:v>26.036484693925587</c:v>
                </c:pt>
                <c:pt idx="65023">
                  <c:v>28.13818191067142</c:v>
                </c:pt>
                <c:pt idx="65024">
                  <c:v>33.926051905871667</c:v>
                </c:pt>
                <c:pt idx="65025">
                  <c:v>33.818632733672132</c:v>
                </c:pt>
                <c:pt idx="65026">
                  <c:v>50.077074271724129</c:v>
                </c:pt>
                <c:pt idx="65027">
                  <c:v>38.158700224196302</c:v>
                </c:pt>
                <c:pt idx="65028">
                  <c:v>13.464980808179718</c:v>
                </c:pt>
                <c:pt idx="65029">
                  <c:v>31.082888777843017</c:v>
                </c:pt>
                <c:pt idx="65030">
                  <c:v>20.983102932922463</c:v>
                </c:pt>
                <c:pt idx="65031">
                  <c:v>29.670182793594545</c:v>
                </c:pt>
                <c:pt idx="65032">
                  <c:v>25.930522134641521</c:v>
                </c:pt>
                <c:pt idx="65033">
                  <c:v>27.196965838182027</c:v>
                </c:pt>
                <c:pt idx="65034">
                  <c:v>36.521503117676687</c:v>
                </c:pt>
                <c:pt idx="65035">
                  <c:v>21.847246097987409</c:v>
                </c:pt>
                <c:pt idx="65036">
                  <c:v>24.823183106238176</c:v>
                </c:pt>
                <c:pt idx="65037">
                  <c:v>47.947613115232691</c:v>
                </c:pt>
                <c:pt idx="65038">
                  <c:v>23.294718311385402</c:v>
                </c:pt>
                <c:pt idx="65039">
                  <c:v>23.435310876627671</c:v>
                </c:pt>
                <c:pt idx="65040">
                  <c:v>37.860445812772348</c:v>
                </c:pt>
                <c:pt idx="65041">
                  <c:v>31.914391780775951</c:v>
                </c:pt>
                <c:pt idx="65042">
                  <c:v>23.26749616907453</c:v>
                </c:pt>
                <c:pt idx="65043">
                  <c:v>20.141945137142063</c:v>
                </c:pt>
                <c:pt idx="65044">
                  <c:v>26.980131497798389</c:v>
                </c:pt>
                <c:pt idx="65045">
                  <c:v>28.822705238123618</c:v>
                </c:pt>
                <c:pt idx="65046">
                  <c:v>20.850566197635874</c:v>
                </c:pt>
                <c:pt idx="65047">
                  <c:v>32.448877302422872</c:v>
                </c:pt>
                <c:pt idx="65048">
                  <c:v>53.307040180163057</c:v>
                </c:pt>
                <c:pt idx="65049">
                  <c:v>51.297443538821732</c:v>
                </c:pt>
                <c:pt idx="65050">
                  <c:v>28.590575500411038</c:v>
                </c:pt>
                <c:pt idx="65051">
                  <c:v>24.755866561977463</c:v>
                </c:pt>
                <c:pt idx="65052">
                  <c:v>37.990469307821321</c:v>
                </c:pt>
                <c:pt idx="65053">
                  <c:v>30.903113728599632</c:v>
                </c:pt>
                <c:pt idx="65054">
                  <c:v>27.383889171420428</c:v>
                </c:pt>
                <c:pt idx="65055">
                  <c:v>49.125749710150835</c:v>
                </c:pt>
                <c:pt idx="65056">
                  <c:v>47.148027865144769</c:v>
                </c:pt>
                <c:pt idx="65057">
                  <c:v>43.635879546914289</c:v>
                </c:pt>
                <c:pt idx="65058">
                  <c:v>22.011402784635003</c:v>
                </c:pt>
                <c:pt idx="65059">
                  <c:v>19.38291911942683</c:v>
                </c:pt>
                <c:pt idx="65060">
                  <c:v>22.97383997605445</c:v>
                </c:pt>
                <c:pt idx="65061">
                  <c:v>18.254764921025121</c:v>
                </c:pt>
                <c:pt idx="65062">
                  <c:v>36.813151784854313</c:v>
                </c:pt>
                <c:pt idx="65063">
                  <c:v>29.824464203236303</c:v>
                </c:pt>
                <c:pt idx="65064">
                  <c:v>26.895394488963873</c:v>
                </c:pt>
                <c:pt idx="65065">
                  <c:v>42.177856737600123</c:v>
                </c:pt>
                <c:pt idx="65066">
                  <c:v>31.154006892824388</c:v>
                </c:pt>
                <c:pt idx="65067">
                  <c:v>32.320750959264998</c:v>
                </c:pt>
                <c:pt idx="65068">
                  <c:v>28.896194509535668</c:v>
                </c:pt>
                <c:pt idx="65069">
                  <c:v>38.118128352046718</c:v>
                </c:pt>
                <c:pt idx="65070">
                  <c:v>30.187905388629655</c:v>
                </c:pt>
                <c:pt idx="65071">
                  <c:v>24.740811999811218</c:v>
                </c:pt>
                <c:pt idx="65072">
                  <c:v>24.751984284560578</c:v>
                </c:pt>
                <c:pt idx="65073">
                  <c:v>32.991496176394172</c:v>
                </c:pt>
                <c:pt idx="65074">
                  <c:v>23.904478749148709</c:v>
                </c:pt>
                <c:pt idx="65075">
                  <c:v>27.61738835515947</c:v>
                </c:pt>
                <c:pt idx="65076">
                  <c:v>24.343235002358131</c:v>
                </c:pt>
                <c:pt idx="65077">
                  <c:v>35.710922832910967</c:v>
                </c:pt>
                <c:pt idx="65078">
                  <c:v>22.047251837766382</c:v>
                </c:pt>
                <c:pt idx="65079">
                  <c:v>29.286902967001954</c:v>
                </c:pt>
                <c:pt idx="65080">
                  <c:v>32.274791975691777</c:v>
                </c:pt>
                <c:pt idx="65081">
                  <c:v>29.392146876317589</c:v>
                </c:pt>
                <c:pt idx="65082">
                  <c:v>27.947111575248794</c:v>
                </c:pt>
                <c:pt idx="65083">
                  <c:v>22.712963305734359</c:v>
                </c:pt>
                <c:pt idx="65084">
                  <c:v>21.026490236716729</c:v>
                </c:pt>
                <c:pt idx="65085">
                  <c:v>25.161065761245187</c:v>
                </c:pt>
                <c:pt idx="65086">
                  <c:v>46.112166908726891</c:v>
                </c:pt>
                <c:pt idx="65087">
                  <c:v>28.422388144819944</c:v>
                </c:pt>
                <c:pt idx="65088">
                  <c:v>24.479255416765891</c:v>
                </c:pt>
                <c:pt idx="65089">
                  <c:v>53.061059253485709</c:v>
                </c:pt>
                <c:pt idx="65090">
                  <c:v>20.561024052530406</c:v>
                </c:pt>
                <c:pt idx="65091">
                  <c:v>41.455481013785942</c:v>
                </c:pt>
                <c:pt idx="65092">
                  <c:v>43.138914510157448</c:v>
                </c:pt>
                <c:pt idx="65093">
                  <c:v>42.100282179235052</c:v>
                </c:pt>
                <c:pt idx="65094">
                  <c:v>40.942100531208439</c:v>
                </c:pt>
                <c:pt idx="65095">
                  <c:v>31.093314392360352</c:v>
                </c:pt>
                <c:pt idx="65096">
                  <c:v>22.009171418254525</c:v>
                </c:pt>
                <c:pt idx="65097">
                  <c:v>31.544215141107706</c:v>
                </c:pt>
                <c:pt idx="65098">
                  <c:v>29.142419402268615</c:v>
                </c:pt>
                <c:pt idx="65099">
                  <c:v>22.955032048841165</c:v>
                </c:pt>
                <c:pt idx="65100">
                  <c:v>38.111997591489342</c:v>
                </c:pt>
                <c:pt idx="65101">
                  <c:v>15.457655784966544</c:v>
                </c:pt>
                <c:pt idx="65102">
                  <c:v>44.698874049735743</c:v>
                </c:pt>
                <c:pt idx="65103">
                  <c:v>25.471921071743346</c:v>
                </c:pt>
                <c:pt idx="65104">
                  <c:v>30.940558087097273</c:v>
                </c:pt>
                <c:pt idx="65105">
                  <c:v>30.314695024210959</c:v>
                </c:pt>
                <c:pt idx="65106">
                  <c:v>17.632098009994618</c:v>
                </c:pt>
                <c:pt idx="65107">
                  <c:v>45.794159811507356</c:v>
                </c:pt>
                <c:pt idx="65108">
                  <c:v>26.3247930836766</c:v>
                </c:pt>
                <c:pt idx="65109">
                  <c:v>55.229959002269574</c:v>
                </c:pt>
                <c:pt idx="65110">
                  <c:v>31.524851224363651</c:v>
                </c:pt>
                <c:pt idx="65111">
                  <c:v>24.993949160404718</c:v>
                </c:pt>
                <c:pt idx="65112">
                  <c:v>25.788785402575062</c:v>
                </c:pt>
                <c:pt idx="65113">
                  <c:v>23.301569475059306</c:v>
                </c:pt>
                <c:pt idx="65114">
                  <c:v>21.802417360675371</c:v>
                </c:pt>
                <c:pt idx="65115">
                  <c:v>19.839790612077358</c:v>
                </c:pt>
                <c:pt idx="65116">
                  <c:v>31.439342154925878</c:v>
                </c:pt>
                <c:pt idx="65117">
                  <c:v>28.19177183103163</c:v>
                </c:pt>
                <c:pt idx="65118">
                  <c:v>40.898813680072372</c:v>
                </c:pt>
                <c:pt idx="65119">
                  <c:v>29.759775164740123</c:v>
                </c:pt>
                <c:pt idx="65120">
                  <c:v>39.341109397779704</c:v>
                </c:pt>
                <c:pt idx="65121">
                  <c:v>19.706127672592089</c:v>
                </c:pt>
                <c:pt idx="65122">
                  <c:v>38.903783768943107</c:v>
                </c:pt>
                <c:pt idx="65123">
                  <c:v>29.001087818400297</c:v>
                </c:pt>
                <c:pt idx="65124">
                  <c:v>23.414181773813208</c:v>
                </c:pt>
                <c:pt idx="65125">
                  <c:v>32.005275161736954</c:v>
                </c:pt>
                <c:pt idx="65126">
                  <c:v>24.389182382836985</c:v>
                </c:pt>
                <c:pt idx="65127">
                  <c:v>27.28208081210536</c:v>
                </c:pt>
                <c:pt idx="65128">
                  <c:v>26.321475399803568</c:v>
                </c:pt>
                <c:pt idx="65129">
                  <c:v>17.147985173681327</c:v>
                </c:pt>
                <c:pt idx="65130">
                  <c:v>25.153813314394284</c:v>
                </c:pt>
                <c:pt idx="65131">
                  <c:v>35.529070784652575</c:v>
                </c:pt>
                <c:pt idx="65132">
                  <c:v>22.170832328930345</c:v>
                </c:pt>
                <c:pt idx="65133">
                  <c:v>24.932251682649479</c:v>
                </c:pt>
                <c:pt idx="65134">
                  <c:v>28.880589762793225</c:v>
                </c:pt>
                <c:pt idx="65135">
                  <c:v>30.031151987237607</c:v>
                </c:pt>
                <c:pt idx="65136">
                  <c:v>20.937983045853322</c:v>
                </c:pt>
                <c:pt idx="65137">
                  <c:v>30.89894059374307</c:v>
                </c:pt>
                <c:pt idx="65138">
                  <c:v>19.925746636430333</c:v>
                </c:pt>
                <c:pt idx="65139">
                  <c:v>23.334803469788255</c:v>
                </c:pt>
                <c:pt idx="65140">
                  <c:v>39.560822638315933</c:v>
                </c:pt>
                <c:pt idx="65141">
                  <c:v>47.604549878867857</c:v>
                </c:pt>
                <c:pt idx="65142">
                  <c:v>22.074169527459784</c:v>
                </c:pt>
                <c:pt idx="65143">
                  <c:v>27.869466787543185</c:v>
                </c:pt>
                <c:pt idx="65144">
                  <c:v>56.218588652555596</c:v>
                </c:pt>
                <c:pt idx="65145">
                  <c:v>46.733933400722314</c:v>
                </c:pt>
                <c:pt idx="65146">
                  <c:v>38.813998795121535</c:v>
                </c:pt>
                <c:pt idx="65147">
                  <c:v>31.983678482852788</c:v>
                </c:pt>
                <c:pt idx="65148">
                  <c:v>26.461450867577835</c:v>
                </c:pt>
                <c:pt idx="65149">
                  <c:v>26.105929817842775</c:v>
                </c:pt>
                <c:pt idx="65150">
                  <c:v>29.771844827465195</c:v>
                </c:pt>
                <c:pt idx="65151">
                  <c:v>31.715914792255283</c:v>
                </c:pt>
                <c:pt idx="65152">
                  <c:v>44.187806996717455</c:v>
                </c:pt>
                <c:pt idx="65153">
                  <c:v>17.624423772846413</c:v>
                </c:pt>
                <c:pt idx="65154">
                  <c:v>32.658975333648542</c:v>
                </c:pt>
                <c:pt idx="65155">
                  <c:v>22.108337630222803</c:v>
                </c:pt>
                <c:pt idx="65156">
                  <c:v>26.729945681219981</c:v>
                </c:pt>
                <c:pt idx="65157">
                  <c:v>29.881536790089655</c:v>
                </c:pt>
                <c:pt idx="65158">
                  <c:v>31.013425964207837</c:v>
                </c:pt>
                <c:pt idx="65159">
                  <c:v>32.146596283446165</c:v>
                </c:pt>
                <c:pt idx="65160">
                  <c:v>42.19617450126006</c:v>
                </c:pt>
                <c:pt idx="65161">
                  <c:v>20.598412328870037</c:v>
                </c:pt>
                <c:pt idx="65162">
                  <c:v>29.45451415184322</c:v>
                </c:pt>
                <c:pt idx="65163">
                  <c:v>34.071433024136198</c:v>
                </c:pt>
                <c:pt idx="65164">
                  <c:v>25.203247430653718</c:v>
                </c:pt>
                <c:pt idx="65165">
                  <c:v>26.723411473156062</c:v>
                </c:pt>
                <c:pt idx="65166">
                  <c:v>23.287929085752399</c:v>
                </c:pt>
                <c:pt idx="65167">
                  <c:v>58.467489192245104</c:v>
                </c:pt>
                <c:pt idx="65168">
                  <c:v>29.966401119606516</c:v>
                </c:pt>
                <c:pt idx="65169">
                  <c:v>30.629537712082559</c:v>
                </c:pt>
                <c:pt idx="65170">
                  <c:v>49.61659774450677</c:v>
                </c:pt>
                <c:pt idx="65171">
                  <c:v>26.082776956416101</c:v>
                </c:pt>
                <c:pt idx="65172">
                  <c:v>25.254745856164959</c:v>
                </c:pt>
                <c:pt idx="65173">
                  <c:v>33.267810630371997</c:v>
                </c:pt>
                <c:pt idx="65174">
                  <c:v>27.063476032632781</c:v>
                </c:pt>
                <c:pt idx="65175">
                  <c:v>51.106137670024161</c:v>
                </c:pt>
                <c:pt idx="65176">
                  <c:v>26.729696065047275</c:v>
                </c:pt>
                <c:pt idx="65177">
                  <c:v>26.347915181503776</c:v>
                </c:pt>
                <c:pt idx="65178">
                  <c:v>26.323810327414186</c:v>
                </c:pt>
                <c:pt idx="65179">
                  <c:v>41.0568759877617</c:v>
                </c:pt>
                <c:pt idx="65180">
                  <c:v>18.974462442867178</c:v>
                </c:pt>
                <c:pt idx="65181">
                  <c:v>21.12923720895267</c:v>
                </c:pt>
                <c:pt idx="65182">
                  <c:v>46.818341978121595</c:v>
                </c:pt>
                <c:pt idx="65183">
                  <c:v>19.092487659299245</c:v>
                </c:pt>
                <c:pt idx="65184">
                  <c:v>29.462347103036684</c:v>
                </c:pt>
                <c:pt idx="65185">
                  <c:v>25.271500205596876</c:v>
                </c:pt>
                <c:pt idx="65186">
                  <c:v>28.51204881941219</c:v>
                </c:pt>
                <c:pt idx="65187">
                  <c:v>31.647890812277673</c:v>
                </c:pt>
                <c:pt idx="65188">
                  <c:v>29.422504065002485</c:v>
                </c:pt>
                <c:pt idx="65189">
                  <c:v>48.714197910734839</c:v>
                </c:pt>
                <c:pt idx="65190">
                  <c:v>30.52464647502363</c:v>
                </c:pt>
                <c:pt idx="65191">
                  <c:v>33.524362911966406</c:v>
                </c:pt>
                <c:pt idx="65192">
                  <c:v>46.839284229689149</c:v>
                </c:pt>
                <c:pt idx="65193">
                  <c:v>26.817282478931141</c:v>
                </c:pt>
                <c:pt idx="65194">
                  <c:v>23.897807661146434</c:v>
                </c:pt>
                <c:pt idx="65195">
                  <c:v>25.305610689988285</c:v>
                </c:pt>
                <c:pt idx="65196">
                  <c:v>30.417296795569513</c:v>
                </c:pt>
                <c:pt idx="65197">
                  <c:v>35.826919290058171</c:v>
                </c:pt>
                <c:pt idx="65198">
                  <c:v>22.637882214871723</c:v>
                </c:pt>
                <c:pt idx="65199">
                  <c:v>30.070835932475337</c:v>
                </c:pt>
                <c:pt idx="65200">
                  <c:v>38.594439917089659</c:v>
                </c:pt>
                <c:pt idx="65201">
                  <c:v>23.707030608212012</c:v>
                </c:pt>
                <c:pt idx="65202">
                  <c:v>22.541695792450696</c:v>
                </c:pt>
                <c:pt idx="65203">
                  <c:v>34.178974307573689</c:v>
                </c:pt>
                <c:pt idx="65204">
                  <c:v>37.265210946501888</c:v>
                </c:pt>
                <c:pt idx="65205">
                  <c:v>30.776425685285304</c:v>
                </c:pt>
                <c:pt idx="65206">
                  <c:v>31.305381908033741</c:v>
                </c:pt>
                <c:pt idx="65207">
                  <c:v>23.360721912184708</c:v>
                </c:pt>
                <c:pt idx="65208">
                  <c:v>19.176192027014771</c:v>
                </c:pt>
                <c:pt idx="65209">
                  <c:v>29.730988561992316</c:v>
                </c:pt>
                <c:pt idx="65210">
                  <c:v>27.149637787825334</c:v>
                </c:pt>
                <c:pt idx="65211">
                  <c:v>47.421000461631834</c:v>
                </c:pt>
                <c:pt idx="65212">
                  <c:v>29.082335027493418</c:v>
                </c:pt>
                <c:pt idx="65213">
                  <c:v>31.261246827375427</c:v>
                </c:pt>
                <c:pt idx="65214">
                  <c:v>44.918673228280511</c:v>
                </c:pt>
                <c:pt idx="65215">
                  <c:v>28.580330942043034</c:v>
                </c:pt>
                <c:pt idx="65216">
                  <c:v>28.620072389708575</c:v>
                </c:pt>
                <c:pt idx="65217">
                  <c:v>22.838807295171968</c:v>
                </c:pt>
                <c:pt idx="65218">
                  <c:v>50.194957883291735</c:v>
                </c:pt>
                <c:pt idx="65219">
                  <c:v>39.9862959159761</c:v>
                </c:pt>
                <c:pt idx="65220">
                  <c:v>24.490631051165941</c:v>
                </c:pt>
                <c:pt idx="65221">
                  <c:v>18.95708704435755</c:v>
                </c:pt>
                <c:pt idx="65222">
                  <c:v>52.331210242977349</c:v>
                </c:pt>
                <c:pt idx="65223">
                  <c:v>31.099892825092486</c:v>
                </c:pt>
                <c:pt idx="65224">
                  <c:v>41.768856265580986</c:v>
                </c:pt>
                <c:pt idx="65225">
                  <c:v>25.25635417738421</c:v>
                </c:pt>
                <c:pt idx="65226">
                  <c:v>25.918558821513322</c:v>
                </c:pt>
                <c:pt idx="65227">
                  <c:v>12.834405553028294</c:v>
                </c:pt>
                <c:pt idx="65228">
                  <c:v>28.266493595897149</c:v>
                </c:pt>
                <c:pt idx="65229">
                  <c:v>19.277901124721232</c:v>
                </c:pt>
                <c:pt idx="65230">
                  <c:v>22.594407080446459</c:v>
                </c:pt>
                <c:pt idx="65231">
                  <c:v>33.139308277258365</c:v>
                </c:pt>
                <c:pt idx="65232">
                  <c:v>22.912314276078643</c:v>
                </c:pt>
                <c:pt idx="65233">
                  <c:v>32.632126336627429</c:v>
                </c:pt>
                <c:pt idx="65234">
                  <c:v>25.130528928299533</c:v>
                </c:pt>
                <c:pt idx="65235">
                  <c:v>48.921708215202564</c:v>
                </c:pt>
                <c:pt idx="65236">
                  <c:v>20.406093813915497</c:v>
                </c:pt>
                <c:pt idx="65237">
                  <c:v>33.161561735935862</c:v>
                </c:pt>
                <c:pt idx="65238">
                  <c:v>42.165820381604547</c:v>
                </c:pt>
                <c:pt idx="65239">
                  <c:v>25.085222984847494</c:v>
                </c:pt>
                <c:pt idx="65240">
                  <c:v>24.498316552827376</c:v>
                </c:pt>
                <c:pt idx="65241">
                  <c:v>16.896224550716912</c:v>
                </c:pt>
                <c:pt idx="65242">
                  <c:v>22.548076080310455</c:v>
                </c:pt>
                <c:pt idx="65243">
                  <c:v>20.579054802243707</c:v>
                </c:pt>
                <c:pt idx="65244">
                  <c:v>43.081149906444182</c:v>
                </c:pt>
                <c:pt idx="65245">
                  <c:v>20.869529597286633</c:v>
                </c:pt>
                <c:pt idx="65246">
                  <c:v>31.236507087965954</c:v>
                </c:pt>
                <c:pt idx="65247">
                  <c:v>33.409000287579268</c:v>
                </c:pt>
                <c:pt idx="65248">
                  <c:v>29.380512777383487</c:v>
                </c:pt>
                <c:pt idx="65249">
                  <c:v>39.855201144978345</c:v>
                </c:pt>
                <c:pt idx="65250">
                  <c:v>17.316366835959411</c:v>
                </c:pt>
                <c:pt idx="65251">
                  <c:v>21.917400521566613</c:v>
                </c:pt>
                <c:pt idx="65252">
                  <c:v>27.740289195822015</c:v>
                </c:pt>
                <c:pt idx="65253">
                  <c:v>43.594284721058195</c:v>
                </c:pt>
                <c:pt idx="65254">
                  <c:v>26.308871024461457</c:v>
                </c:pt>
                <c:pt idx="65255">
                  <c:v>40.393461350751281</c:v>
                </c:pt>
                <c:pt idx="65256">
                  <c:v>29.351925067445187</c:v>
                </c:pt>
                <c:pt idx="65257">
                  <c:v>46.515810941755667</c:v>
                </c:pt>
                <c:pt idx="65258">
                  <c:v>24.130540810080479</c:v>
                </c:pt>
                <c:pt idx="65259">
                  <c:v>45.918446360569753</c:v>
                </c:pt>
                <c:pt idx="65260">
                  <c:v>32.671570746794217</c:v>
                </c:pt>
                <c:pt idx="65261">
                  <c:v>19.867141656149059</c:v>
                </c:pt>
                <c:pt idx="65262">
                  <c:v>46.856965322553272</c:v>
                </c:pt>
                <c:pt idx="65263">
                  <c:v>33.537919736864112</c:v>
                </c:pt>
                <c:pt idx="65264">
                  <c:v>30.768533047519103</c:v>
                </c:pt>
                <c:pt idx="65265">
                  <c:v>23.118879930192755</c:v>
                </c:pt>
                <c:pt idx="65266">
                  <c:v>44.643532162565442</c:v>
                </c:pt>
                <c:pt idx="65267">
                  <c:v>26.17914145782639</c:v>
                </c:pt>
                <c:pt idx="65268">
                  <c:v>25.716228479901343</c:v>
                </c:pt>
                <c:pt idx="65269">
                  <c:v>48.316848414370703</c:v>
                </c:pt>
                <c:pt idx="65270">
                  <c:v>33.278323336842213</c:v>
                </c:pt>
                <c:pt idx="65271">
                  <c:v>40.235957009833172</c:v>
                </c:pt>
                <c:pt idx="65272">
                  <c:v>24.080014966965678</c:v>
                </c:pt>
                <c:pt idx="65273">
                  <c:v>26.454585718445035</c:v>
                </c:pt>
                <c:pt idx="65274">
                  <c:v>44.038193707231159</c:v>
                </c:pt>
                <c:pt idx="65275">
                  <c:v>22.182690122611742</c:v>
                </c:pt>
                <c:pt idx="65276">
                  <c:v>32.627616663977122</c:v>
                </c:pt>
                <c:pt idx="65277">
                  <c:v>27.996011048615333</c:v>
                </c:pt>
                <c:pt idx="65278">
                  <c:v>37.269919999966888</c:v>
                </c:pt>
                <c:pt idx="65279">
                  <c:v>24.025281564674017</c:v>
                </c:pt>
                <c:pt idx="65280">
                  <c:v>27.21789790132155</c:v>
                </c:pt>
                <c:pt idx="65281">
                  <c:v>53.766127469062454</c:v>
                </c:pt>
                <c:pt idx="65282">
                  <c:v>45.966437169270129</c:v>
                </c:pt>
                <c:pt idx="65283">
                  <c:v>30.539543132762596</c:v>
                </c:pt>
                <c:pt idx="65284">
                  <c:v>33.831302907748501</c:v>
                </c:pt>
                <c:pt idx="65285">
                  <c:v>28.219869567267963</c:v>
                </c:pt>
                <c:pt idx="65286">
                  <c:v>23.137290040551591</c:v>
                </c:pt>
                <c:pt idx="65287">
                  <c:v>29.806362899759854</c:v>
                </c:pt>
                <c:pt idx="65288">
                  <c:v>38.821607190258192</c:v>
                </c:pt>
                <c:pt idx="65289">
                  <c:v>27.798312670181488</c:v>
                </c:pt>
                <c:pt idx="65290">
                  <c:v>39.113632747028802</c:v>
                </c:pt>
                <c:pt idx="65291">
                  <c:v>29.330324212014759</c:v>
                </c:pt>
                <c:pt idx="65292">
                  <c:v>43.817846036365317</c:v>
                </c:pt>
                <c:pt idx="65293">
                  <c:v>26.276498294924146</c:v>
                </c:pt>
                <c:pt idx="65294">
                  <c:v>20.298426800729999</c:v>
                </c:pt>
                <c:pt idx="65295">
                  <c:v>23.731280967878845</c:v>
                </c:pt>
                <c:pt idx="65296">
                  <c:v>19.605860536156516</c:v>
                </c:pt>
                <c:pt idx="65297">
                  <c:v>32.111548237807668</c:v>
                </c:pt>
                <c:pt idx="65298">
                  <c:v>25.26255748222459</c:v>
                </c:pt>
                <c:pt idx="65299">
                  <c:v>23.703904232654935</c:v>
                </c:pt>
                <c:pt idx="65300">
                  <c:v>22.285757862549502</c:v>
                </c:pt>
                <c:pt idx="65301">
                  <c:v>24.267536229967785</c:v>
                </c:pt>
                <c:pt idx="65302">
                  <c:v>28.291988198563921</c:v>
                </c:pt>
                <c:pt idx="65303">
                  <c:v>35.369271746605754</c:v>
                </c:pt>
                <c:pt idx="65304">
                  <c:v>28.313904972284515</c:v>
                </c:pt>
                <c:pt idx="65305">
                  <c:v>22.699149297255278</c:v>
                </c:pt>
                <c:pt idx="65306">
                  <c:v>25.474645532739871</c:v>
                </c:pt>
                <c:pt idx="65307">
                  <c:v>28.002114469025493</c:v>
                </c:pt>
                <c:pt idx="65308">
                  <c:v>25.706869855486694</c:v>
                </c:pt>
                <c:pt idx="65309">
                  <c:v>24.57281409644083</c:v>
                </c:pt>
                <c:pt idx="65310">
                  <c:v>27.530019627147787</c:v>
                </c:pt>
                <c:pt idx="65311">
                  <c:v>29.717637863866791</c:v>
                </c:pt>
                <c:pt idx="65312">
                  <c:v>30.869907115527845</c:v>
                </c:pt>
                <c:pt idx="65313">
                  <c:v>28.806014391442286</c:v>
                </c:pt>
                <c:pt idx="65314">
                  <c:v>35.751874094938351</c:v>
                </c:pt>
                <c:pt idx="65315">
                  <c:v>38.203213678521927</c:v>
                </c:pt>
                <c:pt idx="65316">
                  <c:v>25.88323188448302</c:v>
                </c:pt>
                <c:pt idx="65317">
                  <c:v>30.573367746437594</c:v>
                </c:pt>
                <c:pt idx="65318">
                  <c:v>28.031719051820758</c:v>
                </c:pt>
                <c:pt idx="65319">
                  <c:v>28.689525338804536</c:v>
                </c:pt>
                <c:pt idx="65320">
                  <c:v>30.398104238948587</c:v>
                </c:pt>
                <c:pt idx="65321">
                  <c:v>32.521129110061082</c:v>
                </c:pt>
                <c:pt idx="65322">
                  <c:v>24.157025552383299</c:v>
                </c:pt>
                <c:pt idx="65323">
                  <c:v>23.073894030761085</c:v>
                </c:pt>
                <c:pt idx="65324">
                  <c:v>49.312706960219984</c:v>
                </c:pt>
                <c:pt idx="65325">
                  <c:v>50.913207670122226</c:v>
                </c:pt>
                <c:pt idx="65326">
                  <c:v>38.592032906618833</c:v>
                </c:pt>
                <c:pt idx="65327">
                  <c:v>33.837173838719274</c:v>
                </c:pt>
                <c:pt idx="65328">
                  <c:v>26.105366757374483</c:v>
                </c:pt>
                <c:pt idx="65329">
                  <c:v>26.719869680805932</c:v>
                </c:pt>
                <c:pt idx="65330">
                  <c:v>23.613155794864362</c:v>
                </c:pt>
                <c:pt idx="65331">
                  <c:v>48.721621172760791</c:v>
                </c:pt>
                <c:pt idx="65332">
                  <c:v>19.970480980178209</c:v>
                </c:pt>
                <c:pt idx="65333">
                  <c:v>29.876969542504714</c:v>
                </c:pt>
                <c:pt idx="65334">
                  <c:v>56.291337027640957</c:v>
                </c:pt>
                <c:pt idx="65335">
                  <c:v>23.043493833769791</c:v>
                </c:pt>
                <c:pt idx="65336">
                  <c:v>45.34817369942138</c:v>
                </c:pt>
                <c:pt idx="65337">
                  <c:v>21.989527321890126</c:v>
                </c:pt>
                <c:pt idx="65338">
                  <c:v>34.615655379779291</c:v>
                </c:pt>
                <c:pt idx="65339">
                  <c:v>48.115787143034318</c:v>
                </c:pt>
                <c:pt idx="65340">
                  <c:v>30.083074498532493</c:v>
                </c:pt>
                <c:pt idx="65341">
                  <c:v>21.647145958679193</c:v>
                </c:pt>
                <c:pt idx="65342">
                  <c:v>23.004254054571632</c:v>
                </c:pt>
                <c:pt idx="65343">
                  <c:v>23.863345067849529</c:v>
                </c:pt>
                <c:pt idx="65344">
                  <c:v>27.639770101935781</c:v>
                </c:pt>
                <c:pt idx="65345">
                  <c:v>27.830086836816445</c:v>
                </c:pt>
                <c:pt idx="65346">
                  <c:v>30.624401291366247</c:v>
                </c:pt>
                <c:pt idx="65347">
                  <c:v>31.606205934965804</c:v>
                </c:pt>
                <c:pt idx="65348">
                  <c:v>22.731826741719555</c:v>
                </c:pt>
                <c:pt idx="65349">
                  <c:v>25.753514192258521</c:v>
                </c:pt>
                <c:pt idx="65350">
                  <c:v>25.885378332009445</c:v>
                </c:pt>
                <c:pt idx="65351">
                  <c:v>18.356671714909247</c:v>
                </c:pt>
                <c:pt idx="65352">
                  <c:v>47.946005649438284</c:v>
                </c:pt>
                <c:pt idx="65353">
                  <c:v>21.624742807537302</c:v>
                </c:pt>
                <c:pt idx="65354">
                  <c:v>36.248255016767885</c:v>
                </c:pt>
                <c:pt idx="65355">
                  <c:v>32.601559476516798</c:v>
                </c:pt>
                <c:pt idx="65356">
                  <c:v>41.089456589529391</c:v>
                </c:pt>
                <c:pt idx="65357">
                  <c:v>58.426706675534057</c:v>
                </c:pt>
                <c:pt idx="65358">
                  <c:v>29.162093705415248</c:v>
                </c:pt>
                <c:pt idx="65359">
                  <c:v>37.844329536134055</c:v>
                </c:pt>
                <c:pt idx="65360">
                  <c:v>56.831318198334429</c:v>
                </c:pt>
                <c:pt idx="65361">
                  <c:v>32.815533405189356</c:v>
                </c:pt>
                <c:pt idx="65362">
                  <c:v>27.591633515271155</c:v>
                </c:pt>
                <c:pt idx="65363">
                  <c:v>43.001835404628302</c:v>
                </c:pt>
                <c:pt idx="65364">
                  <c:v>35.058843718183851</c:v>
                </c:pt>
                <c:pt idx="65365">
                  <c:v>32.007361511510879</c:v>
                </c:pt>
                <c:pt idx="65366">
                  <c:v>27.083306381603137</c:v>
                </c:pt>
                <c:pt idx="65367">
                  <c:v>18.54552214255882</c:v>
                </c:pt>
                <c:pt idx="65368">
                  <c:v>41.027153213326358</c:v>
                </c:pt>
                <c:pt idx="65369">
                  <c:v>25.6680424340435</c:v>
                </c:pt>
                <c:pt idx="65370">
                  <c:v>25.068276084766808</c:v>
                </c:pt>
                <c:pt idx="65371">
                  <c:v>44.021975812687948</c:v>
                </c:pt>
                <c:pt idx="65372">
                  <c:v>31.346256646183157</c:v>
                </c:pt>
                <c:pt idx="65373">
                  <c:v>49.815984660983595</c:v>
                </c:pt>
                <c:pt idx="65374">
                  <c:v>35.090040495769543</c:v>
                </c:pt>
                <c:pt idx="65375">
                  <c:v>50.198126409727053</c:v>
                </c:pt>
                <c:pt idx="65376">
                  <c:v>26.20205832387391</c:v>
                </c:pt>
                <c:pt idx="65377">
                  <c:v>45.33036881381588</c:v>
                </c:pt>
                <c:pt idx="65378">
                  <c:v>19.419091840123471</c:v>
                </c:pt>
                <c:pt idx="65379">
                  <c:v>29.614699892833357</c:v>
                </c:pt>
                <c:pt idx="65380">
                  <c:v>24.42890560935038</c:v>
                </c:pt>
                <c:pt idx="65381">
                  <c:v>26.526587489176411</c:v>
                </c:pt>
                <c:pt idx="65382">
                  <c:v>29.54356833771044</c:v>
                </c:pt>
                <c:pt idx="65383">
                  <c:v>28.163388433871436</c:v>
                </c:pt>
                <c:pt idx="65384">
                  <c:v>34.991822704495235</c:v>
                </c:pt>
                <c:pt idx="65385">
                  <c:v>56.113458252093594</c:v>
                </c:pt>
                <c:pt idx="65386">
                  <c:v>25.868110970902269</c:v>
                </c:pt>
                <c:pt idx="65387">
                  <c:v>37.006687840472161</c:v>
                </c:pt>
                <c:pt idx="65388">
                  <c:v>32.820125783651712</c:v>
                </c:pt>
                <c:pt idx="65389">
                  <c:v>46.622281192299532</c:v>
                </c:pt>
                <c:pt idx="65390">
                  <c:v>18.208437687462478</c:v>
                </c:pt>
                <c:pt idx="65391">
                  <c:v>25.16177538497827</c:v>
                </c:pt>
                <c:pt idx="65392">
                  <c:v>26.2353332133533</c:v>
                </c:pt>
                <c:pt idx="65393">
                  <c:v>22.233821720855076</c:v>
                </c:pt>
                <c:pt idx="65394">
                  <c:v>36.928149417782429</c:v>
                </c:pt>
                <c:pt idx="65395">
                  <c:v>24.75896843763088</c:v>
                </c:pt>
                <c:pt idx="65396">
                  <c:v>25.949382792820106</c:v>
                </c:pt>
                <c:pt idx="65397">
                  <c:v>39.655313038545259</c:v>
                </c:pt>
                <c:pt idx="65398">
                  <c:v>30.566198013829613</c:v>
                </c:pt>
                <c:pt idx="65399">
                  <c:v>32.235668764729496</c:v>
                </c:pt>
                <c:pt idx="65400">
                  <c:v>29.935484947030304</c:v>
                </c:pt>
                <c:pt idx="65401">
                  <c:v>26.380892836024518</c:v>
                </c:pt>
                <c:pt idx="65402">
                  <c:v>24.360089247454404</c:v>
                </c:pt>
                <c:pt idx="65403">
                  <c:v>44.894327708758361</c:v>
                </c:pt>
                <c:pt idx="65404">
                  <c:v>32.078775325991863</c:v>
                </c:pt>
                <c:pt idx="65405">
                  <c:v>23.66936043359927</c:v>
                </c:pt>
                <c:pt idx="65406">
                  <c:v>43.251727685950392</c:v>
                </c:pt>
                <c:pt idx="65407">
                  <c:v>19.868638730611259</c:v>
                </c:pt>
                <c:pt idx="65408">
                  <c:v>27.371409077084678</c:v>
                </c:pt>
                <c:pt idx="65409">
                  <c:v>32.846684809259074</c:v>
                </c:pt>
                <c:pt idx="65410">
                  <c:v>52.646375591716733</c:v>
                </c:pt>
                <c:pt idx="65411">
                  <c:v>20.746641118079157</c:v>
                </c:pt>
                <c:pt idx="65412">
                  <c:v>39.412512415220647</c:v>
                </c:pt>
                <c:pt idx="65413">
                  <c:v>43.278644031657777</c:v>
                </c:pt>
                <c:pt idx="65414">
                  <c:v>26.26703012995975</c:v>
                </c:pt>
                <c:pt idx="65415">
                  <c:v>24.936239367384491</c:v>
                </c:pt>
                <c:pt idx="65416">
                  <c:v>30.081725070021598</c:v>
                </c:pt>
                <c:pt idx="65417">
                  <c:v>42.75937192278127</c:v>
                </c:pt>
                <c:pt idx="65418">
                  <c:v>30.158241350282147</c:v>
                </c:pt>
                <c:pt idx="65419">
                  <c:v>30.938719383311515</c:v>
                </c:pt>
                <c:pt idx="65420">
                  <c:v>31.167121441312833</c:v>
                </c:pt>
                <c:pt idx="65421">
                  <c:v>19.6098652556581</c:v>
                </c:pt>
                <c:pt idx="65422">
                  <c:v>40.15710174507452</c:v>
                </c:pt>
                <c:pt idx="65423">
                  <c:v>50.856418530302072</c:v>
                </c:pt>
                <c:pt idx="65424">
                  <c:v>29.10165529104323</c:v>
                </c:pt>
                <c:pt idx="65425">
                  <c:v>23.138782031896216</c:v>
                </c:pt>
                <c:pt idx="65426">
                  <c:v>27.323899021458718</c:v>
                </c:pt>
                <c:pt idx="65427">
                  <c:v>31.041880702376201</c:v>
                </c:pt>
                <c:pt idx="65428">
                  <c:v>27.577682683096327</c:v>
                </c:pt>
                <c:pt idx="65429">
                  <c:v>23.818340371616923</c:v>
                </c:pt>
                <c:pt idx="65430">
                  <c:v>19.246120010082738</c:v>
                </c:pt>
                <c:pt idx="65431">
                  <c:v>22.572137243931838</c:v>
                </c:pt>
                <c:pt idx="65432">
                  <c:v>29.117597558481854</c:v>
                </c:pt>
                <c:pt idx="65433">
                  <c:v>24.235133414603062</c:v>
                </c:pt>
                <c:pt idx="65434">
                  <c:v>28.104695218804132</c:v>
                </c:pt>
                <c:pt idx="65435">
                  <c:v>44.103834240031162</c:v>
                </c:pt>
                <c:pt idx="65436">
                  <c:v>23.716719441603399</c:v>
                </c:pt>
                <c:pt idx="65437">
                  <c:v>31.827139472563484</c:v>
                </c:pt>
                <c:pt idx="65438">
                  <c:v>23.333064390353268</c:v>
                </c:pt>
                <c:pt idx="65439">
                  <c:v>38.686923611312302</c:v>
                </c:pt>
                <c:pt idx="65440">
                  <c:v>49.643179130779984</c:v>
                </c:pt>
                <c:pt idx="65441">
                  <c:v>25.483887334118663</c:v>
                </c:pt>
                <c:pt idx="65442">
                  <c:v>34.253020593921342</c:v>
                </c:pt>
                <c:pt idx="65443">
                  <c:v>36.154336245706965</c:v>
                </c:pt>
                <c:pt idx="65444">
                  <c:v>27.258990852904539</c:v>
                </c:pt>
                <c:pt idx="65445">
                  <c:v>47.424533554957982</c:v>
                </c:pt>
                <c:pt idx="65446">
                  <c:v>23.42414732485566</c:v>
                </c:pt>
                <c:pt idx="65447">
                  <c:v>47.628144572139554</c:v>
                </c:pt>
                <c:pt idx="65448">
                  <c:v>25.929868065712711</c:v>
                </c:pt>
                <c:pt idx="65449">
                  <c:v>49.174779384200455</c:v>
                </c:pt>
                <c:pt idx="65450">
                  <c:v>36.987512531433758</c:v>
                </c:pt>
                <c:pt idx="65451">
                  <c:v>34.285124417369886</c:v>
                </c:pt>
                <c:pt idx="65452">
                  <c:v>27.259455332968958</c:v>
                </c:pt>
                <c:pt idx="65453">
                  <c:v>30.436997292430423</c:v>
                </c:pt>
                <c:pt idx="65454">
                  <c:v>23.455189027202092</c:v>
                </c:pt>
                <c:pt idx="65455">
                  <c:v>29.085509300897389</c:v>
                </c:pt>
                <c:pt idx="65456">
                  <c:v>27.808542025686496</c:v>
                </c:pt>
                <c:pt idx="65457">
                  <c:v>22.50137731543327</c:v>
                </c:pt>
                <c:pt idx="65458">
                  <c:v>28.692925730718386</c:v>
                </c:pt>
                <c:pt idx="65459">
                  <c:v>30.888110882883776</c:v>
                </c:pt>
                <c:pt idx="65460">
                  <c:v>19.987103028960025</c:v>
                </c:pt>
                <c:pt idx="65461">
                  <c:v>25.733790725794115</c:v>
                </c:pt>
                <c:pt idx="65462">
                  <c:v>21.588661363192017</c:v>
                </c:pt>
                <c:pt idx="65463">
                  <c:v>23.990665643107899</c:v>
                </c:pt>
                <c:pt idx="65464">
                  <c:v>27.10382283997092</c:v>
                </c:pt>
                <c:pt idx="65465">
                  <c:v>25.076040920442786</c:v>
                </c:pt>
                <c:pt idx="65466">
                  <c:v>28.01454271440868</c:v>
                </c:pt>
                <c:pt idx="65467">
                  <c:v>18.936201760826634</c:v>
                </c:pt>
                <c:pt idx="65468">
                  <c:v>28.124558556211205</c:v>
                </c:pt>
                <c:pt idx="65469">
                  <c:v>49.932902522289041</c:v>
                </c:pt>
                <c:pt idx="65470">
                  <c:v>22.932427106378199</c:v>
                </c:pt>
                <c:pt idx="65471">
                  <c:v>30.16666090366477</c:v>
                </c:pt>
                <c:pt idx="65472">
                  <c:v>20.238647378696566</c:v>
                </c:pt>
                <c:pt idx="65473">
                  <c:v>47.33485794297286</c:v>
                </c:pt>
                <c:pt idx="65474">
                  <c:v>29.245892455942286</c:v>
                </c:pt>
                <c:pt idx="65475">
                  <c:v>53.805478115809613</c:v>
                </c:pt>
                <c:pt idx="65476">
                  <c:v>27.275515675095445</c:v>
                </c:pt>
                <c:pt idx="65477">
                  <c:v>36.381483520525101</c:v>
                </c:pt>
                <c:pt idx="65478">
                  <c:v>22.192880964035691</c:v>
                </c:pt>
                <c:pt idx="65479">
                  <c:v>29.597780844276024</c:v>
                </c:pt>
                <c:pt idx="65480">
                  <c:v>26.00299507645056</c:v>
                </c:pt>
                <c:pt idx="65481">
                  <c:v>26.101644799071405</c:v>
                </c:pt>
                <c:pt idx="65482">
                  <c:v>48.743246785023061</c:v>
                </c:pt>
                <c:pt idx="65483">
                  <c:v>27.297563704683</c:v>
                </c:pt>
                <c:pt idx="65484">
                  <c:v>25.683454007205384</c:v>
                </c:pt>
                <c:pt idx="65485">
                  <c:v>31.205859418766487</c:v>
                </c:pt>
                <c:pt idx="65486">
                  <c:v>23.948520132456849</c:v>
                </c:pt>
                <c:pt idx="65487">
                  <c:v>45.105914997991377</c:v>
                </c:pt>
                <c:pt idx="65488">
                  <c:v>27.674806784910437</c:v>
                </c:pt>
                <c:pt idx="65489">
                  <c:v>26.195041150717557</c:v>
                </c:pt>
                <c:pt idx="65490">
                  <c:v>26.475733587123493</c:v>
                </c:pt>
                <c:pt idx="65491">
                  <c:v>17.73704701336079</c:v>
                </c:pt>
                <c:pt idx="65492">
                  <c:v>37.872250690579776</c:v>
                </c:pt>
                <c:pt idx="65493">
                  <c:v>24.938713683095752</c:v>
                </c:pt>
                <c:pt idx="65494">
                  <c:v>21.006759437086163</c:v>
                </c:pt>
                <c:pt idx="65495">
                  <c:v>19.717944011807536</c:v>
                </c:pt>
                <c:pt idx="65496">
                  <c:v>19.765284438205978</c:v>
                </c:pt>
                <c:pt idx="65497">
                  <c:v>30.701560033948667</c:v>
                </c:pt>
                <c:pt idx="65498">
                  <c:v>26.766197810524439</c:v>
                </c:pt>
                <c:pt idx="65499">
                  <c:v>22.770980023988177</c:v>
                </c:pt>
                <c:pt idx="65500">
                  <c:v>18.258866894373625</c:v>
                </c:pt>
                <c:pt idx="65501">
                  <c:v>20.038413443747814</c:v>
                </c:pt>
                <c:pt idx="65502">
                  <c:v>35.791909504043353</c:v>
                </c:pt>
                <c:pt idx="65503">
                  <c:v>42.298873641384901</c:v>
                </c:pt>
                <c:pt idx="65504">
                  <c:v>22.499897144052948</c:v>
                </c:pt>
                <c:pt idx="65505">
                  <c:v>58.797097297784724</c:v>
                </c:pt>
                <c:pt idx="65506">
                  <c:v>20.863524408355147</c:v>
                </c:pt>
                <c:pt idx="65507">
                  <c:v>27.198203745118164</c:v>
                </c:pt>
                <c:pt idx="65508">
                  <c:v>22.751819377176332</c:v>
                </c:pt>
                <c:pt idx="65509">
                  <c:v>33.939108765526981</c:v>
                </c:pt>
                <c:pt idx="65510">
                  <c:v>39.970065283717439</c:v>
                </c:pt>
                <c:pt idx="65511">
                  <c:v>23.355452941060175</c:v>
                </c:pt>
                <c:pt idx="65512">
                  <c:v>32.478134534643154</c:v>
                </c:pt>
                <c:pt idx="65513">
                  <c:v>40.539104382192207</c:v>
                </c:pt>
                <c:pt idx="65514">
                  <c:v>30.797934850445035</c:v>
                </c:pt>
                <c:pt idx="65515">
                  <c:v>31.093332244137976</c:v>
                </c:pt>
                <c:pt idx="65516">
                  <c:v>24.988270849242717</c:v>
                </c:pt>
                <c:pt idx="65517">
                  <c:v>27.665430351274189</c:v>
                </c:pt>
                <c:pt idx="65518">
                  <c:v>20.880195253688932</c:v>
                </c:pt>
                <c:pt idx="65519">
                  <c:v>34.33096732468406</c:v>
                </c:pt>
                <c:pt idx="65520">
                  <c:v>27.086929981432721</c:v>
                </c:pt>
                <c:pt idx="65521">
                  <c:v>39.852269790391368</c:v>
                </c:pt>
                <c:pt idx="65522">
                  <c:v>28.028681785220797</c:v>
                </c:pt>
                <c:pt idx="65523">
                  <c:v>27.568919003096983</c:v>
                </c:pt>
                <c:pt idx="65524">
                  <c:v>25.529766039179449</c:v>
                </c:pt>
                <c:pt idx="65525">
                  <c:v>31.397968870970278</c:v>
                </c:pt>
                <c:pt idx="65526">
                  <c:v>35.169642886123661</c:v>
                </c:pt>
                <c:pt idx="65527">
                  <c:v>42.957347432069099</c:v>
                </c:pt>
                <c:pt idx="65528">
                  <c:v>39.54887750441172</c:v>
                </c:pt>
                <c:pt idx="65529">
                  <c:v>56.861469740429428</c:v>
                </c:pt>
                <c:pt idx="65530">
                  <c:v>26.911277340162222</c:v>
                </c:pt>
                <c:pt idx="65531">
                  <c:v>52.119029712945192</c:v>
                </c:pt>
                <c:pt idx="65532">
                  <c:v>28.748362564102727</c:v>
                </c:pt>
                <c:pt idx="65533">
                  <c:v>25.565339941828579</c:v>
                </c:pt>
                <c:pt idx="65534">
                  <c:v>45.936827610851992</c:v>
                </c:pt>
                <c:pt idx="65535">
                  <c:v>26.038928537635158</c:v>
                </c:pt>
                <c:pt idx="65536">
                  <c:v>33.694849226366394</c:v>
                </c:pt>
                <c:pt idx="65537">
                  <c:v>26.227624399938982</c:v>
                </c:pt>
                <c:pt idx="65538">
                  <c:v>26.106084592478147</c:v>
                </c:pt>
                <c:pt idx="65539">
                  <c:v>29.644792442255426</c:v>
                </c:pt>
                <c:pt idx="65540">
                  <c:v>32.618808627069527</c:v>
                </c:pt>
                <c:pt idx="65541">
                  <c:v>29.05836991063444</c:v>
                </c:pt>
                <c:pt idx="65542">
                  <c:v>31.243629038834726</c:v>
                </c:pt>
                <c:pt idx="65543">
                  <c:v>29.544028645624216</c:v>
                </c:pt>
                <c:pt idx="65544">
                  <c:v>16.117366440143051</c:v>
                </c:pt>
                <c:pt idx="65545">
                  <c:v>40.705583883618118</c:v>
                </c:pt>
                <c:pt idx="65546">
                  <c:v>18.854776695397202</c:v>
                </c:pt>
                <c:pt idx="65547">
                  <c:v>15.092868949696275</c:v>
                </c:pt>
                <c:pt idx="65548">
                  <c:v>29.188608944966973</c:v>
                </c:pt>
                <c:pt idx="65549">
                  <c:v>32.912012714389419</c:v>
                </c:pt>
                <c:pt idx="65550">
                  <c:v>51.19697571315875</c:v>
                </c:pt>
                <c:pt idx="65551">
                  <c:v>49.334154388259073</c:v>
                </c:pt>
                <c:pt idx="65552">
                  <c:v>27.53246203108549</c:v>
                </c:pt>
                <c:pt idx="65553">
                  <c:v>20.187325481617076</c:v>
                </c:pt>
                <c:pt idx="65554">
                  <c:v>29.40314369876134</c:v>
                </c:pt>
                <c:pt idx="65555">
                  <c:v>21.008933769878062</c:v>
                </c:pt>
                <c:pt idx="65556">
                  <c:v>40.784387454880132</c:v>
                </c:pt>
                <c:pt idx="65557">
                  <c:v>39.062022364364559</c:v>
                </c:pt>
                <c:pt idx="65558">
                  <c:v>55.867607103617523</c:v>
                </c:pt>
                <c:pt idx="65559">
                  <c:v>34.66440720590068</c:v>
                </c:pt>
                <c:pt idx="65560">
                  <c:v>42.286130094805173</c:v>
                </c:pt>
                <c:pt idx="65561">
                  <c:v>21.656734913876289</c:v>
                </c:pt>
                <c:pt idx="65562">
                  <c:v>22.428586494076274</c:v>
                </c:pt>
                <c:pt idx="65563">
                  <c:v>21.956525567539604</c:v>
                </c:pt>
                <c:pt idx="65564">
                  <c:v>30.122795692442814</c:v>
                </c:pt>
                <c:pt idx="65565">
                  <c:v>54.132145511731899</c:v>
                </c:pt>
                <c:pt idx="65566">
                  <c:v>18.457796831656104</c:v>
                </c:pt>
                <c:pt idx="65567">
                  <c:v>21.405910352949025</c:v>
                </c:pt>
                <c:pt idx="65568">
                  <c:v>16.976329056759319</c:v>
                </c:pt>
                <c:pt idx="65569">
                  <c:v>27.538300402317049</c:v>
                </c:pt>
                <c:pt idx="65570">
                  <c:v>47.677983423840033</c:v>
                </c:pt>
                <c:pt idx="65571">
                  <c:v>42.581525359692513</c:v>
                </c:pt>
                <c:pt idx="65572">
                  <c:v>28.157160385381029</c:v>
                </c:pt>
                <c:pt idx="65573">
                  <c:v>25.67899653521388</c:v>
                </c:pt>
                <c:pt idx="65574">
                  <c:v>24.326097896252705</c:v>
                </c:pt>
                <c:pt idx="65575">
                  <c:v>44.901090448510381</c:v>
                </c:pt>
                <c:pt idx="65576">
                  <c:v>17.430168868457322</c:v>
                </c:pt>
                <c:pt idx="65577">
                  <c:v>23.939070806482917</c:v>
                </c:pt>
                <c:pt idx="65578">
                  <c:v>27.338297352208379</c:v>
                </c:pt>
                <c:pt idx="65579">
                  <c:v>23.650895771010731</c:v>
                </c:pt>
                <c:pt idx="65580">
                  <c:v>25.125377838064839</c:v>
                </c:pt>
                <c:pt idx="65581">
                  <c:v>28.447392888426549</c:v>
                </c:pt>
                <c:pt idx="65582">
                  <c:v>44.851568522951993</c:v>
                </c:pt>
                <c:pt idx="65583">
                  <c:v>46.481816920985509</c:v>
                </c:pt>
                <c:pt idx="65584">
                  <c:v>36.654559796917944</c:v>
                </c:pt>
                <c:pt idx="65585">
                  <c:v>32.605137907651738</c:v>
                </c:pt>
                <c:pt idx="65586">
                  <c:v>24.153748941292392</c:v>
                </c:pt>
                <c:pt idx="65587">
                  <c:v>31.305078332100528</c:v>
                </c:pt>
                <c:pt idx="65588">
                  <c:v>29.745427978695602</c:v>
                </c:pt>
                <c:pt idx="65589">
                  <c:v>25.473189545306262</c:v>
                </c:pt>
                <c:pt idx="65590">
                  <c:v>46.340497230024042</c:v>
                </c:pt>
                <c:pt idx="65591">
                  <c:v>21.642438727075987</c:v>
                </c:pt>
                <c:pt idx="65592">
                  <c:v>29.896660345948625</c:v>
                </c:pt>
                <c:pt idx="65593">
                  <c:v>53.059658198075539</c:v>
                </c:pt>
                <c:pt idx="65594">
                  <c:v>30.067002593445089</c:v>
                </c:pt>
                <c:pt idx="65595">
                  <c:v>30.307357787987772</c:v>
                </c:pt>
                <c:pt idx="65596">
                  <c:v>41.84437106921294</c:v>
                </c:pt>
                <c:pt idx="65597">
                  <c:v>22.735740019377126</c:v>
                </c:pt>
                <c:pt idx="65598">
                  <c:v>37.884174257320666</c:v>
                </c:pt>
                <c:pt idx="65599">
                  <c:v>22.753950909100872</c:v>
                </c:pt>
                <c:pt idx="65600">
                  <c:v>21.442915203885477</c:v>
                </c:pt>
                <c:pt idx="65601">
                  <c:v>27.980144530532893</c:v>
                </c:pt>
                <c:pt idx="65602">
                  <c:v>54.11281788221892</c:v>
                </c:pt>
                <c:pt idx="65603">
                  <c:v>26.178121597437851</c:v>
                </c:pt>
                <c:pt idx="65604">
                  <c:v>41.213800857547461</c:v>
                </c:pt>
                <c:pt idx="65605">
                  <c:v>25.417573221924616</c:v>
                </c:pt>
                <c:pt idx="65606">
                  <c:v>33.176849600384863</c:v>
                </c:pt>
                <c:pt idx="65607">
                  <c:v>42.618326356292727</c:v>
                </c:pt>
                <c:pt idx="65608">
                  <c:v>19.905429460058624</c:v>
                </c:pt>
                <c:pt idx="65609">
                  <c:v>43.307046574063214</c:v>
                </c:pt>
                <c:pt idx="65610">
                  <c:v>24.110203762389819</c:v>
                </c:pt>
                <c:pt idx="65611">
                  <c:v>38.802444570616736</c:v>
                </c:pt>
                <c:pt idx="65612">
                  <c:v>28.957831080996851</c:v>
                </c:pt>
                <c:pt idx="65613">
                  <c:v>30.09025954502437</c:v>
                </c:pt>
                <c:pt idx="65614">
                  <c:v>37.292483076579913</c:v>
                </c:pt>
                <c:pt idx="65615">
                  <c:v>17.03175935576823</c:v>
                </c:pt>
                <c:pt idx="65616">
                  <c:v>34.234667512576586</c:v>
                </c:pt>
                <c:pt idx="65617">
                  <c:v>23.736526123782337</c:v>
                </c:pt>
                <c:pt idx="65618">
                  <c:v>43.989696034360129</c:v>
                </c:pt>
                <c:pt idx="65619">
                  <c:v>27.85790317751432</c:v>
                </c:pt>
                <c:pt idx="65620">
                  <c:v>28.469507287762958</c:v>
                </c:pt>
                <c:pt idx="65621">
                  <c:v>24.360813378318255</c:v>
                </c:pt>
                <c:pt idx="65622">
                  <c:v>25.678639961466505</c:v>
                </c:pt>
                <c:pt idx="65623">
                  <c:v>27.293901843820983</c:v>
                </c:pt>
                <c:pt idx="65624">
                  <c:v>19.915394701448026</c:v>
                </c:pt>
                <c:pt idx="65625">
                  <c:v>23.216827942773971</c:v>
                </c:pt>
                <c:pt idx="65626">
                  <c:v>29.078430332827828</c:v>
                </c:pt>
                <c:pt idx="65627">
                  <c:v>23.44981081678668</c:v>
                </c:pt>
                <c:pt idx="65628">
                  <c:v>19.128597432111274</c:v>
                </c:pt>
                <c:pt idx="65629">
                  <c:v>41.395636911714178</c:v>
                </c:pt>
                <c:pt idx="65630">
                  <c:v>30.158917831215099</c:v>
                </c:pt>
                <c:pt idx="65631">
                  <c:v>28.241840478114852</c:v>
                </c:pt>
                <c:pt idx="65632">
                  <c:v>32.018820776289331</c:v>
                </c:pt>
                <c:pt idx="65633">
                  <c:v>31.558294890050725</c:v>
                </c:pt>
                <c:pt idx="65634">
                  <c:v>39.964352504639116</c:v>
                </c:pt>
                <c:pt idx="65635">
                  <c:v>17.619234235622212</c:v>
                </c:pt>
                <c:pt idx="65636">
                  <c:v>25.463074508753781</c:v>
                </c:pt>
                <c:pt idx="65637">
                  <c:v>28.337075219657116</c:v>
                </c:pt>
                <c:pt idx="65638">
                  <c:v>28.401057869873835</c:v>
                </c:pt>
                <c:pt idx="65639">
                  <c:v>22.898208117827519</c:v>
                </c:pt>
                <c:pt idx="65640">
                  <c:v>31.278806539489633</c:v>
                </c:pt>
                <c:pt idx="65641">
                  <c:v>35.812294354272289</c:v>
                </c:pt>
                <c:pt idx="65642">
                  <c:v>47.83795686579964</c:v>
                </c:pt>
                <c:pt idx="65643">
                  <c:v>28.874443026276595</c:v>
                </c:pt>
                <c:pt idx="65644">
                  <c:v>27.432774370453558</c:v>
                </c:pt>
                <c:pt idx="65645">
                  <c:v>49.25579196541792</c:v>
                </c:pt>
                <c:pt idx="65646">
                  <c:v>22.504678599734461</c:v>
                </c:pt>
                <c:pt idx="65647">
                  <c:v>29.079827777373055</c:v>
                </c:pt>
                <c:pt idx="65648">
                  <c:v>32.143810284085966</c:v>
                </c:pt>
                <c:pt idx="65649">
                  <c:v>27.135634206848209</c:v>
                </c:pt>
                <c:pt idx="65650">
                  <c:v>22.128746309968488</c:v>
                </c:pt>
                <c:pt idx="65651">
                  <c:v>44.805832611053376</c:v>
                </c:pt>
                <c:pt idx="65652">
                  <c:v>22.404349304070202</c:v>
                </c:pt>
                <c:pt idx="65653">
                  <c:v>30.53116347320314</c:v>
                </c:pt>
                <c:pt idx="65654">
                  <c:v>32.378324310574094</c:v>
                </c:pt>
                <c:pt idx="65655">
                  <c:v>27.845606010288325</c:v>
                </c:pt>
                <c:pt idx="65656">
                  <c:v>30.807376372276359</c:v>
                </c:pt>
                <c:pt idx="65657">
                  <c:v>34.852027860124927</c:v>
                </c:pt>
                <c:pt idx="65658">
                  <c:v>22.014815727408362</c:v>
                </c:pt>
                <c:pt idx="65659">
                  <c:v>28.563883718700865</c:v>
                </c:pt>
                <c:pt idx="65660">
                  <c:v>26.628310892605857</c:v>
                </c:pt>
                <c:pt idx="65661">
                  <c:v>23.824181556038358</c:v>
                </c:pt>
                <c:pt idx="65662">
                  <c:v>43.438049704412435</c:v>
                </c:pt>
                <c:pt idx="65663">
                  <c:v>22.990636976601373</c:v>
                </c:pt>
                <c:pt idx="65664">
                  <c:v>29.721153938953645</c:v>
                </c:pt>
                <c:pt idx="65665">
                  <c:v>52.105698953668011</c:v>
                </c:pt>
                <c:pt idx="65666">
                  <c:v>25.472737150568438</c:v>
                </c:pt>
                <c:pt idx="65667">
                  <c:v>19.562239261894636</c:v>
                </c:pt>
                <c:pt idx="65668">
                  <c:v>38.104401963898908</c:v>
                </c:pt>
                <c:pt idx="65669">
                  <c:v>34.417093758812548</c:v>
                </c:pt>
                <c:pt idx="65670">
                  <c:v>24.582970097385136</c:v>
                </c:pt>
                <c:pt idx="65671">
                  <c:v>31.453623150799938</c:v>
                </c:pt>
                <c:pt idx="65672">
                  <c:v>22.288235646433463</c:v>
                </c:pt>
                <c:pt idx="65673">
                  <c:v>19.625150296386696</c:v>
                </c:pt>
                <c:pt idx="65674">
                  <c:v>19.127827392698705</c:v>
                </c:pt>
                <c:pt idx="65675">
                  <c:v>26.338260223493251</c:v>
                </c:pt>
                <c:pt idx="65676">
                  <c:v>30.452100458438878</c:v>
                </c:pt>
                <c:pt idx="65677">
                  <c:v>52.087751596732723</c:v>
                </c:pt>
                <c:pt idx="65678">
                  <c:v>45.231488594135762</c:v>
                </c:pt>
                <c:pt idx="65679">
                  <c:v>33.044344089201068</c:v>
                </c:pt>
                <c:pt idx="65680">
                  <c:v>21.583092195162834</c:v>
                </c:pt>
                <c:pt idx="65681">
                  <c:v>34.407265470709362</c:v>
                </c:pt>
                <c:pt idx="65682">
                  <c:v>20.003856884563135</c:v>
                </c:pt>
                <c:pt idx="65683">
                  <c:v>35.042836643433361</c:v>
                </c:pt>
                <c:pt idx="65684">
                  <c:v>23.652606103356383</c:v>
                </c:pt>
                <c:pt idx="65685">
                  <c:v>23.623215487439893</c:v>
                </c:pt>
                <c:pt idx="65686">
                  <c:v>49.025478650482114</c:v>
                </c:pt>
                <c:pt idx="65687">
                  <c:v>36.066365677860624</c:v>
                </c:pt>
                <c:pt idx="65688">
                  <c:v>21.108783657046303</c:v>
                </c:pt>
                <c:pt idx="65689">
                  <c:v>34.246734352907524</c:v>
                </c:pt>
                <c:pt idx="65690">
                  <c:v>28.304850170624579</c:v>
                </c:pt>
                <c:pt idx="65691">
                  <c:v>32.12061356317318</c:v>
                </c:pt>
                <c:pt idx="65692">
                  <c:v>51.636668063387106</c:v>
                </c:pt>
                <c:pt idx="65693">
                  <c:v>44.717486063356695</c:v>
                </c:pt>
                <c:pt idx="65694">
                  <c:v>38.664708789653872</c:v>
                </c:pt>
                <c:pt idx="65695">
                  <c:v>35.235760927105403</c:v>
                </c:pt>
                <c:pt idx="65696">
                  <c:v>36.017989808889745</c:v>
                </c:pt>
                <c:pt idx="65697">
                  <c:v>49.160469439989086</c:v>
                </c:pt>
                <c:pt idx="65698">
                  <c:v>50.927411244635287</c:v>
                </c:pt>
                <c:pt idx="65699">
                  <c:v>18.915744217140059</c:v>
                </c:pt>
                <c:pt idx="65700">
                  <c:v>32.163743457382886</c:v>
                </c:pt>
                <c:pt idx="65701">
                  <c:v>23.139260767144531</c:v>
                </c:pt>
                <c:pt idx="65702">
                  <c:v>38.511074790872982</c:v>
                </c:pt>
                <c:pt idx="65703">
                  <c:v>23.407908034420316</c:v>
                </c:pt>
                <c:pt idx="65704">
                  <c:v>24.644231685483859</c:v>
                </c:pt>
                <c:pt idx="65705">
                  <c:v>20.130611197317648</c:v>
                </c:pt>
                <c:pt idx="65706">
                  <c:v>43.932177880223946</c:v>
                </c:pt>
                <c:pt idx="65707">
                  <c:v>22.419275876798068</c:v>
                </c:pt>
                <c:pt idx="65708">
                  <c:v>42.326032626347477</c:v>
                </c:pt>
                <c:pt idx="65709">
                  <c:v>23.306047158473319</c:v>
                </c:pt>
                <c:pt idx="65710">
                  <c:v>19.642890966159843</c:v>
                </c:pt>
                <c:pt idx="65711">
                  <c:v>27.43433602792825</c:v>
                </c:pt>
                <c:pt idx="65712">
                  <c:v>40.170513722687744</c:v>
                </c:pt>
                <c:pt idx="65713">
                  <c:v>43.901646440766221</c:v>
                </c:pt>
                <c:pt idx="65714">
                  <c:v>26.762187845143114</c:v>
                </c:pt>
                <c:pt idx="65715">
                  <c:v>37.651766559560656</c:v>
                </c:pt>
                <c:pt idx="65716">
                  <c:v>30.644560244307939</c:v>
                </c:pt>
                <c:pt idx="65717">
                  <c:v>34.813995925647944</c:v>
                </c:pt>
                <c:pt idx="65718">
                  <c:v>29.231865883358289</c:v>
                </c:pt>
                <c:pt idx="65719">
                  <c:v>21.672917099856392</c:v>
                </c:pt>
                <c:pt idx="65720">
                  <c:v>41.029988331752818</c:v>
                </c:pt>
                <c:pt idx="65721">
                  <c:v>26.809674181843135</c:v>
                </c:pt>
                <c:pt idx="65722">
                  <c:v>27.667226668174237</c:v>
                </c:pt>
                <c:pt idx="65723">
                  <c:v>35.144854858186505</c:v>
                </c:pt>
                <c:pt idx="65724">
                  <c:v>30.729458154690114</c:v>
                </c:pt>
                <c:pt idx="65725">
                  <c:v>45.839733708331657</c:v>
                </c:pt>
                <c:pt idx="65726">
                  <c:v>46.647276339143978</c:v>
                </c:pt>
                <c:pt idx="65727">
                  <c:v>16.717804835241601</c:v>
                </c:pt>
                <c:pt idx="65728">
                  <c:v>29.291392796486363</c:v>
                </c:pt>
                <c:pt idx="65729">
                  <c:v>20.940132063848438</c:v>
                </c:pt>
                <c:pt idx="65730">
                  <c:v>31.210149958854565</c:v>
                </c:pt>
                <c:pt idx="65731">
                  <c:v>34.356968334762172</c:v>
                </c:pt>
                <c:pt idx="65732">
                  <c:v>27.076756586470683</c:v>
                </c:pt>
                <c:pt idx="65733">
                  <c:v>30.512930942447454</c:v>
                </c:pt>
                <c:pt idx="65734">
                  <c:v>24.025843453963098</c:v>
                </c:pt>
                <c:pt idx="65735">
                  <c:v>25.16723969099008</c:v>
                </c:pt>
                <c:pt idx="65736">
                  <c:v>27.183763929957831</c:v>
                </c:pt>
                <c:pt idx="65737">
                  <c:v>50.784131364553758</c:v>
                </c:pt>
                <c:pt idx="65738">
                  <c:v>29.450795503520144</c:v>
                </c:pt>
                <c:pt idx="65739">
                  <c:v>26.757516477724025</c:v>
                </c:pt>
                <c:pt idx="65740">
                  <c:v>25.488919140059931</c:v>
                </c:pt>
                <c:pt idx="65741">
                  <c:v>22.337085574386592</c:v>
                </c:pt>
                <c:pt idx="65742">
                  <c:v>24.295539873985511</c:v>
                </c:pt>
                <c:pt idx="65743">
                  <c:v>26.192128060834598</c:v>
                </c:pt>
                <c:pt idx="65744">
                  <c:v>27.163135214372168</c:v>
                </c:pt>
                <c:pt idx="65745">
                  <c:v>16.70311686573444</c:v>
                </c:pt>
                <c:pt idx="65746">
                  <c:v>31.876468406525166</c:v>
                </c:pt>
                <c:pt idx="65747">
                  <c:v>30.164353363236906</c:v>
                </c:pt>
                <c:pt idx="65748">
                  <c:v>38.052654192805782</c:v>
                </c:pt>
                <c:pt idx="65749">
                  <c:v>31.803897296579411</c:v>
                </c:pt>
                <c:pt idx="65750">
                  <c:v>24.986162950196025</c:v>
                </c:pt>
                <c:pt idx="65751">
                  <c:v>34.003403021849522</c:v>
                </c:pt>
                <c:pt idx="65752">
                  <c:v>46.72933305791971</c:v>
                </c:pt>
                <c:pt idx="65753">
                  <c:v>33.367827523494931</c:v>
                </c:pt>
                <c:pt idx="65754">
                  <c:v>36.590303834414307</c:v>
                </c:pt>
                <c:pt idx="65755">
                  <c:v>47.392568407693894</c:v>
                </c:pt>
                <c:pt idx="65756">
                  <c:v>24.864973541145183</c:v>
                </c:pt>
                <c:pt idx="65757">
                  <c:v>27.771852341256459</c:v>
                </c:pt>
                <c:pt idx="65758">
                  <c:v>46.103474567859664</c:v>
                </c:pt>
                <c:pt idx="65759">
                  <c:v>42.881307981517274</c:v>
                </c:pt>
                <c:pt idx="65760">
                  <c:v>20.412417804478256</c:v>
                </c:pt>
                <c:pt idx="65761">
                  <c:v>49.005640150204428</c:v>
                </c:pt>
                <c:pt idx="65762">
                  <c:v>24.755748858826788</c:v>
                </c:pt>
                <c:pt idx="65763">
                  <c:v>27.069158040181726</c:v>
                </c:pt>
                <c:pt idx="65764">
                  <c:v>31.676885167344579</c:v>
                </c:pt>
                <c:pt idx="65765">
                  <c:v>25.583446914636845</c:v>
                </c:pt>
                <c:pt idx="65766">
                  <c:v>24.737325114090769</c:v>
                </c:pt>
                <c:pt idx="65767">
                  <c:v>35.02779620453078</c:v>
                </c:pt>
                <c:pt idx="65768">
                  <c:v>26.628365745372975</c:v>
                </c:pt>
                <c:pt idx="65769">
                  <c:v>36.970368469083191</c:v>
                </c:pt>
                <c:pt idx="65770">
                  <c:v>23.050936715472531</c:v>
                </c:pt>
                <c:pt idx="65771">
                  <c:v>33.658143855818381</c:v>
                </c:pt>
                <c:pt idx="65772">
                  <c:v>23.584696418181036</c:v>
                </c:pt>
                <c:pt idx="65773">
                  <c:v>26.82290390990936</c:v>
                </c:pt>
                <c:pt idx="65774">
                  <c:v>17.350334710234282</c:v>
                </c:pt>
                <c:pt idx="65775">
                  <c:v>32.678129757696503</c:v>
                </c:pt>
                <c:pt idx="65776">
                  <c:v>21.995378871399364</c:v>
                </c:pt>
                <c:pt idx="65777">
                  <c:v>29.089324799221203</c:v>
                </c:pt>
                <c:pt idx="65778">
                  <c:v>17.322924109643147</c:v>
                </c:pt>
                <c:pt idx="65779">
                  <c:v>27.644706932525452</c:v>
                </c:pt>
                <c:pt idx="65780">
                  <c:v>20.112532284225228</c:v>
                </c:pt>
                <c:pt idx="65781">
                  <c:v>28.452664671565834</c:v>
                </c:pt>
                <c:pt idx="65782">
                  <c:v>18.057549520677565</c:v>
                </c:pt>
                <c:pt idx="65783">
                  <c:v>22.948582515885555</c:v>
                </c:pt>
                <c:pt idx="65784">
                  <c:v>41.992347009082444</c:v>
                </c:pt>
                <c:pt idx="65785">
                  <c:v>28.04783673473332</c:v>
                </c:pt>
                <c:pt idx="65786">
                  <c:v>20.629665808567356</c:v>
                </c:pt>
                <c:pt idx="65787">
                  <c:v>30.554471492131452</c:v>
                </c:pt>
                <c:pt idx="65788">
                  <c:v>27.109900542014003</c:v>
                </c:pt>
                <c:pt idx="65789">
                  <c:v>22.74949663654575</c:v>
                </c:pt>
                <c:pt idx="65790">
                  <c:v>24.357142214997687</c:v>
                </c:pt>
                <c:pt idx="65791">
                  <c:v>38.052596396357387</c:v>
                </c:pt>
                <c:pt idx="65792">
                  <c:v>18.697767807007217</c:v>
                </c:pt>
                <c:pt idx="65793">
                  <c:v>40.834176690540581</c:v>
                </c:pt>
                <c:pt idx="65794">
                  <c:v>25.838682976438797</c:v>
                </c:pt>
                <c:pt idx="65795">
                  <c:v>38.711837750938315</c:v>
                </c:pt>
                <c:pt idx="65796">
                  <c:v>22.798517835481665</c:v>
                </c:pt>
                <c:pt idx="65797">
                  <c:v>51.394091384200003</c:v>
                </c:pt>
                <c:pt idx="65798">
                  <c:v>28.624069196684381</c:v>
                </c:pt>
                <c:pt idx="65799">
                  <c:v>25.559839606298063</c:v>
                </c:pt>
                <c:pt idx="65800">
                  <c:v>28.698686265285904</c:v>
                </c:pt>
                <c:pt idx="65801">
                  <c:v>20.907657438507947</c:v>
                </c:pt>
                <c:pt idx="65802">
                  <c:v>23.588685025834462</c:v>
                </c:pt>
                <c:pt idx="65803">
                  <c:v>23.931004702341401</c:v>
                </c:pt>
                <c:pt idx="65804">
                  <c:v>52.460519190970743</c:v>
                </c:pt>
                <c:pt idx="65805">
                  <c:v>27.506647880691112</c:v>
                </c:pt>
                <c:pt idx="65806">
                  <c:v>27.621812163293473</c:v>
                </c:pt>
                <c:pt idx="65807">
                  <c:v>32.441704681602445</c:v>
                </c:pt>
                <c:pt idx="65808">
                  <c:v>36.185578347201115</c:v>
                </c:pt>
                <c:pt idx="65809">
                  <c:v>24.87500072645453</c:v>
                </c:pt>
                <c:pt idx="65810">
                  <c:v>43.560513368132604</c:v>
                </c:pt>
                <c:pt idx="65811">
                  <c:v>39.613346622057122</c:v>
                </c:pt>
                <c:pt idx="65812">
                  <c:v>25.534782886814426</c:v>
                </c:pt>
                <c:pt idx="65813">
                  <c:v>47.745014938902457</c:v>
                </c:pt>
                <c:pt idx="65814">
                  <c:v>43.361366996403532</c:v>
                </c:pt>
                <c:pt idx="65815">
                  <c:v>28.729457679653571</c:v>
                </c:pt>
                <c:pt idx="65816">
                  <c:v>30.821271556922198</c:v>
                </c:pt>
                <c:pt idx="65817">
                  <c:v>27.538701997303058</c:v>
                </c:pt>
                <c:pt idx="65818">
                  <c:v>23.436349083436241</c:v>
                </c:pt>
                <c:pt idx="65819">
                  <c:v>29.730022435141663</c:v>
                </c:pt>
                <c:pt idx="65820">
                  <c:v>27.30159793494056</c:v>
                </c:pt>
                <c:pt idx="65821">
                  <c:v>26.748957654150729</c:v>
                </c:pt>
                <c:pt idx="65822">
                  <c:v>33.323554338908586</c:v>
                </c:pt>
                <c:pt idx="65823">
                  <c:v>42.202364121709621</c:v>
                </c:pt>
                <c:pt idx="65824">
                  <c:v>27.916675807731625</c:v>
                </c:pt>
                <c:pt idx="65825">
                  <c:v>22.927241683094952</c:v>
                </c:pt>
                <c:pt idx="65826">
                  <c:v>25.519928348547456</c:v>
                </c:pt>
                <c:pt idx="65827">
                  <c:v>43.094228426337139</c:v>
                </c:pt>
                <c:pt idx="65828">
                  <c:v>18.77618230213</c:v>
                </c:pt>
                <c:pt idx="65829">
                  <c:v>29.730943348483315</c:v>
                </c:pt>
                <c:pt idx="65830">
                  <c:v>31.08700130328813</c:v>
                </c:pt>
                <c:pt idx="65831">
                  <c:v>28.075391620045028</c:v>
                </c:pt>
                <c:pt idx="65832">
                  <c:v>28.107209333796952</c:v>
                </c:pt>
                <c:pt idx="65833">
                  <c:v>22.148781524549449</c:v>
                </c:pt>
                <c:pt idx="65834">
                  <c:v>23.555291433971796</c:v>
                </c:pt>
                <c:pt idx="65835">
                  <c:v>20.483896838416811</c:v>
                </c:pt>
                <c:pt idx="65836">
                  <c:v>18.475949422098612</c:v>
                </c:pt>
                <c:pt idx="65837">
                  <c:v>18.51282823877041</c:v>
                </c:pt>
                <c:pt idx="65838">
                  <c:v>37.928273559643308</c:v>
                </c:pt>
                <c:pt idx="65839">
                  <c:v>34.991628007381394</c:v>
                </c:pt>
                <c:pt idx="65840">
                  <c:v>26.005627587016654</c:v>
                </c:pt>
                <c:pt idx="65841">
                  <c:v>18.018066613386317</c:v>
                </c:pt>
                <c:pt idx="65842">
                  <c:v>56.658291255314815</c:v>
                </c:pt>
                <c:pt idx="65843">
                  <c:v>29.150394457874423</c:v>
                </c:pt>
                <c:pt idx="65844">
                  <c:v>37.0878521410133</c:v>
                </c:pt>
                <c:pt idx="65845">
                  <c:v>30.316536961885049</c:v>
                </c:pt>
                <c:pt idx="65846">
                  <c:v>59.748000982274249</c:v>
                </c:pt>
                <c:pt idx="65847">
                  <c:v>39.474047942552929</c:v>
                </c:pt>
                <c:pt idx="65848">
                  <c:v>19.899492685003171</c:v>
                </c:pt>
                <c:pt idx="65849">
                  <c:v>49.290238651705721</c:v>
                </c:pt>
                <c:pt idx="65850">
                  <c:v>28.206904977691622</c:v>
                </c:pt>
                <c:pt idx="65851">
                  <c:v>35.814999712883292</c:v>
                </c:pt>
                <c:pt idx="65852">
                  <c:v>33.671548259616884</c:v>
                </c:pt>
                <c:pt idx="65853">
                  <c:v>45.765374992878016</c:v>
                </c:pt>
                <c:pt idx="65854">
                  <c:v>47.11161008832935</c:v>
                </c:pt>
                <c:pt idx="65855">
                  <c:v>30.540452212905308</c:v>
                </c:pt>
                <c:pt idx="65856">
                  <c:v>23.949673720207667</c:v>
                </c:pt>
                <c:pt idx="65857">
                  <c:v>41.271555174250466</c:v>
                </c:pt>
                <c:pt idx="65858">
                  <c:v>32.471414301384634</c:v>
                </c:pt>
                <c:pt idx="65859">
                  <c:v>23.530949776314081</c:v>
                </c:pt>
                <c:pt idx="65860">
                  <c:v>21.979410082690411</c:v>
                </c:pt>
                <c:pt idx="65861">
                  <c:v>22.226763375169259</c:v>
                </c:pt>
                <c:pt idx="65862">
                  <c:v>60.147463404548894</c:v>
                </c:pt>
                <c:pt idx="65863">
                  <c:v>19.430009840683223</c:v>
                </c:pt>
                <c:pt idx="65864">
                  <c:v>47.49768596342679</c:v>
                </c:pt>
                <c:pt idx="65865">
                  <c:v>30.493109630295784</c:v>
                </c:pt>
                <c:pt idx="65866">
                  <c:v>28.972077844590569</c:v>
                </c:pt>
                <c:pt idx="65867">
                  <c:v>42.242509110288751</c:v>
                </c:pt>
                <c:pt idx="65868">
                  <c:v>32.718063423389083</c:v>
                </c:pt>
                <c:pt idx="65869">
                  <c:v>22.111595388287597</c:v>
                </c:pt>
                <c:pt idx="65870">
                  <c:v>15.771808006309008</c:v>
                </c:pt>
                <c:pt idx="65871">
                  <c:v>49.19630477156192</c:v>
                </c:pt>
                <c:pt idx="65872">
                  <c:v>24.331198300047468</c:v>
                </c:pt>
                <c:pt idx="65873">
                  <c:v>18.550711111783649</c:v>
                </c:pt>
                <c:pt idx="65874">
                  <c:v>22.951165444151737</c:v>
                </c:pt>
                <c:pt idx="65875">
                  <c:v>26.954381559891971</c:v>
                </c:pt>
                <c:pt idx="65876">
                  <c:v>29.111967317772379</c:v>
                </c:pt>
                <c:pt idx="65877">
                  <c:v>28.746531377934502</c:v>
                </c:pt>
                <c:pt idx="65878">
                  <c:v>23.957249507591154</c:v>
                </c:pt>
                <c:pt idx="65879">
                  <c:v>29.682310770402783</c:v>
                </c:pt>
                <c:pt idx="65880">
                  <c:v>17.667903735342701</c:v>
                </c:pt>
                <c:pt idx="65881">
                  <c:v>52.133711508952608</c:v>
                </c:pt>
                <c:pt idx="65882">
                  <c:v>29.68208494789609</c:v>
                </c:pt>
                <c:pt idx="65883">
                  <c:v>26.891265699200108</c:v>
                </c:pt>
                <c:pt idx="65884">
                  <c:v>26.467182935521237</c:v>
                </c:pt>
                <c:pt idx="65885">
                  <c:v>27.09934751651927</c:v>
                </c:pt>
                <c:pt idx="65886">
                  <c:v>53.315432752750731</c:v>
                </c:pt>
                <c:pt idx="65887">
                  <c:v>32.067582616091777</c:v>
                </c:pt>
                <c:pt idx="65888">
                  <c:v>25.043453185556007</c:v>
                </c:pt>
                <c:pt idx="65889">
                  <c:v>51.3549274409486</c:v>
                </c:pt>
                <c:pt idx="65890">
                  <c:v>33.211283927966711</c:v>
                </c:pt>
                <c:pt idx="65891">
                  <c:v>61.882981293660563</c:v>
                </c:pt>
                <c:pt idx="65892">
                  <c:v>65.223947980380288</c:v>
                </c:pt>
                <c:pt idx="65893">
                  <c:v>19.84907738303389</c:v>
                </c:pt>
                <c:pt idx="65894">
                  <c:v>28.108708096544603</c:v>
                </c:pt>
                <c:pt idx="65895">
                  <c:v>24.80793856287217</c:v>
                </c:pt>
                <c:pt idx="65896">
                  <c:v>31.554455770306006</c:v>
                </c:pt>
                <c:pt idx="65897">
                  <c:v>26.730598255094645</c:v>
                </c:pt>
                <c:pt idx="65898">
                  <c:v>27.379476331393342</c:v>
                </c:pt>
                <c:pt idx="65899">
                  <c:v>30.983614458504498</c:v>
                </c:pt>
                <c:pt idx="65900">
                  <c:v>24.986056535315821</c:v>
                </c:pt>
                <c:pt idx="65901">
                  <c:v>53.126844902471959</c:v>
                </c:pt>
                <c:pt idx="65902">
                  <c:v>26.184555732884171</c:v>
                </c:pt>
                <c:pt idx="65903">
                  <c:v>16.544696569075118</c:v>
                </c:pt>
                <c:pt idx="65904">
                  <c:v>31.122729220976893</c:v>
                </c:pt>
                <c:pt idx="65905">
                  <c:v>17.612165883486565</c:v>
                </c:pt>
                <c:pt idx="65906">
                  <c:v>35.488011199477931</c:v>
                </c:pt>
                <c:pt idx="65907">
                  <c:v>23.655008053596553</c:v>
                </c:pt>
                <c:pt idx="65908">
                  <c:v>23.865450077819041</c:v>
                </c:pt>
                <c:pt idx="65909">
                  <c:v>28.226078911014522</c:v>
                </c:pt>
                <c:pt idx="65910">
                  <c:v>51.735497425165555</c:v>
                </c:pt>
                <c:pt idx="65911">
                  <c:v>51.983913286127411</c:v>
                </c:pt>
                <c:pt idx="65912">
                  <c:v>33.263045739485122</c:v>
                </c:pt>
                <c:pt idx="65913">
                  <c:v>42.577441642408246</c:v>
                </c:pt>
                <c:pt idx="65914">
                  <c:v>29.453471948365543</c:v>
                </c:pt>
                <c:pt idx="65915">
                  <c:v>48.905495305393977</c:v>
                </c:pt>
                <c:pt idx="65916">
                  <c:v>32.640532512269758</c:v>
                </c:pt>
                <c:pt idx="65917">
                  <c:v>27.946855405894681</c:v>
                </c:pt>
                <c:pt idx="65918">
                  <c:v>23.504426881779782</c:v>
                </c:pt>
                <c:pt idx="65919">
                  <c:v>32.845385092466628</c:v>
                </c:pt>
                <c:pt idx="65920">
                  <c:v>28.14478923024458</c:v>
                </c:pt>
                <c:pt idx="65921">
                  <c:v>21.778359882429825</c:v>
                </c:pt>
                <c:pt idx="65922">
                  <c:v>58.031057974907135</c:v>
                </c:pt>
                <c:pt idx="65923">
                  <c:v>32.588868718061846</c:v>
                </c:pt>
                <c:pt idx="65924">
                  <c:v>22.901448528007542</c:v>
                </c:pt>
                <c:pt idx="65925">
                  <c:v>39.041752494045767</c:v>
                </c:pt>
                <c:pt idx="65926">
                  <c:v>45.404553348299871</c:v>
                </c:pt>
                <c:pt idx="65927">
                  <c:v>26.317561167999031</c:v>
                </c:pt>
                <c:pt idx="65928">
                  <c:v>19.172113930103539</c:v>
                </c:pt>
                <c:pt idx="65929">
                  <c:v>39.12394750045722</c:v>
                </c:pt>
                <c:pt idx="65930">
                  <c:v>26.574994437876899</c:v>
                </c:pt>
                <c:pt idx="65931">
                  <c:v>42.967719242095633</c:v>
                </c:pt>
                <c:pt idx="65932">
                  <c:v>40.884940239231504</c:v>
                </c:pt>
                <c:pt idx="65933">
                  <c:v>30.057049583548952</c:v>
                </c:pt>
                <c:pt idx="65934">
                  <c:v>51.871530333580857</c:v>
                </c:pt>
                <c:pt idx="65935">
                  <c:v>15.51734861900702</c:v>
                </c:pt>
                <c:pt idx="65936">
                  <c:v>49.741471922637324</c:v>
                </c:pt>
                <c:pt idx="65937">
                  <c:v>26.068663555469399</c:v>
                </c:pt>
                <c:pt idx="65938">
                  <c:v>38.852459411539641</c:v>
                </c:pt>
                <c:pt idx="65939">
                  <c:v>23.293312102177268</c:v>
                </c:pt>
                <c:pt idx="65940">
                  <c:v>24.32995126512974</c:v>
                </c:pt>
                <c:pt idx="65941">
                  <c:v>35.019160470596582</c:v>
                </c:pt>
                <c:pt idx="65942">
                  <c:v>31.354744867442392</c:v>
                </c:pt>
                <c:pt idx="65943">
                  <c:v>39.131612123094328</c:v>
                </c:pt>
                <c:pt idx="65944">
                  <c:v>20.492516557834943</c:v>
                </c:pt>
                <c:pt idx="65945">
                  <c:v>24.533681472950139</c:v>
                </c:pt>
                <c:pt idx="65946">
                  <c:v>24.001849330196471</c:v>
                </c:pt>
                <c:pt idx="65947">
                  <c:v>25.685298734046082</c:v>
                </c:pt>
                <c:pt idx="65948">
                  <c:v>25.249998589171355</c:v>
                </c:pt>
                <c:pt idx="65949">
                  <c:v>29.555045678299599</c:v>
                </c:pt>
                <c:pt idx="65950">
                  <c:v>23.390320192871265</c:v>
                </c:pt>
                <c:pt idx="65951">
                  <c:v>35.336679164338904</c:v>
                </c:pt>
                <c:pt idx="65952">
                  <c:v>28.086478113502338</c:v>
                </c:pt>
                <c:pt idx="65953">
                  <c:v>30.603552341005564</c:v>
                </c:pt>
                <c:pt idx="65954">
                  <c:v>48.815174099875847</c:v>
                </c:pt>
                <c:pt idx="65955">
                  <c:v>21.396392405594408</c:v>
                </c:pt>
                <c:pt idx="65956">
                  <c:v>25.565483021931854</c:v>
                </c:pt>
                <c:pt idx="65957">
                  <c:v>35.72182894466949</c:v>
                </c:pt>
                <c:pt idx="65958">
                  <c:v>43.375728789810651</c:v>
                </c:pt>
                <c:pt idx="65959">
                  <c:v>31.861226758108621</c:v>
                </c:pt>
                <c:pt idx="65960">
                  <c:v>28.507384567449606</c:v>
                </c:pt>
                <c:pt idx="65961">
                  <c:v>28.723263572781612</c:v>
                </c:pt>
                <c:pt idx="65962">
                  <c:v>49.774338322718442</c:v>
                </c:pt>
                <c:pt idx="65963">
                  <c:v>38.424810317458608</c:v>
                </c:pt>
                <c:pt idx="65964">
                  <c:v>40.640188441083197</c:v>
                </c:pt>
                <c:pt idx="65965">
                  <c:v>21.641469251526342</c:v>
                </c:pt>
                <c:pt idx="65966">
                  <c:v>29.677354342748202</c:v>
                </c:pt>
                <c:pt idx="65967">
                  <c:v>43.295862168546023</c:v>
                </c:pt>
                <c:pt idx="65968">
                  <c:v>25.539747682175729</c:v>
                </c:pt>
                <c:pt idx="65969">
                  <c:v>42.466178367606958</c:v>
                </c:pt>
                <c:pt idx="65970">
                  <c:v>27.074712717828344</c:v>
                </c:pt>
                <c:pt idx="65971">
                  <c:v>22.760520440402864</c:v>
                </c:pt>
                <c:pt idx="65972">
                  <c:v>21.48097461280382</c:v>
                </c:pt>
                <c:pt idx="65973">
                  <c:v>44.484703873683685</c:v>
                </c:pt>
                <c:pt idx="65974">
                  <c:v>26.754793223702922</c:v>
                </c:pt>
                <c:pt idx="65975">
                  <c:v>21.280162486986324</c:v>
                </c:pt>
                <c:pt idx="65976">
                  <c:v>17.158889150185605</c:v>
                </c:pt>
                <c:pt idx="65977">
                  <c:v>20.110062418935609</c:v>
                </c:pt>
                <c:pt idx="65978">
                  <c:v>45.470233617727622</c:v>
                </c:pt>
                <c:pt idx="65979">
                  <c:v>41.931890909884068</c:v>
                </c:pt>
                <c:pt idx="65980">
                  <c:v>22.260603967145862</c:v>
                </c:pt>
                <c:pt idx="65981">
                  <c:v>21.904405854485677</c:v>
                </c:pt>
                <c:pt idx="65982">
                  <c:v>42.456684408521951</c:v>
                </c:pt>
                <c:pt idx="65983">
                  <c:v>28.826905412239956</c:v>
                </c:pt>
                <c:pt idx="65984">
                  <c:v>28.25905969333926</c:v>
                </c:pt>
                <c:pt idx="65985">
                  <c:v>24.416202646984523</c:v>
                </c:pt>
                <c:pt idx="65986">
                  <c:v>39.898286578904589</c:v>
                </c:pt>
                <c:pt idx="65987">
                  <c:v>55.457551153156345</c:v>
                </c:pt>
                <c:pt idx="65988">
                  <c:v>29.036073956841829</c:v>
                </c:pt>
                <c:pt idx="65989">
                  <c:v>27.430395856451014</c:v>
                </c:pt>
                <c:pt idx="65990">
                  <c:v>34.305564046384973</c:v>
                </c:pt>
                <c:pt idx="65991">
                  <c:v>21.548921410327381</c:v>
                </c:pt>
                <c:pt idx="65992">
                  <c:v>32.856328035195872</c:v>
                </c:pt>
                <c:pt idx="65993">
                  <c:v>30.417972660384006</c:v>
                </c:pt>
                <c:pt idx="65994">
                  <c:v>26.556649895911878</c:v>
                </c:pt>
                <c:pt idx="65995">
                  <c:v>34.10323623199227</c:v>
                </c:pt>
                <c:pt idx="65996">
                  <c:v>25.315198367780361</c:v>
                </c:pt>
                <c:pt idx="65997">
                  <c:v>27.001238441179424</c:v>
                </c:pt>
                <c:pt idx="65998">
                  <c:v>22.538832685378814</c:v>
                </c:pt>
                <c:pt idx="65999">
                  <c:v>22.398425384805154</c:v>
                </c:pt>
                <c:pt idx="66000">
                  <c:v>36.904924350773477</c:v>
                </c:pt>
                <c:pt idx="66001">
                  <c:v>19.050149311769381</c:v>
                </c:pt>
                <c:pt idx="66002">
                  <c:v>48.944001181855072</c:v>
                </c:pt>
                <c:pt idx="66003">
                  <c:v>31.05904862599338</c:v>
                </c:pt>
                <c:pt idx="66004">
                  <c:v>30.393833457661117</c:v>
                </c:pt>
                <c:pt idx="66005">
                  <c:v>23.450705750608471</c:v>
                </c:pt>
                <c:pt idx="66006">
                  <c:v>24.168608345583699</c:v>
                </c:pt>
                <c:pt idx="66007">
                  <c:v>30.564141805341244</c:v>
                </c:pt>
                <c:pt idx="66008">
                  <c:v>20.728589687753406</c:v>
                </c:pt>
                <c:pt idx="66009">
                  <c:v>40.264025776004964</c:v>
                </c:pt>
                <c:pt idx="66010">
                  <c:v>36.455726062329155</c:v>
                </c:pt>
                <c:pt idx="66011">
                  <c:v>36.916091998718009</c:v>
                </c:pt>
                <c:pt idx="66012">
                  <c:v>27.185440143778905</c:v>
                </c:pt>
                <c:pt idx="66013">
                  <c:v>20.059057394870152</c:v>
                </c:pt>
                <c:pt idx="66014">
                  <c:v>33.444887107424641</c:v>
                </c:pt>
                <c:pt idx="66015">
                  <c:v>22.876586024096959</c:v>
                </c:pt>
                <c:pt idx="66016">
                  <c:v>36.893888615844659</c:v>
                </c:pt>
                <c:pt idx="66017">
                  <c:v>23.714409933687811</c:v>
                </c:pt>
                <c:pt idx="66018">
                  <c:v>27.669076898051799</c:v>
                </c:pt>
                <c:pt idx="66019">
                  <c:v>39.81634530024008</c:v>
                </c:pt>
                <c:pt idx="66020">
                  <c:v>35.693920402607802</c:v>
                </c:pt>
                <c:pt idx="66021">
                  <c:v>26.536495508915689</c:v>
                </c:pt>
                <c:pt idx="66022">
                  <c:v>23.381952467197468</c:v>
                </c:pt>
                <c:pt idx="66023">
                  <c:v>47.345344117104034</c:v>
                </c:pt>
                <c:pt idx="66024">
                  <c:v>25.482811523359977</c:v>
                </c:pt>
                <c:pt idx="66025">
                  <c:v>31.919665677104888</c:v>
                </c:pt>
                <c:pt idx="66026">
                  <c:v>21.290025248731116</c:v>
                </c:pt>
                <c:pt idx="66027">
                  <c:v>24.290262044337343</c:v>
                </c:pt>
                <c:pt idx="66028">
                  <c:v>41.476635256333942</c:v>
                </c:pt>
                <c:pt idx="66029">
                  <c:v>23.467441733068803</c:v>
                </c:pt>
                <c:pt idx="66030">
                  <c:v>43.238826953537504</c:v>
                </c:pt>
                <c:pt idx="66031">
                  <c:v>18.43939240150916</c:v>
                </c:pt>
                <c:pt idx="66032">
                  <c:v>23.164219920225182</c:v>
                </c:pt>
                <c:pt idx="66033">
                  <c:v>19.361366289335724</c:v>
                </c:pt>
                <c:pt idx="66034">
                  <c:v>27.996321649100643</c:v>
                </c:pt>
                <c:pt idx="66035">
                  <c:v>43.536346221449946</c:v>
                </c:pt>
                <c:pt idx="66036">
                  <c:v>35.215798426505728</c:v>
                </c:pt>
                <c:pt idx="66037">
                  <c:v>28.024797887699901</c:v>
                </c:pt>
                <c:pt idx="66038">
                  <c:v>28.957266928941412</c:v>
                </c:pt>
                <c:pt idx="66039">
                  <c:v>45.847455334857273</c:v>
                </c:pt>
                <c:pt idx="66040">
                  <c:v>21.586170879424117</c:v>
                </c:pt>
                <c:pt idx="66041">
                  <c:v>29.089009094068764</c:v>
                </c:pt>
                <c:pt idx="66042">
                  <c:v>40.243312067708096</c:v>
                </c:pt>
                <c:pt idx="66043">
                  <c:v>35.210576503979354</c:v>
                </c:pt>
                <c:pt idx="66044">
                  <c:v>31.97039495773738</c:v>
                </c:pt>
                <c:pt idx="66045">
                  <c:v>29.059373317065766</c:v>
                </c:pt>
                <c:pt idx="66046">
                  <c:v>35.465525176943004</c:v>
                </c:pt>
                <c:pt idx="66047">
                  <c:v>32.995452602935117</c:v>
                </c:pt>
                <c:pt idx="66048">
                  <c:v>46.33650091287884</c:v>
                </c:pt>
                <c:pt idx="66049">
                  <c:v>22.458570956810135</c:v>
                </c:pt>
                <c:pt idx="66050">
                  <c:v>35.91049113686698</c:v>
                </c:pt>
                <c:pt idx="66051">
                  <c:v>24.590684643075846</c:v>
                </c:pt>
                <c:pt idx="66052">
                  <c:v>26.326967393077851</c:v>
                </c:pt>
                <c:pt idx="66053">
                  <c:v>20.530992008982263</c:v>
                </c:pt>
                <c:pt idx="66054">
                  <c:v>30.092583445205783</c:v>
                </c:pt>
                <c:pt idx="66055">
                  <c:v>21.307888430655975</c:v>
                </c:pt>
                <c:pt idx="66056">
                  <c:v>35.731737012788123</c:v>
                </c:pt>
                <c:pt idx="66057">
                  <c:v>34.33501227917322</c:v>
                </c:pt>
                <c:pt idx="66058">
                  <c:v>24.574175961707265</c:v>
                </c:pt>
                <c:pt idx="66059">
                  <c:v>29.413772853090901</c:v>
                </c:pt>
                <c:pt idx="66060">
                  <c:v>25.433843805568323</c:v>
                </c:pt>
                <c:pt idx="66061">
                  <c:v>24.201374549554728</c:v>
                </c:pt>
                <c:pt idx="66062">
                  <c:v>56.054365887727492</c:v>
                </c:pt>
                <c:pt idx="66063">
                  <c:v>33.846531075496173</c:v>
                </c:pt>
                <c:pt idx="66064">
                  <c:v>29.025993920879785</c:v>
                </c:pt>
                <c:pt idx="66065">
                  <c:v>25.307736070098141</c:v>
                </c:pt>
                <c:pt idx="66066">
                  <c:v>22.505992223625071</c:v>
                </c:pt>
                <c:pt idx="66067">
                  <c:v>30.424303159547982</c:v>
                </c:pt>
                <c:pt idx="66068">
                  <c:v>22.951654524333946</c:v>
                </c:pt>
                <c:pt idx="66069">
                  <c:v>27.102549264243308</c:v>
                </c:pt>
                <c:pt idx="66070">
                  <c:v>20.824694327697522</c:v>
                </c:pt>
                <c:pt idx="66071">
                  <c:v>36.623604184426327</c:v>
                </c:pt>
                <c:pt idx="66072">
                  <c:v>47.960744466736941</c:v>
                </c:pt>
                <c:pt idx="66073">
                  <c:v>26.366322160704573</c:v>
                </c:pt>
                <c:pt idx="66074">
                  <c:v>30.500402018932306</c:v>
                </c:pt>
                <c:pt idx="66075">
                  <c:v>30.224777378569463</c:v>
                </c:pt>
                <c:pt idx="66076">
                  <c:v>17.180583443949416</c:v>
                </c:pt>
                <c:pt idx="66077">
                  <c:v>54.52666211165414</c:v>
                </c:pt>
                <c:pt idx="66078">
                  <c:v>25.484908924814253</c:v>
                </c:pt>
                <c:pt idx="66079">
                  <c:v>33.384808027505478</c:v>
                </c:pt>
                <c:pt idx="66080">
                  <c:v>39.426144284055241</c:v>
                </c:pt>
                <c:pt idx="66081">
                  <c:v>45.105398535409201</c:v>
                </c:pt>
                <c:pt idx="66082">
                  <c:v>16.58115379948303</c:v>
                </c:pt>
                <c:pt idx="66083">
                  <c:v>33.506336752373919</c:v>
                </c:pt>
                <c:pt idx="66084">
                  <c:v>24.870789922013927</c:v>
                </c:pt>
                <c:pt idx="66085">
                  <c:v>23.152363310953994</c:v>
                </c:pt>
                <c:pt idx="66086">
                  <c:v>20.473446307532662</c:v>
                </c:pt>
                <c:pt idx="66087">
                  <c:v>22.518870162756745</c:v>
                </c:pt>
                <c:pt idx="66088">
                  <c:v>26.692676361754831</c:v>
                </c:pt>
                <c:pt idx="66089">
                  <c:v>30.486255305710422</c:v>
                </c:pt>
                <c:pt idx="66090">
                  <c:v>24.727726615246155</c:v>
                </c:pt>
                <c:pt idx="66091">
                  <c:v>37.89042908560041</c:v>
                </c:pt>
                <c:pt idx="66092">
                  <c:v>32.169352416550133</c:v>
                </c:pt>
                <c:pt idx="66093">
                  <c:v>33.679573804508884</c:v>
                </c:pt>
                <c:pt idx="66094">
                  <c:v>24.791130032078186</c:v>
                </c:pt>
                <c:pt idx="66095">
                  <c:v>41.197886663386164</c:v>
                </c:pt>
                <c:pt idx="66096">
                  <c:v>19.066190765758932</c:v>
                </c:pt>
                <c:pt idx="66097">
                  <c:v>47.570745893832395</c:v>
                </c:pt>
                <c:pt idx="66098">
                  <c:v>24.932463093626691</c:v>
                </c:pt>
                <c:pt idx="66099">
                  <c:v>49.766545039550344</c:v>
                </c:pt>
                <c:pt idx="66100">
                  <c:v>49.89762506399974</c:v>
                </c:pt>
                <c:pt idx="66101">
                  <c:v>32.673998968481065</c:v>
                </c:pt>
                <c:pt idx="66102">
                  <c:v>28.631491379694332</c:v>
                </c:pt>
                <c:pt idx="66103">
                  <c:v>25.921997298589957</c:v>
                </c:pt>
                <c:pt idx="66104">
                  <c:v>26.850996317726093</c:v>
                </c:pt>
                <c:pt idx="66105">
                  <c:v>22.388041200566875</c:v>
                </c:pt>
                <c:pt idx="66106">
                  <c:v>28.52680765996498</c:v>
                </c:pt>
                <c:pt idx="66107">
                  <c:v>17.158390622564699</c:v>
                </c:pt>
                <c:pt idx="66108">
                  <c:v>31.239014474621165</c:v>
                </c:pt>
                <c:pt idx="66109">
                  <c:v>43.368766463463444</c:v>
                </c:pt>
                <c:pt idx="66110">
                  <c:v>24.871471369567704</c:v>
                </c:pt>
                <c:pt idx="66111">
                  <c:v>34.817950642442447</c:v>
                </c:pt>
                <c:pt idx="66112">
                  <c:v>32.253039002742881</c:v>
                </c:pt>
                <c:pt idx="66113">
                  <c:v>31.202790705924816</c:v>
                </c:pt>
                <c:pt idx="66114">
                  <c:v>48.885106544100751</c:v>
                </c:pt>
                <c:pt idx="66115">
                  <c:v>57.54550429300302</c:v>
                </c:pt>
                <c:pt idx="66116">
                  <c:v>47.038724429087857</c:v>
                </c:pt>
                <c:pt idx="66117">
                  <c:v>55.686996294854914</c:v>
                </c:pt>
                <c:pt idx="66118">
                  <c:v>27.69692805289553</c:v>
                </c:pt>
                <c:pt idx="66119">
                  <c:v>50.064399982250627</c:v>
                </c:pt>
                <c:pt idx="66120">
                  <c:v>24.423507053779158</c:v>
                </c:pt>
                <c:pt idx="66121">
                  <c:v>28.146984567899768</c:v>
                </c:pt>
                <c:pt idx="66122">
                  <c:v>50.003580986142985</c:v>
                </c:pt>
                <c:pt idx="66123">
                  <c:v>27.165663570691979</c:v>
                </c:pt>
                <c:pt idx="66124">
                  <c:v>31.517610968487183</c:v>
                </c:pt>
                <c:pt idx="66125">
                  <c:v>26.64038593273569</c:v>
                </c:pt>
                <c:pt idx="66126">
                  <c:v>17.865749254686481</c:v>
                </c:pt>
                <c:pt idx="66127">
                  <c:v>50.666633551465381</c:v>
                </c:pt>
                <c:pt idx="66128">
                  <c:v>25.198532324167768</c:v>
                </c:pt>
                <c:pt idx="66129">
                  <c:v>31.01766730353895</c:v>
                </c:pt>
                <c:pt idx="66130">
                  <c:v>47.099081032780184</c:v>
                </c:pt>
                <c:pt idx="66131">
                  <c:v>47.690509910895244</c:v>
                </c:pt>
                <c:pt idx="66132">
                  <c:v>36.824188246110374</c:v>
                </c:pt>
                <c:pt idx="66133">
                  <c:v>49.288201106315483</c:v>
                </c:pt>
                <c:pt idx="66134">
                  <c:v>44.958733636916598</c:v>
                </c:pt>
                <c:pt idx="66135">
                  <c:v>29.462805590698366</c:v>
                </c:pt>
                <c:pt idx="66136">
                  <c:v>53.989408130870316</c:v>
                </c:pt>
                <c:pt idx="66137">
                  <c:v>28.11803071042273</c:v>
                </c:pt>
                <c:pt idx="66138">
                  <c:v>24.59260467657716</c:v>
                </c:pt>
                <c:pt idx="66139">
                  <c:v>25.958408403802157</c:v>
                </c:pt>
                <c:pt idx="66140">
                  <c:v>25.219499359435844</c:v>
                </c:pt>
                <c:pt idx="66141">
                  <c:v>22.190426103437531</c:v>
                </c:pt>
                <c:pt idx="66142">
                  <c:v>45.760770694985652</c:v>
                </c:pt>
                <c:pt idx="66143">
                  <c:v>20.626206849138271</c:v>
                </c:pt>
                <c:pt idx="66144">
                  <c:v>48.752543712909258</c:v>
                </c:pt>
                <c:pt idx="66145">
                  <c:v>46.237578890929477</c:v>
                </c:pt>
                <c:pt idx="66146">
                  <c:v>23.827621482427844</c:v>
                </c:pt>
                <c:pt idx="66147">
                  <c:v>29.86190037623539</c:v>
                </c:pt>
                <c:pt idx="66148">
                  <c:v>13.465578562590943</c:v>
                </c:pt>
                <c:pt idx="66149">
                  <c:v>37.397516979155505</c:v>
                </c:pt>
                <c:pt idx="66150">
                  <c:v>45.585103510471306</c:v>
                </c:pt>
                <c:pt idx="66151">
                  <c:v>26.185827113157508</c:v>
                </c:pt>
                <c:pt idx="66152">
                  <c:v>26.29570552522144</c:v>
                </c:pt>
                <c:pt idx="66153">
                  <c:v>27.154052363805523</c:v>
                </c:pt>
                <c:pt idx="66154">
                  <c:v>31.330657978566752</c:v>
                </c:pt>
                <c:pt idx="66155">
                  <c:v>50.279530639383957</c:v>
                </c:pt>
                <c:pt idx="66156">
                  <c:v>17.059386625053875</c:v>
                </c:pt>
                <c:pt idx="66157">
                  <c:v>17.737162356101376</c:v>
                </c:pt>
                <c:pt idx="66158">
                  <c:v>28.162323353471102</c:v>
                </c:pt>
                <c:pt idx="66159">
                  <c:v>44.100834131100989</c:v>
                </c:pt>
                <c:pt idx="66160">
                  <c:v>23.351916316391904</c:v>
                </c:pt>
                <c:pt idx="66161">
                  <c:v>26.591123886441121</c:v>
                </c:pt>
                <c:pt idx="66162">
                  <c:v>27.411893803511976</c:v>
                </c:pt>
                <c:pt idx="66163">
                  <c:v>29.780145855047117</c:v>
                </c:pt>
                <c:pt idx="66164">
                  <c:v>33.991582392917884</c:v>
                </c:pt>
                <c:pt idx="66165">
                  <c:v>23.912000876246065</c:v>
                </c:pt>
                <c:pt idx="66166">
                  <c:v>26.069628488990983</c:v>
                </c:pt>
                <c:pt idx="66167">
                  <c:v>34.666999387842843</c:v>
                </c:pt>
                <c:pt idx="66168">
                  <c:v>23.705713610952031</c:v>
                </c:pt>
                <c:pt idx="66169">
                  <c:v>20.152641680765615</c:v>
                </c:pt>
                <c:pt idx="66170">
                  <c:v>27.390835868181981</c:v>
                </c:pt>
                <c:pt idx="66171">
                  <c:v>18.180031243685271</c:v>
                </c:pt>
                <c:pt idx="66172">
                  <c:v>44.892595038719747</c:v>
                </c:pt>
                <c:pt idx="66173">
                  <c:v>28.935168073885411</c:v>
                </c:pt>
                <c:pt idx="66174">
                  <c:v>38.487644197553379</c:v>
                </c:pt>
                <c:pt idx="66175">
                  <c:v>50.355526625743828</c:v>
                </c:pt>
                <c:pt idx="66176">
                  <c:v>30.696027917438776</c:v>
                </c:pt>
                <c:pt idx="66177">
                  <c:v>31.702860913883718</c:v>
                </c:pt>
                <c:pt idx="66178">
                  <c:v>33.320221636928842</c:v>
                </c:pt>
                <c:pt idx="66179">
                  <c:v>20.766668646596504</c:v>
                </c:pt>
                <c:pt idx="66180">
                  <c:v>46.05912518945015</c:v>
                </c:pt>
                <c:pt idx="66181">
                  <c:v>31.090566506264764</c:v>
                </c:pt>
                <c:pt idx="66182">
                  <c:v>48.632634638130583</c:v>
                </c:pt>
                <c:pt idx="66183">
                  <c:v>33.509750073174274</c:v>
                </c:pt>
                <c:pt idx="66184">
                  <c:v>38.886564209148311</c:v>
                </c:pt>
                <c:pt idx="66185">
                  <c:v>24.20131877928522</c:v>
                </c:pt>
                <c:pt idx="66186">
                  <c:v>23.038299630367945</c:v>
                </c:pt>
                <c:pt idx="66187">
                  <c:v>17.745603169891169</c:v>
                </c:pt>
                <c:pt idx="66188">
                  <c:v>29.383956334444147</c:v>
                </c:pt>
                <c:pt idx="66189">
                  <c:v>31.517681553495887</c:v>
                </c:pt>
                <c:pt idx="66190">
                  <c:v>27.83789258227505</c:v>
                </c:pt>
                <c:pt idx="66191">
                  <c:v>22.143508754794944</c:v>
                </c:pt>
                <c:pt idx="66192">
                  <c:v>32.244268715660688</c:v>
                </c:pt>
                <c:pt idx="66193">
                  <c:v>30.750848319162849</c:v>
                </c:pt>
                <c:pt idx="66194">
                  <c:v>37.345535817359071</c:v>
                </c:pt>
                <c:pt idx="66195">
                  <c:v>24.460091457478608</c:v>
                </c:pt>
                <c:pt idx="66196">
                  <c:v>40.234500776107339</c:v>
                </c:pt>
                <c:pt idx="66197">
                  <c:v>21.840697570372111</c:v>
                </c:pt>
                <c:pt idx="66198">
                  <c:v>27.451901146091231</c:v>
                </c:pt>
                <c:pt idx="66199">
                  <c:v>27.911413386370871</c:v>
                </c:pt>
                <c:pt idx="66200">
                  <c:v>25.479951783656904</c:v>
                </c:pt>
                <c:pt idx="66201">
                  <c:v>27.696292564267274</c:v>
                </c:pt>
                <c:pt idx="66202">
                  <c:v>29.250505439271706</c:v>
                </c:pt>
                <c:pt idx="66203">
                  <c:v>29.32204866695859</c:v>
                </c:pt>
                <c:pt idx="66204">
                  <c:v>55.421042366033191</c:v>
                </c:pt>
                <c:pt idx="66205">
                  <c:v>34.172859806884148</c:v>
                </c:pt>
                <c:pt idx="66206">
                  <c:v>27.115149410956747</c:v>
                </c:pt>
                <c:pt idx="66207">
                  <c:v>27.584586069934304</c:v>
                </c:pt>
                <c:pt idx="66208">
                  <c:v>37.113802446879802</c:v>
                </c:pt>
                <c:pt idx="66209">
                  <c:v>41.81263823398141</c:v>
                </c:pt>
                <c:pt idx="66210">
                  <c:v>35.422015928851565</c:v>
                </c:pt>
                <c:pt idx="66211">
                  <c:v>24.399374346929427</c:v>
                </c:pt>
                <c:pt idx="66212">
                  <c:v>26.588788738954868</c:v>
                </c:pt>
                <c:pt idx="66213">
                  <c:v>20.314856015879485</c:v>
                </c:pt>
                <c:pt idx="66214">
                  <c:v>25.20565135700938</c:v>
                </c:pt>
                <c:pt idx="66215">
                  <c:v>29.207978370999854</c:v>
                </c:pt>
                <c:pt idx="66216">
                  <c:v>36.513231862979097</c:v>
                </c:pt>
                <c:pt idx="66217">
                  <c:v>49.089343875061111</c:v>
                </c:pt>
                <c:pt idx="66218">
                  <c:v>24.409298549994531</c:v>
                </c:pt>
                <c:pt idx="66219">
                  <c:v>24.437700852224598</c:v>
                </c:pt>
                <c:pt idx="66220">
                  <c:v>28.9607302397064</c:v>
                </c:pt>
                <c:pt idx="66221">
                  <c:v>23.153855547865891</c:v>
                </c:pt>
                <c:pt idx="66222">
                  <c:v>30.999422002006476</c:v>
                </c:pt>
                <c:pt idx="66223">
                  <c:v>23.28099865934815</c:v>
                </c:pt>
                <c:pt idx="66224">
                  <c:v>31.905643725049288</c:v>
                </c:pt>
                <c:pt idx="66225">
                  <c:v>24.82207507129106</c:v>
                </c:pt>
                <c:pt idx="66226">
                  <c:v>23.830077756927363</c:v>
                </c:pt>
                <c:pt idx="66227">
                  <c:v>59.144779235441128</c:v>
                </c:pt>
                <c:pt idx="66228">
                  <c:v>29.830033109711202</c:v>
                </c:pt>
                <c:pt idx="66229">
                  <c:v>23.324886979806077</c:v>
                </c:pt>
                <c:pt idx="66230">
                  <c:v>27.633435740086</c:v>
                </c:pt>
                <c:pt idx="66231">
                  <c:v>32.960502391345187</c:v>
                </c:pt>
                <c:pt idx="66232">
                  <c:v>27.956190768511675</c:v>
                </c:pt>
                <c:pt idx="66233">
                  <c:v>27.063151288929422</c:v>
                </c:pt>
                <c:pt idx="66234">
                  <c:v>36.93385473083103</c:v>
                </c:pt>
                <c:pt idx="66235">
                  <c:v>39.450748074135539</c:v>
                </c:pt>
                <c:pt idx="66236">
                  <c:v>24.380412821082466</c:v>
                </c:pt>
                <c:pt idx="66237">
                  <c:v>21.145021558453323</c:v>
                </c:pt>
                <c:pt idx="66238">
                  <c:v>26.973408973846556</c:v>
                </c:pt>
                <c:pt idx="66239">
                  <c:v>46.395129678609052</c:v>
                </c:pt>
                <c:pt idx="66240">
                  <c:v>24.558961882726827</c:v>
                </c:pt>
                <c:pt idx="66241">
                  <c:v>49.910389260819464</c:v>
                </c:pt>
                <c:pt idx="66242">
                  <c:v>25.644952388381014</c:v>
                </c:pt>
                <c:pt idx="66243">
                  <c:v>27.814063723437219</c:v>
                </c:pt>
                <c:pt idx="66244">
                  <c:v>35.139251217632967</c:v>
                </c:pt>
                <c:pt idx="66245">
                  <c:v>45.770512265319809</c:v>
                </c:pt>
                <c:pt idx="66246">
                  <c:v>33.52419353096839</c:v>
                </c:pt>
                <c:pt idx="66247">
                  <c:v>23.283932713730838</c:v>
                </c:pt>
                <c:pt idx="66248">
                  <c:v>35.80015762161721</c:v>
                </c:pt>
                <c:pt idx="66249">
                  <c:v>28.734157244949909</c:v>
                </c:pt>
                <c:pt idx="66250">
                  <c:v>21.584345085332764</c:v>
                </c:pt>
                <c:pt idx="66251">
                  <c:v>25.215401813479957</c:v>
                </c:pt>
                <c:pt idx="66252">
                  <c:v>28.419506500831709</c:v>
                </c:pt>
                <c:pt idx="66253">
                  <c:v>43.183534961167794</c:v>
                </c:pt>
                <c:pt idx="66254">
                  <c:v>30.364740629130978</c:v>
                </c:pt>
                <c:pt idx="66255">
                  <c:v>38.254303521514203</c:v>
                </c:pt>
                <c:pt idx="66256">
                  <c:v>45.661186818446829</c:v>
                </c:pt>
                <c:pt idx="66257">
                  <c:v>41.759364238715257</c:v>
                </c:pt>
                <c:pt idx="66258">
                  <c:v>45.982805396400884</c:v>
                </c:pt>
                <c:pt idx="66259">
                  <c:v>25.163835344111451</c:v>
                </c:pt>
                <c:pt idx="66260">
                  <c:v>52.754581946605384</c:v>
                </c:pt>
                <c:pt idx="66261">
                  <c:v>28.402701037741682</c:v>
                </c:pt>
                <c:pt idx="66262">
                  <c:v>47.209662424539751</c:v>
                </c:pt>
                <c:pt idx="66263">
                  <c:v>29.143660598663036</c:v>
                </c:pt>
                <c:pt idx="66264">
                  <c:v>25.224750950446438</c:v>
                </c:pt>
                <c:pt idx="66265">
                  <c:v>30.140869318909196</c:v>
                </c:pt>
                <c:pt idx="66266">
                  <c:v>50.69785153222935</c:v>
                </c:pt>
                <c:pt idx="66267">
                  <c:v>27.498462873700561</c:v>
                </c:pt>
                <c:pt idx="66268">
                  <c:v>45.339322517858889</c:v>
                </c:pt>
                <c:pt idx="66269">
                  <c:v>46.792067010530602</c:v>
                </c:pt>
                <c:pt idx="66270">
                  <c:v>25.790736598743457</c:v>
                </c:pt>
                <c:pt idx="66271">
                  <c:v>50.025822770126474</c:v>
                </c:pt>
                <c:pt idx="66272">
                  <c:v>31.140242449054508</c:v>
                </c:pt>
                <c:pt idx="66273">
                  <c:v>41.874228360750642</c:v>
                </c:pt>
                <c:pt idx="66274">
                  <c:v>20.910753760154101</c:v>
                </c:pt>
                <c:pt idx="66275">
                  <c:v>24.163778527997252</c:v>
                </c:pt>
                <c:pt idx="66276">
                  <c:v>32.810662147086177</c:v>
                </c:pt>
                <c:pt idx="66277">
                  <c:v>27.970369301051296</c:v>
                </c:pt>
                <c:pt idx="66278">
                  <c:v>24.691519657042949</c:v>
                </c:pt>
                <c:pt idx="66279">
                  <c:v>23.014439410698056</c:v>
                </c:pt>
                <c:pt idx="66280">
                  <c:v>41.573891304540595</c:v>
                </c:pt>
                <c:pt idx="66281">
                  <c:v>23.799504338532707</c:v>
                </c:pt>
                <c:pt idx="66282">
                  <c:v>45.082236362515744</c:v>
                </c:pt>
                <c:pt idx="66283">
                  <c:v>46.856036992542002</c:v>
                </c:pt>
                <c:pt idx="66284">
                  <c:v>31.887118169503935</c:v>
                </c:pt>
                <c:pt idx="66285">
                  <c:v>28.387071379516939</c:v>
                </c:pt>
                <c:pt idx="66286">
                  <c:v>39.195002803354498</c:v>
                </c:pt>
                <c:pt idx="66287">
                  <c:v>69.717329049824897</c:v>
                </c:pt>
                <c:pt idx="66288">
                  <c:v>20.972374615929503</c:v>
                </c:pt>
                <c:pt idx="66289">
                  <c:v>20.691396629050434</c:v>
                </c:pt>
                <c:pt idx="66290">
                  <c:v>31.226218185153567</c:v>
                </c:pt>
                <c:pt idx="66291">
                  <c:v>33.684842029198776</c:v>
                </c:pt>
                <c:pt idx="66292">
                  <c:v>25.855157991981986</c:v>
                </c:pt>
                <c:pt idx="66293">
                  <c:v>26.416202402822368</c:v>
                </c:pt>
                <c:pt idx="66294">
                  <c:v>53.360695468260609</c:v>
                </c:pt>
                <c:pt idx="66295">
                  <c:v>31.597748745610467</c:v>
                </c:pt>
                <c:pt idx="66296">
                  <c:v>34.201209982101723</c:v>
                </c:pt>
                <c:pt idx="66297">
                  <c:v>27.108532174860095</c:v>
                </c:pt>
                <c:pt idx="66298">
                  <c:v>35.467281826667801</c:v>
                </c:pt>
                <c:pt idx="66299">
                  <c:v>31.821352585634894</c:v>
                </c:pt>
                <c:pt idx="66300">
                  <c:v>46.660949280634938</c:v>
                </c:pt>
                <c:pt idx="66301">
                  <c:v>26.29134290784538</c:v>
                </c:pt>
                <c:pt idx="66302">
                  <c:v>26.205494673775235</c:v>
                </c:pt>
                <c:pt idx="66303">
                  <c:v>27.313756319890068</c:v>
                </c:pt>
                <c:pt idx="66304">
                  <c:v>39.617740040465264</c:v>
                </c:pt>
                <c:pt idx="66305">
                  <c:v>61.930281442756815</c:v>
                </c:pt>
                <c:pt idx="66306">
                  <c:v>22.135150747865829</c:v>
                </c:pt>
                <c:pt idx="66307">
                  <c:v>35.530531024686951</c:v>
                </c:pt>
                <c:pt idx="66308">
                  <c:v>37.84821388894526</c:v>
                </c:pt>
                <c:pt idx="66309">
                  <c:v>29.369654005057338</c:v>
                </c:pt>
                <c:pt idx="66310">
                  <c:v>46.847881597811835</c:v>
                </c:pt>
                <c:pt idx="66311">
                  <c:v>17.721757425981242</c:v>
                </c:pt>
                <c:pt idx="66312">
                  <c:v>51.714834702030963</c:v>
                </c:pt>
                <c:pt idx="66313">
                  <c:v>19.2463898031159</c:v>
                </c:pt>
                <c:pt idx="66314">
                  <c:v>33.371807516297949</c:v>
                </c:pt>
                <c:pt idx="66315">
                  <c:v>44.784157055040353</c:v>
                </c:pt>
                <c:pt idx="66316">
                  <c:v>28.084448595559618</c:v>
                </c:pt>
                <c:pt idx="66317">
                  <c:v>38.134995944518458</c:v>
                </c:pt>
                <c:pt idx="66318">
                  <c:v>20.329451023507239</c:v>
                </c:pt>
                <c:pt idx="66319">
                  <c:v>29.1683983022726</c:v>
                </c:pt>
                <c:pt idx="66320">
                  <c:v>29.145246282429241</c:v>
                </c:pt>
                <c:pt idx="66321">
                  <c:v>26.128278154389324</c:v>
                </c:pt>
                <c:pt idx="66322">
                  <c:v>20.272632013477619</c:v>
                </c:pt>
                <c:pt idx="66323">
                  <c:v>30.581538586726133</c:v>
                </c:pt>
                <c:pt idx="66324">
                  <c:v>26.760137960743585</c:v>
                </c:pt>
                <c:pt idx="66325">
                  <c:v>32.021848003013616</c:v>
                </c:pt>
                <c:pt idx="66326">
                  <c:v>43.732705234555169</c:v>
                </c:pt>
                <c:pt idx="66327">
                  <c:v>21.8853507552408</c:v>
                </c:pt>
                <c:pt idx="66328">
                  <c:v>20.219665824673566</c:v>
                </c:pt>
                <c:pt idx="66329">
                  <c:v>26.221378079107907</c:v>
                </c:pt>
                <c:pt idx="66330">
                  <c:v>42.978482720592659</c:v>
                </c:pt>
                <c:pt idx="66331">
                  <c:v>60.496953664185668</c:v>
                </c:pt>
                <c:pt idx="66332">
                  <c:v>27.812970135635549</c:v>
                </c:pt>
                <c:pt idx="66333">
                  <c:v>25.189176413017826</c:v>
                </c:pt>
                <c:pt idx="66334">
                  <c:v>28.207115370701299</c:v>
                </c:pt>
                <c:pt idx="66335">
                  <c:v>33.778564231855384</c:v>
                </c:pt>
                <c:pt idx="66336">
                  <c:v>29.452011554450266</c:v>
                </c:pt>
                <c:pt idx="66337">
                  <c:v>35.040057510975934</c:v>
                </c:pt>
                <c:pt idx="66338">
                  <c:v>20.440747747235456</c:v>
                </c:pt>
                <c:pt idx="66339">
                  <c:v>48.129643420436892</c:v>
                </c:pt>
                <c:pt idx="66340">
                  <c:v>21.200167678796898</c:v>
                </c:pt>
                <c:pt idx="66341">
                  <c:v>30.932316352223594</c:v>
                </c:pt>
                <c:pt idx="66342">
                  <c:v>27.042364903293162</c:v>
                </c:pt>
                <c:pt idx="66343">
                  <c:v>34.590012772738774</c:v>
                </c:pt>
                <c:pt idx="66344">
                  <c:v>39.973113112582155</c:v>
                </c:pt>
                <c:pt idx="66345">
                  <c:v>27.705308358798973</c:v>
                </c:pt>
                <c:pt idx="66346">
                  <c:v>26.494825891156395</c:v>
                </c:pt>
                <c:pt idx="66347">
                  <c:v>25.874780384891555</c:v>
                </c:pt>
                <c:pt idx="66348">
                  <c:v>27.762275152366676</c:v>
                </c:pt>
                <c:pt idx="66349">
                  <c:v>45.688841443005586</c:v>
                </c:pt>
                <c:pt idx="66350">
                  <c:v>17.349470357763924</c:v>
                </c:pt>
                <c:pt idx="66351">
                  <c:v>27.902453533450618</c:v>
                </c:pt>
                <c:pt idx="66352">
                  <c:v>17.800241741564399</c:v>
                </c:pt>
                <c:pt idx="66353">
                  <c:v>46.824960012845033</c:v>
                </c:pt>
                <c:pt idx="66354">
                  <c:v>32.301758109885625</c:v>
                </c:pt>
                <c:pt idx="66355">
                  <c:v>29.425880001548876</c:v>
                </c:pt>
                <c:pt idx="66356">
                  <c:v>49.665940175172899</c:v>
                </c:pt>
                <c:pt idx="66357">
                  <c:v>23.38807815142842</c:v>
                </c:pt>
                <c:pt idx="66358">
                  <c:v>33.430548204700031</c:v>
                </c:pt>
                <c:pt idx="66359">
                  <c:v>29.622442239659044</c:v>
                </c:pt>
                <c:pt idx="66360">
                  <c:v>25.858992622852572</c:v>
                </c:pt>
                <c:pt idx="66361">
                  <c:v>29.48290861516648</c:v>
                </c:pt>
                <c:pt idx="66362">
                  <c:v>29.425162748618234</c:v>
                </c:pt>
                <c:pt idx="66363">
                  <c:v>21.270249517006206</c:v>
                </c:pt>
                <c:pt idx="66364">
                  <c:v>36.680104759500438</c:v>
                </c:pt>
                <c:pt idx="66365">
                  <c:v>26.661732356374355</c:v>
                </c:pt>
                <c:pt idx="66366">
                  <c:v>43.307108898590776</c:v>
                </c:pt>
                <c:pt idx="66367">
                  <c:v>27.478397334814389</c:v>
                </c:pt>
                <c:pt idx="66368">
                  <c:v>22.041052197392865</c:v>
                </c:pt>
                <c:pt idx="66369">
                  <c:v>32.855932150948881</c:v>
                </c:pt>
                <c:pt idx="66370">
                  <c:v>31.008443717037359</c:v>
                </c:pt>
                <c:pt idx="66371">
                  <c:v>26.016061852114042</c:v>
                </c:pt>
                <c:pt idx="66372">
                  <c:v>34.915984542097441</c:v>
                </c:pt>
                <c:pt idx="66373">
                  <c:v>55.197307179667625</c:v>
                </c:pt>
                <c:pt idx="66374">
                  <c:v>32.680249076828105</c:v>
                </c:pt>
                <c:pt idx="66375">
                  <c:v>27.120512178515348</c:v>
                </c:pt>
                <c:pt idx="66376">
                  <c:v>20.20280196637076</c:v>
                </c:pt>
                <c:pt idx="66377">
                  <c:v>32.835732488694852</c:v>
                </c:pt>
                <c:pt idx="66378">
                  <c:v>25.972451482482143</c:v>
                </c:pt>
                <c:pt idx="66379">
                  <c:v>46.648906556551808</c:v>
                </c:pt>
                <c:pt idx="66380">
                  <c:v>28.672382209587525</c:v>
                </c:pt>
                <c:pt idx="66381">
                  <c:v>23.365805810284591</c:v>
                </c:pt>
                <c:pt idx="66382">
                  <c:v>26.423636005296125</c:v>
                </c:pt>
                <c:pt idx="66383">
                  <c:v>26.112301980284933</c:v>
                </c:pt>
                <c:pt idx="66384">
                  <c:v>30.62971835978087</c:v>
                </c:pt>
                <c:pt idx="66385">
                  <c:v>28.519346065055949</c:v>
                </c:pt>
                <c:pt idx="66386">
                  <c:v>26.076406784155029</c:v>
                </c:pt>
                <c:pt idx="66387">
                  <c:v>34.547475584408211</c:v>
                </c:pt>
                <c:pt idx="66388">
                  <c:v>26.255861998669168</c:v>
                </c:pt>
                <c:pt idx="66389">
                  <c:v>18.421934313758431</c:v>
                </c:pt>
                <c:pt idx="66390">
                  <c:v>52.486767848459458</c:v>
                </c:pt>
                <c:pt idx="66391">
                  <c:v>36.160157450731802</c:v>
                </c:pt>
                <c:pt idx="66392">
                  <c:v>39.158537772294594</c:v>
                </c:pt>
                <c:pt idx="66393">
                  <c:v>57.476157868689747</c:v>
                </c:pt>
                <c:pt idx="66394">
                  <c:v>25.26976907309902</c:v>
                </c:pt>
                <c:pt idx="66395">
                  <c:v>28.033926441920759</c:v>
                </c:pt>
                <c:pt idx="66396">
                  <c:v>28.643545001103256</c:v>
                </c:pt>
                <c:pt idx="66397">
                  <c:v>46.44207279088775</c:v>
                </c:pt>
                <c:pt idx="66398">
                  <c:v>19.941155306319814</c:v>
                </c:pt>
                <c:pt idx="66399">
                  <c:v>46.454795614133872</c:v>
                </c:pt>
                <c:pt idx="66400">
                  <c:v>28.458809129270854</c:v>
                </c:pt>
                <c:pt idx="66401">
                  <c:v>25.506035615758503</c:v>
                </c:pt>
                <c:pt idx="66402">
                  <c:v>24.383499289742851</c:v>
                </c:pt>
                <c:pt idx="66403">
                  <c:v>30.460649052492201</c:v>
                </c:pt>
                <c:pt idx="66404">
                  <c:v>25.959086901894974</c:v>
                </c:pt>
                <c:pt idx="66405">
                  <c:v>21.920140864522249</c:v>
                </c:pt>
                <c:pt idx="66406">
                  <c:v>37.020131716420053</c:v>
                </c:pt>
                <c:pt idx="66407">
                  <c:v>54.011112801913484</c:v>
                </c:pt>
                <c:pt idx="66408">
                  <c:v>18.276308219752082</c:v>
                </c:pt>
                <c:pt idx="66409">
                  <c:v>24.326181808932155</c:v>
                </c:pt>
                <c:pt idx="66410">
                  <c:v>50.67155993273385</c:v>
                </c:pt>
                <c:pt idx="66411">
                  <c:v>26.224125643144014</c:v>
                </c:pt>
                <c:pt idx="66412">
                  <c:v>25.503733569755589</c:v>
                </c:pt>
                <c:pt idx="66413">
                  <c:v>40.896954424851167</c:v>
                </c:pt>
                <c:pt idx="66414">
                  <c:v>35.081921832645087</c:v>
                </c:pt>
                <c:pt idx="66415">
                  <c:v>27.241865090054624</c:v>
                </c:pt>
                <c:pt idx="66416">
                  <c:v>29.506084581086846</c:v>
                </c:pt>
                <c:pt idx="66417">
                  <c:v>26.546198874943016</c:v>
                </c:pt>
                <c:pt idx="66418">
                  <c:v>26.819174427940283</c:v>
                </c:pt>
                <c:pt idx="66419">
                  <c:v>27.411226817002309</c:v>
                </c:pt>
                <c:pt idx="66420">
                  <c:v>29.135764649595501</c:v>
                </c:pt>
                <c:pt idx="66421">
                  <c:v>24.975817591907163</c:v>
                </c:pt>
                <c:pt idx="66422">
                  <c:v>24.028721919318883</c:v>
                </c:pt>
                <c:pt idx="66423">
                  <c:v>35.714830301420562</c:v>
                </c:pt>
                <c:pt idx="66424">
                  <c:v>35.086419861531837</c:v>
                </c:pt>
                <c:pt idx="66425">
                  <c:v>30.512621485353389</c:v>
                </c:pt>
                <c:pt idx="66426">
                  <c:v>43.032261232698495</c:v>
                </c:pt>
                <c:pt idx="66427">
                  <c:v>27.146192813021297</c:v>
                </c:pt>
                <c:pt idx="66428">
                  <c:v>28.870278824979565</c:v>
                </c:pt>
                <c:pt idx="66429">
                  <c:v>52.162745496024634</c:v>
                </c:pt>
                <c:pt idx="66430">
                  <c:v>32.663715412484969</c:v>
                </c:pt>
                <c:pt idx="66431">
                  <c:v>25.265775405019784</c:v>
                </c:pt>
                <c:pt idx="66432">
                  <c:v>19.774727382391951</c:v>
                </c:pt>
                <c:pt idx="66433">
                  <c:v>24.99184839739172</c:v>
                </c:pt>
                <c:pt idx="66434">
                  <c:v>23.562279374548176</c:v>
                </c:pt>
                <c:pt idx="66435">
                  <c:v>29.144059050355036</c:v>
                </c:pt>
                <c:pt idx="66436">
                  <c:v>21.732914409046877</c:v>
                </c:pt>
                <c:pt idx="66437">
                  <c:v>42.095166327230665</c:v>
                </c:pt>
                <c:pt idx="66438">
                  <c:v>40.097386780851302</c:v>
                </c:pt>
                <c:pt idx="66439">
                  <c:v>26.368639911013467</c:v>
                </c:pt>
                <c:pt idx="66440">
                  <c:v>38.26608159762764</c:v>
                </c:pt>
                <c:pt idx="66441">
                  <c:v>31.187357302059233</c:v>
                </c:pt>
                <c:pt idx="66442">
                  <c:v>22.220485978086373</c:v>
                </c:pt>
                <c:pt idx="66443">
                  <c:v>34.771771755180495</c:v>
                </c:pt>
                <c:pt idx="66444">
                  <c:v>30.954114927449268</c:v>
                </c:pt>
                <c:pt idx="66445">
                  <c:v>25.715422338437119</c:v>
                </c:pt>
                <c:pt idx="66446">
                  <c:v>29.445542625863311</c:v>
                </c:pt>
                <c:pt idx="66447">
                  <c:v>27.775921838132408</c:v>
                </c:pt>
                <c:pt idx="66448">
                  <c:v>40.951814388255769</c:v>
                </c:pt>
                <c:pt idx="66449">
                  <c:v>26.69846691390023</c:v>
                </c:pt>
                <c:pt idx="66450">
                  <c:v>22.393435180725806</c:v>
                </c:pt>
                <c:pt idx="66451">
                  <c:v>37.150790696328023</c:v>
                </c:pt>
                <c:pt idx="66452">
                  <c:v>43.742552758688397</c:v>
                </c:pt>
                <c:pt idx="66453">
                  <c:v>49.884263466152568</c:v>
                </c:pt>
                <c:pt idx="66454">
                  <c:v>40.108920548502056</c:v>
                </c:pt>
                <c:pt idx="66455">
                  <c:v>29.957007934225203</c:v>
                </c:pt>
                <c:pt idx="66456">
                  <c:v>48.940677661793202</c:v>
                </c:pt>
                <c:pt idx="66457">
                  <c:v>29.177399569477256</c:v>
                </c:pt>
                <c:pt idx="66458">
                  <c:v>25.86234561772126</c:v>
                </c:pt>
                <c:pt idx="66459">
                  <c:v>56.46335150084353</c:v>
                </c:pt>
                <c:pt idx="66460">
                  <c:v>23.289113365722294</c:v>
                </c:pt>
                <c:pt idx="66461">
                  <c:v>24.793250258138272</c:v>
                </c:pt>
                <c:pt idx="66462">
                  <c:v>41.9781427775536</c:v>
                </c:pt>
                <c:pt idx="66463">
                  <c:v>22.296942880039769</c:v>
                </c:pt>
                <c:pt idx="66464">
                  <c:v>43.694777811304597</c:v>
                </c:pt>
                <c:pt idx="66465">
                  <c:v>26.155611963713966</c:v>
                </c:pt>
                <c:pt idx="66466">
                  <c:v>29.56397556063768</c:v>
                </c:pt>
                <c:pt idx="66467">
                  <c:v>32.347920382577499</c:v>
                </c:pt>
                <c:pt idx="66468">
                  <c:v>23.279218250581753</c:v>
                </c:pt>
                <c:pt idx="66469">
                  <c:v>26.956674621118243</c:v>
                </c:pt>
                <c:pt idx="66470">
                  <c:v>26.338928759151411</c:v>
                </c:pt>
                <c:pt idx="66471">
                  <c:v>27.754023420646419</c:v>
                </c:pt>
                <c:pt idx="66472">
                  <c:v>36.728656856274839</c:v>
                </c:pt>
                <c:pt idx="66473">
                  <c:v>26.101209409720493</c:v>
                </c:pt>
                <c:pt idx="66474">
                  <c:v>36.354442404552827</c:v>
                </c:pt>
                <c:pt idx="66475">
                  <c:v>27.907439383532306</c:v>
                </c:pt>
                <c:pt idx="66476">
                  <c:v>26.598391957026109</c:v>
                </c:pt>
                <c:pt idx="66477">
                  <c:v>47.707920344506924</c:v>
                </c:pt>
                <c:pt idx="66478">
                  <c:v>27.453247391859147</c:v>
                </c:pt>
                <c:pt idx="66479">
                  <c:v>45.755183230557158</c:v>
                </c:pt>
                <c:pt idx="66480">
                  <c:v>23.898631135203889</c:v>
                </c:pt>
                <c:pt idx="66481">
                  <c:v>23.299938729357333</c:v>
                </c:pt>
                <c:pt idx="66482">
                  <c:v>36.870919797267192</c:v>
                </c:pt>
                <c:pt idx="66483">
                  <c:v>37.035213500557489</c:v>
                </c:pt>
                <c:pt idx="66484">
                  <c:v>25.758278612493744</c:v>
                </c:pt>
                <c:pt idx="66485">
                  <c:v>26.313206912138767</c:v>
                </c:pt>
                <c:pt idx="66486">
                  <c:v>28.901576420250901</c:v>
                </c:pt>
                <c:pt idx="66487">
                  <c:v>33.170820582433578</c:v>
                </c:pt>
                <c:pt idx="66488">
                  <c:v>35.95204960210625</c:v>
                </c:pt>
                <c:pt idx="66489">
                  <c:v>48.366841320001249</c:v>
                </c:pt>
                <c:pt idx="66490">
                  <c:v>23.514779224108359</c:v>
                </c:pt>
                <c:pt idx="66491">
                  <c:v>22.710271880970268</c:v>
                </c:pt>
                <c:pt idx="66492">
                  <c:v>20.727591535238535</c:v>
                </c:pt>
                <c:pt idx="66493">
                  <c:v>42.135270845828082</c:v>
                </c:pt>
                <c:pt idx="66494">
                  <c:v>26.463256703480603</c:v>
                </c:pt>
                <c:pt idx="66495">
                  <c:v>25.468768665683669</c:v>
                </c:pt>
                <c:pt idx="66496">
                  <c:v>21.989508626391206</c:v>
                </c:pt>
                <c:pt idx="66497">
                  <c:v>22.870344612471843</c:v>
                </c:pt>
                <c:pt idx="66498">
                  <c:v>29.556356046001778</c:v>
                </c:pt>
                <c:pt idx="66499">
                  <c:v>44.33996567419846</c:v>
                </c:pt>
                <c:pt idx="66500">
                  <c:v>43.079473282897972</c:v>
                </c:pt>
                <c:pt idx="66501">
                  <c:v>42.552797072260638</c:v>
                </c:pt>
                <c:pt idx="66502">
                  <c:v>27.296955822735793</c:v>
                </c:pt>
                <c:pt idx="66503">
                  <c:v>32.192362960080281</c:v>
                </c:pt>
                <c:pt idx="66504">
                  <c:v>23.163149028745856</c:v>
                </c:pt>
                <c:pt idx="66505">
                  <c:v>22.282052860238601</c:v>
                </c:pt>
                <c:pt idx="66506">
                  <c:v>22.491432800037167</c:v>
                </c:pt>
                <c:pt idx="66507">
                  <c:v>29.277684038415153</c:v>
                </c:pt>
                <c:pt idx="66508">
                  <c:v>33.716780303749609</c:v>
                </c:pt>
                <c:pt idx="66509">
                  <c:v>25.291044329427621</c:v>
                </c:pt>
                <c:pt idx="66510">
                  <c:v>52.795434039089606</c:v>
                </c:pt>
                <c:pt idx="66511">
                  <c:v>26.431593715436737</c:v>
                </c:pt>
                <c:pt idx="66512">
                  <c:v>43.020298109636514</c:v>
                </c:pt>
                <c:pt idx="66513">
                  <c:v>25.536713637231024</c:v>
                </c:pt>
                <c:pt idx="66514">
                  <c:v>30.001277365379032</c:v>
                </c:pt>
                <c:pt idx="66515">
                  <c:v>25.167023676321918</c:v>
                </c:pt>
                <c:pt idx="66516">
                  <c:v>53.834082572554109</c:v>
                </c:pt>
                <c:pt idx="66517">
                  <c:v>31.15660126882306</c:v>
                </c:pt>
                <c:pt idx="66518">
                  <c:v>36.393445480017313</c:v>
                </c:pt>
                <c:pt idx="66519">
                  <c:v>53.807535889705662</c:v>
                </c:pt>
                <c:pt idx="66520">
                  <c:v>22.287025057614329</c:v>
                </c:pt>
                <c:pt idx="66521">
                  <c:v>47.020196077511983</c:v>
                </c:pt>
                <c:pt idx="66522">
                  <c:v>36.999417088076086</c:v>
                </c:pt>
                <c:pt idx="66523">
                  <c:v>24.126942053391204</c:v>
                </c:pt>
                <c:pt idx="66524">
                  <c:v>24.371975745049028</c:v>
                </c:pt>
                <c:pt idx="66525">
                  <c:v>32.11923141026093</c:v>
                </c:pt>
                <c:pt idx="66526">
                  <c:v>49.755352549855111</c:v>
                </c:pt>
                <c:pt idx="66527">
                  <c:v>27.315184361094218</c:v>
                </c:pt>
                <c:pt idx="66528">
                  <c:v>23.050214702299179</c:v>
                </c:pt>
                <c:pt idx="66529">
                  <c:v>25.7092277352859</c:v>
                </c:pt>
                <c:pt idx="66530">
                  <c:v>34.894623635415549</c:v>
                </c:pt>
                <c:pt idx="66531">
                  <c:v>35.180280249602177</c:v>
                </c:pt>
                <c:pt idx="66532">
                  <c:v>21.914493308361173</c:v>
                </c:pt>
                <c:pt idx="66533">
                  <c:v>28.050069856358519</c:v>
                </c:pt>
                <c:pt idx="66534">
                  <c:v>47.182218569046228</c:v>
                </c:pt>
                <c:pt idx="66535">
                  <c:v>35.059835493735392</c:v>
                </c:pt>
                <c:pt idx="66536">
                  <c:v>21.568924630008496</c:v>
                </c:pt>
                <c:pt idx="66537">
                  <c:v>37.415487540968265</c:v>
                </c:pt>
                <c:pt idx="66538">
                  <c:v>22.524883253110392</c:v>
                </c:pt>
                <c:pt idx="66539">
                  <c:v>20.295314501871733</c:v>
                </c:pt>
                <c:pt idx="66540">
                  <c:v>38.35127016050761</c:v>
                </c:pt>
                <c:pt idx="66541">
                  <c:v>48.187603154698209</c:v>
                </c:pt>
                <c:pt idx="66542">
                  <c:v>21.450365507772794</c:v>
                </c:pt>
                <c:pt idx="66543">
                  <c:v>32.924374095920697</c:v>
                </c:pt>
                <c:pt idx="66544">
                  <c:v>49.25972208949495</c:v>
                </c:pt>
                <c:pt idx="66545">
                  <c:v>28.889873315829963</c:v>
                </c:pt>
                <c:pt idx="66546">
                  <c:v>25.565354580314207</c:v>
                </c:pt>
                <c:pt idx="66547">
                  <c:v>22.32871759884042</c:v>
                </c:pt>
                <c:pt idx="66548">
                  <c:v>29.340026776055645</c:v>
                </c:pt>
                <c:pt idx="66549">
                  <c:v>31.364447971410449</c:v>
                </c:pt>
                <c:pt idx="66550">
                  <c:v>24.394333697891323</c:v>
                </c:pt>
                <c:pt idx="66551">
                  <c:v>31.575287446459768</c:v>
                </c:pt>
                <c:pt idx="66552">
                  <c:v>28.15783783932288</c:v>
                </c:pt>
                <c:pt idx="66553">
                  <c:v>22.822715753974506</c:v>
                </c:pt>
                <c:pt idx="66554">
                  <c:v>43.141384178016693</c:v>
                </c:pt>
                <c:pt idx="66555">
                  <c:v>35.342140602976428</c:v>
                </c:pt>
                <c:pt idx="66556">
                  <c:v>26.556970755694156</c:v>
                </c:pt>
                <c:pt idx="66557">
                  <c:v>22.739322263673394</c:v>
                </c:pt>
                <c:pt idx="66558">
                  <c:v>24.636741406423504</c:v>
                </c:pt>
                <c:pt idx="66559">
                  <c:v>43.305162064440879</c:v>
                </c:pt>
                <c:pt idx="66560">
                  <c:v>25.857073010736663</c:v>
                </c:pt>
                <c:pt idx="66561">
                  <c:v>35.450102514573437</c:v>
                </c:pt>
                <c:pt idx="66562">
                  <c:v>24.571594415687358</c:v>
                </c:pt>
                <c:pt idx="66563">
                  <c:v>43.490729206095679</c:v>
                </c:pt>
                <c:pt idx="66564">
                  <c:v>28.572109389598829</c:v>
                </c:pt>
                <c:pt idx="66565">
                  <c:v>54.474242205951576</c:v>
                </c:pt>
                <c:pt idx="66566">
                  <c:v>28.427989826713009</c:v>
                </c:pt>
                <c:pt idx="66567">
                  <c:v>19.680448416027982</c:v>
                </c:pt>
                <c:pt idx="66568">
                  <c:v>47.233878676703476</c:v>
                </c:pt>
                <c:pt idx="66569">
                  <c:v>37.719439951269528</c:v>
                </c:pt>
                <c:pt idx="66570">
                  <c:v>24.865157608125614</c:v>
                </c:pt>
                <c:pt idx="66571">
                  <c:v>37.79047369725609</c:v>
                </c:pt>
                <c:pt idx="66572">
                  <c:v>20.806951507442932</c:v>
                </c:pt>
                <c:pt idx="66573">
                  <c:v>31.540192681917659</c:v>
                </c:pt>
                <c:pt idx="66574">
                  <c:v>21.777281312349416</c:v>
                </c:pt>
                <c:pt idx="66575">
                  <c:v>26.270416662753782</c:v>
                </c:pt>
                <c:pt idx="66576">
                  <c:v>26.402030178845674</c:v>
                </c:pt>
                <c:pt idx="66577">
                  <c:v>20.923880393335374</c:v>
                </c:pt>
                <c:pt idx="66578">
                  <c:v>24.745118854327181</c:v>
                </c:pt>
                <c:pt idx="66579">
                  <c:v>21.023196861496718</c:v>
                </c:pt>
                <c:pt idx="66580">
                  <c:v>25.691340446065553</c:v>
                </c:pt>
                <c:pt idx="66581">
                  <c:v>43.544652238031091</c:v>
                </c:pt>
                <c:pt idx="66582">
                  <c:v>43.969665980876471</c:v>
                </c:pt>
                <c:pt idx="66583">
                  <c:v>27.046550974522752</c:v>
                </c:pt>
                <c:pt idx="66584">
                  <c:v>44.617435810790447</c:v>
                </c:pt>
                <c:pt idx="66585">
                  <c:v>30.064939868452257</c:v>
                </c:pt>
                <c:pt idx="66586">
                  <c:v>26.751007924867338</c:v>
                </c:pt>
                <c:pt idx="66587">
                  <c:v>39.069174580355885</c:v>
                </c:pt>
                <c:pt idx="66588">
                  <c:v>29.546274891702641</c:v>
                </c:pt>
                <c:pt idx="66589">
                  <c:v>26.763685444223064</c:v>
                </c:pt>
                <c:pt idx="66590">
                  <c:v>24.773363511889361</c:v>
                </c:pt>
                <c:pt idx="66591">
                  <c:v>25.847147704882872</c:v>
                </c:pt>
                <c:pt idx="66592">
                  <c:v>51.013435945532493</c:v>
                </c:pt>
                <c:pt idx="66593">
                  <c:v>25.679112463714866</c:v>
                </c:pt>
                <c:pt idx="66594">
                  <c:v>53.76105922464388</c:v>
                </c:pt>
                <c:pt idx="66595">
                  <c:v>33.525907991388067</c:v>
                </c:pt>
                <c:pt idx="66596">
                  <c:v>23.050240647850451</c:v>
                </c:pt>
                <c:pt idx="66597">
                  <c:v>32.110470686781483</c:v>
                </c:pt>
                <c:pt idx="66598">
                  <c:v>20.240066566159722</c:v>
                </c:pt>
                <c:pt idx="66599">
                  <c:v>41.391366448259461</c:v>
                </c:pt>
                <c:pt idx="66600">
                  <c:v>56.341523650651155</c:v>
                </c:pt>
                <c:pt idx="66601">
                  <c:v>36.122855146606412</c:v>
                </c:pt>
                <c:pt idx="66602">
                  <c:v>21.334450148533051</c:v>
                </c:pt>
                <c:pt idx="66603">
                  <c:v>37.794832033747248</c:v>
                </c:pt>
                <c:pt idx="66604">
                  <c:v>28.52182986112668</c:v>
                </c:pt>
                <c:pt idx="66605">
                  <c:v>49.140668373291987</c:v>
                </c:pt>
                <c:pt idx="66606">
                  <c:v>27.263899795316931</c:v>
                </c:pt>
                <c:pt idx="66607">
                  <c:v>46.691400562986267</c:v>
                </c:pt>
                <c:pt idx="66608">
                  <c:v>27.831585873739119</c:v>
                </c:pt>
                <c:pt idx="66609">
                  <c:v>19.975836140925345</c:v>
                </c:pt>
                <c:pt idx="66610">
                  <c:v>21.594141026661433</c:v>
                </c:pt>
                <c:pt idx="66611">
                  <c:v>23.565937263943344</c:v>
                </c:pt>
                <c:pt idx="66612">
                  <c:v>30.833817008247209</c:v>
                </c:pt>
                <c:pt idx="66613">
                  <c:v>52.034119197408216</c:v>
                </c:pt>
                <c:pt idx="66614">
                  <c:v>23.862976055175267</c:v>
                </c:pt>
                <c:pt idx="66615">
                  <c:v>32.043480860541315</c:v>
                </c:pt>
                <c:pt idx="66616">
                  <c:v>36.912192093066494</c:v>
                </c:pt>
                <c:pt idx="66617">
                  <c:v>25.06190770189211</c:v>
                </c:pt>
                <c:pt idx="66618">
                  <c:v>23.578635025982162</c:v>
                </c:pt>
                <c:pt idx="66619">
                  <c:v>26.144881768831603</c:v>
                </c:pt>
                <c:pt idx="66620">
                  <c:v>18.08259798821604</c:v>
                </c:pt>
                <c:pt idx="66621">
                  <c:v>36.75845568678487</c:v>
                </c:pt>
                <c:pt idx="66622">
                  <c:v>48.240363554082485</c:v>
                </c:pt>
                <c:pt idx="66623">
                  <c:v>37.29047309006684</c:v>
                </c:pt>
                <c:pt idx="66624">
                  <c:v>30.306671978218183</c:v>
                </c:pt>
                <c:pt idx="66625">
                  <c:v>22.993023017023148</c:v>
                </c:pt>
                <c:pt idx="66626">
                  <c:v>24.559624907499433</c:v>
                </c:pt>
                <c:pt idx="66627">
                  <c:v>44.845508768071653</c:v>
                </c:pt>
                <c:pt idx="66628">
                  <c:v>26.613480934891733</c:v>
                </c:pt>
                <c:pt idx="66629">
                  <c:v>47.629501830578931</c:v>
                </c:pt>
                <c:pt idx="66630">
                  <c:v>31.94426842470213</c:v>
                </c:pt>
                <c:pt idx="66631">
                  <c:v>29.391390399834634</c:v>
                </c:pt>
                <c:pt idx="66632">
                  <c:v>48.725263769504011</c:v>
                </c:pt>
                <c:pt idx="66633">
                  <c:v>27.099114491571271</c:v>
                </c:pt>
                <c:pt idx="66634">
                  <c:v>51.61932752472746</c:v>
                </c:pt>
                <c:pt idx="66635">
                  <c:v>21.252770869698921</c:v>
                </c:pt>
                <c:pt idx="66636">
                  <c:v>21.896286744045533</c:v>
                </c:pt>
                <c:pt idx="66637">
                  <c:v>39.373331306579942</c:v>
                </c:pt>
                <c:pt idx="66638">
                  <c:v>27.237204108863509</c:v>
                </c:pt>
                <c:pt idx="66639">
                  <c:v>50.682821563942774</c:v>
                </c:pt>
                <c:pt idx="66640">
                  <c:v>27.780262724989381</c:v>
                </c:pt>
                <c:pt idx="66641">
                  <c:v>29.625162740272085</c:v>
                </c:pt>
                <c:pt idx="66642">
                  <c:v>46.428924423176852</c:v>
                </c:pt>
                <c:pt idx="66643">
                  <c:v>27.43279265253512</c:v>
                </c:pt>
                <c:pt idx="66644">
                  <c:v>33.683677876538184</c:v>
                </c:pt>
                <c:pt idx="66645">
                  <c:v>21.140575200515073</c:v>
                </c:pt>
                <c:pt idx="66646">
                  <c:v>23.825805031236239</c:v>
                </c:pt>
                <c:pt idx="66647">
                  <c:v>47.41045781455265</c:v>
                </c:pt>
                <c:pt idx="66648">
                  <c:v>34.58296127708067</c:v>
                </c:pt>
                <c:pt idx="66649">
                  <c:v>31.686824858375068</c:v>
                </c:pt>
                <c:pt idx="66650">
                  <c:v>14.356769312958541</c:v>
                </c:pt>
                <c:pt idx="66651">
                  <c:v>54.380811207314473</c:v>
                </c:pt>
                <c:pt idx="66652">
                  <c:v>32.15011322654</c:v>
                </c:pt>
                <c:pt idx="66653">
                  <c:v>40.004074566653401</c:v>
                </c:pt>
                <c:pt idx="66654">
                  <c:v>55.302366918048307</c:v>
                </c:pt>
                <c:pt idx="66655">
                  <c:v>27.482690079310071</c:v>
                </c:pt>
                <c:pt idx="66656">
                  <c:v>29.527022717346888</c:v>
                </c:pt>
                <c:pt idx="66657">
                  <c:v>35.507419158004247</c:v>
                </c:pt>
                <c:pt idx="66658">
                  <c:v>39.310308953064499</c:v>
                </c:pt>
                <c:pt idx="66659">
                  <c:v>47.11897788662823</c:v>
                </c:pt>
                <c:pt idx="66660">
                  <c:v>24.479902907679232</c:v>
                </c:pt>
                <c:pt idx="66661">
                  <c:v>29.64917401527871</c:v>
                </c:pt>
                <c:pt idx="66662">
                  <c:v>26.249638358778896</c:v>
                </c:pt>
                <c:pt idx="66663">
                  <c:v>22.717953821149521</c:v>
                </c:pt>
                <c:pt idx="66664">
                  <c:v>45.404743854665639</c:v>
                </c:pt>
                <c:pt idx="66665">
                  <c:v>30.74381435703463</c:v>
                </c:pt>
                <c:pt idx="66666">
                  <c:v>24.227942810556165</c:v>
                </c:pt>
                <c:pt idx="66667">
                  <c:v>39.870496935144729</c:v>
                </c:pt>
                <c:pt idx="66668">
                  <c:v>22.93921611312167</c:v>
                </c:pt>
                <c:pt idx="66669">
                  <c:v>22.090229492796691</c:v>
                </c:pt>
                <c:pt idx="66670">
                  <c:v>43.896121714608213</c:v>
                </c:pt>
                <c:pt idx="66671">
                  <c:v>27.808671399875475</c:v>
                </c:pt>
                <c:pt idx="66672">
                  <c:v>30.644016273461062</c:v>
                </c:pt>
                <c:pt idx="66673">
                  <c:v>47.458911997979925</c:v>
                </c:pt>
                <c:pt idx="66674">
                  <c:v>29.179845516729387</c:v>
                </c:pt>
                <c:pt idx="66675">
                  <c:v>26.38350581668178</c:v>
                </c:pt>
                <c:pt idx="66676">
                  <c:v>48.846827213620401</c:v>
                </c:pt>
                <c:pt idx="66677">
                  <c:v>27.210818800412515</c:v>
                </c:pt>
                <c:pt idx="66678">
                  <c:v>24.78387769979593</c:v>
                </c:pt>
                <c:pt idx="66679">
                  <c:v>32.629019242582018</c:v>
                </c:pt>
                <c:pt idx="66680">
                  <c:v>25.835171271823338</c:v>
                </c:pt>
                <c:pt idx="66681">
                  <c:v>24.927633266220823</c:v>
                </c:pt>
                <c:pt idx="66682">
                  <c:v>25.065460486077011</c:v>
                </c:pt>
                <c:pt idx="66683">
                  <c:v>30.077913128486422</c:v>
                </c:pt>
                <c:pt idx="66684">
                  <c:v>26.878334426396538</c:v>
                </c:pt>
                <c:pt idx="66685">
                  <c:v>35.912785797943009</c:v>
                </c:pt>
                <c:pt idx="66686">
                  <c:v>53.395954389599098</c:v>
                </c:pt>
                <c:pt idx="66687">
                  <c:v>23.082056770611384</c:v>
                </c:pt>
                <c:pt idx="66688">
                  <c:v>25.516090344863166</c:v>
                </c:pt>
                <c:pt idx="66689">
                  <c:v>32.910445210553327</c:v>
                </c:pt>
                <c:pt idx="66690">
                  <c:v>34.375087696729686</c:v>
                </c:pt>
                <c:pt idx="66691">
                  <c:v>45.13309776751246</c:v>
                </c:pt>
                <c:pt idx="66692">
                  <c:v>52.755027529247656</c:v>
                </c:pt>
                <c:pt idx="66693">
                  <c:v>20.463862149329991</c:v>
                </c:pt>
                <c:pt idx="66694">
                  <c:v>30.516276438534895</c:v>
                </c:pt>
                <c:pt idx="66695">
                  <c:v>33.544970514739397</c:v>
                </c:pt>
                <c:pt idx="66696">
                  <c:v>32.191313550948891</c:v>
                </c:pt>
                <c:pt idx="66697">
                  <c:v>23.07760010564364</c:v>
                </c:pt>
                <c:pt idx="66698">
                  <c:v>33.171883573799327</c:v>
                </c:pt>
                <c:pt idx="66699">
                  <c:v>26.033007752372189</c:v>
                </c:pt>
                <c:pt idx="66700">
                  <c:v>28.833329481666013</c:v>
                </c:pt>
                <c:pt idx="66701">
                  <c:v>28.422992493679857</c:v>
                </c:pt>
                <c:pt idx="66702">
                  <c:v>37.094565118124088</c:v>
                </c:pt>
                <c:pt idx="66703">
                  <c:v>36.296681715446098</c:v>
                </c:pt>
                <c:pt idx="66704">
                  <c:v>43.069326912714345</c:v>
                </c:pt>
                <c:pt idx="66705">
                  <c:v>32.81559571245748</c:v>
                </c:pt>
                <c:pt idx="66706">
                  <c:v>42.787884812985205</c:v>
                </c:pt>
                <c:pt idx="66707">
                  <c:v>18.738451200811006</c:v>
                </c:pt>
                <c:pt idx="66708">
                  <c:v>32.301704397482766</c:v>
                </c:pt>
                <c:pt idx="66709">
                  <c:v>24.896790419972533</c:v>
                </c:pt>
                <c:pt idx="66710">
                  <c:v>31.50435515625</c:v>
                </c:pt>
                <c:pt idx="66711">
                  <c:v>26.911507909755013</c:v>
                </c:pt>
                <c:pt idx="66712">
                  <c:v>26.272322715414504</c:v>
                </c:pt>
                <c:pt idx="66713">
                  <c:v>24.30027917499244</c:v>
                </c:pt>
                <c:pt idx="66714">
                  <c:v>34.555296683037056</c:v>
                </c:pt>
                <c:pt idx="66715">
                  <c:v>36.311088473196151</c:v>
                </c:pt>
                <c:pt idx="66716">
                  <c:v>27.613516092487856</c:v>
                </c:pt>
                <c:pt idx="66717">
                  <c:v>21.698109470030531</c:v>
                </c:pt>
                <c:pt idx="66718">
                  <c:v>32.584761329475867</c:v>
                </c:pt>
                <c:pt idx="66719">
                  <c:v>18.842916609007183</c:v>
                </c:pt>
                <c:pt idx="66720">
                  <c:v>21.561352715551333</c:v>
                </c:pt>
                <c:pt idx="66721">
                  <c:v>36.80626333626126</c:v>
                </c:pt>
                <c:pt idx="66722">
                  <c:v>32.968810356040876</c:v>
                </c:pt>
                <c:pt idx="66723">
                  <c:v>26.471685323477644</c:v>
                </c:pt>
                <c:pt idx="66724">
                  <c:v>35.361054997640508</c:v>
                </c:pt>
                <c:pt idx="66725">
                  <c:v>46.158761095481175</c:v>
                </c:pt>
                <c:pt idx="66726">
                  <c:v>33.615720457217947</c:v>
                </c:pt>
                <c:pt idx="66727">
                  <c:v>24.8837084786947</c:v>
                </c:pt>
                <c:pt idx="66728">
                  <c:v>28.845558639974954</c:v>
                </c:pt>
                <c:pt idx="66729">
                  <c:v>27.883843658595012</c:v>
                </c:pt>
                <c:pt idx="66730">
                  <c:v>24.288411236626878</c:v>
                </c:pt>
                <c:pt idx="66731">
                  <c:v>56.029903960333534</c:v>
                </c:pt>
                <c:pt idx="66732">
                  <c:v>46.258043582367058</c:v>
                </c:pt>
                <c:pt idx="66733">
                  <c:v>28.560182977369948</c:v>
                </c:pt>
                <c:pt idx="66734">
                  <c:v>25.433637588729422</c:v>
                </c:pt>
                <c:pt idx="66735">
                  <c:v>37.226199307326077</c:v>
                </c:pt>
                <c:pt idx="66736">
                  <c:v>25.342630026478901</c:v>
                </c:pt>
                <c:pt idx="66737">
                  <c:v>39.245916483397274</c:v>
                </c:pt>
                <c:pt idx="66738">
                  <c:v>54.691755241270165</c:v>
                </c:pt>
                <c:pt idx="66739">
                  <c:v>35.808857265661281</c:v>
                </c:pt>
                <c:pt idx="66740">
                  <c:v>35.571982940529857</c:v>
                </c:pt>
                <c:pt idx="66741">
                  <c:v>22.763411815785325</c:v>
                </c:pt>
                <c:pt idx="66742">
                  <c:v>18.906153254866037</c:v>
                </c:pt>
                <c:pt idx="66743">
                  <c:v>40.327094313276206</c:v>
                </c:pt>
                <c:pt idx="66744">
                  <c:v>45.284369045989592</c:v>
                </c:pt>
                <c:pt idx="66745">
                  <c:v>34.554354111722979</c:v>
                </c:pt>
                <c:pt idx="66746">
                  <c:v>25.684135889618332</c:v>
                </c:pt>
                <c:pt idx="66747">
                  <c:v>23.277099284630047</c:v>
                </c:pt>
                <c:pt idx="66748">
                  <c:v>25.650873875082375</c:v>
                </c:pt>
                <c:pt idx="66749">
                  <c:v>26.568268579876062</c:v>
                </c:pt>
                <c:pt idx="66750">
                  <c:v>22.694306790803896</c:v>
                </c:pt>
                <c:pt idx="66751">
                  <c:v>43.028973575170369</c:v>
                </c:pt>
                <c:pt idx="66752">
                  <c:v>22.272204255430466</c:v>
                </c:pt>
                <c:pt idx="66753">
                  <c:v>24.577016113764397</c:v>
                </c:pt>
                <c:pt idx="66754">
                  <c:v>43.017725533882533</c:v>
                </c:pt>
                <c:pt idx="66755">
                  <c:v>62.081059235795536</c:v>
                </c:pt>
                <c:pt idx="66756">
                  <c:v>30.561689983664181</c:v>
                </c:pt>
                <c:pt idx="66757">
                  <c:v>23.274275219343394</c:v>
                </c:pt>
                <c:pt idx="66758">
                  <c:v>35.36977341183686</c:v>
                </c:pt>
                <c:pt idx="66759">
                  <c:v>30.143635488562733</c:v>
                </c:pt>
                <c:pt idx="66760">
                  <c:v>43.246435862081846</c:v>
                </c:pt>
                <c:pt idx="66761">
                  <c:v>24.735523494078205</c:v>
                </c:pt>
                <c:pt idx="66762">
                  <c:v>41.46965830326895</c:v>
                </c:pt>
                <c:pt idx="66763">
                  <c:v>24.764409956249956</c:v>
                </c:pt>
                <c:pt idx="66764">
                  <c:v>25.585446290089219</c:v>
                </c:pt>
                <c:pt idx="66765">
                  <c:v>24.618732696320244</c:v>
                </c:pt>
                <c:pt idx="66766">
                  <c:v>52.680530669123321</c:v>
                </c:pt>
                <c:pt idx="66767">
                  <c:v>33.945932405207742</c:v>
                </c:pt>
                <c:pt idx="66768">
                  <c:v>19.250985796408859</c:v>
                </c:pt>
                <c:pt idx="66769">
                  <c:v>23.853597650440747</c:v>
                </c:pt>
                <c:pt idx="66770">
                  <c:v>34.544895352220649</c:v>
                </c:pt>
                <c:pt idx="66771">
                  <c:v>33.541208047691413</c:v>
                </c:pt>
                <c:pt idx="66772">
                  <c:v>38.966410708713617</c:v>
                </c:pt>
                <c:pt idx="66773">
                  <c:v>29.938078613607189</c:v>
                </c:pt>
                <c:pt idx="66774">
                  <c:v>25.880371660298024</c:v>
                </c:pt>
                <c:pt idx="66775">
                  <c:v>20.385521852006821</c:v>
                </c:pt>
                <c:pt idx="66776">
                  <c:v>20.75126484035448</c:v>
                </c:pt>
                <c:pt idx="66777">
                  <c:v>36.885496937988556</c:v>
                </c:pt>
                <c:pt idx="66778">
                  <c:v>47.708735378724441</c:v>
                </c:pt>
                <c:pt idx="66779">
                  <c:v>21.441784906756769</c:v>
                </c:pt>
                <c:pt idx="66780">
                  <c:v>21.762522299205777</c:v>
                </c:pt>
                <c:pt idx="66781">
                  <c:v>30.003320998898246</c:v>
                </c:pt>
                <c:pt idx="66782">
                  <c:v>34.220302306814844</c:v>
                </c:pt>
                <c:pt idx="66783">
                  <c:v>28.454481618078773</c:v>
                </c:pt>
                <c:pt idx="66784">
                  <c:v>51.280349701283114</c:v>
                </c:pt>
                <c:pt idx="66785">
                  <c:v>30.992199571726005</c:v>
                </c:pt>
                <c:pt idx="66786">
                  <c:v>20.10985851358598</c:v>
                </c:pt>
                <c:pt idx="66787">
                  <c:v>33.990914413732916</c:v>
                </c:pt>
                <c:pt idx="66788">
                  <c:v>22.971487471445965</c:v>
                </c:pt>
                <c:pt idx="66789">
                  <c:v>49.815836746071994</c:v>
                </c:pt>
                <c:pt idx="66790">
                  <c:v>30.29967878348528</c:v>
                </c:pt>
                <c:pt idx="66791">
                  <c:v>33.947930817705306</c:v>
                </c:pt>
                <c:pt idx="66792">
                  <c:v>26.145817351696405</c:v>
                </c:pt>
                <c:pt idx="66793">
                  <c:v>23.296290075336575</c:v>
                </c:pt>
                <c:pt idx="66794">
                  <c:v>19.647390231358557</c:v>
                </c:pt>
                <c:pt idx="66795">
                  <c:v>32.476444799842284</c:v>
                </c:pt>
                <c:pt idx="66796">
                  <c:v>31.791682989459524</c:v>
                </c:pt>
                <c:pt idx="66797">
                  <c:v>39.602131655526996</c:v>
                </c:pt>
                <c:pt idx="66798">
                  <c:v>22.948675814692095</c:v>
                </c:pt>
                <c:pt idx="66799">
                  <c:v>32.87109551072875</c:v>
                </c:pt>
                <c:pt idx="66800">
                  <c:v>50.371770078991091</c:v>
                </c:pt>
                <c:pt idx="66801">
                  <c:v>27.212451359507391</c:v>
                </c:pt>
                <c:pt idx="66802">
                  <c:v>56.601433721798358</c:v>
                </c:pt>
                <c:pt idx="66803">
                  <c:v>32.466320355600047</c:v>
                </c:pt>
                <c:pt idx="66804">
                  <c:v>52.308123792839638</c:v>
                </c:pt>
                <c:pt idx="66805">
                  <c:v>46.115040497145131</c:v>
                </c:pt>
                <c:pt idx="66806">
                  <c:v>25.604477654129219</c:v>
                </c:pt>
                <c:pt idx="66807">
                  <c:v>42.682797940966424</c:v>
                </c:pt>
                <c:pt idx="66808">
                  <c:v>23.543545956952567</c:v>
                </c:pt>
                <c:pt idx="66809">
                  <c:v>39.91627118105076</c:v>
                </c:pt>
                <c:pt idx="66810">
                  <c:v>27.763306833868825</c:v>
                </c:pt>
                <c:pt idx="66811">
                  <c:v>51.187495105242455</c:v>
                </c:pt>
                <c:pt idx="66812">
                  <c:v>20.834672997212994</c:v>
                </c:pt>
                <c:pt idx="66813">
                  <c:v>46.658004304026136</c:v>
                </c:pt>
                <c:pt idx="66814">
                  <c:v>49.972508163554892</c:v>
                </c:pt>
                <c:pt idx="66815">
                  <c:v>25.688260379828694</c:v>
                </c:pt>
                <c:pt idx="66816">
                  <c:v>33.258792705559458</c:v>
                </c:pt>
                <c:pt idx="66817">
                  <c:v>38.045311791655841</c:v>
                </c:pt>
                <c:pt idx="66818">
                  <c:v>26.671337596490698</c:v>
                </c:pt>
                <c:pt idx="66819">
                  <c:v>31.680436712678365</c:v>
                </c:pt>
                <c:pt idx="66820">
                  <c:v>19.793930490761646</c:v>
                </c:pt>
                <c:pt idx="66821">
                  <c:v>23.529749951025988</c:v>
                </c:pt>
                <c:pt idx="66822">
                  <c:v>33.196279836162269</c:v>
                </c:pt>
                <c:pt idx="66823">
                  <c:v>19.978401902820924</c:v>
                </c:pt>
                <c:pt idx="66824">
                  <c:v>25.901309157633893</c:v>
                </c:pt>
                <c:pt idx="66825">
                  <c:v>44.382093859100245</c:v>
                </c:pt>
                <c:pt idx="66826">
                  <c:v>37.077939191283775</c:v>
                </c:pt>
                <c:pt idx="66827">
                  <c:v>28.495488131339616</c:v>
                </c:pt>
                <c:pt idx="66828">
                  <c:v>18.767649001150524</c:v>
                </c:pt>
                <c:pt idx="66829">
                  <c:v>40.175059202133859</c:v>
                </c:pt>
                <c:pt idx="66830">
                  <c:v>21.434494226456422</c:v>
                </c:pt>
                <c:pt idx="66831">
                  <c:v>43.361917425288702</c:v>
                </c:pt>
                <c:pt idx="66832">
                  <c:v>23.398763739806192</c:v>
                </c:pt>
                <c:pt idx="66833">
                  <c:v>19.701541474202408</c:v>
                </c:pt>
                <c:pt idx="66834">
                  <c:v>28.507360032800435</c:v>
                </c:pt>
                <c:pt idx="66835">
                  <c:v>29.078753665611224</c:v>
                </c:pt>
                <c:pt idx="66836">
                  <c:v>22.274269183653654</c:v>
                </c:pt>
                <c:pt idx="66837">
                  <c:v>22.904497700890179</c:v>
                </c:pt>
                <c:pt idx="66838">
                  <c:v>21.212684367809292</c:v>
                </c:pt>
                <c:pt idx="66839">
                  <c:v>48.228305743348976</c:v>
                </c:pt>
                <c:pt idx="66840">
                  <c:v>32.929982984704381</c:v>
                </c:pt>
                <c:pt idx="66841">
                  <c:v>28.840907733679899</c:v>
                </c:pt>
                <c:pt idx="66842">
                  <c:v>19.568634112622874</c:v>
                </c:pt>
                <c:pt idx="66843">
                  <c:v>32.085826810879659</c:v>
                </c:pt>
                <c:pt idx="66844">
                  <c:v>24.188096608165992</c:v>
                </c:pt>
                <c:pt idx="66845">
                  <c:v>21.385651192991574</c:v>
                </c:pt>
                <c:pt idx="66846">
                  <c:v>24.029767756275671</c:v>
                </c:pt>
                <c:pt idx="66847">
                  <c:v>30.428564019312795</c:v>
                </c:pt>
                <c:pt idx="66848">
                  <c:v>36.501876392591285</c:v>
                </c:pt>
                <c:pt idx="66849">
                  <c:v>31.521368020995329</c:v>
                </c:pt>
                <c:pt idx="66850">
                  <c:v>42.672125422010886</c:v>
                </c:pt>
                <c:pt idx="66851">
                  <c:v>28.739448305919904</c:v>
                </c:pt>
                <c:pt idx="66852">
                  <c:v>52.066905156544017</c:v>
                </c:pt>
                <c:pt idx="66853">
                  <c:v>31.065163149666482</c:v>
                </c:pt>
                <c:pt idx="66854">
                  <c:v>36.110030836273069</c:v>
                </c:pt>
                <c:pt idx="66855">
                  <c:v>25.030028336377086</c:v>
                </c:pt>
                <c:pt idx="66856">
                  <c:v>52.3666756533908</c:v>
                </c:pt>
                <c:pt idx="66857">
                  <c:v>35.070286164720258</c:v>
                </c:pt>
                <c:pt idx="66858">
                  <c:v>51.570026663761269</c:v>
                </c:pt>
                <c:pt idx="66859">
                  <c:v>35.894654281921532</c:v>
                </c:pt>
                <c:pt idx="66860">
                  <c:v>34.791566792090578</c:v>
                </c:pt>
                <c:pt idx="66861">
                  <c:v>24.310521061396358</c:v>
                </c:pt>
                <c:pt idx="66862">
                  <c:v>26.800367140976324</c:v>
                </c:pt>
                <c:pt idx="66863">
                  <c:v>30.670643945925139</c:v>
                </c:pt>
                <c:pt idx="66864">
                  <c:v>26.86103906458932</c:v>
                </c:pt>
                <c:pt idx="66865">
                  <c:v>38.417144302206871</c:v>
                </c:pt>
                <c:pt idx="66866">
                  <c:v>25.046215767049102</c:v>
                </c:pt>
                <c:pt idx="66867">
                  <c:v>28.48288797839864</c:v>
                </c:pt>
                <c:pt idx="66868">
                  <c:v>21.518496209906182</c:v>
                </c:pt>
                <c:pt idx="66869">
                  <c:v>55.647054468423619</c:v>
                </c:pt>
                <c:pt idx="66870">
                  <c:v>24.979382820721462</c:v>
                </c:pt>
                <c:pt idx="66871">
                  <c:v>27.021154954554031</c:v>
                </c:pt>
                <c:pt idx="66872">
                  <c:v>31.200264058864114</c:v>
                </c:pt>
                <c:pt idx="66873">
                  <c:v>31.945431072057463</c:v>
                </c:pt>
                <c:pt idx="66874">
                  <c:v>20.02350040048583</c:v>
                </c:pt>
                <c:pt idx="66875">
                  <c:v>28.098053766979433</c:v>
                </c:pt>
                <c:pt idx="66876">
                  <c:v>28.97099082172771</c:v>
                </c:pt>
                <c:pt idx="66877">
                  <c:v>36.578106721216031</c:v>
                </c:pt>
                <c:pt idx="66878">
                  <c:v>36.252218288693136</c:v>
                </c:pt>
                <c:pt idx="66879">
                  <c:v>46.047233612498914</c:v>
                </c:pt>
                <c:pt idx="66880">
                  <c:v>26.139836265601403</c:v>
                </c:pt>
                <c:pt idx="66881">
                  <c:v>56.735076707559571</c:v>
                </c:pt>
                <c:pt idx="66882">
                  <c:v>22.548279876802546</c:v>
                </c:pt>
                <c:pt idx="66883">
                  <c:v>33.761060060590196</c:v>
                </c:pt>
                <c:pt idx="66884">
                  <c:v>22.983489280420674</c:v>
                </c:pt>
                <c:pt idx="66885">
                  <c:v>31.086129275416553</c:v>
                </c:pt>
                <c:pt idx="66886">
                  <c:v>28.926463601471056</c:v>
                </c:pt>
                <c:pt idx="66887">
                  <c:v>24.073540343296607</c:v>
                </c:pt>
                <c:pt idx="66888">
                  <c:v>47.36001938165068</c:v>
                </c:pt>
                <c:pt idx="66889">
                  <c:v>52.621642556632999</c:v>
                </c:pt>
                <c:pt idx="66890">
                  <c:v>33.951961926743266</c:v>
                </c:pt>
                <c:pt idx="66891">
                  <c:v>25.743495396945146</c:v>
                </c:pt>
                <c:pt idx="66892">
                  <c:v>22.593025899716483</c:v>
                </c:pt>
                <c:pt idx="66893">
                  <c:v>27.700131454828998</c:v>
                </c:pt>
                <c:pt idx="66894">
                  <c:v>28.45535209088095</c:v>
                </c:pt>
                <c:pt idx="66895">
                  <c:v>28.016720623900728</c:v>
                </c:pt>
                <c:pt idx="66896">
                  <c:v>28.658488837003631</c:v>
                </c:pt>
                <c:pt idx="66897">
                  <c:v>52.544925020566275</c:v>
                </c:pt>
                <c:pt idx="66898">
                  <c:v>29.830185846627018</c:v>
                </c:pt>
                <c:pt idx="66899">
                  <c:v>20.565423773401029</c:v>
                </c:pt>
                <c:pt idx="66900">
                  <c:v>23.262286317122729</c:v>
                </c:pt>
                <c:pt idx="66901">
                  <c:v>38.076768897610208</c:v>
                </c:pt>
                <c:pt idx="66902">
                  <c:v>22.286664590644232</c:v>
                </c:pt>
                <c:pt idx="66903">
                  <c:v>23.442524773950076</c:v>
                </c:pt>
                <c:pt idx="66904">
                  <c:v>53.098304270303188</c:v>
                </c:pt>
                <c:pt idx="66905">
                  <c:v>27.362434709141056</c:v>
                </c:pt>
                <c:pt idx="66906">
                  <c:v>25.670204169699566</c:v>
                </c:pt>
                <c:pt idx="66907">
                  <c:v>43.367832646975593</c:v>
                </c:pt>
                <c:pt idx="66908">
                  <c:v>32.9431843554637</c:v>
                </c:pt>
                <c:pt idx="66909">
                  <c:v>30.080118814090522</c:v>
                </c:pt>
                <c:pt idx="66910">
                  <c:v>27.456375870113238</c:v>
                </c:pt>
                <c:pt idx="66911">
                  <c:v>26.077375747094091</c:v>
                </c:pt>
                <c:pt idx="66912">
                  <c:v>31.544735378275689</c:v>
                </c:pt>
                <c:pt idx="66913">
                  <c:v>25.736055928274837</c:v>
                </c:pt>
                <c:pt idx="66914">
                  <c:v>26.41458597035361</c:v>
                </c:pt>
                <c:pt idx="66915">
                  <c:v>35.968621746494456</c:v>
                </c:pt>
                <c:pt idx="66916">
                  <c:v>47.775952191973055</c:v>
                </c:pt>
                <c:pt idx="66917">
                  <c:v>27.781707972082657</c:v>
                </c:pt>
                <c:pt idx="66918">
                  <c:v>36.863169805991674</c:v>
                </c:pt>
                <c:pt idx="66919">
                  <c:v>49.974973618807439</c:v>
                </c:pt>
                <c:pt idx="66920">
                  <c:v>25.279360930264474</c:v>
                </c:pt>
                <c:pt idx="66921">
                  <c:v>24.266635165819199</c:v>
                </c:pt>
                <c:pt idx="66922">
                  <c:v>26.361208569707237</c:v>
                </c:pt>
                <c:pt idx="66923">
                  <c:v>28.812011970758817</c:v>
                </c:pt>
                <c:pt idx="66924">
                  <c:v>33.354589364116258</c:v>
                </c:pt>
                <c:pt idx="66925">
                  <c:v>43.02685784047118</c:v>
                </c:pt>
                <c:pt idx="66926">
                  <c:v>26.319165663970647</c:v>
                </c:pt>
                <c:pt idx="66927">
                  <c:v>29.105589843722758</c:v>
                </c:pt>
                <c:pt idx="66928">
                  <c:v>26.795834998232266</c:v>
                </c:pt>
                <c:pt idx="66929">
                  <c:v>62.217302229834957</c:v>
                </c:pt>
                <c:pt idx="66930">
                  <c:v>20.979330502444711</c:v>
                </c:pt>
                <c:pt idx="66931">
                  <c:v>20.657321270044971</c:v>
                </c:pt>
                <c:pt idx="66932">
                  <c:v>27.329206786739565</c:v>
                </c:pt>
                <c:pt idx="66933">
                  <c:v>24.096435085896971</c:v>
                </c:pt>
                <c:pt idx="66934">
                  <c:v>32.150463261153327</c:v>
                </c:pt>
                <c:pt idx="66935">
                  <c:v>21.172761095302651</c:v>
                </c:pt>
                <c:pt idx="66936">
                  <c:v>32.166347722672455</c:v>
                </c:pt>
                <c:pt idx="66937">
                  <c:v>20.993937325927895</c:v>
                </c:pt>
                <c:pt idx="66938">
                  <c:v>54.116048347061685</c:v>
                </c:pt>
                <c:pt idx="66939">
                  <c:v>25.66731558264857</c:v>
                </c:pt>
                <c:pt idx="66940">
                  <c:v>30.541330620759666</c:v>
                </c:pt>
                <c:pt idx="66941">
                  <c:v>19.131550184247224</c:v>
                </c:pt>
                <c:pt idx="66942">
                  <c:v>30.212719809608203</c:v>
                </c:pt>
                <c:pt idx="66943">
                  <c:v>27.605475674787431</c:v>
                </c:pt>
                <c:pt idx="66944">
                  <c:v>26.60090969596569</c:v>
                </c:pt>
                <c:pt idx="66945">
                  <c:v>30.031985539298116</c:v>
                </c:pt>
                <c:pt idx="66946">
                  <c:v>51.830960833828982</c:v>
                </c:pt>
                <c:pt idx="66947">
                  <c:v>16.272784431658117</c:v>
                </c:pt>
                <c:pt idx="66948">
                  <c:v>27.165255814820803</c:v>
                </c:pt>
                <c:pt idx="66949">
                  <c:v>34.132391908782033</c:v>
                </c:pt>
                <c:pt idx="66950">
                  <c:v>32.446914845967619</c:v>
                </c:pt>
                <c:pt idx="66951">
                  <c:v>25.899025140998852</c:v>
                </c:pt>
                <c:pt idx="66952">
                  <c:v>33.494149552823529</c:v>
                </c:pt>
                <c:pt idx="66953">
                  <c:v>28.086486207815391</c:v>
                </c:pt>
                <c:pt idx="66954">
                  <c:v>46.93115223920109</c:v>
                </c:pt>
                <c:pt idx="66955">
                  <c:v>53.692896218015029</c:v>
                </c:pt>
                <c:pt idx="66956">
                  <c:v>25.646709644386732</c:v>
                </c:pt>
                <c:pt idx="66957">
                  <c:v>19.06235484911533</c:v>
                </c:pt>
                <c:pt idx="66958">
                  <c:v>56.130814230219144</c:v>
                </c:pt>
                <c:pt idx="66959">
                  <c:v>20.220123299608073</c:v>
                </c:pt>
                <c:pt idx="66960">
                  <c:v>22.71492951731004</c:v>
                </c:pt>
                <c:pt idx="66961">
                  <c:v>18.042997210193747</c:v>
                </c:pt>
                <c:pt idx="66962">
                  <c:v>28.145546967488368</c:v>
                </c:pt>
                <c:pt idx="66963">
                  <c:v>48.759103441259796</c:v>
                </c:pt>
                <c:pt idx="66964">
                  <c:v>25.827737031890969</c:v>
                </c:pt>
                <c:pt idx="66965">
                  <c:v>28.374680061001875</c:v>
                </c:pt>
                <c:pt idx="66966">
                  <c:v>27.228375171416349</c:v>
                </c:pt>
                <c:pt idx="66967">
                  <c:v>28.523453319671756</c:v>
                </c:pt>
                <c:pt idx="66968">
                  <c:v>34.342218318281034</c:v>
                </c:pt>
                <c:pt idx="66969">
                  <c:v>37.440345945958221</c:v>
                </c:pt>
                <c:pt idx="66970">
                  <c:v>26.190012638524479</c:v>
                </c:pt>
                <c:pt idx="66971">
                  <c:v>25.85036722252833</c:v>
                </c:pt>
                <c:pt idx="66972">
                  <c:v>24.173840334162485</c:v>
                </c:pt>
                <c:pt idx="66973">
                  <c:v>29.000092782006877</c:v>
                </c:pt>
                <c:pt idx="66974">
                  <c:v>30.810331964256019</c:v>
                </c:pt>
                <c:pt idx="66975">
                  <c:v>37.353835713467575</c:v>
                </c:pt>
                <c:pt idx="66976">
                  <c:v>22.734034243110496</c:v>
                </c:pt>
                <c:pt idx="66977">
                  <c:v>24.727704705444349</c:v>
                </c:pt>
                <c:pt idx="66978">
                  <c:v>29.660000095315638</c:v>
                </c:pt>
                <c:pt idx="66979">
                  <c:v>40.152927592772762</c:v>
                </c:pt>
                <c:pt idx="66980">
                  <c:v>29.000608019785464</c:v>
                </c:pt>
                <c:pt idx="66981">
                  <c:v>29.509565095431007</c:v>
                </c:pt>
                <c:pt idx="66982">
                  <c:v>30.469953011976806</c:v>
                </c:pt>
                <c:pt idx="66983">
                  <c:v>29.20948890436944</c:v>
                </c:pt>
                <c:pt idx="66984">
                  <c:v>26.308343517610471</c:v>
                </c:pt>
                <c:pt idx="66985">
                  <c:v>47.218569804439703</c:v>
                </c:pt>
                <c:pt idx="66986">
                  <c:v>22.856731043168676</c:v>
                </c:pt>
                <c:pt idx="66987">
                  <c:v>36.156640599003183</c:v>
                </c:pt>
                <c:pt idx="66988">
                  <c:v>26.661114752489329</c:v>
                </c:pt>
                <c:pt idx="66989">
                  <c:v>50.588381853573694</c:v>
                </c:pt>
                <c:pt idx="66990">
                  <c:v>26.864171163138039</c:v>
                </c:pt>
                <c:pt idx="66991">
                  <c:v>40.839806841736753</c:v>
                </c:pt>
                <c:pt idx="66992">
                  <c:v>27.658474126109436</c:v>
                </c:pt>
                <c:pt idx="66993">
                  <c:v>15.582762677537637</c:v>
                </c:pt>
                <c:pt idx="66994">
                  <c:v>28.682804457086096</c:v>
                </c:pt>
                <c:pt idx="66995">
                  <c:v>24.25188047546898</c:v>
                </c:pt>
                <c:pt idx="66996">
                  <c:v>30.191544106570309</c:v>
                </c:pt>
                <c:pt idx="66997">
                  <c:v>35.766715276028897</c:v>
                </c:pt>
                <c:pt idx="66998">
                  <c:v>30.091857047463776</c:v>
                </c:pt>
                <c:pt idx="66999">
                  <c:v>27.46086563526314</c:v>
                </c:pt>
                <c:pt idx="67000">
                  <c:v>35.109740222006067</c:v>
                </c:pt>
                <c:pt idx="67001">
                  <c:v>27.375599791538896</c:v>
                </c:pt>
                <c:pt idx="67002">
                  <c:v>32.328176987255077</c:v>
                </c:pt>
                <c:pt idx="67003">
                  <c:v>33.599839133007755</c:v>
                </c:pt>
                <c:pt idx="67004">
                  <c:v>34.227269580832342</c:v>
                </c:pt>
                <c:pt idx="67005">
                  <c:v>27.211922010213804</c:v>
                </c:pt>
                <c:pt idx="67006">
                  <c:v>33.056606658697397</c:v>
                </c:pt>
                <c:pt idx="67007">
                  <c:v>24.934460812104803</c:v>
                </c:pt>
                <c:pt idx="67008">
                  <c:v>50.219113467677801</c:v>
                </c:pt>
                <c:pt idx="67009">
                  <c:v>23.426320037140691</c:v>
                </c:pt>
                <c:pt idx="67010">
                  <c:v>36.838590924068498</c:v>
                </c:pt>
                <c:pt idx="67011">
                  <c:v>28.844789172098604</c:v>
                </c:pt>
                <c:pt idx="67012">
                  <c:v>27.466180038274103</c:v>
                </c:pt>
                <c:pt idx="67013">
                  <c:v>51.514257640324622</c:v>
                </c:pt>
                <c:pt idx="67014">
                  <c:v>28.721454093983255</c:v>
                </c:pt>
                <c:pt idx="67015">
                  <c:v>28.924587804390693</c:v>
                </c:pt>
                <c:pt idx="67016">
                  <c:v>30.294206753091398</c:v>
                </c:pt>
                <c:pt idx="67017">
                  <c:v>32.719588483660559</c:v>
                </c:pt>
                <c:pt idx="67018">
                  <c:v>29.045023432647412</c:v>
                </c:pt>
                <c:pt idx="67019">
                  <c:v>25.567393230705349</c:v>
                </c:pt>
                <c:pt idx="67020">
                  <c:v>41.997126624999261</c:v>
                </c:pt>
                <c:pt idx="67021">
                  <c:v>20.588612598637795</c:v>
                </c:pt>
                <c:pt idx="67022">
                  <c:v>20.683501514261565</c:v>
                </c:pt>
                <c:pt idx="67023">
                  <c:v>31.459305579776267</c:v>
                </c:pt>
                <c:pt idx="67024">
                  <c:v>22.843295313462569</c:v>
                </c:pt>
                <c:pt idx="67025">
                  <c:v>27.140542370698945</c:v>
                </c:pt>
                <c:pt idx="67026">
                  <c:v>26.147052924400789</c:v>
                </c:pt>
                <c:pt idx="67027">
                  <c:v>50.212058326254208</c:v>
                </c:pt>
                <c:pt idx="67028">
                  <c:v>26.228776830831322</c:v>
                </c:pt>
                <c:pt idx="67029">
                  <c:v>26.421295709270808</c:v>
                </c:pt>
                <c:pt idx="67030">
                  <c:v>43.48585463616439</c:v>
                </c:pt>
                <c:pt idx="67031">
                  <c:v>43.909033034972516</c:v>
                </c:pt>
                <c:pt idx="67032">
                  <c:v>43.244511671037657</c:v>
                </c:pt>
                <c:pt idx="67033">
                  <c:v>27.952089731758534</c:v>
                </c:pt>
                <c:pt idx="67034">
                  <c:v>22.769573498859113</c:v>
                </c:pt>
                <c:pt idx="67035">
                  <c:v>20.968204162350361</c:v>
                </c:pt>
                <c:pt idx="67036">
                  <c:v>29.157237398724416</c:v>
                </c:pt>
                <c:pt idx="67037">
                  <c:v>24.885057451925864</c:v>
                </c:pt>
                <c:pt idx="67038">
                  <c:v>25.158827137185565</c:v>
                </c:pt>
                <c:pt idx="67039">
                  <c:v>23.070900002469564</c:v>
                </c:pt>
                <c:pt idx="67040">
                  <c:v>41.033033576144376</c:v>
                </c:pt>
                <c:pt idx="67041">
                  <c:v>31.790431815997533</c:v>
                </c:pt>
                <c:pt idx="67042">
                  <c:v>22.454937791527335</c:v>
                </c:pt>
                <c:pt idx="67043">
                  <c:v>31.465066051131654</c:v>
                </c:pt>
                <c:pt idx="67044">
                  <c:v>24.872761880890618</c:v>
                </c:pt>
                <c:pt idx="67045">
                  <c:v>54.418971439392507</c:v>
                </c:pt>
                <c:pt idx="67046">
                  <c:v>26.186250986522428</c:v>
                </c:pt>
                <c:pt idx="67047">
                  <c:v>26.587488355878335</c:v>
                </c:pt>
                <c:pt idx="67048">
                  <c:v>54.09759503479745</c:v>
                </c:pt>
                <c:pt idx="67049">
                  <c:v>22.601887209507929</c:v>
                </c:pt>
                <c:pt idx="67050">
                  <c:v>24.580186481501013</c:v>
                </c:pt>
                <c:pt idx="67051">
                  <c:v>28.438675527581676</c:v>
                </c:pt>
                <c:pt idx="67052">
                  <c:v>22.056393605644868</c:v>
                </c:pt>
                <c:pt idx="67053">
                  <c:v>19.728057998918079</c:v>
                </c:pt>
                <c:pt idx="67054">
                  <c:v>29.765434306506606</c:v>
                </c:pt>
                <c:pt idx="67055">
                  <c:v>47.774172204532974</c:v>
                </c:pt>
                <c:pt idx="67056">
                  <c:v>45.109608751951654</c:v>
                </c:pt>
                <c:pt idx="67057">
                  <c:v>24.304436072122023</c:v>
                </c:pt>
                <c:pt idx="67058">
                  <c:v>20.47512094069733</c:v>
                </c:pt>
                <c:pt idx="67059">
                  <c:v>44.405514753309014</c:v>
                </c:pt>
                <c:pt idx="67060">
                  <c:v>29.20748752239707</c:v>
                </c:pt>
                <c:pt idx="67061">
                  <c:v>29.700893798202173</c:v>
                </c:pt>
                <c:pt idx="67062">
                  <c:v>43.591382277509801</c:v>
                </c:pt>
                <c:pt idx="67063">
                  <c:v>31.684701728233911</c:v>
                </c:pt>
                <c:pt idx="67064">
                  <c:v>39.931159016622956</c:v>
                </c:pt>
                <c:pt idx="67065">
                  <c:v>18.340383511403132</c:v>
                </c:pt>
                <c:pt idx="67066">
                  <c:v>36.695265704187577</c:v>
                </c:pt>
                <c:pt idx="67067">
                  <c:v>21.168144422902969</c:v>
                </c:pt>
                <c:pt idx="67068">
                  <c:v>32.702129533405525</c:v>
                </c:pt>
                <c:pt idx="67069">
                  <c:v>26.532164016001239</c:v>
                </c:pt>
                <c:pt idx="67070">
                  <c:v>34.044700447699704</c:v>
                </c:pt>
                <c:pt idx="67071">
                  <c:v>45.880246609136741</c:v>
                </c:pt>
                <c:pt idx="67072">
                  <c:v>52.500846609328462</c:v>
                </c:pt>
                <c:pt idx="67073">
                  <c:v>25.574417089080907</c:v>
                </c:pt>
                <c:pt idx="67074">
                  <c:v>49.961749521898554</c:v>
                </c:pt>
                <c:pt idx="67075">
                  <c:v>42.436875575714666</c:v>
                </c:pt>
                <c:pt idx="67076">
                  <c:v>36.889711795274849</c:v>
                </c:pt>
                <c:pt idx="67077">
                  <c:v>28.521004429919788</c:v>
                </c:pt>
                <c:pt idx="67078">
                  <c:v>44.119932814022576</c:v>
                </c:pt>
                <c:pt idx="67079">
                  <c:v>22.359048174949066</c:v>
                </c:pt>
                <c:pt idx="67080">
                  <c:v>48.913165947710915</c:v>
                </c:pt>
                <c:pt idx="67081">
                  <c:v>25.965766059394621</c:v>
                </c:pt>
                <c:pt idx="67082">
                  <c:v>49.457162313886364</c:v>
                </c:pt>
                <c:pt idx="67083">
                  <c:v>33.990865469628588</c:v>
                </c:pt>
                <c:pt idx="67084">
                  <c:v>29.647367986511977</c:v>
                </c:pt>
                <c:pt idx="67085">
                  <c:v>29.014132588846447</c:v>
                </c:pt>
                <c:pt idx="67086">
                  <c:v>52.006839191970045</c:v>
                </c:pt>
                <c:pt idx="67087">
                  <c:v>32.090993149213659</c:v>
                </c:pt>
                <c:pt idx="67088">
                  <c:v>16.20289379791835</c:v>
                </c:pt>
                <c:pt idx="67089">
                  <c:v>19.960977069654081</c:v>
                </c:pt>
                <c:pt idx="67090">
                  <c:v>25.450276494377498</c:v>
                </c:pt>
                <c:pt idx="67091">
                  <c:v>26.88185400069073</c:v>
                </c:pt>
                <c:pt idx="67092">
                  <c:v>31.297930158420375</c:v>
                </c:pt>
                <c:pt idx="67093">
                  <c:v>44.059399176720376</c:v>
                </c:pt>
                <c:pt idx="67094">
                  <c:v>29.286855503087807</c:v>
                </c:pt>
                <c:pt idx="67095">
                  <c:v>29.934801240614178</c:v>
                </c:pt>
                <c:pt idx="67096">
                  <c:v>31.165309695090102</c:v>
                </c:pt>
                <c:pt idx="67097">
                  <c:v>31.830439836411038</c:v>
                </c:pt>
                <c:pt idx="67098">
                  <c:v>25.60544952449942</c:v>
                </c:pt>
                <c:pt idx="67099">
                  <c:v>46.931557063969983</c:v>
                </c:pt>
                <c:pt idx="67100">
                  <c:v>30.999585514190187</c:v>
                </c:pt>
                <c:pt idx="67101">
                  <c:v>30.329971878544203</c:v>
                </c:pt>
                <c:pt idx="67102">
                  <c:v>29.608872373722065</c:v>
                </c:pt>
                <c:pt idx="67103">
                  <c:v>24.022718302702465</c:v>
                </c:pt>
                <c:pt idx="67104">
                  <c:v>32.300564017747554</c:v>
                </c:pt>
                <c:pt idx="67105">
                  <c:v>22.799876055195714</c:v>
                </c:pt>
                <c:pt idx="67106">
                  <c:v>41.342314602697087</c:v>
                </c:pt>
                <c:pt idx="67107">
                  <c:v>63.196102120824222</c:v>
                </c:pt>
                <c:pt idx="67108">
                  <c:v>18.077536118053104</c:v>
                </c:pt>
                <c:pt idx="67109">
                  <c:v>32.680806158210459</c:v>
                </c:pt>
                <c:pt idx="67110">
                  <c:v>19.583864966487042</c:v>
                </c:pt>
                <c:pt idx="67111">
                  <c:v>22.805965908568094</c:v>
                </c:pt>
                <c:pt idx="67112">
                  <c:v>27.390721241619758</c:v>
                </c:pt>
                <c:pt idx="67113">
                  <c:v>25.607775663170838</c:v>
                </c:pt>
                <c:pt idx="67114">
                  <c:v>25.634508407471689</c:v>
                </c:pt>
                <c:pt idx="67115">
                  <c:v>32.472855993120788</c:v>
                </c:pt>
                <c:pt idx="67116">
                  <c:v>38.333953126139505</c:v>
                </c:pt>
                <c:pt idx="67117">
                  <c:v>39.795324051123536</c:v>
                </c:pt>
                <c:pt idx="67118">
                  <c:v>32.11606395193477</c:v>
                </c:pt>
                <c:pt idx="67119">
                  <c:v>45.166063954892749</c:v>
                </c:pt>
                <c:pt idx="67120">
                  <c:v>39.581936936572191</c:v>
                </c:pt>
                <c:pt idx="67121">
                  <c:v>27.169775508590178</c:v>
                </c:pt>
                <c:pt idx="67122">
                  <c:v>30.652120115208518</c:v>
                </c:pt>
                <c:pt idx="67123">
                  <c:v>19.856736109878803</c:v>
                </c:pt>
                <c:pt idx="67124">
                  <c:v>58.23816095531803</c:v>
                </c:pt>
                <c:pt idx="67125">
                  <c:v>25.349223880630014</c:v>
                </c:pt>
                <c:pt idx="67126">
                  <c:v>31.057991511737274</c:v>
                </c:pt>
                <c:pt idx="67127">
                  <c:v>22.982148950481687</c:v>
                </c:pt>
                <c:pt idx="67128">
                  <c:v>42.402347274742347</c:v>
                </c:pt>
                <c:pt idx="67129">
                  <c:v>50.697670517323445</c:v>
                </c:pt>
                <c:pt idx="67130">
                  <c:v>31.916252472988138</c:v>
                </c:pt>
                <c:pt idx="67131">
                  <c:v>31.985405108768695</c:v>
                </c:pt>
                <c:pt idx="67132">
                  <c:v>41.411965784232699</c:v>
                </c:pt>
                <c:pt idx="67133">
                  <c:v>31.153154887681307</c:v>
                </c:pt>
                <c:pt idx="67134">
                  <c:v>32.779338563054417</c:v>
                </c:pt>
                <c:pt idx="67135">
                  <c:v>28.967040777847135</c:v>
                </c:pt>
                <c:pt idx="67136">
                  <c:v>21.743469342311478</c:v>
                </c:pt>
                <c:pt idx="67137">
                  <c:v>52.936845558388832</c:v>
                </c:pt>
                <c:pt idx="67138">
                  <c:v>21.850343253298554</c:v>
                </c:pt>
                <c:pt idx="67139">
                  <c:v>25.086225714543811</c:v>
                </c:pt>
                <c:pt idx="67140">
                  <c:v>26.131361715969078</c:v>
                </c:pt>
                <c:pt idx="67141">
                  <c:v>26.406329711493882</c:v>
                </c:pt>
                <c:pt idx="67142">
                  <c:v>45.702273085127089</c:v>
                </c:pt>
                <c:pt idx="67143">
                  <c:v>28.404107761192837</c:v>
                </c:pt>
                <c:pt idx="67144">
                  <c:v>19.181809714071036</c:v>
                </c:pt>
                <c:pt idx="67145">
                  <c:v>34.648773312676738</c:v>
                </c:pt>
                <c:pt idx="67146">
                  <c:v>21.788386613530577</c:v>
                </c:pt>
                <c:pt idx="67147">
                  <c:v>36.559970455190395</c:v>
                </c:pt>
                <c:pt idx="67148">
                  <c:v>28.053740282920558</c:v>
                </c:pt>
                <c:pt idx="67149">
                  <c:v>22.028219383855784</c:v>
                </c:pt>
                <c:pt idx="67150">
                  <c:v>37.92708238690431</c:v>
                </c:pt>
                <c:pt idx="67151">
                  <c:v>32.143785348896841</c:v>
                </c:pt>
                <c:pt idx="67152">
                  <c:v>32.39571520487705</c:v>
                </c:pt>
                <c:pt idx="67153">
                  <c:v>21.958999482972615</c:v>
                </c:pt>
                <c:pt idx="67154">
                  <c:v>24.688215708730645</c:v>
                </c:pt>
                <c:pt idx="67155">
                  <c:v>46.860462209340206</c:v>
                </c:pt>
                <c:pt idx="67156">
                  <c:v>33.71094569974791</c:v>
                </c:pt>
                <c:pt idx="67157">
                  <c:v>51.909194770610384</c:v>
                </c:pt>
                <c:pt idx="67158">
                  <c:v>49.711739938675123</c:v>
                </c:pt>
                <c:pt idx="67159">
                  <c:v>41.874851020968315</c:v>
                </c:pt>
                <c:pt idx="67160">
                  <c:v>41.341476461198596</c:v>
                </c:pt>
                <c:pt idx="67161">
                  <c:v>26.641389483095757</c:v>
                </c:pt>
                <c:pt idx="67162">
                  <c:v>21.866962923330458</c:v>
                </c:pt>
                <c:pt idx="67163">
                  <c:v>34.878005214338557</c:v>
                </c:pt>
                <c:pt idx="67164">
                  <c:v>23.519266225455283</c:v>
                </c:pt>
                <c:pt idx="67165">
                  <c:v>53.257848605952724</c:v>
                </c:pt>
                <c:pt idx="67166">
                  <c:v>22.377864685073096</c:v>
                </c:pt>
                <c:pt idx="67167">
                  <c:v>23.869984425743134</c:v>
                </c:pt>
                <c:pt idx="67168">
                  <c:v>20.404459741501512</c:v>
                </c:pt>
                <c:pt idx="67169">
                  <c:v>36.210904489965621</c:v>
                </c:pt>
                <c:pt idx="67170">
                  <c:v>30.125022878622037</c:v>
                </c:pt>
                <c:pt idx="67171">
                  <c:v>39.394307675144397</c:v>
                </c:pt>
                <c:pt idx="67172">
                  <c:v>29.173244326203672</c:v>
                </c:pt>
                <c:pt idx="67173">
                  <c:v>25.474229032222063</c:v>
                </c:pt>
                <c:pt idx="67174">
                  <c:v>27.285218470131987</c:v>
                </c:pt>
                <c:pt idx="67175">
                  <c:v>28.339651919039827</c:v>
                </c:pt>
                <c:pt idx="67176">
                  <c:v>30.095587238915989</c:v>
                </c:pt>
                <c:pt idx="67177">
                  <c:v>51.037943182509544</c:v>
                </c:pt>
                <c:pt idx="67178">
                  <c:v>30.839301363489707</c:v>
                </c:pt>
                <c:pt idx="67179">
                  <c:v>25.702479334920763</c:v>
                </c:pt>
                <c:pt idx="67180">
                  <c:v>21.669275388012217</c:v>
                </c:pt>
                <c:pt idx="67181">
                  <c:v>29.234198264886501</c:v>
                </c:pt>
                <c:pt idx="67182">
                  <c:v>22.078745256406286</c:v>
                </c:pt>
                <c:pt idx="67183">
                  <c:v>46.501953622074133</c:v>
                </c:pt>
                <c:pt idx="67184">
                  <c:v>53.562490998109354</c:v>
                </c:pt>
                <c:pt idx="67185">
                  <c:v>27.231308604691893</c:v>
                </c:pt>
                <c:pt idx="67186">
                  <c:v>59.357272608815556</c:v>
                </c:pt>
                <c:pt idx="67187">
                  <c:v>23.925444840915738</c:v>
                </c:pt>
                <c:pt idx="67188">
                  <c:v>20.976310218895836</c:v>
                </c:pt>
                <c:pt idx="67189">
                  <c:v>28.717239191180557</c:v>
                </c:pt>
                <c:pt idx="67190">
                  <c:v>49.474463462416693</c:v>
                </c:pt>
                <c:pt idx="67191">
                  <c:v>29.84080874791249</c:v>
                </c:pt>
                <c:pt idx="67192">
                  <c:v>45.862795650436439</c:v>
                </c:pt>
                <c:pt idx="67193">
                  <c:v>20.044867149441302</c:v>
                </c:pt>
                <c:pt idx="67194">
                  <c:v>33.3131575242992</c:v>
                </c:pt>
                <c:pt idx="67195">
                  <c:v>36.968486677568158</c:v>
                </c:pt>
                <c:pt idx="67196">
                  <c:v>18.148785330020612</c:v>
                </c:pt>
                <c:pt idx="67197">
                  <c:v>25.54001844979171</c:v>
                </c:pt>
                <c:pt idx="67198">
                  <c:v>24.71677147944126</c:v>
                </c:pt>
                <c:pt idx="67199">
                  <c:v>23.055477894756205</c:v>
                </c:pt>
                <c:pt idx="67200">
                  <c:v>43.554295523817949</c:v>
                </c:pt>
                <c:pt idx="67201">
                  <c:v>31.833843411168093</c:v>
                </c:pt>
                <c:pt idx="67202">
                  <c:v>24.525244395135331</c:v>
                </c:pt>
                <c:pt idx="67203">
                  <c:v>22.59358402538739</c:v>
                </c:pt>
                <c:pt idx="67204">
                  <c:v>27.770511772314762</c:v>
                </c:pt>
                <c:pt idx="67205">
                  <c:v>26.55783598225641</c:v>
                </c:pt>
                <c:pt idx="67206">
                  <c:v>26.179331506221285</c:v>
                </c:pt>
                <c:pt idx="67207">
                  <c:v>33.930175072262927</c:v>
                </c:pt>
                <c:pt idx="67208">
                  <c:v>23.302444367396923</c:v>
                </c:pt>
                <c:pt idx="67209">
                  <c:v>41.018899313359221</c:v>
                </c:pt>
                <c:pt idx="67210">
                  <c:v>35.451609399278297</c:v>
                </c:pt>
                <c:pt idx="67211">
                  <c:v>26.339968341444699</c:v>
                </c:pt>
                <c:pt idx="67212">
                  <c:v>33.53698824559563</c:v>
                </c:pt>
                <c:pt idx="67213">
                  <c:v>28.964081094202236</c:v>
                </c:pt>
                <c:pt idx="67214">
                  <c:v>36.905237530930563</c:v>
                </c:pt>
                <c:pt idx="67215">
                  <c:v>32.655707545438204</c:v>
                </c:pt>
                <c:pt idx="67216">
                  <c:v>47.687386897795264</c:v>
                </c:pt>
                <c:pt idx="67217">
                  <c:v>23.466885692556495</c:v>
                </c:pt>
                <c:pt idx="67218">
                  <c:v>34.54907963072295</c:v>
                </c:pt>
                <c:pt idx="67219">
                  <c:v>34.110730608387264</c:v>
                </c:pt>
                <c:pt idx="67220">
                  <c:v>22.803666222299675</c:v>
                </c:pt>
                <c:pt idx="67221">
                  <c:v>27.439820630922721</c:v>
                </c:pt>
                <c:pt idx="67222">
                  <c:v>49.248646190272019</c:v>
                </c:pt>
                <c:pt idx="67223">
                  <c:v>33.138383626424257</c:v>
                </c:pt>
                <c:pt idx="67224">
                  <c:v>27.301245977748337</c:v>
                </c:pt>
                <c:pt idx="67225">
                  <c:v>31.352045293619142</c:v>
                </c:pt>
                <c:pt idx="67226">
                  <c:v>28.429652895134815</c:v>
                </c:pt>
                <c:pt idx="67227">
                  <c:v>23.925831444745576</c:v>
                </c:pt>
                <c:pt idx="67228">
                  <c:v>41.092782749835003</c:v>
                </c:pt>
                <c:pt idx="67229">
                  <c:v>19.927305578738249</c:v>
                </c:pt>
                <c:pt idx="67230">
                  <c:v>32.892370160128706</c:v>
                </c:pt>
                <c:pt idx="67231">
                  <c:v>50.973043851382457</c:v>
                </c:pt>
                <c:pt idx="67232">
                  <c:v>27.724058768503731</c:v>
                </c:pt>
                <c:pt idx="67233">
                  <c:v>23.011870378324708</c:v>
                </c:pt>
                <c:pt idx="67234">
                  <c:v>19.049349683868574</c:v>
                </c:pt>
                <c:pt idx="67235">
                  <c:v>24.665690084321447</c:v>
                </c:pt>
                <c:pt idx="67236">
                  <c:v>29.766651314437368</c:v>
                </c:pt>
                <c:pt idx="67237">
                  <c:v>24.818858105220976</c:v>
                </c:pt>
                <c:pt idx="67238">
                  <c:v>24.416162303936268</c:v>
                </c:pt>
                <c:pt idx="67239">
                  <c:v>34.696786293713281</c:v>
                </c:pt>
                <c:pt idx="67240">
                  <c:v>29.219333584548462</c:v>
                </c:pt>
                <c:pt idx="67241">
                  <c:v>32.281089955704921</c:v>
                </c:pt>
                <c:pt idx="67242">
                  <c:v>29.838547855974081</c:v>
                </c:pt>
                <c:pt idx="67243">
                  <c:v>28.534604528878823</c:v>
                </c:pt>
                <c:pt idx="67244">
                  <c:v>18.388821376674027</c:v>
                </c:pt>
                <c:pt idx="67245">
                  <c:v>25.943424454022658</c:v>
                </c:pt>
                <c:pt idx="67246">
                  <c:v>40.244863863714578</c:v>
                </c:pt>
                <c:pt idx="67247">
                  <c:v>26.867967281101798</c:v>
                </c:pt>
                <c:pt idx="67248">
                  <c:v>60.141040031947085</c:v>
                </c:pt>
                <c:pt idx="67249">
                  <c:v>50.842246011010005</c:v>
                </c:pt>
                <c:pt idx="67250">
                  <c:v>15.816245664345457</c:v>
                </c:pt>
                <c:pt idx="67251">
                  <c:v>50.406162947275888</c:v>
                </c:pt>
                <c:pt idx="67252">
                  <c:v>21.504750296290361</c:v>
                </c:pt>
                <c:pt idx="67253">
                  <c:v>24.695051024476761</c:v>
                </c:pt>
                <c:pt idx="67254">
                  <c:v>20.58199533047701</c:v>
                </c:pt>
                <c:pt idx="67255">
                  <c:v>30.324340473045112</c:v>
                </c:pt>
                <c:pt idx="67256">
                  <c:v>28.348028776858932</c:v>
                </c:pt>
                <c:pt idx="67257">
                  <c:v>47.961910278164595</c:v>
                </c:pt>
                <c:pt idx="67258">
                  <c:v>23.292953113613372</c:v>
                </c:pt>
                <c:pt idx="67259">
                  <c:v>41.145956895438268</c:v>
                </c:pt>
                <c:pt idx="67260">
                  <c:v>31.717250330711071</c:v>
                </c:pt>
                <c:pt idx="67261">
                  <c:v>26.059198889769284</c:v>
                </c:pt>
                <c:pt idx="67262">
                  <c:v>21.465758994886443</c:v>
                </c:pt>
                <c:pt idx="67263">
                  <c:v>25.671643482120345</c:v>
                </c:pt>
                <c:pt idx="67264">
                  <c:v>42.762023947986719</c:v>
                </c:pt>
                <c:pt idx="67265">
                  <c:v>29.688806901303614</c:v>
                </c:pt>
                <c:pt idx="67266">
                  <c:v>29.881910099714464</c:v>
                </c:pt>
                <c:pt idx="67267">
                  <c:v>25.34415519224299</c:v>
                </c:pt>
                <c:pt idx="67268">
                  <c:v>29.143689013686515</c:v>
                </c:pt>
                <c:pt idx="67269">
                  <c:v>45.546486352384868</c:v>
                </c:pt>
                <c:pt idx="67270">
                  <c:v>20.50930986708811</c:v>
                </c:pt>
                <c:pt idx="67271">
                  <c:v>23.022531637846111</c:v>
                </c:pt>
                <c:pt idx="67272">
                  <c:v>26.769908213529739</c:v>
                </c:pt>
                <c:pt idx="67273">
                  <c:v>22.201795095567306</c:v>
                </c:pt>
                <c:pt idx="67274">
                  <c:v>60.996957595431418</c:v>
                </c:pt>
                <c:pt idx="67275">
                  <c:v>24.807785780950041</c:v>
                </c:pt>
                <c:pt idx="67276">
                  <c:v>29.21774910916648</c:v>
                </c:pt>
                <c:pt idx="67277">
                  <c:v>48.681724981422853</c:v>
                </c:pt>
                <c:pt idx="67278">
                  <c:v>46.535924066187604</c:v>
                </c:pt>
                <c:pt idx="67279">
                  <c:v>21.542063982169395</c:v>
                </c:pt>
                <c:pt idx="67280">
                  <c:v>26.87085313097311</c:v>
                </c:pt>
                <c:pt idx="67281">
                  <c:v>28.788335311165667</c:v>
                </c:pt>
                <c:pt idx="67282">
                  <c:v>35.236029574681702</c:v>
                </c:pt>
                <c:pt idx="67283">
                  <c:v>34.987028483928533</c:v>
                </c:pt>
                <c:pt idx="67284">
                  <c:v>22.342316629305031</c:v>
                </c:pt>
                <c:pt idx="67285">
                  <c:v>28.350533387792467</c:v>
                </c:pt>
                <c:pt idx="67286">
                  <c:v>50.503279958217888</c:v>
                </c:pt>
                <c:pt idx="67287">
                  <c:v>48.807639319313999</c:v>
                </c:pt>
                <c:pt idx="67288">
                  <c:v>27.915562789776526</c:v>
                </c:pt>
                <c:pt idx="67289">
                  <c:v>30.060124471508953</c:v>
                </c:pt>
                <c:pt idx="67290">
                  <c:v>25.408880607270667</c:v>
                </c:pt>
                <c:pt idx="67291">
                  <c:v>44.753121241855638</c:v>
                </c:pt>
                <c:pt idx="67292">
                  <c:v>37.450615412481305</c:v>
                </c:pt>
                <c:pt idx="67293">
                  <c:v>20.697056818108457</c:v>
                </c:pt>
                <c:pt idx="67294">
                  <c:v>31.521837026327205</c:v>
                </c:pt>
                <c:pt idx="67295">
                  <c:v>24.60177404921248</c:v>
                </c:pt>
                <c:pt idx="67296">
                  <c:v>25.645349218395392</c:v>
                </c:pt>
                <c:pt idx="67297">
                  <c:v>20.635326699389552</c:v>
                </c:pt>
                <c:pt idx="67298">
                  <c:v>28.452988998587784</c:v>
                </c:pt>
                <c:pt idx="67299">
                  <c:v>44.527123660728506</c:v>
                </c:pt>
                <c:pt idx="67300">
                  <c:v>45.144212942909192</c:v>
                </c:pt>
                <c:pt idx="67301">
                  <c:v>15.868537858024645</c:v>
                </c:pt>
                <c:pt idx="67302">
                  <c:v>26.054320614632388</c:v>
                </c:pt>
                <c:pt idx="67303">
                  <c:v>34.831718790831104</c:v>
                </c:pt>
                <c:pt idx="67304">
                  <c:v>17.222737459447576</c:v>
                </c:pt>
                <c:pt idx="67305">
                  <c:v>29.598259125341954</c:v>
                </c:pt>
                <c:pt idx="67306">
                  <c:v>31.307257494969132</c:v>
                </c:pt>
                <c:pt idx="67307">
                  <c:v>24.474548562820821</c:v>
                </c:pt>
                <c:pt idx="67308">
                  <c:v>44.332618968211619</c:v>
                </c:pt>
                <c:pt idx="67309">
                  <c:v>29.767732823710592</c:v>
                </c:pt>
                <c:pt idx="67310">
                  <c:v>51.384616340411377</c:v>
                </c:pt>
                <c:pt idx="67311">
                  <c:v>48.539906145070049</c:v>
                </c:pt>
                <c:pt idx="67312">
                  <c:v>29.203867476499461</c:v>
                </c:pt>
                <c:pt idx="67313">
                  <c:v>33.759995482161017</c:v>
                </c:pt>
                <c:pt idx="67314">
                  <c:v>47.419497748123291</c:v>
                </c:pt>
                <c:pt idx="67315">
                  <c:v>18.406168442369847</c:v>
                </c:pt>
                <c:pt idx="67316">
                  <c:v>43.069103343883157</c:v>
                </c:pt>
                <c:pt idx="67317">
                  <c:v>18.095404945021052</c:v>
                </c:pt>
                <c:pt idx="67318">
                  <c:v>27.746842011101112</c:v>
                </c:pt>
                <c:pt idx="67319">
                  <c:v>24.522405874967365</c:v>
                </c:pt>
                <c:pt idx="67320">
                  <c:v>30.475058505868574</c:v>
                </c:pt>
                <c:pt idx="67321">
                  <c:v>16.152450674725145</c:v>
                </c:pt>
                <c:pt idx="67322">
                  <c:v>49.356915058132472</c:v>
                </c:pt>
                <c:pt idx="67323">
                  <c:v>33.075982640579994</c:v>
                </c:pt>
                <c:pt idx="67324">
                  <c:v>45.576894243777318</c:v>
                </c:pt>
                <c:pt idx="67325">
                  <c:v>30.193183467726605</c:v>
                </c:pt>
                <c:pt idx="67326">
                  <c:v>51.419934746065117</c:v>
                </c:pt>
                <c:pt idx="67327">
                  <c:v>48.767949152355122</c:v>
                </c:pt>
                <c:pt idx="67328">
                  <c:v>29.040236586565893</c:v>
                </c:pt>
                <c:pt idx="67329">
                  <c:v>33.409976850550237</c:v>
                </c:pt>
                <c:pt idx="67330">
                  <c:v>24.424681789781737</c:v>
                </c:pt>
                <c:pt idx="67331">
                  <c:v>41.978745268787392</c:v>
                </c:pt>
                <c:pt idx="67332">
                  <c:v>21.868449435574078</c:v>
                </c:pt>
                <c:pt idx="67333">
                  <c:v>51.828204898394802</c:v>
                </c:pt>
                <c:pt idx="67334">
                  <c:v>28.368671681507898</c:v>
                </c:pt>
                <c:pt idx="67335">
                  <c:v>39.701752607700854</c:v>
                </c:pt>
                <c:pt idx="67336">
                  <c:v>40.597617166805932</c:v>
                </c:pt>
                <c:pt idx="67337">
                  <c:v>50.313398091500304</c:v>
                </c:pt>
                <c:pt idx="67338">
                  <c:v>23.291243422713457</c:v>
                </c:pt>
                <c:pt idx="67339">
                  <c:v>26.853570828519459</c:v>
                </c:pt>
                <c:pt idx="67340">
                  <c:v>53.670427366573605</c:v>
                </c:pt>
                <c:pt idx="67341">
                  <c:v>23.132030006707886</c:v>
                </c:pt>
                <c:pt idx="67342">
                  <c:v>29.200310638510679</c:v>
                </c:pt>
                <c:pt idx="67343">
                  <c:v>54.783941645135734</c:v>
                </c:pt>
                <c:pt idx="67344">
                  <c:v>25.67881362790019</c:v>
                </c:pt>
                <c:pt idx="67345">
                  <c:v>53.802296558117689</c:v>
                </c:pt>
                <c:pt idx="67346">
                  <c:v>22.183537424517812</c:v>
                </c:pt>
                <c:pt idx="67347">
                  <c:v>34.616203659872887</c:v>
                </c:pt>
                <c:pt idx="67348">
                  <c:v>33.908363912827134</c:v>
                </c:pt>
                <c:pt idx="67349">
                  <c:v>35.818414467326761</c:v>
                </c:pt>
                <c:pt idx="67350">
                  <c:v>26.730950205921054</c:v>
                </c:pt>
                <c:pt idx="67351">
                  <c:v>48.460680233668619</c:v>
                </c:pt>
                <c:pt idx="67352">
                  <c:v>25.868506364724446</c:v>
                </c:pt>
                <c:pt idx="67353">
                  <c:v>22.160460218302678</c:v>
                </c:pt>
                <c:pt idx="67354">
                  <c:v>26.680760572977483</c:v>
                </c:pt>
                <c:pt idx="67355">
                  <c:v>21.331783037733906</c:v>
                </c:pt>
                <c:pt idx="67356">
                  <c:v>21.617717383499595</c:v>
                </c:pt>
                <c:pt idx="67357">
                  <c:v>26.859860190869512</c:v>
                </c:pt>
                <c:pt idx="67358">
                  <c:v>27.695860558337742</c:v>
                </c:pt>
                <c:pt idx="67359">
                  <c:v>26.300264153251785</c:v>
                </c:pt>
                <c:pt idx="67360">
                  <c:v>24.697977407810228</c:v>
                </c:pt>
                <c:pt idx="67361">
                  <c:v>26.841516854240993</c:v>
                </c:pt>
                <c:pt idx="67362">
                  <c:v>31.890353194663643</c:v>
                </c:pt>
                <c:pt idx="67363">
                  <c:v>45.376772929841792</c:v>
                </c:pt>
                <c:pt idx="67364">
                  <c:v>17.155323771709117</c:v>
                </c:pt>
                <c:pt idx="67365">
                  <c:v>25.020938652401568</c:v>
                </c:pt>
                <c:pt idx="67366">
                  <c:v>31.329604939339589</c:v>
                </c:pt>
                <c:pt idx="67367">
                  <c:v>23.498370073081066</c:v>
                </c:pt>
                <c:pt idx="67368">
                  <c:v>34.466738649128025</c:v>
                </c:pt>
                <c:pt idx="67369">
                  <c:v>42.892644371094775</c:v>
                </c:pt>
                <c:pt idx="67370">
                  <c:v>33.088222091251254</c:v>
                </c:pt>
                <c:pt idx="67371">
                  <c:v>31.575181221054944</c:v>
                </c:pt>
                <c:pt idx="67372">
                  <c:v>27.65320536711878</c:v>
                </c:pt>
                <c:pt idx="67373">
                  <c:v>26.530958700022229</c:v>
                </c:pt>
                <c:pt idx="67374">
                  <c:v>30.224246724142226</c:v>
                </c:pt>
                <c:pt idx="67375">
                  <c:v>32.077770618881907</c:v>
                </c:pt>
                <c:pt idx="67376">
                  <c:v>18.79102345773876</c:v>
                </c:pt>
                <c:pt idx="67377">
                  <c:v>25.957051516795453</c:v>
                </c:pt>
                <c:pt idx="67378">
                  <c:v>32.811515694827584</c:v>
                </c:pt>
                <c:pt idx="67379">
                  <c:v>23.672500507807328</c:v>
                </c:pt>
                <c:pt idx="67380">
                  <c:v>27.689498779784302</c:v>
                </c:pt>
                <c:pt idx="67381">
                  <c:v>24.710464318392571</c:v>
                </c:pt>
                <c:pt idx="67382">
                  <c:v>26.306031808594209</c:v>
                </c:pt>
                <c:pt idx="67383">
                  <c:v>21.300206095127233</c:v>
                </c:pt>
                <c:pt idx="67384">
                  <c:v>25.292346444227142</c:v>
                </c:pt>
                <c:pt idx="67385">
                  <c:v>25.810810090123489</c:v>
                </c:pt>
                <c:pt idx="67386">
                  <c:v>30.926425631202207</c:v>
                </c:pt>
                <c:pt idx="67387">
                  <c:v>28.941415036264758</c:v>
                </c:pt>
                <c:pt idx="67388">
                  <c:v>25.924523398717277</c:v>
                </c:pt>
                <c:pt idx="67389">
                  <c:v>37.722695939115376</c:v>
                </c:pt>
                <c:pt idx="67390">
                  <c:v>25.997300304597797</c:v>
                </c:pt>
                <c:pt idx="67391">
                  <c:v>23.171074418763496</c:v>
                </c:pt>
                <c:pt idx="67392">
                  <c:v>32.113297989871761</c:v>
                </c:pt>
                <c:pt idx="67393">
                  <c:v>40.920162325893969</c:v>
                </c:pt>
                <c:pt idx="67394">
                  <c:v>50.776571091951737</c:v>
                </c:pt>
                <c:pt idx="67395">
                  <c:v>26.202392827297921</c:v>
                </c:pt>
                <c:pt idx="67396">
                  <c:v>27.323016104839926</c:v>
                </c:pt>
                <c:pt idx="67397">
                  <c:v>48.916676189505317</c:v>
                </c:pt>
                <c:pt idx="67398">
                  <c:v>26.872213228073559</c:v>
                </c:pt>
                <c:pt idx="67399">
                  <c:v>29.456420596313972</c:v>
                </c:pt>
                <c:pt idx="67400">
                  <c:v>21.407693151379171</c:v>
                </c:pt>
                <c:pt idx="67401">
                  <c:v>32.433114534988093</c:v>
                </c:pt>
                <c:pt idx="67402">
                  <c:v>22.624220550330445</c:v>
                </c:pt>
                <c:pt idx="67403">
                  <c:v>29.007433901697965</c:v>
                </c:pt>
                <c:pt idx="67404">
                  <c:v>34.594687544334349</c:v>
                </c:pt>
                <c:pt idx="67405">
                  <c:v>26.515083402146324</c:v>
                </c:pt>
                <c:pt idx="67406">
                  <c:v>29.863962923880038</c:v>
                </c:pt>
                <c:pt idx="67407">
                  <c:v>25.36010093408969</c:v>
                </c:pt>
                <c:pt idx="67408">
                  <c:v>33.700507398440422</c:v>
                </c:pt>
                <c:pt idx="67409">
                  <c:v>16.740786431566306</c:v>
                </c:pt>
                <c:pt idx="67410">
                  <c:v>20.321928535522495</c:v>
                </c:pt>
                <c:pt idx="67411">
                  <c:v>24.39084857652345</c:v>
                </c:pt>
                <c:pt idx="67412">
                  <c:v>24.278485123821174</c:v>
                </c:pt>
                <c:pt idx="67413">
                  <c:v>20.541360578329748</c:v>
                </c:pt>
                <c:pt idx="67414">
                  <c:v>24.172176261182578</c:v>
                </c:pt>
                <c:pt idx="67415">
                  <c:v>45.753278069322334</c:v>
                </c:pt>
                <c:pt idx="67416">
                  <c:v>19.503750306706557</c:v>
                </c:pt>
                <c:pt idx="67417">
                  <c:v>51.760457444767326</c:v>
                </c:pt>
                <c:pt idx="67418">
                  <c:v>34.005521399673441</c:v>
                </c:pt>
                <c:pt idx="67419">
                  <c:v>21.673645129719826</c:v>
                </c:pt>
                <c:pt idx="67420">
                  <c:v>31.847637970230046</c:v>
                </c:pt>
                <c:pt idx="67421">
                  <c:v>26.463233980746509</c:v>
                </c:pt>
                <c:pt idx="67422">
                  <c:v>30.186015476559142</c:v>
                </c:pt>
                <c:pt idx="67423">
                  <c:v>16.78927674553799</c:v>
                </c:pt>
                <c:pt idx="67424">
                  <c:v>34.204301047093828</c:v>
                </c:pt>
                <c:pt idx="67425">
                  <c:v>22.349161624931963</c:v>
                </c:pt>
                <c:pt idx="67426">
                  <c:v>27.741971270128207</c:v>
                </c:pt>
                <c:pt idx="67427">
                  <c:v>21.645360146950622</c:v>
                </c:pt>
                <c:pt idx="67428">
                  <c:v>32.064634467942852</c:v>
                </c:pt>
                <c:pt idx="67429">
                  <c:v>24.813629738487535</c:v>
                </c:pt>
                <c:pt idx="67430">
                  <c:v>22.083522164949933</c:v>
                </c:pt>
                <c:pt idx="67431">
                  <c:v>34.959718949125715</c:v>
                </c:pt>
                <c:pt idx="67432">
                  <c:v>26.627912303896743</c:v>
                </c:pt>
                <c:pt idx="67433">
                  <c:v>33.818913417924101</c:v>
                </c:pt>
                <c:pt idx="67434">
                  <c:v>28.126139179871004</c:v>
                </c:pt>
                <c:pt idx="67435">
                  <c:v>35.531850510024441</c:v>
                </c:pt>
                <c:pt idx="67436">
                  <c:v>34.505272598109912</c:v>
                </c:pt>
                <c:pt idx="67437">
                  <c:v>19.339686416943376</c:v>
                </c:pt>
                <c:pt idx="67438">
                  <c:v>42.72831321868621</c:v>
                </c:pt>
                <c:pt idx="67439">
                  <c:v>39.65543935522949</c:v>
                </c:pt>
                <c:pt idx="67440">
                  <c:v>39.44896122259108</c:v>
                </c:pt>
                <c:pt idx="67441">
                  <c:v>27.641092598948479</c:v>
                </c:pt>
                <c:pt idx="67442">
                  <c:v>26.405142474159831</c:v>
                </c:pt>
                <c:pt idx="67443">
                  <c:v>34.597628720720692</c:v>
                </c:pt>
                <c:pt idx="67444">
                  <c:v>25.151074284869175</c:v>
                </c:pt>
                <c:pt idx="67445">
                  <c:v>32.57676396206034</c:v>
                </c:pt>
                <c:pt idx="67446">
                  <c:v>28.117787956181786</c:v>
                </c:pt>
                <c:pt idx="67447">
                  <c:v>38.825486769341168</c:v>
                </c:pt>
                <c:pt idx="67448">
                  <c:v>31.131507047199833</c:v>
                </c:pt>
                <c:pt idx="67449">
                  <c:v>39.760847856057204</c:v>
                </c:pt>
                <c:pt idx="67450">
                  <c:v>26.829866197179861</c:v>
                </c:pt>
                <c:pt idx="67451">
                  <c:v>25.765740141041761</c:v>
                </c:pt>
                <c:pt idx="67452">
                  <c:v>29.892497344632517</c:v>
                </c:pt>
                <c:pt idx="67453">
                  <c:v>21.045529741654672</c:v>
                </c:pt>
                <c:pt idx="67454">
                  <c:v>34.116144770764969</c:v>
                </c:pt>
                <c:pt idx="67455">
                  <c:v>34.859199732378137</c:v>
                </c:pt>
                <c:pt idx="67456">
                  <c:v>23.278021766109518</c:v>
                </c:pt>
                <c:pt idx="67457">
                  <c:v>37.14449647774267</c:v>
                </c:pt>
                <c:pt idx="67458">
                  <c:v>24.646256298630981</c:v>
                </c:pt>
                <c:pt idx="67459">
                  <c:v>25.557966034340073</c:v>
                </c:pt>
                <c:pt idx="67460">
                  <c:v>21.663703924120384</c:v>
                </c:pt>
                <c:pt idx="67461">
                  <c:v>24.616573067164971</c:v>
                </c:pt>
                <c:pt idx="67462">
                  <c:v>35.348516069006273</c:v>
                </c:pt>
                <c:pt idx="67463">
                  <c:v>25.756877921827627</c:v>
                </c:pt>
                <c:pt idx="67464">
                  <c:v>31.276823540592694</c:v>
                </c:pt>
                <c:pt idx="67465">
                  <c:v>34.692887150939484</c:v>
                </c:pt>
                <c:pt idx="67466">
                  <c:v>41.085714851101983</c:v>
                </c:pt>
                <c:pt idx="67467">
                  <c:v>38.807604003503265</c:v>
                </c:pt>
                <c:pt idx="67468">
                  <c:v>45.346943793332287</c:v>
                </c:pt>
                <c:pt idx="67469">
                  <c:v>39.599892295888445</c:v>
                </c:pt>
                <c:pt idx="67470">
                  <c:v>27.875692686827158</c:v>
                </c:pt>
                <c:pt idx="67471">
                  <c:v>28.065550414454528</c:v>
                </c:pt>
                <c:pt idx="67472">
                  <c:v>26.852584667335883</c:v>
                </c:pt>
                <c:pt idx="67473">
                  <c:v>29.053173623115111</c:v>
                </c:pt>
                <c:pt idx="67474">
                  <c:v>32.396741467777701</c:v>
                </c:pt>
                <c:pt idx="67475">
                  <c:v>22.889211887146459</c:v>
                </c:pt>
                <c:pt idx="67476">
                  <c:v>32.791363294995968</c:v>
                </c:pt>
                <c:pt idx="67477">
                  <c:v>46.116782280183713</c:v>
                </c:pt>
                <c:pt idx="67478">
                  <c:v>29.166619674924647</c:v>
                </c:pt>
                <c:pt idx="67479">
                  <c:v>52.310043038798213</c:v>
                </c:pt>
                <c:pt idx="67480">
                  <c:v>24.183143595423651</c:v>
                </c:pt>
                <c:pt idx="67481">
                  <c:v>28.852090823361898</c:v>
                </c:pt>
                <c:pt idx="67482">
                  <c:v>56.67227516608078</c:v>
                </c:pt>
                <c:pt idx="67483">
                  <c:v>44.231231692501851</c:v>
                </c:pt>
                <c:pt idx="67484">
                  <c:v>25.77618706539468</c:v>
                </c:pt>
                <c:pt idx="67485">
                  <c:v>26.770542612642565</c:v>
                </c:pt>
                <c:pt idx="67486">
                  <c:v>47.583607835303418</c:v>
                </c:pt>
                <c:pt idx="67487">
                  <c:v>22.247556414741936</c:v>
                </c:pt>
                <c:pt idx="67488">
                  <c:v>52.781850300168266</c:v>
                </c:pt>
                <c:pt idx="67489">
                  <c:v>49.691991020019188</c:v>
                </c:pt>
                <c:pt idx="67490">
                  <c:v>26.00578069459749</c:v>
                </c:pt>
                <c:pt idx="67491">
                  <c:v>28.114114124674344</c:v>
                </c:pt>
                <c:pt idx="67492">
                  <c:v>46.555803320370771</c:v>
                </c:pt>
                <c:pt idx="67493">
                  <c:v>37.905570481226107</c:v>
                </c:pt>
                <c:pt idx="67494">
                  <c:v>37.482227034560474</c:v>
                </c:pt>
                <c:pt idx="67495">
                  <c:v>25.215339155731129</c:v>
                </c:pt>
                <c:pt idx="67496">
                  <c:v>23.160042669997956</c:v>
                </c:pt>
                <c:pt idx="67497">
                  <c:v>23.442600702329898</c:v>
                </c:pt>
                <c:pt idx="67498">
                  <c:v>25.137175826160352</c:v>
                </c:pt>
                <c:pt idx="67499">
                  <c:v>25.198356301967415</c:v>
                </c:pt>
                <c:pt idx="67500">
                  <c:v>28.839036478350323</c:v>
                </c:pt>
                <c:pt idx="67501">
                  <c:v>26.704012066230376</c:v>
                </c:pt>
                <c:pt idx="67502">
                  <c:v>24.701662692059315</c:v>
                </c:pt>
                <c:pt idx="67503">
                  <c:v>46.650643846157649</c:v>
                </c:pt>
                <c:pt idx="67504">
                  <c:v>31.340436314729217</c:v>
                </c:pt>
                <c:pt idx="67505">
                  <c:v>28.920968392658661</c:v>
                </c:pt>
                <c:pt idx="67506">
                  <c:v>52.535809815793648</c:v>
                </c:pt>
                <c:pt idx="67507">
                  <c:v>34.913120612478721</c:v>
                </c:pt>
                <c:pt idx="67508">
                  <c:v>39.388716337760535</c:v>
                </c:pt>
                <c:pt idx="67509">
                  <c:v>23.051833502714707</c:v>
                </c:pt>
                <c:pt idx="67510">
                  <c:v>23.640139505135316</c:v>
                </c:pt>
                <c:pt idx="67511">
                  <c:v>27.573410553896121</c:v>
                </c:pt>
                <c:pt idx="67512">
                  <c:v>50.44752856914161</c:v>
                </c:pt>
                <c:pt idx="67513">
                  <c:v>22.780096550973546</c:v>
                </c:pt>
                <c:pt idx="67514">
                  <c:v>46.376717766348285</c:v>
                </c:pt>
                <c:pt idx="67515">
                  <c:v>32.277526607817904</c:v>
                </c:pt>
                <c:pt idx="67516">
                  <c:v>24.225454414607391</c:v>
                </c:pt>
                <c:pt idx="67517">
                  <c:v>26.520883536944062</c:v>
                </c:pt>
                <c:pt idx="67518">
                  <c:v>19.637717634410635</c:v>
                </c:pt>
                <c:pt idx="67519">
                  <c:v>32.749071349708771</c:v>
                </c:pt>
                <c:pt idx="67520">
                  <c:v>47.720279833515185</c:v>
                </c:pt>
                <c:pt idx="67521">
                  <c:v>24.974535186035308</c:v>
                </c:pt>
                <c:pt idx="67522">
                  <c:v>38.583538830705272</c:v>
                </c:pt>
                <c:pt idx="67523">
                  <c:v>30.706264666085552</c:v>
                </c:pt>
                <c:pt idx="67524">
                  <c:v>41.642026455104642</c:v>
                </c:pt>
                <c:pt idx="67525">
                  <c:v>29.495774532206145</c:v>
                </c:pt>
                <c:pt idx="67526">
                  <c:v>19.821975369163116</c:v>
                </c:pt>
                <c:pt idx="67527">
                  <c:v>29.190267621980588</c:v>
                </c:pt>
                <c:pt idx="67528">
                  <c:v>32.662907272791486</c:v>
                </c:pt>
                <c:pt idx="67529">
                  <c:v>35.643096885423518</c:v>
                </c:pt>
                <c:pt idx="67530">
                  <c:v>37.222861913653972</c:v>
                </c:pt>
                <c:pt idx="67531">
                  <c:v>45.693039330361067</c:v>
                </c:pt>
                <c:pt idx="67532">
                  <c:v>32.137122366465839</c:v>
                </c:pt>
                <c:pt idx="67533">
                  <c:v>30.5713752910731</c:v>
                </c:pt>
                <c:pt idx="67534">
                  <c:v>48.490014224741977</c:v>
                </c:pt>
                <c:pt idx="67535">
                  <c:v>23.397404268456686</c:v>
                </c:pt>
                <c:pt idx="67536">
                  <c:v>40.159203069158927</c:v>
                </c:pt>
                <c:pt idx="67537">
                  <c:v>26.054407586175738</c:v>
                </c:pt>
                <c:pt idx="67538">
                  <c:v>26.688730437798618</c:v>
                </c:pt>
                <c:pt idx="67539">
                  <c:v>32.11195043477764</c:v>
                </c:pt>
                <c:pt idx="67540">
                  <c:v>21.138778889598861</c:v>
                </c:pt>
                <c:pt idx="67541">
                  <c:v>22.273089274309324</c:v>
                </c:pt>
                <c:pt idx="67542">
                  <c:v>48.325624163380922</c:v>
                </c:pt>
                <c:pt idx="67543">
                  <c:v>23.076239988361198</c:v>
                </c:pt>
                <c:pt idx="67544">
                  <c:v>20.989519360963584</c:v>
                </c:pt>
                <c:pt idx="67545">
                  <c:v>20.15143032770963</c:v>
                </c:pt>
                <c:pt idx="67546">
                  <c:v>41.289832865584295</c:v>
                </c:pt>
                <c:pt idx="67547">
                  <c:v>26.31703337619053</c:v>
                </c:pt>
                <c:pt idx="67548">
                  <c:v>26.349801232218002</c:v>
                </c:pt>
                <c:pt idx="67549">
                  <c:v>23.5536968334407</c:v>
                </c:pt>
                <c:pt idx="67550">
                  <c:v>41.538804311551239</c:v>
                </c:pt>
                <c:pt idx="67551">
                  <c:v>29.472005780818165</c:v>
                </c:pt>
                <c:pt idx="67552">
                  <c:v>29.778323026493684</c:v>
                </c:pt>
                <c:pt idx="67553">
                  <c:v>23.499103148504723</c:v>
                </c:pt>
                <c:pt idx="67554">
                  <c:v>22.501007471250901</c:v>
                </c:pt>
                <c:pt idx="67555">
                  <c:v>22.287006478572124</c:v>
                </c:pt>
                <c:pt idx="67556">
                  <c:v>24.818275087952898</c:v>
                </c:pt>
                <c:pt idx="67557">
                  <c:v>28.677130217418739</c:v>
                </c:pt>
                <c:pt idx="67558">
                  <c:v>41.414709282161724</c:v>
                </c:pt>
                <c:pt idx="67559">
                  <c:v>24.008613477975704</c:v>
                </c:pt>
                <c:pt idx="67560">
                  <c:v>25.849248304935639</c:v>
                </c:pt>
                <c:pt idx="67561">
                  <c:v>28.23831774945814</c:v>
                </c:pt>
                <c:pt idx="67562">
                  <c:v>23.921098100365946</c:v>
                </c:pt>
                <c:pt idx="67563">
                  <c:v>34.332514245626768</c:v>
                </c:pt>
                <c:pt idx="67564">
                  <c:v>52.762116107513613</c:v>
                </c:pt>
                <c:pt idx="67565">
                  <c:v>38.018200357738174</c:v>
                </c:pt>
                <c:pt idx="67566">
                  <c:v>32.324233757544981</c:v>
                </c:pt>
                <c:pt idx="67567">
                  <c:v>44.644892717089789</c:v>
                </c:pt>
                <c:pt idx="67568">
                  <c:v>27.55507776662408</c:v>
                </c:pt>
                <c:pt idx="67569">
                  <c:v>24.51582567341287</c:v>
                </c:pt>
                <c:pt idx="67570">
                  <c:v>24.90721198674197</c:v>
                </c:pt>
                <c:pt idx="67571">
                  <c:v>21.157226674278078</c:v>
                </c:pt>
                <c:pt idx="67572">
                  <c:v>42.714085821158172</c:v>
                </c:pt>
                <c:pt idx="67573">
                  <c:v>42.762029426862192</c:v>
                </c:pt>
                <c:pt idx="67574">
                  <c:v>24.098277334623969</c:v>
                </c:pt>
                <c:pt idx="67575">
                  <c:v>34.575038714050621</c:v>
                </c:pt>
                <c:pt idx="67576">
                  <c:v>22.02203815971275</c:v>
                </c:pt>
                <c:pt idx="67577">
                  <c:v>43.876572661734109</c:v>
                </c:pt>
                <c:pt idx="67578">
                  <c:v>23.635875805615044</c:v>
                </c:pt>
                <c:pt idx="67579">
                  <c:v>26.660309164893157</c:v>
                </c:pt>
                <c:pt idx="67580">
                  <c:v>21.67973195309343</c:v>
                </c:pt>
                <c:pt idx="67581">
                  <c:v>32.312287151594177</c:v>
                </c:pt>
                <c:pt idx="67582">
                  <c:v>23.138616939364599</c:v>
                </c:pt>
                <c:pt idx="67583">
                  <c:v>16.954058348049927</c:v>
                </c:pt>
                <c:pt idx="67584">
                  <c:v>22.947020063416701</c:v>
                </c:pt>
                <c:pt idx="67585">
                  <c:v>21.311329462152827</c:v>
                </c:pt>
                <c:pt idx="67586">
                  <c:v>30.720936095896139</c:v>
                </c:pt>
                <c:pt idx="67587">
                  <c:v>33.997008115946727</c:v>
                </c:pt>
                <c:pt idx="67588">
                  <c:v>22.18095019462352</c:v>
                </c:pt>
                <c:pt idx="67589">
                  <c:v>23.302323436216014</c:v>
                </c:pt>
                <c:pt idx="67590">
                  <c:v>40.306422891966015</c:v>
                </c:pt>
                <c:pt idx="67591">
                  <c:v>19.016546691667894</c:v>
                </c:pt>
                <c:pt idx="67592">
                  <c:v>50.621751579655424</c:v>
                </c:pt>
                <c:pt idx="67593">
                  <c:v>16.044928040241945</c:v>
                </c:pt>
                <c:pt idx="67594">
                  <c:v>38.537451931237612</c:v>
                </c:pt>
                <c:pt idx="67595">
                  <c:v>23.192624462461893</c:v>
                </c:pt>
                <c:pt idx="67596">
                  <c:v>30.676280484256743</c:v>
                </c:pt>
                <c:pt idx="67597">
                  <c:v>24.89173899116518</c:v>
                </c:pt>
                <c:pt idx="67598">
                  <c:v>40.188047363332217</c:v>
                </c:pt>
                <c:pt idx="67599">
                  <c:v>53.756098651213264</c:v>
                </c:pt>
                <c:pt idx="67600">
                  <c:v>24.239127818713811</c:v>
                </c:pt>
                <c:pt idx="67601">
                  <c:v>29.479098466142197</c:v>
                </c:pt>
                <c:pt idx="67602">
                  <c:v>28.421946877533195</c:v>
                </c:pt>
                <c:pt idx="67603">
                  <c:v>23.979313457947331</c:v>
                </c:pt>
                <c:pt idx="67604">
                  <c:v>20.522315803317678</c:v>
                </c:pt>
                <c:pt idx="67605">
                  <c:v>51.130285119882643</c:v>
                </c:pt>
                <c:pt idx="67606">
                  <c:v>31.868391058755918</c:v>
                </c:pt>
                <c:pt idx="67607">
                  <c:v>35.060268661310275</c:v>
                </c:pt>
                <c:pt idx="67608">
                  <c:v>53.495895884579227</c:v>
                </c:pt>
                <c:pt idx="67609">
                  <c:v>24.294443260807483</c:v>
                </c:pt>
                <c:pt idx="67610">
                  <c:v>19.102915190106557</c:v>
                </c:pt>
                <c:pt idx="67611">
                  <c:v>22.487116015404801</c:v>
                </c:pt>
                <c:pt idx="67612">
                  <c:v>21.912276435254249</c:v>
                </c:pt>
                <c:pt idx="67613">
                  <c:v>26.284523390729539</c:v>
                </c:pt>
                <c:pt idx="67614">
                  <c:v>26.037521927967884</c:v>
                </c:pt>
                <c:pt idx="67615">
                  <c:v>23.025654742251252</c:v>
                </c:pt>
                <c:pt idx="67616">
                  <c:v>22.922925617916125</c:v>
                </c:pt>
                <c:pt idx="67617">
                  <c:v>24.330181367901282</c:v>
                </c:pt>
                <c:pt idx="67618">
                  <c:v>36.887837181310992</c:v>
                </c:pt>
                <c:pt idx="67619">
                  <c:v>33.840528209496838</c:v>
                </c:pt>
                <c:pt idx="67620">
                  <c:v>48.279821397486387</c:v>
                </c:pt>
                <c:pt idx="67621">
                  <c:v>30.189065074565228</c:v>
                </c:pt>
                <c:pt idx="67622">
                  <c:v>43.346354195971713</c:v>
                </c:pt>
                <c:pt idx="67623">
                  <c:v>35.897501325225988</c:v>
                </c:pt>
                <c:pt idx="67624">
                  <c:v>39.933864064020639</c:v>
                </c:pt>
                <c:pt idx="67625">
                  <c:v>45.609966442779978</c:v>
                </c:pt>
                <c:pt idx="67626">
                  <c:v>39.920007642635383</c:v>
                </c:pt>
                <c:pt idx="67627">
                  <c:v>47.964813090260535</c:v>
                </c:pt>
                <c:pt idx="67628">
                  <c:v>58.31044956246388</c:v>
                </c:pt>
                <c:pt idx="67629">
                  <c:v>30.238242674748406</c:v>
                </c:pt>
                <c:pt idx="67630">
                  <c:v>26.486596727804603</c:v>
                </c:pt>
                <c:pt idx="67631">
                  <c:v>28.892581953516277</c:v>
                </c:pt>
                <c:pt idx="67632">
                  <c:v>30.31895498053175</c:v>
                </c:pt>
                <c:pt idx="67633">
                  <c:v>23.391809183106492</c:v>
                </c:pt>
                <c:pt idx="67634">
                  <c:v>24.047315227277075</c:v>
                </c:pt>
                <c:pt idx="67635">
                  <c:v>28.647286017889343</c:v>
                </c:pt>
                <c:pt idx="67636">
                  <c:v>28.76365652805276</c:v>
                </c:pt>
                <c:pt idx="67637">
                  <c:v>23.959111869570329</c:v>
                </c:pt>
                <c:pt idx="67638">
                  <c:v>48.889177044153811</c:v>
                </c:pt>
                <c:pt idx="67639">
                  <c:v>30.781422085839623</c:v>
                </c:pt>
                <c:pt idx="67640">
                  <c:v>52.716166516469613</c:v>
                </c:pt>
                <c:pt idx="67641">
                  <c:v>27.055102658969393</c:v>
                </c:pt>
                <c:pt idx="67642">
                  <c:v>28.938991078805469</c:v>
                </c:pt>
                <c:pt idx="67643">
                  <c:v>37.925773103827666</c:v>
                </c:pt>
                <c:pt idx="67644">
                  <c:v>30.178591618917014</c:v>
                </c:pt>
                <c:pt idx="67645">
                  <c:v>32.907281637093796</c:v>
                </c:pt>
                <c:pt idx="67646">
                  <c:v>27.541077608452369</c:v>
                </c:pt>
                <c:pt idx="67647">
                  <c:v>31.939912770672073</c:v>
                </c:pt>
                <c:pt idx="67648">
                  <c:v>29.224617673850791</c:v>
                </c:pt>
                <c:pt idx="67649">
                  <c:v>47.344482071782465</c:v>
                </c:pt>
                <c:pt idx="67650">
                  <c:v>22.788502756938087</c:v>
                </c:pt>
                <c:pt idx="67651">
                  <c:v>20.98366147163593</c:v>
                </c:pt>
                <c:pt idx="67652">
                  <c:v>17.022714056464217</c:v>
                </c:pt>
                <c:pt idx="67653">
                  <c:v>34.965824518364585</c:v>
                </c:pt>
                <c:pt idx="67654">
                  <c:v>24.242222540944134</c:v>
                </c:pt>
                <c:pt idx="67655">
                  <c:v>28.713570884211883</c:v>
                </c:pt>
                <c:pt idx="67656">
                  <c:v>26.574231837900488</c:v>
                </c:pt>
                <c:pt idx="67657">
                  <c:v>46.818371972694166</c:v>
                </c:pt>
                <c:pt idx="67658">
                  <c:v>49.542944266659866</c:v>
                </c:pt>
                <c:pt idx="67659">
                  <c:v>28.318415887219576</c:v>
                </c:pt>
                <c:pt idx="67660">
                  <c:v>26.655031663900985</c:v>
                </c:pt>
                <c:pt idx="67661">
                  <c:v>21.796067290914678</c:v>
                </c:pt>
                <c:pt idx="67662">
                  <c:v>33.336024083205814</c:v>
                </c:pt>
                <c:pt idx="67663">
                  <c:v>26.232677278625797</c:v>
                </c:pt>
                <c:pt idx="67664">
                  <c:v>18.415129313214781</c:v>
                </c:pt>
                <c:pt idx="67665">
                  <c:v>22.17404977951232</c:v>
                </c:pt>
                <c:pt idx="67666">
                  <c:v>28.647256660260936</c:v>
                </c:pt>
                <c:pt idx="67667">
                  <c:v>29.001476827924883</c:v>
                </c:pt>
                <c:pt idx="67668">
                  <c:v>42.474583262293265</c:v>
                </c:pt>
                <c:pt idx="67669">
                  <c:v>29.422305081773921</c:v>
                </c:pt>
                <c:pt idx="67670">
                  <c:v>55.016578577549566</c:v>
                </c:pt>
                <c:pt idx="67671">
                  <c:v>41.368884501216087</c:v>
                </c:pt>
                <c:pt idx="67672">
                  <c:v>22.717392412430133</c:v>
                </c:pt>
                <c:pt idx="67673">
                  <c:v>33.440699330349581</c:v>
                </c:pt>
                <c:pt idx="67674">
                  <c:v>30.728000980625627</c:v>
                </c:pt>
                <c:pt idx="67675">
                  <c:v>27.632645694988611</c:v>
                </c:pt>
                <c:pt idx="67676">
                  <c:v>47.099032605824611</c:v>
                </c:pt>
                <c:pt idx="67677">
                  <c:v>19.972257266423313</c:v>
                </c:pt>
                <c:pt idx="67678">
                  <c:v>30.408859281355067</c:v>
                </c:pt>
                <c:pt idx="67679">
                  <c:v>24.266656146924028</c:v>
                </c:pt>
                <c:pt idx="67680">
                  <c:v>38.276181433668611</c:v>
                </c:pt>
                <c:pt idx="67681">
                  <c:v>31.469952045374821</c:v>
                </c:pt>
                <c:pt idx="67682">
                  <c:v>50.793470839417999</c:v>
                </c:pt>
                <c:pt idx="67683">
                  <c:v>51.224745319372829</c:v>
                </c:pt>
                <c:pt idx="67684">
                  <c:v>48.115259196965944</c:v>
                </c:pt>
                <c:pt idx="67685">
                  <c:v>23.309705110724888</c:v>
                </c:pt>
                <c:pt idx="67686">
                  <c:v>36.134148953908657</c:v>
                </c:pt>
                <c:pt idx="67687">
                  <c:v>21.424351753345611</c:v>
                </c:pt>
                <c:pt idx="67688">
                  <c:v>41.444434337082491</c:v>
                </c:pt>
                <c:pt idx="67689">
                  <c:v>42.009845507770983</c:v>
                </c:pt>
                <c:pt idx="67690">
                  <c:v>24.555502680117907</c:v>
                </c:pt>
                <c:pt idx="67691">
                  <c:v>46.875924830801928</c:v>
                </c:pt>
                <c:pt idx="67692">
                  <c:v>29.154397021454198</c:v>
                </c:pt>
                <c:pt idx="67693">
                  <c:v>29.349824201104248</c:v>
                </c:pt>
                <c:pt idx="67694">
                  <c:v>25.293091932630411</c:v>
                </c:pt>
                <c:pt idx="67695">
                  <c:v>25.13616954824942</c:v>
                </c:pt>
                <c:pt idx="67696">
                  <c:v>31.637811600409151</c:v>
                </c:pt>
                <c:pt idx="67697">
                  <c:v>39.892765191662193</c:v>
                </c:pt>
                <c:pt idx="67698">
                  <c:v>35.503185137865941</c:v>
                </c:pt>
                <c:pt idx="67699">
                  <c:v>43.619208145274037</c:v>
                </c:pt>
                <c:pt idx="67700">
                  <c:v>25.941344525314896</c:v>
                </c:pt>
                <c:pt idx="67701">
                  <c:v>25.935712412304557</c:v>
                </c:pt>
                <c:pt idx="67702">
                  <c:v>27.296780851990952</c:v>
                </c:pt>
                <c:pt idx="67703">
                  <c:v>25.86308334769587</c:v>
                </c:pt>
                <c:pt idx="67704">
                  <c:v>24.23184169378375</c:v>
                </c:pt>
                <c:pt idx="67705">
                  <c:v>20.59584483860856</c:v>
                </c:pt>
                <c:pt idx="67706">
                  <c:v>32.89285549033962</c:v>
                </c:pt>
                <c:pt idx="67707">
                  <c:v>19.722598330582269</c:v>
                </c:pt>
                <c:pt idx="67708">
                  <c:v>19.996581002802849</c:v>
                </c:pt>
                <c:pt idx="67709">
                  <c:v>22.683642051979998</c:v>
                </c:pt>
                <c:pt idx="67710">
                  <c:v>28.628776004950122</c:v>
                </c:pt>
                <c:pt idx="67711">
                  <c:v>25.587408730659483</c:v>
                </c:pt>
                <c:pt idx="67712">
                  <c:v>29.685119165291631</c:v>
                </c:pt>
                <c:pt idx="67713">
                  <c:v>35.034912528617831</c:v>
                </c:pt>
                <c:pt idx="67714">
                  <c:v>50.722857467729099</c:v>
                </c:pt>
                <c:pt idx="67715">
                  <c:v>29.890593576643752</c:v>
                </c:pt>
                <c:pt idx="67716">
                  <c:v>57.321786131863057</c:v>
                </c:pt>
                <c:pt idx="67717">
                  <c:v>27.575801625427644</c:v>
                </c:pt>
                <c:pt idx="67718">
                  <c:v>26.349993272273849</c:v>
                </c:pt>
                <c:pt idx="67719">
                  <c:v>45.569504315588055</c:v>
                </c:pt>
                <c:pt idx="67720">
                  <c:v>27.93441378020103</c:v>
                </c:pt>
                <c:pt idx="67721">
                  <c:v>22.833208300916507</c:v>
                </c:pt>
                <c:pt idx="67722">
                  <c:v>47.147484532813415</c:v>
                </c:pt>
                <c:pt idx="67723">
                  <c:v>24.657390960368144</c:v>
                </c:pt>
                <c:pt idx="67724">
                  <c:v>29.178870657013245</c:v>
                </c:pt>
                <c:pt idx="67725">
                  <c:v>30.298748900863018</c:v>
                </c:pt>
                <c:pt idx="67726">
                  <c:v>27.657667227581587</c:v>
                </c:pt>
                <c:pt idx="67727">
                  <c:v>27.332325853610634</c:v>
                </c:pt>
                <c:pt idx="67728">
                  <c:v>19.310672905047255</c:v>
                </c:pt>
                <c:pt idx="67729">
                  <c:v>25.716620753569941</c:v>
                </c:pt>
                <c:pt idx="67730">
                  <c:v>41.850603974021645</c:v>
                </c:pt>
                <c:pt idx="67731">
                  <c:v>53.758419367334461</c:v>
                </c:pt>
                <c:pt idx="67732">
                  <c:v>48.934919151429106</c:v>
                </c:pt>
                <c:pt idx="67733">
                  <c:v>43.710580760064097</c:v>
                </c:pt>
                <c:pt idx="67734">
                  <c:v>24.617481677759187</c:v>
                </c:pt>
                <c:pt idx="67735">
                  <c:v>25.913696403349242</c:v>
                </c:pt>
                <c:pt idx="67736">
                  <c:v>23.897824409793966</c:v>
                </c:pt>
                <c:pt idx="67737">
                  <c:v>29.370622886895344</c:v>
                </c:pt>
                <c:pt idx="67738">
                  <c:v>50.629128369495085</c:v>
                </c:pt>
                <c:pt idx="67739">
                  <c:v>22.996388845543258</c:v>
                </c:pt>
                <c:pt idx="67740">
                  <c:v>37.075152690628016</c:v>
                </c:pt>
                <c:pt idx="67741">
                  <c:v>19.371723583540991</c:v>
                </c:pt>
                <c:pt idx="67742">
                  <c:v>22.459474578814024</c:v>
                </c:pt>
                <c:pt idx="67743">
                  <c:v>24.707082534275489</c:v>
                </c:pt>
                <c:pt idx="67744">
                  <c:v>13.842033314886077</c:v>
                </c:pt>
                <c:pt idx="67745">
                  <c:v>26.903953296336962</c:v>
                </c:pt>
                <c:pt idx="67746">
                  <c:v>23.521012627559337</c:v>
                </c:pt>
                <c:pt idx="67747">
                  <c:v>48.831963742224666</c:v>
                </c:pt>
                <c:pt idx="67748">
                  <c:v>52.026262560349373</c:v>
                </c:pt>
                <c:pt idx="67749">
                  <c:v>25.470527757676969</c:v>
                </c:pt>
                <c:pt idx="67750">
                  <c:v>17.462808587198118</c:v>
                </c:pt>
                <c:pt idx="67751">
                  <c:v>46.510396816385544</c:v>
                </c:pt>
                <c:pt idx="67752">
                  <c:v>28.773871879224519</c:v>
                </c:pt>
                <c:pt idx="67753">
                  <c:v>26.129452708025052</c:v>
                </c:pt>
                <c:pt idx="67754">
                  <c:v>32.796387449936368</c:v>
                </c:pt>
                <c:pt idx="67755">
                  <c:v>34.424946233103732</c:v>
                </c:pt>
                <c:pt idx="67756">
                  <c:v>17.4954737396022</c:v>
                </c:pt>
                <c:pt idx="67757">
                  <c:v>17.655431432696364</c:v>
                </c:pt>
                <c:pt idx="67758">
                  <c:v>43.668213200130609</c:v>
                </c:pt>
                <c:pt idx="67759">
                  <c:v>28.937346243948991</c:v>
                </c:pt>
                <c:pt idx="67760">
                  <c:v>23.068324677510351</c:v>
                </c:pt>
                <c:pt idx="67761">
                  <c:v>29.106796187374702</c:v>
                </c:pt>
                <c:pt idx="67762">
                  <c:v>31.506588592676835</c:v>
                </c:pt>
                <c:pt idx="67763">
                  <c:v>16.535077590767994</c:v>
                </c:pt>
                <c:pt idx="67764">
                  <c:v>50.714913535012691</c:v>
                </c:pt>
                <c:pt idx="67765">
                  <c:v>29.600775213984015</c:v>
                </c:pt>
                <c:pt idx="67766">
                  <c:v>21.098201681757892</c:v>
                </c:pt>
                <c:pt idx="67767">
                  <c:v>27.399904027580792</c:v>
                </c:pt>
                <c:pt idx="67768">
                  <c:v>23.130262038337992</c:v>
                </c:pt>
                <c:pt idx="67769">
                  <c:v>21.889972680011105</c:v>
                </c:pt>
                <c:pt idx="67770">
                  <c:v>28.152975837473683</c:v>
                </c:pt>
                <c:pt idx="67771">
                  <c:v>54.392685317411001</c:v>
                </c:pt>
                <c:pt idx="67772">
                  <c:v>19.883453641809211</c:v>
                </c:pt>
                <c:pt idx="67773">
                  <c:v>32.021561356616488</c:v>
                </c:pt>
                <c:pt idx="67774">
                  <c:v>32.395064611585795</c:v>
                </c:pt>
                <c:pt idx="67775">
                  <c:v>31.46034461141889</c:v>
                </c:pt>
                <c:pt idx="67776">
                  <c:v>23.503830070415042</c:v>
                </c:pt>
                <c:pt idx="67777">
                  <c:v>25.471203195447636</c:v>
                </c:pt>
                <c:pt idx="67778">
                  <c:v>28.022456101538872</c:v>
                </c:pt>
                <c:pt idx="67779">
                  <c:v>29.053688418693262</c:v>
                </c:pt>
                <c:pt idx="67780">
                  <c:v>50.074545557249856</c:v>
                </c:pt>
                <c:pt idx="67781">
                  <c:v>22.710817746196245</c:v>
                </c:pt>
                <c:pt idx="67782">
                  <c:v>27.387312518095904</c:v>
                </c:pt>
                <c:pt idx="67783">
                  <c:v>60.864413702366789</c:v>
                </c:pt>
                <c:pt idx="67784">
                  <c:v>21.738090472282778</c:v>
                </c:pt>
                <c:pt idx="67785">
                  <c:v>23.094075247168036</c:v>
                </c:pt>
                <c:pt idx="67786">
                  <c:v>39.425562183209991</c:v>
                </c:pt>
                <c:pt idx="67787">
                  <c:v>25.081624306961892</c:v>
                </c:pt>
                <c:pt idx="67788">
                  <c:v>33.910586728935982</c:v>
                </c:pt>
                <c:pt idx="67789">
                  <c:v>24.480612964545461</c:v>
                </c:pt>
                <c:pt idx="67790">
                  <c:v>44.53756859672179</c:v>
                </c:pt>
                <c:pt idx="67791">
                  <c:v>45.442981939565882</c:v>
                </c:pt>
                <c:pt idx="67792">
                  <c:v>55.841250852750449</c:v>
                </c:pt>
                <c:pt idx="67793">
                  <c:v>54.829084740216508</c:v>
                </c:pt>
                <c:pt idx="67794">
                  <c:v>27.404443701688628</c:v>
                </c:pt>
                <c:pt idx="67795">
                  <c:v>29.505134352303408</c:v>
                </c:pt>
                <c:pt idx="67796">
                  <c:v>23.337233741111159</c:v>
                </c:pt>
                <c:pt idx="67797">
                  <c:v>31.001856355503492</c:v>
                </c:pt>
                <c:pt idx="67798">
                  <c:v>27.301205527597151</c:v>
                </c:pt>
                <c:pt idx="67799">
                  <c:v>24.846956639235792</c:v>
                </c:pt>
                <c:pt idx="67800">
                  <c:v>14.788596605155796</c:v>
                </c:pt>
                <c:pt idx="67801">
                  <c:v>27.654525360204289</c:v>
                </c:pt>
                <c:pt idx="67802">
                  <c:v>20.583073157044758</c:v>
                </c:pt>
                <c:pt idx="67803">
                  <c:v>18.808260561745168</c:v>
                </c:pt>
                <c:pt idx="67804">
                  <c:v>18.337153169288364</c:v>
                </c:pt>
                <c:pt idx="67805">
                  <c:v>31.872746028415467</c:v>
                </c:pt>
                <c:pt idx="67806">
                  <c:v>40.208751045680543</c:v>
                </c:pt>
                <c:pt idx="67807">
                  <c:v>54.210723073515311</c:v>
                </c:pt>
                <c:pt idx="67808">
                  <c:v>29.345696968909348</c:v>
                </c:pt>
                <c:pt idx="67809">
                  <c:v>35.551247103155234</c:v>
                </c:pt>
                <c:pt idx="67810">
                  <c:v>32.46783412429383</c:v>
                </c:pt>
                <c:pt idx="67811">
                  <c:v>51.563086428383286</c:v>
                </c:pt>
                <c:pt idx="67812">
                  <c:v>24.280040113045981</c:v>
                </c:pt>
                <c:pt idx="67813">
                  <c:v>20.60498192008237</c:v>
                </c:pt>
                <c:pt idx="67814">
                  <c:v>24.824023867547268</c:v>
                </c:pt>
                <c:pt idx="67815">
                  <c:v>23.406820424577134</c:v>
                </c:pt>
                <c:pt idx="67816">
                  <c:v>36.33999562459217</c:v>
                </c:pt>
                <c:pt idx="67817">
                  <c:v>58.469090837069743</c:v>
                </c:pt>
                <c:pt idx="67818">
                  <c:v>46.427850434695891</c:v>
                </c:pt>
                <c:pt idx="67819">
                  <c:v>26.39561143322252</c:v>
                </c:pt>
                <c:pt idx="67820">
                  <c:v>56.89407259647664</c:v>
                </c:pt>
                <c:pt idx="67821">
                  <c:v>19.057342538428667</c:v>
                </c:pt>
                <c:pt idx="67822">
                  <c:v>50.585301947777495</c:v>
                </c:pt>
                <c:pt idx="67823">
                  <c:v>28.211747459591923</c:v>
                </c:pt>
                <c:pt idx="67824">
                  <c:v>23.729747569977214</c:v>
                </c:pt>
                <c:pt idx="67825">
                  <c:v>25.996454244646451</c:v>
                </c:pt>
                <c:pt idx="67826">
                  <c:v>43.963347489772673</c:v>
                </c:pt>
                <c:pt idx="67827">
                  <c:v>26.741139014812415</c:v>
                </c:pt>
                <c:pt idx="67828">
                  <c:v>33.124934104849814</c:v>
                </c:pt>
                <c:pt idx="67829">
                  <c:v>20.239816812333672</c:v>
                </c:pt>
                <c:pt idx="67830">
                  <c:v>16.175451743753708</c:v>
                </c:pt>
                <c:pt idx="67831">
                  <c:v>31.008747504065674</c:v>
                </c:pt>
                <c:pt idx="67832">
                  <c:v>22.995372231370698</c:v>
                </c:pt>
                <c:pt idx="67833">
                  <c:v>36.085431003260005</c:v>
                </c:pt>
                <c:pt idx="67834">
                  <c:v>36.549714687336376</c:v>
                </c:pt>
                <c:pt idx="67835">
                  <c:v>36.785880557155664</c:v>
                </c:pt>
                <c:pt idx="67836">
                  <c:v>27.80847187078183</c:v>
                </c:pt>
                <c:pt idx="67837">
                  <c:v>39.88768978653232</c:v>
                </c:pt>
                <c:pt idx="67838">
                  <c:v>38.274511750697087</c:v>
                </c:pt>
                <c:pt idx="67839">
                  <c:v>27.682195529216845</c:v>
                </c:pt>
                <c:pt idx="67840">
                  <c:v>28.477150325954895</c:v>
                </c:pt>
                <c:pt idx="67841">
                  <c:v>24.586766624692963</c:v>
                </c:pt>
                <c:pt idx="67842">
                  <c:v>43.454196005640199</c:v>
                </c:pt>
                <c:pt idx="67843">
                  <c:v>27.295751564198262</c:v>
                </c:pt>
                <c:pt idx="67844">
                  <c:v>52.623558678829646</c:v>
                </c:pt>
                <c:pt idx="67845">
                  <c:v>38.220782961056024</c:v>
                </c:pt>
                <c:pt idx="67846">
                  <c:v>27.834799208008317</c:v>
                </c:pt>
                <c:pt idx="67847">
                  <c:v>22.9365146579011</c:v>
                </c:pt>
                <c:pt idx="67848">
                  <c:v>29.205323734698663</c:v>
                </c:pt>
                <c:pt idx="67849">
                  <c:v>48.08649827323508</c:v>
                </c:pt>
                <c:pt idx="67850">
                  <c:v>31.641881263336227</c:v>
                </c:pt>
                <c:pt idx="67851">
                  <c:v>22.218450547200181</c:v>
                </c:pt>
                <c:pt idx="67852">
                  <c:v>27.031620518778745</c:v>
                </c:pt>
                <c:pt idx="67853">
                  <c:v>28.195825985393597</c:v>
                </c:pt>
                <c:pt idx="67854">
                  <c:v>49.98068597759007</c:v>
                </c:pt>
                <c:pt idx="67855">
                  <c:v>31.484565779040217</c:v>
                </c:pt>
                <c:pt idx="67856">
                  <c:v>31.480600352798582</c:v>
                </c:pt>
                <c:pt idx="67857">
                  <c:v>23.748508797265476</c:v>
                </c:pt>
                <c:pt idx="67858">
                  <c:v>33.786625879458668</c:v>
                </c:pt>
                <c:pt idx="67859">
                  <c:v>31.321033845867866</c:v>
                </c:pt>
                <c:pt idx="67860">
                  <c:v>27.386290525164696</c:v>
                </c:pt>
                <c:pt idx="67861">
                  <c:v>26.561831874095486</c:v>
                </c:pt>
                <c:pt idx="67862">
                  <c:v>38.541493084080237</c:v>
                </c:pt>
                <c:pt idx="67863">
                  <c:v>23.608844014816182</c:v>
                </c:pt>
                <c:pt idx="67864">
                  <c:v>28.606343491535309</c:v>
                </c:pt>
                <c:pt idx="67865">
                  <c:v>20.432179529776377</c:v>
                </c:pt>
                <c:pt idx="67866">
                  <c:v>22.113578384646235</c:v>
                </c:pt>
                <c:pt idx="67867">
                  <c:v>38.662296385601337</c:v>
                </c:pt>
                <c:pt idx="67868">
                  <c:v>34.77077117838504</c:v>
                </c:pt>
                <c:pt idx="67869">
                  <c:v>22.010625186859205</c:v>
                </c:pt>
                <c:pt idx="67870">
                  <c:v>29.273648856895235</c:v>
                </c:pt>
                <c:pt idx="67871">
                  <c:v>30.988364380523379</c:v>
                </c:pt>
                <c:pt idx="67872">
                  <c:v>42.124368321132202</c:v>
                </c:pt>
                <c:pt idx="67873">
                  <c:v>26.977090848910034</c:v>
                </c:pt>
                <c:pt idx="67874">
                  <c:v>47.609680907994324</c:v>
                </c:pt>
                <c:pt idx="67875">
                  <c:v>24.331935229654157</c:v>
                </c:pt>
                <c:pt idx="67876">
                  <c:v>29.590707307691108</c:v>
                </c:pt>
                <c:pt idx="67877">
                  <c:v>27.536835336259283</c:v>
                </c:pt>
                <c:pt idx="67878">
                  <c:v>42.099064909168746</c:v>
                </c:pt>
                <c:pt idx="67879">
                  <c:v>25.102481792460722</c:v>
                </c:pt>
                <c:pt idx="67880">
                  <c:v>30.984803807079764</c:v>
                </c:pt>
                <c:pt idx="67881">
                  <c:v>36.002324607282631</c:v>
                </c:pt>
                <c:pt idx="67882">
                  <c:v>45.361144987404529</c:v>
                </c:pt>
                <c:pt idx="67883">
                  <c:v>51.807446980667287</c:v>
                </c:pt>
                <c:pt idx="67884">
                  <c:v>31.021676344244284</c:v>
                </c:pt>
                <c:pt idx="67885">
                  <c:v>32.342371948050847</c:v>
                </c:pt>
                <c:pt idx="67886">
                  <c:v>19.543553858200106</c:v>
                </c:pt>
                <c:pt idx="67887">
                  <c:v>40.953016375193698</c:v>
                </c:pt>
                <c:pt idx="67888">
                  <c:v>24.647063956522139</c:v>
                </c:pt>
                <c:pt idx="67889">
                  <c:v>27.420098777218218</c:v>
                </c:pt>
                <c:pt idx="67890">
                  <c:v>44.422933668537567</c:v>
                </c:pt>
                <c:pt idx="67891">
                  <c:v>26.190397603536969</c:v>
                </c:pt>
                <c:pt idx="67892">
                  <c:v>16.892423323520173</c:v>
                </c:pt>
                <c:pt idx="67893">
                  <c:v>52.257012212113708</c:v>
                </c:pt>
                <c:pt idx="67894">
                  <c:v>29.675742337127765</c:v>
                </c:pt>
                <c:pt idx="67895">
                  <c:v>34.567044787814886</c:v>
                </c:pt>
                <c:pt idx="67896">
                  <c:v>36.185093180176366</c:v>
                </c:pt>
                <c:pt idx="67897">
                  <c:v>22.392889546660438</c:v>
                </c:pt>
                <c:pt idx="67898">
                  <c:v>51.615583352647008</c:v>
                </c:pt>
                <c:pt idx="67899">
                  <c:v>31.137047568215017</c:v>
                </c:pt>
                <c:pt idx="67900">
                  <c:v>28.048848740930559</c:v>
                </c:pt>
                <c:pt idx="67901">
                  <c:v>23.675940680794589</c:v>
                </c:pt>
                <c:pt idx="67902">
                  <c:v>27.630386842779806</c:v>
                </c:pt>
                <c:pt idx="67903">
                  <c:v>28.194988120914353</c:v>
                </c:pt>
                <c:pt idx="67904">
                  <c:v>25.143030540697172</c:v>
                </c:pt>
                <c:pt idx="67905">
                  <c:v>27.247604535035649</c:v>
                </c:pt>
                <c:pt idx="67906">
                  <c:v>31.786121420489877</c:v>
                </c:pt>
                <c:pt idx="67907">
                  <c:v>49.246374223433364</c:v>
                </c:pt>
                <c:pt idx="67908">
                  <c:v>29.777994769028307</c:v>
                </c:pt>
                <c:pt idx="67909">
                  <c:v>28.232040705614544</c:v>
                </c:pt>
                <c:pt idx="67910">
                  <c:v>19.83248869966511</c:v>
                </c:pt>
                <c:pt idx="67911">
                  <c:v>35.864040824676565</c:v>
                </c:pt>
                <c:pt idx="67912">
                  <c:v>31.747899440661818</c:v>
                </c:pt>
                <c:pt idx="67913">
                  <c:v>31.28430916824923</c:v>
                </c:pt>
                <c:pt idx="67914">
                  <c:v>51.487819244717215</c:v>
                </c:pt>
                <c:pt idx="67915">
                  <c:v>40.611535314472398</c:v>
                </c:pt>
                <c:pt idx="67916">
                  <c:v>25.568059391286344</c:v>
                </c:pt>
                <c:pt idx="67917">
                  <c:v>30.724551059899387</c:v>
                </c:pt>
                <c:pt idx="67918">
                  <c:v>48.369048640058594</c:v>
                </c:pt>
                <c:pt idx="67919">
                  <c:v>25.697379764430224</c:v>
                </c:pt>
                <c:pt idx="67920">
                  <c:v>30.117945309460506</c:v>
                </c:pt>
                <c:pt idx="67921">
                  <c:v>26.202815296322356</c:v>
                </c:pt>
                <c:pt idx="67922">
                  <c:v>28.925938779012384</c:v>
                </c:pt>
                <c:pt idx="67923">
                  <c:v>25.284018847906331</c:v>
                </c:pt>
                <c:pt idx="67924">
                  <c:v>33.379758538244658</c:v>
                </c:pt>
                <c:pt idx="67925">
                  <c:v>20.552739100595865</c:v>
                </c:pt>
                <c:pt idx="67926">
                  <c:v>36.14083898678961</c:v>
                </c:pt>
                <c:pt idx="67927">
                  <c:v>35.902824991430236</c:v>
                </c:pt>
                <c:pt idx="67928">
                  <c:v>38.10047849442681</c:v>
                </c:pt>
                <c:pt idx="67929">
                  <c:v>23.155823604630672</c:v>
                </c:pt>
                <c:pt idx="67930">
                  <c:v>25.215297640017496</c:v>
                </c:pt>
                <c:pt idx="67931">
                  <c:v>34.807298827290701</c:v>
                </c:pt>
                <c:pt idx="67932">
                  <c:v>29.239969052079086</c:v>
                </c:pt>
                <c:pt idx="67933">
                  <c:v>31.33414336373519</c:v>
                </c:pt>
                <c:pt idx="67934">
                  <c:v>33.761861532065197</c:v>
                </c:pt>
                <c:pt idx="67935">
                  <c:v>37.145921423324694</c:v>
                </c:pt>
                <c:pt idx="67936">
                  <c:v>45.87694265631562</c:v>
                </c:pt>
                <c:pt idx="67937">
                  <c:v>47.795539998515764</c:v>
                </c:pt>
                <c:pt idx="67938">
                  <c:v>27.663889174712466</c:v>
                </c:pt>
                <c:pt idx="67939">
                  <c:v>29.739233799034686</c:v>
                </c:pt>
                <c:pt idx="67940">
                  <c:v>47.445131993376044</c:v>
                </c:pt>
                <c:pt idx="67941">
                  <c:v>19.571998023383134</c:v>
                </c:pt>
                <c:pt idx="67942">
                  <c:v>26.818200363715839</c:v>
                </c:pt>
                <c:pt idx="67943">
                  <c:v>52.623835300928697</c:v>
                </c:pt>
                <c:pt idx="67944">
                  <c:v>36.661562203859411</c:v>
                </c:pt>
                <c:pt idx="67945">
                  <c:v>26.266695924904212</c:v>
                </c:pt>
                <c:pt idx="67946">
                  <c:v>27.763339782972441</c:v>
                </c:pt>
                <c:pt idx="67947">
                  <c:v>41.854708839754473</c:v>
                </c:pt>
                <c:pt idx="67948">
                  <c:v>27.508468301462656</c:v>
                </c:pt>
                <c:pt idx="67949">
                  <c:v>45.575402831952914</c:v>
                </c:pt>
                <c:pt idx="67950">
                  <c:v>21.796526154411644</c:v>
                </c:pt>
                <c:pt idx="67951">
                  <c:v>19.051744086266098</c:v>
                </c:pt>
                <c:pt idx="67952">
                  <c:v>34.297207768153008</c:v>
                </c:pt>
                <c:pt idx="67953">
                  <c:v>46.968162986206693</c:v>
                </c:pt>
                <c:pt idx="67954">
                  <c:v>26.647366229474411</c:v>
                </c:pt>
                <c:pt idx="67955">
                  <c:v>30.992761084299918</c:v>
                </c:pt>
                <c:pt idx="67956">
                  <c:v>21.888012934819294</c:v>
                </c:pt>
                <c:pt idx="67957">
                  <c:v>28.273891713987073</c:v>
                </c:pt>
                <c:pt idx="67958">
                  <c:v>28.724743315569153</c:v>
                </c:pt>
                <c:pt idx="67959">
                  <c:v>22.020632490675879</c:v>
                </c:pt>
                <c:pt idx="67960">
                  <c:v>22.797745657196145</c:v>
                </c:pt>
                <c:pt idx="67961">
                  <c:v>32.654966982878477</c:v>
                </c:pt>
                <c:pt idx="67962">
                  <c:v>19.887748317875676</c:v>
                </c:pt>
                <c:pt idx="67963">
                  <c:v>29.262476082280862</c:v>
                </c:pt>
                <c:pt idx="67964">
                  <c:v>47.431479339873619</c:v>
                </c:pt>
                <c:pt idx="67965">
                  <c:v>26.292758793496091</c:v>
                </c:pt>
                <c:pt idx="67966">
                  <c:v>33.016785885721823</c:v>
                </c:pt>
                <c:pt idx="67967">
                  <c:v>44.154720164637503</c:v>
                </c:pt>
                <c:pt idx="67968">
                  <c:v>25.996518171410301</c:v>
                </c:pt>
                <c:pt idx="67969">
                  <c:v>31.974585579674105</c:v>
                </c:pt>
                <c:pt idx="67970">
                  <c:v>24.125772665954106</c:v>
                </c:pt>
                <c:pt idx="67971">
                  <c:v>46.169826560490968</c:v>
                </c:pt>
                <c:pt idx="67972">
                  <c:v>19.447229978645019</c:v>
                </c:pt>
                <c:pt idx="67973">
                  <c:v>51.887810500296119</c:v>
                </c:pt>
                <c:pt idx="67974">
                  <c:v>23.305560868335284</c:v>
                </c:pt>
                <c:pt idx="67975">
                  <c:v>23.829955409891593</c:v>
                </c:pt>
                <c:pt idx="67976">
                  <c:v>23.729815486937024</c:v>
                </c:pt>
                <c:pt idx="67977">
                  <c:v>25.49792102898547</c:v>
                </c:pt>
                <c:pt idx="67978">
                  <c:v>29.112923930114054</c:v>
                </c:pt>
                <c:pt idx="67979">
                  <c:v>18.400878021383487</c:v>
                </c:pt>
                <c:pt idx="67980">
                  <c:v>44.220613597754046</c:v>
                </c:pt>
                <c:pt idx="67981">
                  <c:v>21.455759421417998</c:v>
                </c:pt>
                <c:pt idx="67982">
                  <c:v>39.043948029031668</c:v>
                </c:pt>
                <c:pt idx="67983">
                  <c:v>32.550740919785426</c:v>
                </c:pt>
                <c:pt idx="67984">
                  <c:v>26.314870148894059</c:v>
                </c:pt>
                <c:pt idx="67985">
                  <c:v>32.157748450512429</c:v>
                </c:pt>
                <c:pt idx="67986">
                  <c:v>27.295167252517604</c:v>
                </c:pt>
                <c:pt idx="67987">
                  <c:v>31.841418671316582</c:v>
                </c:pt>
                <c:pt idx="67988">
                  <c:v>36.286147057703445</c:v>
                </c:pt>
                <c:pt idx="67989">
                  <c:v>56.462214247409285</c:v>
                </c:pt>
                <c:pt idx="67990">
                  <c:v>48.911117920228655</c:v>
                </c:pt>
                <c:pt idx="67991">
                  <c:v>27.874306273275195</c:v>
                </c:pt>
                <c:pt idx="67992">
                  <c:v>43.557452106288153</c:v>
                </c:pt>
                <c:pt idx="67993">
                  <c:v>34.20537938034439</c:v>
                </c:pt>
                <c:pt idx="67994">
                  <c:v>29.851650371289953</c:v>
                </c:pt>
                <c:pt idx="67995">
                  <c:v>17.987289805298865</c:v>
                </c:pt>
                <c:pt idx="67996">
                  <c:v>44.781902462461701</c:v>
                </c:pt>
                <c:pt idx="67997">
                  <c:v>38.892960272506066</c:v>
                </c:pt>
                <c:pt idx="67998">
                  <c:v>39.142529590765704</c:v>
                </c:pt>
                <c:pt idx="67999">
                  <c:v>32.064243905874036</c:v>
                </c:pt>
                <c:pt idx="68000">
                  <c:v>37.226094404126329</c:v>
                </c:pt>
                <c:pt idx="68001">
                  <c:v>22.297836672150652</c:v>
                </c:pt>
                <c:pt idx="68002">
                  <c:v>22.461076084707933</c:v>
                </c:pt>
                <c:pt idx="68003">
                  <c:v>45.856751922102916</c:v>
                </c:pt>
                <c:pt idx="68004">
                  <c:v>40.866714637704661</c:v>
                </c:pt>
                <c:pt idx="68005">
                  <c:v>27.021422745095407</c:v>
                </c:pt>
                <c:pt idx="68006">
                  <c:v>28.825084194940057</c:v>
                </c:pt>
                <c:pt idx="68007">
                  <c:v>29.097610243961288</c:v>
                </c:pt>
                <c:pt idx="68008">
                  <c:v>16.124258256336656</c:v>
                </c:pt>
                <c:pt idx="68009">
                  <c:v>40.688813335659049</c:v>
                </c:pt>
                <c:pt idx="68010">
                  <c:v>25.493665461379965</c:v>
                </c:pt>
                <c:pt idx="68011">
                  <c:v>28.483050371582792</c:v>
                </c:pt>
                <c:pt idx="68012">
                  <c:v>36.119657427937597</c:v>
                </c:pt>
                <c:pt idx="68013">
                  <c:v>26.906364176965436</c:v>
                </c:pt>
                <c:pt idx="68014">
                  <c:v>32.245056096587646</c:v>
                </c:pt>
                <c:pt idx="68015">
                  <c:v>56.742197527251975</c:v>
                </c:pt>
                <c:pt idx="68016">
                  <c:v>52.729298916605998</c:v>
                </c:pt>
                <c:pt idx="68017">
                  <c:v>38.62781174935558</c:v>
                </c:pt>
                <c:pt idx="68018">
                  <c:v>47.567483144845824</c:v>
                </c:pt>
                <c:pt idx="68019">
                  <c:v>30.570520865428936</c:v>
                </c:pt>
                <c:pt idx="68020">
                  <c:v>26.835286326599892</c:v>
                </c:pt>
                <c:pt idx="68021">
                  <c:v>24.59443188877183</c:v>
                </c:pt>
                <c:pt idx="68022">
                  <c:v>30.176716512660683</c:v>
                </c:pt>
                <c:pt idx="68023">
                  <c:v>29.466564094892085</c:v>
                </c:pt>
                <c:pt idx="68024">
                  <c:v>53.870916389649409</c:v>
                </c:pt>
                <c:pt idx="68025">
                  <c:v>34.864909900511172</c:v>
                </c:pt>
                <c:pt idx="68026">
                  <c:v>26.958774686628274</c:v>
                </c:pt>
                <c:pt idx="68027">
                  <c:v>27.035973183035477</c:v>
                </c:pt>
                <c:pt idx="68028">
                  <c:v>28.211868217327805</c:v>
                </c:pt>
                <c:pt idx="68029">
                  <c:v>20.235798121754243</c:v>
                </c:pt>
                <c:pt idx="68030">
                  <c:v>25.538660376907703</c:v>
                </c:pt>
                <c:pt idx="68031">
                  <c:v>36.74135783730182</c:v>
                </c:pt>
                <c:pt idx="68032">
                  <c:v>21.298536388200858</c:v>
                </c:pt>
                <c:pt idx="68033">
                  <c:v>25.311648382923384</c:v>
                </c:pt>
                <c:pt idx="68034">
                  <c:v>28.072108293784236</c:v>
                </c:pt>
                <c:pt idx="68035">
                  <c:v>40.529642623126854</c:v>
                </c:pt>
                <c:pt idx="68036">
                  <c:v>39.560272629708948</c:v>
                </c:pt>
                <c:pt idx="68037">
                  <c:v>36.281817356052393</c:v>
                </c:pt>
                <c:pt idx="68038">
                  <c:v>40.919765770971878</c:v>
                </c:pt>
                <c:pt idx="68039">
                  <c:v>47.626593928967338</c:v>
                </c:pt>
                <c:pt idx="68040">
                  <c:v>19.569873151948826</c:v>
                </c:pt>
                <c:pt idx="68041">
                  <c:v>21.159529482695444</c:v>
                </c:pt>
                <c:pt idx="68042">
                  <c:v>19.714148525196212</c:v>
                </c:pt>
                <c:pt idx="68043">
                  <c:v>24.980018182217329</c:v>
                </c:pt>
                <c:pt idx="68044">
                  <c:v>14.932116812530765</c:v>
                </c:pt>
                <c:pt idx="68045">
                  <c:v>55.328832568322426</c:v>
                </c:pt>
                <c:pt idx="68046">
                  <c:v>23.612635952184021</c:v>
                </c:pt>
                <c:pt idx="68047">
                  <c:v>31.735682989195432</c:v>
                </c:pt>
                <c:pt idx="68048">
                  <c:v>26.746920773302932</c:v>
                </c:pt>
                <c:pt idx="68049">
                  <c:v>44.746988165990693</c:v>
                </c:pt>
                <c:pt idx="68050">
                  <c:v>35.053876953898381</c:v>
                </c:pt>
                <c:pt idx="68051">
                  <c:v>54.335986978341921</c:v>
                </c:pt>
                <c:pt idx="68052">
                  <c:v>27.572092600877816</c:v>
                </c:pt>
                <c:pt idx="68053">
                  <c:v>23.42884433365484</c:v>
                </c:pt>
                <c:pt idx="68054">
                  <c:v>29.650164097111286</c:v>
                </c:pt>
                <c:pt idx="68055">
                  <c:v>21.970465899550963</c:v>
                </c:pt>
                <c:pt idx="68056">
                  <c:v>27.244531791009557</c:v>
                </c:pt>
                <c:pt idx="68057">
                  <c:v>25.968870932721327</c:v>
                </c:pt>
                <c:pt idx="68058">
                  <c:v>20.698904859288412</c:v>
                </c:pt>
                <c:pt idx="68059">
                  <c:v>32.692320508535644</c:v>
                </c:pt>
                <c:pt idx="68060">
                  <c:v>22.052462717973533</c:v>
                </c:pt>
                <c:pt idx="68061">
                  <c:v>24.519480220513465</c:v>
                </c:pt>
                <c:pt idx="68062">
                  <c:v>15.551688953572988</c:v>
                </c:pt>
                <c:pt idx="68063">
                  <c:v>30.895006060816456</c:v>
                </c:pt>
                <c:pt idx="68064">
                  <c:v>30.895771443034477</c:v>
                </c:pt>
                <c:pt idx="68065">
                  <c:v>24.126499593253396</c:v>
                </c:pt>
                <c:pt idx="68066">
                  <c:v>26.809697524312504</c:v>
                </c:pt>
                <c:pt idx="68067">
                  <c:v>27.167193522030761</c:v>
                </c:pt>
                <c:pt idx="68068">
                  <c:v>24.178718420728437</c:v>
                </c:pt>
                <c:pt idx="68069">
                  <c:v>41.708178048644037</c:v>
                </c:pt>
                <c:pt idx="68070">
                  <c:v>20.312727879686388</c:v>
                </c:pt>
                <c:pt idx="68071">
                  <c:v>39.612436313138389</c:v>
                </c:pt>
                <c:pt idx="68072">
                  <c:v>42.28224772848732</c:v>
                </c:pt>
                <c:pt idx="68073">
                  <c:v>25.958289027324469</c:v>
                </c:pt>
                <c:pt idx="68074">
                  <c:v>23.422543395375495</c:v>
                </c:pt>
                <c:pt idx="68075">
                  <c:v>21.711583112742453</c:v>
                </c:pt>
                <c:pt idx="68076">
                  <c:v>51.519971890872938</c:v>
                </c:pt>
                <c:pt idx="68077">
                  <c:v>44.707329734980974</c:v>
                </c:pt>
                <c:pt idx="68078">
                  <c:v>26.585126833870429</c:v>
                </c:pt>
                <c:pt idx="68079">
                  <c:v>29.661833455644608</c:v>
                </c:pt>
                <c:pt idx="68080">
                  <c:v>27.014977359970644</c:v>
                </c:pt>
                <c:pt idx="68081">
                  <c:v>29.551497537644792</c:v>
                </c:pt>
                <c:pt idx="68082">
                  <c:v>27.676844309441236</c:v>
                </c:pt>
                <c:pt idx="68083">
                  <c:v>28.469025369257078</c:v>
                </c:pt>
                <c:pt idx="68084">
                  <c:v>23.630072654633754</c:v>
                </c:pt>
                <c:pt idx="68085">
                  <c:v>22.874354365526941</c:v>
                </c:pt>
                <c:pt idx="68086">
                  <c:v>31.900999261361008</c:v>
                </c:pt>
                <c:pt idx="68087">
                  <c:v>39.38514247694917</c:v>
                </c:pt>
                <c:pt idx="68088">
                  <c:v>22.959982643655408</c:v>
                </c:pt>
                <c:pt idx="68089">
                  <c:v>29.547934024291756</c:v>
                </c:pt>
                <c:pt idx="68090">
                  <c:v>36.958516515712766</c:v>
                </c:pt>
                <c:pt idx="68091">
                  <c:v>24.458772467415798</c:v>
                </c:pt>
                <c:pt idx="68092">
                  <c:v>24.497723396399927</c:v>
                </c:pt>
                <c:pt idx="68093">
                  <c:v>39.19222542779336</c:v>
                </c:pt>
                <c:pt idx="68094">
                  <c:v>56.532415824778965</c:v>
                </c:pt>
                <c:pt idx="68095">
                  <c:v>42.547913030076622</c:v>
                </c:pt>
                <c:pt idx="68096">
                  <c:v>19.982629580515912</c:v>
                </c:pt>
                <c:pt idx="68097">
                  <c:v>19.893477037232419</c:v>
                </c:pt>
                <c:pt idx="68098">
                  <c:v>22.106948680357895</c:v>
                </c:pt>
                <c:pt idx="68099">
                  <c:v>26.725961888970232</c:v>
                </c:pt>
                <c:pt idx="68100">
                  <c:v>54.634443997460423</c:v>
                </c:pt>
                <c:pt idx="68101">
                  <c:v>34.057325333680431</c:v>
                </c:pt>
                <c:pt idx="68102">
                  <c:v>37.922876366109001</c:v>
                </c:pt>
                <c:pt idx="68103">
                  <c:v>31.777615006360655</c:v>
                </c:pt>
                <c:pt idx="68104">
                  <c:v>29.532414699382706</c:v>
                </c:pt>
                <c:pt idx="68105">
                  <c:v>55.916265836553997</c:v>
                </c:pt>
                <c:pt idx="68106">
                  <c:v>29.996463509073362</c:v>
                </c:pt>
                <c:pt idx="68107">
                  <c:v>43.883438613789465</c:v>
                </c:pt>
                <c:pt idx="68108">
                  <c:v>22.963831991322877</c:v>
                </c:pt>
                <c:pt idx="68109">
                  <c:v>45.575618338617268</c:v>
                </c:pt>
                <c:pt idx="68110">
                  <c:v>29.768871622907795</c:v>
                </c:pt>
                <c:pt idx="68111">
                  <c:v>49.767094993559539</c:v>
                </c:pt>
                <c:pt idx="68112">
                  <c:v>29.666494062239781</c:v>
                </c:pt>
                <c:pt idx="68113">
                  <c:v>21.917102923542799</c:v>
                </c:pt>
                <c:pt idx="68114">
                  <c:v>26.777673428628752</c:v>
                </c:pt>
                <c:pt idx="68115">
                  <c:v>37.845947767660526</c:v>
                </c:pt>
                <c:pt idx="68116">
                  <c:v>23.949097782875398</c:v>
                </c:pt>
                <c:pt idx="68117">
                  <c:v>14.964433564400192</c:v>
                </c:pt>
                <c:pt idx="68118">
                  <c:v>22.076476240707169</c:v>
                </c:pt>
                <c:pt idx="68119">
                  <c:v>17.715652694490146</c:v>
                </c:pt>
                <c:pt idx="68120">
                  <c:v>30.666593442161211</c:v>
                </c:pt>
                <c:pt idx="68121">
                  <c:v>48.903253267425264</c:v>
                </c:pt>
                <c:pt idx="68122">
                  <c:v>28.571259973726555</c:v>
                </c:pt>
                <c:pt idx="68123">
                  <c:v>27.561234437963446</c:v>
                </c:pt>
                <c:pt idx="68124">
                  <c:v>13.341613505222085</c:v>
                </c:pt>
                <c:pt idx="68125">
                  <c:v>22.485617883948589</c:v>
                </c:pt>
                <c:pt idx="68126">
                  <c:v>32.126225299319366</c:v>
                </c:pt>
                <c:pt idx="68127">
                  <c:v>29.575502418580292</c:v>
                </c:pt>
                <c:pt idx="68128">
                  <c:v>21.139516108964372</c:v>
                </c:pt>
                <c:pt idx="68129">
                  <c:v>20.423483579398543</c:v>
                </c:pt>
                <c:pt idx="68130">
                  <c:v>26.492405337461431</c:v>
                </c:pt>
                <c:pt idx="68131">
                  <c:v>56.401978308235599</c:v>
                </c:pt>
                <c:pt idx="68132">
                  <c:v>28.153249236324235</c:v>
                </c:pt>
                <c:pt idx="68133">
                  <c:v>39.087627958689851</c:v>
                </c:pt>
                <c:pt idx="68134">
                  <c:v>25.934500871238836</c:v>
                </c:pt>
                <c:pt idx="68135">
                  <c:v>30.42406787726674</c:v>
                </c:pt>
                <c:pt idx="68136">
                  <c:v>44.5044607979275</c:v>
                </c:pt>
                <c:pt idx="68137">
                  <c:v>32.395010082232773</c:v>
                </c:pt>
                <c:pt idx="68138">
                  <c:v>26.336438860468423</c:v>
                </c:pt>
                <c:pt idx="68139">
                  <c:v>25.515646229057833</c:v>
                </c:pt>
                <c:pt idx="68140">
                  <c:v>30.384705623377283</c:v>
                </c:pt>
                <c:pt idx="68141">
                  <c:v>27.183209264809769</c:v>
                </c:pt>
                <c:pt idx="68142">
                  <c:v>25.838241673151956</c:v>
                </c:pt>
                <c:pt idx="68143">
                  <c:v>22.697462463170499</c:v>
                </c:pt>
                <c:pt idx="68144">
                  <c:v>47.024356093962787</c:v>
                </c:pt>
                <c:pt idx="68145">
                  <c:v>25.360677536371483</c:v>
                </c:pt>
                <c:pt idx="68146">
                  <c:v>52.89848735172157</c:v>
                </c:pt>
                <c:pt idx="68147">
                  <c:v>45.309243381997689</c:v>
                </c:pt>
                <c:pt idx="68148">
                  <c:v>34.837142597815053</c:v>
                </c:pt>
                <c:pt idx="68149">
                  <c:v>20.977134935685939</c:v>
                </c:pt>
                <c:pt idx="68150">
                  <c:v>43.901124837684868</c:v>
                </c:pt>
                <c:pt idx="68151">
                  <c:v>33.382136229983743</c:v>
                </c:pt>
                <c:pt idx="68152">
                  <c:v>27.569593223535005</c:v>
                </c:pt>
                <c:pt idx="68153">
                  <c:v>21.731736614446664</c:v>
                </c:pt>
                <c:pt idx="68154">
                  <c:v>50.458633481685553</c:v>
                </c:pt>
                <c:pt idx="68155">
                  <c:v>47.591850392922552</c:v>
                </c:pt>
                <c:pt idx="68156">
                  <c:v>34.857654240307305</c:v>
                </c:pt>
                <c:pt idx="68157">
                  <c:v>17.577835159583195</c:v>
                </c:pt>
                <c:pt idx="68158">
                  <c:v>24.999467667120797</c:v>
                </c:pt>
                <c:pt idx="68159">
                  <c:v>22.271013097888332</c:v>
                </c:pt>
                <c:pt idx="68160">
                  <c:v>23.601880327348617</c:v>
                </c:pt>
                <c:pt idx="68161">
                  <c:v>38.921396385307816</c:v>
                </c:pt>
                <c:pt idx="68162">
                  <c:v>26.692499421464195</c:v>
                </c:pt>
                <c:pt idx="68163">
                  <c:v>28.015508344049653</c:v>
                </c:pt>
                <c:pt idx="68164">
                  <c:v>22.056751374087344</c:v>
                </c:pt>
                <c:pt idx="68165">
                  <c:v>17.365439716011643</c:v>
                </c:pt>
                <c:pt idx="68166">
                  <c:v>30.296795543829102</c:v>
                </c:pt>
                <c:pt idx="68167">
                  <c:v>49.571585458624646</c:v>
                </c:pt>
                <c:pt idx="68168">
                  <c:v>29.647152647241612</c:v>
                </c:pt>
                <c:pt idx="68169">
                  <c:v>25.085768964045123</c:v>
                </c:pt>
                <c:pt idx="68170">
                  <c:v>25.192766420220792</c:v>
                </c:pt>
                <c:pt idx="68171">
                  <c:v>42.675849021091437</c:v>
                </c:pt>
                <c:pt idx="68172">
                  <c:v>31.226194736006519</c:v>
                </c:pt>
                <c:pt idx="68173">
                  <c:v>55.637747726984671</c:v>
                </c:pt>
                <c:pt idx="68174">
                  <c:v>46.948368077536188</c:v>
                </c:pt>
                <c:pt idx="68175">
                  <c:v>44.932763495766906</c:v>
                </c:pt>
                <c:pt idx="68176">
                  <c:v>30.389758667040297</c:v>
                </c:pt>
                <c:pt idx="68177">
                  <c:v>31.021455384425472</c:v>
                </c:pt>
                <c:pt idx="68178">
                  <c:v>19.809295610469235</c:v>
                </c:pt>
                <c:pt idx="68179">
                  <c:v>22.381585555180731</c:v>
                </c:pt>
                <c:pt idx="68180">
                  <c:v>22.786660692820025</c:v>
                </c:pt>
                <c:pt idx="68181">
                  <c:v>55.532353489215488</c:v>
                </c:pt>
                <c:pt idx="68182">
                  <c:v>38.052505718477626</c:v>
                </c:pt>
                <c:pt idx="68183">
                  <c:v>23.965961164733336</c:v>
                </c:pt>
                <c:pt idx="68184">
                  <c:v>17.702185922327939</c:v>
                </c:pt>
                <c:pt idx="68185">
                  <c:v>28.157646478294588</c:v>
                </c:pt>
                <c:pt idx="68186">
                  <c:v>38.518291985916775</c:v>
                </c:pt>
                <c:pt idx="68187">
                  <c:v>41.230270362861248</c:v>
                </c:pt>
                <c:pt idx="68188">
                  <c:v>42.613888837150228</c:v>
                </c:pt>
                <c:pt idx="68189">
                  <c:v>35.543738599352224</c:v>
                </c:pt>
                <c:pt idx="68190">
                  <c:v>27.433811968406324</c:v>
                </c:pt>
                <c:pt idx="68191">
                  <c:v>23.771011219518424</c:v>
                </c:pt>
                <c:pt idx="68192">
                  <c:v>24.721528961604861</c:v>
                </c:pt>
                <c:pt idx="68193">
                  <c:v>31.577734104850535</c:v>
                </c:pt>
                <c:pt idx="68194">
                  <c:v>26.076174478410813</c:v>
                </c:pt>
                <c:pt idx="68195">
                  <c:v>31.93609767929761</c:v>
                </c:pt>
                <c:pt idx="68196">
                  <c:v>52.998894890012622</c:v>
                </c:pt>
                <c:pt idx="68197">
                  <c:v>27.443026571644225</c:v>
                </c:pt>
                <c:pt idx="68198">
                  <c:v>26.001227197734917</c:v>
                </c:pt>
                <c:pt idx="68199">
                  <c:v>42.500102396842777</c:v>
                </c:pt>
                <c:pt idx="68200">
                  <c:v>34.941326944744219</c:v>
                </c:pt>
                <c:pt idx="68201">
                  <c:v>23.343264284766565</c:v>
                </c:pt>
                <c:pt idx="68202">
                  <c:v>30.612297629457977</c:v>
                </c:pt>
                <c:pt idx="68203">
                  <c:v>18.893010384842821</c:v>
                </c:pt>
                <c:pt idx="68204">
                  <c:v>45.077946559975459</c:v>
                </c:pt>
                <c:pt idx="68205">
                  <c:v>20.245586019888744</c:v>
                </c:pt>
                <c:pt idx="68206">
                  <c:v>24.720021491102628</c:v>
                </c:pt>
                <c:pt idx="68207">
                  <c:v>48.092114252440759</c:v>
                </c:pt>
                <c:pt idx="68208">
                  <c:v>25.930893177713997</c:v>
                </c:pt>
                <c:pt idx="68209">
                  <c:v>27.853870247234834</c:v>
                </c:pt>
                <c:pt idx="68210">
                  <c:v>29.332255193515927</c:v>
                </c:pt>
                <c:pt idx="68211">
                  <c:v>14.310477503669391</c:v>
                </c:pt>
                <c:pt idx="68212">
                  <c:v>25.950081822278392</c:v>
                </c:pt>
                <c:pt idx="68213">
                  <c:v>30.18583426601937</c:v>
                </c:pt>
                <c:pt idx="68214">
                  <c:v>18.585072105928486</c:v>
                </c:pt>
                <c:pt idx="68215">
                  <c:v>48.471194414791654</c:v>
                </c:pt>
                <c:pt idx="68216">
                  <c:v>37.554621005663137</c:v>
                </c:pt>
                <c:pt idx="68217">
                  <c:v>27.628063605827101</c:v>
                </c:pt>
                <c:pt idx="68218">
                  <c:v>21.19023597005382</c:v>
                </c:pt>
                <c:pt idx="68219">
                  <c:v>25.381729988062972</c:v>
                </c:pt>
                <c:pt idx="68220">
                  <c:v>47.847246819387344</c:v>
                </c:pt>
                <c:pt idx="68221">
                  <c:v>30.373572428962547</c:v>
                </c:pt>
                <c:pt idx="68222">
                  <c:v>21.343837891302808</c:v>
                </c:pt>
                <c:pt idx="68223">
                  <c:v>38.276934710387707</c:v>
                </c:pt>
                <c:pt idx="68224">
                  <c:v>24.913362943977813</c:v>
                </c:pt>
                <c:pt idx="68225">
                  <c:v>22.372285912265589</c:v>
                </c:pt>
                <c:pt idx="68226">
                  <c:v>46.934880733114724</c:v>
                </c:pt>
                <c:pt idx="68227">
                  <c:v>26.862541961950505</c:v>
                </c:pt>
                <c:pt idx="68228">
                  <c:v>22.465958266442016</c:v>
                </c:pt>
                <c:pt idx="68229">
                  <c:v>17.854351645453782</c:v>
                </c:pt>
                <c:pt idx="68230">
                  <c:v>24.838474032334265</c:v>
                </c:pt>
                <c:pt idx="68231">
                  <c:v>54.955888759305928</c:v>
                </c:pt>
                <c:pt idx="68232">
                  <c:v>19.652818102645242</c:v>
                </c:pt>
                <c:pt idx="68233">
                  <c:v>31.782648847443028</c:v>
                </c:pt>
                <c:pt idx="68234">
                  <c:v>25.032115934360696</c:v>
                </c:pt>
                <c:pt idx="68235">
                  <c:v>39.4736528121201</c:v>
                </c:pt>
                <c:pt idx="68236">
                  <c:v>46.199616383068744</c:v>
                </c:pt>
                <c:pt idx="68237">
                  <c:v>28.960001820175357</c:v>
                </c:pt>
                <c:pt idx="68238">
                  <c:v>33.287784314923563</c:v>
                </c:pt>
                <c:pt idx="68239">
                  <c:v>26.068880520398501</c:v>
                </c:pt>
                <c:pt idx="68240">
                  <c:v>25.79813368735822</c:v>
                </c:pt>
                <c:pt idx="68241">
                  <c:v>28.465321551021542</c:v>
                </c:pt>
                <c:pt idx="68242">
                  <c:v>31.319250496061183</c:v>
                </c:pt>
                <c:pt idx="68243">
                  <c:v>20.942438299066225</c:v>
                </c:pt>
                <c:pt idx="68244">
                  <c:v>40.134127397417863</c:v>
                </c:pt>
                <c:pt idx="68245">
                  <c:v>28.27046396201149</c:v>
                </c:pt>
                <c:pt idx="68246">
                  <c:v>28.016316813004345</c:v>
                </c:pt>
                <c:pt idx="68247">
                  <c:v>36.800175157887324</c:v>
                </c:pt>
                <c:pt idx="68248">
                  <c:v>58.44578253390921</c:v>
                </c:pt>
                <c:pt idx="68249">
                  <c:v>30.455870263814006</c:v>
                </c:pt>
                <c:pt idx="68250">
                  <c:v>24.203596542957534</c:v>
                </c:pt>
                <c:pt idx="68251">
                  <c:v>48.034840562980193</c:v>
                </c:pt>
                <c:pt idx="68252">
                  <c:v>20.906273048829316</c:v>
                </c:pt>
                <c:pt idx="68253">
                  <c:v>30.066571553152322</c:v>
                </c:pt>
                <c:pt idx="68254">
                  <c:v>56.161329654642721</c:v>
                </c:pt>
                <c:pt idx="68255">
                  <c:v>29.727459596047755</c:v>
                </c:pt>
                <c:pt idx="68256">
                  <c:v>25.628131104860852</c:v>
                </c:pt>
                <c:pt idx="68257">
                  <c:v>28.496884638679866</c:v>
                </c:pt>
                <c:pt idx="68258">
                  <c:v>41.38934028797965</c:v>
                </c:pt>
                <c:pt idx="68259">
                  <c:v>33.22389850116312</c:v>
                </c:pt>
                <c:pt idx="68260">
                  <c:v>26.339902253814682</c:v>
                </c:pt>
                <c:pt idx="68261">
                  <c:v>14.141574469843505</c:v>
                </c:pt>
                <c:pt idx="68262">
                  <c:v>22.009180915213467</c:v>
                </c:pt>
                <c:pt idx="68263">
                  <c:v>34.130671005934069</c:v>
                </c:pt>
                <c:pt idx="68264">
                  <c:v>66.161593909074725</c:v>
                </c:pt>
                <c:pt idx="68265">
                  <c:v>25.77311991152742</c:v>
                </c:pt>
                <c:pt idx="68266">
                  <c:v>28.96183732153327</c:v>
                </c:pt>
                <c:pt idx="68267">
                  <c:v>24.192821254235906</c:v>
                </c:pt>
                <c:pt idx="68268">
                  <c:v>29.351509550965442</c:v>
                </c:pt>
                <c:pt idx="68269">
                  <c:v>24.126311214579914</c:v>
                </c:pt>
                <c:pt idx="68270">
                  <c:v>19.741289269074972</c:v>
                </c:pt>
                <c:pt idx="68271">
                  <c:v>28.323861338502589</c:v>
                </c:pt>
                <c:pt idx="68272">
                  <c:v>32.268971152227046</c:v>
                </c:pt>
                <c:pt idx="68273">
                  <c:v>21.894542541879275</c:v>
                </c:pt>
                <c:pt idx="68274">
                  <c:v>44.379431481317447</c:v>
                </c:pt>
                <c:pt idx="68275">
                  <c:v>40.19361269661232</c:v>
                </c:pt>
                <c:pt idx="68276">
                  <c:v>41.165275992470328</c:v>
                </c:pt>
                <c:pt idx="68277">
                  <c:v>22.079655879176652</c:v>
                </c:pt>
                <c:pt idx="68278">
                  <c:v>24.330588170104999</c:v>
                </c:pt>
                <c:pt idx="68279">
                  <c:v>26.957446407494842</c:v>
                </c:pt>
                <c:pt idx="68280">
                  <c:v>28.028325933878573</c:v>
                </c:pt>
                <c:pt idx="68281">
                  <c:v>24.861010551837659</c:v>
                </c:pt>
                <c:pt idx="68282">
                  <c:v>30.055531758807803</c:v>
                </c:pt>
                <c:pt idx="68283">
                  <c:v>46.339424783239082</c:v>
                </c:pt>
                <c:pt idx="68284">
                  <c:v>40.449345745111572</c:v>
                </c:pt>
                <c:pt idx="68285">
                  <c:v>24.667692217435778</c:v>
                </c:pt>
                <c:pt idx="68286">
                  <c:v>51.704724009159229</c:v>
                </c:pt>
                <c:pt idx="68287">
                  <c:v>43.370602695965367</c:v>
                </c:pt>
                <c:pt idx="68288">
                  <c:v>24.252091033164451</c:v>
                </c:pt>
                <c:pt idx="68289">
                  <c:v>46.275378329674311</c:v>
                </c:pt>
                <c:pt idx="68290">
                  <c:v>41.970616001826805</c:v>
                </c:pt>
                <c:pt idx="68291">
                  <c:v>42.102668504763749</c:v>
                </c:pt>
                <c:pt idx="68292">
                  <c:v>33.383452406357719</c:v>
                </c:pt>
                <c:pt idx="68293">
                  <c:v>32.432326271122008</c:v>
                </c:pt>
                <c:pt idx="68294">
                  <c:v>29.109765641926966</c:v>
                </c:pt>
                <c:pt idx="68295">
                  <c:v>41.827952979392968</c:v>
                </c:pt>
                <c:pt idx="68296">
                  <c:v>27.813640934240524</c:v>
                </c:pt>
                <c:pt idx="68297">
                  <c:v>32.829564687646148</c:v>
                </c:pt>
                <c:pt idx="68298">
                  <c:v>37.046801033269347</c:v>
                </c:pt>
                <c:pt idx="68299">
                  <c:v>33.95744626446087</c:v>
                </c:pt>
                <c:pt idx="68300">
                  <c:v>29.181621857054679</c:v>
                </c:pt>
                <c:pt idx="68301">
                  <c:v>21.409922798618986</c:v>
                </c:pt>
                <c:pt idx="68302">
                  <c:v>27.963455254679928</c:v>
                </c:pt>
                <c:pt idx="68303">
                  <c:v>29.876957344440314</c:v>
                </c:pt>
                <c:pt idx="68304">
                  <c:v>49.648879226990509</c:v>
                </c:pt>
                <c:pt idx="68305">
                  <c:v>40.357309590392795</c:v>
                </c:pt>
                <c:pt idx="68306">
                  <c:v>31.800511440562961</c:v>
                </c:pt>
                <c:pt idx="68307">
                  <c:v>45.280309805759124</c:v>
                </c:pt>
                <c:pt idx="68308">
                  <c:v>25.990235119841476</c:v>
                </c:pt>
                <c:pt idx="68309">
                  <c:v>42.352028632278653</c:v>
                </c:pt>
                <c:pt idx="68310">
                  <c:v>33.821449377950735</c:v>
                </c:pt>
                <c:pt idx="68311">
                  <c:v>55.461621600225136</c:v>
                </c:pt>
                <c:pt idx="68312">
                  <c:v>32.65772617557316</c:v>
                </c:pt>
                <c:pt idx="68313">
                  <c:v>30.390739969689875</c:v>
                </c:pt>
                <c:pt idx="68314">
                  <c:v>45.115972410240623</c:v>
                </c:pt>
                <c:pt idx="68315">
                  <c:v>22.494923713445271</c:v>
                </c:pt>
                <c:pt idx="68316">
                  <c:v>25.572619000068734</c:v>
                </c:pt>
                <c:pt idx="68317">
                  <c:v>62.070150944369466</c:v>
                </c:pt>
                <c:pt idx="68318">
                  <c:v>26.000838967068496</c:v>
                </c:pt>
                <c:pt idx="68319">
                  <c:v>21.688004720412302</c:v>
                </c:pt>
                <c:pt idx="68320">
                  <c:v>31.636870403627565</c:v>
                </c:pt>
                <c:pt idx="68321">
                  <c:v>25.179011454756619</c:v>
                </c:pt>
                <c:pt idx="68322">
                  <c:v>44.247930580560634</c:v>
                </c:pt>
                <c:pt idx="68323">
                  <c:v>38.296506037426745</c:v>
                </c:pt>
                <c:pt idx="68324">
                  <c:v>18.830869098689377</c:v>
                </c:pt>
                <c:pt idx="68325">
                  <c:v>24.259434364625012</c:v>
                </c:pt>
                <c:pt idx="68326">
                  <c:v>19.831133391171804</c:v>
                </c:pt>
                <c:pt idx="68327">
                  <c:v>24.606456071576183</c:v>
                </c:pt>
                <c:pt idx="68328">
                  <c:v>27.994502386783751</c:v>
                </c:pt>
                <c:pt idx="68329">
                  <c:v>22.475910163199956</c:v>
                </c:pt>
                <c:pt idx="68330">
                  <c:v>22.010278128335152</c:v>
                </c:pt>
                <c:pt idx="68331">
                  <c:v>30.157770154715191</c:v>
                </c:pt>
                <c:pt idx="68332">
                  <c:v>25.722252760400156</c:v>
                </c:pt>
                <c:pt idx="68333">
                  <c:v>31.594733865366731</c:v>
                </c:pt>
                <c:pt idx="68334">
                  <c:v>22.807384561242351</c:v>
                </c:pt>
                <c:pt idx="68335">
                  <c:v>27.648342819766199</c:v>
                </c:pt>
                <c:pt idx="68336">
                  <c:v>26.453492913285608</c:v>
                </c:pt>
                <c:pt idx="68337">
                  <c:v>39.941470942695766</c:v>
                </c:pt>
                <c:pt idx="68338">
                  <c:v>28.825946409434898</c:v>
                </c:pt>
                <c:pt idx="68339">
                  <c:v>49.311267476800623</c:v>
                </c:pt>
                <c:pt idx="68340">
                  <c:v>30.797159109444827</c:v>
                </c:pt>
                <c:pt idx="68341">
                  <c:v>33.990170823406771</c:v>
                </c:pt>
                <c:pt idx="68342">
                  <c:v>31.467207358844892</c:v>
                </c:pt>
                <c:pt idx="68343">
                  <c:v>29.945441131349931</c:v>
                </c:pt>
                <c:pt idx="68344">
                  <c:v>31.480054994101888</c:v>
                </c:pt>
                <c:pt idx="68345">
                  <c:v>23.585650049738422</c:v>
                </c:pt>
                <c:pt idx="68346">
                  <c:v>42.155231458949672</c:v>
                </c:pt>
                <c:pt idx="68347">
                  <c:v>30.145436840910126</c:v>
                </c:pt>
                <c:pt idx="68348">
                  <c:v>48.675383998132162</c:v>
                </c:pt>
                <c:pt idx="68349">
                  <c:v>39.547698266444364</c:v>
                </c:pt>
                <c:pt idx="68350">
                  <c:v>28.499084468436557</c:v>
                </c:pt>
                <c:pt idx="68351">
                  <c:v>24.873592844044119</c:v>
                </c:pt>
                <c:pt idx="68352">
                  <c:v>38.218711392405368</c:v>
                </c:pt>
                <c:pt idx="68353">
                  <c:v>61.074523175335614</c:v>
                </c:pt>
                <c:pt idx="68354">
                  <c:v>43.139718646969854</c:v>
                </c:pt>
                <c:pt idx="68355">
                  <c:v>32.438880512005262</c:v>
                </c:pt>
                <c:pt idx="68356">
                  <c:v>20.875524323349286</c:v>
                </c:pt>
                <c:pt idx="68357">
                  <c:v>35.881686801697263</c:v>
                </c:pt>
                <c:pt idx="68358">
                  <c:v>19.497745949673963</c:v>
                </c:pt>
                <c:pt idx="68359">
                  <c:v>16.930215872390477</c:v>
                </c:pt>
                <c:pt idx="68360">
                  <c:v>29.753559472977859</c:v>
                </c:pt>
                <c:pt idx="68361">
                  <c:v>39.522310179609747</c:v>
                </c:pt>
                <c:pt idx="68362">
                  <c:v>22.3007919250641</c:v>
                </c:pt>
                <c:pt idx="68363">
                  <c:v>36.392483144438877</c:v>
                </c:pt>
                <c:pt idx="68364">
                  <c:v>23.197929773603761</c:v>
                </c:pt>
                <c:pt idx="68365">
                  <c:v>26.559655635215769</c:v>
                </c:pt>
                <c:pt idx="68366">
                  <c:v>21.641005457138853</c:v>
                </c:pt>
                <c:pt idx="68367">
                  <c:v>22.079488509832675</c:v>
                </c:pt>
                <c:pt idx="68368">
                  <c:v>25.098808656887211</c:v>
                </c:pt>
                <c:pt idx="68369">
                  <c:v>28.084554588144577</c:v>
                </c:pt>
                <c:pt idx="68370">
                  <c:v>28.636890616326966</c:v>
                </c:pt>
                <c:pt idx="68371">
                  <c:v>27.679881137102754</c:v>
                </c:pt>
                <c:pt idx="68372">
                  <c:v>55.589106339080516</c:v>
                </c:pt>
                <c:pt idx="68373">
                  <c:v>27.636953182125858</c:v>
                </c:pt>
                <c:pt idx="68374">
                  <c:v>28.054919634122626</c:v>
                </c:pt>
                <c:pt idx="68375">
                  <c:v>32.229105200452288</c:v>
                </c:pt>
                <c:pt idx="68376">
                  <c:v>28.781089604590772</c:v>
                </c:pt>
                <c:pt idx="68377">
                  <c:v>28.392355333413924</c:v>
                </c:pt>
                <c:pt idx="68378">
                  <c:v>39.944756875883705</c:v>
                </c:pt>
                <c:pt idx="68379">
                  <c:v>26.053900347262214</c:v>
                </c:pt>
                <c:pt idx="68380">
                  <c:v>27.760401492195392</c:v>
                </c:pt>
                <c:pt idx="68381">
                  <c:v>25.196744172428442</c:v>
                </c:pt>
                <c:pt idx="68382">
                  <c:v>25.577726488984531</c:v>
                </c:pt>
                <c:pt idx="68383">
                  <c:v>20.971239785790367</c:v>
                </c:pt>
                <c:pt idx="68384">
                  <c:v>26.282670296806646</c:v>
                </c:pt>
                <c:pt idx="68385">
                  <c:v>18.977624436149799</c:v>
                </c:pt>
                <c:pt idx="68386">
                  <c:v>33.642818335985112</c:v>
                </c:pt>
                <c:pt idx="68387">
                  <c:v>30.537416354327153</c:v>
                </c:pt>
                <c:pt idx="68388">
                  <c:v>45.540943456408598</c:v>
                </c:pt>
                <c:pt idx="68389">
                  <c:v>24.314007296902776</c:v>
                </c:pt>
                <c:pt idx="68390">
                  <c:v>24.662560755109904</c:v>
                </c:pt>
                <c:pt idx="68391">
                  <c:v>27.00802087007288</c:v>
                </c:pt>
                <c:pt idx="68392">
                  <c:v>30.516181330294508</c:v>
                </c:pt>
                <c:pt idx="68393">
                  <c:v>25.607422041087421</c:v>
                </c:pt>
                <c:pt idx="68394">
                  <c:v>30.490459310477679</c:v>
                </c:pt>
                <c:pt idx="68395">
                  <c:v>27.925016315340283</c:v>
                </c:pt>
                <c:pt idx="68396">
                  <c:v>27.755287879485955</c:v>
                </c:pt>
                <c:pt idx="68397">
                  <c:v>24.131752938047477</c:v>
                </c:pt>
                <c:pt idx="68398">
                  <c:v>26.467110609245275</c:v>
                </c:pt>
                <c:pt idx="68399">
                  <c:v>59.860763218543823</c:v>
                </c:pt>
                <c:pt idx="68400">
                  <c:v>50.960285471943926</c:v>
                </c:pt>
                <c:pt idx="68401">
                  <c:v>34.900695272732982</c:v>
                </c:pt>
                <c:pt idx="68402">
                  <c:v>51.196451179936915</c:v>
                </c:pt>
                <c:pt idx="68403">
                  <c:v>35.671028070935513</c:v>
                </c:pt>
                <c:pt idx="68404">
                  <c:v>20.694802939360976</c:v>
                </c:pt>
                <c:pt idx="68405">
                  <c:v>23.83657380668998</c:v>
                </c:pt>
                <c:pt idx="68406">
                  <c:v>32.353815485114076</c:v>
                </c:pt>
                <c:pt idx="68407">
                  <c:v>23.56350555903645</c:v>
                </c:pt>
                <c:pt idx="68408">
                  <c:v>28.359076200298009</c:v>
                </c:pt>
                <c:pt idx="68409">
                  <c:v>56.008707522608837</c:v>
                </c:pt>
                <c:pt idx="68410">
                  <c:v>25.191597725848183</c:v>
                </c:pt>
                <c:pt idx="68411">
                  <c:v>46.073408348156875</c:v>
                </c:pt>
                <c:pt idx="68412">
                  <c:v>36.584396195903601</c:v>
                </c:pt>
                <c:pt idx="68413">
                  <c:v>25.875400595963825</c:v>
                </c:pt>
                <c:pt idx="68414">
                  <c:v>26.110793082595347</c:v>
                </c:pt>
                <c:pt idx="68415">
                  <c:v>54.900730472822332</c:v>
                </c:pt>
                <c:pt idx="68416">
                  <c:v>43.425884749636573</c:v>
                </c:pt>
                <c:pt idx="68417">
                  <c:v>25.608521353477006</c:v>
                </c:pt>
                <c:pt idx="68418">
                  <c:v>27.558740691249731</c:v>
                </c:pt>
                <c:pt idx="68419">
                  <c:v>22.777414959825524</c:v>
                </c:pt>
                <c:pt idx="68420">
                  <c:v>28.338345726173589</c:v>
                </c:pt>
                <c:pt idx="68421">
                  <c:v>50.832738026024252</c:v>
                </c:pt>
                <c:pt idx="68422">
                  <c:v>22.996949262920474</c:v>
                </c:pt>
                <c:pt idx="68423">
                  <c:v>36.345032939861966</c:v>
                </c:pt>
                <c:pt idx="68424">
                  <c:v>54.26801984219729</c:v>
                </c:pt>
                <c:pt idx="68425">
                  <c:v>27.345631909234562</c:v>
                </c:pt>
                <c:pt idx="68426">
                  <c:v>19.308595116992759</c:v>
                </c:pt>
                <c:pt idx="68427">
                  <c:v>31.449328862817467</c:v>
                </c:pt>
                <c:pt idx="68428">
                  <c:v>31.757701794537869</c:v>
                </c:pt>
                <c:pt idx="68429">
                  <c:v>44.398728443770544</c:v>
                </c:pt>
                <c:pt idx="68430">
                  <c:v>35.153653958904684</c:v>
                </c:pt>
                <c:pt idx="68431">
                  <c:v>22.663645134558486</c:v>
                </c:pt>
                <c:pt idx="68432">
                  <c:v>25.115519635795671</c:v>
                </c:pt>
                <c:pt idx="68433">
                  <c:v>35.03660888862823</c:v>
                </c:pt>
                <c:pt idx="68434">
                  <c:v>26.942258950980406</c:v>
                </c:pt>
                <c:pt idx="68435">
                  <c:v>23.684171810347035</c:v>
                </c:pt>
                <c:pt idx="68436">
                  <c:v>24.903777374109286</c:v>
                </c:pt>
                <c:pt idx="68437">
                  <c:v>22.300894977506367</c:v>
                </c:pt>
                <c:pt idx="68438">
                  <c:v>26.381940897632386</c:v>
                </c:pt>
                <c:pt idx="68439">
                  <c:v>29.467263853911703</c:v>
                </c:pt>
                <c:pt idx="68440">
                  <c:v>24.48859845762976</c:v>
                </c:pt>
                <c:pt idx="68441">
                  <c:v>28.760818450716172</c:v>
                </c:pt>
                <c:pt idx="68442">
                  <c:v>29.135444134168438</c:v>
                </c:pt>
                <c:pt idx="68443">
                  <c:v>33.283875763794924</c:v>
                </c:pt>
                <c:pt idx="68444">
                  <c:v>24.988119769686129</c:v>
                </c:pt>
                <c:pt idx="68445">
                  <c:v>54.733710370062369</c:v>
                </c:pt>
                <c:pt idx="68446">
                  <c:v>26.144735508618695</c:v>
                </c:pt>
                <c:pt idx="68447">
                  <c:v>28.020495455326241</c:v>
                </c:pt>
                <c:pt idx="68448">
                  <c:v>25.756700819022033</c:v>
                </c:pt>
                <c:pt idx="68449">
                  <c:v>23.111567719448715</c:v>
                </c:pt>
                <c:pt idx="68450">
                  <c:v>27.227922610014787</c:v>
                </c:pt>
                <c:pt idx="68451">
                  <c:v>43.134712584313753</c:v>
                </c:pt>
                <c:pt idx="68452">
                  <c:v>37.871351262295583</c:v>
                </c:pt>
                <c:pt idx="68453">
                  <c:v>33.676459860463936</c:v>
                </c:pt>
                <c:pt idx="68454">
                  <c:v>37.767588070109163</c:v>
                </c:pt>
                <c:pt idx="68455">
                  <c:v>26.393332181797508</c:v>
                </c:pt>
                <c:pt idx="68456">
                  <c:v>42.181466378073203</c:v>
                </c:pt>
                <c:pt idx="68457">
                  <c:v>26.734932038801709</c:v>
                </c:pt>
                <c:pt idx="68458">
                  <c:v>23.841008708445404</c:v>
                </c:pt>
                <c:pt idx="68459">
                  <c:v>51.291875258515766</c:v>
                </c:pt>
                <c:pt idx="68460">
                  <c:v>21.467038709001489</c:v>
                </c:pt>
                <c:pt idx="68461">
                  <c:v>40.310379931511491</c:v>
                </c:pt>
                <c:pt idx="68462">
                  <c:v>38.770503591388852</c:v>
                </c:pt>
                <c:pt idx="68463">
                  <c:v>12.949813450327087</c:v>
                </c:pt>
                <c:pt idx="68464">
                  <c:v>57.486182505529413</c:v>
                </c:pt>
                <c:pt idx="68465">
                  <c:v>24.636255350511338</c:v>
                </c:pt>
                <c:pt idx="68466">
                  <c:v>41.587149929848444</c:v>
                </c:pt>
                <c:pt idx="68467">
                  <c:v>21.738799666403199</c:v>
                </c:pt>
                <c:pt idx="68468">
                  <c:v>31.320995338522273</c:v>
                </c:pt>
                <c:pt idx="68469">
                  <c:v>64.973844762979894</c:v>
                </c:pt>
                <c:pt idx="68470">
                  <c:v>31.082123559085055</c:v>
                </c:pt>
                <c:pt idx="68471">
                  <c:v>33.535360992161557</c:v>
                </c:pt>
                <c:pt idx="68472">
                  <c:v>34.61320667376318</c:v>
                </c:pt>
                <c:pt idx="68473">
                  <c:v>28.196788213546526</c:v>
                </c:pt>
                <c:pt idx="68474">
                  <c:v>30.794167436091982</c:v>
                </c:pt>
                <c:pt idx="68475">
                  <c:v>38.949383687399852</c:v>
                </c:pt>
                <c:pt idx="68476">
                  <c:v>24.969763355395877</c:v>
                </c:pt>
                <c:pt idx="68477">
                  <c:v>24.237974361613443</c:v>
                </c:pt>
                <c:pt idx="68478">
                  <c:v>32.334734885361762</c:v>
                </c:pt>
                <c:pt idx="68479">
                  <c:v>25.400605949092444</c:v>
                </c:pt>
                <c:pt idx="68480">
                  <c:v>30.89408772000515</c:v>
                </c:pt>
                <c:pt idx="68481">
                  <c:v>23.145825081939279</c:v>
                </c:pt>
                <c:pt idx="68482">
                  <c:v>22.907483582050492</c:v>
                </c:pt>
                <c:pt idx="68483">
                  <c:v>28.946431155527367</c:v>
                </c:pt>
                <c:pt idx="68484">
                  <c:v>26.623498022484327</c:v>
                </c:pt>
                <c:pt idx="68485">
                  <c:v>26.150297935523557</c:v>
                </c:pt>
                <c:pt idx="68486">
                  <c:v>25.618715992842105</c:v>
                </c:pt>
                <c:pt idx="68487">
                  <c:v>27.256974920140134</c:v>
                </c:pt>
                <c:pt idx="68488">
                  <c:v>24.72727387887987</c:v>
                </c:pt>
                <c:pt idx="68489">
                  <c:v>54.472038042585986</c:v>
                </c:pt>
                <c:pt idx="68490">
                  <c:v>48.462907331041755</c:v>
                </c:pt>
                <c:pt idx="68491">
                  <c:v>21.882300472631641</c:v>
                </c:pt>
                <c:pt idx="68492">
                  <c:v>54.423972562076777</c:v>
                </c:pt>
                <c:pt idx="68493">
                  <c:v>25.707642988277673</c:v>
                </c:pt>
                <c:pt idx="68494">
                  <c:v>23.167611245087983</c:v>
                </c:pt>
                <c:pt idx="68495">
                  <c:v>22.037942029832585</c:v>
                </c:pt>
                <c:pt idx="68496">
                  <c:v>28.87679054123803</c:v>
                </c:pt>
                <c:pt idx="68497">
                  <c:v>25.129568790803972</c:v>
                </c:pt>
                <c:pt idx="68498">
                  <c:v>27.441530785465211</c:v>
                </c:pt>
                <c:pt idx="68499">
                  <c:v>21.109491046559114</c:v>
                </c:pt>
                <c:pt idx="68500">
                  <c:v>29.206441290777295</c:v>
                </c:pt>
                <c:pt idx="68501">
                  <c:v>31.234626031781293</c:v>
                </c:pt>
                <c:pt idx="68502">
                  <c:v>27.544274654896004</c:v>
                </c:pt>
                <c:pt idx="68503">
                  <c:v>20.846293761606038</c:v>
                </c:pt>
                <c:pt idx="68504">
                  <c:v>28.316892992380563</c:v>
                </c:pt>
                <c:pt idx="68505">
                  <c:v>29.142845439031987</c:v>
                </c:pt>
                <c:pt idx="68506">
                  <c:v>20.39577949475299</c:v>
                </c:pt>
                <c:pt idx="68507">
                  <c:v>24.326345730043489</c:v>
                </c:pt>
                <c:pt idx="68508">
                  <c:v>27.474897735066254</c:v>
                </c:pt>
                <c:pt idx="68509">
                  <c:v>26.370346342844194</c:v>
                </c:pt>
                <c:pt idx="68510">
                  <c:v>38.792642403361448</c:v>
                </c:pt>
                <c:pt idx="68511">
                  <c:v>46.844120428725056</c:v>
                </c:pt>
                <c:pt idx="68512">
                  <c:v>27.429546066233026</c:v>
                </c:pt>
                <c:pt idx="68513">
                  <c:v>29.055002738799384</c:v>
                </c:pt>
                <c:pt idx="68514">
                  <c:v>30.264917666849048</c:v>
                </c:pt>
                <c:pt idx="68515">
                  <c:v>34.895449257228584</c:v>
                </c:pt>
                <c:pt idx="68516">
                  <c:v>31.084950704202122</c:v>
                </c:pt>
                <c:pt idx="68517">
                  <c:v>22.548970629646607</c:v>
                </c:pt>
                <c:pt idx="68518">
                  <c:v>40.124204215898601</c:v>
                </c:pt>
                <c:pt idx="68519">
                  <c:v>34.232302202269452</c:v>
                </c:pt>
                <c:pt idx="68520">
                  <c:v>43.270832176738246</c:v>
                </c:pt>
                <c:pt idx="68521">
                  <c:v>43.946457568881442</c:v>
                </c:pt>
                <c:pt idx="68522">
                  <c:v>23.604947107312626</c:v>
                </c:pt>
                <c:pt idx="68523">
                  <c:v>19.603474619478707</c:v>
                </c:pt>
                <c:pt idx="68524">
                  <c:v>31.496969602608175</c:v>
                </c:pt>
                <c:pt idx="68525">
                  <c:v>23.847855292906825</c:v>
                </c:pt>
                <c:pt idx="68526">
                  <c:v>27.457970549694679</c:v>
                </c:pt>
                <c:pt idx="68527">
                  <c:v>36.379875667708141</c:v>
                </c:pt>
                <c:pt idx="68528">
                  <c:v>20.586461839459318</c:v>
                </c:pt>
                <c:pt idx="68529">
                  <c:v>19.954097457191875</c:v>
                </c:pt>
                <c:pt idx="68530">
                  <c:v>31.238688766215699</c:v>
                </c:pt>
                <c:pt idx="68531">
                  <c:v>19.954798188267784</c:v>
                </c:pt>
                <c:pt idx="68532">
                  <c:v>33.67820606574616</c:v>
                </c:pt>
                <c:pt idx="68533">
                  <c:v>31.487933256519003</c:v>
                </c:pt>
                <c:pt idx="68534">
                  <c:v>34.194212858424848</c:v>
                </c:pt>
                <c:pt idx="68535">
                  <c:v>44.951382735106037</c:v>
                </c:pt>
                <c:pt idx="68536">
                  <c:v>35.90356490954909</c:v>
                </c:pt>
                <c:pt idx="68537">
                  <c:v>31.371575148067652</c:v>
                </c:pt>
                <c:pt idx="68538">
                  <c:v>27.876337601492068</c:v>
                </c:pt>
                <c:pt idx="68539">
                  <c:v>57.683809048629243</c:v>
                </c:pt>
                <c:pt idx="68540">
                  <c:v>22.051342880744933</c:v>
                </c:pt>
                <c:pt idx="68541">
                  <c:v>25.710568215175147</c:v>
                </c:pt>
                <c:pt idx="68542">
                  <c:v>24.790943969770716</c:v>
                </c:pt>
                <c:pt idx="68543">
                  <c:v>38.69595670986115</c:v>
                </c:pt>
                <c:pt idx="68544">
                  <c:v>33.799682953770279</c:v>
                </c:pt>
                <c:pt idx="68545">
                  <c:v>22.808097117905156</c:v>
                </c:pt>
                <c:pt idx="68546">
                  <c:v>29.476484083428293</c:v>
                </c:pt>
                <c:pt idx="68547">
                  <c:v>42.306267444585743</c:v>
                </c:pt>
                <c:pt idx="68548">
                  <c:v>29.317107803319491</c:v>
                </c:pt>
                <c:pt idx="68549">
                  <c:v>31.459607428946732</c:v>
                </c:pt>
                <c:pt idx="68550">
                  <c:v>28.568026509750215</c:v>
                </c:pt>
                <c:pt idx="68551">
                  <c:v>31.629365029992542</c:v>
                </c:pt>
                <c:pt idx="68552">
                  <c:v>20.69541366182851</c:v>
                </c:pt>
                <c:pt idx="68553">
                  <c:v>60.244624503990089</c:v>
                </c:pt>
                <c:pt idx="68554">
                  <c:v>24.197104423495912</c:v>
                </c:pt>
                <c:pt idx="68555">
                  <c:v>25.353429631326371</c:v>
                </c:pt>
                <c:pt idx="68556">
                  <c:v>29.500551260137485</c:v>
                </c:pt>
                <c:pt idx="68557">
                  <c:v>21.392399394289338</c:v>
                </c:pt>
                <c:pt idx="68558">
                  <c:v>33.653521158081929</c:v>
                </c:pt>
                <c:pt idx="68559">
                  <c:v>45.64362839904669</c:v>
                </c:pt>
                <c:pt idx="68560">
                  <c:v>55.14197316866742</c:v>
                </c:pt>
                <c:pt idx="68561">
                  <c:v>22.771758682823904</c:v>
                </c:pt>
                <c:pt idx="68562">
                  <c:v>30.874678430637037</c:v>
                </c:pt>
                <c:pt idx="68563">
                  <c:v>20.881708261676785</c:v>
                </c:pt>
                <c:pt idx="68564">
                  <c:v>22.022700446129996</c:v>
                </c:pt>
                <c:pt idx="68565">
                  <c:v>19.44643234472036</c:v>
                </c:pt>
                <c:pt idx="68566">
                  <c:v>49.542185427492505</c:v>
                </c:pt>
                <c:pt idx="68567">
                  <c:v>29.208168317664722</c:v>
                </c:pt>
                <c:pt idx="68568">
                  <c:v>26.691555756632614</c:v>
                </c:pt>
                <c:pt idx="68569">
                  <c:v>50.939834060508907</c:v>
                </c:pt>
                <c:pt idx="68570">
                  <c:v>41.505238079747258</c:v>
                </c:pt>
                <c:pt idx="68571">
                  <c:v>22.912244407145018</c:v>
                </c:pt>
                <c:pt idx="68572">
                  <c:v>27.187839631164721</c:v>
                </c:pt>
                <c:pt idx="68573">
                  <c:v>26.093577178662731</c:v>
                </c:pt>
                <c:pt idx="68574">
                  <c:v>33.022348977363428</c:v>
                </c:pt>
                <c:pt idx="68575">
                  <c:v>25.848859769650293</c:v>
                </c:pt>
                <c:pt idx="68576">
                  <c:v>58.282392215253431</c:v>
                </c:pt>
                <c:pt idx="68577">
                  <c:v>33.461449606701308</c:v>
                </c:pt>
                <c:pt idx="68578">
                  <c:v>37.990782788403699</c:v>
                </c:pt>
                <c:pt idx="68579">
                  <c:v>30.584047377120964</c:v>
                </c:pt>
                <c:pt idx="68580">
                  <c:v>23.957467124159727</c:v>
                </c:pt>
                <c:pt idx="68581">
                  <c:v>27.967039634450064</c:v>
                </c:pt>
                <c:pt idx="68582">
                  <c:v>21.525837824993083</c:v>
                </c:pt>
                <c:pt idx="68583">
                  <c:v>27.026755482486337</c:v>
                </c:pt>
                <c:pt idx="68584">
                  <c:v>51.162378256691383</c:v>
                </c:pt>
                <c:pt idx="68585">
                  <c:v>25.90722629685261</c:v>
                </c:pt>
                <c:pt idx="68586">
                  <c:v>22.364808556127443</c:v>
                </c:pt>
                <c:pt idx="68587">
                  <c:v>20.223804991558957</c:v>
                </c:pt>
                <c:pt idx="68588">
                  <c:v>23.091516741563805</c:v>
                </c:pt>
                <c:pt idx="68589">
                  <c:v>29.229764247899737</c:v>
                </c:pt>
                <c:pt idx="68590">
                  <c:v>33.071364237409334</c:v>
                </c:pt>
                <c:pt idx="68591">
                  <c:v>24.238872930102421</c:v>
                </c:pt>
                <c:pt idx="68592">
                  <c:v>47.959366758021609</c:v>
                </c:pt>
                <c:pt idx="68593">
                  <c:v>28.324936636620254</c:v>
                </c:pt>
                <c:pt idx="68594">
                  <c:v>25.620171731735162</c:v>
                </c:pt>
                <c:pt idx="68595">
                  <c:v>30.216576629361807</c:v>
                </c:pt>
                <c:pt idx="68596">
                  <c:v>32.770588128726907</c:v>
                </c:pt>
                <c:pt idx="68597">
                  <c:v>24.638218289196892</c:v>
                </c:pt>
                <c:pt idx="68598">
                  <c:v>38.092142565064613</c:v>
                </c:pt>
                <c:pt idx="68599">
                  <c:v>22.425153983542199</c:v>
                </c:pt>
                <c:pt idx="68600">
                  <c:v>25.214277129876638</c:v>
                </c:pt>
                <c:pt idx="68601">
                  <c:v>16.324966955580688</c:v>
                </c:pt>
                <c:pt idx="68602">
                  <c:v>35.945039723851252</c:v>
                </c:pt>
                <c:pt idx="68603">
                  <c:v>44.770105098200474</c:v>
                </c:pt>
                <c:pt idx="68604">
                  <c:v>24.361108541576645</c:v>
                </c:pt>
                <c:pt idx="68605">
                  <c:v>29.514270202781077</c:v>
                </c:pt>
                <c:pt idx="68606">
                  <c:v>18.15749702336468</c:v>
                </c:pt>
                <c:pt idx="68607">
                  <c:v>29.851973233664712</c:v>
                </c:pt>
                <c:pt idx="68608">
                  <c:v>22.038435361425748</c:v>
                </c:pt>
                <c:pt idx="68609">
                  <c:v>57.86048204634946</c:v>
                </c:pt>
                <c:pt idx="68610">
                  <c:v>26.064683465418678</c:v>
                </c:pt>
                <c:pt idx="68611">
                  <c:v>27.479965119612938</c:v>
                </c:pt>
                <c:pt idx="68612">
                  <c:v>35.994535941472051</c:v>
                </c:pt>
                <c:pt idx="68613">
                  <c:v>49.808755201046793</c:v>
                </c:pt>
                <c:pt idx="68614">
                  <c:v>28.185006297512469</c:v>
                </c:pt>
                <c:pt idx="68615">
                  <c:v>51.448994957728864</c:v>
                </c:pt>
                <c:pt idx="68616">
                  <c:v>33.83562852749828</c:v>
                </c:pt>
                <c:pt idx="68617">
                  <c:v>42.495103640658563</c:v>
                </c:pt>
                <c:pt idx="68618">
                  <c:v>39.605896501473765</c:v>
                </c:pt>
                <c:pt idx="68619">
                  <c:v>50.9345896286654</c:v>
                </c:pt>
                <c:pt idx="68620">
                  <c:v>35.198964353791538</c:v>
                </c:pt>
                <c:pt idx="68621">
                  <c:v>19.73628915074265</c:v>
                </c:pt>
                <c:pt idx="68622">
                  <c:v>29.128992728561407</c:v>
                </c:pt>
                <c:pt idx="68623">
                  <c:v>17.165838808155943</c:v>
                </c:pt>
                <c:pt idx="68624">
                  <c:v>47.812732287691475</c:v>
                </c:pt>
                <c:pt idx="68625">
                  <c:v>29.357573140744503</c:v>
                </c:pt>
                <c:pt idx="68626">
                  <c:v>26.954332238338438</c:v>
                </c:pt>
                <c:pt idx="68627">
                  <c:v>38.518287767454126</c:v>
                </c:pt>
                <c:pt idx="68628">
                  <c:v>26.523408001359002</c:v>
                </c:pt>
                <c:pt idx="68629">
                  <c:v>23.41940943518922</c:v>
                </c:pt>
                <c:pt idx="68630">
                  <c:v>43.159542419914644</c:v>
                </c:pt>
                <c:pt idx="68631">
                  <c:v>42.926825694521497</c:v>
                </c:pt>
                <c:pt idx="68632">
                  <c:v>32.36938379078078</c:v>
                </c:pt>
                <c:pt idx="68633">
                  <c:v>27.355712112970146</c:v>
                </c:pt>
                <c:pt idx="68634">
                  <c:v>32.634534086438052</c:v>
                </c:pt>
                <c:pt idx="68635">
                  <c:v>39.382184904098274</c:v>
                </c:pt>
                <c:pt idx="68636">
                  <c:v>39.701021486203587</c:v>
                </c:pt>
                <c:pt idx="68637">
                  <c:v>30.926388257005144</c:v>
                </c:pt>
                <c:pt idx="68638">
                  <c:v>31.712280994240359</c:v>
                </c:pt>
                <c:pt idx="68639">
                  <c:v>48.977075435667977</c:v>
                </c:pt>
                <c:pt idx="68640">
                  <c:v>28.261560317590238</c:v>
                </c:pt>
                <c:pt idx="68641">
                  <c:v>41.316421519714389</c:v>
                </c:pt>
                <c:pt idx="68642">
                  <c:v>24.17352668645453</c:v>
                </c:pt>
                <c:pt idx="68643">
                  <c:v>49.261177051785431</c:v>
                </c:pt>
                <c:pt idx="68644">
                  <c:v>21.638740364239965</c:v>
                </c:pt>
                <c:pt idx="68645">
                  <c:v>25.45609324452046</c:v>
                </c:pt>
                <c:pt idx="68646">
                  <c:v>40.569478624845402</c:v>
                </c:pt>
                <c:pt idx="68647">
                  <c:v>47.340887415003785</c:v>
                </c:pt>
                <c:pt idx="68648">
                  <c:v>21.972206912033545</c:v>
                </c:pt>
                <c:pt idx="68649">
                  <c:v>21.86902535888181</c:v>
                </c:pt>
                <c:pt idx="68650">
                  <c:v>49.081261679046854</c:v>
                </c:pt>
                <c:pt idx="68651">
                  <c:v>26.230434829354039</c:v>
                </c:pt>
                <c:pt idx="68652">
                  <c:v>51.460594502386904</c:v>
                </c:pt>
                <c:pt idx="68653">
                  <c:v>28.53880845259263</c:v>
                </c:pt>
                <c:pt idx="68654">
                  <c:v>23.907998166026832</c:v>
                </c:pt>
                <c:pt idx="68655">
                  <c:v>39.430010586388086</c:v>
                </c:pt>
                <c:pt idx="68656">
                  <c:v>33.826735897348001</c:v>
                </c:pt>
                <c:pt idx="68657">
                  <c:v>22.156718749228858</c:v>
                </c:pt>
                <c:pt idx="68658">
                  <c:v>31.065625724353275</c:v>
                </c:pt>
                <c:pt idx="68659">
                  <c:v>28.769054410669391</c:v>
                </c:pt>
                <c:pt idx="68660">
                  <c:v>30.69952533788312</c:v>
                </c:pt>
                <c:pt idx="68661">
                  <c:v>21.617535132941367</c:v>
                </c:pt>
                <c:pt idx="68662">
                  <c:v>26.09740413922999</c:v>
                </c:pt>
                <c:pt idx="68663">
                  <c:v>35.83109308531769</c:v>
                </c:pt>
                <c:pt idx="68664">
                  <c:v>43.631145763664179</c:v>
                </c:pt>
                <c:pt idx="68665">
                  <c:v>25.188456773278091</c:v>
                </c:pt>
                <c:pt idx="68666">
                  <c:v>27.311181323995381</c:v>
                </c:pt>
                <c:pt idx="68667">
                  <c:v>45.48682586723244</c:v>
                </c:pt>
                <c:pt idx="68668">
                  <c:v>22.858886135147529</c:v>
                </c:pt>
                <c:pt idx="68669">
                  <c:v>30.504533248059246</c:v>
                </c:pt>
                <c:pt idx="68670">
                  <c:v>27.560076204704892</c:v>
                </c:pt>
                <c:pt idx="68671">
                  <c:v>20.507882497614961</c:v>
                </c:pt>
                <c:pt idx="68672">
                  <c:v>30.93085023241121</c:v>
                </c:pt>
                <c:pt idx="68673">
                  <c:v>44.229905646429245</c:v>
                </c:pt>
                <c:pt idx="68674">
                  <c:v>16.007007058230776</c:v>
                </c:pt>
                <c:pt idx="68675">
                  <c:v>32.661620769573638</c:v>
                </c:pt>
                <c:pt idx="68676">
                  <c:v>27.544311933428496</c:v>
                </c:pt>
                <c:pt idx="68677">
                  <c:v>46.276694440388198</c:v>
                </c:pt>
                <c:pt idx="68678">
                  <c:v>25.872241698753808</c:v>
                </c:pt>
                <c:pt idx="68679">
                  <c:v>23.323771231477281</c:v>
                </c:pt>
                <c:pt idx="68680">
                  <c:v>43.385713534207696</c:v>
                </c:pt>
                <c:pt idx="68681">
                  <c:v>56.450504274832667</c:v>
                </c:pt>
                <c:pt idx="68682">
                  <c:v>47.816460056994188</c:v>
                </c:pt>
                <c:pt idx="68683">
                  <c:v>22.422704007232575</c:v>
                </c:pt>
                <c:pt idx="68684">
                  <c:v>56.279742692612871</c:v>
                </c:pt>
                <c:pt idx="68685">
                  <c:v>23.003136414007287</c:v>
                </c:pt>
                <c:pt idx="68686">
                  <c:v>28.363415515733358</c:v>
                </c:pt>
                <c:pt idx="68687">
                  <c:v>40.752710433978116</c:v>
                </c:pt>
                <c:pt idx="68688">
                  <c:v>51.358901382738289</c:v>
                </c:pt>
                <c:pt idx="68689">
                  <c:v>31.176906492614958</c:v>
                </c:pt>
                <c:pt idx="68690">
                  <c:v>23.255648141057765</c:v>
                </c:pt>
                <c:pt idx="68691">
                  <c:v>42.692514268106258</c:v>
                </c:pt>
                <c:pt idx="68692">
                  <c:v>45.807780041790465</c:v>
                </c:pt>
                <c:pt idx="68693">
                  <c:v>30.604186350209503</c:v>
                </c:pt>
                <c:pt idx="68694">
                  <c:v>24.672290755466413</c:v>
                </c:pt>
                <c:pt idx="68695">
                  <c:v>29.759159671503973</c:v>
                </c:pt>
                <c:pt idx="68696">
                  <c:v>23.205986436728772</c:v>
                </c:pt>
                <c:pt idx="68697">
                  <c:v>20.499524913920929</c:v>
                </c:pt>
                <c:pt idx="68698">
                  <c:v>22.974796932816414</c:v>
                </c:pt>
                <c:pt idx="68699">
                  <c:v>55.224249362569964</c:v>
                </c:pt>
                <c:pt idx="68700">
                  <c:v>33.217862287323825</c:v>
                </c:pt>
                <c:pt idx="68701">
                  <c:v>22.139948956183375</c:v>
                </c:pt>
                <c:pt idx="68702">
                  <c:v>27.143244950881758</c:v>
                </c:pt>
                <c:pt idx="68703">
                  <c:v>23.212824803092051</c:v>
                </c:pt>
                <c:pt idx="68704">
                  <c:v>24.021979320697064</c:v>
                </c:pt>
                <c:pt idx="68705">
                  <c:v>31.015723456724952</c:v>
                </c:pt>
                <c:pt idx="68706">
                  <c:v>63.964225688510666</c:v>
                </c:pt>
                <c:pt idx="68707">
                  <c:v>35.893451965531739</c:v>
                </c:pt>
                <c:pt idx="68708">
                  <c:v>35.485345951515484</c:v>
                </c:pt>
                <c:pt idx="68709">
                  <c:v>24.571091510851947</c:v>
                </c:pt>
                <c:pt idx="68710">
                  <c:v>24.110013938318279</c:v>
                </c:pt>
                <c:pt idx="68711">
                  <c:v>39.323556069177314</c:v>
                </c:pt>
                <c:pt idx="68712">
                  <c:v>26.849065227921876</c:v>
                </c:pt>
                <c:pt idx="68713">
                  <c:v>37.385260306197303</c:v>
                </c:pt>
                <c:pt idx="68714">
                  <c:v>23.66777161007121</c:v>
                </c:pt>
                <c:pt idx="68715">
                  <c:v>23.060276732395547</c:v>
                </c:pt>
                <c:pt idx="68716">
                  <c:v>24.832115363960845</c:v>
                </c:pt>
                <c:pt idx="68717">
                  <c:v>21.890901357558658</c:v>
                </c:pt>
                <c:pt idx="68718">
                  <c:v>35.456846805350665</c:v>
                </c:pt>
                <c:pt idx="68719">
                  <c:v>39.736123171999324</c:v>
                </c:pt>
                <c:pt idx="68720">
                  <c:v>27.819204406997379</c:v>
                </c:pt>
                <c:pt idx="68721">
                  <c:v>27.615536737472031</c:v>
                </c:pt>
                <c:pt idx="68722">
                  <c:v>25.388354418419627</c:v>
                </c:pt>
                <c:pt idx="68723">
                  <c:v>23.738899627975208</c:v>
                </c:pt>
                <c:pt idx="68724">
                  <c:v>32.60078239376854</c:v>
                </c:pt>
                <c:pt idx="68725">
                  <c:v>20.706952888725265</c:v>
                </c:pt>
                <c:pt idx="68726">
                  <c:v>26.88941707991804</c:v>
                </c:pt>
                <c:pt idx="68727">
                  <c:v>19.793957426388644</c:v>
                </c:pt>
                <c:pt idx="68728">
                  <c:v>42.617161880899815</c:v>
                </c:pt>
                <c:pt idx="68729">
                  <c:v>27.457466003748362</c:v>
                </c:pt>
                <c:pt idx="68730">
                  <c:v>58.357297791596835</c:v>
                </c:pt>
                <c:pt idx="68731">
                  <c:v>20.07365753492347</c:v>
                </c:pt>
                <c:pt idx="68732">
                  <c:v>31.422598743651523</c:v>
                </c:pt>
                <c:pt idx="68733">
                  <c:v>25.092796505349856</c:v>
                </c:pt>
                <c:pt idx="68734">
                  <c:v>24.31697453648442</c:v>
                </c:pt>
                <c:pt idx="68735">
                  <c:v>22.819917550937205</c:v>
                </c:pt>
                <c:pt idx="68736">
                  <c:v>21.738165577775344</c:v>
                </c:pt>
                <c:pt idx="68737">
                  <c:v>20.067787993894189</c:v>
                </c:pt>
                <c:pt idx="68738">
                  <c:v>28.650454207923985</c:v>
                </c:pt>
                <c:pt idx="68739">
                  <c:v>17.989875004288663</c:v>
                </c:pt>
                <c:pt idx="68740">
                  <c:v>26.336853401429025</c:v>
                </c:pt>
                <c:pt idx="68741">
                  <c:v>25.837787197347851</c:v>
                </c:pt>
                <c:pt idx="68742">
                  <c:v>25.712400212833465</c:v>
                </c:pt>
                <c:pt idx="68743">
                  <c:v>17.860784493237624</c:v>
                </c:pt>
                <c:pt idx="68744">
                  <c:v>38.575274655233144</c:v>
                </c:pt>
                <c:pt idx="68745">
                  <c:v>28.034723966296593</c:v>
                </c:pt>
                <c:pt idx="68746">
                  <c:v>50.078346519625136</c:v>
                </c:pt>
                <c:pt idx="68747">
                  <c:v>24.880427370361446</c:v>
                </c:pt>
                <c:pt idx="68748">
                  <c:v>26.841730905310193</c:v>
                </c:pt>
                <c:pt idx="68749">
                  <c:v>27.873825460341717</c:v>
                </c:pt>
                <c:pt idx="68750">
                  <c:v>31.836788563697404</c:v>
                </c:pt>
                <c:pt idx="68751">
                  <c:v>22.7241108849536</c:v>
                </c:pt>
                <c:pt idx="68752">
                  <c:v>27.523290657740578</c:v>
                </c:pt>
                <c:pt idx="68753">
                  <c:v>34.692612016569981</c:v>
                </c:pt>
                <c:pt idx="68754">
                  <c:v>23.932721006292788</c:v>
                </c:pt>
                <c:pt idx="68755">
                  <c:v>20.411355970156187</c:v>
                </c:pt>
                <c:pt idx="68756">
                  <c:v>20.530364181590862</c:v>
                </c:pt>
                <c:pt idx="68757">
                  <c:v>27.289026448973971</c:v>
                </c:pt>
                <c:pt idx="68758">
                  <c:v>22.240355167110593</c:v>
                </c:pt>
                <c:pt idx="68759">
                  <c:v>25.658596190911268</c:v>
                </c:pt>
                <c:pt idx="68760">
                  <c:v>39.635067411164414</c:v>
                </c:pt>
                <c:pt idx="68761">
                  <c:v>25.942354664221138</c:v>
                </c:pt>
                <c:pt idx="68762">
                  <c:v>28.080039838877063</c:v>
                </c:pt>
                <c:pt idx="68763">
                  <c:v>26.854216329531489</c:v>
                </c:pt>
                <c:pt idx="68764">
                  <c:v>56.963502710956675</c:v>
                </c:pt>
                <c:pt idx="68765">
                  <c:v>18.986875240037023</c:v>
                </c:pt>
                <c:pt idx="68766">
                  <c:v>39.438153798474524</c:v>
                </c:pt>
                <c:pt idx="68767">
                  <c:v>40.760694415482689</c:v>
                </c:pt>
                <c:pt idx="68768">
                  <c:v>27.016466573593025</c:v>
                </c:pt>
                <c:pt idx="68769">
                  <c:v>25.389263989715506</c:v>
                </c:pt>
                <c:pt idx="68770">
                  <c:v>26.81981806039899</c:v>
                </c:pt>
                <c:pt idx="68771">
                  <c:v>22.863668032406849</c:v>
                </c:pt>
                <c:pt idx="68772">
                  <c:v>44.067273106310573</c:v>
                </c:pt>
                <c:pt idx="68773">
                  <c:v>27.927690446118532</c:v>
                </c:pt>
                <c:pt idx="68774">
                  <c:v>53.616358215795636</c:v>
                </c:pt>
                <c:pt idx="68775">
                  <c:v>40.389591813924966</c:v>
                </c:pt>
                <c:pt idx="68776">
                  <c:v>32.704290098684538</c:v>
                </c:pt>
                <c:pt idx="68777">
                  <c:v>49.754421842496363</c:v>
                </c:pt>
                <c:pt idx="68778">
                  <c:v>21.244593916215173</c:v>
                </c:pt>
                <c:pt idx="68779">
                  <c:v>34.936637080367738</c:v>
                </c:pt>
                <c:pt idx="68780">
                  <c:v>30.001703939580757</c:v>
                </c:pt>
                <c:pt idx="68781">
                  <c:v>51.451076719127599</c:v>
                </c:pt>
                <c:pt idx="68782">
                  <c:v>22.336827245766166</c:v>
                </c:pt>
                <c:pt idx="68783">
                  <c:v>52.070016574436565</c:v>
                </c:pt>
                <c:pt idx="68784">
                  <c:v>27.263862809214132</c:v>
                </c:pt>
                <c:pt idx="68785">
                  <c:v>21.999506137768556</c:v>
                </c:pt>
                <c:pt idx="68786">
                  <c:v>25.088000868321721</c:v>
                </c:pt>
                <c:pt idx="68787">
                  <c:v>55.872276331442485</c:v>
                </c:pt>
                <c:pt idx="68788">
                  <c:v>27.182782437524509</c:v>
                </c:pt>
                <c:pt idx="68789">
                  <c:v>31.341934413907584</c:v>
                </c:pt>
                <c:pt idx="68790">
                  <c:v>21.975232095739837</c:v>
                </c:pt>
                <c:pt idx="68791">
                  <c:v>29.316518114692016</c:v>
                </c:pt>
                <c:pt idx="68792">
                  <c:v>22.94013785232826</c:v>
                </c:pt>
                <c:pt idx="68793">
                  <c:v>51.721973138766757</c:v>
                </c:pt>
                <c:pt idx="68794">
                  <c:v>25.384414899638848</c:v>
                </c:pt>
                <c:pt idx="68795">
                  <c:v>45.634404466549313</c:v>
                </c:pt>
                <c:pt idx="68796">
                  <c:v>29.401769243622336</c:v>
                </c:pt>
                <c:pt idx="68797">
                  <c:v>47.727484173007049</c:v>
                </c:pt>
                <c:pt idx="68798">
                  <c:v>32.071749637607162</c:v>
                </c:pt>
                <c:pt idx="68799">
                  <c:v>27.85102813814304</c:v>
                </c:pt>
                <c:pt idx="68800">
                  <c:v>49.356882043008007</c:v>
                </c:pt>
                <c:pt idx="68801">
                  <c:v>34.145513238292999</c:v>
                </c:pt>
                <c:pt idx="68802">
                  <c:v>23.721251747297682</c:v>
                </c:pt>
                <c:pt idx="68803">
                  <c:v>40.805638901805466</c:v>
                </c:pt>
                <c:pt idx="68804">
                  <c:v>28.972997996140585</c:v>
                </c:pt>
                <c:pt idx="68805">
                  <c:v>21.332729490489648</c:v>
                </c:pt>
                <c:pt idx="68806">
                  <c:v>32.906976800702331</c:v>
                </c:pt>
                <c:pt idx="68807">
                  <c:v>15.981909317375798</c:v>
                </c:pt>
                <c:pt idx="68808">
                  <c:v>31.115495145218489</c:v>
                </c:pt>
                <c:pt idx="68809">
                  <c:v>48.916383537545485</c:v>
                </c:pt>
                <c:pt idx="68810">
                  <c:v>27.921538983076136</c:v>
                </c:pt>
                <c:pt idx="68811">
                  <c:v>21.180090579962343</c:v>
                </c:pt>
                <c:pt idx="68812">
                  <c:v>25.246844152271485</c:v>
                </c:pt>
                <c:pt idx="68813">
                  <c:v>44.420140707276524</c:v>
                </c:pt>
                <c:pt idx="68814">
                  <c:v>32.174116123525067</c:v>
                </c:pt>
                <c:pt idx="68815">
                  <c:v>27.553871096933193</c:v>
                </c:pt>
                <c:pt idx="68816">
                  <c:v>26.935134114743462</c:v>
                </c:pt>
                <c:pt idx="68817">
                  <c:v>30.757452548058573</c:v>
                </c:pt>
                <c:pt idx="68818">
                  <c:v>33.096149713868947</c:v>
                </c:pt>
                <c:pt idx="68819">
                  <c:v>24.134471335744315</c:v>
                </c:pt>
                <c:pt idx="68820">
                  <c:v>32.996003881233591</c:v>
                </c:pt>
                <c:pt idx="68821">
                  <c:v>28.39872591476087</c:v>
                </c:pt>
                <c:pt idx="68822">
                  <c:v>21.893989842021089</c:v>
                </c:pt>
                <c:pt idx="68823">
                  <c:v>46.752337271490802</c:v>
                </c:pt>
                <c:pt idx="68824">
                  <c:v>20.064995662266888</c:v>
                </c:pt>
                <c:pt idx="68825">
                  <c:v>47.050477491832005</c:v>
                </c:pt>
                <c:pt idx="68826">
                  <c:v>25.537728590754089</c:v>
                </c:pt>
                <c:pt idx="68827">
                  <c:v>31.543362199425331</c:v>
                </c:pt>
                <c:pt idx="68828">
                  <c:v>23.553658845755223</c:v>
                </c:pt>
                <c:pt idx="68829">
                  <c:v>43.253697250983429</c:v>
                </c:pt>
                <c:pt idx="68830">
                  <c:v>21.491352208266971</c:v>
                </c:pt>
                <c:pt idx="68831">
                  <c:v>45.544520623895878</c:v>
                </c:pt>
                <c:pt idx="68832">
                  <c:v>42.033500262583587</c:v>
                </c:pt>
                <c:pt idx="68833">
                  <c:v>25.232405327011801</c:v>
                </c:pt>
                <c:pt idx="68834">
                  <c:v>28.389179059551125</c:v>
                </c:pt>
                <c:pt idx="68835">
                  <c:v>18.626062049997024</c:v>
                </c:pt>
                <c:pt idx="68836">
                  <c:v>33.424244489918671</c:v>
                </c:pt>
                <c:pt idx="68837">
                  <c:v>32.080106801743298</c:v>
                </c:pt>
                <c:pt idx="68838">
                  <c:v>36.924361894985971</c:v>
                </c:pt>
                <c:pt idx="68839">
                  <c:v>28.322576111357282</c:v>
                </c:pt>
                <c:pt idx="68840">
                  <c:v>36.353857043648119</c:v>
                </c:pt>
                <c:pt idx="68841">
                  <c:v>27.528198114538949</c:v>
                </c:pt>
                <c:pt idx="68842">
                  <c:v>26.163575251857694</c:v>
                </c:pt>
                <c:pt idx="68843">
                  <c:v>38.904726917986444</c:v>
                </c:pt>
                <c:pt idx="68844">
                  <c:v>29.52841662748974</c:v>
                </c:pt>
                <c:pt idx="68845">
                  <c:v>30.82338080601086</c:v>
                </c:pt>
                <c:pt idx="68846">
                  <c:v>43.451732239995764</c:v>
                </c:pt>
                <c:pt idx="68847">
                  <c:v>29.611067217552929</c:v>
                </c:pt>
                <c:pt idx="68848">
                  <c:v>20.945840346850559</c:v>
                </c:pt>
                <c:pt idx="68849">
                  <c:v>48.255017238668145</c:v>
                </c:pt>
                <c:pt idx="68850">
                  <c:v>58.724351869448881</c:v>
                </c:pt>
                <c:pt idx="68851">
                  <c:v>23.123337407979655</c:v>
                </c:pt>
                <c:pt idx="68852">
                  <c:v>29.38234783226001</c:v>
                </c:pt>
                <c:pt idx="68853">
                  <c:v>27.779553870117645</c:v>
                </c:pt>
                <c:pt idx="68854">
                  <c:v>29.136603778023378</c:v>
                </c:pt>
                <c:pt idx="68855">
                  <c:v>31.632008308131798</c:v>
                </c:pt>
                <c:pt idx="68856">
                  <c:v>23.039825266296791</c:v>
                </c:pt>
                <c:pt idx="68857">
                  <c:v>36.068070753485955</c:v>
                </c:pt>
                <c:pt idx="68858">
                  <c:v>20.444039389908166</c:v>
                </c:pt>
                <c:pt idx="68859">
                  <c:v>34.782121680943121</c:v>
                </c:pt>
                <c:pt idx="68860">
                  <c:v>24.272865554732103</c:v>
                </c:pt>
                <c:pt idx="68861">
                  <c:v>24.805363854133994</c:v>
                </c:pt>
                <c:pt idx="68862">
                  <c:v>15.931140177131326</c:v>
                </c:pt>
                <c:pt idx="68863">
                  <c:v>27.43556901188607</c:v>
                </c:pt>
                <c:pt idx="68864">
                  <c:v>25.846274667577234</c:v>
                </c:pt>
                <c:pt idx="68865">
                  <c:v>25.744771299778265</c:v>
                </c:pt>
                <c:pt idx="68866">
                  <c:v>17.945749205171211</c:v>
                </c:pt>
                <c:pt idx="68867">
                  <c:v>33.483568225453098</c:v>
                </c:pt>
                <c:pt idx="68868">
                  <c:v>29.047807795163326</c:v>
                </c:pt>
                <c:pt idx="68869">
                  <c:v>32.51801942036839</c:v>
                </c:pt>
                <c:pt idx="68870">
                  <c:v>31.543440797175165</c:v>
                </c:pt>
                <c:pt idx="68871">
                  <c:v>38.329369977973307</c:v>
                </c:pt>
                <c:pt idx="68872">
                  <c:v>35.933878399522705</c:v>
                </c:pt>
                <c:pt idx="68873">
                  <c:v>32.778518288300674</c:v>
                </c:pt>
                <c:pt idx="68874">
                  <c:v>28.851932389519813</c:v>
                </c:pt>
                <c:pt idx="68875">
                  <c:v>23.153275329624179</c:v>
                </c:pt>
                <c:pt idx="68876">
                  <c:v>43.292013608068665</c:v>
                </c:pt>
                <c:pt idx="68877">
                  <c:v>47.204221443370379</c:v>
                </c:pt>
                <c:pt idx="68878">
                  <c:v>21.505119029481602</c:v>
                </c:pt>
                <c:pt idx="68879">
                  <c:v>21.879584257985218</c:v>
                </c:pt>
                <c:pt idx="68880">
                  <c:v>25.214172625781032</c:v>
                </c:pt>
                <c:pt idx="68881">
                  <c:v>26.918055867154308</c:v>
                </c:pt>
                <c:pt idx="68882">
                  <c:v>17.558161885932133</c:v>
                </c:pt>
                <c:pt idx="68883">
                  <c:v>21.758215316133615</c:v>
                </c:pt>
                <c:pt idx="68884">
                  <c:v>29.188454707306434</c:v>
                </c:pt>
                <c:pt idx="68885">
                  <c:v>25.914197131421524</c:v>
                </c:pt>
                <c:pt idx="68886">
                  <c:v>50.401679449513878</c:v>
                </c:pt>
                <c:pt idx="68887">
                  <c:v>20.472921425364206</c:v>
                </c:pt>
                <c:pt idx="68888">
                  <c:v>31.38662661243788</c:v>
                </c:pt>
                <c:pt idx="68889">
                  <c:v>31.453976036032739</c:v>
                </c:pt>
                <c:pt idx="68890">
                  <c:v>36.338124053205107</c:v>
                </c:pt>
                <c:pt idx="68891">
                  <c:v>23.228307132944028</c:v>
                </c:pt>
                <c:pt idx="68892">
                  <c:v>26.683349590606252</c:v>
                </c:pt>
                <c:pt idx="68893">
                  <c:v>25.937991010215853</c:v>
                </c:pt>
                <c:pt idx="68894">
                  <c:v>36.4033061119057</c:v>
                </c:pt>
                <c:pt idx="68895">
                  <c:v>41.932486694640332</c:v>
                </c:pt>
                <c:pt idx="68896">
                  <c:v>48.303098184134953</c:v>
                </c:pt>
                <c:pt idx="68897">
                  <c:v>21.261801654955264</c:v>
                </c:pt>
                <c:pt idx="68898">
                  <c:v>27.014402737778997</c:v>
                </c:pt>
                <c:pt idx="68899">
                  <c:v>23.831978731784915</c:v>
                </c:pt>
                <c:pt idx="68900">
                  <c:v>29.726537104187933</c:v>
                </c:pt>
                <c:pt idx="68901">
                  <c:v>51.776456701094354</c:v>
                </c:pt>
                <c:pt idx="68902">
                  <c:v>37.341391986979474</c:v>
                </c:pt>
                <c:pt idx="68903">
                  <c:v>27.23577895393354</c:v>
                </c:pt>
                <c:pt idx="68904">
                  <c:v>35.264377074029852</c:v>
                </c:pt>
                <c:pt idx="68905">
                  <c:v>26.114377378911946</c:v>
                </c:pt>
                <c:pt idx="68906">
                  <c:v>22.682309657674612</c:v>
                </c:pt>
                <c:pt idx="68907">
                  <c:v>21.860751877517625</c:v>
                </c:pt>
                <c:pt idx="68908">
                  <c:v>28.529944067075469</c:v>
                </c:pt>
                <c:pt idx="68909">
                  <c:v>31.121550589089047</c:v>
                </c:pt>
                <c:pt idx="68910">
                  <c:v>39.761426221049966</c:v>
                </c:pt>
                <c:pt idx="68911">
                  <c:v>52.142045453673482</c:v>
                </c:pt>
                <c:pt idx="68912">
                  <c:v>28.06933103336188</c:v>
                </c:pt>
                <c:pt idx="68913">
                  <c:v>29.353860688212563</c:v>
                </c:pt>
                <c:pt idx="68914">
                  <c:v>45.661740564984811</c:v>
                </c:pt>
                <c:pt idx="68915">
                  <c:v>22.905067947078329</c:v>
                </c:pt>
                <c:pt idx="68916">
                  <c:v>28.723752445151632</c:v>
                </c:pt>
                <c:pt idx="68917">
                  <c:v>23.002757324402815</c:v>
                </c:pt>
                <c:pt idx="68918">
                  <c:v>32.662953663159819</c:v>
                </c:pt>
                <c:pt idx="68919">
                  <c:v>45.282092835408889</c:v>
                </c:pt>
                <c:pt idx="68920">
                  <c:v>50.431678329733117</c:v>
                </c:pt>
                <c:pt idx="68921">
                  <c:v>19.289951942190203</c:v>
                </c:pt>
                <c:pt idx="68922">
                  <c:v>27.417486519534119</c:v>
                </c:pt>
                <c:pt idx="68923">
                  <c:v>33.79286906128074</c:v>
                </c:pt>
                <c:pt idx="68924">
                  <c:v>25.475380928028606</c:v>
                </c:pt>
                <c:pt idx="68925">
                  <c:v>22.382392750315496</c:v>
                </c:pt>
                <c:pt idx="68926">
                  <c:v>25.979333916599501</c:v>
                </c:pt>
                <c:pt idx="68927">
                  <c:v>24.024696358106368</c:v>
                </c:pt>
                <c:pt idx="68928">
                  <c:v>50.67709168210741</c:v>
                </c:pt>
                <c:pt idx="68929">
                  <c:v>21.738696023158848</c:v>
                </c:pt>
                <c:pt idx="68930">
                  <c:v>28.633733494808393</c:v>
                </c:pt>
                <c:pt idx="68931">
                  <c:v>47.666738623068412</c:v>
                </c:pt>
                <c:pt idx="68932">
                  <c:v>25.965065859019642</c:v>
                </c:pt>
                <c:pt idx="68933">
                  <c:v>31.265792906982533</c:v>
                </c:pt>
                <c:pt idx="68934">
                  <c:v>36.283473205291784</c:v>
                </c:pt>
                <c:pt idx="68935">
                  <c:v>29.014902840856017</c:v>
                </c:pt>
                <c:pt idx="68936">
                  <c:v>21.032785071930668</c:v>
                </c:pt>
                <c:pt idx="68937">
                  <c:v>47.03976692122032</c:v>
                </c:pt>
                <c:pt idx="68938">
                  <c:v>28.477384785933264</c:v>
                </c:pt>
                <c:pt idx="68939">
                  <c:v>51.390517559103252</c:v>
                </c:pt>
                <c:pt idx="68940">
                  <c:v>26.250014494515703</c:v>
                </c:pt>
                <c:pt idx="68941">
                  <c:v>46.0882346007091</c:v>
                </c:pt>
                <c:pt idx="68942">
                  <c:v>29.692368645814138</c:v>
                </c:pt>
                <c:pt idx="68943">
                  <c:v>28.252125216983359</c:v>
                </c:pt>
                <c:pt idx="68944">
                  <c:v>20.496162994782331</c:v>
                </c:pt>
                <c:pt idx="68945">
                  <c:v>22.955399737258734</c:v>
                </c:pt>
                <c:pt idx="68946">
                  <c:v>61.214095580639821</c:v>
                </c:pt>
                <c:pt idx="68947">
                  <c:v>25.780391289323937</c:v>
                </c:pt>
                <c:pt idx="68948">
                  <c:v>20.75616486533</c:v>
                </c:pt>
                <c:pt idx="68949">
                  <c:v>21.409634468497561</c:v>
                </c:pt>
                <c:pt idx="68950">
                  <c:v>26.650008264894321</c:v>
                </c:pt>
                <c:pt idx="68951">
                  <c:v>49.522635342660344</c:v>
                </c:pt>
                <c:pt idx="68952">
                  <c:v>39.601981870346457</c:v>
                </c:pt>
                <c:pt idx="68953">
                  <c:v>33.714548676110894</c:v>
                </c:pt>
                <c:pt idx="68954">
                  <c:v>28.560569805841318</c:v>
                </c:pt>
                <c:pt idx="68955">
                  <c:v>27.668866478042112</c:v>
                </c:pt>
                <c:pt idx="68956">
                  <c:v>29.877218716845743</c:v>
                </c:pt>
                <c:pt idx="68957">
                  <c:v>22.75132459266662</c:v>
                </c:pt>
                <c:pt idx="68958">
                  <c:v>20.130256393966448</c:v>
                </c:pt>
                <c:pt idx="68959">
                  <c:v>19.824192550118482</c:v>
                </c:pt>
                <c:pt idx="68960">
                  <c:v>18.217133059785493</c:v>
                </c:pt>
                <c:pt idx="68961">
                  <c:v>26.780687303575494</c:v>
                </c:pt>
                <c:pt idx="68962">
                  <c:v>27.874227509091401</c:v>
                </c:pt>
                <c:pt idx="68963">
                  <c:v>21.294639129021213</c:v>
                </c:pt>
                <c:pt idx="68964">
                  <c:v>26.97189660316171</c:v>
                </c:pt>
                <c:pt idx="68965">
                  <c:v>32.573330114828728</c:v>
                </c:pt>
                <c:pt idx="68966">
                  <c:v>31.789654529014562</c:v>
                </c:pt>
                <c:pt idx="68967">
                  <c:v>27.687032489909139</c:v>
                </c:pt>
                <c:pt idx="68968">
                  <c:v>23.749383655733315</c:v>
                </c:pt>
                <c:pt idx="68969">
                  <c:v>41.092950901145187</c:v>
                </c:pt>
                <c:pt idx="68970">
                  <c:v>17.723497881015071</c:v>
                </c:pt>
                <c:pt idx="68971">
                  <c:v>27.106105030352133</c:v>
                </c:pt>
                <c:pt idx="68972">
                  <c:v>28.26349586803444</c:v>
                </c:pt>
                <c:pt idx="68973">
                  <c:v>31.290493028765894</c:v>
                </c:pt>
                <c:pt idx="68974">
                  <c:v>18.677968707437522</c:v>
                </c:pt>
                <c:pt idx="68975">
                  <c:v>20.247232994665563</c:v>
                </c:pt>
                <c:pt idx="68976">
                  <c:v>19.234584391318176</c:v>
                </c:pt>
                <c:pt idx="68977">
                  <c:v>41.780088703502543</c:v>
                </c:pt>
                <c:pt idx="68978">
                  <c:v>23.649465836744568</c:v>
                </c:pt>
                <c:pt idx="68979">
                  <c:v>37.982572711205108</c:v>
                </c:pt>
                <c:pt idx="68980">
                  <c:v>32.696055403457684</c:v>
                </c:pt>
                <c:pt idx="68981">
                  <c:v>28.893899086821058</c:v>
                </c:pt>
                <c:pt idx="68982">
                  <c:v>43.938136887150257</c:v>
                </c:pt>
                <c:pt idx="68983">
                  <c:v>35.385847804076541</c:v>
                </c:pt>
                <c:pt idx="68984">
                  <c:v>24.228740374380273</c:v>
                </c:pt>
                <c:pt idx="68985">
                  <c:v>22.509468098693766</c:v>
                </c:pt>
                <c:pt idx="68986">
                  <c:v>32.586915353696639</c:v>
                </c:pt>
                <c:pt idx="68987">
                  <c:v>22.494055216883943</c:v>
                </c:pt>
                <c:pt idx="68988">
                  <c:v>33.83480977195434</c:v>
                </c:pt>
                <c:pt idx="68989">
                  <c:v>18.725648697262848</c:v>
                </c:pt>
                <c:pt idx="68990">
                  <c:v>25.501818995155997</c:v>
                </c:pt>
                <c:pt idx="68991">
                  <c:v>51.184640262991778</c:v>
                </c:pt>
                <c:pt idx="68992">
                  <c:v>31.218354899028</c:v>
                </c:pt>
                <c:pt idx="68993">
                  <c:v>40.709981359227804</c:v>
                </c:pt>
                <c:pt idx="68994">
                  <c:v>21.500728007614054</c:v>
                </c:pt>
                <c:pt idx="68995">
                  <c:v>23.641737669843632</c:v>
                </c:pt>
                <c:pt idx="68996">
                  <c:v>26.9800578470449</c:v>
                </c:pt>
                <c:pt idx="68997">
                  <c:v>42.719025195212673</c:v>
                </c:pt>
                <c:pt idx="68998">
                  <c:v>27.642001234995845</c:v>
                </c:pt>
                <c:pt idx="68999">
                  <c:v>37.576450375120729</c:v>
                </c:pt>
                <c:pt idx="69000">
                  <c:v>41.164824414135595</c:v>
                </c:pt>
                <c:pt idx="69001">
                  <c:v>23.069129764465309</c:v>
                </c:pt>
                <c:pt idx="69002">
                  <c:v>24.975546056127982</c:v>
                </c:pt>
                <c:pt idx="69003">
                  <c:v>26.167937360631505</c:v>
                </c:pt>
                <c:pt idx="69004">
                  <c:v>45.604184888159295</c:v>
                </c:pt>
                <c:pt idx="69005">
                  <c:v>19.83226951681252</c:v>
                </c:pt>
                <c:pt idx="69006">
                  <c:v>25.504724234291004</c:v>
                </c:pt>
                <c:pt idx="69007">
                  <c:v>23.422743803518692</c:v>
                </c:pt>
                <c:pt idx="69008">
                  <c:v>27.439462707326641</c:v>
                </c:pt>
                <c:pt idx="69009">
                  <c:v>29.553896314762582</c:v>
                </c:pt>
                <c:pt idx="69010">
                  <c:v>28.562667278142239</c:v>
                </c:pt>
                <c:pt idx="69011">
                  <c:v>25.703931008900014</c:v>
                </c:pt>
                <c:pt idx="69012">
                  <c:v>28.296618622766204</c:v>
                </c:pt>
                <c:pt idx="69013">
                  <c:v>20.594036748876334</c:v>
                </c:pt>
                <c:pt idx="69014">
                  <c:v>34.426676162302165</c:v>
                </c:pt>
                <c:pt idx="69015">
                  <c:v>28.886529469056747</c:v>
                </c:pt>
                <c:pt idx="69016">
                  <c:v>27.789645776005173</c:v>
                </c:pt>
                <c:pt idx="69017">
                  <c:v>24.127050128321315</c:v>
                </c:pt>
                <c:pt idx="69018">
                  <c:v>36.661207939792845</c:v>
                </c:pt>
                <c:pt idx="69019">
                  <c:v>31.525730300451968</c:v>
                </c:pt>
                <c:pt idx="69020">
                  <c:v>31.793722495718026</c:v>
                </c:pt>
                <c:pt idx="69021">
                  <c:v>23.855337478737155</c:v>
                </c:pt>
                <c:pt idx="69022">
                  <c:v>29.547940881585767</c:v>
                </c:pt>
                <c:pt idx="69023">
                  <c:v>54.175371420974493</c:v>
                </c:pt>
                <c:pt idx="69024">
                  <c:v>21.90793677722295</c:v>
                </c:pt>
                <c:pt idx="69025">
                  <c:v>28.2830682593363</c:v>
                </c:pt>
                <c:pt idx="69026">
                  <c:v>29.670531600835371</c:v>
                </c:pt>
                <c:pt idx="69027">
                  <c:v>24.856613070742593</c:v>
                </c:pt>
                <c:pt idx="69028">
                  <c:v>38.265836934666794</c:v>
                </c:pt>
                <c:pt idx="69029">
                  <c:v>27.539174821423234</c:v>
                </c:pt>
                <c:pt idx="69030">
                  <c:v>32.041931851159831</c:v>
                </c:pt>
                <c:pt idx="69031">
                  <c:v>17.093993171280129</c:v>
                </c:pt>
                <c:pt idx="69032">
                  <c:v>21.123312927598658</c:v>
                </c:pt>
                <c:pt idx="69033">
                  <c:v>17.423086152279701</c:v>
                </c:pt>
                <c:pt idx="69034">
                  <c:v>23.649935730408608</c:v>
                </c:pt>
                <c:pt idx="69035">
                  <c:v>29.407075456087938</c:v>
                </c:pt>
                <c:pt idx="69036">
                  <c:v>27.970191146315553</c:v>
                </c:pt>
                <c:pt idx="69037">
                  <c:v>21.353506397435002</c:v>
                </c:pt>
                <c:pt idx="69038">
                  <c:v>35.587395639301675</c:v>
                </c:pt>
                <c:pt idx="69039">
                  <c:v>53.259853762388175</c:v>
                </c:pt>
                <c:pt idx="69040">
                  <c:v>34.77364403951762</c:v>
                </c:pt>
                <c:pt idx="69041">
                  <c:v>51.502100346488305</c:v>
                </c:pt>
                <c:pt idx="69042">
                  <c:v>31.775963787639384</c:v>
                </c:pt>
                <c:pt idx="69043">
                  <c:v>31.923522882619629</c:v>
                </c:pt>
                <c:pt idx="69044">
                  <c:v>44.540040589742695</c:v>
                </c:pt>
                <c:pt idx="69045">
                  <c:v>44.427713183802041</c:v>
                </c:pt>
                <c:pt idx="69046">
                  <c:v>40.939883290593265</c:v>
                </c:pt>
                <c:pt idx="69047">
                  <c:v>31.793136054550089</c:v>
                </c:pt>
                <c:pt idx="69048">
                  <c:v>19.411532346055015</c:v>
                </c:pt>
                <c:pt idx="69049">
                  <c:v>28.927981408988153</c:v>
                </c:pt>
                <c:pt idx="69050">
                  <c:v>24.373550881020293</c:v>
                </c:pt>
                <c:pt idx="69051">
                  <c:v>36.548593395000154</c:v>
                </c:pt>
                <c:pt idx="69052">
                  <c:v>18.976427504353886</c:v>
                </c:pt>
                <c:pt idx="69053">
                  <c:v>25.365271887352385</c:v>
                </c:pt>
                <c:pt idx="69054">
                  <c:v>23.250852608005705</c:v>
                </c:pt>
                <c:pt idx="69055">
                  <c:v>38.695313013898812</c:v>
                </c:pt>
                <c:pt idx="69056">
                  <c:v>20.902677980766256</c:v>
                </c:pt>
                <c:pt idx="69057">
                  <c:v>24.358203294755693</c:v>
                </c:pt>
                <c:pt idx="69058">
                  <c:v>22.135600454765875</c:v>
                </c:pt>
                <c:pt idx="69059">
                  <c:v>18.769793537958158</c:v>
                </c:pt>
                <c:pt idx="69060">
                  <c:v>34.731970357322076</c:v>
                </c:pt>
                <c:pt idx="69061">
                  <c:v>49.054079268111693</c:v>
                </c:pt>
                <c:pt idx="69062">
                  <c:v>46.814927021936896</c:v>
                </c:pt>
                <c:pt idx="69063">
                  <c:v>49.912843543172265</c:v>
                </c:pt>
                <c:pt idx="69064">
                  <c:v>33.774737239911246</c:v>
                </c:pt>
                <c:pt idx="69065">
                  <c:v>23.95355159861904</c:v>
                </c:pt>
                <c:pt idx="69066">
                  <c:v>45.944317682225652</c:v>
                </c:pt>
                <c:pt idx="69067">
                  <c:v>26.091433564273387</c:v>
                </c:pt>
                <c:pt idx="69068">
                  <c:v>30.835870570307005</c:v>
                </c:pt>
                <c:pt idx="69069">
                  <c:v>34.381286446343999</c:v>
                </c:pt>
                <c:pt idx="69070">
                  <c:v>35.521462157445882</c:v>
                </c:pt>
                <c:pt idx="69071">
                  <c:v>21.586843877893372</c:v>
                </c:pt>
                <c:pt idx="69072">
                  <c:v>33.710838139076465</c:v>
                </c:pt>
                <c:pt idx="69073">
                  <c:v>16.289754792954813</c:v>
                </c:pt>
                <c:pt idx="69074">
                  <c:v>24.461929552035475</c:v>
                </c:pt>
                <c:pt idx="69075">
                  <c:v>23.423617882922219</c:v>
                </c:pt>
                <c:pt idx="69076">
                  <c:v>29.130588970090805</c:v>
                </c:pt>
                <c:pt idx="69077">
                  <c:v>22.46180639069658</c:v>
                </c:pt>
                <c:pt idx="69078">
                  <c:v>48.745128790353697</c:v>
                </c:pt>
                <c:pt idx="69079">
                  <c:v>27.868198943580811</c:v>
                </c:pt>
                <c:pt idx="69080">
                  <c:v>26.123166787990421</c:v>
                </c:pt>
                <c:pt idx="69081">
                  <c:v>27.384897989816935</c:v>
                </c:pt>
                <c:pt idx="69082">
                  <c:v>23.536620083185589</c:v>
                </c:pt>
                <c:pt idx="69083">
                  <c:v>29.572863114713805</c:v>
                </c:pt>
                <c:pt idx="69084">
                  <c:v>40.375384556998732</c:v>
                </c:pt>
                <c:pt idx="69085">
                  <c:v>34.922686016299949</c:v>
                </c:pt>
                <c:pt idx="69086">
                  <c:v>25.54351878657932</c:v>
                </c:pt>
                <c:pt idx="69087">
                  <c:v>21.151491998083021</c:v>
                </c:pt>
                <c:pt idx="69088">
                  <c:v>19.875357355870396</c:v>
                </c:pt>
                <c:pt idx="69089">
                  <c:v>28.793905991792933</c:v>
                </c:pt>
                <c:pt idx="69090">
                  <c:v>42.405864273917466</c:v>
                </c:pt>
                <c:pt idx="69091">
                  <c:v>50.559176616190221</c:v>
                </c:pt>
                <c:pt idx="69092">
                  <c:v>28.644620920218667</c:v>
                </c:pt>
                <c:pt idx="69093">
                  <c:v>44.922136687243515</c:v>
                </c:pt>
                <c:pt idx="69094">
                  <c:v>22.761543155932827</c:v>
                </c:pt>
                <c:pt idx="69095">
                  <c:v>28.206331089183418</c:v>
                </c:pt>
                <c:pt idx="69096">
                  <c:v>42.709199342966805</c:v>
                </c:pt>
                <c:pt idx="69097">
                  <c:v>47.448694137484274</c:v>
                </c:pt>
                <c:pt idx="69098">
                  <c:v>29.795131482114005</c:v>
                </c:pt>
                <c:pt idx="69099">
                  <c:v>31.15272258032919</c:v>
                </c:pt>
                <c:pt idx="69100">
                  <c:v>26.99570975695929</c:v>
                </c:pt>
                <c:pt idx="69101">
                  <c:v>26.27434293829301</c:v>
                </c:pt>
                <c:pt idx="69102">
                  <c:v>19.134438846922144</c:v>
                </c:pt>
                <c:pt idx="69103">
                  <c:v>47.84925410433911</c:v>
                </c:pt>
                <c:pt idx="69104">
                  <c:v>33.199685263391416</c:v>
                </c:pt>
                <c:pt idx="69105">
                  <c:v>20.49594822773755</c:v>
                </c:pt>
                <c:pt idx="69106">
                  <c:v>21.539325698258377</c:v>
                </c:pt>
                <c:pt idx="69107">
                  <c:v>39.289625828853985</c:v>
                </c:pt>
                <c:pt idx="69108">
                  <c:v>29.193157567365333</c:v>
                </c:pt>
                <c:pt idx="69109">
                  <c:v>29.840555495611071</c:v>
                </c:pt>
                <c:pt idx="69110">
                  <c:v>27.63921858121266</c:v>
                </c:pt>
                <c:pt idx="69111">
                  <c:v>15.820264264587548</c:v>
                </c:pt>
                <c:pt idx="69112">
                  <c:v>30.363584915142681</c:v>
                </c:pt>
                <c:pt idx="69113">
                  <c:v>34.502288722386098</c:v>
                </c:pt>
                <c:pt idx="69114">
                  <c:v>42.438885388147185</c:v>
                </c:pt>
                <c:pt idx="69115">
                  <c:v>55.154961192847075</c:v>
                </c:pt>
                <c:pt idx="69116">
                  <c:v>49.700407180301319</c:v>
                </c:pt>
                <c:pt idx="69117">
                  <c:v>52.109261958591318</c:v>
                </c:pt>
                <c:pt idx="69118">
                  <c:v>41.0768859748298</c:v>
                </c:pt>
                <c:pt idx="69119">
                  <c:v>26.241703707090942</c:v>
                </c:pt>
                <c:pt idx="69120">
                  <c:v>27.342039801204283</c:v>
                </c:pt>
                <c:pt idx="69121">
                  <c:v>22.820131763199861</c:v>
                </c:pt>
                <c:pt idx="69122">
                  <c:v>25.290028910174481</c:v>
                </c:pt>
                <c:pt idx="69123">
                  <c:v>32.315540237640718</c:v>
                </c:pt>
                <c:pt idx="69124">
                  <c:v>16.796238499903254</c:v>
                </c:pt>
                <c:pt idx="69125">
                  <c:v>48.620356462997485</c:v>
                </c:pt>
                <c:pt idx="69126">
                  <c:v>31.091369102361124</c:v>
                </c:pt>
                <c:pt idx="69127">
                  <c:v>23.625463502543653</c:v>
                </c:pt>
                <c:pt idx="69128">
                  <c:v>44.124925776344611</c:v>
                </c:pt>
                <c:pt idx="69129">
                  <c:v>28.789891760131972</c:v>
                </c:pt>
                <c:pt idx="69130">
                  <c:v>52.622369428444053</c:v>
                </c:pt>
                <c:pt idx="69131">
                  <c:v>52.129175681255703</c:v>
                </c:pt>
                <c:pt idx="69132">
                  <c:v>25.051087241592125</c:v>
                </c:pt>
                <c:pt idx="69133">
                  <c:v>33.985292604173111</c:v>
                </c:pt>
                <c:pt idx="69134">
                  <c:v>27.924597846255104</c:v>
                </c:pt>
                <c:pt idx="69135">
                  <c:v>30.679912605847758</c:v>
                </c:pt>
                <c:pt idx="69136">
                  <c:v>27.814444755397446</c:v>
                </c:pt>
                <c:pt idx="69137">
                  <c:v>25.806245639823455</c:v>
                </c:pt>
                <c:pt idx="69138">
                  <c:v>17.615913493864177</c:v>
                </c:pt>
                <c:pt idx="69139">
                  <c:v>44.932817631335837</c:v>
                </c:pt>
                <c:pt idx="69140">
                  <c:v>42.237105429087045</c:v>
                </c:pt>
                <c:pt idx="69141">
                  <c:v>30.641425467043987</c:v>
                </c:pt>
                <c:pt idx="69142">
                  <c:v>26.707976668794338</c:v>
                </c:pt>
                <c:pt idx="69143">
                  <c:v>29.343768994185329</c:v>
                </c:pt>
                <c:pt idx="69144">
                  <c:v>29.175199870370271</c:v>
                </c:pt>
                <c:pt idx="69145">
                  <c:v>49.638452784358201</c:v>
                </c:pt>
                <c:pt idx="69146">
                  <c:v>40.805926044090604</c:v>
                </c:pt>
                <c:pt idx="69147">
                  <c:v>25.630301861745473</c:v>
                </c:pt>
                <c:pt idx="69148">
                  <c:v>52.228574346205583</c:v>
                </c:pt>
                <c:pt idx="69149">
                  <c:v>26.335570105441729</c:v>
                </c:pt>
                <c:pt idx="69150">
                  <c:v>44.826381718991428</c:v>
                </c:pt>
                <c:pt idx="69151">
                  <c:v>36.426475322199764</c:v>
                </c:pt>
                <c:pt idx="69152">
                  <c:v>24.849198872783429</c:v>
                </c:pt>
                <c:pt idx="69153">
                  <c:v>19.543321207905699</c:v>
                </c:pt>
                <c:pt idx="69154">
                  <c:v>32.379487181450699</c:v>
                </c:pt>
                <c:pt idx="69155">
                  <c:v>29.916291053290507</c:v>
                </c:pt>
                <c:pt idx="69156">
                  <c:v>22.140518295249805</c:v>
                </c:pt>
                <c:pt idx="69157">
                  <c:v>45.061959564363683</c:v>
                </c:pt>
                <c:pt idx="69158">
                  <c:v>27.807505864369865</c:v>
                </c:pt>
                <c:pt idx="69159">
                  <c:v>20.715982357125522</c:v>
                </c:pt>
                <c:pt idx="69160">
                  <c:v>34.382984224766012</c:v>
                </c:pt>
                <c:pt idx="69161">
                  <c:v>32.628263663868047</c:v>
                </c:pt>
                <c:pt idx="69162">
                  <c:v>37.558381400239774</c:v>
                </c:pt>
                <c:pt idx="69163">
                  <c:v>30.414605111989328</c:v>
                </c:pt>
                <c:pt idx="69164">
                  <c:v>33.374638006342565</c:v>
                </c:pt>
                <c:pt idx="69165">
                  <c:v>25.830187279105637</c:v>
                </c:pt>
                <c:pt idx="69166">
                  <c:v>23.942451582081976</c:v>
                </c:pt>
                <c:pt idx="69167">
                  <c:v>41.74241964029752</c:v>
                </c:pt>
                <c:pt idx="69168">
                  <c:v>23.443860853734645</c:v>
                </c:pt>
                <c:pt idx="69169">
                  <c:v>25.20823428796789</c:v>
                </c:pt>
                <c:pt idx="69170">
                  <c:v>21.222028643959433</c:v>
                </c:pt>
                <c:pt idx="69171">
                  <c:v>41.430788255243336</c:v>
                </c:pt>
                <c:pt idx="69172">
                  <c:v>19.122650299204661</c:v>
                </c:pt>
                <c:pt idx="69173">
                  <c:v>20.265869808405938</c:v>
                </c:pt>
                <c:pt idx="69174">
                  <c:v>33.32581430161467</c:v>
                </c:pt>
                <c:pt idx="69175">
                  <c:v>21.110152092055998</c:v>
                </c:pt>
                <c:pt idx="69176">
                  <c:v>40.977871300992078</c:v>
                </c:pt>
                <c:pt idx="69177">
                  <c:v>20.238504505746761</c:v>
                </c:pt>
                <c:pt idx="69178">
                  <c:v>28.674234853622966</c:v>
                </c:pt>
                <c:pt idx="69179">
                  <c:v>30.084877185324657</c:v>
                </c:pt>
                <c:pt idx="69180">
                  <c:v>28.088983231297888</c:v>
                </c:pt>
                <c:pt idx="69181">
                  <c:v>37.42576033109804</c:v>
                </c:pt>
                <c:pt idx="69182">
                  <c:v>19.438108082564934</c:v>
                </c:pt>
                <c:pt idx="69183">
                  <c:v>42.859409688020108</c:v>
                </c:pt>
                <c:pt idx="69184">
                  <c:v>34.072407838812268</c:v>
                </c:pt>
                <c:pt idx="69185">
                  <c:v>22.278090798567185</c:v>
                </c:pt>
                <c:pt idx="69186">
                  <c:v>21.430216922067594</c:v>
                </c:pt>
                <c:pt idx="69187">
                  <c:v>36.030337779984897</c:v>
                </c:pt>
                <c:pt idx="69188">
                  <c:v>25.133280288386942</c:v>
                </c:pt>
                <c:pt idx="69189">
                  <c:v>24.230221351849945</c:v>
                </c:pt>
                <c:pt idx="69190">
                  <c:v>38.664638393684434</c:v>
                </c:pt>
                <c:pt idx="69191">
                  <c:v>20.009457583973944</c:v>
                </c:pt>
                <c:pt idx="69192">
                  <c:v>38.903021754181346</c:v>
                </c:pt>
                <c:pt idx="69193">
                  <c:v>22.949567050768593</c:v>
                </c:pt>
                <c:pt idx="69194">
                  <c:v>25.165423213785289</c:v>
                </c:pt>
                <c:pt idx="69195">
                  <c:v>45.443869471191014</c:v>
                </c:pt>
                <c:pt idx="69196">
                  <c:v>26.089834800682056</c:v>
                </c:pt>
                <c:pt idx="69197">
                  <c:v>35.149433382594786</c:v>
                </c:pt>
                <c:pt idx="69198">
                  <c:v>27.304135548246013</c:v>
                </c:pt>
                <c:pt idx="69199">
                  <c:v>23.149905877495328</c:v>
                </c:pt>
                <c:pt idx="69200">
                  <c:v>20.598104519938779</c:v>
                </c:pt>
                <c:pt idx="69201">
                  <c:v>20.349765071355097</c:v>
                </c:pt>
                <c:pt idx="69202">
                  <c:v>54.302381206567929</c:v>
                </c:pt>
                <c:pt idx="69203">
                  <c:v>28.293666585023352</c:v>
                </c:pt>
                <c:pt idx="69204">
                  <c:v>24.946260216203878</c:v>
                </c:pt>
                <c:pt idx="69205">
                  <c:v>22.734972132775656</c:v>
                </c:pt>
                <c:pt idx="69206">
                  <c:v>31.345086164898891</c:v>
                </c:pt>
                <c:pt idx="69207">
                  <c:v>31.057295282085128</c:v>
                </c:pt>
                <c:pt idx="69208">
                  <c:v>39.100154523284225</c:v>
                </c:pt>
                <c:pt idx="69209">
                  <c:v>24.226680963522071</c:v>
                </c:pt>
                <c:pt idx="69210">
                  <c:v>25.452527372921526</c:v>
                </c:pt>
                <c:pt idx="69211">
                  <c:v>29.821538730551477</c:v>
                </c:pt>
                <c:pt idx="69212">
                  <c:v>21.980514736574605</c:v>
                </c:pt>
                <c:pt idx="69213">
                  <c:v>25.296611686751305</c:v>
                </c:pt>
                <c:pt idx="69214">
                  <c:v>32.574189015109944</c:v>
                </c:pt>
                <c:pt idx="69215">
                  <c:v>54.530112914180606</c:v>
                </c:pt>
                <c:pt idx="69216">
                  <c:v>41.486978993722403</c:v>
                </c:pt>
                <c:pt idx="69217">
                  <c:v>38.48271188373991</c:v>
                </c:pt>
                <c:pt idx="69218">
                  <c:v>26.467075191282962</c:v>
                </c:pt>
                <c:pt idx="69219">
                  <c:v>31.421702760803118</c:v>
                </c:pt>
                <c:pt idx="69220">
                  <c:v>43.152074459038694</c:v>
                </c:pt>
                <c:pt idx="69221">
                  <c:v>45.823959775685125</c:v>
                </c:pt>
                <c:pt idx="69222">
                  <c:v>40.252252327464447</c:v>
                </c:pt>
                <c:pt idx="69223">
                  <c:v>29.740753805919717</c:v>
                </c:pt>
                <c:pt idx="69224">
                  <c:v>29.154756310293777</c:v>
                </c:pt>
                <c:pt idx="69225">
                  <c:v>28.718528440376158</c:v>
                </c:pt>
                <c:pt idx="69226">
                  <c:v>34.58735379030847</c:v>
                </c:pt>
                <c:pt idx="69227">
                  <c:v>43.262998354436561</c:v>
                </c:pt>
                <c:pt idx="69228">
                  <c:v>26.340234083292533</c:v>
                </c:pt>
                <c:pt idx="69229">
                  <c:v>30.468386378215111</c:v>
                </c:pt>
                <c:pt idx="69230">
                  <c:v>21.31921551467051</c:v>
                </c:pt>
                <c:pt idx="69231">
                  <c:v>51.062641578046325</c:v>
                </c:pt>
                <c:pt idx="69232">
                  <c:v>38.105757853625576</c:v>
                </c:pt>
                <c:pt idx="69233">
                  <c:v>27.350177380323551</c:v>
                </c:pt>
                <c:pt idx="69234">
                  <c:v>26.900726266747206</c:v>
                </c:pt>
                <c:pt idx="69235">
                  <c:v>30.968010318828988</c:v>
                </c:pt>
                <c:pt idx="69236">
                  <c:v>19.499495485878548</c:v>
                </c:pt>
                <c:pt idx="69237">
                  <c:v>23.340257739695087</c:v>
                </c:pt>
                <c:pt idx="69238">
                  <c:v>24.959905565404753</c:v>
                </c:pt>
                <c:pt idx="69239">
                  <c:v>41.947807707783966</c:v>
                </c:pt>
                <c:pt idx="69240">
                  <c:v>53.208763925872582</c:v>
                </c:pt>
                <c:pt idx="69241">
                  <c:v>22.001997467149025</c:v>
                </c:pt>
                <c:pt idx="69242">
                  <c:v>44.382408874312716</c:v>
                </c:pt>
                <c:pt idx="69243">
                  <c:v>24.430975966699489</c:v>
                </c:pt>
                <c:pt idx="69244">
                  <c:v>28.247407702568005</c:v>
                </c:pt>
                <c:pt idx="69245">
                  <c:v>43.538142292084913</c:v>
                </c:pt>
                <c:pt idx="69246">
                  <c:v>28.677913532536166</c:v>
                </c:pt>
                <c:pt idx="69247">
                  <c:v>23.684820542585115</c:v>
                </c:pt>
                <c:pt idx="69248">
                  <c:v>25.812761536169788</c:v>
                </c:pt>
                <c:pt idx="69249">
                  <c:v>26.130674279398313</c:v>
                </c:pt>
                <c:pt idx="69250">
                  <c:v>34.110948008942543</c:v>
                </c:pt>
                <c:pt idx="69251">
                  <c:v>28.325117471451502</c:v>
                </c:pt>
                <c:pt idx="69252">
                  <c:v>27.264235716788523</c:v>
                </c:pt>
                <c:pt idx="69253">
                  <c:v>55.799520109849659</c:v>
                </c:pt>
                <c:pt idx="69254">
                  <c:v>58.5689423475227</c:v>
                </c:pt>
                <c:pt idx="69255">
                  <c:v>38.096608114069106</c:v>
                </c:pt>
                <c:pt idx="69256">
                  <c:v>50.644292610355926</c:v>
                </c:pt>
                <c:pt idx="69257">
                  <c:v>24.465144164065965</c:v>
                </c:pt>
                <c:pt idx="69258">
                  <c:v>45.250213471904928</c:v>
                </c:pt>
                <c:pt idx="69259">
                  <c:v>21.446757782177919</c:v>
                </c:pt>
                <c:pt idx="69260">
                  <c:v>23.011444223934184</c:v>
                </c:pt>
                <c:pt idx="69261">
                  <c:v>24.053584154568409</c:v>
                </c:pt>
                <c:pt idx="69262">
                  <c:v>24.152792519130507</c:v>
                </c:pt>
                <c:pt idx="69263">
                  <c:v>22.122250807505587</c:v>
                </c:pt>
                <c:pt idx="69264">
                  <c:v>54.324596939849798</c:v>
                </c:pt>
                <c:pt idx="69265">
                  <c:v>34.474855539188155</c:v>
                </c:pt>
                <c:pt idx="69266">
                  <c:v>54.714829840716874</c:v>
                </c:pt>
                <c:pt idx="69267">
                  <c:v>42.294255240597373</c:v>
                </c:pt>
                <c:pt idx="69268">
                  <c:v>47.859684362773557</c:v>
                </c:pt>
                <c:pt idx="69269">
                  <c:v>28.372863669602246</c:v>
                </c:pt>
                <c:pt idx="69270">
                  <c:v>65.326529899685184</c:v>
                </c:pt>
                <c:pt idx="69271">
                  <c:v>35.012444928949634</c:v>
                </c:pt>
                <c:pt idx="69272">
                  <c:v>23.93783618890269</c:v>
                </c:pt>
                <c:pt idx="69273">
                  <c:v>23.795297821198261</c:v>
                </c:pt>
                <c:pt idx="69274">
                  <c:v>63.417550537197187</c:v>
                </c:pt>
                <c:pt idx="69275">
                  <c:v>25.549940465994865</c:v>
                </c:pt>
                <c:pt idx="69276">
                  <c:v>27.2716590692112</c:v>
                </c:pt>
                <c:pt idx="69277">
                  <c:v>25.919816530961651</c:v>
                </c:pt>
                <c:pt idx="69278">
                  <c:v>25.149983828860908</c:v>
                </c:pt>
                <c:pt idx="69279">
                  <c:v>32.298416210399388</c:v>
                </c:pt>
                <c:pt idx="69280">
                  <c:v>35.51212254178818</c:v>
                </c:pt>
                <c:pt idx="69281">
                  <c:v>21.356271273864522</c:v>
                </c:pt>
                <c:pt idx="69282">
                  <c:v>34.54190605100915</c:v>
                </c:pt>
                <c:pt idx="69283">
                  <c:v>25.937630144608448</c:v>
                </c:pt>
                <c:pt idx="69284">
                  <c:v>24.923907496847569</c:v>
                </c:pt>
                <c:pt idx="69285">
                  <c:v>34.255419041413774</c:v>
                </c:pt>
                <c:pt idx="69286">
                  <c:v>21.388083007094643</c:v>
                </c:pt>
                <c:pt idx="69287">
                  <c:v>53.506693249188373</c:v>
                </c:pt>
                <c:pt idx="69288">
                  <c:v>39.009536360526994</c:v>
                </c:pt>
                <c:pt idx="69289">
                  <c:v>28.572329628535666</c:v>
                </c:pt>
                <c:pt idx="69290">
                  <c:v>58.549979522847373</c:v>
                </c:pt>
                <c:pt idx="69291">
                  <c:v>30.739677240777084</c:v>
                </c:pt>
                <c:pt idx="69292">
                  <c:v>24.459662785755445</c:v>
                </c:pt>
                <c:pt idx="69293">
                  <c:v>28.781284228790362</c:v>
                </c:pt>
                <c:pt idx="69294">
                  <c:v>53.284149346157484</c:v>
                </c:pt>
                <c:pt idx="69295">
                  <c:v>28.601480009882447</c:v>
                </c:pt>
                <c:pt idx="69296">
                  <c:v>21.823127600159609</c:v>
                </c:pt>
                <c:pt idx="69297">
                  <c:v>43.637860895502492</c:v>
                </c:pt>
                <c:pt idx="69298">
                  <c:v>27.842847700314266</c:v>
                </c:pt>
                <c:pt idx="69299">
                  <c:v>57.360964958758359</c:v>
                </c:pt>
                <c:pt idx="69300">
                  <c:v>23.214472900266621</c:v>
                </c:pt>
                <c:pt idx="69301">
                  <c:v>22.784557224086555</c:v>
                </c:pt>
                <c:pt idx="69302">
                  <c:v>49.691283686474563</c:v>
                </c:pt>
                <c:pt idx="69303">
                  <c:v>18.797131798607147</c:v>
                </c:pt>
                <c:pt idx="69304">
                  <c:v>43.060133851339273</c:v>
                </c:pt>
                <c:pt idx="69305">
                  <c:v>28.823819461915992</c:v>
                </c:pt>
                <c:pt idx="69306">
                  <c:v>17.268229331595556</c:v>
                </c:pt>
                <c:pt idx="69307">
                  <c:v>16.323174404571308</c:v>
                </c:pt>
                <c:pt idx="69308">
                  <c:v>27.171037772671042</c:v>
                </c:pt>
                <c:pt idx="69309">
                  <c:v>36.642409589901561</c:v>
                </c:pt>
                <c:pt idx="69310">
                  <c:v>35.09890000018968</c:v>
                </c:pt>
                <c:pt idx="69311">
                  <c:v>20.349021179455448</c:v>
                </c:pt>
                <c:pt idx="69312">
                  <c:v>23.710290890546048</c:v>
                </c:pt>
                <c:pt idx="69313">
                  <c:v>59.214146106290784</c:v>
                </c:pt>
                <c:pt idx="69314">
                  <c:v>31.66722633891688</c:v>
                </c:pt>
                <c:pt idx="69315">
                  <c:v>39.50766255934078</c:v>
                </c:pt>
                <c:pt idx="69316">
                  <c:v>34.364465489387683</c:v>
                </c:pt>
                <c:pt idx="69317">
                  <c:v>32.391751456164634</c:v>
                </c:pt>
                <c:pt idx="69318">
                  <c:v>22.289049395163214</c:v>
                </c:pt>
                <c:pt idx="69319">
                  <c:v>17.803521724543021</c:v>
                </c:pt>
                <c:pt idx="69320">
                  <c:v>21.6931074012648</c:v>
                </c:pt>
                <c:pt idx="69321">
                  <c:v>17.154455305411282</c:v>
                </c:pt>
                <c:pt idx="69322">
                  <c:v>31.222501050062341</c:v>
                </c:pt>
                <c:pt idx="69323">
                  <c:v>25.891698851029325</c:v>
                </c:pt>
                <c:pt idx="69324">
                  <c:v>20.132821052090986</c:v>
                </c:pt>
                <c:pt idx="69325">
                  <c:v>43.687285266640757</c:v>
                </c:pt>
                <c:pt idx="69326">
                  <c:v>33.054389167275076</c:v>
                </c:pt>
                <c:pt idx="69327">
                  <c:v>22.845924426879265</c:v>
                </c:pt>
                <c:pt idx="69328">
                  <c:v>36.896411957570578</c:v>
                </c:pt>
                <c:pt idx="69329">
                  <c:v>41.612930602851677</c:v>
                </c:pt>
                <c:pt idx="69330">
                  <c:v>19.212840569649714</c:v>
                </c:pt>
                <c:pt idx="69331">
                  <c:v>28.422335930840894</c:v>
                </c:pt>
                <c:pt idx="69332">
                  <c:v>26.744063884584808</c:v>
                </c:pt>
                <c:pt idx="69333">
                  <c:v>20.369802667458799</c:v>
                </c:pt>
                <c:pt idx="69334">
                  <c:v>36.291845582185999</c:v>
                </c:pt>
                <c:pt idx="69335">
                  <c:v>29.968421037572625</c:v>
                </c:pt>
                <c:pt idx="69336">
                  <c:v>34.509460051370851</c:v>
                </c:pt>
                <c:pt idx="69337">
                  <c:v>18.191615945931357</c:v>
                </c:pt>
                <c:pt idx="69338">
                  <c:v>43.237494845548042</c:v>
                </c:pt>
                <c:pt idx="69339">
                  <c:v>28.388858573727646</c:v>
                </c:pt>
                <c:pt idx="69340">
                  <c:v>31.453287989649599</c:v>
                </c:pt>
                <c:pt idx="69341">
                  <c:v>46.29960540353229</c:v>
                </c:pt>
                <c:pt idx="69342">
                  <c:v>28.647472017425109</c:v>
                </c:pt>
                <c:pt idx="69343">
                  <c:v>25.242569534343403</c:v>
                </c:pt>
                <c:pt idx="69344">
                  <c:v>40.163990015353633</c:v>
                </c:pt>
                <c:pt idx="69345">
                  <c:v>24.240218842969831</c:v>
                </c:pt>
                <c:pt idx="69346">
                  <c:v>29.898096103215501</c:v>
                </c:pt>
                <c:pt idx="69347">
                  <c:v>21.730742689457202</c:v>
                </c:pt>
                <c:pt idx="69348">
                  <c:v>18.842829482345252</c:v>
                </c:pt>
                <c:pt idx="69349">
                  <c:v>25.328041917654254</c:v>
                </c:pt>
                <c:pt idx="69350">
                  <c:v>32.915066498690869</c:v>
                </c:pt>
                <c:pt idx="69351">
                  <c:v>47.26679772247531</c:v>
                </c:pt>
                <c:pt idx="69352">
                  <c:v>24.335623170800268</c:v>
                </c:pt>
                <c:pt idx="69353">
                  <c:v>30.650347890090334</c:v>
                </c:pt>
                <c:pt idx="69354">
                  <c:v>18.947360637508417</c:v>
                </c:pt>
                <c:pt idx="69355">
                  <c:v>25.213652472131507</c:v>
                </c:pt>
                <c:pt idx="69356">
                  <c:v>24.308569661271257</c:v>
                </c:pt>
                <c:pt idx="69357">
                  <c:v>28.4774450833334</c:v>
                </c:pt>
                <c:pt idx="69358">
                  <c:v>26.83036641434223</c:v>
                </c:pt>
                <c:pt idx="69359">
                  <c:v>28.988723999450691</c:v>
                </c:pt>
                <c:pt idx="69360">
                  <c:v>25.321582563555484</c:v>
                </c:pt>
                <c:pt idx="69361">
                  <c:v>24.22487901123268</c:v>
                </c:pt>
                <c:pt idx="69362">
                  <c:v>33.422504818835741</c:v>
                </c:pt>
                <c:pt idx="69363">
                  <c:v>25.095664699648914</c:v>
                </c:pt>
                <c:pt idx="69364">
                  <c:v>53.028843773026942</c:v>
                </c:pt>
                <c:pt idx="69365">
                  <c:v>33.161276951450326</c:v>
                </c:pt>
                <c:pt idx="69366">
                  <c:v>26.868220223492926</c:v>
                </c:pt>
                <c:pt idx="69367">
                  <c:v>56.186679665458776</c:v>
                </c:pt>
                <c:pt idx="69368">
                  <c:v>29.047476836662028</c:v>
                </c:pt>
                <c:pt idx="69369">
                  <c:v>35.387362420023408</c:v>
                </c:pt>
                <c:pt idx="69370">
                  <c:v>18.550750249184681</c:v>
                </c:pt>
                <c:pt idx="69371">
                  <c:v>26.560384724426378</c:v>
                </c:pt>
                <c:pt idx="69372">
                  <c:v>31.421140370830187</c:v>
                </c:pt>
                <c:pt idx="69373">
                  <c:v>26.145696844279051</c:v>
                </c:pt>
                <c:pt idx="69374">
                  <c:v>28.488225325718183</c:v>
                </c:pt>
                <c:pt idx="69375">
                  <c:v>31.749961623159074</c:v>
                </c:pt>
                <c:pt idx="69376">
                  <c:v>43.970422644280333</c:v>
                </c:pt>
                <c:pt idx="69377">
                  <c:v>49.246911617658384</c:v>
                </c:pt>
                <c:pt idx="69378">
                  <c:v>24.11072949684127</c:v>
                </c:pt>
                <c:pt idx="69379">
                  <c:v>31.051647092539451</c:v>
                </c:pt>
                <c:pt idx="69380">
                  <c:v>28.766874825437483</c:v>
                </c:pt>
                <c:pt idx="69381">
                  <c:v>27.803228176313642</c:v>
                </c:pt>
                <c:pt idx="69382">
                  <c:v>31.3495652156764</c:v>
                </c:pt>
                <c:pt idx="69383">
                  <c:v>38.849450246748056</c:v>
                </c:pt>
                <c:pt idx="69384">
                  <c:v>36.236255431724565</c:v>
                </c:pt>
                <c:pt idx="69385">
                  <c:v>25.71027978956581</c:v>
                </c:pt>
                <c:pt idx="69386">
                  <c:v>19.256484769701558</c:v>
                </c:pt>
                <c:pt idx="69387">
                  <c:v>31.449390640952355</c:v>
                </c:pt>
                <c:pt idx="69388">
                  <c:v>46.078473643530486</c:v>
                </c:pt>
                <c:pt idx="69389">
                  <c:v>30.448026423163917</c:v>
                </c:pt>
                <c:pt idx="69390">
                  <c:v>31.628453707858313</c:v>
                </c:pt>
                <c:pt idx="69391">
                  <c:v>45.466702533317168</c:v>
                </c:pt>
                <c:pt idx="69392">
                  <c:v>30.226186567223021</c:v>
                </c:pt>
                <c:pt idx="69393">
                  <c:v>52.073035178040122</c:v>
                </c:pt>
                <c:pt idx="69394">
                  <c:v>46.094789484662357</c:v>
                </c:pt>
                <c:pt idx="69395">
                  <c:v>17.680137586540376</c:v>
                </c:pt>
                <c:pt idx="69396">
                  <c:v>23.467446239641706</c:v>
                </c:pt>
                <c:pt idx="69397">
                  <c:v>27.704571057590925</c:v>
                </c:pt>
                <c:pt idx="69398">
                  <c:v>28.379255896921578</c:v>
                </c:pt>
                <c:pt idx="69399">
                  <c:v>27.766672664030803</c:v>
                </c:pt>
                <c:pt idx="69400">
                  <c:v>28.878096470664399</c:v>
                </c:pt>
                <c:pt idx="69401">
                  <c:v>28.402265612992593</c:v>
                </c:pt>
                <c:pt idx="69402">
                  <c:v>29.600496903735102</c:v>
                </c:pt>
                <c:pt idx="69403">
                  <c:v>29.866778276011452</c:v>
                </c:pt>
                <c:pt idx="69404">
                  <c:v>31.31336204926059</c:v>
                </c:pt>
                <c:pt idx="69405">
                  <c:v>26.365920968579651</c:v>
                </c:pt>
                <c:pt idx="69406">
                  <c:v>19.898229323743472</c:v>
                </c:pt>
                <c:pt idx="69407">
                  <c:v>25.651010153212944</c:v>
                </c:pt>
                <c:pt idx="69408">
                  <c:v>45.021119518209048</c:v>
                </c:pt>
                <c:pt idx="69409">
                  <c:v>33.87072144723227</c:v>
                </c:pt>
                <c:pt idx="69410">
                  <c:v>25.913080774981005</c:v>
                </c:pt>
                <c:pt idx="69411">
                  <c:v>29.373185414713983</c:v>
                </c:pt>
                <c:pt idx="69412">
                  <c:v>36.559510854269433</c:v>
                </c:pt>
                <c:pt idx="69413">
                  <c:v>24.355661579151018</c:v>
                </c:pt>
                <c:pt idx="69414">
                  <c:v>34.463221217202616</c:v>
                </c:pt>
                <c:pt idx="69415">
                  <c:v>19.658962509636794</c:v>
                </c:pt>
                <c:pt idx="69416">
                  <c:v>24.903825426304422</c:v>
                </c:pt>
                <c:pt idx="69417">
                  <c:v>35.818960023543553</c:v>
                </c:pt>
                <c:pt idx="69418">
                  <c:v>23.767898782866069</c:v>
                </c:pt>
                <c:pt idx="69419">
                  <c:v>32.239546204425842</c:v>
                </c:pt>
                <c:pt idx="69420">
                  <c:v>42.519135502541012</c:v>
                </c:pt>
                <c:pt idx="69421">
                  <c:v>25.414879699126232</c:v>
                </c:pt>
                <c:pt idx="69422">
                  <c:v>32.652459736838907</c:v>
                </c:pt>
                <c:pt idx="69423">
                  <c:v>26.445993525686735</c:v>
                </c:pt>
                <c:pt idx="69424">
                  <c:v>27.134429028190752</c:v>
                </c:pt>
                <c:pt idx="69425">
                  <c:v>21.59219525995023</c:v>
                </c:pt>
                <c:pt idx="69426">
                  <c:v>20.810594761222923</c:v>
                </c:pt>
                <c:pt idx="69427">
                  <c:v>20.358807818191416</c:v>
                </c:pt>
                <c:pt idx="69428">
                  <c:v>30.81524676423756</c:v>
                </c:pt>
                <c:pt idx="69429">
                  <c:v>43.93191731077949</c:v>
                </c:pt>
                <c:pt idx="69430">
                  <c:v>23.511455947021609</c:v>
                </c:pt>
                <c:pt idx="69431">
                  <c:v>27.114480854202995</c:v>
                </c:pt>
                <c:pt idx="69432">
                  <c:v>35.277123617087419</c:v>
                </c:pt>
                <c:pt idx="69433">
                  <c:v>30.172516038512217</c:v>
                </c:pt>
                <c:pt idx="69434">
                  <c:v>45.831187838065631</c:v>
                </c:pt>
                <c:pt idx="69435">
                  <c:v>32.316625962598884</c:v>
                </c:pt>
                <c:pt idx="69436">
                  <c:v>25.209046696837383</c:v>
                </c:pt>
                <c:pt idx="69437">
                  <c:v>26.662586075455575</c:v>
                </c:pt>
                <c:pt idx="69438">
                  <c:v>27.056852282635401</c:v>
                </c:pt>
                <c:pt idx="69439">
                  <c:v>30.884283804823831</c:v>
                </c:pt>
                <c:pt idx="69440">
                  <c:v>23.622920947173796</c:v>
                </c:pt>
                <c:pt idx="69441">
                  <c:v>36.336731906844463</c:v>
                </c:pt>
                <c:pt idx="69442">
                  <c:v>26.856276914461986</c:v>
                </c:pt>
                <c:pt idx="69443">
                  <c:v>38.188614236308787</c:v>
                </c:pt>
                <c:pt idx="69444">
                  <c:v>19.753703004633483</c:v>
                </c:pt>
                <c:pt idx="69445">
                  <c:v>30.435786770083713</c:v>
                </c:pt>
                <c:pt idx="69446">
                  <c:v>18.33825140654837</c:v>
                </c:pt>
                <c:pt idx="69447">
                  <c:v>21.93850374643813</c:v>
                </c:pt>
                <c:pt idx="69448">
                  <c:v>30.373290743191674</c:v>
                </c:pt>
                <c:pt idx="69449">
                  <c:v>43.714077207715661</c:v>
                </c:pt>
                <c:pt idx="69450">
                  <c:v>29.3131037651074</c:v>
                </c:pt>
                <c:pt idx="69451">
                  <c:v>21.702615236882504</c:v>
                </c:pt>
                <c:pt idx="69452">
                  <c:v>32.769633057978375</c:v>
                </c:pt>
                <c:pt idx="69453">
                  <c:v>24.058346786134361</c:v>
                </c:pt>
                <c:pt idx="69454">
                  <c:v>26.390919518707854</c:v>
                </c:pt>
                <c:pt idx="69455">
                  <c:v>51.18162764033292</c:v>
                </c:pt>
                <c:pt idx="69456">
                  <c:v>40.163155564778165</c:v>
                </c:pt>
                <c:pt idx="69457">
                  <c:v>35.874673737912019</c:v>
                </c:pt>
                <c:pt idx="69458">
                  <c:v>21.058639190905197</c:v>
                </c:pt>
                <c:pt idx="69459">
                  <c:v>24.955762071792194</c:v>
                </c:pt>
                <c:pt idx="69460">
                  <c:v>29.799675724597741</c:v>
                </c:pt>
                <c:pt idx="69461">
                  <c:v>46.267828101051506</c:v>
                </c:pt>
                <c:pt idx="69462">
                  <c:v>31.869444830051236</c:v>
                </c:pt>
                <c:pt idx="69463">
                  <c:v>38.335738092993793</c:v>
                </c:pt>
                <c:pt idx="69464">
                  <c:v>22.83035067838096</c:v>
                </c:pt>
                <c:pt idx="69465">
                  <c:v>40.225794831984125</c:v>
                </c:pt>
                <c:pt idx="69466">
                  <c:v>24.336941747548963</c:v>
                </c:pt>
                <c:pt idx="69467">
                  <c:v>31.974763829968296</c:v>
                </c:pt>
                <c:pt idx="69468">
                  <c:v>20.719365003076753</c:v>
                </c:pt>
                <c:pt idx="69469">
                  <c:v>30.185761666770865</c:v>
                </c:pt>
                <c:pt idx="69470">
                  <c:v>25.578782226920708</c:v>
                </c:pt>
                <c:pt idx="69471">
                  <c:v>28.550454521777741</c:v>
                </c:pt>
                <c:pt idx="69472">
                  <c:v>31.096549586183162</c:v>
                </c:pt>
                <c:pt idx="69473">
                  <c:v>32.393998851332753</c:v>
                </c:pt>
                <c:pt idx="69474">
                  <c:v>46.79343919370924</c:v>
                </c:pt>
                <c:pt idx="69475">
                  <c:v>24.785191348503929</c:v>
                </c:pt>
                <c:pt idx="69476">
                  <c:v>25.319080204678002</c:v>
                </c:pt>
                <c:pt idx="69477">
                  <c:v>20.639969532972337</c:v>
                </c:pt>
                <c:pt idx="69478">
                  <c:v>17.760944922400849</c:v>
                </c:pt>
                <c:pt idx="69479">
                  <c:v>28.747674647005802</c:v>
                </c:pt>
                <c:pt idx="69480">
                  <c:v>42.124027167849327</c:v>
                </c:pt>
                <c:pt idx="69481">
                  <c:v>25.496274105936461</c:v>
                </c:pt>
                <c:pt idx="69482">
                  <c:v>24.36297933416251</c:v>
                </c:pt>
                <c:pt idx="69483">
                  <c:v>32.40202039127859</c:v>
                </c:pt>
                <c:pt idx="69484">
                  <c:v>25.366836102753929</c:v>
                </c:pt>
                <c:pt idx="69485">
                  <c:v>20.753368317621391</c:v>
                </c:pt>
                <c:pt idx="69486">
                  <c:v>45.333182990836946</c:v>
                </c:pt>
                <c:pt idx="69487">
                  <c:v>55.874928837913771</c:v>
                </c:pt>
                <c:pt idx="69488">
                  <c:v>31.854547759821262</c:v>
                </c:pt>
                <c:pt idx="69489">
                  <c:v>46.755705917608587</c:v>
                </c:pt>
                <c:pt idx="69490">
                  <c:v>29.49363195382654</c:v>
                </c:pt>
                <c:pt idx="69491">
                  <c:v>35.3193399702172</c:v>
                </c:pt>
                <c:pt idx="69492">
                  <c:v>29.071195776209695</c:v>
                </c:pt>
                <c:pt idx="69493">
                  <c:v>26.991618111538699</c:v>
                </c:pt>
                <c:pt idx="69494">
                  <c:v>34.952194839883454</c:v>
                </c:pt>
                <c:pt idx="69495">
                  <c:v>24.256120190657313</c:v>
                </c:pt>
                <c:pt idx="69496">
                  <c:v>26.239240674835969</c:v>
                </c:pt>
                <c:pt idx="69497">
                  <c:v>20.568421998748455</c:v>
                </c:pt>
                <c:pt idx="69498">
                  <c:v>21.628354847595141</c:v>
                </c:pt>
                <c:pt idx="69499">
                  <c:v>34.326253951450418</c:v>
                </c:pt>
                <c:pt idx="69500">
                  <c:v>42.386739665150778</c:v>
                </c:pt>
                <c:pt idx="69501">
                  <c:v>22.710063475150058</c:v>
                </c:pt>
                <c:pt idx="69502">
                  <c:v>27.987168451123843</c:v>
                </c:pt>
                <c:pt idx="69503">
                  <c:v>29.720331147551946</c:v>
                </c:pt>
                <c:pt idx="69504">
                  <c:v>48.153290949466658</c:v>
                </c:pt>
                <c:pt idx="69505">
                  <c:v>38.798562146154353</c:v>
                </c:pt>
                <c:pt idx="69506">
                  <c:v>29.999797544286874</c:v>
                </c:pt>
                <c:pt idx="69507">
                  <c:v>37.651572986102622</c:v>
                </c:pt>
                <c:pt idx="69508">
                  <c:v>57.24370700591065</c:v>
                </c:pt>
                <c:pt idx="69509">
                  <c:v>34.275580300891413</c:v>
                </c:pt>
                <c:pt idx="69510">
                  <c:v>34.4479877244409</c:v>
                </c:pt>
                <c:pt idx="69511">
                  <c:v>26.046905993585764</c:v>
                </c:pt>
                <c:pt idx="69512">
                  <c:v>26.313686769230678</c:v>
                </c:pt>
                <c:pt idx="69513">
                  <c:v>17.073312892871066</c:v>
                </c:pt>
                <c:pt idx="69514">
                  <c:v>28.327353173255116</c:v>
                </c:pt>
                <c:pt idx="69515">
                  <c:v>22.688903510538019</c:v>
                </c:pt>
                <c:pt idx="69516">
                  <c:v>24.690406895357295</c:v>
                </c:pt>
                <c:pt idx="69517">
                  <c:v>42.4962801908882</c:v>
                </c:pt>
                <c:pt idx="69518">
                  <c:v>47.217338766579815</c:v>
                </c:pt>
                <c:pt idx="69519">
                  <c:v>32.572577634656597</c:v>
                </c:pt>
                <c:pt idx="69520">
                  <c:v>35.457653641583867</c:v>
                </c:pt>
                <c:pt idx="69521">
                  <c:v>27.56419174269865</c:v>
                </c:pt>
                <c:pt idx="69522">
                  <c:v>24.263155791643992</c:v>
                </c:pt>
                <c:pt idx="69523">
                  <c:v>29.606085520510117</c:v>
                </c:pt>
                <c:pt idx="69524">
                  <c:v>27.738540172272241</c:v>
                </c:pt>
                <c:pt idx="69525">
                  <c:v>20.21995715812718</c:v>
                </c:pt>
                <c:pt idx="69526">
                  <c:v>49.680101593796628</c:v>
                </c:pt>
                <c:pt idx="69527">
                  <c:v>28.729122066774465</c:v>
                </c:pt>
                <c:pt idx="69528">
                  <c:v>34.851269744454832</c:v>
                </c:pt>
                <c:pt idx="69529">
                  <c:v>32.570909527877554</c:v>
                </c:pt>
                <c:pt idx="69530">
                  <c:v>40.66026512140585</c:v>
                </c:pt>
                <c:pt idx="69531">
                  <c:v>47.23434391286294</c:v>
                </c:pt>
                <c:pt idx="69532">
                  <c:v>49.818720548839998</c:v>
                </c:pt>
                <c:pt idx="69533">
                  <c:v>58.019020789056071</c:v>
                </c:pt>
                <c:pt idx="69534">
                  <c:v>22.892781672351521</c:v>
                </c:pt>
                <c:pt idx="69535">
                  <c:v>28.770722699276334</c:v>
                </c:pt>
                <c:pt idx="69536">
                  <c:v>26.792551275647817</c:v>
                </c:pt>
                <c:pt idx="69537">
                  <c:v>24.5161873823522</c:v>
                </c:pt>
                <c:pt idx="69538">
                  <c:v>24.807698128461666</c:v>
                </c:pt>
                <c:pt idx="69539">
                  <c:v>60.194122571404478</c:v>
                </c:pt>
                <c:pt idx="69540">
                  <c:v>49.103403777271872</c:v>
                </c:pt>
                <c:pt idx="69541">
                  <c:v>46.227527281686989</c:v>
                </c:pt>
                <c:pt idx="69542">
                  <c:v>20.903201920609547</c:v>
                </c:pt>
                <c:pt idx="69543">
                  <c:v>24.252956494947171</c:v>
                </c:pt>
                <c:pt idx="69544">
                  <c:v>34.201520604775766</c:v>
                </c:pt>
                <c:pt idx="69545">
                  <c:v>38.935196576517356</c:v>
                </c:pt>
                <c:pt idx="69546">
                  <c:v>46.529409874322596</c:v>
                </c:pt>
                <c:pt idx="69547">
                  <c:v>28.06258308625052</c:v>
                </c:pt>
                <c:pt idx="69548">
                  <c:v>21.507796835023633</c:v>
                </c:pt>
                <c:pt idx="69549">
                  <c:v>56.217949676777366</c:v>
                </c:pt>
                <c:pt idx="69550">
                  <c:v>59.221817937926275</c:v>
                </c:pt>
                <c:pt idx="69551">
                  <c:v>34.88366976438202</c:v>
                </c:pt>
                <c:pt idx="69552">
                  <c:v>40.008446993231104</c:v>
                </c:pt>
                <c:pt idx="69553">
                  <c:v>35.798286758782567</c:v>
                </c:pt>
                <c:pt idx="69554">
                  <c:v>35.220648962312659</c:v>
                </c:pt>
                <c:pt idx="69555">
                  <c:v>48.704316335206173</c:v>
                </c:pt>
                <c:pt idx="69556">
                  <c:v>23.979033324445041</c:v>
                </c:pt>
                <c:pt idx="69557">
                  <c:v>23.093105231801193</c:v>
                </c:pt>
                <c:pt idx="69558">
                  <c:v>29.182401862217155</c:v>
                </c:pt>
                <c:pt idx="69559">
                  <c:v>28.938426823701789</c:v>
                </c:pt>
                <c:pt idx="69560">
                  <c:v>31.93659570377951</c:v>
                </c:pt>
                <c:pt idx="69561">
                  <c:v>20.241797433715202</c:v>
                </c:pt>
                <c:pt idx="69562">
                  <c:v>45.835579075755348</c:v>
                </c:pt>
                <c:pt idx="69563">
                  <c:v>29.93697949837523</c:v>
                </c:pt>
                <c:pt idx="69564">
                  <c:v>19.315992775914019</c:v>
                </c:pt>
                <c:pt idx="69565">
                  <c:v>23.385257775449503</c:v>
                </c:pt>
                <c:pt idx="69566">
                  <c:v>39.111022733075956</c:v>
                </c:pt>
                <c:pt idx="69567">
                  <c:v>24.876285388580456</c:v>
                </c:pt>
                <c:pt idx="69568">
                  <c:v>34.421198894726352</c:v>
                </c:pt>
                <c:pt idx="69569">
                  <c:v>26.584198727622095</c:v>
                </c:pt>
                <c:pt idx="69570">
                  <c:v>18.299421369132475</c:v>
                </c:pt>
                <c:pt idx="69571">
                  <c:v>25.959323246857473</c:v>
                </c:pt>
                <c:pt idx="69572">
                  <c:v>33.041096575774873</c:v>
                </c:pt>
                <c:pt idx="69573">
                  <c:v>31.842571827121237</c:v>
                </c:pt>
                <c:pt idx="69574">
                  <c:v>48.738521867610203</c:v>
                </c:pt>
                <c:pt idx="69575">
                  <c:v>26.779939700035563</c:v>
                </c:pt>
                <c:pt idx="69576">
                  <c:v>26.236585405110933</c:v>
                </c:pt>
                <c:pt idx="69577">
                  <c:v>25.408822291062883</c:v>
                </c:pt>
                <c:pt idx="69578">
                  <c:v>22.718741777942153</c:v>
                </c:pt>
                <c:pt idx="69579">
                  <c:v>31.934049435875735</c:v>
                </c:pt>
                <c:pt idx="69580">
                  <c:v>28.835715646002487</c:v>
                </c:pt>
                <c:pt idx="69581">
                  <c:v>28.103176842254779</c:v>
                </c:pt>
                <c:pt idx="69582">
                  <c:v>23.177444657613496</c:v>
                </c:pt>
                <c:pt idx="69583">
                  <c:v>28.451995059650294</c:v>
                </c:pt>
                <c:pt idx="69584">
                  <c:v>35.161618568682712</c:v>
                </c:pt>
                <c:pt idx="69585">
                  <c:v>26.61895593840752</c:v>
                </c:pt>
                <c:pt idx="69586">
                  <c:v>31.383422568416119</c:v>
                </c:pt>
                <c:pt idx="69587">
                  <c:v>33.687096155967133</c:v>
                </c:pt>
                <c:pt idx="69588">
                  <c:v>46.273457164128779</c:v>
                </c:pt>
                <c:pt idx="69589">
                  <c:v>33.754911721730323</c:v>
                </c:pt>
                <c:pt idx="69590">
                  <c:v>23.348397500865744</c:v>
                </c:pt>
                <c:pt idx="69591">
                  <c:v>20.32653212225787</c:v>
                </c:pt>
                <c:pt idx="69592">
                  <c:v>23.71446560976543</c:v>
                </c:pt>
                <c:pt idx="69593">
                  <c:v>45.698484171376094</c:v>
                </c:pt>
                <c:pt idx="69594">
                  <c:v>46.574431799581163</c:v>
                </c:pt>
                <c:pt idx="69595">
                  <c:v>26.958513548149174</c:v>
                </c:pt>
                <c:pt idx="69596">
                  <c:v>14.557480192024933</c:v>
                </c:pt>
                <c:pt idx="69597">
                  <c:v>29.149311343368158</c:v>
                </c:pt>
                <c:pt idx="69598">
                  <c:v>30.364326992458373</c:v>
                </c:pt>
                <c:pt idx="69599">
                  <c:v>24.950310185272151</c:v>
                </c:pt>
                <c:pt idx="69600">
                  <c:v>36.264177706207541</c:v>
                </c:pt>
                <c:pt idx="69601">
                  <c:v>21.661328845616886</c:v>
                </c:pt>
                <c:pt idx="69602">
                  <c:v>24.968637235901387</c:v>
                </c:pt>
                <c:pt idx="69603">
                  <c:v>26.326954900001606</c:v>
                </c:pt>
                <c:pt idx="69604">
                  <c:v>22.627168984352458</c:v>
                </c:pt>
                <c:pt idx="69605">
                  <c:v>30.886569277951356</c:v>
                </c:pt>
                <c:pt idx="69606">
                  <c:v>34.192655522341603</c:v>
                </c:pt>
                <c:pt idx="69607">
                  <c:v>48.665325750175057</c:v>
                </c:pt>
                <c:pt idx="69608">
                  <c:v>26.059160095579642</c:v>
                </c:pt>
                <c:pt idx="69609">
                  <c:v>30.865533417951525</c:v>
                </c:pt>
                <c:pt idx="69610">
                  <c:v>33.870046154000569</c:v>
                </c:pt>
                <c:pt idx="69611">
                  <c:v>29.567249128871346</c:v>
                </c:pt>
                <c:pt idx="69612">
                  <c:v>28.921914466224905</c:v>
                </c:pt>
                <c:pt idx="69613">
                  <c:v>28.377189084725924</c:v>
                </c:pt>
                <c:pt idx="69614">
                  <c:v>38.101913278995269</c:v>
                </c:pt>
                <c:pt idx="69615">
                  <c:v>35.388806125250909</c:v>
                </c:pt>
                <c:pt idx="69616">
                  <c:v>20.807555026939085</c:v>
                </c:pt>
                <c:pt idx="69617">
                  <c:v>34.911985897388753</c:v>
                </c:pt>
                <c:pt idx="69618">
                  <c:v>27.27172500475913</c:v>
                </c:pt>
                <c:pt idx="69619">
                  <c:v>17.350896946346019</c:v>
                </c:pt>
                <c:pt idx="69620">
                  <c:v>20.613915305825419</c:v>
                </c:pt>
                <c:pt idx="69621">
                  <c:v>22.300961699457389</c:v>
                </c:pt>
                <c:pt idx="69622">
                  <c:v>33.272092568387208</c:v>
                </c:pt>
                <c:pt idx="69623">
                  <c:v>25.762391915819677</c:v>
                </c:pt>
                <c:pt idx="69624">
                  <c:v>26.294825259149302</c:v>
                </c:pt>
                <c:pt idx="69625">
                  <c:v>28.775547731733404</c:v>
                </c:pt>
                <c:pt idx="69626">
                  <c:v>21.994470497472598</c:v>
                </c:pt>
                <c:pt idx="69627">
                  <c:v>26.547857961731935</c:v>
                </c:pt>
                <c:pt idx="69628">
                  <c:v>36.24397732799936</c:v>
                </c:pt>
                <c:pt idx="69629">
                  <c:v>29.457252265360133</c:v>
                </c:pt>
                <c:pt idx="69630">
                  <c:v>19.908797089575138</c:v>
                </c:pt>
                <c:pt idx="69631">
                  <c:v>25.000369659385981</c:v>
                </c:pt>
                <c:pt idx="69632">
                  <c:v>44.330060313436192</c:v>
                </c:pt>
                <c:pt idx="69633">
                  <c:v>23.036642753714766</c:v>
                </c:pt>
                <c:pt idx="69634">
                  <c:v>17.630901756920828</c:v>
                </c:pt>
                <c:pt idx="69635">
                  <c:v>29.071779605861131</c:v>
                </c:pt>
                <c:pt idx="69636">
                  <c:v>43.471187822984099</c:v>
                </c:pt>
                <c:pt idx="69637">
                  <c:v>25.464826815560389</c:v>
                </c:pt>
                <c:pt idx="69638">
                  <c:v>49.442230577517549</c:v>
                </c:pt>
                <c:pt idx="69639">
                  <c:v>21.298044388506224</c:v>
                </c:pt>
                <c:pt idx="69640">
                  <c:v>25.480779376939498</c:v>
                </c:pt>
                <c:pt idx="69641">
                  <c:v>49.703243269848215</c:v>
                </c:pt>
                <c:pt idx="69642">
                  <c:v>24.729843671056081</c:v>
                </c:pt>
                <c:pt idx="69643">
                  <c:v>41.795710853958305</c:v>
                </c:pt>
                <c:pt idx="69644">
                  <c:v>22.687224591675477</c:v>
                </c:pt>
                <c:pt idx="69645">
                  <c:v>29.725249117305893</c:v>
                </c:pt>
                <c:pt idx="69646">
                  <c:v>43.017171332082683</c:v>
                </c:pt>
                <c:pt idx="69647">
                  <c:v>25.392227229593118</c:v>
                </c:pt>
                <c:pt idx="69648">
                  <c:v>20.103270151803493</c:v>
                </c:pt>
                <c:pt idx="69649">
                  <c:v>21.411031300852496</c:v>
                </c:pt>
                <c:pt idx="69650">
                  <c:v>20.257831399570655</c:v>
                </c:pt>
                <c:pt idx="69651">
                  <c:v>26.191971446502016</c:v>
                </c:pt>
                <c:pt idx="69652">
                  <c:v>56.10472935004605</c:v>
                </c:pt>
                <c:pt idx="69653">
                  <c:v>44.01038824756025</c:v>
                </c:pt>
                <c:pt idx="69654">
                  <c:v>20.912623204606078</c:v>
                </c:pt>
                <c:pt idx="69655">
                  <c:v>45.889666223588748</c:v>
                </c:pt>
                <c:pt idx="69656">
                  <c:v>25.974553865386831</c:v>
                </c:pt>
                <c:pt idx="69657">
                  <c:v>21.723600201501231</c:v>
                </c:pt>
                <c:pt idx="69658">
                  <c:v>33.113913355094475</c:v>
                </c:pt>
                <c:pt idx="69659">
                  <c:v>18.97738283209894</c:v>
                </c:pt>
                <c:pt idx="69660">
                  <c:v>24.337410553681163</c:v>
                </c:pt>
                <c:pt idx="69661">
                  <c:v>30.00344623539722</c:v>
                </c:pt>
                <c:pt idx="69662">
                  <c:v>55.685587756929394</c:v>
                </c:pt>
                <c:pt idx="69663">
                  <c:v>33.98994544364465</c:v>
                </c:pt>
                <c:pt idx="69664">
                  <c:v>33.148091612813197</c:v>
                </c:pt>
                <c:pt idx="69665">
                  <c:v>18.854148567386652</c:v>
                </c:pt>
                <c:pt idx="69666">
                  <c:v>24.573895700669663</c:v>
                </c:pt>
                <c:pt idx="69667">
                  <c:v>19.516542810861182</c:v>
                </c:pt>
                <c:pt idx="69668">
                  <c:v>25.106993673915859</c:v>
                </c:pt>
                <c:pt idx="69669">
                  <c:v>22.069610009115983</c:v>
                </c:pt>
                <c:pt idx="69670">
                  <c:v>31.288702867409743</c:v>
                </c:pt>
                <c:pt idx="69671">
                  <c:v>24.270581344952731</c:v>
                </c:pt>
                <c:pt idx="69672">
                  <c:v>26.914493816481272</c:v>
                </c:pt>
                <c:pt idx="69673">
                  <c:v>32.260244512906723</c:v>
                </c:pt>
                <c:pt idx="69674">
                  <c:v>20.196747908236372</c:v>
                </c:pt>
                <c:pt idx="69675">
                  <c:v>24.933336088003831</c:v>
                </c:pt>
                <c:pt idx="69676">
                  <c:v>25.424753869283066</c:v>
                </c:pt>
                <c:pt idx="69677">
                  <c:v>21.600891033537106</c:v>
                </c:pt>
                <c:pt idx="69678">
                  <c:v>51.203301973802056</c:v>
                </c:pt>
                <c:pt idx="69679">
                  <c:v>22.269017073848701</c:v>
                </c:pt>
                <c:pt idx="69680">
                  <c:v>42.021115811853072</c:v>
                </c:pt>
                <c:pt idx="69681">
                  <c:v>34.901026866055389</c:v>
                </c:pt>
                <c:pt idx="69682">
                  <c:v>23.340322777791243</c:v>
                </c:pt>
                <c:pt idx="69683">
                  <c:v>18.560871357924682</c:v>
                </c:pt>
                <c:pt idx="69684">
                  <c:v>21.312884111469266</c:v>
                </c:pt>
                <c:pt idx="69685">
                  <c:v>28.193100034493135</c:v>
                </c:pt>
                <c:pt idx="69686">
                  <c:v>25.001499907463586</c:v>
                </c:pt>
                <c:pt idx="69687">
                  <c:v>27.573827791150535</c:v>
                </c:pt>
                <c:pt idx="69688">
                  <c:v>38.401722780152234</c:v>
                </c:pt>
                <c:pt idx="69689">
                  <c:v>22.947032299163041</c:v>
                </c:pt>
                <c:pt idx="69690">
                  <c:v>45.112800456914904</c:v>
                </c:pt>
                <c:pt idx="69691">
                  <c:v>26.1175195717551</c:v>
                </c:pt>
                <c:pt idx="69692">
                  <c:v>37.609414539637633</c:v>
                </c:pt>
                <c:pt idx="69693">
                  <c:v>25.666253325333123</c:v>
                </c:pt>
                <c:pt idx="69694">
                  <c:v>24.495848255974636</c:v>
                </c:pt>
                <c:pt idx="69695">
                  <c:v>21.718883684965402</c:v>
                </c:pt>
                <c:pt idx="69696">
                  <c:v>29.31315494566384</c:v>
                </c:pt>
                <c:pt idx="69697">
                  <c:v>37.989973398037279</c:v>
                </c:pt>
                <c:pt idx="69698">
                  <c:v>22.985350355886414</c:v>
                </c:pt>
                <c:pt idx="69699">
                  <c:v>43.988893061424577</c:v>
                </c:pt>
                <c:pt idx="69700">
                  <c:v>26.870684746280613</c:v>
                </c:pt>
                <c:pt idx="69701">
                  <c:v>26.494880352486291</c:v>
                </c:pt>
                <c:pt idx="69702">
                  <c:v>32.761490173743134</c:v>
                </c:pt>
                <c:pt idx="69703">
                  <c:v>21.150272997235291</c:v>
                </c:pt>
                <c:pt idx="69704">
                  <c:v>27.921903273597874</c:v>
                </c:pt>
                <c:pt idx="69705">
                  <c:v>27.748808755931812</c:v>
                </c:pt>
                <c:pt idx="69706">
                  <c:v>17.939691625350996</c:v>
                </c:pt>
                <c:pt idx="69707">
                  <c:v>23.554021737544364</c:v>
                </c:pt>
                <c:pt idx="69708">
                  <c:v>39.339049070392406</c:v>
                </c:pt>
                <c:pt idx="69709">
                  <c:v>22.029352646957911</c:v>
                </c:pt>
                <c:pt idx="69710">
                  <c:v>26.240881946527946</c:v>
                </c:pt>
                <c:pt idx="69711">
                  <c:v>46.292558696650445</c:v>
                </c:pt>
                <c:pt idx="69712">
                  <c:v>34.8530941943798</c:v>
                </c:pt>
                <c:pt idx="69713">
                  <c:v>26.103059607862679</c:v>
                </c:pt>
                <c:pt idx="69714">
                  <c:v>28.415554992381633</c:v>
                </c:pt>
                <c:pt idx="69715">
                  <c:v>27.074193181539684</c:v>
                </c:pt>
                <c:pt idx="69716">
                  <c:v>25.100383375632934</c:v>
                </c:pt>
                <c:pt idx="69717">
                  <c:v>25.778105518458549</c:v>
                </c:pt>
                <c:pt idx="69718">
                  <c:v>40.647612661660688</c:v>
                </c:pt>
                <c:pt idx="69719">
                  <c:v>27.826441376587717</c:v>
                </c:pt>
                <c:pt idx="69720">
                  <c:v>27.156781032988828</c:v>
                </c:pt>
                <c:pt idx="69721">
                  <c:v>27.407120970717646</c:v>
                </c:pt>
                <c:pt idx="69722">
                  <c:v>40.62522829701112</c:v>
                </c:pt>
                <c:pt idx="69723">
                  <c:v>23.415158329977231</c:v>
                </c:pt>
                <c:pt idx="69724">
                  <c:v>24.334481379612413</c:v>
                </c:pt>
                <c:pt idx="69725">
                  <c:v>50.737260858356741</c:v>
                </c:pt>
                <c:pt idx="69726">
                  <c:v>25.384508166236586</c:v>
                </c:pt>
                <c:pt idx="69727">
                  <c:v>29.712705775125965</c:v>
                </c:pt>
                <c:pt idx="69728">
                  <c:v>29.659788269957332</c:v>
                </c:pt>
                <c:pt idx="69729">
                  <c:v>43.108021345612499</c:v>
                </c:pt>
                <c:pt idx="69730">
                  <c:v>44.664635278317768</c:v>
                </c:pt>
                <c:pt idx="69731">
                  <c:v>47.891793270068732</c:v>
                </c:pt>
                <c:pt idx="69732">
                  <c:v>38.102006951059643</c:v>
                </c:pt>
                <c:pt idx="69733">
                  <c:v>50.797886508613814</c:v>
                </c:pt>
                <c:pt idx="69734">
                  <c:v>22.990975032083892</c:v>
                </c:pt>
                <c:pt idx="69735">
                  <c:v>46.789398810830548</c:v>
                </c:pt>
                <c:pt idx="69736">
                  <c:v>20.96107609433539</c:v>
                </c:pt>
                <c:pt idx="69737">
                  <c:v>35.478950425735192</c:v>
                </c:pt>
                <c:pt idx="69738">
                  <c:v>28.05615037736343</c:v>
                </c:pt>
                <c:pt idx="69739">
                  <c:v>32.243649821341421</c:v>
                </c:pt>
                <c:pt idx="69740">
                  <c:v>28.145699829070942</c:v>
                </c:pt>
                <c:pt idx="69741">
                  <c:v>59.418464244712077</c:v>
                </c:pt>
                <c:pt idx="69742">
                  <c:v>21.337645139647737</c:v>
                </c:pt>
                <c:pt idx="69743">
                  <c:v>27.969973797046929</c:v>
                </c:pt>
                <c:pt idx="69744">
                  <c:v>49.342715283452193</c:v>
                </c:pt>
                <c:pt idx="69745">
                  <c:v>39.37090734997895</c:v>
                </c:pt>
                <c:pt idx="69746">
                  <c:v>26.928418028391238</c:v>
                </c:pt>
                <c:pt idx="69747">
                  <c:v>31.837693992559242</c:v>
                </c:pt>
                <c:pt idx="69748">
                  <c:v>39.476575797690877</c:v>
                </c:pt>
                <c:pt idx="69749">
                  <c:v>34.524295545458237</c:v>
                </c:pt>
                <c:pt idx="69750">
                  <c:v>42.58400621450361</c:v>
                </c:pt>
                <c:pt idx="69751">
                  <c:v>30.013306987908194</c:v>
                </c:pt>
                <c:pt idx="69752">
                  <c:v>39.054549511358466</c:v>
                </c:pt>
                <c:pt idx="69753">
                  <c:v>23.939901384438272</c:v>
                </c:pt>
                <c:pt idx="69754">
                  <c:v>24.050233061024638</c:v>
                </c:pt>
                <c:pt idx="69755">
                  <c:v>32.229528918740357</c:v>
                </c:pt>
                <c:pt idx="69756">
                  <c:v>33.18422468476183</c:v>
                </c:pt>
                <c:pt idx="69757">
                  <c:v>24.313784783216185</c:v>
                </c:pt>
                <c:pt idx="69758">
                  <c:v>23.740876946181764</c:v>
                </c:pt>
                <c:pt idx="69759">
                  <c:v>30.610277041835211</c:v>
                </c:pt>
                <c:pt idx="69760">
                  <c:v>30.666553368639342</c:v>
                </c:pt>
                <c:pt idx="69761">
                  <c:v>24.629859410213378</c:v>
                </c:pt>
                <c:pt idx="69762">
                  <c:v>22.992001586571803</c:v>
                </c:pt>
                <c:pt idx="69763">
                  <c:v>26.131393031254607</c:v>
                </c:pt>
                <c:pt idx="69764">
                  <c:v>32.161114693000151</c:v>
                </c:pt>
                <c:pt idx="69765">
                  <c:v>32.543331355869469</c:v>
                </c:pt>
                <c:pt idx="69766">
                  <c:v>65.261192807049085</c:v>
                </c:pt>
                <c:pt idx="69767">
                  <c:v>24.88046890075859</c:v>
                </c:pt>
                <c:pt idx="69768">
                  <c:v>30.072241752805418</c:v>
                </c:pt>
                <c:pt idx="69769">
                  <c:v>28.717004856691243</c:v>
                </c:pt>
                <c:pt idx="69770">
                  <c:v>43.304187353759858</c:v>
                </c:pt>
                <c:pt idx="69771">
                  <c:v>47.043176538129629</c:v>
                </c:pt>
                <c:pt idx="69772">
                  <c:v>46.981634351617295</c:v>
                </c:pt>
                <c:pt idx="69773">
                  <c:v>21.794520804145392</c:v>
                </c:pt>
                <c:pt idx="69774">
                  <c:v>32.331696845512475</c:v>
                </c:pt>
                <c:pt idx="69775">
                  <c:v>28.500049718674052</c:v>
                </c:pt>
                <c:pt idx="69776">
                  <c:v>31.174965280743294</c:v>
                </c:pt>
                <c:pt idx="69777">
                  <c:v>36.099309174032214</c:v>
                </c:pt>
                <c:pt idx="69778">
                  <c:v>45.534745582946243</c:v>
                </c:pt>
                <c:pt idx="69779">
                  <c:v>32.760524442287007</c:v>
                </c:pt>
                <c:pt idx="69780">
                  <c:v>33.13644392518998</c:v>
                </c:pt>
                <c:pt idx="69781">
                  <c:v>22.75530746039173</c:v>
                </c:pt>
                <c:pt idx="69782">
                  <c:v>28.635839738020529</c:v>
                </c:pt>
                <c:pt idx="69783">
                  <c:v>27.475122706683365</c:v>
                </c:pt>
                <c:pt idx="69784">
                  <c:v>35.428199544246162</c:v>
                </c:pt>
                <c:pt idx="69785">
                  <c:v>45.696772893375766</c:v>
                </c:pt>
                <c:pt idx="69786">
                  <c:v>32.451574751982626</c:v>
                </c:pt>
                <c:pt idx="69787">
                  <c:v>29.127965822340911</c:v>
                </c:pt>
                <c:pt idx="69788">
                  <c:v>23.46497096745399</c:v>
                </c:pt>
                <c:pt idx="69789">
                  <c:v>25.201982512940504</c:v>
                </c:pt>
                <c:pt idx="69790">
                  <c:v>25.944717240507014</c:v>
                </c:pt>
                <c:pt idx="69791">
                  <c:v>31.941004969668285</c:v>
                </c:pt>
                <c:pt idx="69792">
                  <c:v>38.150684291757216</c:v>
                </c:pt>
                <c:pt idx="69793">
                  <c:v>27.002570717059132</c:v>
                </c:pt>
                <c:pt idx="69794">
                  <c:v>42.730556468685016</c:v>
                </c:pt>
                <c:pt idx="69795">
                  <c:v>44.502785618251217</c:v>
                </c:pt>
                <c:pt idx="69796">
                  <c:v>27.671910988241819</c:v>
                </c:pt>
                <c:pt idx="69797">
                  <c:v>28.374414446742726</c:v>
                </c:pt>
                <c:pt idx="69798">
                  <c:v>58.916971016281892</c:v>
                </c:pt>
                <c:pt idx="69799">
                  <c:v>27.547446696334379</c:v>
                </c:pt>
                <c:pt idx="69800">
                  <c:v>33.605000177394665</c:v>
                </c:pt>
                <c:pt idx="69801">
                  <c:v>44.977287152928959</c:v>
                </c:pt>
                <c:pt idx="69802">
                  <c:v>19.951042869099236</c:v>
                </c:pt>
                <c:pt idx="69803">
                  <c:v>29.207355616423303</c:v>
                </c:pt>
                <c:pt idx="69804">
                  <c:v>43.755319182814631</c:v>
                </c:pt>
                <c:pt idx="69805">
                  <c:v>41.58012400534529</c:v>
                </c:pt>
                <c:pt idx="69806">
                  <c:v>29.720960449465426</c:v>
                </c:pt>
                <c:pt idx="69807">
                  <c:v>19.106758748128033</c:v>
                </c:pt>
                <c:pt idx="69808">
                  <c:v>31.327846672697834</c:v>
                </c:pt>
                <c:pt idx="69809">
                  <c:v>35.011632067765426</c:v>
                </c:pt>
                <c:pt idx="69810">
                  <c:v>24.665226458222538</c:v>
                </c:pt>
                <c:pt idx="69811">
                  <c:v>38.129082523958729</c:v>
                </c:pt>
                <c:pt idx="69812">
                  <c:v>28.113431972672991</c:v>
                </c:pt>
                <c:pt idx="69813">
                  <c:v>25.51630001118852</c:v>
                </c:pt>
                <c:pt idx="69814">
                  <c:v>43.997861547131848</c:v>
                </c:pt>
                <c:pt idx="69815">
                  <c:v>32.209685655108274</c:v>
                </c:pt>
                <c:pt idx="69816">
                  <c:v>24.537256383738917</c:v>
                </c:pt>
                <c:pt idx="69817">
                  <c:v>24.608956677171669</c:v>
                </c:pt>
                <c:pt idx="69818">
                  <c:v>37.640486442591367</c:v>
                </c:pt>
                <c:pt idx="69819">
                  <c:v>47.340095342772443</c:v>
                </c:pt>
                <c:pt idx="69820">
                  <c:v>21.968766059392795</c:v>
                </c:pt>
                <c:pt idx="69821">
                  <c:v>25.777048419341721</c:v>
                </c:pt>
                <c:pt idx="69822">
                  <c:v>38.441471157521711</c:v>
                </c:pt>
                <c:pt idx="69823">
                  <c:v>49.161254994562356</c:v>
                </c:pt>
                <c:pt idx="69824">
                  <c:v>25.546931788366052</c:v>
                </c:pt>
                <c:pt idx="69825">
                  <c:v>24.327012990664826</c:v>
                </c:pt>
                <c:pt idx="69826">
                  <c:v>17.135738436882665</c:v>
                </c:pt>
                <c:pt idx="69827">
                  <c:v>25.080104921700475</c:v>
                </c:pt>
                <c:pt idx="69828">
                  <c:v>32.94465382088427</c:v>
                </c:pt>
                <c:pt idx="69829">
                  <c:v>28.076988057713876</c:v>
                </c:pt>
                <c:pt idx="69830">
                  <c:v>31.941291407354136</c:v>
                </c:pt>
                <c:pt idx="69831">
                  <c:v>54.41214961370973</c:v>
                </c:pt>
                <c:pt idx="69832">
                  <c:v>28.411462737064436</c:v>
                </c:pt>
                <c:pt idx="69833">
                  <c:v>47.512701051197979</c:v>
                </c:pt>
                <c:pt idx="69834">
                  <c:v>26.693032282954654</c:v>
                </c:pt>
                <c:pt idx="69835">
                  <c:v>42.349055894321879</c:v>
                </c:pt>
                <c:pt idx="69836">
                  <c:v>33.813292701975215</c:v>
                </c:pt>
                <c:pt idx="69837">
                  <c:v>19.382694575070992</c:v>
                </c:pt>
                <c:pt idx="69838">
                  <c:v>19.601848338296286</c:v>
                </c:pt>
                <c:pt idx="69839">
                  <c:v>30.461620785262145</c:v>
                </c:pt>
                <c:pt idx="69840">
                  <c:v>41.60988594520316</c:v>
                </c:pt>
                <c:pt idx="69841">
                  <c:v>37.059453605529512</c:v>
                </c:pt>
                <c:pt idx="69842">
                  <c:v>35.019101986150908</c:v>
                </c:pt>
                <c:pt idx="69843">
                  <c:v>26.344088619435112</c:v>
                </c:pt>
                <c:pt idx="69844">
                  <c:v>40.000560658913365</c:v>
                </c:pt>
                <c:pt idx="69845">
                  <c:v>37.216823832808011</c:v>
                </c:pt>
                <c:pt idx="69846">
                  <c:v>19.866504707604285</c:v>
                </c:pt>
                <c:pt idx="69847">
                  <c:v>40.271716978756025</c:v>
                </c:pt>
                <c:pt idx="69848">
                  <c:v>24.927075261277508</c:v>
                </c:pt>
                <c:pt idx="69849">
                  <c:v>29.564733462229711</c:v>
                </c:pt>
                <c:pt idx="69850">
                  <c:v>22.580921120030538</c:v>
                </c:pt>
                <c:pt idx="69851">
                  <c:v>48.780009890703461</c:v>
                </c:pt>
                <c:pt idx="69852">
                  <c:v>27.572235196731022</c:v>
                </c:pt>
                <c:pt idx="69853">
                  <c:v>21.190443317320891</c:v>
                </c:pt>
                <c:pt idx="69854">
                  <c:v>42.766028191052293</c:v>
                </c:pt>
                <c:pt idx="69855">
                  <c:v>28.058872833227134</c:v>
                </c:pt>
                <c:pt idx="69856">
                  <c:v>32.559426877007347</c:v>
                </c:pt>
                <c:pt idx="69857">
                  <c:v>22.467521144832524</c:v>
                </c:pt>
                <c:pt idx="69858">
                  <c:v>38.77894740340691</c:v>
                </c:pt>
                <c:pt idx="69859">
                  <c:v>22.827593604895842</c:v>
                </c:pt>
                <c:pt idx="69860">
                  <c:v>37.871614785507404</c:v>
                </c:pt>
                <c:pt idx="69861">
                  <c:v>41.987778489188322</c:v>
                </c:pt>
                <c:pt idx="69862">
                  <c:v>52.706533655585652</c:v>
                </c:pt>
                <c:pt idx="69863">
                  <c:v>29.926609717801519</c:v>
                </c:pt>
                <c:pt idx="69864">
                  <c:v>24.748949486880498</c:v>
                </c:pt>
                <c:pt idx="69865">
                  <c:v>22.345632702243275</c:v>
                </c:pt>
                <c:pt idx="69866">
                  <c:v>31.584870950567584</c:v>
                </c:pt>
                <c:pt idx="69867">
                  <c:v>43.030992868063265</c:v>
                </c:pt>
                <c:pt idx="69868">
                  <c:v>35.012343926213617</c:v>
                </c:pt>
                <c:pt idx="69869">
                  <c:v>41.55103221855547</c:v>
                </c:pt>
                <c:pt idx="69870">
                  <c:v>25.271431728116472</c:v>
                </c:pt>
                <c:pt idx="69871">
                  <c:v>29.998979465352544</c:v>
                </c:pt>
                <c:pt idx="69872">
                  <c:v>30.846206138168625</c:v>
                </c:pt>
                <c:pt idx="69873">
                  <c:v>46.336235482346822</c:v>
                </c:pt>
                <c:pt idx="69874">
                  <c:v>25.7171611383786</c:v>
                </c:pt>
                <c:pt idx="69875">
                  <c:v>21.85940169247996</c:v>
                </c:pt>
                <c:pt idx="69876">
                  <c:v>28.992995589499355</c:v>
                </c:pt>
                <c:pt idx="69877">
                  <c:v>23.031771783633715</c:v>
                </c:pt>
                <c:pt idx="69878">
                  <c:v>49.735052717784242</c:v>
                </c:pt>
                <c:pt idx="69879">
                  <c:v>52.788262374598965</c:v>
                </c:pt>
                <c:pt idx="69880">
                  <c:v>15.674007725354642</c:v>
                </c:pt>
                <c:pt idx="69881">
                  <c:v>34.292719761201901</c:v>
                </c:pt>
                <c:pt idx="69882">
                  <c:v>30.520798044707693</c:v>
                </c:pt>
                <c:pt idx="69883">
                  <c:v>39.408562261163453</c:v>
                </c:pt>
                <c:pt idx="69884">
                  <c:v>21.634954869725703</c:v>
                </c:pt>
                <c:pt idx="69885">
                  <c:v>45.477117140930737</c:v>
                </c:pt>
                <c:pt idx="69886">
                  <c:v>32.37421784891832</c:v>
                </c:pt>
                <c:pt idx="69887">
                  <c:v>38.05479864171059</c:v>
                </c:pt>
                <c:pt idx="69888">
                  <c:v>29.149478198386841</c:v>
                </c:pt>
                <c:pt idx="69889">
                  <c:v>27.247315661137637</c:v>
                </c:pt>
                <c:pt idx="69890">
                  <c:v>19.406613373584712</c:v>
                </c:pt>
                <c:pt idx="69891">
                  <c:v>22.466711480460759</c:v>
                </c:pt>
                <c:pt idx="69892">
                  <c:v>53.606610640442845</c:v>
                </c:pt>
                <c:pt idx="69893">
                  <c:v>26.967698364531724</c:v>
                </c:pt>
                <c:pt idx="69894">
                  <c:v>17.925082897714731</c:v>
                </c:pt>
                <c:pt idx="69895">
                  <c:v>22.560597757312166</c:v>
                </c:pt>
                <c:pt idx="69896">
                  <c:v>52.442118899948113</c:v>
                </c:pt>
                <c:pt idx="69897">
                  <c:v>38.893532112961445</c:v>
                </c:pt>
                <c:pt idx="69898">
                  <c:v>53.933129445312687</c:v>
                </c:pt>
                <c:pt idx="69899">
                  <c:v>31.11517145327014</c:v>
                </c:pt>
                <c:pt idx="69900">
                  <c:v>70.443779362110249</c:v>
                </c:pt>
                <c:pt idx="69901">
                  <c:v>33.701558269143753</c:v>
                </c:pt>
                <c:pt idx="69902">
                  <c:v>26.847128082199031</c:v>
                </c:pt>
                <c:pt idx="69903">
                  <c:v>26.279257698167662</c:v>
                </c:pt>
                <c:pt idx="69904">
                  <c:v>31.884081251806435</c:v>
                </c:pt>
                <c:pt idx="69905">
                  <c:v>27.732546274295029</c:v>
                </c:pt>
                <c:pt idx="69906">
                  <c:v>17.699460505789343</c:v>
                </c:pt>
                <c:pt idx="69907">
                  <c:v>35.38205998008079</c:v>
                </c:pt>
                <c:pt idx="69908">
                  <c:v>27.870778963353072</c:v>
                </c:pt>
                <c:pt idx="69909">
                  <c:v>28.692522704335296</c:v>
                </c:pt>
                <c:pt idx="69910">
                  <c:v>26.54159317972092</c:v>
                </c:pt>
                <c:pt idx="69911">
                  <c:v>44.125388613619066</c:v>
                </c:pt>
                <c:pt idx="69912">
                  <c:v>18.644788838023686</c:v>
                </c:pt>
                <c:pt idx="69913">
                  <c:v>52.340492153940339</c:v>
                </c:pt>
                <c:pt idx="69914">
                  <c:v>40.496544402428114</c:v>
                </c:pt>
                <c:pt idx="69915">
                  <c:v>26.091698082003155</c:v>
                </c:pt>
                <c:pt idx="69916">
                  <c:v>40.156677835787448</c:v>
                </c:pt>
                <c:pt idx="69917">
                  <c:v>28.146948739614949</c:v>
                </c:pt>
                <c:pt idx="69918">
                  <c:v>26.234437979664776</c:v>
                </c:pt>
                <c:pt idx="69919">
                  <c:v>37.502488996990124</c:v>
                </c:pt>
                <c:pt idx="69920">
                  <c:v>20.481971291052986</c:v>
                </c:pt>
                <c:pt idx="69921">
                  <c:v>25.204570367734327</c:v>
                </c:pt>
                <c:pt idx="69922">
                  <c:v>28.162433084505977</c:v>
                </c:pt>
                <c:pt idx="69923">
                  <c:v>30.636477663850876</c:v>
                </c:pt>
                <c:pt idx="69924">
                  <c:v>23.974719363324549</c:v>
                </c:pt>
                <c:pt idx="69925">
                  <c:v>29.843103798471518</c:v>
                </c:pt>
                <c:pt idx="69926">
                  <c:v>41.663878421645862</c:v>
                </c:pt>
                <c:pt idx="69927">
                  <c:v>17.787491819281822</c:v>
                </c:pt>
                <c:pt idx="69928">
                  <c:v>36.745575130710172</c:v>
                </c:pt>
                <c:pt idx="69929">
                  <c:v>44.065856562364736</c:v>
                </c:pt>
                <c:pt idx="69930">
                  <c:v>18.040886796434627</c:v>
                </c:pt>
                <c:pt idx="69931">
                  <c:v>28.122500249037831</c:v>
                </c:pt>
                <c:pt idx="69932">
                  <c:v>20.248886431011123</c:v>
                </c:pt>
                <c:pt idx="69933">
                  <c:v>26.945535861840831</c:v>
                </c:pt>
                <c:pt idx="69934">
                  <c:v>39.707185033287281</c:v>
                </c:pt>
                <c:pt idx="69935">
                  <c:v>30.666133535972801</c:v>
                </c:pt>
                <c:pt idx="69936">
                  <c:v>39.746568557255351</c:v>
                </c:pt>
                <c:pt idx="69937">
                  <c:v>33.609151943005472</c:v>
                </c:pt>
                <c:pt idx="69938">
                  <c:v>34.239443211265517</c:v>
                </c:pt>
                <c:pt idx="69939">
                  <c:v>21.457215172962272</c:v>
                </c:pt>
                <c:pt idx="69940">
                  <c:v>15.935606281836934</c:v>
                </c:pt>
                <c:pt idx="69941">
                  <c:v>27.534885006037257</c:v>
                </c:pt>
                <c:pt idx="69942">
                  <c:v>40.923997916867307</c:v>
                </c:pt>
                <c:pt idx="69943">
                  <c:v>38.791666966700021</c:v>
                </c:pt>
                <c:pt idx="69944">
                  <c:v>24.932112348443464</c:v>
                </c:pt>
                <c:pt idx="69945">
                  <c:v>30.049501948799165</c:v>
                </c:pt>
                <c:pt idx="69946">
                  <c:v>23.812988634908521</c:v>
                </c:pt>
                <c:pt idx="69947">
                  <c:v>38.556984004251476</c:v>
                </c:pt>
                <c:pt idx="69948">
                  <c:v>21.264785315897932</c:v>
                </c:pt>
                <c:pt idx="69949">
                  <c:v>41.863676017792514</c:v>
                </c:pt>
                <c:pt idx="69950">
                  <c:v>40.82763176981058</c:v>
                </c:pt>
                <c:pt idx="69951">
                  <c:v>26.439022376190405</c:v>
                </c:pt>
                <c:pt idx="69952">
                  <c:v>33.494543331889588</c:v>
                </c:pt>
                <c:pt idx="69953">
                  <c:v>39.386249779392102</c:v>
                </c:pt>
                <c:pt idx="69954">
                  <c:v>28.555363808082173</c:v>
                </c:pt>
                <c:pt idx="69955">
                  <c:v>18.949271678219365</c:v>
                </c:pt>
                <c:pt idx="69956">
                  <c:v>33.729860210288287</c:v>
                </c:pt>
                <c:pt idx="69957">
                  <c:v>27.112777145345447</c:v>
                </c:pt>
                <c:pt idx="69958">
                  <c:v>30.500094814054638</c:v>
                </c:pt>
                <c:pt idx="69959">
                  <c:v>35.484513862518121</c:v>
                </c:pt>
                <c:pt idx="69960">
                  <c:v>33.053102787416435</c:v>
                </c:pt>
                <c:pt idx="69961">
                  <c:v>24.056938923631087</c:v>
                </c:pt>
                <c:pt idx="69962">
                  <c:v>26.860538294898987</c:v>
                </c:pt>
                <c:pt idx="69963">
                  <c:v>52.762526270551845</c:v>
                </c:pt>
                <c:pt idx="69964">
                  <c:v>33.949569803766742</c:v>
                </c:pt>
                <c:pt idx="69965">
                  <c:v>42.719039941470342</c:v>
                </c:pt>
                <c:pt idx="69966">
                  <c:v>25.580213961096383</c:v>
                </c:pt>
                <c:pt idx="69967">
                  <c:v>21.264487463376678</c:v>
                </c:pt>
                <c:pt idx="69968">
                  <c:v>32.228469601789762</c:v>
                </c:pt>
                <c:pt idx="69969">
                  <c:v>29.099893949537808</c:v>
                </c:pt>
                <c:pt idx="69970">
                  <c:v>27.349968436768471</c:v>
                </c:pt>
                <c:pt idx="69971">
                  <c:v>26.527578037977655</c:v>
                </c:pt>
                <c:pt idx="69972">
                  <c:v>23.833455657296344</c:v>
                </c:pt>
                <c:pt idx="69973">
                  <c:v>36.429424765628156</c:v>
                </c:pt>
                <c:pt idx="69974">
                  <c:v>28.019775120563285</c:v>
                </c:pt>
                <c:pt idx="69975">
                  <c:v>27.124919748539003</c:v>
                </c:pt>
                <c:pt idx="69976">
                  <c:v>23.61014298649205</c:v>
                </c:pt>
                <c:pt idx="69977">
                  <c:v>51.43632681071518</c:v>
                </c:pt>
                <c:pt idx="69978">
                  <c:v>23.383962288401719</c:v>
                </c:pt>
                <c:pt idx="69979">
                  <c:v>24.182571701050115</c:v>
                </c:pt>
                <c:pt idx="69980">
                  <c:v>31.589622552783872</c:v>
                </c:pt>
                <c:pt idx="69981">
                  <c:v>18.699766083058506</c:v>
                </c:pt>
                <c:pt idx="69982">
                  <c:v>28.538631050925602</c:v>
                </c:pt>
                <c:pt idx="69983">
                  <c:v>22.754939320493218</c:v>
                </c:pt>
                <c:pt idx="69984">
                  <c:v>24.080732912054362</c:v>
                </c:pt>
                <c:pt idx="69985">
                  <c:v>45.164287076742767</c:v>
                </c:pt>
                <c:pt idx="69986">
                  <c:v>28.601670220905476</c:v>
                </c:pt>
                <c:pt idx="69987">
                  <c:v>31.041220423877661</c:v>
                </c:pt>
                <c:pt idx="69988">
                  <c:v>27.217949762687208</c:v>
                </c:pt>
                <c:pt idx="69989">
                  <c:v>20.841433819893126</c:v>
                </c:pt>
                <c:pt idx="69990">
                  <c:v>30.383815655105632</c:v>
                </c:pt>
                <c:pt idx="69991">
                  <c:v>37.771629020629938</c:v>
                </c:pt>
                <c:pt idx="69992">
                  <c:v>36.395922346015332</c:v>
                </c:pt>
                <c:pt idx="69993">
                  <c:v>29.307062676506881</c:v>
                </c:pt>
                <c:pt idx="69994">
                  <c:v>16.344193204634593</c:v>
                </c:pt>
                <c:pt idx="69995">
                  <c:v>25.179845170096311</c:v>
                </c:pt>
                <c:pt idx="69996">
                  <c:v>47.965610453618183</c:v>
                </c:pt>
                <c:pt idx="69997">
                  <c:v>30.167145305343787</c:v>
                </c:pt>
                <c:pt idx="69998">
                  <c:v>25.357069647178129</c:v>
                </c:pt>
                <c:pt idx="69999">
                  <c:v>39.398033546760715</c:v>
                </c:pt>
                <c:pt idx="70000">
                  <c:v>29.985149578419318</c:v>
                </c:pt>
                <c:pt idx="70001">
                  <c:v>26.556299109836246</c:v>
                </c:pt>
                <c:pt idx="70002">
                  <c:v>18.265120566710976</c:v>
                </c:pt>
                <c:pt idx="70003">
                  <c:v>30.881752759851935</c:v>
                </c:pt>
                <c:pt idx="70004">
                  <c:v>27.27955518328967</c:v>
                </c:pt>
                <c:pt idx="70005">
                  <c:v>23.432235043159299</c:v>
                </c:pt>
                <c:pt idx="70006">
                  <c:v>34.809779997846753</c:v>
                </c:pt>
                <c:pt idx="70007">
                  <c:v>52.823722430754614</c:v>
                </c:pt>
                <c:pt idx="70008">
                  <c:v>23.01421678726949</c:v>
                </c:pt>
                <c:pt idx="70009">
                  <c:v>25.4293931693134</c:v>
                </c:pt>
                <c:pt idx="70010">
                  <c:v>22.13298412261345</c:v>
                </c:pt>
                <c:pt idx="70011">
                  <c:v>29.590520571470222</c:v>
                </c:pt>
                <c:pt idx="70012">
                  <c:v>25.852546202878585</c:v>
                </c:pt>
                <c:pt idx="70013">
                  <c:v>34.68603636594267</c:v>
                </c:pt>
                <c:pt idx="70014">
                  <c:v>52.418543262652172</c:v>
                </c:pt>
                <c:pt idx="70015">
                  <c:v>33.508565043228622</c:v>
                </c:pt>
                <c:pt idx="70016">
                  <c:v>40.868831062892056</c:v>
                </c:pt>
                <c:pt idx="70017">
                  <c:v>47.69174635108557</c:v>
                </c:pt>
                <c:pt idx="70018">
                  <c:v>22.130490550144383</c:v>
                </c:pt>
                <c:pt idx="70019">
                  <c:v>46.248023822938293</c:v>
                </c:pt>
                <c:pt idx="70020">
                  <c:v>44.060059935792523</c:v>
                </c:pt>
                <c:pt idx="70021">
                  <c:v>37.687483787193543</c:v>
                </c:pt>
                <c:pt idx="70022">
                  <c:v>39.439362870859568</c:v>
                </c:pt>
                <c:pt idx="70023">
                  <c:v>35.462789184674186</c:v>
                </c:pt>
                <c:pt idx="70024">
                  <c:v>50.34722573467748</c:v>
                </c:pt>
                <c:pt idx="70025">
                  <c:v>28.021120089726011</c:v>
                </c:pt>
                <c:pt idx="70026">
                  <c:v>34.949622227883481</c:v>
                </c:pt>
                <c:pt idx="70027">
                  <c:v>20.090673411865417</c:v>
                </c:pt>
                <c:pt idx="70028">
                  <c:v>38.568957759928772</c:v>
                </c:pt>
                <c:pt idx="70029">
                  <c:v>34.487545964990375</c:v>
                </c:pt>
                <c:pt idx="70030">
                  <c:v>20.890343993708363</c:v>
                </c:pt>
                <c:pt idx="70031">
                  <c:v>42.309638884658092</c:v>
                </c:pt>
                <c:pt idx="70032">
                  <c:v>24.101300257726432</c:v>
                </c:pt>
                <c:pt idx="70033">
                  <c:v>23.823984287260672</c:v>
                </c:pt>
                <c:pt idx="70034">
                  <c:v>25.413386282315365</c:v>
                </c:pt>
                <c:pt idx="70035">
                  <c:v>27.082146014320468</c:v>
                </c:pt>
                <c:pt idx="70036">
                  <c:v>49.115359072110849</c:v>
                </c:pt>
                <c:pt idx="70037">
                  <c:v>27.191941714401423</c:v>
                </c:pt>
                <c:pt idx="70038">
                  <c:v>22.572958715099688</c:v>
                </c:pt>
                <c:pt idx="70039">
                  <c:v>50.907367623737244</c:v>
                </c:pt>
                <c:pt idx="70040">
                  <c:v>24.763883630585301</c:v>
                </c:pt>
                <c:pt idx="70041">
                  <c:v>45.966142328745676</c:v>
                </c:pt>
                <c:pt idx="70042">
                  <c:v>27.375501407286968</c:v>
                </c:pt>
                <c:pt idx="70043">
                  <c:v>39.730122777619229</c:v>
                </c:pt>
                <c:pt idx="70044">
                  <c:v>25.879730419539406</c:v>
                </c:pt>
                <c:pt idx="70045">
                  <c:v>24.443553990435539</c:v>
                </c:pt>
                <c:pt idx="70046">
                  <c:v>32.963093532988012</c:v>
                </c:pt>
                <c:pt idx="70047">
                  <c:v>28.700234747431331</c:v>
                </c:pt>
                <c:pt idx="70048">
                  <c:v>23.649608635968697</c:v>
                </c:pt>
                <c:pt idx="70049">
                  <c:v>33.631776502751954</c:v>
                </c:pt>
                <c:pt idx="70050">
                  <c:v>45.74524886935221</c:v>
                </c:pt>
                <c:pt idx="70051">
                  <c:v>31.369055720366052</c:v>
                </c:pt>
                <c:pt idx="70052">
                  <c:v>37.447123949257858</c:v>
                </c:pt>
                <c:pt idx="70053">
                  <c:v>32.871098322102299</c:v>
                </c:pt>
                <c:pt idx="70054">
                  <c:v>32.784631927190446</c:v>
                </c:pt>
                <c:pt idx="70055">
                  <c:v>56.902971244808626</c:v>
                </c:pt>
                <c:pt idx="70056">
                  <c:v>30.232441105645016</c:v>
                </c:pt>
                <c:pt idx="70057">
                  <c:v>36.51430139396966</c:v>
                </c:pt>
                <c:pt idx="70058">
                  <c:v>26.687532616817261</c:v>
                </c:pt>
                <c:pt idx="70059">
                  <c:v>28.704233648018803</c:v>
                </c:pt>
                <c:pt idx="70060">
                  <c:v>21.770078663400405</c:v>
                </c:pt>
                <c:pt idx="70061">
                  <c:v>35.962004357995312</c:v>
                </c:pt>
                <c:pt idx="70062">
                  <c:v>23.830747786829036</c:v>
                </c:pt>
                <c:pt idx="70063">
                  <c:v>21.773968095785591</c:v>
                </c:pt>
                <c:pt idx="70064">
                  <c:v>36.199408866649478</c:v>
                </c:pt>
                <c:pt idx="70065">
                  <c:v>27.963162333239328</c:v>
                </c:pt>
                <c:pt idx="70066">
                  <c:v>23.673138822724955</c:v>
                </c:pt>
                <c:pt idx="70067">
                  <c:v>50.159960068462588</c:v>
                </c:pt>
                <c:pt idx="70068">
                  <c:v>30.150026538336959</c:v>
                </c:pt>
                <c:pt idx="70069">
                  <c:v>19.750716536818754</c:v>
                </c:pt>
                <c:pt idx="70070">
                  <c:v>47.370860406893236</c:v>
                </c:pt>
                <c:pt idx="70071">
                  <c:v>27.201939690303362</c:v>
                </c:pt>
                <c:pt idx="70072">
                  <c:v>30.609021787782133</c:v>
                </c:pt>
                <c:pt idx="70073">
                  <c:v>27.101379547214766</c:v>
                </c:pt>
                <c:pt idx="70074">
                  <c:v>21.01335422307536</c:v>
                </c:pt>
                <c:pt idx="70075">
                  <c:v>50.706667653436128</c:v>
                </c:pt>
                <c:pt idx="70076">
                  <c:v>44.43290150942078</c:v>
                </c:pt>
                <c:pt idx="70077">
                  <c:v>41.620901377437647</c:v>
                </c:pt>
                <c:pt idx="70078">
                  <c:v>34.019060487237091</c:v>
                </c:pt>
                <c:pt idx="70079">
                  <c:v>35.142073033880664</c:v>
                </c:pt>
                <c:pt idx="70080">
                  <c:v>24.672146697727108</c:v>
                </c:pt>
                <c:pt idx="70081">
                  <c:v>55.292751367864646</c:v>
                </c:pt>
                <c:pt idx="70082">
                  <c:v>29.053852781122973</c:v>
                </c:pt>
                <c:pt idx="70083">
                  <c:v>26.973125051657934</c:v>
                </c:pt>
                <c:pt idx="70084">
                  <c:v>35.286663837506929</c:v>
                </c:pt>
                <c:pt idx="70085">
                  <c:v>25.541772253233752</c:v>
                </c:pt>
                <c:pt idx="70086">
                  <c:v>23.359785810012845</c:v>
                </c:pt>
                <c:pt idx="70087">
                  <c:v>30.462506830084656</c:v>
                </c:pt>
                <c:pt idx="70088">
                  <c:v>25.956842432678599</c:v>
                </c:pt>
                <c:pt idx="70089">
                  <c:v>25.463261966749414</c:v>
                </c:pt>
                <c:pt idx="70090">
                  <c:v>24.78123094332987</c:v>
                </c:pt>
                <c:pt idx="70091">
                  <c:v>35.71301252507574</c:v>
                </c:pt>
                <c:pt idx="70092">
                  <c:v>39.091218118687301</c:v>
                </c:pt>
                <c:pt idx="70093">
                  <c:v>21.678723578739319</c:v>
                </c:pt>
                <c:pt idx="70094">
                  <c:v>24.479112073529286</c:v>
                </c:pt>
                <c:pt idx="70095">
                  <c:v>32.819619391556188</c:v>
                </c:pt>
                <c:pt idx="70096">
                  <c:v>32.691349612996717</c:v>
                </c:pt>
                <c:pt idx="70097">
                  <c:v>33.206251124347617</c:v>
                </c:pt>
                <c:pt idx="70098">
                  <c:v>29.94320177123053</c:v>
                </c:pt>
                <c:pt idx="70099">
                  <c:v>19.22913276179165</c:v>
                </c:pt>
                <c:pt idx="70100">
                  <c:v>26.135650555575811</c:v>
                </c:pt>
                <c:pt idx="70101">
                  <c:v>24.200102065662154</c:v>
                </c:pt>
                <c:pt idx="70102">
                  <c:v>28.028074716081793</c:v>
                </c:pt>
                <c:pt idx="70103">
                  <c:v>31.433152567243994</c:v>
                </c:pt>
                <c:pt idx="70104">
                  <c:v>18.859142129660093</c:v>
                </c:pt>
                <c:pt idx="70105">
                  <c:v>21.571416363271439</c:v>
                </c:pt>
                <c:pt idx="70106">
                  <c:v>21.399943241583671</c:v>
                </c:pt>
                <c:pt idx="70107">
                  <c:v>48.622928114156714</c:v>
                </c:pt>
                <c:pt idx="70108">
                  <c:v>24.317437555564428</c:v>
                </c:pt>
                <c:pt idx="70109">
                  <c:v>29.528013734882414</c:v>
                </c:pt>
                <c:pt idx="70110">
                  <c:v>30.338425970241431</c:v>
                </c:pt>
                <c:pt idx="70111">
                  <c:v>25.654421906307068</c:v>
                </c:pt>
                <c:pt idx="70112">
                  <c:v>23.198577921747304</c:v>
                </c:pt>
                <c:pt idx="70113">
                  <c:v>50.586694576737713</c:v>
                </c:pt>
                <c:pt idx="70114">
                  <c:v>25.158466890919868</c:v>
                </c:pt>
                <c:pt idx="70115">
                  <c:v>26.914021332504557</c:v>
                </c:pt>
                <c:pt idx="70116">
                  <c:v>25.749704922370587</c:v>
                </c:pt>
                <c:pt idx="70117">
                  <c:v>34.414753769711794</c:v>
                </c:pt>
                <c:pt idx="70118">
                  <c:v>52.907209020924782</c:v>
                </c:pt>
                <c:pt idx="70119">
                  <c:v>30.514075235705047</c:v>
                </c:pt>
                <c:pt idx="70120">
                  <c:v>27.776574884346381</c:v>
                </c:pt>
                <c:pt idx="70121">
                  <c:v>42.55966329699492</c:v>
                </c:pt>
                <c:pt idx="70122">
                  <c:v>25.462539806585912</c:v>
                </c:pt>
                <c:pt idx="70123">
                  <c:v>44.611253848702326</c:v>
                </c:pt>
                <c:pt idx="70124">
                  <c:v>22.529953140969187</c:v>
                </c:pt>
                <c:pt idx="70125">
                  <c:v>35.272938041651365</c:v>
                </c:pt>
                <c:pt idx="70126">
                  <c:v>27.048180228499422</c:v>
                </c:pt>
                <c:pt idx="70127">
                  <c:v>29.19155521151351</c:v>
                </c:pt>
                <c:pt idx="70128">
                  <c:v>21.804929885140318</c:v>
                </c:pt>
                <c:pt idx="70129">
                  <c:v>25.97189220372768</c:v>
                </c:pt>
                <c:pt idx="70130">
                  <c:v>26.902314751589635</c:v>
                </c:pt>
                <c:pt idx="70131">
                  <c:v>32.490873359524301</c:v>
                </c:pt>
                <c:pt idx="70132">
                  <c:v>30.484602124407019</c:v>
                </c:pt>
                <c:pt idx="70133">
                  <c:v>42.460292600548904</c:v>
                </c:pt>
                <c:pt idx="70134">
                  <c:v>39.645392540198209</c:v>
                </c:pt>
                <c:pt idx="70135">
                  <c:v>33.108124770227192</c:v>
                </c:pt>
                <c:pt idx="70136">
                  <c:v>27.744848129705325</c:v>
                </c:pt>
                <c:pt idx="70137">
                  <c:v>30.878605081249837</c:v>
                </c:pt>
                <c:pt idx="70138">
                  <c:v>23.917654098912941</c:v>
                </c:pt>
                <c:pt idx="70139">
                  <c:v>38.363622919975334</c:v>
                </c:pt>
                <c:pt idx="70140">
                  <c:v>38.613278491682991</c:v>
                </c:pt>
                <c:pt idx="70141">
                  <c:v>34.616321811557825</c:v>
                </c:pt>
                <c:pt idx="70142">
                  <c:v>23.291681956430221</c:v>
                </c:pt>
                <c:pt idx="70143">
                  <c:v>19.901378651211559</c:v>
                </c:pt>
                <c:pt idx="70144">
                  <c:v>25.748599461886325</c:v>
                </c:pt>
                <c:pt idx="70145">
                  <c:v>35.236075940176462</c:v>
                </c:pt>
                <c:pt idx="70146">
                  <c:v>46.215455786276998</c:v>
                </c:pt>
                <c:pt idx="70147">
                  <c:v>32.936454017713608</c:v>
                </c:pt>
                <c:pt idx="70148">
                  <c:v>27.772326111448344</c:v>
                </c:pt>
                <c:pt idx="70149">
                  <c:v>51.388753791308062</c:v>
                </c:pt>
                <c:pt idx="70150">
                  <c:v>25.469902506302596</c:v>
                </c:pt>
                <c:pt idx="70151">
                  <c:v>28.795472043251287</c:v>
                </c:pt>
                <c:pt idx="70152">
                  <c:v>31.670596499143358</c:v>
                </c:pt>
                <c:pt idx="70153">
                  <c:v>39.832932511606082</c:v>
                </c:pt>
                <c:pt idx="70154">
                  <c:v>39.569027184604053</c:v>
                </c:pt>
                <c:pt idx="70155">
                  <c:v>14.505147814485138</c:v>
                </c:pt>
                <c:pt idx="70156">
                  <c:v>28.342183642446184</c:v>
                </c:pt>
                <c:pt idx="70157">
                  <c:v>30.33323762638101</c:v>
                </c:pt>
                <c:pt idx="70158">
                  <c:v>23.11263399726495</c:v>
                </c:pt>
                <c:pt idx="70159">
                  <c:v>33.938482989947104</c:v>
                </c:pt>
                <c:pt idx="70160">
                  <c:v>25.023039156992027</c:v>
                </c:pt>
                <c:pt idx="70161">
                  <c:v>19.914618195957001</c:v>
                </c:pt>
                <c:pt idx="70162">
                  <c:v>25.832745340137286</c:v>
                </c:pt>
                <c:pt idx="70163">
                  <c:v>48.69625125515168</c:v>
                </c:pt>
                <c:pt idx="70164">
                  <c:v>24.796855911665467</c:v>
                </c:pt>
                <c:pt idx="70165">
                  <c:v>29.546153633856406</c:v>
                </c:pt>
                <c:pt idx="70166">
                  <c:v>43.520920007111798</c:v>
                </c:pt>
                <c:pt idx="70167">
                  <c:v>28.44466055497276</c:v>
                </c:pt>
                <c:pt idx="70168">
                  <c:v>25.266170304512958</c:v>
                </c:pt>
                <c:pt idx="70169">
                  <c:v>41.116178268187589</c:v>
                </c:pt>
                <c:pt idx="70170">
                  <c:v>28.080367822771482</c:v>
                </c:pt>
                <c:pt idx="70171">
                  <c:v>42.050980185028713</c:v>
                </c:pt>
                <c:pt idx="70172">
                  <c:v>24.705707632980339</c:v>
                </c:pt>
                <c:pt idx="70173">
                  <c:v>22.186663583533445</c:v>
                </c:pt>
                <c:pt idx="70174">
                  <c:v>42.461449659102776</c:v>
                </c:pt>
                <c:pt idx="70175">
                  <c:v>27.55360592674964</c:v>
                </c:pt>
                <c:pt idx="70176">
                  <c:v>49.968914331352693</c:v>
                </c:pt>
                <c:pt idx="70177">
                  <c:v>31.345908999908794</c:v>
                </c:pt>
                <c:pt idx="70178">
                  <c:v>26.698314472455426</c:v>
                </c:pt>
                <c:pt idx="70179">
                  <c:v>25.949187317665942</c:v>
                </c:pt>
                <c:pt idx="70180">
                  <c:v>32.078445459374535</c:v>
                </c:pt>
                <c:pt idx="70181">
                  <c:v>26.305931268667962</c:v>
                </c:pt>
                <c:pt idx="70182">
                  <c:v>29.49630310210479</c:v>
                </c:pt>
                <c:pt idx="70183">
                  <c:v>49.821007483413318</c:v>
                </c:pt>
                <c:pt idx="70184">
                  <c:v>23.056125185686561</c:v>
                </c:pt>
                <c:pt idx="70185">
                  <c:v>60.887553545021206</c:v>
                </c:pt>
                <c:pt idx="70186">
                  <c:v>31.792534629967459</c:v>
                </c:pt>
                <c:pt idx="70187">
                  <c:v>24.698025752750482</c:v>
                </c:pt>
                <c:pt idx="70188">
                  <c:v>28.887007840166913</c:v>
                </c:pt>
                <c:pt idx="70189">
                  <c:v>24.918853527871327</c:v>
                </c:pt>
                <c:pt idx="70190">
                  <c:v>26.668994218240595</c:v>
                </c:pt>
                <c:pt idx="70191">
                  <c:v>21.301953194803314</c:v>
                </c:pt>
                <c:pt idx="70192">
                  <c:v>25.449913593544359</c:v>
                </c:pt>
                <c:pt idx="70193">
                  <c:v>47.755426202262086</c:v>
                </c:pt>
                <c:pt idx="70194">
                  <c:v>29.194640917197521</c:v>
                </c:pt>
                <c:pt idx="70195">
                  <c:v>19.603615074656989</c:v>
                </c:pt>
                <c:pt idx="70196">
                  <c:v>22.562935600097429</c:v>
                </c:pt>
                <c:pt idx="70197">
                  <c:v>34.79375567255979</c:v>
                </c:pt>
                <c:pt idx="70198">
                  <c:v>42.4198277854032</c:v>
                </c:pt>
                <c:pt idx="70199">
                  <c:v>25.519125637606699</c:v>
                </c:pt>
                <c:pt idx="70200">
                  <c:v>20.759486237191329</c:v>
                </c:pt>
                <c:pt idx="70201">
                  <c:v>48.107206197129656</c:v>
                </c:pt>
                <c:pt idx="70202">
                  <c:v>32.942240528952553</c:v>
                </c:pt>
                <c:pt idx="70203">
                  <c:v>43.454675650286127</c:v>
                </c:pt>
                <c:pt idx="70204">
                  <c:v>54.11654933522648</c:v>
                </c:pt>
                <c:pt idx="70205">
                  <c:v>58.162724694316552</c:v>
                </c:pt>
                <c:pt idx="70206">
                  <c:v>28.676556359623202</c:v>
                </c:pt>
                <c:pt idx="70207">
                  <c:v>20.668712329857616</c:v>
                </c:pt>
                <c:pt idx="70208">
                  <c:v>21.906395067283732</c:v>
                </c:pt>
                <c:pt idx="70209">
                  <c:v>24.381200145342024</c:v>
                </c:pt>
                <c:pt idx="70210">
                  <c:v>35.004613937713764</c:v>
                </c:pt>
                <c:pt idx="70211">
                  <c:v>28.280467403558958</c:v>
                </c:pt>
                <c:pt idx="70212">
                  <c:v>18.25546596503824</c:v>
                </c:pt>
                <c:pt idx="70213">
                  <c:v>37.492194731679902</c:v>
                </c:pt>
                <c:pt idx="70214">
                  <c:v>31.245230501516549</c:v>
                </c:pt>
                <c:pt idx="70215">
                  <c:v>31.179642735545865</c:v>
                </c:pt>
                <c:pt idx="70216">
                  <c:v>29.673518624783107</c:v>
                </c:pt>
                <c:pt idx="70217">
                  <c:v>25.53797414007634</c:v>
                </c:pt>
                <c:pt idx="70218">
                  <c:v>50.646743568912413</c:v>
                </c:pt>
                <c:pt idx="70219">
                  <c:v>24.8345445177813</c:v>
                </c:pt>
                <c:pt idx="70220">
                  <c:v>23.238002374320121</c:v>
                </c:pt>
                <c:pt idx="70221">
                  <c:v>29.866952005823812</c:v>
                </c:pt>
                <c:pt idx="70222">
                  <c:v>25.272641988421377</c:v>
                </c:pt>
                <c:pt idx="70223">
                  <c:v>19.56904244731783</c:v>
                </c:pt>
                <c:pt idx="70224">
                  <c:v>29.62469707182791</c:v>
                </c:pt>
                <c:pt idx="70225">
                  <c:v>26.118802758206069</c:v>
                </c:pt>
                <c:pt idx="70226">
                  <c:v>16.282705694367984</c:v>
                </c:pt>
                <c:pt idx="70227">
                  <c:v>31.707789574963009</c:v>
                </c:pt>
                <c:pt idx="70228">
                  <c:v>28.993397127299538</c:v>
                </c:pt>
                <c:pt idx="70229">
                  <c:v>33.518412908362322</c:v>
                </c:pt>
                <c:pt idx="70230">
                  <c:v>45.958244567446194</c:v>
                </c:pt>
                <c:pt idx="70231">
                  <c:v>23.937271613627274</c:v>
                </c:pt>
                <c:pt idx="70232">
                  <c:v>22.150652734740657</c:v>
                </c:pt>
                <c:pt idx="70233">
                  <c:v>42.899529528341276</c:v>
                </c:pt>
                <c:pt idx="70234">
                  <c:v>27.40107094587054</c:v>
                </c:pt>
                <c:pt idx="70235">
                  <c:v>22.764497903647264</c:v>
                </c:pt>
                <c:pt idx="70236">
                  <c:v>17.966454246503581</c:v>
                </c:pt>
                <c:pt idx="70237">
                  <c:v>19.05222189737519</c:v>
                </c:pt>
                <c:pt idx="70238">
                  <c:v>51.333045050724557</c:v>
                </c:pt>
                <c:pt idx="70239">
                  <c:v>24.472216679043775</c:v>
                </c:pt>
                <c:pt idx="70240">
                  <c:v>39.640805534375644</c:v>
                </c:pt>
                <c:pt idx="70241">
                  <c:v>46.591680886007353</c:v>
                </c:pt>
                <c:pt idx="70242">
                  <c:v>36.39173095214808</c:v>
                </c:pt>
                <c:pt idx="70243">
                  <c:v>25.54934532493256</c:v>
                </c:pt>
                <c:pt idx="70244">
                  <c:v>22.909208731839907</c:v>
                </c:pt>
                <c:pt idx="70245">
                  <c:v>47.734794777628302</c:v>
                </c:pt>
                <c:pt idx="70246">
                  <c:v>27.134132115625277</c:v>
                </c:pt>
                <c:pt idx="70247">
                  <c:v>25.145205896516469</c:v>
                </c:pt>
                <c:pt idx="70248">
                  <c:v>38.155185035689051</c:v>
                </c:pt>
                <c:pt idx="70249">
                  <c:v>28.250781878068846</c:v>
                </c:pt>
                <c:pt idx="70250">
                  <c:v>45.714290711669761</c:v>
                </c:pt>
                <c:pt idx="70251">
                  <c:v>23.600341042907992</c:v>
                </c:pt>
                <c:pt idx="70252">
                  <c:v>19.263055452045592</c:v>
                </c:pt>
                <c:pt idx="70253">
                  <c:v>31.45634085611535</c:v>
                </c:pt>
                <c:pt idx="70254">
                  <c:v>23.962842519027383</c:v>
                </c:pt>
                <c:pt idx="70255">
                  <c:v>28.604689595059963</c:v>
                </c:pt>
                <c:pt idx="70256">
                  <c:v>28.263247437744951</c:v>
                </c:pt>
                <c:pt idx="70257">
                  <c:v>32.346542489308554</c:v>
                </c:pt>
                <c:pt idx="70258">
                  <c:v>38.479841067148747</c:v>
                </c:pt>
                <c:pt idx="70259">
                  <c:v>23.728564750672007</c:v>
                </c:pt>
                <c:pt idx="70260">
                  <c:v>28.06122339744725</c:v>
                </c:pt>
                <c:pt idx="70261">
                  <c:v>18.531808081236804</c:v>
                </c:pt>
                <c:pt idx="70262">
                  <c:v>29.036031624134345</c:v>
                </c:pt>
                <c:pt idx="70263">
                  <c:v>19.13585177650744</c:v>
                </c:pt>
                <c:pt idx="70264">
                  <c:v>29.601799067884279</c:v>
                </c:pt>
                <c:pt idx="70265">
                  <c:v>33.273007670297076</c:v>
                </c:pt>
                <c:pt idx="70266">
                  <c:v>27.502139871903843</c:v>
                </c:pt>
                <c:pt idx="70267">
                  <c:v>46.613128319631493</c:v>
                </c:pt>
                <c:pt idx="70268">
                  <c:v>22.802505755308182</c:v>
                </c:pt>
                <c:pt idx="70269">
                  <c:v>21.685599000066695</c:v>
                </c:pt>
                <c:pt idx="70270">
                  <c:v>34.426627301746393</c:v>
                </c:pt>
                <c:pt idx="70271">
                  <c:v>37.083085777222742</c:v>
                </c:pt>
                <c:pt idx="70272">
                  <c:v>29.824818719212015</c:v>
                </c:pt>
                <c:pt idx="70273">
                  <c:v>22.014883160357623</c:v>
                </c:pt>
                <c:pt idx="70274">
                  <c:v>48.676571930498604</c:v>
                </c:pt>
                <c:pt idx="70275">
                  <c:v>29.345538963314336</c:v>
                </c:pt>
                <c:pt idx="70276">
                  <c:v>28.916873190002296</c:v>
                </c:pt>
                <c:pt idx="70277">
                  <c:v>31.619401270265957</c:v>
                </c:pt>
                <c:pt idx="70278">
                  <c:v>20.321016090712433</c:v>
                </c:pt>
                <c:pt idx="70279">
                  <c:v>44.200775326053233</c:v>
                </c:pt>
                <c:pt idx="70280">
                  <c:v>40.36742024923322</c:v>
                </c:pt>
                <c:pt idx="70281">
                  <c:v>19.320088945323825</c:v>
                </c:pt>
                <c:pt idx="70282">
                  <c:v>27.887922684950951</c:v>
                </c:pt>
                <c:pt idx="70283">
                  <c:v>38.694482004033063</c:v>
                </c:pt>
                <c:pt idx="70284">
                  <c:v>17.527347317276842</c:v>
                </c:pt>
                <c:pt idx="70285">
                  <c:v>23.865378784063026</c:v>
                </c:pt>
                <c:pt idx="70286">
                  <c:v>29.600192480255142</c:v>
                </c:pt>
                <c:pt idx="70287">
                  <c:v>26.033664383187649</c:v>
                </c:pt>
                <c:pt idx="70288">
                  <c:v>33.629441538271564</c:v>
                </c:pt>
                <c:pt idx="70289">
                  <c:v>33.273668444408941</c:v>
                </c:pt>
                <c:pt idx="70290">
                  <c:v>20.525543905847741</c:v>
                </c:pt>
                <c:pt idx="70291">
                  <c:v>27.31963456374217</c:v>
                </c:pt>
                <c:pt idx="70292">
                  <c:v>25.143474566933627</c:v>
                </c:pt>
                <c:pt idx="70293">
                  <c:v>30.253719959034591</c:v>
                </c:pt>
                <c:pt idx="70294">
                  <c:v>23.670994826075795</c:v>
                </c:pt>
                <c:pt idx="70295">
                  <c:v>49.593046104659187</c:v>
                </c:pt>
                <c:pt idx="70296">
                  <c:v>19.623670228990399</c:v>
                </c:pt>
                <c:pt idx="70297">
                  <c:v>27.494232597020691</c:v>
                </c:pt>
                <c:pt idx="70298">
                  <c:v>50.900444128033762</c:v>
                </c:pt>
                <c:pt idx="70299">
                  <c:v>28.043421190654243</c:v>
                </c:pt>
                <c:pt idx="70300">
                  <c:v>58.616796378087031</c:v>
                </c:pt>
                <c:pt idx="70301">
                  <c:v>42.426883336479221</c:v>
                </c:pt>
                <c:pt idx="70302">
                  <c:v>23.043442959619824</c:v>
                </c:pt>
                <c:pt idx="70303">
                  <c:v>49.807061783651704</c:v>
                </c:pt>
                <c:pt idx="70304">
                  <c:v>45.438660965912135</c:v>
                </c:pt>
                <c:pt idx="70305">
                  <c:v>38.809164337748648</c:v>
                </c:pt>
                <c:pt idx="70306">
                  <c:v>23.258114429516056</c:v>
                </c:pt>
                <c:pt idx="70307">
                  <c:v>28.621447467099838</c:v>
                </c:pt>
                <c:pt idx="70308">
                  <c:v>24.7136709979222</c:v>
                </c:pt>
                <c:pt idx="70309">
                  <c:v>23.302046942871158</c:v>
                </c:pt>
                <c:pt idx="70310">
                  <c:v>25.121605030509613</c:v>
                </c:pt>
                <c:pt idx="70311">
                  <c:v>27.429149943384147</c:v>
                </c:pt>
                <c:pt idx="70312">
                  <c:v>23.99239341939079</c:v>
                </c:pt>
                <c:pt idx="70313">
                  <c:v>44.344420922081532</c:v>
                </c:pt>
                <c:pt idx="70314">
                  <c:v>30.650640217912727</c:v>
                </c:pt>
                <c:pt idx="70315">
                  <c:v>31.034985166340853</c:v>
                </c:pt>
                <c:pt idx="70316">
                  <c:v>19.294229108127443</c:v>
                </c:pt>
                <c:pt idx="70317">
                  <c:v>29.290822061889809</c:v>
                </c:pt>
                <c:pt idx="70318">
                  <c:v>21.099071181254196</c:v>
                </c:pt>
                <c:pt idx="70319">
                  <c:v>41.970769536920912</c:v>
                </c:pt>
                <c:pt idx="70320">
                  <c:v>30.7562356716479</c:v>
                </c:pt>
                <c:pt idx="70321">
                  <c:v>26.023837405180206</c:v>
                </c:pt>
                <c:pt idx="70322">
                  <c:v>41.227030424269188</c:v>
                </c:pt>
                <c:pt idx="70323">
                  <c:v>23.214820751163906</c:v>
                </c:pt>
                <c:pt idx="70324">
                  <c:v>20.266231954610696</c:v>
                </c:pt>
                <c:pt idx="70325">
                  <c:v>48.267790105765833</c:v>
                </c:pt>
                <c:pt idx="70326">
                  <c:v>36.411822418501799</c:v>
                </c:pt>
                <c:pt idx="70327">
                  <c:v>20.046521888419157</c:v>
                </c:pt>
                <c:pt idx="70328">
                  <c:v>30.333304662109704</c:v>
                </c:pt>
                <c:pt idx="70329">
                  <c:v>18.718750820876306</c:v>
                </c:pt>
                <c:pt idx="70330">
                  <c:v>26.23320645540274</c:v>
                </c:pt>
                <c:pt idx="70331">
                  <c:v>28.334329147243558</c:v>
                </c:pt>
                <c:pt idx="70332">
                  <c:v>38.728641134344819</c:v>
                </c:pt>
                <c:pt idx="70333">
                  <c:v>23.553603127777258</c:v>
                </c:pt>
                <c:pt idx="70334">
                  <c:v>23.012426143434581</c:v>
                </c:pt>
                <c:pt idx="70335">
                  <c:v>25.558083007623505</c:v>
                </c:pt>
                <c:pt idx="70336">
                  <c:v>24.346752012207933</c:v>
                </c:pt>
                <c:pt idx="70337">
                  <c:v>47.300699620781927</c:v>
                </c:pt>
                <c:pt idx="70338">
                  <c:v>41.260172110540836</c:v>
                </c:pt>
                <c:pt idx="70339">
                  <c:v>28.35673908350973</c:v>
                </c:pt>
                <c:pt idx="70340">
                  <c:v>42.177632082521015</c:v>
                </c:pt>
                <c:pt idx="70341">
                  <c:v>27.120238265292436</c:v>
                </c:pt>
                <c:pt idx="70342">
                  <c:v>50.942650427840832</c:v>
                </c:pt>
                <c:pt idx="70343">
                  <c:v>23.162911158132729</c:v>
                </c:pt>
                <c:pt idx="70344">
                  <c:v>26.137177605285764</c:v>
                </c:pt>
                <c:pt idx="70345">
                  <c:v>26.706149458256942</c:v>
                </c:pt>
                <c:pt idx="70346">
                  <c:v>43.517218366434086</c:v>
                </c:pt>
                <c:pt idx="70347">
                  <c:v>45.269076331096969</c:v>
                </c:pt>
                <c:pt idx="70348">
                  <c:v>27.092744931118251</c:v>
                </c:pt>
                <c:pt idx="70349">
                  <c:v>37.38561525290762</c:v>
                </c:pt>
                <c:pt idx="70350">
                  <c:v>28.148327290636537</c:v>
                </c:pt>
                <c:pt idx="70351">
                  <c:v>51.507913968365081</c:v>
                </c:pt>
                <c:pt idx="70352">
                  <c:v>27.098083482516994</c:v>
                </c:pt>
                <c:pt idx="70353">
                  <c:v>21.329017495542825</c:v>
                </c:pt>
                <c:pt idx="70354">
                  <c:v>27.494934239056743</c:v>
                </c:pt>
                <c:pt idx="70355">
                  <c:v>21.486466330056142</c:v>
                </c:pt>
                <c:pt idx="70356">
                  <c:v>56.679804058159625</c:v>
                </c:pt>
                <c:pt idx="70357">
                  <c:v>27.57511053872306</c:v>
                </c:pt>
                <c:pt idx="70358">
                  <c:v>40.3200291247298</c:v>
                </c:pt>
                <c:pt idx="70359">
                  <c:v>30.306903590064003</c:v>
                </c:pt>
                <c:pt idx="70360">
                  <c:v>59.698667225073592</c:v>
                </c:pt>
                <c:pt idx="70361">
                  <c:v>33.188980382894854</c:v>
                </c:pt>
                <c:pt idx="70362">
                  <c:v>23.20302598832021</c:v>
                </c:pt>
                <c:pt idx="70363">
                  <c:v>24.892581453754275</c:v>
                </c:pt>
                <c:pt idx="70364">
                  <c:v>45.830642094397426</c:v>
                </c:pt>
                <c:pt idx="70365">
                  <c:v>32.156255376502955</c:v>
                </c:pt>
                <c:pt idx="70366">
                  <c:v>21.274371574540375</c:v>
                </c:pt>
                <c:pt idx="70367">
                  <c:v>53.219287001233774</c:v>
                </c:pt>
                <c:pt idx="70368">
                  <c:v>24.608773558518454</c:v>
                </c:pt>
                <c:pt idx="70369">
                  <c:v>35.280302706023285</c:v>
                </c:pt>
                <c:pt idx="70370">
                  <c:v>48.735321515971151</c:v>
                </c:pt>
                <c:pt idx="70371">
                  <c:v>29.639671661035102</c:v>
                </c:pt>
                <c:pt idx="70372">
                  <c:v>33.637418288883175</c:v>
                </c:pt>
                <c:pt idx="70373">
                  <c:v>56.211560803229276</c:v>
                </c:pt>
                <c:pt idx="70374">
                  <c:v>27.024628957853043</c:v>
                </c:pt>
                <c:pt idx="70375">
                  <c:v>50.403682189889302</c:v>
                </c:pt>
                <c:pt idx="70376">
                  <c:v>47.91568078734818</c:v>
                </c:pt>
                <c:pt idx="70377">
                  <c:v>29.86885156006835</c:v>
                </c:pt>
                <c:pt idx="70378">
                  <c:v>26.007201917456985</c:v>
                </c:pt>
                <c:pt idx="70379">
                  <c:v>20.918501258176441</c:v>
                </c:pt>
                <c:pt idx="70380">
                  <c:v>47.789441897317502</c:v>
                </c:pt>
                <c:pt idx="70381">
                  <c:v>40.311465393184477</c:v>
                </c:pt>
                <c:pt idx="70382">
                  <c:v>25.424679540869334</c:v>
                </c:pt>
                <c:pt idx="70383">
                  <c:v>20.931538618507222</c:v>
                </c:pt>
                <c:pt idx="70384">
                  <c:v>21.17988591292665</c:v>
                </c:pt>
                <c:pt idx="70385">
                  <c:v>22.899544108399976</c:v>
                </c:pt>
                <c:pt idx="70386">
                  <c:v>27.596152715872822</c:v>
                </c:pt>
                <c:pt idx="70387">
                  <c:v>23.39332867556044</c:v>
                </c:pt>
                <c:pt idx="70388">
                  <c:v>18.408017874224065</c:v>
                </c:pt>
                <c:pt idx="70389">
                  <c:v>29.087387136642562</c:v>
                </c:pt>
                <c:pt idx="70390">
                  <c:v>36.232793555881258</c:v>
                </c:pt>
                <c:pt idx="70391">
                  <c:v>27.241132575668587</c:v>
                </c:pt>
                <c:pt idx="70392">
                  <c:v>18.145108157634855</c:v>
                </c:pt>
                <c:pt idx="70393">
                  <c:v>47.918670125258437</c:v>
                </c:pt>
                <c:pt idx="70394">
                  <c:v>26.775463790456872</c:v>
                </c:pt>
                <c:pt idx="70395">
                  <c:v>30.598017621890765</c:v>
                </c:pt>
                <c:pt idx="70396">
                  <c:v>52.458359330611039</c:v>
                </c:pt>
                <c:pt idx="70397">
                  <c:v>55.498632825405352</c:v>
                </c:pt>
                <c:pt idx="70398">
                  <c:v>18.85745536124081</c:v>
                </c:pt>
                <c:pt idx="70399">
                  <c:v>52.464257874461289</c:v>
                </c:pt>
                <c:pt idx="70400">
                  <c:v>26.86474689839249</c:v>
                </c:pt>
                <c:pt idx="70401">
                  <c:v>45.950583411757506</c:v>
                </c:pt>
                <c:pt idx="70402">
                  <c:v>48.159916494021914</c:v>
                </c:pt>
                <c:pt idx="70403">
                  <c:v>24.476589305681649</c:v>
                </c:pt>
                <c:pt idx="70404">
                  <c:v>27.958229559071246</c:v>
                </c:pt>
                <c:pt idx="70405">
                  <c:v>25.621668737172804</c:v>
                </c:pt>
                <c:pt idx="70406">
                  <c:v>21.678889724587346</c:v>
                </c:pt>
                <c:pt idx="70407">
                  <c:v>31.626538827211832</c:v>
                </c:pt>
                <c:pt idx="70408">
                  <c:v>23.9686764607188</c:v>
                </c:pt>
                <c:pt idx="70409">
                  <c:v>35.289163912098473</c:v>
                </c:pt>
                <c:pt idx="70410">
                  <c:v>24.961198319154747</c:v>
                </c:pt>
                <c:pt idx="70411">
                  <c:v>27.066317522590214</c:v>
                </c:pt>
                <c:pt idx="70412">
                  <c:v>34.127465712590862</c:v>
                </c:pt>
                <c:pt idx="70413">
                  <c:v>22.325474159835895</c:v>
                </c:pt>
                <c:pt idx="70414">
                  <c:v>29.189855547823903</c:v>
                </c:pt>
                <c:pt idx="70415">
                  <c:v>29.364391298624795</c:v>
                </c:pt>
                <c:pt idx="70416">
                  <c:v>48.440766412698018</c:v>
                </c:pt>
                <c:pt idx="70417">
                  <c:v>42.814371270884429</c:v>
                </c:pt>
                <c:pt idx="70418">
                  <c:v>46.47685383580707</c:v>
                </c:pt>
                <c:pt idx="70419">
                  <c:v>24.399721997435506</c:v>
                </c:pt>
                <c:pt idx="70420">
                  <c:v>33.793833946973415</c:v>
                </c:pt>
                <c:pt idx="70421">
                  <c:v>25.888336605794439</c:v>
                </c:pt>
                <c:pt idx="70422">
                  <c:v>37.738334860019243</c:v>
                </c:pt>
                <c:pt idx="70423">
                  <c:v>32.187275172380538</c:v>
                </c:pt>
                <c:pt idx="70424">
                  <c:v>43.761671104112835</c:v>
                </c:pt>
                <c:pt idx="70425">
                  <c:v>40.869092716079024</c:v>
                </c:pt>
                <c:pt idx="70426">
                  <c:v>55.657074028669697</c:v>
                </c:pt>
                <c:pt idx="70427">
                  <c:v>21.150060545021205</c:v>
                </c:pt>
                <c:pt idx="70428">
                  <c:v>45.919173458017454</c:v>
                </c:pt>
                <c:pt idx="70429">
                  <c:v>26.152571779043171</c:v>
                </c:pt>
                <c:pt idx="70430">
                  <c:v>25.829543772161145</c:v>
                </c:pt>
                <c:pt idx="70431">
                  <c:v>50.313201694440096</c:v>
                </c:pt>
                <c:pt idx="70432">
                  <c:v>33.908738789977349</c:v>
                </c:pt>
                <c:pt idx="70433">
                  <c:v>51.975996700417483</c:v>
                </c:pt>
                <c:pt idx="70434">
                  <c:v>39.628007749310868</c:v>
                </c:pt>
                <c:pt idx="70435">
                  <c:v>23.957686665396839</c:v>
                </c:pt>
                <c:pt idx="70436">
                  <c:v>26.3199177572561</c:v>
                </c:pt>
                <c:pt idx="70437">
                  <c:v>25.840344891386078</c:v>
                </c:pt>
                <c:pt idx="70438">
                  <c:v>26.986201275892238</c:v>
                </c:pt>
                <c:pt idx="70439">
                  <c:v>23.733222984550569</c:v>
                </c:pt>
                <c:pt idx="70440">
                  <c:v>54.734659873196165</c:v>
                </c:pt>
                <c:pt idx="70441">
                  <c:v>24.710920281507342</c:v>
                </c:pt>
                <c:pt idx="70442">
                  <c:v>22.010801189673082</c:v>
                </c:pt>
                <c:pt idx="70443">
                  <c:v>44.314846083168888</c:v>
                </c:pt>
                <c:pt idx="70444">
                  <c:v>42.354507564467816</c:v>
                </c:pt>
                <c:pt idx="70445">
                  <c:v>17.548949744492241</c:v>
                </c:pt>
                <c:pt idx="70446">
                  <c:v>24.077268380557779</c:v>
                </c:pt>
                <c:pt idx="70447">
                  <c:v>16.93910041780989</c:v>
                </c:pt>
                <c:pt idx="70448">
                  <c:v>38.982004288411325</c:v>
                </c:pt>
                <c:pt idx="70449">
                  <c:v>39.90907251218632</c:v>
                </c:pt>
                <c:pt idx="70450">
                  <c:v>45.385822823835667</c:v>
                </c:pt>
                <c:pt idx="70451">
                  <c:v>25.223904082282942</c:v>
                </c:pt>
                <c:pt idx="70452">
                  <c:v>46.685332444526956</c:v>
                </c:pt>
                <c:pt idx="70453">
                  <c:v>33.916834496937469</c:v>
                </c:pt>
                <c:pt idx="70454">
                  <c:v>18.822665094984622</c:v>
                </c:pt>
                <c:pt idx="70455">
                  <c:v>22.937297771622227</c:v>
                </c:pt>
                <c:pt idx="70456">
                  <c:v>23.818147967569725</c:v>
                </c:pt>
                <c:pt idx="70457">
                  <c:v>24.464161121746976</c:v>
                </c:pt>
                <c:pt idx="70458">
                  <c:v>22.12689879695353</c:v>
                </c:pt>
                <c:pt idx="70459">
                  <c:v>54.358062654091526</c:v>
                </c:pt>
                <c:pt idx="70460">
                  <c:v>23.800313200911532</c:v>
                </c:pt>
                <c:pt idx="70461">
                  <c:v>25.876577000284591</c:v>
                </c:pt>
                <c:pt idx="70462">
                  <c:v>23.553334942489631</c:v>
                </c:pt>
                <c:pt idx="70463">
                  <c:v>28.659711716529269</c:v>
                </c:pt>
                <c:pt idx="70464">
                  <c:v>54.408560527650117</c:v>
                </c:pt>
                <c:pt idx="70465">
                  <c:v>30.791603502206907</c:v>
                </c:pt>
                <c:pt idx="70466">
                  <c:v>17.304801080380603</c:v>
                </c:pt>
                <c:pt idx="70467">
                  <c:v>31.81303149202634</c:v>
                </c:pt>
                <c:pt idx="70468">
                  <c:v>22.464558438779985</c:v>
                </c:pt>
                <c:pt idx="70469">
                  <c:v>23.446475623311308</c:v>
                </c:pt>
                <c:pt idx="70470">
                  <c:v>21.890365032344846</c:v>
                </c:pt>
                <c:pt idx="70471">
                  <c:v>31.25405364053864</c:v>
                </c:pt>
                <c:pt idx="70472">
                  <c:v>40.196392292187205</c:v>
                </c:pt>
                <c:pt idx="70473">
                  <c:v>33.039664046355469</c:v>
                </c:pt>
                <c:pt idx="70474">
                  <c:v>28.265796458177824</c:v>
                </c:pt>
                <c:pt idx="70475">
                  <c:v>29.941835027273875</c:v>
                </c:pt>
                <c:pt idx="70476">
                  <c:v>33.041210980820054</c:v>
                </c:pt>
                <c:pt idx="70477">
                  <c:v>32.789546537521339</c:v>
                </c:pt>
                <c:pt idx="70478">
                  <c:v>29.182243401954747</c:v>
                </c:pt>
                <c:pt idx="70479">
                  <c:v>49.157470087000412</c:v>
                </c:pt>
                <c:pt idx="70480">
                  <c:v>26.145714651642841</c:v>
                </c:pt>
                <c:pt idx="70481">
                  <c:v>34.478791128495985</c:v>
                </c:pt>
                <c:pt idx="70482">
                  <c:v>25.463810791645436</c:v>
                </c:pt>
                <c:pt idx="70483">
                  <c:v>51.295521318064871</c:v>
                </c:pt>
                <c:pt idx="70484">
                  <c:v>27.894499742883738</c:v>
                </c:pt>
                <c:pt idx="70485">
                  <c:v>20.791324060158928</c:v>
                </c:pt>
                <c:pt idx="70486">
                  <c:v>24.576154222677623</c:v>
                </c:pt>
                <c:pt idx="70487">
                  <c:v>24.035994468687207</c:v>
                </c:pt>
                <c:pt idx="70488">
                  <c:v>47.414902703240898</c:v>
                </c:pt>
                <c:pt idx="70489">
                  <c:v>29.99582002315239</c:v>
                </c:pt>
                <c:pt idx="70490">
                  <c:v>55.608754625141373</c:v>
                </c:pt>
                <c:pt idx="70491">
                  <c:v>24.302194645046917</c:v>
                </c:pt>
                <c:pt idx="70492">
                  <c:v>51.182266232205485</c:v>
                </c:pt>
                <c:pt idx="70493">
                  <c:v>45.943792422653054</c:v>
                </c:pt>
                <c:pt idx="70494">
                  <c:v>43.191505318041351</c:v>
                </c:pt>
                <c:pt idx="70495">
                  <c:v>30.455020016164159</c:v>
                </c:pt>
                <c:pt idx="70496">
                  <c:v>29.527611458566952</c:v>
                </c:pt>
                <c:pt idx="70497">
                  <c:v>41.014569749340431</c:v>
                </c:pt>
                <c:pt idx="70498">
                  <c:v>24.07085528952684</c:v>
                </c:pt>
                <c:pt idx="70499">
                  <c:v>26.024271466584466</c:v>
                </c:pt>
                <c:pt idx="70500">
                  <c:v>50.481634751152754</c:v>
                </c:pt>
                <c:pt idx="70501">
                  <c:v>25.868209472129273</c:v>
                </c:pt>
                <c:pt idx="70502">
                  <c:v>27.850869021408272</c:v>
                </c:pt>
                <c:pt idx="70503">
                  <c:v>30.697683170878474</c:v>
                </c:pt>
                <c:pt idx="70504">
                  <c:v>25.553288293323114</c:v>
                </c:pt>
                <c:pt idx="70505">
                  <c:v>34.482635337732312</c:v>
                </c:pt>
                <c:pt idx="70506">
                  <c:v>25.509805443165135</c:v>
                </c:pt>
                <c:pt idx="70507">
                  <c:v>38.414385864797303</c:v>
                </c:pt>
                <c:pt idx="70508">
                  <c:v>16.78518269340282</c:v>
                </c:pt>
                <c:pt idx="70509">
                  <c:v>38.416543172742799</c:v>
                </c:pt>
                <c:pt idx="70510">
                  <c:v>22.225348296756486</c:v>
                </c:pt>
                <c:pt idx="70511">
                  <c:v>30.022407341784863</c:v>
                </c:pt>
                <c:pt idx="70512">
                  <c:v>25.89401841075847</c:v>
                </c:pt>
                <c:pt idx="70513">
                  <c:v>26.897218957340254</c:v>
                </c:pt>
                <c:pt idx="70514">
                  <c:v>22.040159921326993</c:v>
                </c:pt>
                <c:pt idx="70515">
                  <c:v>24.526185241515595</c:v>
                </c:pt>
                <c:pt idx="70516">
                  <c:v>29.63558903965788</c:v>
                </c:pt>
                <c:pt idx="70517">
                  <c:v>20.734207876119356</c:v>
                </c:pt>
                <c:pt idx="70518">
                  <c:v>20.138044844266123</c:v>
                </c:pt>
                <c:pt idx="70519">
                  <c:v>47.947328179082618</c:v>
                </c:pt>
                <c:pt idx="70520">
                  <c:v>27.153860596441724</c:v>
                </c:pt>
                <c:pt idx="70521">
                  <c:v>20.072936923727227</c:v>
                </c:pt>
                <c:pt idx="70522">
                  <c:v>24.407032817250919</c:v>
                </c:pt>
                <c:pt idx="70523">
                  <c:v>23.178821971735331</c:v>
                </c:pt>
                <c:pt idx="70524">
                  <c:v>24.275361261977103</c:v>
                </c:pt>
                <c:pt idx="70525">
                  <c:v>42.924494571231037</c:v>
                </c:pt>
                <c:pt idx="70526">
                  <c:v>24.933503671242384</c:v>
                </c:pt>
                <c:pt idx="70527">
                  <c:v>29.780929105439391</c:v>
                </c:pt>
                <c:pt idx="70528">
                  <c:v>24.092910687015642</c:v>
                </c:pt>
                <c:pt idx="70529">
                  <c:v>50.716527288026064</c:v>
                </c:pt>
                <c:pt idx="70530">
                  <c:v>41.074034868340377</c:v>
                </c:pt>
                <c:pt idx="70531">
                  <c:v>30.152718400534468</c:v>
                </c:pt>
                <c:pt idx="70532">
                  <c:v>33.747254137931414</c:v>
                </c:pt>
                <c:pt idx="70533">
                  <c:v>24.98623114320068</c:v>
                </c:pt>
                <c:pt idx="70534">
                  <c:v>29.497468364216545</c:v>
                </c:pt>
                <c:pt idx="70535">
                  <c:v>20.722235684299925</c:v>
                </c:pt>
                <c:pt idx="70536">
                  <c:v>32.98957648891222</c:v>
                </c:pt>
                <c:pt idx="70537">
                  <c:v>39.662543724889851</c:v>
                </c:pt>
                <c:pt idx="70538">
                  <c:v>22.896859449134737</c:v>
                </c:pt>
                <c:pt idx="70539">
                  <c:v>25.977671198915225</c:v>
                </c:pt>
                <c:pt idx="70540">
                  <c:v>23.751928785741551</c:v>
                </c:pt>
                <c:pt idx="70541">
                  <c:v>23.808915595213342</c:v>
                </c:pt>
                <c:pt idx="70542">
                  <c:v>36.486937475295953</c:v>
                </c:pt>
                <c:pt idx="70543">
                  <c:v>34.920193837839435</c:v>
                </c:pt>
                <c:pt idx="70544">
                  <c:v>22.779628812939109</c:v>
                </c:pt>
                <c:pt idx="70545">
                  <c:v>20.628448219243566</c:v>
                </c:pt>
                <c:pt idx="70546">
                  <c:v>38.821586240166504</c:v>
                </c:pt>
                <c:pt idx="70547">
                  <c:v>42.206718227725709</c:v>
                </c:pt>
                <c:pt idx="70548">
                  <c:v>22.818377080539818</c:v>
                </c:pt>
                <c:pt idx="70549">
                  <c:v>48.050138052731285</c:v>
                </c:pt>
                <c:pt idx="70550">
                  <c:v>30.14451326167233</c:v>
                </c:pt>
                <c:pt idx="70551">
                  <c:v>29.359546882609699</c:v>
                </c:pt>
                <c:pt idx="70552">
                  <c:v>27.698166245001325</c:v>
                </c:pt>
                <c:pt idx="70553">
                  <c:v>25.642759126785069</c:v>
                </c:pt>
                <c:pt idx="70554">
                  <c:v>16.01657720490617</c:v>
                </c:pt>
                <c:pt idx="70555">
                  <c:v>22.957937933960679</c:v>
                </c:pt>
                <c:pt idx="70556">
                  <c:v>20.873023921323263</c:v>
                </c:pt>
                <c:pt idx="70557">
                  <c:v>34.47427627420138</c:v>
                </c:pt>
                <c:pt idx="70558">
                  <c:v>30.395117263223504</c:v>
                </c:pt>
                <c:pt idx="70559">
                  <c:v>35.673481864260602</c:v>
                </c:pt>
                <c:pt idx="70560">
                  <c:v>26.147106006841589</c:v>
                </c:pt>
                <c:pt idx="70561">
                  <c:v>20.069050204296254</c:v>
                </c:pt>
                <c:pt idx="70562">
                  <c:v>15.059570775434667</c:v>
                </c:pt>
                <c:pt idx="70563">
                  <c:v>29.707969059625043</c:v>
                </c:pt>
                <c:pt idx="70564">
                  <c:v>59.659805549611058</c:v>
                </c:pt>
                <c:pt idx="70565">
                  <c:v>27.494269429216853</c:v>
                </c:pt>
                <c:pt idx="70566">
                  <c:v>47.174908567129265</c:v>
                </c:pt>
                <c:pt idx="70567">
                  <c:v>22.498303095337079</c:v>
                </c:pt>
                <c:pt idx="70568">
                  <c:v>30.804327423428006</c:v>
                </c:pt>
                <c:pt idx="70569">
                  <c:v>29.144880560174787</c:v>
                </c:pt>
                <c:pt idx="70570">
                  <c:v>27.519897607202296</c:v>
                </c:pt>
                <c:pt idx="70571">
                  <c:v>29.686851710698157</c:v>
                </c:pt>
                <c:pt idx="70572">
                  <c:v>29.137396339869806</c:v>
                </c:pt>
                <c:pt idx="70573">
                  <c:v>26.329478928435492</c:v>
                </c:pt>
                <c:pt idx="70574">
                  <c:v>40.788496134868375</c:v>
                </c:pt>
                <c:pt idx="70575">
                  <c:v>48.822069823228993</c:v>
                </c:pt>
                <c:pt idx="70576">
                  <c:v>27.50573345434384</c:v>
                </c:pt>
                <c:pt idx="70577">
                  <c:v>25.995745182138073</c:v>
                </c:pt>
                <c:pt idx="70578">
                  <c:v>19.802583816222196</c:v>
                </c:pt>
                <c:pt idx="70579">
                  <c:v>20.963731850133517</c:v>
                </c:pt>
                <c:pt idx="70580">
                  <c:v>29.70513523802634</c:v>
                </c:pt>
                <c:pt idx="70581">
                  <c:v>24.52431203074239</c:v>
                </c:pt>
                <c:pt idx="70582">
                  <c:v>36.103173731458625</c:v>
                </c:pt>
                <c:pt idx="70583">
                  <c:v>42.162439201838957</c:v>
                </c:pt>
                <c:pt idx="70584">
                  <c:v>38.726338697577106</c:v>
                </c:pt>
                <c:pt idx="70585">
                  <c:v>48.207832223997393</c:v>
                </c:pt>
                <c:pt idx="70586">
                  <c:v>23.520335807597455</c:v>
                </c:pt>
                <c:pt idx="70587">
                  <c:v>21.216880812417156</c:v>
                </c:pt>
                <c:pt idx="70588">
                  <c:v>26.386339943990293</c:v>
                </c:pt>
                <c:pt idx="70589">
                  <c:v>24.749675909560942</c:v>
                </c:pt>
                <c:pt idx="70590">
                  <c:v>45.045925990750419</c:v>
                </c:pt>
                <c:pt idx="70591">
                  <c:v>39.81778274888832</c:v>
                </c:pt>
                <c:pt idx="70592">
                  <c:v>48.284334217836339</c:v>
                </c:pt>
                <c:pt idx="70593">
                  <c:v>26.47595334154958</c:v>
                </c:pt>
                <c:pt idx="70594">
                  <c:v>47.699057687829054</c:v>
                </c:pt>
                <c:pt idx="70595">
                  <c:v>39.224258108963213</c:v>
                </c:pt>
                <c:pt idx="70596">
                  <c:v>40.336950700469032</c:v>
                </c:pt>
                <c:pt idx="70597">
                  <c:v>44.178276321681849</c:v>
                </c:pt>
                <c:pt idx="70598">
                  <c:v>27.652979762079504</c:v>
                </c:pt>
                <c:pt idx="70599">
                  <c:v>27.790536148756182</c:v>
                </c:pt>
                <c:pt idx="70600">
                  <c:v>20.421832311602252</c:v>
                </c:pt>
                <c:pt idx="70601">
                  <c:v>24.272187094326348</c:v>
                </c:pt>
                <c:pt idx="70602">
                  <c:v>13.751159565904441</c:v>
                </c:pt>
                <c:pt idx="70603">
                  <c:v>28.341180765673744</c:v>
                </c:pt>
                <c:pt idx="70604">
                  <c:v>51.791995987249095</c:v>
                </c:pt>
                <c:pt idx="70605">
                  <c:v>22.111128358955582</c:v>
                </c:pt>
                <c:pt idx="70606">
                  <c:v>27.279826704954765</c:v>
                </c:pt>
                <c:pt idx="70607">
                  <c:v>34.176026372038649</c:v>
                </c:pt>
                <c:pt idx="70608">
                  <c:v>23.008778068841337</c:v>
                </c:pt>
                <c:pt idx="70609">
                  <c:v>22.488975111651378</c:v>
                </c:pt>
                <c:pt idx="70610">
                  <c:v>23.584325850881591</c:v>
                </c:pt>
                <c:pt idx="70611">
                  <c:v>53.498818326111625</c:v>
                </c:pt>
                <c:pt idx="70612">
                  <c:v>39.29870292603276</c:v>
                </c:pt>
                <c:pt idx="70613">
                  <c:v>15.808971098651373</c:v>
                </c:pt>
                <c:pt idx="70614">
                  <c:v>45.412568118483222</c:v>
                </c:pt>
                <c:pt idx="70615">
                  <c:v>25.335750204235126</c:v>
                </c:pt>
                <c:pt idx="70616">
                  <c:v>32.582471341177154</c:v>
                </c:pt>
                <c:pt idx="70617">
                  <c:v>21.278090689342047</c:v>
                </c:pt>
                <c:pt idx="70618">
                  <c:v>27.613882681542446</c:v>
                </c:pt>
                <c:pt idx="70619">
                  <c:v>38.079843840793963</c:v>
                </c:pt>
                <c:pt idx="70620">
                  <c:v>53.935457171055468</c:v>
                </c:pt>
                <c:pt idx="70621">
                  <c:v>34.192457152936797</c:v>
                </c:pt>
                <c:pt idx="70622">
                  <c:v>29.680424927049913</c:v>
                </c:pt>
                <c:pt idx="70623">
                  <c:v>22.817585030079307</c:v>
                </c:pt>
                <c:pt idx="70624">
                  <c:v>31.819616050950877</c:v>
                </c:pt>
                <c:pt idx="70625">
                  <c:v>21.29125672640566</c:v>
                </c:pt>
                <c:pt idx="70626">
                  <c:v>27.692169693039514</c:v>
                </c:pt>
                <c:pt idx="70627">
                  <c:v>27.408789605626346</c:v>
                </c:pt>
                <c:pt idx="70628">
                  <c:v>24.402485517772881</c:v>
                </c:pt>
                <c:pt idx="70629">
                  <c:v>26.014752135109241</c:v>
                </c:pt>
                <c:pt idx="70630">
                  <c:v>28.605795032986499</c:v>
                </c:pt>
                <c:pt idx="70631">
                  <c:v>46.49817829823246</c:v>
                </c:pt>
                <c:pt idx="70632">
                  <c:v>22.674615338513032</c:v>
                </c:pt>
                <c:pt idx="70633">
                  <c:v>24.026048173146936</c:v>
                </c:pt>
                <c:pt idx="70634">
                  <c:v>22.495719217773694</c:v>
                </c:pt>
                <c:pt idx="70635">
                  <c:v>30.409990429399357</c:v>
                </c:pt>
                <c:pt idx="70636">
                  <c:v>29.104178373409084</c:v>
                </c:pt>
                <c:pt idx="70637">
                  <c:v>23.369762471638044</c:v>
                </c:pt>
                <c:pt idx="70638">
                  <c:v>36.293011741461854</c:v>
                </c:pt>
                <c:pt idx="70639">
                  <c:v>22.792703589553078</c:v>
                </c:pt>
                <c:pt idx="70640">
                  <c:v>25.85463487243404</c:v>
                </c:pt>
                <c:pt idx="70641">
                  <c:v>35.456624014460935</c:v>
                </c:pt>
                <c:pt idx="70642">
                  <c:v>49.574931991356806</c:v>
                </c:pt>
                <c:pt idx="70643">
                  <c:v>25.918576286298666</c:v>
                </c:pt>
                <c:pt idx="70644">
                  <c:v>28.892393300993067</c:v>
                </c:pt>
                <c:pt idx="70645">
                  <c:v>45.934704331194247</c:v>
                </c:pt>
                <c:pt idx="70646">
                  <c:v>48.108734607670399</c:v>
                </c:pt>
                <c:pt idx="70647">
                  <c:v>24.619041775644344</c:v>
                </c:pt>
                <c:pt idx="70648">
                  <c:v>45.679515048232183</c:v>
                </c:pt>
                <c:pt idx="70649">
                  <c:v>38.541178414332194</c:v>
                </c:pt>
                <c:pt idx="70650">
                  <c:v>27.630040456148492</c:v>
                </c:pt>
                <c:pt idx="70651">
                  <c:v>22.498522921416058</c:v>
                </c:pt>
                <c:pt idx="70652">
                  <c:v>30.242566749626246</c:v>
                </c:pt>
                <c:pt idx="70653">
                  <c:v>51.116791367184639</c:v>
                </c:pt>
                <c:pt idx="70654">
                  <c:v>29.812109819559033</c:v>
                </c:pt>
                <c:pt idx="70655">
                  <c:v>23.400851071163562</c:v>
                </c:pt>
                <c:pt idx="70656">
                  <c:v>36.214914130549637</c:v>
                </c:pt>
                <c:pt idx="70657">
                  <c:v>24.478277094706428</c:v>
                </c:pt>
                <c:pt idx="70658">
                  <c:v>23.538712188948899</c:v>
                </c:pt>
                <c:pt idx="70659">
                  <c:v>18.450166781975419</c:v>
                </c:pt>
                <c:pt idx="70660">
                  <c:v>40.573136567569591</c:v>
                </c:pt>
                <c:pt idx="70661">
                  <c:v>45.827272577556151</c:v>
                </c:pt>
                <c:pt idx="70662">
                  <c:v>42.987869336777344</c:v>
                </c:pt>
                <c:pt idx="70663">
                  <c:v>52.016854603489804</c:v>
                </c:pt>
                <c:pt idx="70664">
                  <c:v>22.366285750740115</c:v>
                </c:pt>
                <c:pt idx="70665">
                  <c:v>29.074263197009778</c:v>
                </c:pt>
                <c:pt idx="70666">
                  <c:v>40.774877130727809</c:v>
                </c:pt>
                <c:pt idx="70667">
                  <c:v>34.158714079521985</c:v>
                </c:pt>
                <c:pt idx="70668">
                  <c:v>24.230056045795962</c:v>
                </c:pt>
                <c:pt idx="70669">
                  <c:v>24.698785734817374</c:v>
                </c:pt>
                <c:pt idx="70670">
                  <c:v>27.592036767965762</c:v>
                </c:pt>
                <c:pt idx="70671">
                  <c:v>55.174530052392925</c:v>
                </c:pt>
                <c:pt idx="70672">
                  <c:v>50.059933861920321</c:v>
                </c:pt>
                <c:pt idx="70673">
                  <c:v>49.466115220151373</c:v>
                </c:pt>
                <c:pt idx="70674">
                  <c:v>26.946123257192681</c:v>
                </c:pt>
                <c:pt idx="70675">
                  <c:v>21.680578577459244</c:v>
                </c:pt>
                <c:pt idx="70676">
                  <c:v>25.884924704612931</c:v>
                </c:pt>
                <c:pt idx="70677">
                  <c:v>28.181914090379209</c:v>
                </c:pt>
                <c:pt idx="70678">
                  <c:v>37.003780596700864</c:v>
                </c:pt>
                <c:pt idx="70679">
                  <c:v>22.713665914505469</c:v>
                </c:pt>
                <c:pt idx="70680">
                  <c:v>25.602849565018683</c:v>
                </c:pt>
                <c:pt idx="70681">
                  <c:v>26.725917484346979</c:v>
                </c:pt>
                <c:pt idx="70682">
                  <c:v>26.625199268451858</c:v>
                </c:pt>
                <c:pt idx="70683">
                  <c:v>24.047815810081389</c:v>
                </c:pt>
                <c:pt idx="70684">
                  <c:v>36.844820765541634</c:v>
                </c:pt>
                <c:pt idx="70685">
                  <c:v>33.884809696484901</c:v>
                </c:pt>
                <c:pt idx="70686">
                  <c:v>25.807762580179041</c:v>
                </c:pt>
                <c:pt idx="70687">
                  <c:v>21.801800252210427</c:v>
                </c:pt>
                <c:pt idx="70688">
                  <c:v>36.389596929666823</c:v>
                </c:pt>
                <c:pt idx="70689">
                  <c:v>19.643937761443695</c:v>
                </c:pt>
                <c:pt idx="70690">
                  <c:v>24.671260949062031</c:v>
                </c:pt>
                <c:pt idx="70691">
                  <c:v>31.069241918800387</c:v>
                </c:pt>
                <c:pt idx="70692">
                  <c:v>34.422800814320631</c:v>
                </c:pt>
                <c:pt idx="70693">
                  <c:v>33.238092298305524</c:v>
                </c:pt>
                <c:pt idx="70694">
                  <c:v>26.696656378520892</c:v>
                </c:pt>
                <c:pt idx="70695">
                  <c:v>27.692714702189221</c:v>
                </c:pt>
                <c:pt idx="70696">
                  <c:v>20.771052000512196</c:v>
                </c:pt>
                <c:pt idx="70697">
                  <c:v>26.338682933142362</c:v>
                </c:pt>
                <c:pt idx="70698">
                  <c:v>25.514675640235311</c:v>
                </c:pt>
                <c:pt idx="70699">
                  <c:v>16.448109104879464</c:v>
                </c:pt>
                <c:pt idx="70700">
                  <c:v>24.676365142502817</c:v>
                </c:pt>
                <c:pt idx="70701">
                  <c:v>25.306995763960309</c:v>
                </c:pt>
                <c:pt idx="70702">
                  <c:v>31.999539965483642</c:v>
                </c:pt>
                <c:pt idx="70703">
                  <c:v>26.917878967799428</c:v>
                </c:pt>
                <c:pt idx="70704">
                  <c:v>30.399189196977897</c:v>
                </c:pt>
                <c:pt idx="70705">
                  <c:v>27.853559982451401</c:v>
                </c:pt>
                <c:pt idx="70706">
                  <c:v>25.719707686248071</c:v>
                </c:pt>
                <c:pt idx="70707">
                  <c:v>41.096370574126318</c:v>
                </c:pt>
                <c:pt idx="70708">
                  <c:v>24.000550889533674</c:v>
                </c:pt>
                <c:pt idx="70709">
                  <c:v>18.08478865119995</c:v>
                </c:pt>
                <c:pt idx="70710">
                  <c:v>41.752512903801517</c:v>
                </c:pt>
                <c:pt idx="70711">
                  <c:v>24.017960391819727</c:v>
                </c:pt>
                <c:pt idx="70712">
                  <c:v>28.575720634121669</c:v>
                </c:pt>
                <c:pt idx="70713">
                  <c:v>22.788890241884573</c:v>
                </c:pt>
                <c:pt idx="70714">
                  <c:v>44.988770555186228</c:v>
                </c:pt>
                <c:pt idx="70715">
                  <c:v>37.877837948993765</c:v>
                </c:pt>
                <c:pt idx="70716">
                  <c:v>43.748168502699556</c:v>
                </c:pt>
                <c:pt idx="70717">
                  <c:v>24.95432700727434</c:v>
                </c:pt>
                <c:pt idx="70718">
                  <c:v>29.296117334394115</c:v>
                </c:pt>
                <c:pt idx="70719">
                  <c:v>46.90249621176455</c:v>
                </c:pt>
                <c:pt idx="70720">
                  <c:v>33.851137549801926</c:v>
                </c:pt>
                <c:pt idx="70721">
                  <c:v>29.939999312578582</c:v>
                </c:pt>
                <c:pt idx="70722">
                  <c:v>26.78770560724935</c:v>
                </c:pt>
                <c:pt idx="70723">
                  <c:v>29.687042974429417</c:v>
                </c:pt>
                <c:pt idx="70724">
                  <c:v>27.276795703167117</c:v>
                </c:pt>
                <c:pt idx="70725">
                  <c:v>44.909278343022741</c:v>
                </c:pt>
                <c:pt idx="70726">
                  <c:v>17.624391611642988</c:v>
                </c:pt>
                <c:pt idx="70727">
                  <c:v>42.480404717061845</c:v>
                </c:pt>
                <c:pt idx="70728">
                  <c:v>19.545379336524817</c:v>
                </c:pt>
                <c:pt idx="70729">
                  <c:v>25.448017109456199</c:v>
                </c:pt>
                <c:pt idx="70730">
                  <c:v>24.220231276681549</c:v>
                </c:pt>
                <c:pt idx="70731">
                  <c:v>21.810810934130039</c:v>
                </c:pt>
                <c:pt idx="70732">
                  <c:v>43.078648432510477</c:v>
                </c:pt>
                <c:pt idx="70733">
                  <c:v>23.063781001351352</c:v>
                </c:pt>
                <c:pt idx="70734">
                  <c:v>28.826837237334317</c:v>
                </c:pt>
                <c:pt idx="70735">
                  <c:v>20.086061612795085</c:v>
                </c:pt>
                <c:pt idx="70736">
                  <c:v>17.9435477691476</c:v>
                </c:pt>
                <c:pt idx="70737">
                  <c:v>32.168764021246837</c:v>
                </c:pt>
                <c:pt idx="70738">
                  <c:v>20.728418291789321</c:v>
                </c:pt>
                <c:pt idx="70739">
                  <c:v>52.058284390952934</c:v>
                </c:pt>
                <c:pt idx="70740">
                  <c:v>26.733295162316811</c:v>
                </c:pt>
                <c:pt idx="70741">
                  <c:v>32.662638576622285</c:v>
                </c:pt>
                <c:pt idx="70742">
                  <c:v>24.031101448862092</c:v>
                </c:pt>
                <c:pt idx="70743">
                  <c:v>25.148243778623723</c:v>
                </c:pt>
                <c:pt idx="70744">
                  <c:v>25.493066323908934</c:v>
                </c:pt>
                <c:pt idx="70745">
                  <c:v>45.865703387302972</c:v>
                </c:pt>
                <c:pt idx="70746">
                  <c:v>57.450700120901956</c:v>
                </c:pt>
                <c:pt idx="70747">
                  <c:v>26.075058809383385</c:v>
                </c:pt>
                <c:pt idx="70748">
                  <c:v>26.483694308840565</c:v>
                </c:pt>
                <c:pt idx="70749">
                  <c:v>30.644684112221228</c:v>
                </c:pt>
                <c:pt idx="70750">
                  <c:v>53.0367908142129</c:v>
                </c:pt>
                <c:pt idx="70751">
                  <c:v>29.991155418760616</c:v>
                </c:pt>
                <c:pt idx="70752">
                  <c:v>31.229843844080939</c:v>
                </c:pt>
                <c:pt idx="70753">
                  <c:v>35.3975654721906</c:v>
                </c:pt>
                <c:pt idx="70754">
                  <c:v>23.696028681987471</c:v>
                </c:pt>
                <c:pt idx="70755">
                  <c:v>24.829849583781673</c:v>
                </c:pt>
                <c:pt idx="70756">
                  <c:v>16.775740181081396</c:v>
                </c:pt>
                <c:pt idx="70757">
                  <c:v>37.237763528835472</c:v>
                </c:pt>
                <c:pt idx="70758">
                  <c:v>28.43443282961373</c:v>
                </c:pt>
                <c:pt idx="70759">
                  <c:v>22.077272733052492</c:v>
                </c:pt>
                <c:pt idx="70760">
                  <c:v>28.772686118296345</c:v>
                </c:pt>
                <c:pt idx="70761">
                  <c:v>23.093371174038563</c:v>
                </c:pt>
                <c:pt idx="70762">
                  <c:v>27.725018761715368</c:v>
                </c:pt>
                <c:pt idx="70763">
                  <c:v>31.171880494257941</c:v>
                </c:pt>
                <c:pt idx="70764">
                  <c:v>21.642900436240144</c:v>
                </c:pt>
                <c:pt idx="70765">
                  <c:v>47.715961766796724</c:v>
                </c:pt>
                <c:pt idx="70766">
                  <c:v>27.325796636798813</c:v>
                </c:pt>
                <c:pt idx="70767">
                  <c:v>31.850820946332306</c:v>
                </c:pt>
                <c:pt idx="70768">
                  <c:v>23.84753510015722</c:v>
                </c:pt>
                <c:pt idx="70769">
                  <c:v>48.878195316204838</c:v>
                </c:pt>
                <c:pt idx="70770">
                  <c:v>30.470896930595785</c:v>
                </c:pt>
                <c:pt idx="70771">
                  <c:v>24.016056357518277</c:v>
                </c:pt>
                <c:pt idx="70772">
                  <c:v>30.84815164468484</c:v>
                </c:pt>
                <c:pt idx="70773">
                  <c:v>29.411228292030223</c:v>
                </c:pt>
                <c:pt idx="70774">
                  <c:v>52.111637078668835</c:v>
                </c:pt>
                <c:pt idx="70775">
                  <c:v>27.082561475571225</c:v>
                </c:pt>
                <c:pt idx="70776">
                  <c:v>25.071336249866462</c:v>
                </c:pt>
                <c:pt idx="70777">
                  <c:v>41.092944669046119</c:v>
                </c:pt>
                <c:pt idx="70778">
                  <c:v>27.567260684260464</c:v>
                </c:pt>
                <c:pt idx="70779">
                  <c:v>28.489118922694018</c:v>
                </c:pt>
                <c:pt idx="70780">
                  <c:v>27.516420956022547</c:v>
                </c:pt>
                <c:pt idx="70781">
                  <c:v>29.1269122658641</c:v>
                </c:pt>
                <c:pt idx="70782">
                  <c:v>21.696780645054247</c:v>
                </c:pt>
                <c:pt idx="70783">
                  <c:v>32.948676315504159</c:v>
                </c:pt>
                <c:pt idx="70784">
                  <c:v>36.629230534236406</c:v>
                </c:pt>
                <c:pt idx="70785">
                  <c:v>25.700130222501517</c:v>
                </c:pt>
                <c:pt idx="70786">
                  <c:v>33.585913337467979</c:v>
                </c:pt>
                <c:pt idx="70787">
                  <c:v>27.550890421299055</c:v>
                </c:pt>
                <c:pt idx="70788">
                  <c:v>31.509219034349783</c:v>
                </c:pt>
                <c:pt idx="70789">
                  <c:v>37.678119887533519</c:v>
                </c:pt>
                <c:pt idx="70790">
                  <c:v>25.272000697921364</c:v>
                </c:pt>
                <c:pt idx="70791">
                  <c:v>32.473863247497384</c:v>
                </c:pt>
                <c:pt idx="70792">
                  <c:v>37.838315607241356</c:v>
                </c:pt>
                <c:pt idx="70793">
                  <c:v>23.427256613676168</c:v>
                </c:pt>
                <c:pt idx="70794">
                  <c:v>27.935790885464012</c:v>
                </c:pt>
                <c:pt idx="70795">
                  <c:v>47.45666543241817</c:v>
                </c:pt>
                <c:pt idx="70796">
                  <c:v>19.857800057970024</c:v>
                </c:pt>
                <c:pt idx="70797">
                  <c:v>25.352153722485248</c:v>
                </c:pt>
                <c:pt idx="70798">
                  <c:v>24.881066466778559</c:v>
                </c:pt>
                <c:pt idx="70799">
                  <c:v>36.25480371061375</c:v>
                </c:pt>
                <c:pt idx="70800">
                  <c:v>25.217037454542972</c:v>
                </c:pt>
                <c:pt idx="70801">
                  <c:v>21.881313060107466</c:v>
                </c:pt>
                <c:pt idx="70802">
                  <c:v>35.773473156962851</c:v>
                </c:pt>
                <c:pt idx="70803">
                  <c:v>20.881373588517576</c:v>
                </c:pt>
                <c:pt idx="70804">
                  <c:v>40.105560616920982</c:v>
                </c:pt>
                <c:pt idx="70805">
                  <c:v>23.95095384015389</c:v>
                </c:pt>
                <c:pt idx="70806">
                  <c:v>59.905459640956288</c:v>
                </c:pt>
                <c:pt idx="70807">
                  <c:v>26.942615614798189</c:v>
                </c:pt>
                <c:pt idx="70808">
                  <c:v>24.89912151767631</c:v>
                </c:pt>
                <c:pt idx="70809">
                  <c:v>21.469044029791526</c:v>
                </c:pt>
                <c:pt idx="70810">
                  <c:v>28.996208234519891</c:v>
                </c:pt>
                <c:pt idx="70811">
                  <c:v>39.513996925776979</c:v>
                </c:pt>
                <c:pt idx="70812">
                  <c:v>26.952355664511689</c:v>
                </c:pt>
                <c:pt idx="70813">
                  <c:v>29.225297128916303</c:v>
                </c:pt>
                <c:pt idx="70814">
                  <c:v>28.641827542655182</c:v>
                </c:pt>
                <c:pt idx="70815">
                  <c:v>33.923856876545365</c:v>
                </c:pt>
                <c:pt idx="70816">
                  <c:v>22.414540759510206</c:v>
                </c:pt>
                <c:pt idx="70817">
                  <c:v>39.246018949787377</c:v>
                </c:pt>
                <c:pt idx="70818">
                  <c:v>39.455708246976286</c:v>
                </c:pt>
                <c:pt idx="70819">
                  <c:v>51.516473228465102</c:v>
                </c:pt>
                <c:pt idx="70820">
                  <c:v>33.402398864663375</c:v>
                </c:pt>
                <c:pt idx="70821">
                  <c:v>27.699738254617696</c:v>
                </c:pt>
                <c:pt idx="70822">
                  <c:v>56.607074161448331</c:v>
                </c:pt>
                <c:pt idx="70823">
                  <c:v>25.431733710808423</c:v>
                </c:pt>
                <c:pt idx="70824">
                  <c:v>30.626044458311217</c:v>
                </c:pt>
                <c:pt idx="70825">
                  <c:v>20.507926868577243</c:v>
                </c:pt>
                <c:pt idx="70826">
                  <c:v>50.151900618715729</c:v>
                </c:pt>
                <c:pt idx="70827">
                  <c:v>23.120393025492593</c:v>
                </c:pt>
                <c:pt idx="70828">
                  <c:v>22.699160045301873</c:v>
                </c:pt>
                <c:pt idx="70829">
                  <c:v>32.330661205053516</c:v>
                </c:pt>
                <c:pt idx="70830">
                  <c:v>31.983959371760285</c:v>
                </c:pt>
                <c:pt idx="70831">
                  <c:v>48.778651987425349</c:v>
                </c:pt>
                <c:pt idx="70832">
                  <c:v>36.921169580259424</c:v>
                </c:pt>
                <c:pt idx="70833">
                  <c:v>27.890338020540689</c:v>
                </c:pt>
                <c:pt idx="70834">
                  <c:v>29.666526000824337</c:v>
                </c:pt>
                <c:pt idx="70835">
                  <c:v>17.408858779907838</c:v>
                </c:pt>
                <c:pt idx="70836">
                  <c:v>22.436729714881576</c:v>
                </c:pt>
                <c:pt idx="70837">
                  <c:v>22.685417500737181</c:v>
                </c:pt>
                <c:pt idx="70838">
                  <c:v>20.762387851421423</c:v>
                </c:pt>
                <c:pt idx="70839">
                  <c:v>38.80516945799765</c:v>
                </c:pt>
                <c:pt idx="70840">
                  <c:v>30.269019973728511</c:v>
                </c:pt>
                <c:pt idx="70841">
                  <c:v>44.246340156269518</c:v>
                </c:pt>
                <c:pt idx="70842">
                  <c:v>32.376576753019592</c:v>
                </c:pt>
                <c:pt idx="70843">
                  <c:v>31.088841753019178</c:v>
                </c:pt>
                <c:pt idx="70844">
                  <c:v>29.258819425348918</c:v>
                </c:pt>
                <c:pt idx="70845">
                  <c:v>36.190505480498864</c:v>
                </c:pt>
                <c:pt idx="70846">
                  <c:v>34.975265768601304</c:v>
                </c:pt>
                <c:pt idx="70847">
                  <c:v>24.484045128111831</c:v>
                </c:pt>
                <c:pt idx="70848">
                  <c:v>21.117408968294182</c:v>
                </c:pt>
                <c:pt idx="70849">
                  <c:v>47.939019337257882</c:v>
                </c:pt>
                <c:pt idx="70850">
                  <c:v>29.34854424019553</c:v>
                </c:pt>
                <c:pt idx="70851">
                  <c:v>32.449837564836265</c:v>
                </c:pt>
                <c:pt idx="70852">
                  <c:v>38.842118544739279</c:v>
                </c:pt>
                <c:pt idx="70853">
                  <c:v>59.110716196443512</c:v>
                </c:pt>
                <c:pt idx="70854">
                  <c:v>36.948027095393854</c:v>
                </c:pt>
                <c:pt idx="70855">
                  <c:v>48.067535116065791</c:v>
                </c:pt>
                <c:pt idx="70856">
                  <c:v>23.593448092426687</c:v>
                </c:pt>
                <c:pt idx="70857">
                  <c:v>50.826890809131541</c:v>
                </c:pt>
                <c:pt idx="70858">
                  <c:v>53.972243431854274</c:v>
                </c:pt>
                <c:pt idx="70859">
                  <c:v>37.118462271845182</c:v>
                </c:pt>
                <c:pt idx="70860">
                  <c:v>35.16944151143985</c:v>
                </c:pt>
                <c:pt idx="70861">
                  <c:v>38.242205748103537</c:v>
                </c:pt>
                <c:pt idx="70862">
                  <c:v>36.527182495069461</c:v>
                </c:pt>
                <c:pt idx="70863">
                  <c:v>22.178596424470228</c:v>
                </c:pt>
                <c:pt idx="70864">
                  <c:v>24.310351704079405</c:v>
                </c:pt>
                <c:pt idx="70865">
                  <c:v>29.667119453824782</c:v>
                </c:pt>
                <c:pt idx="70866">
                  <c:v>31.429221624590017</c:v>
                </c:pt>
                <c:pt idx="70867">
                  <c:v>22.828882535216394</c:v>
                </c:pt>
                <c:pt idx="70868">
                  <c:v>43.896083026715814</c:v>
                </c:pt>
                <c:pt idx="70869">
                  <c:v>32.396700949480177</c:v>
                </c:pt>
                <c:pt idx="70870">
                  <c:v>26.489849531885117</c:v>
                </c:pt>
                <c:pt idx="70871">
                  <c:v>21.263822024110222</c:v>
                </c:pt>
                <c:pt idx="70872">
                  <c:v>23.889073218415209</c:v>
                </c:pt>
                <c:pt idx="70873">
                  <c:v>45.47996145104289</c:v>
                </c:pt>
                <c:pt idx="70874">
                  <c:v>52.032490601169648</c:v>
                </c:pt>
                <c:pt idx="70875">
                  <c:v>30.534361243425323</c:v>
                </c:pt>
                <c:pt idx="70876">
                  <c:v>30.469140083183103</c:v>
                </c:pt>
                <c:pt idx="70877">
                  <c:v>23.774043479412089</c:v>
                </c:pt>
                <c:pt idx="70878">
                  <c:v>29.30562271825238</c:v>
                </c:pt>
                <c:pt idx="70879">
                  <c:v>31.838317433926104</c:v>
                </c:pt>
                <c:pt idx="70880">
                  <c:v>22.041651544156053</c:v>
                </c:pt>
                <c:pt idx="70881">
                  <c:v>19.094102186594398</c:v>
                </c:pt>
                <c:pt idx="70882">
                  <c:v>15.402629303773818</c:v>
                </c:pt>
                <c:pt idx="70883">
                  <c:v>28.436853137748592</c:v>
                </c:pt>
                <c:pt idx="70884">
                  <c:v>31.325927744083611</c:v>
                </c:pt>
                <c:pt idx="70885">
                  <c:v>20.466478001649435</c:v>
                </c:pt>
                <c:pt idx="70886">
                  <c:v>28.732836606144534</c:v>
                </c:pt>
                <c:pt idx="70887">
                  <c:v>22.836986761112598</c:v>
                </c:pt>
                <c:pt idx="70888">
                  <c:v>48.621237218149751</c:v>
                </c:pt>
                <c:pt idx="70889">
                  <c:v>26.447299685238107</c:v>
                </c:pt>
                <c:pt idx="70890">
                  <c:v>41.322806643426361</c:v>
                </c:pt>
                <c:pt idx="70891">
                  <c:v>54.859644054288047</c:v>
                </c:pt>
                <c:pt idx="70892">
                  <c:v>27.086337685385008</c:v>
                </c:pt>
                <c:pt idx="70893">
                  <c:v>38.611162498671071</c:v>
                </c:pt>
                <c:pt idx="70894">
                  <c:v>24.447995151803781</c:v>
                </c:pt>
                <c:pt idx="70895">
                  <c:v>38.254290962176398</c:v>
                </c:pt>
                <c:pt idx="70896">
                  <c:v>25.403807714011222</c:v>
                </c:pt>
                <c:pt idx="70897">
                  <c:v>21.658074945577706</c:v>
                </c:pt>
                <c:pt idx="70898">
                  <c:v>41.214145138355768</c:v>
                </c:pt>
                <c:pt idx="70899">
                  <c:v>20.127587758984532</c:v>
                </c:pt>
                <c:pt idx="70900">
                  <c:v>29.496402137154309</c:v>
                </c:pt>
                <c:pt idx="70901">
                  <c:v>28.357966647668334</c:v>
                </c:pt>
                <c:pt idx="70902">
                  <c:v>26.506060447861458</c:v>
                </c:pt>
                <c:pt idx="70903">
                  <c:v>21.276844374872528</c:v>
                </c:pt>
                <c:pt idx="70904">
                  <c:v>52.7964113479254</c:v>
                </c:pt>
                <c:pt idx="70905">
                  <c:v>23.210018550895601</c:v>
                </c:pt>
                <c:pt idx="70906">
                  <c:v>42.837313855073475</c:v>
                </c:pt>
                <c:pt idx="70907">
                  <c:v>35.328097077188197</c:v>
                </c:pt>
                <c:pt idx="70908">
                  <c:v>45.351600074623029</c:v>
                </c:pt>
                <c:pt idx="70909">
                  <c:v>26.264266509347191</c:v>
                </c:pt>
                <c:pt idx="70910">
                  <c:v>48.277889465412628</c:v>
                </c:pt>
                <c:pt idx="70911">
                  <c:v>35.546606823987901</c:v>
                </c:pt>
                <c:pt idx="70912">
                  <c:v>34.607347610081156</c:v>
                </c:pt>
                <c:pt idx="70913">
                  <c:v>21.918762937335899</c:v>
                </c:pt>
                <c:pt idx="70914">
                  <c:v>40.274897745654933</c:v>
                </c:pt>
                <c:pt idx="70915">
                  <c:v>53.160568140590946</c:v>
                </c:pt>
                <c:pt idx="70916">
                  <c:v>28.407710385942899</c:v>
                </c:pt>
                <c:pt idx="70917">
                  <c:v>43.226099679009984</c:v>
                </c:pt>
                <c:pt idx="70918">
                  <c:v>54.690226261808959</c:v>
                </c:pt>
                <c:pt idx="70919">
                  <c:v>28.33346904061489</c:v>
                </c:pt>
                <c:pt idx="70920">
                  <c:v>20.563902669407415</c:v>
                </c:pt>
                <c:pt idx="70921">
                  <c:v>57.490430006771582</c:v>
                </c:pt>
                <c:pt idx="70922">
                  <c:v>30.531526289527832</c:v>
                </c:pt>
                <c:pt idx="70923">
                  <c:v>30.922866913003645</c:v>
                </c:pt>
                <c:pt idx="70924">
                  <c:v>35.114217090266102</c:v>
                </c:pt>
                <c:pt idx="70925">
                  <c:v>23.752659749592652</c:v>
                </c:pt>
                <c:pt idx="70926">
                  <c:v>25.449644284216941</c:v>
                </c:pt>
                <c:pt idx="70927">
                  <c:v>26.388776640509509</c:v>
                </c:pt>
                <c:pt idx="70928">
                  <c:v>25.907497976856739</c:v>
                </c:pt>
                <c:pt idx="70929">
                  <c:v>23.142514782504509</c:v>
                </c:pt>
                <c:pt idx="70930">
                  <c:v>22.7129101423753</c:v>
                </c:pt>
                <c:pt idx="70931">
                  <c:v>31.944622993643961</c:v>
                </c:pt>
                <c:pt idx="70932">
                  <c:v>24.618606183592341</c:v>
                </c:pt>
                <c:pt idx="70933">
                  <c:v>30.256456041292978</c:v>
                </c:pt>
                <c:pt idx="70934">
                  <c:v>24.701311821773224</c:v>
                </c:pt>
                <c:pt idx="70935">
                  <c:v>20.052097093174766</c:v>
                </c:pt>
                <c:pt idx="70936">
                  <c:v>18.399498727380461</c:v>
                </c:pt>
                <c:pt idx="70937">
                  <c:v>47.842034079586405</c:v>
                </c:pt>
                <c:pt idx="70938">
                  <c:v>36.092067312699477</c:v>
                </c:pt>
                <c:pt idx="70939">
                  <c:v>39.502587511467034</c:v>
                </c:pt>
                <c:pt idx="70940">
                  <c:v>24.749302433271676</c:v>
                </c:pt>
                <c:pt idx="70941">
                  <c:v>35.54932431281771</c:v>
                </c:pt>
                <c:pt idx="70942">
                  <c:v>33.983399955348972</c:v>
                </c:pt>
                <c:pt idx="70943">
                  <c:v>38.198395325395381</c:v>
                </c:pt>
                <c:pt idx="70944">
                  <c:v>18.804306344670536</c:v>
                </c:pt>
                <c:pt idx="70945">
                  <c:v>27.713321686137871</c:v>
                </c:pt>
                <c:pt idx="70946">
                  <c:v>20.718140734243395</c:v>
                </c:pt>
                <c:pt idx="70947">
                  <c:v>28.934516921332833</c:v>
                </c:pt>
                <c:pt idx="70948">
                  <c:v>35.644134572752421</c:v>
                </c:pt>
                <c:pt idx="70949">
                  <c:v>36.737642630693344</c:v>
                </c:pt>
                <c:pt idx="70950">
                  <c:v>45.510449169273116</c:v>
                </c:pt>
                <c:pt idx="70951">
                  <c:v>48.032481015012969</c:v>
                </c:pt>
                <c:pt idx="70952">
                  <c:v>29.934071797180479</c:v>
                </c:pt>
                <c:pt idx="70953">
                  <c:v>21.25091745813879</c:v>
                </c:pt>
                <c:pt idx="70954">
                  <c:v>23.685270506509699</c:v>
                </c:pt>
                <c:pt idx="70955">
                  <c:v>25.821394355314926</c:v>
                </c:pt>
                <c:pt idx="70956">
                  <c:v>25.290437951456763</c:v>
                </c:pt>
                <c:pt idx="70957">
                  <c:v>46.384998320224206</c:v>
                </c:pt>
                <c:pt idx="70958">
                  <c:v>24.857981425495936</c:v>
                </c:pt>
                <c:pt idx="70959">
                  <c:v>28.931973757086084</c:v>
                </c:pt>
                <c:pt idx="70960">
                  <c:v>23.729940671287689</c:v>
                </c:pt>
                <c:pt idx="70961">
                  <c:v>51.937545075030428</c:v>
                </c:pt>
                <c:pt idx="70962">
                  <c:v>49.060474309287883</c:v>
                </c:pt>
                <c:pt idx="70963">
                  <c:v>24.071940135156542</c:v>
                </c:pt>
                <c:pt idx="70964">
                  <c:v>25.762332512586667</c:v>
                </c:pt>
                <c:pt idx="70965">
                  <c:v>22.112086223952758</c:v>
                </c:pt>
                <c:pt idx="70966">
                  <c:v>28.71892548589701</c:v>
                </c:pt>
                <c:pt idx="70967">
                  <c:v>50.729566185287858</c:v>
                </c:pt>
                <c:pt idx="70968">
                  <c:v>39.265698591747245</c:v>
                </c:pt>
                <c:pt idx="70969">
                  <c:v>19.538087048289942</c:v>
                </c:pt>
                <c:pt idx="70970">
                  <c:v>40.945419652802812</c:v>
                </c:pt>
                <c:pt idx="70971">
                  <c:v>24.375234953351107</c:v>
                </c:pt>
                <c:pt idx="70972">
                  <c:v>47.691985266374502</c:v>
                </c:pt>
                <c:pt idx="70973">
                  <c:v>17.606404603068704</c:v>
                </c:pt>
                <c:pt idx="70974">
                  <c:v>16.720291289845136</c:v>
                </c:pt>
                <c:pt idx="70975">
                  <c:v>24.778861767335737</c:v>
                </c:pt>
                <c:pt idx="70976">
                  <c:v>44.695564742247996</c:v>
                </c:pt>
                <c:pt idx="70977">
                  <c:v>34.648018620581041</c:v>
                </c:pt>
                <c:pt idx="70978">
                  <c:v>17.279830865619044</c:v>
                </c:pt>
                <c:pt idx="70979">
                  <c:v>24.647157387246054</c:v>
                </c:pt>
                <c:pt idx="70980">
                  <c:v>30.137430888124218</c:v>
                </c:pt>
                <c:pt idx="70981">
                  <c:v>45.629453849286776</c:v>
                </c:pt>
                <c:pt idx="70982">
                  <c:v>28.132406399745108</c:v>
                </c:pt>
                <c:pt idx="70983">
                  <c:v>24.356943192588403</c:v>
                </c:pt>
                <c:pt idx="70984">
                  <c:v>27.617347478999807</c:v>
                </c:pt>
                <c:pt idx="70985">
                  <c:v>23.411064871495665</c:v>
                </c:pt>
                <c:pt idx="70986">
                  <c:v>28.617010647358313</c:v>
                </c:pt>
                <c:pt idx="70987">
                  <c:v>26.414506649885094</c:v>
                </c:pt>
                <c:pt idx="70988">
                  <c:v>24.976870072425299</c:v>
                </c:pt>
                <c:pt idx="70989">
                  <c:v>25.518202947885054</c:v>
                </c:pt>
                <c:pt idx="70990">
                  <c:v>29.405817565636806</c:v>
                </c:pt>
                <c:pt idx="70991">
                  <c:v>21.66505664944625</c:v>
                </c:pt>
                <c:pt idx="70992">
                  <c:v>31.75325591817872</c:v>
                </c:pt>
                <c:pt idx="70993">
                  <c:v>31.347051046536897</c:v>
                </c:pt>
                <c:pt idx="70994">
                  <c:v>24.983551046672986</c:v>
                </c:pt>
                <c:pt idx="70995">
                  <c:v>34.89273962358503</c:v>
                </c:pt>
                <c:pt idx="70996">
                  <c:v>35.636053779398985</c:v>
                </c:pt>
                <c:pt idx="70997">
                  <c:v>19.315128493876006</c:v>
                </c:pt>
                <c:pt idx="70998">
                  <c:v>18.866048893158652</c:v>
                </c:pt>
                <c:pt idx="70999">
                  <c:v>29.757109814906119</c:v>
                </c:pt>
                <c:pt idx="71000">
                  <c:v>27.360426038386649</c:v>
                </c:pt>
                <c:pt idx="71001">
                  <c:v>17.654202790434468</c:v>
                </c:pt>
                <c:pt idx="71002">
                  <c:v>40.92168591791787</c:v>
                </c:pt>
                <c:pt idx="71003">
                  <c:v>31.087263028881921</c:v>
                </c:pt>
                <c:pt idx="71004">
                  <c:v>45.78516554734604</c:v>
                </c:pt>
                <c:pt idx="71005">
                  <c:v>47.592893966058043</c:v>
                </c:pt>
                <c:pt idx="71006">
                  <c:v>45.34469624180219</c:v>
                </c:pt>
                <c:pt idx="71007">
                  <c:v>30.706043277648359</c:v>
                </c:pt>
                <c:pt idx="71008">
                  <c:v>50.471844442161796</c:v>
                </c:pt>
                <c:pt idx="71009">
                  <c:v>35.139723781751293</c:v>
                </c:pt>
                <c:pt idx="71010">
                  <c:v>49.612691424576987</c:v>
                </c:pt>
                <c:pt idx="71011">
                  <c:v>29.531852924867096</c:v>
                </c:pt>
                <c:pt idx="71012">
                  <c:v>31.79435858809186</c:v>
                </c:pt>
                <c:pt idx="71013">
                  <c:v>30.469606212655005</c:v>
                </c:pt>
                <c:pt idx="71014">
                  <c:v>23.754020476161799</c:v>
                </c:pt>
                <c:pt idx="71015">
                  <c:v>23.666261114015082</c:v>
                </c:pt>
                <c:pt idx="71016">
                  <c:v>26.796393681703577</c:v>
                </c:pt>
                <c:pt idx="71017">
                  <c:v>19.632073948343841</c:v>
                </c:pt>
                <c:pt idx="71018">
                  <c:v>34.896695859774596</c:v>
                </c:pt>
                <c:pt idx="71019">
                  <c:v>31.962625618651487</c:v>
                </c:pt>
                <c:pt idx="71020">
                  <c:v>26.287468591439882</c:v>
                </c:pt>
                <c:pt idx="71021">
                  <c:v>27.248050954670504</c:v>
                </c:pt>
                <c:pt idx="71022">
                  <c:v>45.804725729598225</c:v>
                </c:pt>
                <c:pt idx="71023">
                  <c:v>27.69407836506187</c:v>
                </c:pt>
                <c:pt idx="71024">
                  <c:v>19.240782460746502</c:v>
                </c:pt>
                <c:pt idx="71025">
                  <c:v>25.175543521130972</c:v>
                </c:pt>
                <c:pt idx="71026">
                  <c:v>49.230426614008266</c:v>
                </c:pt>
                <c:pt idx="71027">
                  <c:v>50.429335906378704</c:v>
                </c:pt>
                <c:pt idx="71028">
                  <c:v>25.681627342955938</c:v>
                </c:pt>
                <c:pt idx="71029">
                  <c:v>26.947027073911205</c:v>
                </c:pt>
                <c:pt idx="71030">
                  <c:v>18.426350853980427</c:v>
                </c:pt>
                <c:pt idx="71031">
                  <c:v>42.00373650996373</c:v>
                </c:pt>
                <c:pt idx="71032">
                  <c:v>44.220196704393814</c:v>
                </c:pt>
                <c:pt idx="71033">
                  <c:v>28.947247689460436</c:v>
                </c:pt>
                <c:pt idx="71034">
                  <c:v>20.463046291703606</c:v>
                </c:pt>
                <c:pt idx="71035">
                  <c:v>26.997459197439341</c:v>
                </c:pt>
                <c:pt idx="71036">
                  <c:v>25.905595810089839</c:v>
                </c:pt>
                <c:pt idx="71037">
                  <c:v>31.202283059818033</c:v>
                </c:pt>
                <c:pt idx="71038">
                  <c:v>21.466639517651384</c:v>
                </c:pt>
                <c:pt idx="71039">
                  <c:v>29.64125410954918</c:v>
                </c:pt>
                <c:pt idx="71040">
                  <c:v>17.981727084504989</c:v>
                </c:pt>
                <c:pt idx="71041">
                  <c:v>26.756636290462637</c:v>
                </c:pt>
                <c:pt idx="71042">
                  <c:v>32.369813909386281</c:v>
                </c:pt>
                <c:pt idx="71043">
                  <c:v>26.250957379631597</c:v>
                </c:pt>
                <c:pt idx="71044">
                  <c:v>36.910387135211195</c:v>
                </c:pt>
                <c:pt idx="71045">
                  <c:v>58.381115539049503</c:v>
                </c:pt>
                <c:pt idx="71046">
                  <c:v>37.37710208769321</c:v>
                </c:pt>
                <c:pt idx="71047">
                  <c:v>47.823915276118512</c:v>
                </c:pt>
                <c:pt idx="71048">
                  <c:v>42.34415144503069</c:v>
                </c:pt>
                <c:pt idx="71049">
                  <c:v>45.429427647888311</c:v>
                </c:pt>
                <c:pt idx="71050">
                  <c:v>24.414054751196687</c:v>
                </c:pt>
                <c:pt idx="71051">
                  <c:v>21.924269975489214</c:v>
                </c:pt>
                <c:pt idx="71052">
                  <c:v>27.582742629531861</c:v>
                </c:pt>
                <c:pt idx="71053">
                  <c:v>32.236242903541509</c:v>
                </c:pt>
                <c:pt idx="71054">
                  <c:v>21.520018863248318</c:v>
                </c:pt>
                <c:pt idx="71055">
                  <c:v>24.359962207514105</c:v>
                </c:pt>
                <c:pt idx="71056">
                  <c:v>25.118695845539534</c:v>
                </c:pt>
                <c:pt idx="71057">
                  <c:v>30.738634888191111</c:v>
                </c:pt>
                <c:pt idx="71058">
                  <c:v>44.452801273741322</c:v>
                </c:pt>
                <c:pt idx="71059">
                  <c:v>35.302630340800192</c:v>
                </c:pt>
                <c:pt idx="71060">
                  <c:v>31.673325762159152</c:v>
                </c:pt>
                <c:pt idx="71061">
                  <c:v>34.264641592652723</c:v>
                </c:pt>
                <c:pt idx="71062">
                  <c:v>31.178209802645988</c:v>
                </c:pt>
                <c:pt idx="71063">
                  <c:v>26.063852433765721</c:v>
                </c:pt>
                <c:pt idx="71064">
                  <c:v>25.144215336957746</c:v>
                </c:pt>
                <c:pt idx="71065">
                  <c:v>34.380120245005109</c:v>
                </c:pt>
                <c:pt idx="71066">
                  <c:v>25.012187034017664</c:v>
                </c:pt>
                <c:pt idx="71067">
                  <c:v>28.246718974656996</c:v>
                </c:pt>
                <c:pt idx="71068">
                  <c:v>25.684506980315462</c:v>
                </c:pt>
                <c:pt idx="71069">
                  <c:v>31.022294901226697</c:v>
                </c:pt>
                <c:pt idx="71070">
                  <c:v>28.59867329528069</c:v>
                </c:pt>
                <c:pt idx="71071">
                  <c:v>23.831350226893825</c:v>
                </c:pt>
                <c:pt idx="71072">
                  <c:v>28.714609418101944</c:v>
                </c:pt>
                <c:pt idx="71073">
                  <c:v>26.156427737228995</c:v>
                </c:pt>
                <c:pt idx="71074">
                  <c:v>29.024177673648246</c:v>
                </c:pt>
                <c:pt idx="71075">
                  <c:v>24.537103715221782</c:v>
                </c:pt>
                <c:pt idx="71076">
                  <c:v>23.951549604224951</c:v>
                </c:pt>
                <c:pt idx="71077">
                  <c:v>25.087883084610461</c:v>
                </c:pt>
                <c:pt idx="71078">
                  <c:v>25.941729124036321</c:v>
                </c:pt>
                <c:pt idx="71079">
                  <c:v>19.63845689550983</c:v>
                </c:pt>
                <c:pt idx="71080">
                  <c:v>20.479439290894351</c:v>
                </c:pt>
                <c:pt idx="71081">
                  <c:v>26.376525134737435</c:v>
                </c:pt>
                <c:pt idx="71082">
                  <c:v>26.768793055537664</c:v>
                </c:pt>
                <c:pt idx="71083">
                  <c:v>23.106161923182828</c:v>
                </c:pt>
                <c:pt idx="71084">
                  <c:v>28.217383238787871</c:v>
                </c:pt>
                <c:pt idx="71085">
                  <c:v>30.9395783272399</c:v>
                </c:pt>
                <c:pt idx="71086">
                  <c:v>23.924452940524127</c:v>
                </c:pt>
                <c:pt idx="71087">
                  <c:v>35.034476251372411</c:v>
                </c:pt>
                <c:pt idx="71088">
                  <c:v>32.340141465081395</c:v>
                </c:pt>
                <c:pt idx="71089">
                  <c:v>18.26436823356714</c:v>
                </c:pt>
                <c:pt idx="71090">
                  <c:v>17.312971734356005</c:v>
                </c:pt>
                <c:pt idx="71091">
                  <c:v>29.702129846434538</c:v>
                </c:pt>
                <c:pt idx="71092">
                  <c:v>25.567675241894925</c:v>
                </c:pt>
                <c:pt idx="71093">
                  <c:v>37.179478694335195</c:v>
                </c:pt>
                <c:pt idx="71094">
                  <c:v>41.104368660329911</c:v>
                </c:pt>
                <c:pt idx="71095">
                  <c:v>26.973010384122205</c:v>
                </c:pt>
                <c:pt idx="71096">
                  <c:v>30.779192062023611</c:v>
                </c:pt>
                <c:pt idx="71097">
                  <c:v>37.834608524955129</c:v>
                </c:pt>
                <c:pt idx="71098">
                  <c:v>29.383773885669083</c:v>
                </c:pt>
                <c:pt idx="71099">
                  <c:v>33.990437467937035</c:v>
                </c:pt>
                <c:pt idx="71100">
                  <c:v>24.388043404299356</c:v>
                </c:pt>
                <c:pt idx="71101">
                  <c:v>30.171225595040955</c:v>
                </c:pt>
                <c:pt idx="71102">
                  <c:v>25.97851009054213</c:v>
                </c:pt>
                <c:pt idx="71103">
                  <c:v>29.167121559967647</c:v>
                </c:pt>
                <c:pt idx="71104">
                  <c:v>26.267249751280961</c:v>
                </c:pt>
                <c:pt idx="71105">
                  <c:v>21.287823885567857</c:v>
                </c:pt>
                <c:pt idx="71106">
                  <c:v>29.823286219298303</c:v>
                </c:pt>
                <c:pt idx="71107">
                  <c:v>39.103265058231187</c:v>
                </c:pt>
                <c:pt idx="71108">
                  <c:v>28.165427135276936</c:v>
                </c:pt>
                <c:pt idx="71109">
                  <c:v>25.694883925342882</c:v>
                </c:pt>
                <c:pt idx="71110">
                  <c:v>22.291866509866004</c:v>
                </c:pt>
                <c:pt idx="71111">
                  <c:v>29.337802066787198</c:v>
                </c:pt>
                <c:pt idx="71112">
                  <c:v>45.595212159241967</c:v>
                </c:pt>
                <c:pt idx="71113">
                  <c:v>39.172951887209599</c:v>
                </c:pt>
                <c:pt idx="71114">
                  <c:v>23.675765113525294</c:v>
                </c:pt>
                <c:pt idx="71115">
                  <c:v>30.961452495980616</c:v>
                </c:pt>
                <c:pt idx="71116">
                  <c:v>55.631282153670149</c:v>
                </c:pt>
                <c:pt idx="71117">
                  <c:v>41.434672463239252</c:v>
                </c:pt>
                <c:pt idx="71118">
                  <c:v>26.558298586332711</c:v>
                </c:pt>
                <c:pt idx="71119">
                  <c:v>47.1906401845199</c:v>
                </c:pt>
                <c:pt idx="71120">
                  <c:v>22.074092672557136</c:v>
                </c:pt>
                <c:pt idx="71121">
                  <c:v>55.971198444040972</c:v>
                </c:pt>
                <c:pt idx="71122">
                  <c:v>37.664979284380316</c:v>
                </c:pt>
                <c:pt idx="71123">
                  <c:v>38.922426544165781</c:v>
                </c:pt>
                <c:pt idx="71124">
                  <c:v>32.82784246143035</c:v>
                </c:pt>
                <c:pt idx="71125">
                  <c:v>27.431492103507605</c:v>
                </c:pt>
                <c:pt idx="71126">
                  <c:v>36.883112460395473</c:v>
                </c:pt>
                <c:pt idx="71127">
                  <c:v>38.052909766419361</c:v>
                </c:pt>
                <c:pt idx="71128">
                  <c:v>19.297751024553662</c:v>
                </c:pt>
                <c:pt idx="71129">
                  <c:v>17.786421122262453</c:v>
                </c:pt>
                <c:pt idx="71130">
                  <c:v>37.821804496777659</c:v>
                </c:pt>
                <c:pt idx="71131">
                  <c:v>36.584562982932468</c:v>
                </c:pt>
                <c:pt idx="71132">
                  <c:v>35.638068602774979</c:v>
                </c:pt>
                <c:pt idx="71133">
                  <c:v>51.860156798954421</c:v>
                </c:pt>
                <c:pt idx="71134">
                  <c:v>36.256068960228312</c:v>
                </c:pt>
                <c:pt idx="71135">
                  <c:v>24.42925045293315</c:v>
                </c:pt>
                <c:pt idx="71136">
                  <c:v>23.1355014826812</c:v>
                </c:pt>
                <c:pt idx="71137">
                  <c:v>21.738469748504276</c:v>
                </c:pt>
                <c:pt idx="71138">
                  <c:v>28.894477145427125</c:v>
                </c:pt>
                <c:pt idx="71139">
                  <c:v>22.959494754521049</c:v>
                </c:pt>
                <c:pt idx="71140">
                  <c:v>26.976519860855916</c:v>
                </c:pt>
                <c:pt idx="71141">
                  <c:v>30.179628808315012</c:v>
                </c:pt>
                <c:pt idx="71142">
                  <c:v>28.272825525290944</c:v>
                </c:pt>
                <c:pt idx="71143">
                  <c:v>23.844542807094726</c:v>
                </c:pt>
                <c:pt idx="71144">
                  <c:v>50.044502520335904</c:v>
                </c:pt>
                <c:pt idx="71145">
                  <c:v>24.00990557889838</c:v>
                </c:pt>
                <c:pt idx="71146">
                  <c:v>30.978058968914581</c:v>
                </c:pt>
                <c:pt idx="71147">
                  <c:v>21.982096255661855</c:v>
                </c:pt>
                <c:pt idx="71148">
                  <c:v>28.71919147151899</c:v>
                </c:pt>
                <c:pt idx="71149">
                  <c:v>29.301559302160271</c:v>
                </c:pt>
                <c:pt idx="71150">
                  <c:v>21.872314138249717</c:v>
                </c:pt>
                <c:pt idx="71151">
                  <c:v>25.178946696954696</c:v>
                </c:pt>
                <c:pt idx="71152">
                  <c:v>30.433085506788974</c:v>
                </c:pt>
                <c:pt idx="71153">
                  <c:v>52.021165947695906</c:v>
                </c:pt>
                <c:pt idx="71154">
                  <c:v>44.294570708601228</c:v>
                </c:pt>
                <c:pt idx="71155">
                  <c:v>23.161659006303477</c:v>
                </c:pt>
                <c:pt idx="71156">
                  <c:v>23.54742998755567</c:v>
                </c:pt>
                <c:pt idx="71157">
                  <c:v>26.84781726588259</c:v>
                </c:pt>
                <c:pt idx="71158">
                  <c:v>25.484430186678644</c:v>
                </c:pt>
                <c:pt idx="71159">
                  <c:v>23.103434234935719</c:v>
                </c:pt>
                <c:pt idx="71160">
                  <c:v>41.758711513097488</c:v>
                </c:pt>
                <c:pt idx="71161">
                  <c:v>28.590900778683668</c:v>
                </c:pt>
                <c:pt idx="71162">
                  <c:v>29.466394602623438</c:v>
                </c:pt>
                <c:pt idx="71163">
                  <c:v>48.713936171392469</c:v>
                </c:pt>
                <c:pt idx="71164">
                  <c:v>24.942534434459152</c:v>
                </c:pt>
                <c:pt idx="71165">
                  <c:v>18.913070639404822</c:v>
                </c:pt>
                <c:pt idx="71166">
                  <c:v>43.172626375434753</c:v>
                </c:pt>
                <c:pt idx="71167">
                  <c:v>54.320917597409895</c:v>
                </c:pt>
                <c:pt idx="71168">
                  <c:v>29.078019452752837</c:v>
                </c:pt>
                <c:pt idx="71169">
                  <c:v>33.892402513947431</c:v>
                </c:pt>
                <c:pt idx="71170">
                  <c:v>25.810869526925178</c:v>
                </c:pt>
                <c:pt idx="71171">
                  <c:v>45.709518038461411</c:v>
                </c:pt>
                <c:pt idx="71172">
                  <c:v>25.807614151027614</c:v>
                </c:pt>
                <c:pt idx="71173">
                  <c:v>22.886290086542786</c:v>
                </c:pt>
                <c:pt idx="71174">
                  <c:v>30.097249100915857</c:v>
                </c:pt>
                <c:pt idx="71175">
                  <c:v>34.836959334324689</c:v>
                </c:pt>
                <c:pt idx="71176">
                  <c:v>25.480546333378598</c:v>
                </c:pt>
                <c:pt idx="71177">
                  <c:v>33.927527583762824</c:v>
                </c:pt>
                <c:pt idx="71178">
                  <c:v>43.088985170451245</c:v>
                </c:pt>
                <c:pt idx="71179">
                  <c:v>41.008200611066712</c:v>
                </c:pt>
                <c:pt idx="71180">
                  <c:v>30.545974989079429</c:v>
                </c:pt>
                <c:pt idx="71181">
                  <c:v>34.278651019827485</c:v>
                </c:pt>
                <c:pt idx="71182">
                  <c:v>50.93356856016733</c:v>
                </c:pt>
                <c:pt idx="71183">
                  <c:v>25.728229563053066</c:v>
                </c:pt>
                <c:pt idx="71184">
                  <c:v>36.684003852814513</c:v>
                </c:pt>
                <c:pt idx="71185">
                  <c:v>28.578390117699243</c:v>
                </c:pt>
                <c:pt idx="71186">
                  <c:v>24.411796882835819</c:v>
                </c:pt>
                <c:pt idx="71187">
                  <c:v>31.230248781625985</c:v>
                </c:pt>
                <c:pt idx="71188">
                  <c:v>30.512787747187609</c:v>
                </c:pt>
                <c:pt idx="71189">
                  <c:v>26.75747794818863</c:v>
                </c:pt>
                <c:pt idx="71190">
                  <c:v>25.745299100764257</c:v>
                </c:pt>
                <c:pt idx="71191">
                  <c:v>24.534304568100957</c:v>
                </c:pt>
                <c:pt idx="71192">
                  <c:v>34.093748817128379</c:v>
                </c:pt>
                <c:pt idx="71193">
                  <c:v>52.059784532824366</c:v>
                </c:pt>
                <c:pt idx="71194">
                  <c:v>34.237504698279494</c:v>
                </c:pt>
                <c:pt idx="71195">
                  <c:v>27.832371644190545</c:v>
                </c:pt>
                <c:pt idx="71196">
                  <c:v>31.349603267328359</c:v>
                </c:pt>
                <c:pt idx="71197">
                  <c:v>21.639032895560376</c:v>
                </c:pt>
                <c:pt idx="71198">
                  <c:v>22.058024141421964</c:v>
                </c:pt>
                <c:pt idx="71199">
                  <c:v>31.184087613738949</c:v>
                </c:pt>
                <c:pt idx="71200">
                  <c:v>29.785733885207893</c:v>
                </c:pt>
                <c:pt idx="71201">
                  <c:v>46.223244071633573</c:v>
                </c:pt>
                <c:pt idx="71202">
                  <c:v>28.961816517882976</c:v>
                </c:pt>
                <c:pt idx="71203">
                  <c:v>20.207856177759858</c:v>
                </c:pt>
                <c:pt idx="71204">
                  <c:v>24.494537567462352</c:v>
                </c:pt>
                <c:pt idx="71205">
                  <c:v>50.002068666720284</c:v>
                </c:pt>
                <c:pt idx="71206">
                  <c:v>41.829798956866853</c:v>
                </c:pt>
                <c:pt idx="71207">
                  <c:v>27.069849901601316</c:v>
                </c:pt>
                <c:pt idx="71208">
                  <c:v>41.613212023698736</c:v>
                </c:pt>
                <c:pt idx="71209">
                  <c:v>27.245791249775461</c:v>
                </c:pt>
                <c:pt idx="71210">
                  <c:v>27.789500360067542</c:v>
                </c:pt>
                <c:pt idx="71211">
                  <c:v>23.113871559558422</c:v>
                </c:pt>
                <c:pt idx="71212">
                  <c:v>24.687910615230827</c:v>
                </c:pt>
                <c:pt idx="71213">
                  <c:v>26.796335333070353</c:v>
                </c:pt>
                <c:pt idx="71214">
                  <c:v>34.313250120920635</c:v>
                </c:pt>
                <c:pt idx="71215">
                  <c:v>25.929690508286132</c:v>
                </c:pt>
                <c:pt idx="71216">
                  <c:v>40.583215144027314</c:v>
                </c:pt>
                <c:pt idx="71217">
                  <c:v>34.136022091619971</c:v>
                </c:pt>
                <c:pt idx="71218">
                  <c:v>29.406520664983059</c:v>
                </c:pt>
                <c:pt idx="71219">
                  <c:v>23.484396794070509</c:v>
                </c:pt>
                <c:pt idx="71220">
                  <c:v>27.708267271314845</c:v>
                </c:pt>
                <c:pt idx="71221">
                  <c:v>23.20339418455346</c:v>
                </c:pt>
                <c:pt idx="71222">
                  <c:v>23.251640566453244</c:v>
                </c:pt>
                <c:pt idx="71223">
                  <c:v>18.594817087816679</c:v>
                </c:pt>
                <c:pt idx="71224">
                  <c:v>40.388006064616405</c:v>
                </c:pt>
                <c:pt idx="71225">
                  <c:v>52.585179964241135</c:v>
                </c:pt>
                <c:pt idx="71226">
                  <c:v>50.745004998237704</c:v>
                </c:pt>
                <c:pt idx="71227">
                  <c:v>52.856863274541062</c:v>
                </c:pt>
                <c:pt idx="71228">
                  <c:v>25.888847317937184</c:v>
                </c:pt>
                <c:pt idx="71229">
                  <c:v>28.363906476098084</c:v>
                </c:pt>
                <c:pt idx="71230">
                  <c:v>48.185424275688433</c:v>
                </c:pt>
                <c:pt idx="71231">
                  <c:v>24.330866741284012</c:v>
                </c:pt>
                <c:pt idx="71232">
                  <c:v>31.138815303578269</c:v>
                </c:pt>
                <c:pt idx="71233">
                  <c:v>21.448043416746408</c:v>
                </c:pt>
                <c:pt idx="71234">
                  <c:v>27.921706406844208</c:v>
                </c:pt>
                <c:pt idx="71235">
                  <c:v>35.127459750697085</c:v>
                </c:pt>
                <c:pt idx="71236">
                  <c:v>48.899036864614459</c:v>
                </c:pt>
                <c:pt idx="71237">
                  <c:v>29.839949697847636</c:v>
                </c:pt>
                <c:pt idx="71238">
                  <c:v>41.400988604382462</c:v>
                </c:pt>
                <c:pt idx="71239">
                  <c:v>25.18614558175253</c:v>
                </c:pt>
                <c:pt idx="71240">
                  <c:v>44.774805352433546</c:v>
                </c:pt>
                <c:pt idx="71241">
                  <c:v>28.182121076418607</c:v>
                </c:pt>
                <c:pt idx="71242">
                  <c:v>19.752526586088209</c:v>
                </c:pt>
                <c:pt idx="71243">
                  <c:v>27.067151012806633</c:v>
                </c:pt>
                <c:pt idx="71244">
                  <c:v>30.140414213202128</c:v>
                </c:pt>
                <c:pt idx="71245">
                  <c:v>48.486104646728343</c:v>
                </c:pt>
                <c:pt idx="71246">
                  <c:v>41.227465686047317</c:v>
                </c:pt>
                <c:pt idx="71247">
                  <c:v>53.64584337454275</c:v>
                </c:pt>
                <c:pt idx="71248">
                  <c:v>34.185487104105817</c:v>
                </c:pt>
                <c:pt idx="71249">
                  <c:v>43.348982987906012</c:v>
                </c:pt>
                <c:pt idx="71250">
                  <c:v>31.534310818718655</c:v>
                </c:pt>
                <c:pt idx="71251">
                  <c:v>28.889800909542494</c:v>
                </c:pt>
                <c:pt idx="71252">
                  <c:v>51.929728850222716</c:v>
                </c:pt>
                <c:pt idx="71253">
                  <c:v>22.753377283933467</c:v>
                </c:pt>
                <c:pt idx="71254">
                  <c:v>39.49808427941533</c:v>
                </c:pt>
                <c:pt idx="71255">
                  <c:v>25.309459587105092</c:v>
                </c:pt>
                <c:pt idx="71256">
                  <c:v>31.45799233270213</c:v>
                </c:pt>
                <c:pt idx="71257">
                  <c:v>31.668496064020882</c:v>
                </c:pt>
                <c:pt idx="71258">
                  <c:v>21.892088922059195</c:v>
                </c:pt>
                <c:pt idx="71259">
                  <c:v>30.700081278627231</c:v>
                </c:pt>
                <c:pt idx="71260">
                  <c:v>48.567731518506442</c:v>
                </c:pt>
                <c:pt idx="71261">
                  <c:v>28.570921814390029</c:v>
                </c:pt>
                <c:pt idx="71262">
                  <c:v>21.877849955410554</c:v>
                </c:pt>
                <c:pt idx="71263">
                  <c:v>23.32551196220065</c:v>
                </c:pt>
                <c:pt idx="71264">
                  <c:v>42.542432866784935</c:v>
                </c:pt>
                <c:pt idx="71265">
                  <c:v>51.447368870846638</c:v>
                </c:pt>
                <c:pt idx="71266">
                  <c:v>31.685673469026391</c:v>
                </c:pt>
                <c:pt idx="71267">
                  <c:v>30.337955276720322</c:v>
                </c:pt>
                <c:pt idx="71268">
                  <c:v>22.970494624643397</c:v>
                </c:pt>
                <c:pt idx="71269">
                  <c:v>25.031726734666385</c:v>
                </c:pt>
                <c:pt idx="71270">
                  <c:v>32.201052358417805</c:v>
                </c:pt>
                <c:pt idx="71271">
                  <c:v>29.613628080072282</c:v>
                </c:pt>
                <c:pt idx="71272">
                  <c:v>39.994749043299095</c:v>
                </c:pt>
                <c:pt idx="71273">
                  <c:v>30.286706685585706</c:v>
                </c:pt>
                <c:pt idx="71274">
                  <c:v>25.322411896393799</c:v>
                </c:pt>
                <c:pt idx="71275">
                  <c:v>23.924097739203106</c:v>
                </c:pt>
                <c:pt idx="71276">
                  <c:v>22.852421869041386</c:v>
                </c:pt>
                <c:pt idx="71277">
                  <c:v>42.377118030680002</c:v>
                </c:pt>
                <c:pt idx="71278">
                  <c:v>28.104082303411442</c:v>
                </c:pt>
                <c:pt idx="71279">
                  <c:v>40.350321570555501</c:v>
                </c:pt>
                <c:pt idx="71280">
                  <c:v>54.642460236502195</c:v>
                </c:pt>
                <c:pt idx="71281">
                  <c:v>19.119054013691141</c:v>
                </c:pt>
                <c:pt idx="71282">
                  <c:v>32.011070115504786</c:v>
                </c:pt>
                <c:pt idx="71283">
                  <c:v>34.672312226235952</c:v>
                </c:pt>
                <c:pt idx="71284">
                  <c:v>45.873038259641412</c:v>
                </c:pt>
                <c:pt idx="71285">
                  <c:v>22.140118748719875</c:v>
                </c:pt>
                <c:pt idx="71286">
                  <c:v>22.999198092669584</c:v>
                </c:pt>
                <c:pt idx="71287">
                  <c:v>26.867086904268415</c:v>
                </c:pt>
                <c:pt idx="71288">
                  <c:v>20.014801295213033</c:v>
                </c:pt>
                <c:pt idx="71289">
                  <c:v>30.502142812019073</c:v>
                </c:pt>
                <c:pt idx="71290">
                  <c:v>21.607250494321434</c:v>
                </c:pt>
                <c:pt idx="71291">
                  <c:v>33.175940251498467</c:v>
                </c:pt>
                <c:pt idx="71292">
                  <c:v>27.464376553225236</c:v>
                </c:pt>
                <c:pt idx="71293">
                  <c:v>17.874682461330103</c:v>
                </c:pt>
                <c:pt idx="71294">
                  <c:v>35.226389434438758</c:v>
                </c:pt>
                <c:pt idx="71295">
                  <c:v>18.04308918301086</c:v>
                </c:pt>
                <c:pt idx="71296">
                  <c:v>22.890595667341927</c:v>
                </c:pt>
                <c:pt idx="71297">
                  <c:v>47.06681863720766</c:v>
                </c:pt>
                <c:pt idx="71298">
                  <c:v>36.505866224290259</c:v>
                </c:pt>
                <c:pt idx="71299">
                  <c:v>39.270655948024142</c:v>
                </c:pt>
                <c:pt idx="71300">
                  <c:v>25.797790605374932</c:v>
                </c:pt>
                <c:pt idx="71301">
                  <c:v>34.514810787932106</c:v>
                </c:pt>
                <c:pt idx="71302">
                  <c:v>25.892043701370351</c:v>
                </c:pt>
                <c:pt idx="71303">
                  <c:v>27.998436130625166</c:v>
                </c:pt>
                <c:pt idx="71304">
                  <c:v>33.072756912479932</c:v>
                </c:pt>
                <c:pt idx="71305">
                  <c:v>60.794461357335067</c:v>
                </c:pt>
                <c:pt idx="71306">
                  <c:v>46.058769532538427</c:v>
                </c:pt>
                <c:pt idx="71307">
                  <c:v>44.220243067631792</c:v>
                </c:pt>
                <c:pt idx="71308">
                  <c:v>34.950529634799402</c:v>
                </c:pt>
                <c:pt idx="71309">
                  <c:v>27.402648566969543</c:v>
                </c:pt>
                <c:pt idx="71310">
                  <c:v>39.894683712410583</c:v>
                </c:pt>
                <c:pt idx="71311">
                  <c:v>28.707152944589847</c:v>
                </c:pt>
                <c:pt idx="71312">
                  <c:v>35.017559563027362</c:v>
                </c:pt>
                <c:pt idx="71313">
                  <c:v>20.09949178494746</c:v>
                </c:pt>
                <c:pt idx="71314">
                  <c:v>18.469863245524397</c:v>
                </c:pt>
                <c:pt idx="71315">
                  <c:v>23.81726475802099</c:v>
                </c:pt>
                <c:pt idx="71316">
                  <c:v>33.276949551143105</c:v>
                </c:pt>
                <c:pt idx="71317">
                  <c:v>36.138704948781523</c:v>
                </c:pt>
                <c:pt idx="71318">
                  <c:v>27.359594409202572</c:v>
                </c:pt>
                <c:pt idx="71319">
                  <c:v>29.556842147515766</c:v>
                </c:pt>
                <c:pt idx="71320">
                  <c:v>28.993586583775357</c:v>
                </c:pt>
                <c:pt idx="71321">
                  <c:v>30.303883810326482</c:v>
                </c:pt>
                <c:pt idx="71322">
                  <c:v>30.671390325209789</c:v>
                </c:pt>
                <c:pt idx="71323">
                  <c:v>42.964582811850306</c:v>
                </c:pt>
                <c:pt idx="71324">
                  <c:v>23.821093821537961</c:v>
                </c:pt>
                <c:pt idx="71325">
                  <c:v>26.661349516800506</c:v>
                </c:pt>
                <c:pt idx="71326">
                  <c:v>28.592825701726099</c:v>
                </c:pt>
                <c:pt idx="71327">
                  <c:v>23.537964040898125</c:v>
                </c:pt>
                <c:pt idx="71328">
                  <c:v>21.998860531444201</c:v>
                </c:pt>
                <c:pt idx="71329">
                  <c:v>29.798222927482382</c:v>
                </c:pt>
                <c:pt idx="71330">
                  <c:v>19.59277511672579</c:v>
                </c:pt>
                <c:pt idx="71331">
                  <c:v>30.629834860801548</c:v>
                </c:pt>
                <c:pt idx="71332">
                  <c:v>22.925013653344887</c:v>
                </c:pt>
                <c:pt idx="71333">
                  <c:v>30.431436982992949</c:v>
                </c:pt>
                <c:pt idx="71334">
                  <c:v>28.428163964550389</c:v>
                </c:pt>
                <c:pt idx="71335">
                  <c:v>25.230059479395244</c:v>
                </c:pt>
                <c:pt idx="71336">
                  <c:v>16.041306613174807</c:v>
                </c:pt>
                <c:pt idx="71337">
                  <c:v>32.929751064825382</c:v>
                </c:pt>
                <c:pt idx="71338">
                  <c:v>24.939958869852692</c:v>
                </c:pt>
                <c:pt idx="71339">
                  <c:v>28.675625248728576</c:v>
                </c:pt>
                <c:pt idx="71340">
                  <c:v>35.751985453199872</c:v>
                </c:pt>
                <c:pt idx="71341">
                  <c:v>24.513767232960738</c:v>
                </c:pt>
                <c:pt idx="71342">
                  <c:v>28.794540299205366</c:v>
                </c:pt>
                <c:pt idx="71343">
                  <c:v>22.187412638869525</c:v>
                </c:pt>
                <c:pt idx="71344">
                  <c:v>30.747975329712158</c:v>
                </c:pt>
                <c:pt idx="71345">
                  <c:v>20.858775506807582</c:v>
                </c:pt>
                <c:pt idx="71346">
                  <c:v>30.295376111821533</c:v>
                </c:pt>
                <c:pt idx="71347">
                  <c:v>31.156780355953231</c:v>
                </c:pt>
                <c:pt idx="71348">
                  <c:v>29.078803232774437</c:v>
                </c:pt>
                <c:pt idx="71349">
                  <c:v>30.621337691196775</c:v>
                </c:pt>
                <c:pt idx="71350">
                  <c:v>35.289419480861781</c:v>
                </c:pt>
                <c:pt idx="71351">
                  <c:v>47.24191557023407</c:v>
                </c:pt>
                <c:pt idx="71352">
                  <c:v>37.061863510254973</c:v>
                </c:pt>
                <c:pt idx="71353">
                  <c:v>29.261315462370334</c:v>
                </c:pt>
                <c:pt idx="71354">
                  <c:v>21.5529005227495</c:v>
                </c:pt>
                <c:pt idx="71355">
                  <c:v>46.188694132519409</c:v>
                </c:pt>
                <c:pt idx="71356">
                  <c:v>26.071252117665654</c:v>
                </c:pt>
                <c:pt idx="71357">
                  <c:v>27.030000586127798</c:v>
                </c:pt>
                <c:pt idx="71358">
                  <c:v>23.951320892865855</c:v>
                </c:pt>
                <c:pt idx="71359">
                  <c:v>28.995216783301633</c:v>
                </c:pt>
                <c:pt idx="71360">
                  <c:v>37.410409722104177</c:v>
                </c:pt>
                <c:pt idx="71361">
                  <c:v>47.083301882345999</c:v>
                </c:pt>
                <c:pt idx="71362">
                  <c:v>28.871240208303263</c:v>
                </c:pt>
                <c:pt idx="71363">
                  <c:v>21.455582291842155</c:v>
                </c:pt>
                <c:pt idx="71364">
                  <c:v>30.677253396541985</c:v>
                </c:pt>
                <c:pt idx="71365">
                  <c:v>32.298030463237524</c:v>
                </c:pt>
                <c:pt idx="71366">
                  <c:v>38.006465725859854</c:v>
                </c:pt>
                <c:pt idx="71367">
                  <c:v>24.432221687350609</c:v>
                </c:pt>
                <c:pt idx="71368">
                  <c:v>51.252084990833488</c:v>
                </c:pt>
                <c:pt idx="71369">
                  <c:v>24.776340828018732</c:v>
                </c:pt>
                <c:pt idx="71370">
                  <c:v>39.694445367904166</c:v>
                </c:pt>
                <c:pt idx="71371">
                  <c:v>28.200384964658625</c:v>
                </c:pt>
                <c:pt idx="71372">
                  <c:v>18.509949365616187</c:v>
                </c:pt>
                <c:pt idx="71373">
                  <c:v>35.741854017674989</c:v>
                </c:pt>
                <c:pt idx="71374">
                  <c:v>48.985788492827879</c:v>
                </c:pt>
                <c:pt idx="71375">
                  <c:v>33.251628052029112</c:v>
                </c:pt>
                <c:pt idx="71376">
                  <c:v>26.949791790606383</c:v>
                </c:pt>
                <c:pt idx="71377">
                  <c:v>29.587232635401016</c:v>
                </c:pt>
                <c:pt idx="71378">
                  <c:v>23.178008377541065</c:v>
                </c:pt>
                <c:pt idx="71379">
                  <c:v>24.508651956070921</c:v>
                </c:pt>
                <c:pt idx="71380">
                  <c:v>39.134633142431724</c:v>
                </c:pt>
                <c:pt idx="71381">
                  <c:v>29.904545743493415</c:v>
                </c:pt>
                <c:pt idx="71382">
                  <c:v>29.169147088945039</c:v>
                </c:pt>
                <c:pt idx="71383">
                  <c:v>35.133919152500752</c:v>
                </c:pt>
                <c:pt idx="71384">
                  <c:v>46.56905919620916</c:v>
                </c:pt>
                <c:pt idx="71385">
                  <c:v>38.964523422372672</c:v>
                </c:pt>
                <c:pt idx="71386">
                  <c:v>36.147437141310853</c:v>
                </c:pt>
                <c:pt idx="71387">
                  <c:v>51.150188812597264</c:v>
                </c:pt>
                <c:pt idx="71388">
                  <c:v>24.740328130955117</c:v>
                </c:pt>
                <c:pt idx="71389">
                  <c:v>18.424096094117324</c:v>
                </c:pt>
                <c:pt idx="71390">
                  <c:v>21.748049481485065</c:v>
                </c:pt>
                <c:pt idx="71391">
                  <c:v>27.201435207625035</c:v>
                </c:pt>
                <c:pt idx="71392">
                  <c:v>25.828241119481099</c:v>
                </c:pt>
                <c:pt idx="71393">
                  <c:v>18.839385749546423</c:v>
                </c:pt>
                <c:pt idx="71394">
                  <c:v>23.769728121843016</c:v>
                </c:pt>
                <c:pt idx="71395">
                  <c:v>50.698834357004884</c:v>
                </c:pt>
                <c:pt idx="71396">
                  <c:v>31.373255098483419</c:v>
                </c:pt>
                <c:pt idx="71397">
                  <c:v>24.667625838450597</c:v>
                </c:pt>
                <c:pt idx="71398">
                  <c:v>26.847020708732007</c:v>
                </c:pt>
                <c:pt idx="71399">
                  <c:v>21.788897129168049</c:v>
                </c:pt>
                <c:pt idx="71400">
                  <c:v>31.436337751201727</c:v>
                </c:pt>
                <c:pt idx="71401">
                  <c:v>27.58101118025148</c:v>
                </c:pt>
                <c:pt idx="71402">
                  <c:v>24.159914857152611</c:v>
                </c:pt>
                <c:pt idx="71403">
                  <c:v>26.767406102753355</c:v>
                </c:pt>
                <c:pt idx="71404">
                  <c:v>59.833603347240718</c:v>
                </c:pt>
                <c:pt idx="71405">
                  <c:v>52.451749268154067</c:v>
                </c:pt>
                <c:pt idx="71406">
                  <c:v>49.926140000390625</c:v>
                </c:pt>
                <c:pt idx="71407">
                  <c:v>26.520480828557318</c:v>
                </c:pt>
                <c:pt idx="71408">
                  <c:v>20.633563827984467</c:v>
                </c:pt>
                <c:pt idx="71409">
                  <c:v>30.629900803572479</c:v>
                </c:pt>
                <c:pt idx="71410">
                  <c:v>26.086873710333329</c:v>
                </c:pt>
                <c:pt idx="71411">
                  <c:v>33.541221002650225</c:v>
                </c:pt>
                <c:pt idx="71412">
                  <c:v>27.915123255564403</c:v>
                </c:pt>
                <c:pt idx="71413">
                  <c:v>36.416309839951289</c:v>
                </c:pt>
                <c:pt idx="71414">
                  <c:v>28.074116180021552</c:v>
                </c:pt>
                <c:pt idx="71415">
                  <c:v>25.625831582873047</c:v>
                </c:pt>
                <c:pt idx="71416">
                  <c:v>48.6082455798228</c:v>
                </c:pt>
                <c:pt idx="71417">
                  <c:v>28.941893371105294</c:v>
                </c:pt>
                <c:pt idx="71418">
                  <c:v>41.420142202879752</c:v>
                </c:pt>
                <c:pt idx="71419">
                  <c:v>32.992485246273716</c:v>
                </c:pt>
                <c:pt idx="71420">
                  <c:v>26.00451717680615</c:v>
                </c:pt>
                <c:pt idx="71421">
                  <c:v>23.313141203841713</c:v>
                </c:pt>
                <c:pt idx="71422">
                  <c:v>22.376322012965069</c:v>
                </c:pt>
                <c:pt idx="71423">
                  <c:v>48.5429788170404</c:v>
                </c:pt>
                <c:pt idx="71424">
                  <c:v>17.570025162056716</c:v>
                </c:pt>
                <c:pt idx="71425">
                  <c:v>22.3032241324822</c:v>
                </c:pt>
                <c:pt idx="71426">
                  <c:v>29.383758599392984</c:v>
                </c:pt>
                <c:pt idx="71427">
                  <c:v>54.035383055829939</c:v>
                </c:pt>
                <c:pt idx="71428">
                  <c:v>24.134794167587359</c:v>
                </c:pt>
                <c:pt idx="71429">
                  <c:v>45.512504219554522</c:v>
                </c:pt>
                <c:pt idx="71430">
                  <c:v>31.072614212882595</c:v>
                </c:pt>
                <c:pt idx="71431">
                  <c:v>22.565229628905108</c:v>
                </c:pt>
                <c:pt idx="71432">
                  <c:v>27.693920624991648</c:v>
                </c:pt>
                <c:pt idx="71433">
                  <c:v>25.685116031551431</c:v>
                </c:pt>
                <c:pt idx="71434">
                  <c:v>40.68051671739952</c:v>
                </c:pt>
                <c:pt idx="71435">
                  <c:v>40.684398141429355</c:v>
                </c:pt>
                <c:pt idx="71436">
                  <c:v>48.478988644098969</c:v>
                </c:pt>
                <c:pt idx="71437">
                  <c:v>28.889997712220342</c:v>
                </c:pt>
                <c:pt idx="71438">
                  <c:v>52.650915448383508</c:v>
                </c:pt>
                <c:pt idx="71439">
                  <c:v>21.902196382283634</c:v>
                </c:pt>
                <c:pt idx="71440">
                  <c:v>27.473052193874839</c:v>
                </c:pt>
                <c:pt idx="71441">
                  <c:v>21.559282451864323</c:v>
                </c:pt>
                <c:pt idx="71442">
                  <c:v>24.848467655522899</c:v>
                </c:pt>
                <c:pt idx="71443">
                  <c:v>34.11421208291268</c:v>
                </c:pt>
                <c:pt idx="71444">
                  <c:v>26.478646043752242</c:v>
                </c:pt>
                <c:pt idx="71445">
                  <c:v>27.561804647268687</c:v>
                </c:pt>
                <c:pt idx="71446">
                  <c:v>32.758138985820963</c:v>
                </c:pt>
                <c:pt idx="71447">
                  <c:v>29.113379073827211</c:v>
                </c:pt>
                <c:pt idx="71448">
                  <c:v>23.660455641896966</c:v>
                </c:pt>
                <c:pt idx="71449">
                  <c:v>44.90570183281622</c:v>
                </c:pt>
                <c:pt idx="71450">
                  <c:v>20.561791190657942</c:v>
                </c:pt>
                <c:pt idx="71451">
                  <c:v>51.554435224989412</c:v>
                </c:pt>
                <c:pt idx="71452">
                  <c:v>50.244008109483914</c:v>
                </c:pt>
                <c:pt idx="71453">
                  <c:v>27.367018233949189</c:v>
                </c:pt>
                <c:pt idx="71454">
                  <c:v>28.255764586395454</c:v>
                </c:pt>
                <c:pt idx="71455">
                  <c:v>19.335192304213848</c:v>
                </c:pt>
                <c:pt idx="71456">
                  <c:v>29.088829189708971</c:v>
                </c:pt>
                <c:pt idx="71457">
                  <c:v>29.923129931998055</c:v>
                </c:pt>
                <c:pt idx="71458">
                  <c:v>41.533095239770162</c:v>
                </c:pt>
                <c:pt idx="71459">
                  <c:v>25.331693013848692</c:v>
                </c:pt>
                <c:pt idx="71460">
                  <c:v>23.398713109564625</c:v>
                </c:pt>
                <c:pt idx="71461">
                  <c:v>50.28720724464857</c:v>
                </c:pt>
                <c:pt idx="71462">
                  <c:v>23.877510853188518</c:v>
                </c:pt>
                <c:pt idx="71463">
                  <c:v>24.184754148442217</c:v>
                </c:pt>
                <c:pt idx="71464">
                  <c:v>50.943938713898291</c:v>
                </c:pt>
                <c:pt idx="71465">
                  <c:v>19.89676890706502</c:v>
                </c:pt>
                <c:pt idx="71466">
                  <c:v>19.270235407488489</c:v>
                </c:pt>
                <c:pt idx="71467">
                  <c:v>44.292399827883756</c:v>
                </c:pt>
                <c:pt idx="71468">
                  <c:v>29.714710335145565</c:v>
                </c:pt>
                <c:pt idx="71469">
                  <c:v>26.021659280238516</c:v>
                </c:pt>
                <c:pt idx="71470">
                  <c:v>27.287002299573984</c:v>
                </c:pt>
                <c:pt idx="71471">
                  <c:v>27.361001157569515</c:v>
                </c:pt>
                <c:pt idx="71472">
                  <c:v>52.27058479781882</c:v>
                </c:pt>
                <c:pt idx="71473">
                  <c:v>22.5212188348025</c:v>
                </c:pt>
                <c:pt idx="71474">
                  <c:v>20.017844053753269</c:v>
                </c:pt>
                <c:pt idx="71475">
                  <c:v>25.854012027321726</c:v>
                </c:pt>
                <c:pt idx="71476">
                  <c:v>43.463438907012886</c:v>
                </c:pt>
                <c:pt idx="71477">
                  <c:v>40.18697143956377</c:v>
                </c:pt>
                <c:pt idx="71478">
                  <c:v>35.572017256683289</c:v>
                </c:pt>
                <c:pt idx="71479">
                  <c:v>24.445043006980335</c:v>
                </c:pt>
                <c:pt idx="71480">
                  <c:v>17.164649313253065</c:v>
                </c:pt>
                <c:pt idx="71481">
                  <c:v>24.886144105414367</c:v>
                </c:pt>
                <c:pt idx="71482">
                  <c:v>25.460243733597256</c:v>
                </c:pt>
                <c:pt idx="71483">
                  <c:v>50.538628404339889</c:v>
                </c:pt>
                <c:pt idx="71484">
                  <c:v>33.821215931655658</c:v>
                </c:pt>
                <c:pt idx="71485">
                  <c:v>52.889196038458273</c:v>
                </c:pt>
                <c:pt idx="71486">
                  <c:v>24.562596515655049</c:v>
                </c:pt>
                <c:pt idx="71487">
                  <c:v>52.407018708144179</c:v>
                </c:pt>
                <c:pt idx="71488">
                  <c:v>24.612446474275675</c:v>
                </c:pt>
                <c:pt idx="71489">
                  <c:v>33.434737859784192</c:v>
                </c:pt>
                <c:pt idx="71490">
                  <c:v>25.357390436651201</c:v>
                </c:pt>
                <c:pt idx="71491">
                  <c:v>31.600961432474659</c:v>
                </c:pt>
                <c:pt idx="71492">
                  <c:v>20.878380834033486</c:v>
                </c:pt>
                <c:pt idx="71493">
                  <c:v>37.167195684059067</c:v>
                </c:pt>
                <c:pt idx="71494">
                  <c:v>35.716107816775875</c:v>
                </c:pt>
                <c:pt idx="71495">
                  <c:v>21.783043475505757</c:v>
                </c:pt>
                <c:pt idx="71496">
                  <c:v>27.520901319417462</c:v>
                </c:pt>
                <c:pt idx="71497">
                  <c:v>24.631423987165242</c:v>
                </c:pt>
                <c:pt idx="71498">
                  <c:v>19.330909635975562</c:v>
                </c:pt>
                <c:pt idx="71499">
                  <c:v>33.883662427235556</c:v>
                </c:pt>
                <c:pt idx="71500">
                  <c:v>26.53146390505939</c:v>
                </c:pt>
                <c:pt idx="71501">
                  <c:v>45.67782493025873</c:v>
                </c:pt>
                <c:pt idx="71502">
                  <c:v>24.853336735983763</c:v>
                </c:pt>
                <c:pt idx="71503">
                  <c:v>27.744721677131324</c:v>
                </c:pt>
                <c:pt idx="71504">
                  <c:v>30.748473908131714</c:v>
                </c:pt>
                <c:pt idx="71505">
                  <c:v>22.013160541188125</c:v>
                </c:pt>
                <c:pt idx="71506">
                  <c:v>35.13875555771304</c:v>
                </c:pt>
                <c:pt idx="71507">
                  <c:v>28.159494276658599</c:v>
                </c:pt>
                <c:pt idx="71508">
                  <c:v>24.481878241385576</c:v>
                </c:pt>
                <c:pt idx="71509">
                  <c:v>27.456156450635774</c:v>
                </c:pt>
                <c:pt idx="71510">
                  <c:v>50.459561320145518</c:v>
                </c:pt>
                <c:pt idx="71511">
                  <c:v>43.381934488306996</c:v>
                </c:pt>
                <c:pt idx="71512">
                  <c:v>47.024666744766172</c:v>
                </c:pt>
                <c:pt idx="71513">
                  <c:v>24.579362067892372</c:v>
                </c:pt>
                <c:pt idx="71514">
                  <c:v>31.776078363708205</c:v>
                </c:pt>
                <c:pt idx="71515">
                  <c:v>25.757636448714102</c:v>
                </c:pt>
                <c:pt idx="71516">
                  <c:v>30.349028743936799</c:v>
                </c:pt>
                <c:pt idx="71517">
                  <c:v>19.965489317036329</c:v>
                </c:pt>
                <c:pt idx="71518">
                  <c:v>25.335826814867513</c:v>
                </c:pt>
                <c:pt idx="71519">
                  <c:v>21.178762899925822</c:v>
                </c:pt>
                <c:pt idx="71520">
                  <c:v>32.305922061905328</c:v>
                </c:pt>
                <c:pt idx="71521">
                  <c:v>50.407443335977192</c:v>
                </c:pt>
                <c:pt idx="71522">
                  <c:v>26.76608152483244</c:v>
                </c:pt>
                <c:pt idx="71523">
                  <c:v>27.998572921249227</c:v>
                </c:pt>
                <c:pt idx="71524">
                  <c:v>30.948316606384253</c:v>
                </c:pt>
                <c:pt idx="71525">
                  <c:v>38.79252511656459</c:v>
                </c:pt>
                <c:pt idx="71526">
                  <c:v>29.180330886693696</c:v>
                </c:pt>
                <c:pt idx="71527">
                  <c:v>17.705207856388736</c:v>
                </c:pt>
                <c:pt idx="71528">
                  <c:v>19.830271687730463</c:v>
                </c:pt>
                <c:pt idx="71529">
                  <c:v>27.797541819930863</c:v>
                </c:pt>
                <c:pt idx="71530">
                  <c:v>32.729740318138056</c:v>
                </c:pt>
                <c:pt idx="71531">
                  <c:v>37.732087058225559</c:v>
                </c:pt>
                <c:pt idx="71532">
                  <c:v>30.060404411162434</c:v>
                </c:pt>
                <c:pt idx="71533">
                  <c:v>32.483024319553856</c:v>
                </c:pt>
                <c:pt idx="71534">
                  <c:v>42.099436904585922</c:v>
                </c:pt>
                <c:pt idx="71535">
                  <c:v>35.579195496835894</c:v>
                </c:pt>
                <c:pt idx="71536">
                  <c:v>40.229234092650827</c:v>
                </c:pt>
                <c:pt idx="71537">
                  <c:v>24.172590276916413</c:v>
                </c:pt>
                <c:pt idx="71538">
                  <c:v>23.828352228101249</c:v>
                </c:pt>
                <c:pt idx="71539">
                  <c:v>32.887052084885681</c:v>
                </c:pt>
                <c:pt idx="71540">
                  <c:v>21.779756866988659</c:v>
                </c:pt>
                <c:pt idx="71541">
                  <c:v>19.987920906662968</c:v>
                </c:pt>
                <c:pt idx="71542">
                  <c:v>22.935588688625348</c:v>
                </c:pt>
                <c:pt idx="71543">
                  <c:v>33.270953481356401</c:v>
                </c:pt>
                <c:pt idx="71544">
                  <c:v>47.864492630058862</c:v>
                </c:pt>
                <c:pt idx="71545">
                  <c:v>34.856237930711188</c:v>
                </c:pt>
                <c:pt idx="71546">
                  <c:v>26.362277054928668</c:v>
                </c:pt>
                <c:pt idx="71547">
                  <c:v>58.18810236969869</c:v>
                </c:pt>
                <c:pt idx="71548">
                  <c:v>22.991301092944354</c:v>
                </c:pt>
                <c:pt idx="71549">
                  <c:v>35.552859344435078</c:v>
                </c:pt>
                <c:pt idx="71550">
                  <c:v>29.404922609762551</c:v>
                </c:pt>
                <c:pt idx="71551">
                  <c:v>22.591939532606393</c:v>
                </c:pt>
                <c:pt idx="71552">
                  <c:v>20.841771189796663</c:v>
                </c:pt>
                <c:pt idx="71553">
                  <c:v>42.126397229533232</c:v>
                </c:pt>
                <c:pt idx="71554">
                  <c:v>20.695810084508761</c:v>
                </c:pt>
                <c:pt idx="71555">
                  <c:v>30.58772370059409</c:v>
                </c:pt>
                <c:pt idx="71556">
                  <c:v>43.314925465607182</c:v>
                </c:pt>
                <c:pt idx="71557">
                  <c:v>24.921177082262879</c:v>
                </c:pt>
                <c:pt idx="71558">
                  <c:v>23.258811902667944</c:v>
                </c:pt>
                <c:pt idx="71559">
                  <c:v>28.387671431363753</c:v>
                </c:pt>
                <c:pt idx="71560">
                  <c:v>48.537848891004799</c:v>
                </c:pt>
                <c:pt idx="71561">
                  <c:v>29.923938880339431</c:v>
                </c:pt>
                <c:pt idx="71562">
                  <c:v>44.802140141273114</c:v>
                </c:pt>
                <c:pt idx="71563">
                  <c:v>31.337482831762088</c:v>
                </c:pt>
                <c:pt idx="71564">
                  <c:v>23.593503971497885</c:v>
                </c:pt>
                <c:pt idx="71565">
                  <c:v>28.865296968581831</c:v>
                </c:pt>
                <c:pt idx="71566">
                  <c:v>35.944993918024906</c:v>
                </c:pt>
                <c:pt idx="71567">
                  <c:v>39.415862182968795</c:v>
                </c:pt>
                <c:pt idx="71568">
                  <c:v>26.5421488582672</c:v>
                </c:pt>
                <c:pt idx="71569">
                  <c:v>28.828834106611275</c:v>
                </c:pt>
                <c:pt idx="71570">
                  <c:v>25.419211172655761</c:v>
                </c:pt>
                <c:pt idx="71571">
                  <c:v>40.669915656359592</c:v>
                </c:pt>
                <c:pt idx="71572">
                  <c:v>45.283103085103946</c:v>
                </c:pt>
                <c:pt idx="71573">
                  <c:v>23.788692710645201</c:v>
                </c:pt>
                <c:pt idx="71574">
                  <c:v>45.198013461464299</c:v>
                </c:pt>
                <c:pt idx="71575">
                  <c:v>25.712762100902708</c:v>
                </c:pt>
                <c:pt idx="71576">
                  <c:v>21.061242987458925</c:v>
                </c:pt>
                <c:pt idx="71577">
                  <c:v>41.85511788085023</c:v>
                </c:pt>
                <c:pt idx="71578">
                  <c:v>32.516745233016934</c:v>
                </c:pt>
                <c:pt idx="71579">
                  <c:v>22.403018760628576</c:v>
                </c:pt>
                <c:pt idx="71580">
                  <c:v>27.101902695850995</c:v>
                </c:pt>
                <c:pt idx="71581">
                  <c:v>26.417092681083336</c:v>
                </c:pt>
                <c:pt idx="71582">
                  <c:v>21.431891384641588</c:v>
                </c:pt>
                <c:pt idx="71583">
                  <c:v>36.214001316072967</c:v>
                </c:pt>
                <c:pt idx="71584">
                  <c:v>21.795689720431156</c:v>
                </c:pt>
                <c:pt idx="71585">
                  <c:v>19.000036819305116</c:v>
                </c:pt>
                <c:pt idx="71586">
                  <c:v>22.277858745139319</c:v>
                </c:pt>
                <c:pt idx="71587">
                  <c:v>35.386688422885001</c:v>
                </c:pt>
                <c:pt idx="71588">
                  <c:v>21.030951200560693</c:v>
                </c:pt>
                <c:pt idx="71589">
                  <c:v>25.352824051407019</c:v>
                </c:pt>
                <c:pt idx="71590">
                  <c:v>26.846831565169079</c:v>
                </c:pt>
                <c:pt idx="71591">
                  <c:v>36.290992142776958</c:v>
                </c:pt>
                <c:pt idx="71592">
                  <c:v>39.182517277062551</c:v>
                </c:pt>
                <c:pt idx="71593">
                  <c:v>30.73323819380936</c:v>
                </c:pt>
                <c:pt idx="71594">
                  <c:v>21.643513458815722</c:v>
                </c:pt>
                <c:pt idx="71595">
                  <c:v>23.930492201839321</c:v>
                </c:pt>
                <c:pt idx="71596">
                  <c:v>43.673250609824592</c:v>
                </c:pt>
                <c:pt idx="71597">
                  <c:v>25.278288939792148</c:v>
                </c:pt>
                <c:pt idx="71598">
                  <c:v>27.389332997297181</c:v>
                </c:pt>
                <c:pt idx="71599">
                  <c:v>21.17648973750461</c:v>
                </c:pt>
                <c:pt idx="71600">
                  <c:v>40.693999473362027</c:v>
                </c:pt>
                <c:pt idx="71601">
                  <c:v>16.401675109031761</c:v>
                </c:pt>
                <c:pt idx="71602">
                  <c:v>25.869170947380788</c:v>
                </c:pt>
                <c:pt idx="71603">
                  <c:v>29.382550843885809</c:v>
                </c:pt>
                <c:pt idx="71604">
                  <c:v>24.948423199497039</c:v>
                </c:pt>
                <c:pt idx="71605">
                  <c:v>27.147521850906443</c:v>
                </c:pt>
                <c:pt idx="71606">
                  <c:v>22.202953105036329</c:v>
                </c:pt>
                <c:pt idx="71607">
                  <c:v>42.710371239314469</c:v>
                </c:pt>
                <c:pt idx="71608">
                  <c:v>28.23585440757925</c:v>
                </c:pt>
                <c:pt idx="71609">
                  <c:v>26.7239164728337</c:v>
                </c:pt>
                <c:pt idx="71610">
                  <c:v>47.602217657356782</c:v>
                </c:pt>
                <c:pt idx="71611">
                  <c:v>31.393873700386521</c:v>
                </c:pt>
                <c:pt idx="71612">
                  <c:v>33.312803383123715</c:v>
                </c:pt>
                <c:pt idx="71613">
                  <c:v>22.126901480872228</c:v>
                </c:pt>
                <c:pt idx="71614">
                  <c:v>26.107663507888653</c:v>
                </c:pt>
                <c:pt idx="71615">
                  <c:v>27.026572545502503</c:v>
                </c:pt>
                <c:pt idx="71616">
                  <c:v>30.583101540725924</c:v>
                </c:pt>
                <c:pt idx="71617">
                  <c:v>33.906659187720486</c:v>
                </c:pt>
                <c:pt idx="71618">
                  <c:v>28.6134919566531</c:v>
                </c:pt>
                <c:pt idx="71619">
                  <c:v>24.584547497417866</c:v>
                </c:pt>
                <c:pt idx="71620">
                  <c:v>16.323561941172137</c:v>
                </c:pt>
                <c:pt idx="71621">
                  <c:v>29.82501610934354</c:v>
                </c:pt>
                <c:pt idx="71622">
                  <c:v>24.050254015076725</c:v>
                </c:pt>
                <c:pt idx="71623">
                  <c:v>18.814354940126325</c:v>
                </c:pt>
                <c:pt idx="71624">
                  <c:v>48.648273856608384</c:v>
                </c:pt>
                <c:pt idx="71625">
                  <c:v>53.714026523061172</c:v>
                </c:pt>
                <c:pt idx="71626">
                  <c:v>18.055629698504806</c:v>
                </c:pt>
                <c:pt idx="71627">
                  <c:v>44.636101389675105</c:v>
                </c:pt>
                <c:pt idx="71628">
                  <c:v>30.962279371472789</c:v>
                </c:pt>
                <c:pt idx="71629">
                  <c:v>27.348773130982821</c:v>
                </c:pt>
                <c:pt idx="71630">
                  <c:v>31.349645009102943</c:v>
                </c:pt>
                <c:pt idx="71631">
                  <c:v>32.630220234913097</c:v>
                </c:pt>
                <c:pt idx="71632">
                  <c:v>24.768474069497099</c:v>
                </c:pt>
                <c:pt idx="71633">
                  <c:v>23.086904277407211</c:v>
                </c:pt>
                <c:pt idx="71634">
                  <c:v>38.386724864367359</c:v>
                </c:pt>
                <c:pt idx="71635">
                  <c:v>19.990397951827344</c:v>
                </c:pt>
                <c:pt idx="71636">
                  <c:v>43.44767256040106</c:v>
                </c:pt>
                <c:pt idx="71637">
                  <c:v>24.307862953673787</c:v>
                </c:pt>
                <c:pt idx="71638">
                  <c:v>21.093530263167345</c:v>
                </c:pt>
                <c:pt idx="71639">
                  <c:v>30.642423132201504</c:v>
                </c:pt>
                <c:pt idx="71640">
                  <c:v>23.979608480385131</c:v>
                </c:pt>
                <c:pt idx="71641">
                  <c:v>33.783971273917963</c:v>
                </c:pt>
                <c:pt idx="71642">
                  <c:v>28.278184572626373</c:v>
                </c:pt>
                <c:pt idx="71643">
                  <c:v>26.103950933911886</c:v>
                </c:pt>
                <c:pt idx="71644">
                  <c:v>27.57107050076328</c:v>
                </c:pt>
                <c:pt idx="71645">
                  <c:v>17.14661865466713</c:v>
                </c:pt>
                <c:pt idx="71646">
                  <c:v>44.046026111019309</c:v>
                </c:pt>
                <c:pt idx="71647">
                  <c:v>28.360555790970096</c:v>
                </c:pt>
                <c:pt idx="71648">
                  <c:v>33.131494022704331</c:v>
                </c:pt>
                <c:pt idx="71649">
                  <c:v>30.966836867970795</c:v>
                </c:pt>
                <c:pt idx="71650">
                  <c:v>18.583161001161173</c:v>
                </c:pt>
                <c:pt idx="71651">
                  <c:v>27.63708058202598</c:v>
                </c:pt>
                <c:pt idx="71652">
                  <c:v>25.242149119223249</c:v>
                </c:pt>
                <c:pt idx="71653">
                  <c:v>25.818055345886187</c:v>
                </c:pt>
                <c:pt idx="71654">
                  <c:v>41.418734676820591</c:v>
                </c:pt>
                <c:pt idx="71655">
                  <c:v>53.309558583991972</c:v>
                </c:pt>
                <c:pt idx="71656">
                  <c:v>27.750967550815609</c:v>
                </c:pt>
                <c:pt idx="71657">
                  <c:v>23.802776795076166</c:v>
                </c:pt>
                <c:pt idx="71658">
                  <c:v>23.888978334774748</c:v>
                </c:pt>
                <c:pt idx="71659">
                  <c:v>22.918770091515661</c:v>
                </c:pt>
                <c:pt idx="71660">
                  <c:v>20.135142760947357</c:v>
                </c:pt>
                <c:pt idx="71661">
                  <c:v>34.523506176264476</c:v>
                </c:pt>
                <c:pt idx="71662">
                  <c:v>23.277825356472718</c:v>
                </c:pt>
                <c:pt idx="71663">
                  <c:v>23.335833581541902</c:v>
                </c:pt>
                <c:pt idx="71664">
                  <c:v>32.977089121935109</c:v>
                </c:pt>
                <c:pt idx="71665">
                  <c:v>25.108512718645102</c:v>
                </c:pt>
                <c:pt idx="71666">
                  <c:v>30.134840099875305</c:v>
                </c:pt>
                <c:pt idx="71667">
                  <c:v>34.546325174431026</c:v>
                </c:pt>
                <c:pt idx="71668">
                  <c:v>30.668164945819914</c:v>
                </c:pt>
                <c:pt idx="71669">
                  <c:v>24.615676327735894</c:v>
                </c:pt>
                <c:pt idx="71670">
                  <c:v>24.654387815697334</c:v>
                </c:pt>
                <c:pt idx="71671">
                  <c:v>21.972240603458555</c:v>
                </c:pt>
                <c:pt idx="71672">
                  <c:v>50.276922022490723</c:v>
                </c:pt>
                <c:pt idx="71673">
                  <c:v>49.520343204772757</c:v>
                </c:pt>
                <c:pt idx="71674">
                  <c:v>20.12944468690559</c:v>
                </c:pt>
                <c:pt idx="71675">
                  <c:v>38.717834947688658</c:v>
                </c:pt>
                <c:pt idx="71676">
                  <c:v>24.183483724053307</c:v>
                </c:pt>
                <c:pt idx="71677">
                  <c:v>51.754675516877427</c:v>
                </c:pt>
                <c:pt idx="71678">
                  <c:v>22.506056859316402</c:v>
                </c:pt>
                <c:pt idx="71679">
                  <c:v>23.248800058740379</c:v>
                </c:pt>
                <c:pt idx="71680">
                  <c:v>25.737502562309118</c:v>
                </c:pt>
                <c:pt idx="71681">
                  <c:v>22.65501277903407</c:v>
                </c:pt>
                <c:pt idx="71682">
                  <c:v>28.729367155111028</c:v>
                </c:pt>
                <c:pt idx="71683">
                  <c:v>26.163231199490703</c:v>
                </c:pt>
                <c:pt idx="71684">
                  <c:v>35.607588391923592</c:v>
                </c:pt>
                <c:pt idx="71685">
                  <c:v>16.363282210759188</c:v>
                </c:pt>
                <c:pt idx="71686">
                  <c:v>22.736927686404282</c:v>
                </c:pt>
                <c:pt idx="71687">
                  <c:v>30.334278449479935</c:v>
                </c:pt>
                <c:pt idx="71688">
                  <c:v>21.21052359490006</c:v>
                </c:pt>
                <c:pt idx="71689">
                  <c:v>24.168053421785963</c:v>
                </c:pt>
                <c:pt idx="71690">
                  <c:v>42.743289918663585</c:v>
                </c:pt>
                <c:pt idx="71691">
                  <c:v>44.328132793181169</c:v>
                </c:pt>
                <c:pt idx="71692">
                  <c:v>32.444745850493547</c:v>
                </c:pt>
                <c:pt idx="71693">
                  <c:v>22.733365033969442</c:v>
                </c:pt>
                <c:pt idx="71694">
                  <c:v>33.81247885748752</c:v>
                </c:pt>
                <c:pt idx="71695">
                  <c:v>34.168282981643173</c:v>
                </c:pt>
                <c:pt idx="71696">
                  <c:v>22.455352079459711</c:v>
                </c:pt>
                <c:pt idx="71697">
                  <c:v>37.831460875090904</c:v>
                </c:pt>
                <c:pt idx="71698">
                  <c:v>28.985737313673663</c:v>
                </c:pt>
                <c:pt idx="71699">
                  <c:v>31.159857400158991</c:v>
                </c:pt>
                <c:pt idx="71700">
                  <c:v>26.999982824642597</c:v>
                </c:pt>
                <c:pt idx="71701">
                  <c:v>33.584412953964041</c:v>
                </c:pt>
                <c:pt idx="71702">
                  <c:v>37.696324710057205</c:v>
                </c:pt>
                <c:pt idx="71703">
                  <c:v>24.512245788378493</c:v>
                </c:pt>
                <c:pt idx="71704">
                  <c:v>27.177951090901104</c:v>
                </c:pt>
                <c:pt idx="71705">
                  <c:v>32.392917490542558</c:v>
                </c:pt>
                <c:pt idx="71706">
                  <c:v>18.754989307624218</c:v>
                </c:pt>
                <c:pt idx="71707">
                  <c:v>26.505985948000706</c:v>
                </c:pt>
                <c:pt idx="71708">
                  <c:v>25.975395470750133</c:v>
                </c:pt>
                <c:pt idx="71709">
                  <c:v>36.496859253807393</c:v>
                </c:pt>
                <c:pt idx="71710">
                  <c:v>24.17821114811094</c:v>
                </c:pt>
                <c:pt idx="71711">
                  <c:v>36.998566900183803</c:v>
                </c:pt>
                <c:pt idx="71712">
                  <c:v>49.159368562696365</c:v>
                </c:pt>
                <c:pt idx="71713">
                  <c:v>26.081394510146094</c:v>
                </c:pt>
                <c:pt idx="71714">
                  <c:v>36.139115217074036</c:v>
                </c:pt>
                <c:pt idx="71715">
                  <c:v>34.18785449152287</c:v>
                </c:pt>
                <c:pt idx="71716">
                  <c:v>20.739314419891429</c:v>
                </c:pt>
                <c:pt idx="71717">
                  <c:v>30.287257513977352</c:v>
                </c:pt>
                <c:pt idx="71718">
                  <c:v>24.108563014968645</c:v>
                </c:pt>
                <c:pt idx="71719">
                  <c:v>22.56282940246037</c:v>
                </c:pt>
                <c:pt idx="71720">
                  <c:v>33.65430711154174</c:v>
                </c:pt>
                <c:pt idx="71721">
                  <c:v>31.559444072591496</c:v>
                </c:pt>
                <c:pt idx="71722">
                  <c:v>18.766276903996701</c:v>
                </c:pt>
                <c:pt idx="71723">
                  <c:v>25.455780790462718</c:v>
                </c:pt>
                <c:pt idx="71724">
                  <c:v>47.45685011739873</c:v>
                </c:pt>
                <c:pt idx="71725">
                  <c:v>35.457395583089493</c:v>
                </c:pt>
                <c:pt idx="71726">
                  <c:v>28.43135626060463</c:v>
                </c:pt>
                <c:pt idx="71727">
                  <c:v>20.672747725042093</c:v>
                </c:pt>
                <c:pt idx="71728">
                  <c:v>37.444928022190396</c:v>
                </c:pt>
                <c:pt idx="71729">
                  <c:v>26.945703265566838</c:v>
                </c:pt>
                <c:pt idx="71730">
                  <c:v>26.739123202055172</c:v>
                </c:pt>
                <c:pt idx="71731">
                  <c:v>33.542150393585004</c:v>
                </c:pt>
                <c:pt idx="71732">
                  <c:v>50.466461893219289</c:v>
                </c:pt>
                <c:pt idx="71733">
                  <c:v>28.893608393130737</c:v>
                </c:pt>
                <c:pt idx="71734">
                  <c:v>35.235267454104758</c:v>
                </c:pt>
                <c:pt idx="71735">
                  <c:v>51.997266945928857</c:v>
                </c:pt>
                <c:pt idx="71736">
                  <c:v>41.14071896580441</c:v>
                </c:pt>
                <c:pt idx="71737">
                  <c:v>29.08944761265192</c:v>
                </c:pt>
                <c:pt idx="71738">
                  <c:v>19.862110589457544</c:v>
                </c:pt>
                <c:pt idx="71739">
                  <c:v>28.34483362847406</c:v>
                </c:pt>
                <c:pt idx="71740">
                  <c:v>49.583003432336191</c:v>
                </c:pt>
                <c:pt idx="71741">
                  <c:v>46.915448031340361</c:v>
                </c:pt>
                <c:pt idx="71742">
                  <c:v>22.207909760560003</c:v>
                </c:pt>
                <c:pt idx="71743">
                  <c:v>27.182843160465133</c:v>
                </c:pt>
                <c:pt idx="71744">
                  <c:v>22.825661264444889</c:v>
                </c:pt>
                <c:pt idx="71745">
                  <c:v>29.029096188130623</c:v>
                </c:pt>
                <c:pt idx="71746">
                  <c:v>26.579194747750694</c:v>
                </c:pt>
                <c:pt idx="71747">
                  <c:v>18.876837912606888</c:v>
                </c:pt>
                <c:pt idx="71748">
                  <c:v>23.751307500613432</c:v>
                </c:pt>
                <c:pt idx="71749">
                  <c:v>28.934536978704571</c:v>
                </c:pt>
                <c:pt idx="71750">
                  <c:v>30.260526789841755</c:v>
                </c:pt>
                <c:pt idx="71751">
                  <c:v>39.763082844955441</c:v>
                </c:pt>
                <c:pt idx="71752">
                  <c:v>31.044621082440528</c:v>
                </c:pt>
                <c:pt idx="71753">
                  <c:v>23.857168567611417</c:v>
                </c:pt>
                <c:pt idx="71754">
                  <c:v>37.25517173578217</c:v>
                </c:pt>
                <c:pt idx="71755">
                  <c:v>28.808392942813164</c:v>
                </c:pt>
                <c:pt idx="71756">
                  <c:v>25.744134435278124</c:v>
                </c:pt>
                <c:pt idx="71757">
                  <c:v>37.462067356025429</c:v>
                </c:pt>
                <c:pt idx="71758">
                  <c:v>54.024248217786379</c:v>
                </c:pt>
                <c:pt idx="71759">
                  <c:v>27.371448126334933</c:v>
                </c:pt>
                <c:pt idx="71760">
                  <c:v>33.209088612325466</c:v>
                </c:pt>
                <c:pt idx="71761">
                  <c:v>15.746301557676761</c:v>
                </c:pt>
                <c:pt idx="71762">
                  <c:v>39.26496667890833</c:v>
                </c:pt>
                <c:pt idx="71763">
                  <c:v>49.378455150833801</c:v>
                </c:pt>
                <c:pt idx="71764">
                  <c:v>19.786922785497762</c:v>
                </c:pt>
                <c:pt idx="71765">
                  <c:v>51.220009241456538</c:v>
                </c:pt>
                <c:pt idx="71766">
                  <c:v>42.033508785251243</c:v>
                </c:pt>
                <c:pt idx="71767">
                  <c:v>27.359733700445002</c:v>
                </c:pt>
                <c:pt idx="71768">
                  <c:v>29.916372704273542</c:v>
                </c:pt>
                <c:pt idx="71769">
                  <c:v>25.002135464785535</c:v>
                </c:pt>
                <c:pt idx="71770">
                  <c:v>31.285181019822396</c:v>
                </c:pt>
                <c:pt idx="71771">
                  <c:v>22.72203587190938</c:v>
                </c:pt>
                <c:pt idx="71772">
                  <c:v>25.597603506992382</c:v>
                </c:pt>
                <c:pt idx="71773">
                  <c:v>58.167605821778118</c:v>
                </c:pt>
                <c:pt idx="71774">
                  <c:v>32.499842405513547</c:v>
                </c:pt>
                <c:pt idx="71775">
                  <c:v>29.306808591720856</c:v>
                </c:pt>
                <c:pt idx="71776">
                  <c:v>25.925269134895274</c:v>
                </c:pt>
                <c:pt idx="71777">
                  <c:v>33.809570233618501</c:v>
                </c:pt>
                <c:pt idx="71778">
                  <c:v>28.555112308041085</c:v>
                </c:pt>
                <c:pt idx="71779">
                  <c:v>23.935636567365609</c:v>
                </c:pt>
                <c:pt idx="71780">
                  <c:v>20.762879720241326</c:v>
                </c:pt>
                <c:pt idx="71781">
                  <c:v>46.864568286615061</c:v>
                </c:pt>
                <c:pt idx="71782">
                  <c:v>15.493568721861886</c:v>
                </c:pt>
                <c:pt idx="71783">
                  <c:v>17.634455722512868</c:v>
                </c:pt>
                <c:pt idx="71784">
                  <c:v>22.259343956590918</c:v>
                </c:pt>
                <c:pt idx="71785">
                  <c:v>24.15447103233598</c:v>
                </c:pt>
                <c:pt idx="71786">
                  <c:v>25.126645842554314</c:v>
                </c:pt>
                <c:pt idx="71787">
                  <c:v>39.329108625628628</c:v>
                </c:pt>
                <c:pt idx="71788">
                  <c:v>41.275202692233783</c:v>
                </c:pt>
                <c:pt idx="71789">
                  <c:v>27.262890476861756</c:v>
                </c:pt>
                <c:pt idx="71790">
                  <c:v>32.170723489502379</c:v>
                </c:pt>
                <c:pt idx="71791">
                  <c:v>19.357002462740951</c:v>
                </c:pt>
                <c:pt idx="71792">
                  <c:v>25.274656973436272</c:v>
                </c:pt>
                <c:pt idx="71793">
                  <c:v>23.428455839154587</c:v>
                </c:pt>
                <c:pt idx="71794">
                  <c:v>35.427889051745915</c:v>
                </c:pt>
                <c:pt idx="71795">
                  <c:v>27.235144014389483</c:v>
                </c:pt>
                <c:pt idx="71796">
                  <c:v>27.185662442279575</c:v>
                </c:pt>
                <c:pt idx="71797">
                  <c:v>29.523687153937015</c:v>
                </c:pt>
                <c:pt idx="71798">
                  <c:v>20.159180238094365</c:v>
                </c:pt>
                <c:pt idx="71799">
                  <c:v>25.835717928371636</c:v>
                </c:pt>
                <c:pt idx="71800">
                  <c:v>37.297670848238113</c:v>
                </c:pt>
                <c:pt idx="71801">
                  <c:v>45.445120315197535</c:v>
                </c:pt>
                <c:pt idx="71802">
                  <c:v>55.247640355215452</c:v>
                </c:pt>
                <c:pt idx="71803">
                  <c:v>31.192266507488533</c:v>
                </c:pt>
                <c:pt idx="71804">
                  <c:v>33.105190899754007</c:v>
                </c:pt>
                <c:pt idx="71805">
                  <c:v>30.874017275879119</c:v>
                </c:pt>
                <c:pt idx="71806">
                  <c:v>22.897997380563979</c:v>
                </c:pt>
                <c:pt idx="71807">
                  <c:v>47.852479490312419</c:v>
                </c:pt>
                <c:pt idx="71808">
                  <c:v>34.303373537269024</c:v>
                </c:pt>
                <c:pt idx="71809">
                  <c:v>37.908232204172464</c:v>
                </c:pt>
                <c:pt idx="71810">
                  <c:v>52.443101430957512</c:v>
                </c:pt>
                <c:pt idx="71811">
                  <c:v>21.041561956435732</c:v>
                </c:pt>
                <c:pt idx="71812">
                  <c:v>20.614682123877618</c:v>
                </c:pt>
                <c:pt idx="71813">
                  <c:v>54.170742249265707</c:v>
                </c:pt>
                <c:pt idx="71814">
                  <c:v>50.329079655621001</c:v>
                </c:pt>
                <c:pt idx="71815">
                  <c:v>46.948948674731028</c:v>
                </c:pt>
                <c:pt idx="71816">
                  <c:v>25.459366936072577</c:v>
                </c:pt>
                <c:pt idx="71817">
                  <c:v>26.958923662758639</c:v>
                </c:pt>
                <c:pt idx="71818">
                  <c:v>53.729357262807511</c:v>
                </c:pt>
                <c:pt idx="71819">
                  <c:v>31.540237895771551</c:v>
                </c:pt>
                <c:pt idx="71820">
                  <c:v>28.906476746263831</c:v>
                </c:pt>
                <c:pt idx="71821">
                  <c:v>24.564090553725634</c:v>
                </c:pt>
                <c:pt idx="71822">
                  <c:v>27.805808322662628</c:v>
                </c:pt>
                <c:pt idx="71823">
                  <c:v>26.766890657883472</c:v>
                </c:pt>
                <c:pt idx="71824">
                  <c:v>25.860521897351695</c:v>
                </c:pt>
                <c:pt idx="71825">
                  <c:v>29.544696357800674</c:v>
                </c:pt>
                <c:pt idx="71826">
                  <c:v>44.235388906494137</c:v>
                </c:pt>
                <c:pt idx="71827">
                  <c:v>20.91283379934395</c:v>
                </c:pt>
                <c:pt idx="71828">
                  <c:v>20.503243503971266</c:v>
                </c:pt>
                <c:pt idx="71829">
                  <c:v>33.10885845543315</c:v>
                </c:pt>
                <c:pt idx="71830">
                  <c:v>24.639494941194524</c:v>
                </c:pt>
                <c:pt idx="71831">
                  <c:v>23.843830900250854</c:v>
                </c:pt>
                <c:pt idx="71832">
                  <c:v>23.378205626955502</c:v>
                </c:pt>
                <c:pt idx="71833">
                  <c:v>22.902169239675434</c:v>
                </c:pt>
                <c:pt idx="71834">
                  <c:v>25.152647097043246</c:v>
                </c:pt>
                <c:pt idx="71835">
                  <c:v>36.073936620253505</c:v>
                </c:pt>
                <c:pt idx="71836">
                  <c:v>24.42766618287682</c:v>
                </c:pt>
                <c:pt idx="71837">
                  <c:v>52.199891064888384</c:v>
                </c:pt>
                <c:pt idx="71838">
                  <c:v>21.29856978855582</c:v>
                </c:pt>
                <c:pt idx="71839">
                  <c:v>35.877736049811084</c:v>
                </c:pt>
                <c:pt idx="71840">
                  <c:v>39.49868697386129</c:v>
                </c:pt>
                <c:pt idx="71841">
                  <c:v>29.589464327489672</c:v>
                </c:pt>
                <c:pt idx="71842">
                  <c:v>48.183777053428926</c:v>
                </c:pt>
                <c:pt idx="71843">
                  <c:v>43.762058319824206</c:v>
                </c:pt>
                <c:pt idx="71844">
                  <c:v>29.39567166498998</c:v>
                </c:pt>
                <c:pt idx="71845">
                  <c:v>40.548505432542747</c:v>
                </c:pt>
                <c:pt idx="71846">
                  <c:v>45.625937187063485</c:v>
                </c:pt>
                <c:pt idx="71847">
                  <c:v>30.136352000396965</c:v>
                </c:pt>
                <c:pt idx="71848">
                  <c:v>31.605040497103484</c:v>
                </c:pt>
                <c:pt idx="71849">
                  <c:v>51.116400143154053</c:v>
                </c:pt>
                <c:pt idx="71850">
                  <c:v>27.092783241050309</c:v>
                </c:pt>
                <c:pt idx="71851">
                  <c:v>25.424658812509954</c:v>
                </c:pt>
                <c:pt idx="71852">
                  <c:v>20.231561024646698</c:v>
                </c:pt>
                <c:pt idx="71853">
                  <c:v>57.417665594378292</c:v>
                </c:pt>
                <c:pt idx="71854">
                  <c:v>25.186126723785474</c:v>
                </c:pt>
                <c:pt idx="71855">
                  <c:v>24.586814928651265</c:v>
                </c:pt>
                <c:pt idx="71856">
                  <c:v>27.612966628265795</c:v>
                </c:pt>
                <c:pt idx="71857">
                  <c:v>29.136834780524353</c:v>
                </c:pt>
                <c:pt idx="71858">
                  <c:v>31.86936655596061</c:v>
                </c:pt>
                <c:pt idx="71859">
                  <c:v>23.136685637944861</c:v>
                </c:pt>
                <c:pt idx="71860">
                  <c:v>27.05363248069413</c:v>
                </c:pt>
                <c:pt idx="71861">
                  <c:v>32.217044869971794</c:v>
                </c:pt>
                <c:pt idx="71862">
                  <c:v>19.352744824828612</c:v>
                </c:pt>
                <c:pt idx="71863">
                  <c:v>36.205399522780418</c:v>
                </c:pt>
                <c:pt idx="71864">
                  <c:v>23.896447248270157</c:v>
                </c:pt>
                <c:pt idx="71865">
                  <c:v>51.806695774944501</c:v>
                </c:pt>
                <c:pt idx="71866">
                  <c:v>45.944420421187573</c:v>
                </c:pt>
                <c:pt idx="71867">
                  <c:v>17.799772177463606</c:v>
                </c:pt>
                <c:pt idx="71868">
                  <c:v>28.985896625385138</c:v>
                </c:pt>
                <c:pt idx="71869">
                  <c:v>29.157789512226415</c:v>
                </c:pt>
                <c:pt idx="71870">
                  <c:v>41.778488565165226</c:v>
                </c:pt>
                <c:pt idx="71871">
                  <c:v>40.381795786512292</c:v>
                </c:pt>
                <c:pt idx="71872">
                  <c:v>21.140252699187329</c:v>
                </c:pt>
                <c:pt idx="71873">
                  <c:v>38.734611414779572</c:v>
                </c:pt>
                <c:pt idx="71874">
                  <c:v>50.387048931754357</c:v>
                </c:pt>
                <c:pt idx="71875">
                  <c:v>27.695434040122411</c:v>
                </c:pt>
                <c:pt idx="71876">
                  <c:v>35.874840495480562</c:v>
                </c:pt>
                <c:pt idx="71877">
                  <c:v>27.184048605377054</c:v>
                </c:pt>
                <c:pt idx="71878">
                  <c:v>54.222428579451815</c:v>
                </c:pt>
                <c:pt idx="71879">
                  <c:v>19.373269292833601</c:v>
                </c:pt>
                <c:pt idx="71880">
                  <c:v>49.137679073506426</c:v>
                </c:pt>
                <c:pt idx="71881">
                  <c:v>19.549995958618752</c:v>
                </c:pt>
                <c:pt idx="71882">
                  <c:v>29.848577121650855</c:v>
                </c:pt>
                <c:pt idx="71883">
                  <c:v>51.880883676640352</c:v>
                </c:pt>
                <c:pt idx="71884">
                  <c:v>29.140165578723437</c:v>
                </c:pt>
                <c:pt idx="71885">
                  <c:v>51.72909085147262</c:v>
                </c:pt>
                <c:pt idx="71886">
                  <c:v>19.177190681314176</c:v>
                </c:pt>
                <c:pt idx="71887">
                  <c:v>32.993897299611085</c:v>
                </c:pt>
                <c:pt idx="71888">
                  <c:v>40.161063858622015</c:v>
                </c:pt>
                <c:pt idx="71889">
                  <c:v>39.993443410126488</c:v>
                </c:pt>
                <c:pt idx="71890">
                  <c:v>19.039667863875557</c:v>
                </c:pt>
                <c:pt idx="71891">
                  <c:v>43.841230070582696</c:v>
                </c:pt>
                <c:pt idx="71892">
                  <c:v>37.735313785816494</c:v>
                </c:pt>
                <c:pt idx="71893">
                  <c:v>26.942375168159163</c:v>
                </c:pt>
                <c:pt idx="71894">
                  <c:v>21.827460885866063</c:v>
                </c:pt>
                <c:pt idx="71895">
                  <c:v>19.554129182290332</c:v>
                </c:pt>
                <c:pt idx="71896">
                  <c:v>25.059172556079105</c:v>
                </c:pt>
                <c:pt idx="71897">
                  <c:v>14.986552408652061</c:v>
                </c:pt>
                <c:pt idx="71898">
                  <c:v>32.275539495826578</c:v>
                </c:pt>
                <c:pt idx="71899">
                  <c:v>35.975549193098452</c:v>
                </c:pt>
                <c:pt idx="71900">
                  <c:v>25.19263392650408</c:v>
                </c:pt>
                <c:pt idx="71901">
                  <c:v>20.31090147385105</c:v>
                </c:pt>
                <c:pt idx="71902">
                  <c:v>25.931269249552344</c:v>
                </c:pt>
                <c:pt idx="71903">
                  <c:v>31.255499200331172</c:v>
                </c:pt>
                <c:pt idx="71904">
                  <c:v>35.185292384024336</c:v>
                </c:pt>
                <c:pt idx="71905">
                  <c:v>21.381410574310451</c:v>
                </c:pt>
                <c:pt idx="71906">
                  <c:v>20.813809378966251</c:v>
                </c:pt>
                <c:pt idx="71907">
                  <c:v>43.589398003473534</c:v>
                </c:pt>
                <c:pt idx="71908">
                  <c:v>46.321045459854538</c:v>
                </c:pt>
                <c:pt idx="71909">
                  <c:v>24.757910611181536</c:v>
                </c:pt>
                <c:pt idx="71910">
                  <c:v>19.170255763836387</c:v>
                </c:pt>
                <c:pt idx="71911">
                  <c:v>33.898792619877511</c:v>
                </c:pt>
                <c:pt idx="71912">
                  <c:v>52.678357411745061</c:v>
                </c:pt>
                <c:pt idx="71913">
                  <c:v>28.185385203726895</c:v>
                </c:pt>
                <c:pt idx="71914">
                  <c:v>29.081651741086894</c:v>
                </c:pt>
                <c:pt idx="71915">
                  <c:v>41.924984347533091</c:v>
                </c:pt>
                <c:pt idx="71916">
                  <c:v>21.29487426357052</c:v>
                </c:pt>
                <c:pt idx="71917">
                  <c:v>26.939552240786757</c:v>
                </c:pt>
                <c:pt idx="71918">
                  <c:v>43.798549840590745</c:v>
                </c:pt>
                <c:pt idx="71919">
                  <c:v>26.374673393667656</c:v>
                </c:pt>
                <c:pt idx="71920">
                  <c:v>38.56345725601232</c:v>
                </c:pt>
                <c:pt idx="71921">
                  <c:v>36.975909634294581</c:v>
                </c:pt>
                <c:pt idx="71922">
                  <c:v>27.15837695861515</c:v>
                </c:pt>
                <c:pt idx="71923">
                  <c:v>22.208399985035342</c:v>
                </c:pt>
                <c:pt idx="71924">
                  <c:v>26.174070251792159</c:v>
                </c:pt>
                <c:pt idx="71925">
                  <c:v>16.633886207559392</c:v>
                </c:pt>
                <c:pt idx="71926">
                  <c:v>26.748426431479682</c:v>
                </c:pt>
                <c:pt idx="71927">
                  <c:v>25.975914718820626</c:v>
                </c:pt>
                <c:pt idx="71928">
                  <c:v>40.958135880923294</c:v>
                </c:pt>
                <c:pt idx="71929">
                  <c:v>50.654878401265506</c:v>
                </c:pt>
                <c:pt idx="71930">
                  <c:v>30.680422951455849</c:v>
                </c:pt>
                <c:pt idx="71931">
                  <c:v>40.165337061374494</c:v>
                </c:pt>
                <c:pt idx="71932">
                  <c:v>24.231774341847135</c:v>
                </c:pt>
                <c:pt idx="71933">
                  <c:v>24.623541100347786</c:v>
                </c:pt>
                <c:pt idx="71934">
                  <c:v>20.672701534429343</c:v>
                </c:pt>
                <c:pt idx="71935">
                  <c:v>33.817990708400693</c:v>
                </c:pt>
                <c:pt idx="71936">
                  <c:v>24.015971768097625</c:v>
                </c:pt>
                <c:pt idx="71937">
                  <c:v>42.894959593583451</c:v>
                </c:pt>
                <c:pt idx="71938">
                  <c:v>27.892893058140359</c:v>
                </c:pt>
                <c:pt idx="71939">
                  <c:v>38.460910529862481</c:v>
                </c:pt>
                <c:pt idx="71940">
                  <c:v>41.679722181339294</c:v>
                </c:pt>
                <c:pt idx="71941">
                  <c:v>27.98760363408682</c:v>
                </c:pt>
                <c:pt idx="71942">
                  <c:v>20.650685270517506</c:v>
                </c:pt>
                <c:pt idx="71943">
                  <c:v>21.897079096422793</c:v>
                </c:pt>
                <c:pt idx="71944">
                  <c:v>26.532102850004943</c:v>
                </c:pt>
                <c:pt idx="71945">
                  <c:v>30.335968783494685</c:v>
                </c:pt>
                <c:pt idx="71946">
                  <c:v>22.156730281938263</c:v>
                </c:pt>
                <c:pt idx="71947">
                  <c:v>21.988077599273346</c:v>
                </c:pt>
                <c:pt idx="71948">
                  <c:v>24.477176068570934</c:v>
                </c:pt>
                <c:pt idx="71949">
                  <c:v>32.734513840764301</c:v>
                </c:pt>
                <c:pt idx="71950">
                  <c:v>37.8070812603763</c:v>
                </c:pt>
                <c:pt idx="71951">
                  <c:v>36.637862972485358</c:v>
                </c:pt>
                <c:pt idx="71952">
                  <c:v>21.364803623972747</c:v>
                </c:pt>
                <c:pt idx="71953">
                  <c:v>49.808155249891549</c:v>
                </c:pt>
                <c:pt idx="71954">
                  <c:v>23.348836869379682</c:v>
                </c:pt>
                <c:pt idx="71955">
                  <c:v>36.277530071496066</c:v>
                </c:pt>
                <c:pt idx="71956">
                  <c:v>31.984617105357383</c:v>
                </c:pt>
                <c:pt idx="71957">
                  <c:v>25.800055640538734</c:v>
                </c:pt>
                <c:pt idx="71958">
                  <c:v>21.156138922113875</c:v>
                </c:pt>
                <c:pt idx="71959">
                  <c:v>45.433169237080513</c:v>
                </c:pt>
                <c:pt idx="71960">
                  <c:v>30.016812487147888</c:v>
                </c:pt>
                <c:pt idx="71961">
                  <c:v>46.375218716622207</c:v>
                </c:pt>
                <c:pt idx="71962">
                  <c:v>37.82448035861276</c:v>
                </c:pt>
                <c:pt idx="71963">
                  <c:v>28.86153515196337</c:v>
                </c:pt>
                <c:pt idx="71964">
                  <c:v>30.643382937599668</c:v>
                </c:pt>
                <c:pt idx="71965">
                  <c:v>24.993064712407854</c:v>
                </c:pt>
                <c:pt idx="71966">
                  <c:v>25.552374052241781</c:v>
                </c:pt>
                <c:pt idx="71967">
                  <c:v>27.583129419945863</c:v>
                </c:pt>
                <c:pt idx="71968">
                  <c:v>38.951588414020485</c:v>
                </c:pt>
                <c:pt idx="71969">
                  <c:v>21.82310851585201</c:v>
                </c:pt>
                <c:pt idx="71970">
                  <c:v>33.162213314692188</c:v>
                </c:pt>
                <c:pt idx="71971">
                  <c:v>27.057794674447358</c:v>
                </c:pt>
                <c:pt idx="71972">
                  <c:v>28.758932842663278</c:v>
                </c:pt>
                <c:pt idx="71973">
                  <c:v>25.939093286699098</c:v>
                </c:pt>
                <c:pt idx="71974">
                  <c:v>29.073256902690357</c:v>
                </c:pt>
                <c:pt idx="71975">
                  <c:v>28.696944465164815</c:v>
                </c:pt>
                <c:pt idx="71976">
                  <c:v>32.603170542897097</c:v>
                </c:pt>
                <c:pt idx="71977">
                  <c:v>20.430180698524648</c:v>
                </c:pt>
                <c:pt idx="71978">
                  <c:v>27.790151659460555</c:v>
                </c:pt>
                <c:pt idx="71979">
                  <c:v>29.173373900790985</c:v>
                </c:pt>
                <c:pt idx="71980">
                  <c:v>50.453207664550241</c:v>
                </c:pt>
                <c:pt idx="71981">
                  <c:v>20.267280013442456</c:v>
                </c:pt>
                <c:pt idx="71982">
                  <c:v>42.499472013833284</c:v>
                </c:pt>
                <c:pt idx="71983">
                  <c:v>36.398103527307818</c:v>
                </c:pt>
                <c:pt idx="71984">
                  <c:v>46.6153669953353</c:v>
                </c:pt>
                <c:pt idx="71985">
                  <c:v>27.130408435915598</c:v>
                </c:pt>
                <c:pt idx="71986">
                  <c:v>35.936995463752822</c:v>
                </c:pt>
                <c:pt idx="71987">
                  <c:v>33.949100361367208</c:v>
                </c:pt>
                <c:pt idx="71988">
                  <c:v>29.428113405600389</c:v>
                </c:pt>
                <c:pt idx="71989">
                  <c:v>29.237718718479893</c:v>
                </c:pt>
                <c:pt idx="71990">
                  <c:v>40.031840887059161</c:v>
                </c:pt>
                <c:pt idx="71991">
                  <c:v>47.6078617863704</c:v>
                </c:pt>
                <c:pt idx="71992">
                  <c:v>21.80024608732478</c:v>
                </c:pt>
                <c:pt idx="71993">
                  <c:v>29.863844677046469</c:v>
                </c:pt>
                <c:pt idx="71994">
                  <c:v>22.885821085003684</c:v>
                </c:pt>
                <c:pt idx="71995">
                  <c:v>30.776312286257834</c:v>
                </c:pt>
                <c:pt idx="71996">
                  <c:v>18.845624913522656</c:v>
                </c:pt>
                <c:pt idx="71997">
                  <c:v>30.320927574170305</c:v>
                </c:pt>
                <c:pt idx="71998">
                  <c:v>25.278697245776275</c:v>
                </c:pt>
                <c:pt idx="71999">
                  <c:v>39.916641091224676</c:v>
                </c:pt>
                <c:pt idx="72000">
                  <c:v>45.103142050325104</c:v>
                </c:pt>
                <c:pt idx="72001">
                  <c:v>28.139510696758514</c:v>
                </c:pt>
                <c:pt idx="72002">
                  <c:v>21.366334714176322</c:v>
                </c:pt>
                <c:pt idx="72003">
                  <c:v>21.499607138511852</c:v>
                </c:pt>
                <c:pt idx="72004">
                  <c:v>29.239326123431255</c:v>
                </c:pt>
                <c:pt idx="72005">
                  <c:v>21.000254787393555</c:v>
                </c:pt>
                <c:pt idx="72006">
                  <c:v>32.096109639272555</c:v>
                </c:pt>
                <c:pt idx="72007">
                  <c:v>34.318973162527875</c:v>
                </c:pt>
                <c:pt idx="72008">
                  <c:v>45.020280776679591</c:v>
                </c:pt>
                <c:pt idx="72009">
                  <c:v>21.484051928261295</c:v>
                </c:pt>
                <c:pt idx="72010">
                  <c:v>24.358629688367891</c:v>
                </c:pt>
                <c:pt idx="72011">
                  <c:v>22.399026457846361</c:v>
                </c:pt>
                <c:pt idx="72012">
                  <c:v>26.145197201321043</c:v>
                </c:pt>
                <c:pt idx="72013">
                  <c:v>25.875920480872161</c:v>
                </c:pt>
                <c:pt idx="72014">
                  <c:v>25.835777245762259</c:v>
                </c:pt>
                <c:pt idx="72015">
                  <c:v>28.088808591410022</c:v>
                </c:pt>
                <c:pt idx="72016">
                  <c:v>25.665985334111667</c:v>
                </c:pt>
                <c:pt idx="72017">
                  <c:v>54.493045311230361</c:v>
                </c:pt>
                <c:pt idx="72018">
                  <c:v>21.164583550691486</c:v>
                </c:pt>
                <c:pt idx="72019">
                  <c:v>26.093545321344354</c:v>
                </c:pt>
                <c:pt idx="72020">
                  <c:v>29.867456559552995</c:v>
                </c:pt>
                <c:pt idx="72021">
                  <c:v>47.980552251571844</c:v>
                </c:pt>
                <c:pt idx="72022">
                  <c:v>25.955698134288379</c:v>
                </c:pt>
                <c:pt idx="72023">
                  <c:v>23.472639192185579</c:v>
                </c:pt>
                <c:pt idx="72024">
                  <c:v>25.038480403775431</c:v>
                </c:pt>
                <c:pt idx="72025">
                  <c:v>28.447532085121857</c:v>
                </c:pt>
                <c:pt idx="72026">
                  <c:v>37.975236433171808</c:v>
                </c:pt>
                <c:pt idx="72027">
                  <c:v>20.295924359178947</c:v>
                </c:pt>
                <c:pt idx="72028">
                  <c:v>25.867152476376486</c:v>
                </c:pt>
                <c:pt idx="72029">
                  <c:v>25.187946461438688</c:v>
                </c:pt>
                <c:pt idx="72030">
                  <c:v>50.635339338914385</c:v>
                </c:pt>
                <c:pt idx="72031">
                  <c:v>26.587025436283284</c:v>
                </c:pt>
                <c:pt idx="72032">
                  <c:v>19.906896693883635</c:v>
                </c:pt>
                <c:pt idx="72033">
                  <c:v>30.366306448089446</c:v>
                </c:pt>
                <c:pt idx="72034">
                  <c:v>21.042414707986531</c:v>
                </c:pt>
                <c:pt idx="72035">
                  <c:v>45.370357202583236</c:v>
                </c:pt>
                <c:pt idx="72036">
                  <c:v>19.764009358206735</c:v>
                </c:pt>
                <c:pt idx="72037">
                  <c:v>45.836084769676653</c:v>
                </c:pt>
                <c:pt idx="72038">
                  <c:v>29.108545367985833</c:v>
                </c:pt>
                <c:pt idx="72039">
                  <c:v>22.366742278442803</c:v>
                </c:pt>
                <c:pt idx="72040">
                  <c:v>24.309022681318631</c:v>
                </c:pt>
                <c:pt idx="72041">
                  <c:v>26.429263793524203</c:v>
                </c:pt>
                <c:pt idx="72042">
                  <c:v>33.655338731260962</c:v>
                </c:pt>
                <c:pt idx="72043">
                  <c:v>27.281447579312108</c:v>
                </c:pt>
                <c:pt idx="72044">
                  <c:v>32.706527690781009</c:v>
                </c:pt>
                <c:pt idx="72045">
                  <c:v>19.901596357714183</c:v>
                </c:pt>
                <c:pt idx="72046">
                  <c:v>25.16046834563458</c:v>
                </c:pt>
                <c:pt idx="72047">
                  <c:v>64.362621135039689</c:v>
                </c:pt>
                <c:pt idx="72048">
                  <c:v>27.537754893308126</c:v>
                </c:pt>
                <c:pt idx="72049">
                  <c:v>18.969143805136238</c:v>
                </c:pt>
                <c:pt idx="72050">
                  <c:v>21.557883730568705</c:v>
                </c:pt>
                <c:pt idx="72051">
                  <c:v>30.766746586860229</c:v>
                </c:pt>
                <c:pt idx="72052">
                  <c:v>52.28004666312237</c:v>
                </c:pt>
                <c:pt idx="72053">
                  <c:v>28.658215932201628</c:v>
                </c:pt>
                <c:pt idx="72054">
                  <c:v>22.624038535527625</c:v>
                </c:pt>
                <c:pt idx="72055">
                  <c:v>39.98096854074975</c:v>
                </c:pt>
                <c:pt idx="72056">
                  <c:v>18.900286667405549</c:v>
                </c:pt>
                <c:pt idx="72057">
                  <c:v>51.375176952307633</c:v>
                </c:pt>
                <c:pt idx="72058">
                  <c:v>45.190205294848745</c:v>
                </c:pt>
                <c:pt idx="72059">
                  <c:v>35.993543573397446</c:v>
                </c:pt>
                <c:pt idx="72060">
                  <c:v>23.621669142849811</c:v>
                </c:pt>
                <c:pt idx="72061">
                  <c:v>17.550062434845458</c:v>
                </c:pt>
                <c:pt idx="72062">
                  <c:v>20.682470133348321</c:v>
                </c:pt>
                <c:pt idx="72063">
                  <c:v>31.468381932419529</c:v>
                </c:pt>
                <c:pt idx="72064">
                  <c:v>28.491944854551022</c:v>
                </c:pt>
                <c:pt idx="72065">
                  <c:v>31.477606487526252</c:v>
                </c:pt>
                <c:pt idx="72066">
                  <c:v>26.352519926268862</c:v>
                </c:pt>
                <c:pt idx="72067">
                  <c:v>20.785421983430407</c:v>
                </c:pt>
                <c:pt idx="72068">
                  <c:v>22.879338477687817</c:v>
                </c:pt>
                <c:pt idx="72069">
                  <c:v>27.998183247460858</c:v>
                </c:pt>
                <c:pt idx="72070">
                  <c:v>19.800383142103872</c:v>
                </c:pt>
                <c:pt idx="72071">
                  <c:v>18.62772942717783</c:v>
                </c:pt>
                <c:pt idx="72072">
                  <c:v>36.007369251419355</c:v>
                </c:pt>
                <c:pt idx="72073">
                  <c:v>20.965201731246999</c:v>
                </c:pt>
                <c:pt idx="72074">
                  <c:v>40.521170330637688</c:v>
                </c:pt>
                <c:pt idx="72075">
                  <c:v>20.794897470286067</c:v>
                </c:pt>
                <c:pt idx="72076">
                  <c:v>23.470487360765805</c:v>
                </c:pt>
                <c:pt idx="72077">
                  <c:v>41.56573530133069</c:v>
                </c:pt>
                <c:pt idx="72078">
                  <c:v>30.983276429487201</c:v>
                </c:pt>
                <c:pt idx="72079">
                  <c:v>32.415406287194259</c:v>
                </c:pt>
                <c:pt idx="72080">
                  <c:v>35.153795592558083</c:v>
                </c:pt>
                <c:pt idx="72081">
                  <c:v>27.407249885542548</c:v>
                </c:pt>
                <c:pt idx="72082">
                  <c:v>46.577635891446889</c:v>
                </c:pt>
                <c:pt idx="72083">
                  <c:v>30.786378531901661</c:v>
                </c:pt>
                <c:pt idx="72084">
                  <c:v>25.19423821092094</c:v>
                </c:pt>
                <c:pt idx="72085">
                  <c:v>40.554081452235323</c:v>
                </c:pt>
                <c:pt idx="72086">
                  <c:v>26.996205508870254</c:v>
                </c:pt>
                <c:pt idx="72087">
                  <c:v>27.807608686336806</c:v>
                </c:pt>
                <c:pt idx="72088">
                  <c:v>47.100919274392481</c:v>
                </c:pt>
                <c:pt idx="72089">
                  <c:v>34.414684701543933</c:v>
                </c:pt>
                <c:pt idx="72090">
                  <c:v>39.929186946592971</c:v>
                </c:pt>
                <c:pt idx="72091">
                  <c:v>25.746958561190951</c:v>
                </c:pt>
                <c:pt idx="72092">
                  <c:v>23.54822014043922</c:v>
                </c:pt>
                <c:pt idx="72093">
                  <c:v>34.905488337395035</c:v>
                </c:pt>
                <c:pt idx="72094">
                  <c:v>51.500486978670551</c:v>
                </c:pt>
                <c:pt idx="72095">
                  <c:v>19.429628831472641</c:v>
                </c:pt>
                <c:pt idx="72096">
                  <c:v>22.290406416099227</c:v>
                </c:pt>
                <c:pt idx="72097">
                  <c:v>30.82893486452452</c:v>
                </c:pt>
                <c:pt idx="72098">
                  <c:v>52.811454908900039</c:v>
                </c:pt>
                <c:pt idx="72099">
                  <c:v>18.756444455830369</c:v>
                </c:pt>
                <c:pt idx="72100">
                  <c:v>17.069220508314064</c:v>
                </c:pt>
                <c:pt idx="72101">
                  <c:v>33.280379185694358</c:v>
                </c:pt>
                <c:pt idx="72102">
                  <c:v>47.315674426172535</c:v>
                </c:pt>
                <c:pt idx="72103">
                  <c:v>18.425626895942205</c:v>
                </c:pt>
                <c:pt idx="72104">
                  <c:v>27.846238369795653</c:v>
                </c:pt>
                <c:pt idx="72105">
                  <c:v>45.032616858705524</c:v>
                </c:pt>
                <c:pt idx="72106">
                  <c:v>23.702256730541837</c:v>
                </c:pt>
                <c:pt idx="72107">
                  <c:v>27.525712885751627</c:v>
                </c:pt>
                <c:pt idx="72108">
                  <c:v>29.560066079481548</c:v>
                </c:pt>
                <c:pt idx="72109">
                  <c:v>38.845922102959207</c:v>
                </c:pt>
                <c:pt idx="72110">
                  <c:v>23.390649124866894</c:v>
                </c:pt>
                <c:pt idx="72111">
                  <c:v>29.566999859205502</c:v>
                </c:pt>
                <c:pt idx="72112">
                  <c:v>23.702012938362984</c:v>
                </c:pt>
                <c:pt idx="72113">
                  <c:v>42.980314837899485</c:v>
                </c:pt>
                <c:pt idx="72114">
                  <c:v>21.139592701334912</c:v>
                </c:pt>
                <c:pt idx="72115">
                  <c:v>24.611553061702686</c:v>
                </c:pt>
                <c:pt idx="72116">
                  <c:v>47.397297461296986</c:v>
                </c:pt>
                <c:pt idx="72117">
                  <c:v>29.132313501562827</c:v>
                </c:pt>
                <c:pt idx="72118">
                  <c:v>24.741029360322525</c:v>
                </c:pt>
                <c:pt idx="72119">
                  <c:v>39.761705202602521</c:v>
                </c:pt>
                <c:pt idx="72120">
                  <c:v>22.494210031980632</c:v>
                </c:pt>
                <c:pt idx="72121">
                  <c:v>27.174284680972598</c:v>
                </c:pt>
                <c:pt idx="72122">
                  <c:v>19.808195423712391</c:v>
                </c:pt>
                <c:pt idx="72123">
                  <c:v>43.058901185050487</c:v>
                </c:pt>
                <c:pt idx="72124">
                  <c:v>50.767718443459827</c:v>
                </c:pt>
                <c:pt idx="72125">
                  <c:v>34.639312820782038</c:v>
                </c:pt>
                <c:pt idx="72126">
                  <c:v>39.584427503924431</c:v>
                </c:pt>
                <c:pt idx="72127">
                  <c:v>28.608329418749349</c:v>
                </c:pt>
                <c:pt idx="72128">
                  <c:v>29.157497996554856</c:v>
                </c:pt>
                <c:pt idx="72129">
                  <c:v>40.598473746135575</c:v>
                </c:pt>
                <c:pt idx="72130">
                  <c:v>27.081504930014578</c:v>
                </c:pt>
                <c:pt idx="72131">
                  <c:v>38.734609000470137</c:v>
                </c:pt>
                <c:pt idx="72132">
                  <c:v>32.706194287186818</c:v>
                </c:pt>
                <c:pt idx="72133">
                  <c:v>30.100301460666032</c:v>
                </c:pt>
                <c:pt idx="72134">
                  <c:v>30.056612994221389</c:v>
                </c:pt>
                <c:pt idx="72135">
                  <c:v>32.768592876980946</c:v>
                </c:pt>
                <c:pt idx="72136">
                  <c:v>36.906848042648022</c:v>
                </c:pt>
                <c:pt idx="72137">
                  <c:v>54.310702850838048</c:v>
                </c:pt>
                <c:pt idx="72138">
                  <c:v>30.366287031815453</c:v>
                </c:pt>
                <c:pt idx="72139">
                  <c:v>28.037372200427782</c:v>
                </c:pt>
                <c:pt idx="72140">
                  <c:v>16.001576134952618</c:v>
                </c:pt>
                <c:pt idx="72141">
                  <c:v>20.79982809883089</c:v>
                </c:pt>
                <c:pt idx="72142">
                  <c:v>42.647974923855884</c:v>
                </c:pt>
                <c:pt idx="72143">
                  <c:v>26.145917839081591</c:v>
                </c:pt>
                <c:pt idx="72144">
                  <c:v>23.052701421593447</c:v>
                </c:pt>
                <c:pt idx="72145">
                  <c:v>36.070747635046786</c:v>
                </c:pt>
                <c:pt idx="72146">
                  <c:v>30.517049663825958</c:v>
                </c:pt>
                <c:pt idx="72147">
                  <c:v>44.970895762492702</c:v>
                </c:pt>
                <c:pt idx="72148">
                  <c:v>23.560754240720108</c:v>
                </c:pt>
                <c:pt idx="72149">
                  <c:v>30.602799696949333</c:v>
                </c:pt>
                <c:pt idx="72150">
                  <c:v>27.903223384661523</c:v>
                </c:pt>
                <c:pt idx="72151">
                  <c:v>55.009690388226488</c:v>
                </c:pt>
                <c:pt idx="72152">
                  <c:v>31.999680941213281</c:v>
                </c:pt>
                <c:pt idx="72153">
                  <c:v>46.609944680201949</c:v>
                </c:pt>
                <c:pt idx="72154">
                  <c:v>26.621089685704547</c:v>
                </c:pt>
                <c:pt idx="72155">
                  <c:v>26.582970974196698</c:v>
                </c:pt>
                <c:pt idx="72156">
                  <c:v>29.082441673741243</c:v>
                </c:pt>
                <c:pt idx="72157">
                  <c:v>41.54612594708091</c:v>
                </c:pt>
                <c:pt idx="72158">
                  <c:v>24.037498212861749</c:v>
                </c:pt>
                <c:pt idx="72159">
                  <c:v>26.15931613014887</c:v>
                </c:pt>
                <c:pt idx="72160">
                  <c:v>34.502842905763693</c:v>
                </c:pt>
                <c:pt idx="72161">
                  <c:v>57.850173345965494</c:v>
                </c:pt>
                <c:pt idx="72162">
                  <c:v>24.407727607509052</c:v>
                </c:pt>
                <c:pt idx="72163">
                  <c:v>26.848848405889267</c:v>
                </c:pt>
                <c:pt idx="72164">
                  <c:v>42.111003176224528</c:v>
                </c:pt>
                <c:pt idx="72165">
                  <c:v>28.169083996864966</c:v>
                </c:pt>
                <c:pt idx="72166">
                  <c:v>44.140309594934045</c:v>
                </c:pt>
                <c:pt idx="72167">
                  <c:v>27.610465902340884</c:v>
                </c:pt>
                <c:pt idx="72168">
                  <c:v>23.381874682576093</c:v>
                </c:pt>
                <c:pt idx="72169">
                  <c:v>28.218589239564807</c:v>
                </c:pt>
                <c:pt idx="72170">
                  <c:v>23.956605420438237</c:v>
                </c:pt>
                <c:pt idx="72171">
                  <c:v>24.324293368424847</c:v>
                </c:pt>
                <c:pt idx="72172">
                  <c:v>48.661298918226912</c:v>
                </c:pt>
                <c:pt idx="72173">
                  <c:v>44.508975105345542</c:v>
                </c:pt>
                <c:pt idx="72174">
                  <c:v>21.873811438560324</c:v>
                </c:pt>
                <c:pt idx="72175">
                  <c:v>28.565416111563067</c:v>
                </c:pt>
                <c:pt idx="72176">
                  <c:v>35.935386343549546</c:v>
                </c:pt>
                <c:pt idx="72177">
                  <c:v>27.038577628622971</c:v>
                </c:pt>
                <c:pt idx="72178">
                  <c:v>25.320915308829818</c:v>
                </c:pt>
                <c:pt idx="72179">
                  <c:v>32.130472693968308</c:v>
                </c:pt>
                <c:pt idx="72180">
                  <c:v>20.447025972825767</c:v>
                </c:pt>
                <c:pt idx="72181">
                  <c:v>19.271569995688761</c:v>
                </c:pt>
                <c:pt idx="72182">
                  <c:v>30.382033648679759</c:v>
                </c:pt>
                <c:pt idx="72183">
                  <c:v>34.604956850821793</c:v>
                </c:pt>
                <c:pt idx="72184">
                  <c:v>34.482755444438823</c:v>
                </c:pt>
                <c:pt idx="72185">
                  <c:v>24.940401720134883</c:v>
                </c:pt>
                <c:pt idx="72186">
                  <c:v>14.948142656666111</c:v>
                </c:pt>
                <c:pt idx="72187">
                  <c:v>50.187788790808966</c:v>
                </c:pt>
                <c:pt idx="72188">
                  <c:v>35.47624666942815</c:v>
                </c:pt>
                <c:pt idx="72189">
                  <c:v>28.684297866509869</c:v>
                </c:pt>
                <c:pt idx="72190">
                  <c:v>31.003455227991541</c:v>
                </c:pt>
                <c:pt idx="72191">
                  <c:v>24.790759230862985</c:v>
                </c:pt>
                <c:pt idx="72192">
                  <c:v>30.417106054286847</c:v>
                </c:pt>
                <c:pt idx="72193">
                  <c:v>21.637813275558624</c:v>
                </c:pt>
                <c:pt idx="72194">
                  <c:v>52.040293845209469</c:v>
                </c:pt>
                <c:pt idx="72195">
                  <c:v>19.779935388839732</c:v>
                </c:pt>
                <c:pt idx="72196">
                  <c:v>26.115219462037743</c:v>
                </c:pt>
                <c:pt idx="72197">
                  <c:v>49.939936822720036</c:v>
                </c:pt>
                <c:pt idx="72198">
                  <c:v>46.091266619268168</c:v>
                </c:pt>
                <c:pt idx="72199">
                  <c:v>41.783845579898951</c:v>
                </c:pt>
                <c:pt idx="72200">
                  <c:v>26.362563785203012</c:v>
                </c:pt>
                <c:pt idx="72201">
                  <c:v>24.258458766728609</c:v>
                </c:pt>
                <c:pt idx="72202">
                  <c:v>43.490069111456805</c:v>
                </c:pt>
                <c:pt idx="72203">
                  <c:v>31.603869741466575</c:v>
                </c:pt>
                <c:pt idx="72204">
                  <c:v>25.614731680967814</c:v>
                </c:pt>
                <c:pt idx="72205">
                  <c:v>27.732825040917469</c:v>
                </c:pt>
                <c:pt idx="72206">
                  <c:v>21.574966953040715</c:v>
                </c:pt>
                <c:pt idx="72207">
                  <c:v>20.146536615688671</c:v>
                </c:pt>
                <c:pt idx="72208">
                  <c:v>23.377319035433594</c:v>
                </c:pt>
                <c:pt idx="72209">
                  <c:v>25.299779742357007</c:v>
                </c:pt>
                <c:pt idx="72210">
                  <c:v>20.252325133847982</c:v>
                </c:pt>
                <c:pt idx="72211">
                  <c:v>26.047001015398031</c:v>
                </c:pt>
                <c:pt idx="72212">
                  <c:v>26.834091871084365</c:v>
                </c:pt>
                <c:pt idx="72213">
                  <c:v>42.949924406863659</c:v>
                </c:pt>
                <c:pt idx="72214">
                  <c:v>26.88332226170688</c:v>
                </c:pt>
                <c:pt idx="72215">
                  <c:v>24.551472769529347</c:v>
                </c:pt>
                <c:pt idx="72216">
                  <c:v>15.86836933022763</c:v>
                </c:pt>
                <c:pt idx="72217">
                  <c:v>23.62031016740616</c:v>
                </c:pt>
                <c:pt idx="72218">
                  <c:v>24.888213716918223</c:v>
                </c:pt>
                <c:pt idx="72219">
                  <c:v>29.657208594721908</c:v>
                </c:pt>
                <c:pt idx="72220">
                  <c:v>42.235316916997903</c:v>
                </c:pt>
                <c:pt idx="72221">
                  <c:v>26.582868993016486</c:v>
                </c:pt>
                <c:pt idx="72222">
                  <c:v>27.216157946940953</c:v>
                </c:pt>
                <c:pt idx="72223">
                  <c:v>28.613303443154496</c:v>
                </c:pt>
                <c:pt idx="72224">
                  <c:v>29.512395687347016</c:v>
                </c:pt>
                <c:pt idx="72225">
                  <c:v>49.878490118219752</c:v>
                </c:pt>
                <c:pt idx="72226">
                  <c:v>13.561452777279504</c:v>
                </c:pt>
                <c:pt idx="72227">
                  <c:v>13.786927323430289</c:v>
                </c:pt>
                <c:pt idx="72228">
                  <c:v>28.104874605567993</c:v>
                </c:pt>
                <c:pt idx="72229">
                  <c:v>30.373307913782476</c:v>
                </c:pt>
                <c:pt idx="72230">
                  <c:v>26.70771492775124</c:v>
                </c:pt>
                <c:pt idx="72231">
                  <c:v>28.627018572116743</c:v>
                </c:pt>
                <c:pt idx="72232">
                  <c:v>24.233907865152585</c:v>
                </c:pt>
                <c:pt idx="72233">
                  <c:v>23.494986941040022</c:v>
                </c:pt>
                <c:pt idx="72234">
                  <c:v>22.56697790291248</c:v>
                </c:pt>
                <c:pt idx="72235">
                  <c:v>26.027014931070454</c:v>
                </c:pt>
                <c:pt idx="72236">
                  <c:v>48.84141109995754</c:v>
                </c:pt>
                <c:pt idx="72237">
                  <c:v>22.442351275101355</c:v>
                </c:pt>
                <c:pt idx="72238">
                  <c:v>29.657663967613583</c:v>
                </c:pt>
                <c:pt idx="72239">
                  <c:v>25.854134534281993</c:v>
                </c:pt>
                <c:pt idx="72240">
                  <c:v>24.763665842518051</c:v>
                </c:pt>
                <c:pt idx="72241">
                  <c:v>43.935477208504757</c:v>
                </c:pt>
                <c:pt idx="72242">
                  <c:v>33.49135777741207</c:v>
                </c:pt>
                <c:pt idx="72243">
                  <c:v>26.690624325368052</c:v>
                </c:pt>
                <c:pt idx="72244">
                  <c:v>22.551924026391447</c:v>
                </c:pt>
                <c:pt idx="72245">
                  <c:v>54.092320488584548</c:v>
                </c:pt>
                <c:pt idx="72246">
                  <c:v>20.98298594040703</c:v>
                </c:pt>
                <c:pt idx="72247">
                  <c:v>22.391903785816378</c:v>
                </c:pt>
                <c:pt idx="72248">
                  <c:v>39.010945619428519</c:v>
                </c:pt>
                <c:pt idx="72249">
                  <c:v>24.096687103016446</c:v>
                </c:pt>
                <c:pt idx="72250">
                  <c:v>26.864496678779851</c:v>
                </c:pt>
                <c:pt idx="72251">
                  <c:v>31.301378565909197</c:v>
                </c:pt>
                <c:pt idx="72252">
                  <c:v>26.404175205828633</c:v>
                </c:pt>
                <c:pt idx="72253">
                  <c:v>36.554202172923482</c:v>
                </c:pt>
                <c:pt idx="72254">
                  <c:v>38.738099289862312</c:v>
                </c:pt>
                <c:pt idx="72255">
                  <c:v>20.201342939833889</c:v>
                </c:pt>
                <c:pt idx="72256">
                  <c:v>39.444183504719987</c:v>
                </c:pt>
                <c:pt idx="72257">
                  <c:v>23.331381657323021</c:v>
                </c:pt>
                <c:pt idx="72258">
                  <c:v>30.925588711228009</c:v>
                </c:pt>
                <c:pt idx="72259">
                  <c:v>30.341036113205419</c:v>
                </c:pt>
                <c:pt idx="72260">
                  <c:v>29.455291156221094</c:v>
                </c:pt>
                <c:pt idx="72261">
                  <c:v>24.15526366494549</c:v>
                </c:pt>
                <c:pt idx="72262">
                  <c:v>27.130900092842605</c:v>
                </c:pt>
                <c:pt idx="72263">
                  <c:v>28.642404414233752</c:v>
                </c:pt>
                <c:pt idx="72264">
                  <c:v>23.71397328530141</c:v>
                </c:pt>
                <c:pt idx="72265">
                  <c:v>51.159926042084727</c:v>
                </c:pt>
                <c:pt idx="72266">
                  <c:v>27.613680231615689</c:v>
                </c:pt>
                <c:pt idx="72267">
                  <c:v>27.524851056666428</c:v>
                </c:pt>
                <c:pt idx="72268">
                  <c:v>22.715336497940076</c:v>
                </c:pt>
                <c:pt idx="72269">
                  <c:v>44.165512493188807</c:v>
                </c:pt>
                <c:pt idx="72270">
                  <c:v>22.263217248196831</c:v>
                </c:pt>
                <c:pt idx="72271">
                  <c:v>23.059430354923304</c:v>
                </c:pt>
                <c:pt idx="72272">
                  <c:v>19.80002365425349</c:v>
                </c:pt>
                <c:pt idx="72273">
                  <c:v>26.621145530881414</c:v>
                </c:pt>
                <c:pt idx="72274">
                  <c:v>39.258860557394684</c:v>
                </c:pt>
                <c:pt idx="72275">
                  <c:v>21.768369947199901</c:v>
                </c:pt>
                <c:pt idx="72276">
                  <c:v>34.19161892529447</c:v>
                </c:pt>
                <c:pt idx="72277">
                  <c:v>41.897901126656706</c:v>
                </c:pt>
                <c:pt idx="72278">
                  <c:v>18.585415527558212</c:v>
                </c:pt>
                <c:pt idx="72279">
                  <c:v>20.113350059045754</c:v>
                </c:pt>
                <c:pt idx="72280">
                  <c:v>25.775560911494686</c:v>
                </c:pt>
                <c:pt idx="72281">
                  <c:v>54.56993885486915</c:v>
                </c:pt>
                <c:pt idx="72282">
                  <c:v>28.282243832518596</c:v>
                </c:pt>
                <c:pt idx="72283">
                  <c:v>27.476057493508755</c:v>
                </c:pt>
                <c:pt idx="72284">
                  <c:v>26.430713055289029</c:v>
                </c:pt>
                <c:pt idx="72285">
                  <c:v>44.611811783025516</c:v>
                </c:pt>
                <c:pt idx="72286">
                  <c:v>18.855105030271051</c:v>
                </c:pt>
                <c:pt idx="72287">
                  <c:v>31.638957853106781</c:v>
                </c:pt>
                <c:pt idx="72288">
                  <c:v>19.253528409040918</c:v>
                </c:pt>
                <c:pt idx="72289">
                  <c:v>26.572667813778246</c:v>
                </c:pt>
                <c:pt idx="72290">
                  <c:v>43.351479305103119</c:v>
                </c:pt>
                <c:pt idx="72291">
                  <c:v>28.100421016050962</c:v>
                </c:pt>
                <c:pt idx="72292">
                  <c:v>22.942637437297115</c:v>
                </c:pt>
                <c:pt idx="72293">
                  <c:v>23.74479578229283</c:v>
                </c:pt>
                <c:pt idx="72294">
                  <c:v>44.79882410195416</c:v>
                </c:pt>
                <c:pt idx="72295">
                  <c:v>29.599953439062006</c:v>
                </c:pt>
                <c:pt idx="72296">
                  <c:v>26.262111645114601</c:v>
                </c:pt>
                <c:pt idx="72297">
                  <c:v>30.78590443485691</c:v>
                </c:pt>
                <c:pt idx="72298">
                  <c:v>44.445113642161452</c:v>
                </c:pt>
                <c:pt idx="72299">
                  <c:v>24.598679492348527</c:v>
                </c:pt>
                <c:pt idx="72300">
                  <c:v>27.856389084135266</c:v>
                </c:pt>
                <c:pt idx="72301">
                  <c:v>30.911296423636134</c:v>
                </c:pt>
                <c:pt idx="72302">
                  <c:v>19.591243802993482</c:v>
                </c:pt>
                <c:pt idx="72303">
                  <c:v>26.327899218317217</c:v>
                </c:pt>
                <c:pt idx="72304">
                  <c:v>39.991804273445965</c:v>
                </c:pt>
                <c:pt idx="72305">
                  <c:v>25.912406384663925</c:v>
                </c:pt>
                <c:pt idx="72306">
                  <c:v>30.249561608591733</c:v>
                </c:pt>
                <c:pt idx="72307">
                  <c:v>31.918734047774667</c:v>
                </c:pt>
                <c:pt idx="72308">
                  <c:v>26.289879078619876</c:v>
                </c:pt>
                <c:pt idx="72309">
                  <c:v>26.357255572725037</c:v>
                </c:pt>
                <c:pt idx="72310">
                  <c:v>24.391125092832191</c:v>
                </c:pt>
                <c:pt idx="72311">
                  <c:v>24.342394001734306</c:v>
                </c:pt>
                <c:pt idx="72312">
                  <c:v>28.382168363244823</c:v>
                </c:pt>
                <c:pt idx="72313">
                  <c:v>22.60940917705808</c:v>
                </c:pt>
                <c:pt idx="72314">
                  <c:v>24.008517238698467</c:v>
                </c:pt>
                <c:pt idx="72315">
                  <c:v>19.871453595015694</c:v>
                </c:pt>
                <c:pt idx="72316">
                  <c:v>32.120683199390996</c:v>
                </c:pt>
                <c:pt idx="72317">
                  <c:v>37.46019139083743</c:v>
                </c:pt>
                <c:pt idx="72318">
                  <c:v>45.782084877195523</c:v>
                </c:pt>
                <c:pt idx="72319">
                  <c:v>24.29176195401908</c:v>
                </c:pt>
                <c:pt idx="72320">
                  <c:v>20.295910306540502</c:v>
                </c:pt>
                <c:pt idx="72321">
                  <c:v>27.818151878770699</c:v>
                </c:pt>
                <c:pt idx="72322">
                  <c:v>18.805571862746454</c:v>
                </c:pt>
                <c:pt idx="72323">
                  <c:v>26.39842172786669</c:v>
                </c:pt>
                <c:pt idx="72324">
                  <c:v>33.114989965476539</c:v>
                </c:pt>
                <c:pt idx="72325">
                  <c:v>27.6599881757272</c:v>
                </c:pt>
                <c:pt idx="72326">
                  <c:v>32.654639663157866</c:v>
                </c:pt>
                <c:pt idx="72327">
                  <c:v>22.522932936128313</c:v>
                </c:pt>
                <c:pt idx="72328">
                  <c:v>28.029007767596692</c:v>
                </c:pt>
                <c:pt idx="72329">
                  <c:v>42.266348246459344</c:v>
                </c:pt>
                <c:pt idx="72330">
                  <c:v>28.005769748129467</c:v>
                </c:pt>
                <c:pt idx="72331">
                  <c:v>38.095026506417163</c:v>
                </c:pt>
                <c:pt idx="72332">
                  <c:v>30.900923413334993</c:v>
                </c:pt>
                <c:pt idx="72333">
                  <c:v>26.599095604241871</c:v>
                </c:pt>
                <c:pt idx="72334">
                  <c:v>23.995483504372928</c:v>
                </c:pt>
                <c:pt idx="72335">
                  <c:v>55.558881112025084</c:v>
                </c:pt>
                <c:pt idx="72336">
                  <c:v>42.40264489614993</c:v>
                </c:pt>
                <c:pt idx="72337">
                  <c:v>24.389826712659591</c:v>
                </c:pt>
                <c:pt idx="72338">
                  <c:v>29.446077712515006</c:v>
                </c:pt>
                <c:pt idx="72339">
                  <c:v>28.971262193261147</c:v>
                </c:pt>
                <c:pt idx="72340">
                  <c:v>32.417522890717699</c:v>
                </c:pt>
                <c:pt idx="72341">
                  <c:v>48.352606966173596</c:v>
                </c:pt>
                <c:pt idx="72342">
                  <c:v>49.737749038648481</c:v>
                </c:pt>
                <c:pt idx="72343">
                  <c:v>26.70538984667548</c:v>
                </c:pt>
                <c:pt idx="72344">
                  <c:v>21.022560964546535</c:v>
                </c:pt>
                <c:pt idx="72345">
                  <c:v>31.75792297226792</c:v>
                </c:pt>
                <c:pt idx="72346">
                  <c:v>18.988923453684372</c:v>
                </c:pt>
                <c:pt idx="72347">
                  <c:v>51.058185657786836</c:v>
                </c:pt>
                <c:pt idx="72348">
                  <c:v>24.833772984898044</c:v>
                </c:pt>
                <c:pt idx="72349">
                  <c:v>28.45652627410135</c:v>
                </c:pt>
                <c:pt idx="72350">
                  <c:v>32.98558176324601</c:v>
                </c:pt>
                <c:pt idx="72351">
                  <c:v>21.372268832177479</c:v>
                </c:pt>
                <c:pt idx="72352">
                  <c:v>34.031308383491016</c:v>
                </c:pt>
                <c:pt idx="72353">
                  <c:v>41.34673782889174</c:v>
                </c:pt>
                <c:pt idx="72354">
                  <c:v>24.034818138417805</c:v>
                </c:pt>
                <c:pt idx="72355">
                  <c:v>23.159282610274236</c:v>
                </c:pt>
                <c:pt idx="72356">
                  <c:v>33.104940001401651</c:v>
                </c:pt>
                <c:pt idx="72357">
                  <c:v>29.03852475813364</c:v>
                </c:pt>
                <c:pt idx="72358">
                  <c:v>24.845729264925815</c:v>
                </c:pt>
                <c:pt idx="72359">
                  <c:v>49.456689183511131</c:v>
                </c:pt>
                <c:pt idx="72360">
                  <c:v>31.538026689382949</c:v>
                </c:pt>
                <c:pt idx="72361">
                  <c:v>25.499708955005325</c:v>
                </c:pt>
                <c:pt idx="72362">
                  <c:v>22.626499543417594</c:v>
                </c:pt>
                <c:pt idx="72363">
                  <c:v>24.54959129671915</c:v>
                </c:pt>
                <c:pt idx="72364">
                  <c:v>18.302664338870382</c:v>
                </c:pt>
                <c:pt idx="72365">
                  <c:v>27.868720907743111</c:v>
                </c:pt>
                <c:pt idx="72366">
                  <c:v>46.522961706561063</c:v>
                </c:pt>
                <c:pt idx="72367">
                  <c:v>26.847102274595304</c:v>
                </c:pt>
                <c:pt idx="72368">
                  <c:v>22.624731797330796</c:v>
                </c:pt>
                <c:pt idx="72369">
                  <c:v>43.56634906727146</c:v>
                </c:pt>
                <c:pt idx="72370">
                  <c:v>24.710003620458018</c:v>
                </c:pt>
                <c:pt idx="72371">
                  <c:v>20.174788587977506</c:v>
                </c:pt>
                <c:pt idx="72372">
                  <c:v>44.550723311138007</c:v>
                </c:pt>
                <c:pt idx="72373">
                  <c:v>28.659391554862935</c:v>
                </c:pt>
                <c:pt idx="72374">
                  <c:v>44.215121705227993</c:v>
                </c:pt>
                <c:pt idx="72375">
                  <c:v>42.698739440977199</c:v>
                </c:pt>
                <c:pt idx="72376">
                  <c:v>19.219673946997681</c:v>
                </c:pt>
                <c:pt idx="72377">
                  <c:v>27.919944409386154</c:v>
                </c:pt>
                <c:pt idx="72378">
                  <c:v>23.69836267518475</c:v>
                </c:pt>
                <c:pt idx="72379">
                  <c:v>22.339163108141829</c:v>
                </c:pt>
                <c:pt idx="72380">
                  <c:v>27.087696242242028</c:v>
                </c:pt>
                <c:pt idx="72381">
                  <c:v>25.303121758157204</c:v>
                </c:pt>
                <c:pt idx="72382">
                  <c:v>29.537093575562814</c:v>
                </c:pt>
                <c:pt idx="72383">
                  <c:v>38.412055862079796</c:v>
                </c:pt>
                <c:pt idx="72384">
                  <c:v>30.227043452864194</c:v>
                </c:pt>
                <c:pt idx="72385">
                  <c:v>33.3632644816633</c:v>
                </c:pt>
                <c:pt idx="72386">
                  <c:v>30.251143365011018</c:v>
                </c:pt>
                <c:pt idx="72387">
                  <c:v>29.070433056902267</c:v>
                </c:pt>
                <c:pt idx="72388">
                  <c:v>33.120682733312783</c:v>
                </c:pt>
                <c:pt idx="72389">
                  <c:v>34.962935477564699</c:v>
                </c:pt>
                <c:pt idx="72390">
                  <c:v>22.028686681111967</c:v>
                </c:pt>
                <c:pt idx="72391">
                  <c:v>31.456164525759842</c:v>
                </c:pt>
                <c:pt idx="72392">
                  <c:v>26.475381942968166</c:v>
                </c:pt>
                <c:pt idx="72393">
                  <c:v>24.059080757754195</c:v>
                </c:pt>
                <c:pt idx="72394">
                  <c:v>19.146314300780244</c:v>
                </c:pt>
                <c:pt idx="72395">
                  <c:v>56.216939843902502</c:v>
                </c:pt>
                <c:pt idx="72396">
                  <c:v>50.151656978805043</c:v>
                </c:pt>
                <c:pt idx="72397">
                  <c:v>37.035069195997934</c:v>
                </c:pt>
                <c:pt idx="72398">
                  <c:v>21.375119308377549</c:v>
                </c:pt>
                <c:pt idx="72399">
                  <c:v>19.740532130721888</c:v>
                </c:pt>
                <c:pt idx="72400">
                  <c:v>23.999692677023724</c:v>
                </c:pt>
                <c:pt idx="72401">
                  <c:v>24.265652707846286</c:v>
                </c:pt>
                <c:pt idx="72402">
                  <c:v>19.731974208493703</c:v>
                </c:pt>
                <c:pt idx="72403">
                  <c:v>23.905530322995137</c:v>
                </c:pt>
                <c:pt idx="72404">
                  <c:v>26.458118067706469</c:v>
                </c:pt>
                <c:pt idx="72405">
                  <c:v>29.7477373457805</c:v>
                </c:pt>
                <c:pt idx="72406">
                  <c:v>29.419578428119951</c:v>
                </c:pt>
                <c:pt idx="72407">
                  <c:v>26.367315965734601</c:v>
                </c:pt>
                <c:pt idx="72408">
                  <c:v>45.356405883722701</c:v>
                </c:pt>
                <c:pt idx="72409">
                  <c:v>34.087942362286313</c:v>
                </c:pt>
                <c:pt idx="72410">
                  <c:v>25.056625885865426</c:v>
                </c:pt>
                <c:pt idx="72411">
                  <c:v>27.911590389747658</c:v>
                </c:pt>
                <c:pt idx="72412">
                  <c:v>23.664495746600075</c:v>
                </c:pt>
                <c:pt idx="72413">
                  <c:v>39.917993253976512</c:v>
                </c:pt>
                <c:pt idx="72414">
                  <c:v>53.569405077281523</c:v>
                </c:pt>
                <c:pt idx="72415">
                  <c:v>17.036352178507489</c:v>
                </c:pt>
                <c:pt idx="72416">
                  <c:v>29.855654876219582</c:v>
                </c:pt>
                <c:pt idx="72417">
                  <c:v>23.503091171458347</c:v>
                </c:pt>
                <c:pt idx="72418">
                  <c:v>42.913561575638639</c:v>
                </c:pt>
                <c:pt idx="72419">
                  <c:v>51.437538240804152</c:v>
                </c:pt>
                <c:pt idx="72420">
                  <c:v>46.742620856271202</c:v>
                </c:pt>
                <c:pt idx="72421">
                  <c:v>24.647071924473622</c:v>
                </c:pt>
                <c:pt idx="72422">
                  <c:v>30.939935377818671</c:v>
                </c:pt>
                <c:pt idx="72423">
                  <c:v>36.391529519718766</c:v>
                </c:pt>
                <c:pt idx="72424">
                  <c:v>30.7605034503922</c:v>
                </c:pt>
                <c:pt idx="72425">
                  <c:v>45.118320263524559</c:v>
                </c:pt>
                <c:pt idx="72426">
                  <c:v>35.164943697068409</c:v>
                </c:pt>
                <c:pt idx="72427">
                  <c:v>23.464237376420641</c:v>
                </c:pt>
                <c:pt idx="72428">
                  <c:v>31.510322271721925</c:v>
                </c:pt>
                <c:pt idx="72429">
                  <c:v>30.010905120632707</c:v>
                </c:pt>
                <c:pt idx="72430">
                  <c:v>54.402719636373007</c:v>
                </c:pt>
                <c:pt idx="72431">
                  <c:v>24.679493140734017</c:v>
                </c:pt>
                <c:pt idx="72432">
                  <c:v>24.016777142409872</c:v>
                </c:pt>
                <c:pt idx="72433">
                  <c:v>22.498617564814133</c:v>
                </c:pt>
                <c:pt idx="72434">
                  <c:v>23.92935275941165</c:v>
                </c:pt>
                <c:pt idx="72435">
                  <c:v>41.603107848786891</c:v>
                </c:pt>
                <c:pt idx="72436">
                  <c:v>29.07287043740067</c:v>
                </c:pt>
                <c:pt idx="72437">
                  <c:v>28.904048311975622</c:v>
                </c:pt>
                <c:pt idx="72438">
                  <c:v>25.274490139155148</c:v>
                </c:pt>
                <c:pt idx="72439">
                  <c:v>36.34782011719021</c:v>
                </c:pt>
                <c:pt idx="72440">
                  <c:v>34.230246130055612</c:v>
                </c:pt>
                <c:pt idx="72441">
                  <c:v>23.491037450746557</c:v>
                </c:pt>
                <c:pt idx="72442">
                  <c:v>37.63126761795111</c:v>
                </c:pt>
                <c:pt idx="72443">
                  <c:v>38.498790865740759</c:v>
                </c:pt>
                <c:pt idx="72444">
                  <c:v>24.323036389340711</c:v>
                </c:pt>
                <c:pt idx="72445">
                  <c:v>21.729084726249955</c:v>
                </c:pt>
                <c:pt idx="72446">
                  <c:v>42.25498263571545</c:v>
                </c:pt>
                <c:pt idx="72447">
                  <c:v>26.096156134089082</c:v>
                </c:pt>
                <c:pt idx="72448">
                  <c:v>29.145479261743525</c:v>
                </c:pt>
                <c:pt idx="72449">
                  <c:v>24.424371690371228</c:v>
                </c:pt>
                <c:pt idx="72450">
                  <c:v>54.121934303127176</c:v>
                </c:pt>
                <c:pt idx="72451">
                  <c:v>36.735958199868939</c:v>
                </c:pt>
                <c:pt idx="72452">
                  <c:v>22.143909446839853</c:v>
                </c:pt>
                <c:pt idx="72453">
                  <c:v>53.716460923964348</c:v>
                </c:pt>
                <c:pt idx="72454">
                  <c:v>32.894887646648442</c:v>
                </c:pt>
                <c:pt idx="72455">
                  <c:v>34.395919001043595</c:v>
                </c:pt>
                <c:pt idx="72456">
                  <c:v>31.209800286058364</c:v>
                </c:pt>
                <c:pt idx="72457">
                  <c:v>55.54454613227913</c:v>
                </c:pt>
                <c:pt idx="72458">
                  <c:v>25.977840631392404</c:v>
                </c:pt>
                <c:pt idx="72459">
                  <c:v>22.162335672063737</c:v>
                </c:pt>
                <c:pt idx="72460">
                  <c:v>15.129432030381388</c:v>
                </c:pt>
                <c:pt idx="72461">
                  <c:v>20.26367308263799</c:v>
                </c:pt>
                <c:pt idx="72462">
                  <c:v>31.341726809884104</c:v>
                </c:pt>
                <c:pt idx="72463">
                  <c:v>25.18638245557657</c:v>
                </c:pt>
                <c:pt idx="72464">
                  <c:v>44.526709084992298</c:v>
                </c:pt>
                <c:pt idx="72465">
                  <c:v>54.364639110737393</c:v>
                </c:pt>
                <c:pt idx="72466">
                  <c:v>25.0668001711309</c:v>
                </c:pt>
                <c:pt idx="72467">
                  <c:v>46.899103075722692</c:v>
                </c:pt>
                <c:pt idx="72468">
                  <c:v>30.046496198411351</c:v>
                </c:pt>
                <c:pt idx="72469">
                  <c:v>32.407446801192343</c:v>
                </c:pt>
                <c:pt idx="72470">
                  <c:v>31.025099839850927</c:v>
                </c:pt>
                <c:pt idx="72471">
                  <c:v>39.805880060215877</c:v>
                </c:pt>
                <c:pt idx="72472">
                  <c:v>35.542327027961299</c:v>
                </c:pt>
                <c:pt idx="72473">
                  <c:v>27.53317205048906</c:v>
                </c:pt>
                <c:pt idx="72474">
                  <c:v>49.346390511812864</c:v>
                </c:pt>
                <c:pt idx="72475">
                  <c:v>35.704996769394313</c:v>
                </c:pt>
                <c:pt idx="72476">
                  <c:v>33.817600886911805</c:v>
                </c:pt>
                <c:pt idx="72477">
                  <c:v>30.107593107033026</c:v>
                </c:pt>
                <c:pt idx="72478">
                  <c:v>26.219205512617513</c:v>
                </c:pt>
                <c:pt idx="72479">
                  <c:v>41.059460574447115</c:v>
                </c:pt>
                <c:pt idx="72480">
                  <c:v>44.929888646171626</c:v>
                </c:pt>
                <c:pt idx="72481">
                  <c:v>29.649588359872396</c:v>
                </c:pt>
                <c:pt idx="72482">
                  <c:v>26.428539348119251</c:v>
                </c:pt>
                <c:pt idx="72483">
                  <c:v>33.646414775463853</c:v>
                </c:pt>
                <c:pt idx="72484">
                  <c:v>14.156338600180868</c:v>
                </c:pt>
                <c:pt idx="72485">
                  <c:v>40.955438586528466</c:v>
                </c:pt>
                <c:pt idx="72486">
                  <c:v>22.46621952487887</c:v>
                </c:pt>
                <c:pt idx="72487">
                  <c:v>25.556662320225868</c:v>
                </c:pt>
                <c:pt idx="72488">
                  <c:v>47.804123353086602</c:v>
                </c:pt>
                <c:pt idx="72489">
                  <c:v>25.500269925713152</c:v>
                </c:pt>
                <c:pt idx="72490">
                  <c:v>24.738164528525541</c:v>
                </c:pt>
                <c:pt idx="72491">
                  <c:v>24.698907191506159</c:v>
                </c:pt>
                <c:pt idx="72492">
                  <c:v>29.009219060896616</c:v>
                </c:pt>
                <c:pt idx="72493">
                  <c:v>31.051074207552876</c:v>
                </c:pt>
                <c:pt idx="72494">
                  <c:v>42.762945481550844</c:v>
                </c:pt>
                <c:pt idx="72495">
                  <c:v>22.426519241103051</c:v>
                </c:pt>
                <c:pt idx="72496">
                  <c:v>24.611403957671801</c:v>
                </c:pt>
                <c:pt idx="72497">
                  <c:v>50.359858378519078</c:v>
                </c:pt>
                <c:pt idx="72498">
                  <c:v>19.979876324665355</c:v>
                </c:pt>
                <c:pt idx="72499">
                  <c:v>21.871789731774445</c:v>
                </c:pt>
                <c:pt idx="72500">
                  <c:v>45.210228167459896</c:v>
                </c:pt>
                <c:pt idx="72501">
                  <c:v>22.948928108591453</c:v>
                </c:pt>
                <c:pt idx="72502">
                  <c:v>23.555491407270331</c:v>
                </c:pt>
                <c:pt idx="72503">
                  <c:v>47.465019580395953</c:v>
                </c:pt>
                <c:pt idx="72504">
                  <c:v>25.981233719963416</c:v>
                </c:pt>
                <c:pt idx="72505">
                  <c:v>34.453158893731889</c:v>
                </c:pt>
                <c:pt idx="72506">
                  <c:v>29.196441313393134</c:v>
                </c:pt>
                <c:pt idx="72507">
                  <c:v>28.931790600380054</c:v>
                </c:pt>
                <c:pt idx="72508">
                  <c:v>29.617947396541791</c:v>
                </c:pt>
                <c:pt idx="72509">
                  <c:v>42.918183851825944</c:v>
                </c:pt>
                <c:pt idx="72510">
                  <c:v>38.15602279406037</c:v>
                </c:pt>
                <c:pt idx="72511">
                  <c:v>48.797918997325581</c:v>
                </c:pt>
                <c:pt idx="72512">
                  <c:v>22.542983658431602</c:v>
                </c:pt>
                <c:pt idx="72513">
                  <c:v>32.860048232408346</c:v>
                </c:pt>
                <c:pt idx="72514">
                  <c:v>18.599177080427392</c:v>
                </c:pt>
                <c:pt idx="72515">
                  <c:v>26.607393142642053</c:v>
                </c:pt>
                <c:pt idx="72516">
                  <c:v>24.119231352863292</c:v>
                </c:pt>
                <c:pt idx="72517">
                  <c:v>26.009169181371725</c:v>
                </c:pt>
                <c:pt idx="72518">
                  <c:v>65.564746673521455</c:v>
                </c:pt>
                <c:pt idx="72519">
                  <c:v>24.99652707020957</c:v>
                </c:pt>
                <c:pt idx="72520">
                  <c:v>46.277229665446761</c:v>
                </c:pt>
                <c:pt idx="72521">
                  <c:v>33.303525109671391</c:v>
                </c:pt>
                <c:pt idx="72522">
                  <c:v>22.151551636794089</c:v>
                </c:pt>
                <c:pt idx="72523">
                  <c:v>47.934324140459594</c:v>
                </c:pt>
                <c:pt idx="72524">
                  <c:v>27.037945805498293</c:v>
                </c:pt>
                <c:pt idx="72525">
                  <c:v>53.297803768345915</c:v>
                </c:pt>
                <c:pt idx="72526">
                  <c:v>45.437106660622398</c:v>
                </c:pt>
                <c:pt idx="72527">
                  <c:v>48.186697680841476</c:v>
                </c:pt>
                <c:pt idx="72528">
                  <c:v>30.105532291083637</c:v>
                </c:pt>
                <c:pt idx="72529">
                  <c:v>24.821794613498913</c:v>
                </c:pt>
                <c:pt idx="72530">
                  <c:v>28.745324281849783</c:v>
                </c:pt>
                <c:pt idx="72531">
                  <c:v>30.381335177591939</c:v>
                </c:pt>
                <c:pt idx="72532">
                  <c:v>26.153362488718127</c:v>
                </c:pt>
                <c:pt idx="72533">
                  <c:v>39.395942655675952</c:v>
                </c:pt>
                <c:pt idx="72534">
                  <c:v>26.073256210166765</c:v>
                </c:pt>
                <c:pt idx="72535">
                  <c:v>24.492949610682039</c:v>
                </c:pt>
                <c:pt idx="72536">
                  <c:v>25.636704474409619</c:v>
                </c:pt>
                <c:pt idx="72537">
                  <c:v>26.946699608938339</c:v>
                </c:pt>
                <c:pt idx="72538">
                  <c:v>27.099613094192794</c:v>
                </c:pt>
                <c:pt idx="72539">
                  <c:v>54.070744510900241</c:v>
                </c:pt>
                <c:pt idx="72540">
                  <c:v>26.971536488874747</c:v>
                </c:pt>
                <c:pt idx="72541">
                  <c:v>22.363399822086013</c:v>
                </c:pt>
                <c:pt idx="72542">
                  <c:v>32.662078430776745</c:v>
                </c:pt>
                <c:pt idx="72543">
                  <c:v>24.309637815357029</c:v>
                </c:pt>
                <c:pt idx="72544">
                  <c:v>24.494975881650966</c:v>
                </c:pt>
                <c:pt idx="72545">
                  <c:v>25.498683119306577</c:v>
                </c:pt>
                <c:pt idx="72546">
                  <c:v>28.340225366885875</c:v>
                </c:pt>
                <c:pt idx="72547">
                  <c:v>39.238985476931759</c:v>
                </c:pt>
                <c:pt idx="72548">
                  <c:v>51.280069326878113</c:v>
                </c:pt>
                <c:pt idx="72549">
                  <c:v>29.185954042629572</c:v>
                </c:pt>
                <c:pt idx="72550">
                  <c:v>53.428251932638503</c:v>
                </c:pt>
                <c:pt idx="72551">
                  <c:v>24.091252681195307</c:v>
                </c:pt>
                <c:pt idx="72552">
                  <c:v>50.019263303755508</c:v>
                </c:pt>
                <c:pt idx="72553">
                  <c:v>22.321346813526318</c:v>
                </c:pt>
                <c:pt idx="72554">
                  <c:v>39.971068516721679</c:v>
                </c:pt>
                <c:pt idx="72555">
                  <c:v>27.466874463108745</c:v>
                </c:pt>
                <c:pt idx="72556">
                  <c:v>22.635442814568197</c:v>
                </c:pt>
                <c:pt idx="72557">
                  <c:v>21.388418670441524</c:v>
                </c:pt>
                <c:pt idx="72558">
                  <c:v>45.430323180820324</c:v>
                </c:pt>
                <c:pt idx="72559">
                  <c:v>28.788436374677413</c:v>
                </c:pt>
                <c:pt idx="72560">
                  <c:v>35.092008742762793</c:v>
                </c:pt>
                <c:pt idx="72561">
                  <c:v>39.934541752282776</c:v>
                </c:pt>
                <c:pt idx="72562">
                  <c:v>28.468735719305617</c:v>
                </c:pt>
                <c:pt idx="72563">
                  <c:v>22.894479336503963</c:v>
                </c:pt>
                <c:pt idx="72564">
                  <c:v>35.383553649745544</c:v>
                </c:pt>
                <c:pt idx="72565">
                  <c:v>28.11066809526282</c:v>
                </c:pt>
                <c:pt idx="72566">
                  <c:v>32.013201106141729</c:v>
                </c:pt>
                <c:pt idx="72567">
                  <c:v>28.076334896047509</c:v>
                </c:pt>
                <c:pt idx="72568">
                  <c:v>52.35396132418478</c:v>
                </c:pt>
                <c:pt idx="72569">
                  <c:v>26.228752970296014</c:v>
                </c:pt>
                <c:pt idx="72570">
                  <c:v>40.768132062703998</c:v>
                </c:pt>
                <c:pt idx="72571">
                  <c:v>41.370025544020351</c:v>
                </c:pt>
                <c:pt idx="72572">
                  <c:v>37.642618795156558</c:v>
                </c:pt>
                <c:pt idx="72573">
                  <c:v>29.935662653086347</c:v>
                </c:pt>
                <c:pt idx="72574">
                  <c:v>31.661885613210721</c:v>
                </c:pt>
                <c:pt idx="72575">
                  <c:v>26.304960904654571</c:v>
                </c:pt>
                <c:pt idx="72576">
                  <c:v>26.148304846903237</c:v>
                </c:pt>
                <c:pt idx="72577">
                  <c:v>28.544586227388798</c:v>
                </c:pt>
                <c:pt idx="72578">
                  <c:v>21.462790317600081</c:v>
                </c:pt>
                <c:pt idx="72579">
                  <c:v>27.209373166652107</c:v>
                </c:pt>
                <c:pt idx="72580">
                  <c:v>22.662890063146182</c:v>
                </c:pt>
                <c:pt idx="72581">
                  <c:v>33.678987443191467</c:v>
                </c:pt>
                <c:pt idx="72582">
                  <c:v>23.085177205594675</c:v>
                </c:pt>
                <c:pt idx="72583">
                  <c:v>47.202491027914867</c:v>
                </c:pt>
                <c:pt idx="72584">
                  <c:v>20.062107132832576</c:v>
                </c:pt>
                <c:pt idx="72585">
                  <c:v>24.108951221172536</c:v>
                </c:pt>
                <c:pt idx="72586">
                  <c:v>26.05839360150215</c:v>
                </c:pt>
                <c:pt idx="72587">
                  <c:v>21.489875626540755</c:v>
                </c:pt>
                <c:pt idx="72588">
                  <c:v>27.213781860515226</c:v>
                </c:pt>
                <c:pt idx="72589">
                  <c:v>47.658932367140103</c:v>
                </c:pt>
                <c:pt idx="72590">
                  <c:v>27.297797358269186</c:v>
                </c:pt>
                <c:pt idx="72591">
                  <c:v>17.299108310086783</c:v>
                </c:pt>
                <c:pt idx="72592">
                  <c:v>23.14456961534982</c:v>
                </c:pt>
                <c:pt idx="72593">
                  <c:v>26.112185436843994</c:v>
                </c:pt>
                <c:pt idx="72594">
                  <c:v>20.475181923564566</c:v>
                </c:pt>
                <c:pt idx="72595">
                  <c:v>21.988565884562181</c:v>
                </c:pt>
                <c:pt idx="72596">
                  <c:v>27.497851798401598</c:v>
                </c:pt>
                <c:pt idx="72597">
                  <c:v>43.026948178479742</c:v>
                </c:pt>
                <c:pt idx="72598">
                  <c:v>24.017358337562886</c:v>
                </c:pt>
                <c:pt idx="72599">
                  <c:v>41.632307633939433</c:v>
                </c:pt>
                <c:pt idx="72600">
                  <c:v>21.600466086570691</c:v>
                </c:pt>
                <c:pt idx="72601">
                  <c:v>26.973287252729833</c:v>
                </c:pt>
                <c:pt idx="72602">
                  <c:v>32.015988859128591</c:v>
                </c:pt>
                <c:pt idx="72603">
                  <c:v>24.493793644389491</c:v>
                </c:pt>
                <c:pt idx="72604">
                  <c:v>29.578738192996457</c:v>
                </c:pt>
                <c:pt idx="72605">
                  <c:v>35.020374620581947</c:v>
                </c:pt>
                <c:pt idx="72606">
                  <c:v>30.962539380494231</c:v>
                </c:pt>
                <c:pt idx="72607">
                  <c:v>35.267653712193223</c:v>
                </c:pt>
                <c:pt idx="72608">
                  <c:v>26.18749558140933</c:v>
                </c:pt>
                <c:pt idx="72609">
                  <c:v>39.217408959545516</c:v>
                </c:pt>
                <c:pt idx="72610">
                  <c:v>18.399888817005525</c:v>
                </c:pt>
                <c:pt idx="72611">
                  <c:v>24.848283224872407</c:v>
                </c:pt>
                <c:pt idx="72612">
                  <c:v>39.908090271465596</c:v>
                </c:pt>
                <c:pt idx="72613">
                  <c:v>27.290270627048994</c:v>
                </c:pt>
                <c:pt idx="72614">
                  <c:v>24.501987375680098</c:v>
                </c:pt>
                <c:pt idx="72615">
                  <c:v>27.265745038528635</c:v>
                </c:pt>
                <c:pt idx="72616">
                  <c:v>31.133005586147757</c:v>
                </c:pt>
                <c:pt idx="72617">
                  <c:v>19.87804917371151</c:v>
                </c:pt>
                <c:pt idx="72618">
                  <c:v>41.924479327859288</c:v>
                </c:pt>
                <c:pt idx="72619">
                  <c:v>26.13303273813175</c:v>
                </c:pt>
                <c:pt idx="72620">
                  <c:v>43.980995873673876</c:v>
                </c:pt>
                <c:pt idx="72621">
                  <c:v>24.871324417723713</c:v>
                </c:pt>
                <c:pt idx="72622">
                  <c:v>21.47383077682052</c:v>
                </c:pt>
                <c:pt idx="72623">
                  <c:v>54.50439183620238</c:v>
                </c:pt>
                <c:pt idx="72624">
                  <c:v>23.184235297590092</c:v>
                </c:pt>
                <c:pt idx="72625">
                  <c:v>46.737266662235072</c:v>
                </c:pt>
                <c:pt idx="72626">
                  <c:v>20.248095713675632</c:v>
                </c:pt>
                <c:pt idx="72627">
                  <c:v>34.36336066530491</c:v>
                </c:pt>
                <c:pt idx="72628">
                  <c:v>21.177449913854399</c:v>
                </c:pt>
                <c:pt idx="72629">
                  <c:v>14.858888741477024</c:v>
                </c:pt>
                <c:pt idx="72630">
                  <c:v>22.421806561303612</c:v>
                </c:pt>
                <c:pt idx="72631">
                  <c:v>32.448005649759637</c:v>
                </c:pt>
                <c:pt idx="72632">
                  <c:v>24.253692073795868</c:v>
                </c:pt>
                <c:pt idx="72633">
                  <c:v>31.04579080879612</c:v>
                </c:pt>
                <c:pt idx="72634">
                  <c:v>26.434222696949895</c:v>
                </c:pt>
                <c:pt idx="72635">
                  <c:v>22.990435519687374</c:v>
                </c:pt>
                <c:pt idx="72636">
                  <c:v>26.899559968660494</c:v>
                </c:pt>
                <c:pt idx="72637">
                  <c:v>39.715893987424913</c:v>
                </c:pt>
                <c:pt idx="72638">
                  <c:v>23.6296615358075</c:v>
                </c:pt>
                <c:pt idx="72639">
                  <c:v>30.139977037062408</c:v>
                </c:pt>
                <c:pt idx="72640">
                  <c:v>21.85810318968413</c:v>
                </c:pt>
                <c:pt idx="72641">
                  <c:v>21.744212129952643</c:v>
                </c:pt>
                <c:pt idx="72642">
                  <c:v>22.853323136150149</c:v>
                </c:pt>
                <c:pt idx="72643">
                  <c:v>26.497533441736202</c:v>
                </c:pt>
                <c:pt idx="72644">
                  <c:v>44.358209055671608</c:v>
                </c:pt>
                <c:pt idx="72645">
                  <c:v>47.420089472998569</c:v>
                </c:pt>
                <c:pt idx="72646">
                  <c:v>26.979120282536471</c:v>
                </c:pt>
                <c:pt idx="72647">
                  <c:v>20.081854344701302</c:v>
                </c:pt>
                <c:pt idx="72648">
                  <c:v>47.228353802227474</c:v>
                </c:pt>
                <c:pt idx="72649">
                  <c:v>51.158630404831548</c:v>
                </c:pt>
                <c:pt idx="72650">
                  <c:v>21.055442674564496</c:v>
                </c:pt>
                <c:pt idx="72651">
                  <c:v>32.007350033198556</c:v>
                </c:pt>
                <c:pt idx="72652">
                  <c:v>25.178537965664496</c:v>
                </c:pt>
                <c:pt idx="72653">
                  <c:v>57.37680686056104</c:v>
                </c:pt>
                <c:pt idx="72654">
                  <c:v>28.440185136534367</c:v>
                </c:pt>
                <c:pt idx="72655">
                  <c:v>26.347665777941742</c:v>
                </c:pt>
                <c:pt idx="72656">
                  <c:v>32.63268063515271</c:v>
                </c:pt>
                <c:pt idx="72657">
                  <c:v>24.200113789594063</c:v>
                </c:pt>
                <c:pt idx="72658">
                  <c:v>25.521690004654985</c:v>
                </c:pt>
                <c:pt idx="72659">
                  <c:v>53.020827235781233</c:v>
                </c:pt>
                <c:pt idx="72660">
                  <c:v>26.093960858886817</c:v>
                </c:pt>
                <c:pt idx="72661">
                  <c:v>41.911454423712541</c:v>
                </c:pt>
                <c:pt idx="72662">
                  <c:v>22.917291322119073</c:v>
                </c:pt>
                <c:pt idx="72663">
                  <c:v>23.051114526490224</c:v>
                </c:pt>
                <c:pt idx="72664">
                  <c:v>31.255027382783855</c:v>
                </c:pt>
                <c:pt idx="72665">
                  <c:v>28.232700071224436</c:v>
                </c:pt>
                <c:pt idx="72666">
                  <c:v>27.095389555284093</c:v>
                </c:pt>
                <c:pt idx="72667">
                  <c:v>41.034516471864521</c:v>
                </c:pt>
                <c:pt idx="72668">
                  <c:v>49.908299436623416</c:v>
                </c:pt>
                <c:pt idx="72669">
                  <c:v>36.833176683492056</c:v>
                </c:pt>
                <c:pt idx="72670">
                  <c:v>46.670326708625204</c:v>
                </c:pt>
                <c:pt idx="72671">
                  <c:v>27.623358129684377</c:v>
                </c:pt>
                <c:pt idx="72672">
                  <c:v>30.126611069617702</c:v>
                </c:pt>
                <c:pt idx="72673">
                  <c:v>18.237568497585301</c:v>
                </c:pt>
                <c:pt idx="72674">
                  <c:v>26.924609017437369</c:v>
                </c:pt>
                <c:pt idx="72675">
                  <c:v>29.110433947355837</c:v>
                </c:pt>
                <c:pt idx="72676">
                  <c:v>28.755949944390128</c:v>
                </c:pt>
                <c:pt idx="72677">
                  <c:v>27.578370181688282</c:v>
                </c:pt>
                <c:pt idx="72678">
                  <c:v>24.997200707600999</c:v>
                </c:pt>
                <c:pt idx="72679">
                  <c:v>20.309183248543778</c:v>
                </c:pt>
                <c:pt idx="72680">
                  <c:v>35.040321432473881</c:v>
                </c:pt>
                <c:pt idx="72681">
                  <c:v>54.34465187869268</c:v>
                </c:pt>
                <c:pt idx="72682">
                  <c:v>29.099919877373317</c:v>
                </c:pt>
                <c:pt idx="72683">
                  <c:v>44.847417607176212</c:v>
                </c:pt>
                <c:pt idx="72684">
                  <c:v>26.760495945886756</c:v>
                </c:pt>
                <c:pt idx="72685">
                  <c:v>23.605542681452327</c:v>
                </c:pt>
                <c:pt idx="72686">
                  <c:v>28.461132803532735</c:v>
                </c:pt>
                <c:pt idx="72687">
                  <c:v>19.957711599935855</c:v>
                </c:pt>
                <c:pt idx="72688">
                  <c:v>20.315357610511288</c:v>
                </c:pt>
                <c:pt idx="72689">
                  <c:v>21.756122415399165</c:v>
                </c:pt>
                <c:pt idx="72690">
                  <c:v>31.00228174771577</c:v>
                </c:pt>
                <c:pt idx="72691">
                  <c:v>15.65482383978547</c:v>
                </c:pt>
                <c:pt idx="72692">
                  <c:v>18.291631734276439</c:v>
                </c:pt>
                <c:pt idx="72693">
                  <c:v>27.548546682518239</c:v>
                </c:pt>
                <c:pt idx="72694">
                  <c:v>32.027247966651004</c:v>
                </c:pt>
                <c:pt idx="72695">
                  <c:v>29.655837627622361</c:v>
                </c:pt>
                <c:pt idx="72696">
                  <c:v>35.961375172213764</c:v>
                </c:pt>
                <c:pt idx="72697">
                  <c:v>31.856235207731149</c:v>
                </c:pt>
                <c:pt idx="72698">
                  <c:v>15.715079337954338</c:v>
                </c:pt>
                <c:pt idx="72699">
                  <c:v>23.278389687778034</c:v>
                </c:pt>
                <c:pt idx="72700">
                  <c:v>19.04783375283569</c:v>
                </c:pt>
                <c:pt idx="72701">
                  <c:v>27.799412652687909</c:v>
                </c:pt>
                <c:pt idx="72702">
                  <c:v>28.240444024927083</c:v>
                </c:pt>
                <c:pt idx="72703">
                  <c:v>50.098265709994692</c:v>
                </c:pt>
                <c:pt idx="72704">
                  <c:v>33.418394946354312</c:v>
                </c:pt>
                <c:pt idx="72705">
                  <c:v>31.038144583979435</c:v>
                </c:pt>
                <c:pt idx="72706">
                  <c:v>21.254834015385491</c:v>
                </c:pt>
                <c:pt idx="72707">
                  <c:v>25.546597464089288</c:v>
                </c:pt>
                <c:pt idx="72708">
                  <c:v>41.085063856152125</c:v>
                </c:pt>
                <c:pt idx="72709">
                  <c:v>37.759874951095128</c:v>
                </c:pt>
                <c:pt idx="72710">
                  <c:v>24.15626723150028</c:v>
                </c:pt>
                <c:pt idx="72711">
                  <c:v>18.677833464317956</c:v>
                </c:pt>
                <c:pt idx="72712">
                  <c:v>24.795778247708071</c:v>
                </c:pt>
                <c:pt idx="72713">
                  <c:v>24.893177874088387</c:v>
                </c:pt>
                <c:pt idx="72714">
                  <c:v>51.55983752579381</c:v>
                </c:pt>
                <c:pt idx="72715">
                  <c:v>52.828820557700837</c:v>
                </c:pt>
                <c:pt idx="72716">
                  <c:v>26.162523417001744</c:v>
                </c:pt>
                <c:pt idx="72717">
                  <c:v>32.63080048640817</c:v>
                </c:pt>
                <c:pt idx="72718">
                  <c:v>27.910322565487281</c:v>
                </c:pt>
                <c:pt idx="72719">
                  <c:v>45.17260858218485</c:v>
                </c:pt>
                <c:pt idx="72720">
                  <c:v>28.991940229958949</c:v>
                </c:pt>
                <c:pt idx="72721">
                  <c:v>45.998802465630291</c:v>
                </c:pt>
                <c:pt idx="72722">
                  <c:v>24.368714918067997</c:v>
                </c:pt>
                <c:pt idx="72723">
                  <c:v>32.311795356059136</c:v>
                </c:pt>
                <c:pt idx="72724">
                  <c:v>33.339846670193594</c:v>
                </c:pt>
                <c:pt idx="72725">
                  <c:v>46.7439577438507</c:v>
                </c:pt>
                <c:pt idx="72726">
                  <c:v>31.078652441270915</c:v>
                </c:pt>
                <c:pt idx="72727">
                  <c:v>22.787771980666896</c:v>
                </c:pt>
                <c:pt idx="72728">
                  <c:v>31.77320938843696</c:v>
                </c:pt>
                <c:pt idx="72729">
                  <c:v>26.057010627648808</c:v>
                </c:pt>
                <c:pt idx="72730">
                  <c:v>28.259973111831012</c:v>
                </c:pt>
                <c:pt idx="72731">
                  <c:v>24.16393865378361</c:v>
                </c:pt>
                <c:pt idx="72732">
                  <c:v>24.184906772499779</c:v>
                </c:pt>
                <c:pt idx="72733">
                  <c:v>22.689572827982083</c:v>
                </c:pt>
                <c:pt idx="72734">
                  <c:v>28.960357722548697</c:v>
                </c:pt>
                <c:pt idx="72735">
                  <c:v>37.333131561010376</c:v>
                </c:pt>
                <c:pt idx="72736">
                  <c:v>28.769125032989674</c:v>
                </c:pt>
                <c:pt idx="72737">
                  <c:v>25.668165412709641</c:v>
                </c:pt>
                <c:pt idx="72738">
                  <c:v>32.756349060755461</c:v>
                </c:pt>
                <c:pt idx="72739">
                  <c:v>29.256370600710184</c:v>
                </c:pt>
                <c:pt idx="72740">
                  <c:v>28.007520604528565</c:v>
                </c:pt>
                <c:pt idx="72741">
                  <c:v>20.186452070053683</c:v>
                </c:pt>
                <c:pt idx="72742">
                  <c:v>43.298774657256445</c:v>
                </c:pt>
                <c:pt idx="72743">
                  <c:v>32.266940635458198</c:v>
                </c:pt>
                <c:pt idx="72744">
                  <c:v>29.336971175948534</c:v>
                </c:pt>
                <c:pt idx="72745">
                  <c:v>28.648108377294847</c:v>
                </c:pt>
                <c:pt idx="72746">
                  <c:v>53.675958557524261</c:v>
                </c:pt>
                <c:pt idx="72747">
                  <c:v>30.343873031545982</c:v>
                </c:pt>
                <c:pt idx="72748">
                  <c:v>23.574484241365901</c:v>
                </c:pt>
                <c:pt idx="72749">
                  <c:v>25.978830878508099</c:v>
                </c:pt>
                <c:pt idx="72750">
                  <c:v>27.755577167556577</c:v>
                </c:pt>
                <c:pt idx="72751">
                  <c:v>19.987849370167062</c:v>
                </c:pt>
                <c:pt idx="72752">
                  <c:v>22.550812674717925</c:v>
                </c:pt>
                <c:pt idx="72753">
                  <c:v>28.54700046099973</c:v>
                </c:pt>
                <c:pt idx="72754">
                  <c:v>17.68426234068777</c:v>
                </c:pt>
                <c:pt idx="72755">
                  <c:v>36.223567433343469</c:v>
                </c:pt>
                <c:pt idx="72756">
                  <c:v>27.747016447301178</c:v>
                </c:pt>
                <c:pt idx="72757">
                  <c:v>26.663457686436104</c:v>
                </c:pt>
                <c:pt idx="72758">
                  <c:v>33.141720448428607</c:v>
                </c:pt>
                <c:pt idx="72759">
                  <c:v>24.817214276527139</c:v>
                </c:pt>
                <c:pt idx="72760">
                  <c:v>28.857275108056534</c:v>
                </c:pt>
                <c:pt idx="72761">
                  <c:v>29.062713570752653</c:v>
                </c:pt>
                <c:pt idx="72762">
                  <c:v>23.154123992083271</c:v>
                </c:pt>
                <c:pt idx="72763">
                  <c:v>28.316981256823404</c:v>
                </c:pt>
                <c:pt idx="72764">
                  <c:v>23.005274141080637</c:v>
                </c:pt>
                <c:pt idx="72765">
                  <c:v>25.027272325419066</c:v>
                </c:pt>
                <c:pt idx="72766">
                  <c:v>32.347844147274834</c:v>
                </c:pt>
                <c:pt idx="72767">
                  <c:v>21.120306028284812</c:v>
                </c:pt>
                <c:pt idx="72768">
                  <c:v>48.559762347487016</c:v>
                </c:pt>
                <c:pt idx="72769">
                  <c:v>24.680909214676269</c:v>
                </c:pt>
                <c:pt idx="72770">
                  <c:v>29.459296446987242</c:v>
                </c:pt>
                <c:pt idx="72771">
                  <c:v>51.072066119556176</c:v>
                </c:pt>
                <c:pt idx="72772">
                  <c:v>18.993605901731268</c:v>
                </c:pt>
                <c:pt idx="72773">
                  <c:v>25.609950428653441</c:v>
                </c:pt>
                <c:pt idx="72774">
                  <c:v>26.172749378325307</c:v>
                </c:pt>
                <c:pt idx="72775">
                  <c:v>37.222155500006963</c:v>
                </c:pt>
                <c:pt idx="72776">
                  <c:v>20.803821856811862</c:v>
                </c:pt>
                <c:pt idx="72777">
                  <c:v>25.424387537890361</c:v>
                </c:pt>
                <c:pt idx="72778">
                  <c:v>43.57272394366251</c:v>
                </c:pt>
                <c:pt idx="72779">
                  <c:v>34.866499710276081</c:v>
                </c:pt>
                <c:pt idx="72780">
                  <c:v>39.883589738941815</c:v>
                </c:pt>
                <c:pt idx="72781">
                  <c:v>26.874427830596034</c:v>
                </c:pt>
                <c:pt idx="72782">
                  <c:v>18.231998488629753</c:v>
                </c:pt>
                <c:pt idx="72783">
                  <c:v>39.743119690676991</c:v>
                </c:pt>
                <c:pt idx="72784">
                  <c:v>33.83760330787586</c:v>
                </c:pt>
                <c:pt idx="72785">
                  <c:v>25.83523593362721</c:v>
                </c:pt>
                <c:pt idx="72786">
                  <c:v>28.984126102244169</c:v>
                </c:pt>
                <c:pt idx="72787">
                  <c:v>30.289926130496259</c:v>
                </c:pt>
                <c:pt idx="72788">
                  <c:v>31.607586792155018</c:v>
                </c:pt>
                <c:pt idx="72789">
                  <c:v>22.447349414213811</c:v>
                </c:pt>
                <c:pt idx="72790">
                  <c:v>20.207720039493076</c:v>
                </c:pt>
                <c:pt idx="72791">
                  <c:v>20.977930732101512</c:v>
                </c:pt>
                <c:pt idx="72792">
                  <c:v>44.368157874757436</c:v>
                </c:pt>
                <c:pt idx="72793">
                  <c:v>26.519542095551373</c:v>
                </c:pt>
                <c:pt idx="72794">
                  <c:v>26.929622029721848</c:v>
                </c:pt>
                <c:pt idx="72795">
                  <c:v>23.489170357140555</c:v>
                </c:pt>
                <c:pt idx="72796">
                  <c:v>32.540858102567611</c:v>
                </c:pt>
                <c:pt idx="72797">
                  <c:v>24.859498355423472</c:v>
                </c:pt>
                <c:pt idx="72798">
                  <c:v>51.440784653307603</c:v>
                </c:pt>
                <c:pt idx="72799">
                  <c:v>26.550653971008661</c:v>
                </c:pt>
                <c:pt idx="72800">
                  <c:v>29.761440529321092</c:v>
                </c:pt>
                <c:pt idx="72801">
                  <c:v>48.248905117517459</c:v>
                </c:pt>
                <c:pt idx="72802">
                  <c:v>27.626797811810217</c:v>
                </c:pt>
                <c:pt idx="72803">
                  <c:v>28.500704687174522</c:v>
                </c:pt>
                <c:pt idx="72804">
                  <c:v>31.085817858650294</c:v>
                </c:pt>
                <c:pt idx="72805">
                  <c:v>28.432183369221768</c:v>
                </c:pt>
                <c:pt idx="72806">
                  <c:v>23.181665490517744</c:v>
                </c:pt>
                <c:pt idx="72807">
                  <c:v>31.34992665513175</c:v>
                </c:pt>
                <c:pt idx="72808">
                  <c:v>23.131613515303389</c:v>
                </c:pt>
                <c:pt idx="72809">
                  <c:v>45.948736129181114</c:v>
                </c:pt>
                <c:pt idx="72810">
                  <c:v>28.6266145935598</c:v>
                </c:pt>
                <c:pt idx="72811">
                  <c:v>49.183959440778281</c:v>
                </c:pt>
                <c:pt idx="72812">
                  <c:v>38.661931168718461</c:v>
                </c:pt>
                <c:pt idx="72813">
                  <c:v>34.769798556402947</c:v>
                </c:pt>
                <c:pt idx="72814">
                  <c:v>27.270530544975486</c:v>
                </c:pt>
                <c:pt idx="72815">
                  <c:v>20.003836691881801</c:v>
                </c:pt>
                <c:pt idx="72816">
                  <c:v>55.198713035540557</c:v>
                </c:pt>
                <c:pt idx="72817">
                  <c:v>25.831665440506335</c:v>
                </c:pt>
                <c:pt idx="72818">
                  <c:v>20.733516620017426</c:v>
                </c:pt>
                <c:pt idx="72819">
                  <c:v>21.016961503084616</c:v>
                </c:pt>
                <c:pt idx="72820">
                  <c:v>31.174998511794545</c:v>
                </c:pt>
                <c:pt idx="72821">
                  <c:v>34.909729073711794</c:v>
                </c:pt>
                <c:pt idx="72822">
                  <c:v>21.100398771827336</c:v>
                </c:pt>
                <c:pt idx="72823">
                  <c:v>23.663634829327837</c:v>
                </c:pt>
                <c:pt idx="72824">
                  <c:v>25.984122449745211</c:v>
                </c:pt>
                <c:pt idx="72825">
                  <c:v>26.889746372739676</c:v>
                </c:pt>
                <c:pt idx="72826">
                  <c:v>24.292012213514134</c:v>
                </c:pt>
                <c:pt idx="72827">
                  <c:v>38.440508616384932</c:v>
                </c:pt>
                <c:pt idx="72828">
                  <c:v>22.151494646820126</c:v>
                </c:pt>
                <c:pt idx="72829">
                  <c:v>23.58379688718475</c:v>
                </c:pt>
                <c:pt idx="72830">
                  <c:v>28.826619304530311</c:v>
                </c:pt>
                <c:pt idx="72831">
                  <c:v>25.23231171787581</c:v>
                </c:pt>
                <c:pt idx="72832">
                  <c:v>24.780644861289169</c:v>
                </c:pt>
                <c:pt idx="72833">
                  <c:v>30.163825003154621</c:v>
                </c:pt>
                <c:pt idx="72834">
                  <c:v>31.161985939300568</c:v>
                </c:pt>
                <c:pt idx="72835">
                  <c:v>64.574248884450029</c:v>
                </c:pt>
                <c:pt idx="72836">
                  <c:v>55.54662187484201</c:v>
                </c:pt>
                <c:pt idx="72837">
                  <c:v>18.153494986814447</c:v>
                </c:pt>
                <c:pt idx="72838">
                  <c:v>24.976094357987119</c:v>
                </c:pt>
                <c:pt idx="72839">
                  <c:v>46.926168851181231</c:v>
                </c:pt>
                <c:pt idx="72840">
                  <c:v>28.620894894292114</c:v>
                </c:pt>
                <c:pt idx="72841">
                  <c:v>39.287983679940162</c:v>
                </c:pt>
                <c:pt idx="72842">
                  <c:v>28.2943521751194</c:v>
                </c:pt>
                <c:pt idx="72843">
                  <c:v>24.851047472667204</c:v>
                </c:pt>
                <c:pt idx="72844">
                  <c:v>33.706344240287073</c:v>
                </c:pt>
                <c:pt idx="72845">
                  <c:v>44.920097607028922</c:v>
                </c:pt>
                <c:pt idx="72846">
                  <c:v>25.639097542934351</c:v>
                </c:pt>
                <c:pt idx="72847">
                  <c:v>27.208138115721006</c:v>
                </c:pt>
                <c:pt idx="72848">
                  <c:v>21.202141473015914</c:v>
                </c:pt>
                <c:pt idx="72849">
                  <c:v>38.62725166615926</c:v>
                </c:pt>
                <c:pt idx="72850">
                  <c:v>26.108766839930858</c:v>
                </c:pt>
                <c:pt idx="72851">
                  <c:v>48.53879844295097</c:v>
                </c:pt>
                <c:pt idx="72852">
                  <c:v>29.521072089988682</c:v>
                </c:pt>
                <c:pt idx="72853">
                  <c:v>28.917536268722035</c:v>
                </c:pt>
                <c:pt idx="72854">
                  <c:v>31.142825257471209</c:v>
                </c:pt>
                <c:pt idx="72855">
                  <c:v>29.258347581846383</c:v>
                </c:pt>
                <c:pt idx="72856">
                  <c:v>22.519067615560367</c:v>
                </c:pt>
                <c:pt idx="72857">
                  <c:v>25.607033295159269</c:v>
                </c:pt>
                <c:pt idx="72858">
                  <c:v>38.12423177566783</c:v>
                </c:pt>
                <c:pt idx="72859">
                  <c:v>22.675215239507992</c:v>
                </c:pt>
                <c:pt idx="72860">
                  <c:v>28.066963627441645</c:v>
                </c:pt>
                <c:pt idx="72861">
                  <c:v>35.034853821016981</c:v>
                </c:pt>
                <c:pt idx="72862">
                  <c:v>41.205029334511067</c:v>
                </c:pt>
                <c:pt idx="72863">
                  <c:v>30.824027355657218</c:v>
                </c:pt>
                <c:pt idx="72864">
                  <c:v>38.592010113881884</c:v>
                </c:pt>
                <c:pt idx="72865">
                  <c:v>31.628079179998299</c:v>
                </c:pt>
                <c:pt idx="72866">
                  <c:v>32.446259540355513</c:v>
                </c:pt>
                <c:pt idx="72867">
                  <c:v>25.703682299907232</c:v>
                </c:pt>
                <c:pt idx="72868">
                  <c:v>22.299573667838274</c:v>
                </c:pt>
                <c:pt idx="72869">
                  <c:v>52.258580387608589</c:v>
                </c:pt>
                <c:pt idx="72870">
                  <c:v>53.67464900083101</c:v>
                </c:pt>
                <c:pt idx="72871">
                  <c:v>21.462370396614144</c:v>
                </c:pt>
                <c:pt idx="72872">
                  <c:v>20.8094648002611</c:v>
                </c:pt>
                <c:pt idx="72873">
                  <c:v>21.608998656716182</c:v>
                </c:pt>
                <c:pt idx="72874">
                  <c:v>58.461197079481153</c:v>
                </c:pt>
                <c:pt idx="72875">
                  <c:v>20.947397113208453</c:v>
                </c:pt>
                <c:pt idx="72876">
                  <c:v>35.983149237383429</c:v>
                </c:pt>
                <c:pt idx="72877">
                  <c:v>17.898599902656493</c:v>
                </c:pt>
                <c:pt idx="72878">
                  <c:v>31.99932567786238</c:v>
                </c:pt>
                <c:pt idx="72879">
                  <c:v>52.205584193682931</c:v>
                </c:pt>
                <c:pt idx="72880">
                  <c:v>42.42113667271834</c:v>
                </c:pt>
                <c:pt idx="72881">
                  <c:v>34.862332256044809</c:v>
                </c:pt>
                <c:pt idx="72882">
                  <c:v>24.879998363012156</c:v>
                </c:pt>
                <c:pt idx="72883">
                  <c:v>25.237507414882113</c:v>
                </c:pt>
                <c:pt idx="72884">
                  <c:v>35.093426270350257</c:v>
                </c:pt>
                <c:pt idx="72885">
                  <c:v>25.712770201240179</c:v>
                </c:pt>
                <c:pt idx="72886">
                  <c:v>28.822048117308448</c:v>
                </c:pt>
                <c:pt idx="72887">
                  <c:v>20.338404804153903</c:v>
                </c:pt>
                <c:pt idx="72888">
                  <c:v>22.761635004860267</c:v>
                </c:pt>
                <c:pt idx="72889">
                  <c:v>25.74931698799837</c:v>
                </c:pt>
                <c:pt idx="72890">
                  <c:v>25.101119670270606</c:v>
                </c:pt>
                <c:pt idx="72891">
                  <c:v>33.093631729656607</c:v>
                </c:pt>
                <c:pt idx="72892">
                  <c:v>50.695172823838575</c:v>
                </c:pt>
                <c:pt idx="72893">
                  <c:v>33.358172737517556</c:v>
                </c:pt>
                <c:pt idx="72894">
                  <c:v>22.806717906063962</c:v>
                </c:pt>
                <c:pt idx="72895">
                  <c:v>44.124414516153976</c:v>
                </c:pt>
                <c:pt idx="72896">
                  <c:v>28.961429960530246</c:v>
                </c:pt>
                <c:pt idx="72897">
                  <c:v>24.648948259407785</c:v>
                </c:pt>
                <c:pt idx="72898">
                  <c:v>33.493729206971679</c:v>
                </c:pt>
                <c:pt idx="72899">
                  <c:v>39.333388626094887</c:v>
                </c:pt>
                <c:pt idx="72900">
                  <c:v>36.730620947139009</c:v>
                </c:pt>
                <c:pt idx="72901">
                  <c:v>46.655300223261875</c:v>
                </c:pt>
                <c:pt idx="72902">
                  <c:v>23.522343741204217</c:v>
                </c:pt>
                <c:pt idx="72903">
                  <c:v>25.764282247419821</c:v>
                </c:pt>
                <c:pt idx="72904">
                  <c:v>21.173409727503639</c:v>
                </c:pt>
                <c:pt idx="72905">
                  <c:v>24.268185106108806</c:v>
                </c:pt>
                <c:pt idx="72906">
                  <c:v>28.576531461714648</c:v>
                </c:pt>
                <c:pt idx="72907">
                  <c:v>25.586495907945114</c:v>
                </c:pt>
                <c:pt idx="72908">
                  <c:v>31.712205903629819</c:v>
                </c:pt>
                <c:pt idx="72909">
                  <c:v>50.573599568738125</c:v>
                </c:pt>
                <c:pt idx="72910">
                  <c:v>39.84574969973103</c:v>
                </c:pt>
                <c:pt idx="72911">
                  <c:v>21.056970804967165</c:v>
                </c:pt>
                <c:pt idx="72912">
                  <c:v>46.535718729087627</c:v>
                </c:pt>
                <c:pt idx="72913">
                  <c:v>18.429589568500401</c:v>
                </c:pt>
                <c:pt idx="72914">
                  <c:v>27.997152630260818</c:v>
                </c:pt>
                <c:pt idx="72915">
                  <c:v>54.99775047987135</c:v>
                </c:pt>
                <c:pt idx="72916">
                  <c:v>26.26670004305457</c:v>
                </c:pt>
                <c:pt idx="72917">
                  <c:v>29.477192095115509</c:v>
                </c:pt>
                <c:pt idx="72918">
                  <c:v>33.997962917329303</c:v>
                </c:pt>
                <c:pt idx="72919">
                  <c:v>44.286105570270664</c:v>
                </c:pt>
                <c:pt idx="72920">
                  <c:v>37.891245272321875</c:v>
                </c:pt>
                <c:pt idx="72921">
                  <c:v>23.22032136543157</c:v>
                </c:pt>
                <c:pt idx="72922">
                  <c:v>28.721430251323927</c:v>
                </c:pt>
                <c:pt idx="72923">
                  <c:v>30.217733878484871</c:v>
                </c:pt>
                <c:pt idx="72924">
                  <c:v>43.119571118544989</c:v>
                </c:pt>
                <c:pt idx="72925">
                  <c:v>20.235604137476102</c:v>
                </c:pt>
                <c:pt idx="72926">
                  <c:v>24.271931951514361</c:v>
                </c:pt>
                <c:pt idx="72927">
                  <c:v>48.048131521022412</c:v>
                </c:pt>
                <c:pt idx="72928">
                  <c:v>24.619176220845667</c:v>
                </c:pt>
                <c:pt idx="72929">
                  <c:v>26.075053405776735</c:v>
                </c:pt>
                <c:pt idx="72930">
                  <c:v>22.947196873975432</c:v>
                </c:pt>
                <c:pt idx="72931">
                  <c:v>22.033842989456637</c:v>
                </c:pt>
                <c:pt idx="72932">
                  <c:v>19.090071128515156</c:v>
                </c:pt>
                <c:pt idx="72933">
                  <c:v>49.560549090217279</c:v>
                </c:pt>
                <c:pt idx="72934">
                  <c:v>25.496879514890313</c:v>
                </c:pt>
                <c:pt idx="72935">
                  <c:v>24.401246526581815</c:v>
                </c:pt>
                <c:pt idx="72936">
                  <c:v>45.232539919904454</c:v>
                </c:pt>
                <c:pt idx="72937">
                  <c:v>25.081315130080863</c:v>
                </c:pt>
                <c:pt idx="72938">
                  <c:v>37.930740429782361</c:v>
                </c:pt>
                <c:pt idx="72939">
                  <c:v>31.444370642765087</c:v>
                </c:pt>
                <c:pt idx="72940">
                  <c:v>27.647143236760549</c:v>
                </c:pt>
                <c:pt idx="72941">
                  <c:v>23.402622821466313</c:v>
                </c:pt>
                <c:pt idx="72942">
                  <c:v>41.731016521144078</c:v>
                </c:pt>
                <c:pt idx="72943">
                  <c:v>23.038101753685361</c:v>
                </c:pt>
                <c:pt idx="72944">
                  <c:v>45.41197394529425</c:v>
                </c:pt>
                <c:pt idx="72945">
                  <c:v>27.594502312136758</c:v>
                </c:pt>
                <c:pt idx="72946">
                  <c:v>54.240711011103016</c:v>
                </c:pt>
                <c:pt idx="72947">
                  <c:v>26.456381603009806</c:v>
                </c:pt>
                <c:pt idx="72948">
                  <c:v>22.558564761399111</c:v>
                </c:pt>
                <c:pt idx="72949">
                  <c:v>21.611309489739348</c:v>
                </c:pt>
                <c:pt idx="72950">
                  <c:v>19.825464926984356</c:v>
                </c:pt>
                <c:pt idx="72951">
                  <c:v>40.218357659219393</c:v>
                </c:pt>
                <c:pt idx="72952">
                  <c:v>28.979639973363561</c:v>
                </c:pt>
                <c:pt idx="72953">
                  <c:v>26.821153829476792</c:v>
                </c:pt>
                <c:pt idx="72954">
                  <c:v>30.18445348378334</c:v>
                </c:pt>
                <c:pt idx="72955">
                  <c:v>28.583381215250686</c:v>
                </c:pt>
                <c:pt idx="72956">
                  <c:v>34.119812108121835</c:v>
                </c:pt>
                <c:pt idx="72957">
                  <c:v>25.698329899511574</c:v>
                </c:pt>
                <c:pt idx="72958">
                  <c:v>27.212837490859727</c:v>
                </c:pt>
                <c:pt idx="72959">
                  <c:v>31.43387303932467</c:v>
                </c:pt>
                <c:pt idx="72960">
                  <c:v>23.97573421014437</c:v>
                </c:pt>
                <c:pt idx="72961">
                  <c:v>48.38971571832645</c:v>
                </c:pt>
                <c:pt idx="72962">
                  <c:v>28.231463973743121</c:v>
                </c:pt>
                <c:pt idx="72963">
                  <c:v>25.390636029671029</c:v>
                </c:pt>
                <c:pt idx="72964">
                  <c:v>27.040439127290576</c:v>
                </c:pt>
                <c:pt idx="72965">
                  <c:v>36.318081608731667</c:v>
                </c:pt>
                <c:pt idx="72966">
                  <c:v>17.291206151619058</c:v>
                </c:pt>
                <c:pt idx="72967">
                  <c:v>43.00004946760572</c:v>
                </c:pt>
                <c:pt idx="72968">
                  <c:v>30.805512552878461</c:v>
                </c:pt>
                <c:pt idx="72969">
                  <c:v>24.496524366906442</c:v>
                </c:pt>
                <c:pt idx="72970">
                  <c:v>41.363195485284017</c:v>
                </c:pt>
                <c:pt idx="72971">
                  <c:v>30.787081307889853</c:v>
                </c:pt>
                <c:pt idx="72972">
                  <c:v>34.695329379576719</c:v>
                </c:pt>
                <c:pt idx="72973">
                  <c:v>30.768077370989598</c:v>
                </c:pt>
                <c:pt idx="72974">
                  <c:v>54.547320695814562</c:v>
                </c:pt>
                <c:pt idx="72975">
                  <c:v>31.851711277524014</c:v>
                </c:pt>
                <c:pt idx="72976">
                  <c:v>28.278769093813466</c:v>
                </c:pt>
                <c:pt idx="72977">
                  <c:v>47.215370144229702</c:v>
                </c:pt>
                <c:pt idx="72978">
                  <c:v>24.098820909096204</c:v>
                </c:pt>
                <c:pt idx="72979">
                  <c:v>29.668315182206452</c:v>
                </c:pt>
                <c:pt idx="72980">
                  <c:v>27.12372767342714</c:v>
                </c:pt>
                <c:pt idx="72981">
                  <c:v>34.180284109759526</c:v>
                </c:pt>
                <c:pt idx="72982">
                  <c:v>31.637992102913515</c:v>
                </c:pt>
                <c:pt idx="72983">
                  <c:v>24.926160282505883</c:v>
                </c:pt>
                <c:pt idx="72984">
                  <c:v>37.301565938731635</c:v>
                </c:pt>
                <c:pt idx="72985">
                  <c:v>26.940608105307572</c:v>
                </c:pt>
                <c:pt idx="72986">
                  <c:v>31.134492847210964</c:v>
                </c:pt>
                <c:pt idx="72987">
                  <c:v>24.92302859937239</c:v>
                </c:pt>
                <c:pt idx="72988">
                  <c:v>21.241024685404753</c:v>
                </c:pt>
                <c:pt idx="72989">
                  <c:v>35.119297950676938</c:v>
                </c:pt>
                <c:pt idx="72990">
                  <c:v>24.564692288293834</c:v>
                </c:pt>
                <c:pt idx="72991">
                  <c:v>46.729160993073229</c:v>
                </c:pt>
                <c:pt idx="72992">
                  <c:v>25.678533536941007</c:v>
                </c:pt>
                <c:pt idx="72993">
                  <c:v>32.814021448904754</c:v>
                </c:pt>
                <c:pt idx="72994">
                  <c:v>40.156411535017256</c:v>
                </c:pt>
                <c:pt idx="72995">
                  <c:v>30.174766252697459</c:v>
                </c:pt>
                <c:pt idx="72996">
                  <c:v>40.341703668538194</c:v>
                </c:pt>
                <c:pt idx="72997">
                  <c:v>48.772240370146562</c:v>
                </c:pt>
                <c:pt idx="72998">
                  <c:v>27.094225866696092</c:v>
                </c:pt>
                <c:pt idx="72999">
                  <c:v>27.210473355553226</c:v>
                </c:pt>
                <c:pt idx="73000">
                  <c:v>14.869602589186776</c:v>
                </c:pt>
                <c:pt idx="73001">
                  <c:v>31.40494105624899</c:v>
                </c:pt>
                <c:pt idx="73002">
                  <c:v>45.094379619424892</c:v>
                </c:pt>
                <c:pt idx="73003">
                  <c:v>42.459796909623364</c:v>
                </c:pt>
                <c:pt idx="73004">
                  <c:v>51.099383259324554</c:v>
                </c:pt>
                <c:pt idx="73005">
                  <c:v>23.068804847988549</c:v>
                </c:pt>
                <c:pt idx="73006">
                  <c:v>39.510684541034401</c:v>
                </c:pt>
                <c:pt idx="73007">
                  <c:v>30.443610144832661</c:v>
                </c:pt>
                <c:pt idx="73008">
                  <c:v>37.216424076151739</c:v>
                </c:pt>
                <c:pt idx="73009">
                  <c:v>32.637015903232665</c:v>
                </c:pt>
                <c:pt idx="73010">
                  <c:v>20.738039902304877</c:v>
                </c:pt>
                <c:pt idx="73011">
                  <c:v>32.94699674353658</c:v>
                </c:pt>
                <c:pt idx="73012">
                  <c:v>35.983366108157028</c:v>
                </c:pt>
                <c:pt idx="73013">
                  <c:v>27.956986848980407</c:v>
                </c:pt>
                <c:pt idx="73014">
                  <c:v>39.764720663609168</c:v>
                </c:pt>
                <c:pt idx="73015">
                  <c:v>52.202491220593345</c:v>
                </c:pt>
                <c:pt idx="73016">
                  <c:v>21.183459681100302</c:v>
                </c:pt>
                <c:pt idx="73017">
                  <c:v>24.451513974819335</c:v>
                </c:pt>
                <c:pt idx="73018">
                  <c:v>45.663617000548982</c:v>
                </c:pt>
                <c:pt idx="73019">
                  <c:v>17.258665193797174</c:v>
                </c:pt>
                <c:pt idx="73020">
                  <c:v>20.86755212822111</c:v>
                </c:pt>
                <c:pt idx="73021">
                  <c:v>28.486093896636419</c:v>
                </c:pt>
                <c:pt idx="73022">
                  <c:v>21.303661007592567</c:v>
                </c:pt>
                <c:pt idx="73023">
                  <c:v>59.259248656399137</c:v>
                </c:pt>
                <c:pt idx="73024">
                  <c:v>21.585218620589739</c:v>
                </c:pt>
                <c:pt idx="73025">
                  <c:v>35.199732329920764</c:v>
                </c:pt>
                <c:pt idx="73026">
                  <c:v>29.111074412531131</c:v>
                </c:pt>
                <c:pt idx="73027">
                  <c:v>23.101484064303964</c:v>
                </c:pt>
                <c:pt idx="73028">
                  <c:v>50.758844551837754</c:v>
                </c:pt>
                <c:pt idx="73029">
                  <c:v>39.02165768380894</c:v>
                </c:pt>
                <c:pt idx="73030">
                  <c:v>26.397074517687713</c:v>
                </c:pt>
                <c:pt idx="73031">
                  <c:v>38.90987846167949</c:v>
                </c:pt>
                <c:pt idx="73032">
                  <c:v>53.085533827358105</c:v>
                </c:pt>
                <c:pt idx="73033">
                  <c:v>41.404538636677628</c:v>
                </c:pt>
                <c:pt idx="73034">
                  <c:v>45.590547789120173</c:v>
                </c:pt>
                <c:pt idx="73035">
                  <c:v>19.531578748692286</c:v>
                </c:pt>
                <c:pt idx="73036">
                  <c:v>44.517339312143648</c:v>
                </c:pt>
                <c:pt idx="73037">
                  <c:v>28.079133003153007</c:v>
                </c:pt>
                <c:pt idx="73038">
                  <c:v>25.553206125140221</c:v>
                </c:pt>
                <c:pt idx="73039">
                  <c:v>20.239028698786356</c:v>
                </c:pt>
                <c:pt idx="73040">
                  <c:v>24.486433227161076</c:v>
                </c:pt>
                <c:pt idx="73041">
                  <c:v>26.176519441817611</c:v>
                </c:pt>
                <c:pt idx="73042">
                  <c:v>27.570188507883714</c:v>
                </c:pt>
                <c:pt idx="73043">
                  <c:v>24.302283541416266</c:v>
                </c:pt>
                <c:pt idx="73044">
                  <c:v>46.233630611970099</c:v>
                </c:pt>
                <c:pt idx="73045">
                  <c:v>21.059733729548796</c:v>
                </c:pt>
                <c:pt idx="73046">
                  <c:v>19.686490864219884</c:v>
                </c:pt>
                <c:pt idx="73047">
                  <c:v>18.931495162495565</c:v>
                </c:pt>
                <c:pt idx="73048">
                  <c:v>26.508203372132833</c:v>
                </c:pt>
                <c:pt idx="73049">
                  <c:v>54.870630520373297</c:v>
                </c:pt>
                <c:pt idx="73050">
                  <c:v>46.847554958749143</c:v>
                </c:pt>
                <c:pt idx="73051">
                  <c:v>16.428053068147793</c:v>
                </c:pt>
                <c:pt idx="73052">
                  <c:v>49.416965322469537</c:v>
                </c:pt>
                <c:pt idx="73053">
                  <c:v>45.546402967114993</c:v>
                </c:pt>
                <c:pt idx="73054">
                  <c:v>29.023251216970763</c:v>
                </c:pt>
                <c:pt idx="73055">
                  <c:v>48.062685878780229</c:v>
                </c:pt>
                <c:pt idx="73056">
                  <c:v>36.112640685851979</c:v>
                </c:pt>
                <c:pt idx="73057">
                  <c:v>26.019300410122561</c:v>
                </c:pt>
                <c:pt idx="73058">
                  <c:v>56.4786914445082</c:v>
                </c:pt>
                <c:pt idx="73059">
                  <c:v>30.874311308125783</c:v>
                </c:pt>
                <c:pt idx="73060">
                  <c:v>41.86166031617374</c:v>
                </c:pt>
                <c:pt idx="73061">
                  <c:v>48.916841838256367</c:v>
                </c:pt>
                <c:pt idx="73062">
                  <c:v>37.571322683821336</c:v>
                </c:pt>
                <c:pt idx="73063">
                  <c:v>15.171543045384405</c:v>
                </c:pt>
                <c:pt idx="73064">
                  <c:v>21.61588340253682</c:v>
                </c:pt>
                <c:pt idx="73065">
                  <c:v>38.860682756532917</c:v>
                </c:pt>
                <c:pt idx="73066">
                  <c:v>22.584268027509559</c:v>
                </c:pt>
                <c:pt idx="73067">
                  <c:v>39.720358697133918</c:v>
                </c:pt>
                <c:pt idx="73068">
                  <c:v>25.666341100415533</c:v>
                </c:pt>
                <c:pt idx="73069">
                  <c:v>21.151102088413229</c:v>
                </c:pt>
                <c:pt idx="73070">
                  <c:v>27.764679197796795</c:v>
                </c:pt>
                <c:pt idx="73071">
                  <c:v>26.15767990030886</c:v>
                </c:pt>
                <c:pt idx="73072">
                  <c:v>25.406326777330719</c:v>
                </c:pt>
                <c:pt idx="73073">
                  <c:v>45.290372367580069</c:v>
                </c:pt>
                <c:pt idx="73074">
                  <c:v>46.92944136644914</c:v>
                </c:pt>
                <c:pt idx="73075">
                  <c:v>27.035714929875788</c:v>
                </c:pt>
                <c:pt idx="73076">
                  <c:v>22.975079781463354</c:v>
                </c:pt>
                <c:pt idx="73077">
                  <c:v>22.366257258549282</c:v>
                </c:pt>
                <c:pt idx="73078">
                  <c:v>37.98891350827283</c:v>
                </c:pt>
                <c:pt idx="73079">
                  <c:v>28.546986020122016</c:v>
                </c:pt>
                <c:pt idx="73080">
                  <c:v>34.306927952179706</c:v>
                </c:pt>
                <c:pt idx="73081">
                  <c:v>24.420432249416141</c:v>
                </c:pt>
                <c:pt idx="73082">
                  <c:v>26.628525856734857</c:v>
                </c:pt>
                <c:pt idx="73083">
                  <c:v>29.799897390576035</c:v>
                </c:pt>
                <c:pt idx="73084">
                  <c:v>30.920197308392911</c:v>
                </c:pt>
                <c:pt idx="73085">
                  <c:v>48.690614496341738</c:v>
                </c:pt>
                <c:pt idx="73086">
                  <c:v>29.65150200400603</c:v>
                </c:pt>
                <c:pt idx="73087">
                  <c:v>43.740138211017722</c:v>
                </c:pt>
                <c:pt idx="73088">
                  <c:v>23.314833678006135</c:v>
                </c:pt>
                <c:pt idx="73089">
                  <c:v>23.406375283543483</c:v>
                </c:pt>
                <c:pt idx="73090">
                  <c:v>23.509409311109344</c:v>
                </c:pt>
                <c:pt idx="73091">
                  <c:v>39.010220703570241</c:v>
                </c:pt>
                <c:pt idx="73092">
                  <c:v>31.121164264760598</c:v>
                </c:pt>
                <c:pt idx="73093">
                  <c:v>28.663955065709427</c:v>
                </c:pt>
                <c:pt idx="73094">
                  <c:v>27.78236921804254</c:v>
                </c:pt>
                <c:pt idx="73095">
                  <c:v>41.136947376152364</c:v>
                </c:pt>
                <c:pt idx="73096">
                  <c:v>24.377922589214897</c:v>
                </c:pt>
                <c:pt idx="73097">
                  <c:v>30.842173703141334</c:v>
                </c:pt>
                <c:pt idx="73098">
                  <c:v>27.690533232848349</c:v>
                </c:pt>
                <c:pt idx="73099">
                  <c:v>35.095686126791939</c:v>
                </c:pt>
                <c:pt idx="73100">
                  <c:v>33.169567032896026</c:v>
                </c:pt>
                <c:pt idx="73101">
                  <c:v>42.051125501239937</c:v>
                </c:pt>
                <c:pt idx="73102">
                  <c:v>25.178908407440243</c:v>
                </c:pt>
                <c:pt idx="73103">
                  <c:v>31.831903311212915</c:v>
                </c:pt>
                <c:pt idx="73104">
                  <c:v>24.067858452167961</c:v>
                </c:pt>
                <c:pt idx="73105">
                  <c:v>22.476468399044666</c:v>
                </c:pt>
                <c:pt idx="73106">
                  <c:v>44.819694878837836</c:v>
                </c:pt>
                <c:pt idx="73107">
                  <c:v>21.904084953549535</c:v>
                </c:pt>
                <c:pt idx="73108">
                  <c:v>31.196655185473986</c:v>
                </c:pt>
                <c:pt idx="73109">
                  <c:v>59.177630686608786</c:v>
                </c:pt>
                <c:pt idx="73110">
                  <c:v>57.282123021171508</c:v>
                </c:pt>
                <c:pt idx="73111">
                  <c:v>19.831953608428517</c:v>
                </c:pt>
                <c:pt idx="73112">
                  <c:v>33.957229201382646</c:v>
                </c:pt>
                <c:pt idx="73113">
                  <c:v>28.939367433797919</c:v>
                </c:pt>
                <c:pt idx="73114">
                  <c:v>25.402161612825296</c:v>
                </c:pt>
                <c:pt idx="73115">
                  <c:v>26.741069697838945</c:v>
                </c:pt>
                <c:pt idx="73116">
                  <c:v>44.388674532239001</c:v>
                </c:pt>
                <c:pt idx="73117">
                  <c:v>34.112213494787227</c:v>
                </c:pt>
                <c:pt idx="73118">
                  <c:v>27.572881253611431</c:v>
                </c:pt>
                <c:pt idx="73119">
                  <c:v>24.947556165474452</c:v>
                </c:pt>
                <c:pt idx="73120">
                  <c:v>25.475115640122638</c:v>
                </c:pt>
                <c:pt idx="73121">
                  <c:v>24.68370573019461</c:v>
                </c:pt>
                <c:pt idx="73122">
                  <c:v>19.676944499736837</c:v>
                </c:pt>
                <c:pt idx="73123">
                  <c:v>19.392503206136247</c:v>
                </c:pt>
                <c:pt idx="73124">
                  <c:v>43.961252184995701</c:v>
                </c:pt>
                <c:pt idx="73125">
                  <c:v>27.943921667479298</c:v>
                </c:pt>
                <c:pt idx="73126">
                  <c:v>22.857207601847637</c:v>
                </c:pt>
                <c:pt idx="73127">
                  <c:v>18.429029393496368</c:v>
                </c:pt>
                <c:pt idx="73128">
                  <c:v>47.818822866603583</c:v>
                </c:pt>
                <c:pt idx="73129">
                  <c:v>66.754030549086949</c:v>
                </c:pt>
                <c:pt idx="73130">
                  <c:v>33.295430845594261</c:v>
                </c:pt>
                <c:pt idx="73131">
                  <c:v>53.176460065620638</c:v>
                </c:pt>
                <c:pt idx="73132">
                  <c:v>24.112177560924994</c:v>
                </c:pt>
                <c:pt idx="73133">
                  <c:v>24.733648796653096</c:v>
                </c:pt>
                <c:pt idx="73134">
                  <c:v>28.661830524500388</c:v>
                </c:pt>
                <c:pt idx="73135">
                  <c:v>29.223730265081112</c:v>
                </c:pt>
                <c:pt idx="73136">
                  <c:v>26.490720520984791</c:v>
                </c:pt>
                <c:pt idx="73137">
                  <c:v>33.557007768359512</c:v>
                </c:pt>
                <c:pt idx="73138">
                  <c:v>19.813390804687252</c:v>
                </c:pt>
                <c:pt idx="73139">
                  <c:v>24.338403971630616</c:v>
                </c:pt>
                <c:pt idx="73140">
                  <c:v>20.291477859720928</c:v>
                </c:pt>
                <c:pt idx="73141">
                  <c:v>47.634008235716813</c:v>
                </c:pt>
                <c:pt idx="73142">
                  <c:v>26.146350815564464</c:v>
                </c:pt>
                <c:pt idx="73143">
                  <c:v>50.849338503221347</c:v>
                </c:pt>
                <c:pt idx="73144">
                  <c:v>20.861370257223978</c:v>
                </c:pt>
                <c:pt idx="73145">
                  <c:v>23.649586935606045</c:v>
                </c:pt>
                <c:pt idx="73146">
                  <c:v>14.577494530447101</c:v>
                </c:pt>
                <c:pt idx="73147">
                  <c:v>23.793068477308303</c:v>
                </c:pt>
                <c:pt idx="73148">
                  <c:v>23.045478805450475</c:v>
                </c:pt>
                <c:pt idx="73149">
                  <c:v>31.210786172171222</c:v>
                </c:pt>
                <c:pt idx="73150">
                  <c:v>25.718807866638535</c:v>
                </c:pt>
                <c:pt idx="73151">
                  <c:v>32.048032662472536</c:v>
                </c:pt>
                <c:pt idx="73152">
                  <c:v>30.041069413665866</c:v>
                </c:pt>
                <c:pt idx="73153">
                  <c:v>43.910703065536097</c:v>
                </c:pt>
                <c:pt idx="73154">
                  <c:v>20.01300516364379</c:v>
                </c:pt>
                <c:pt idx="73155">
                  <c:v>24.531492281742146</c:v>
                </c:pt>
                <c:pt idx="73156">
                  <c:v>23.843414478901767</c:v>
                </c:pt>
                <c:pt idx="73157">
                  <c:v>20.772995039291949</c:v>
                </c:pt>
                <c:pt idx="73158">
                  <c:v>31.520331929796843</c:v>
                </c:pt>
                <c:pt idx="73159">
                  <c:v>24.866150641132513</c:v>
                </c:pt>
                <c:pt idx="73160">
                  <c:v>31.841941530688594</c:v>
                </c:pt>
                <c:pt idx="73161">
                  <c:v>25.702161824854322</c:v>
                </c:pt>
                <c:pt idx="73162">
                  <c:v>28.45129877185235</c:v>
                </c:pt>
                <c:pt idx="73163">
                  <c:v>57.114199256588662</c:v>
                </c:pt>
                <c:pt idx="73164">
                  <c:v>30.402939094661278</c:v>
                </c:pt>
                <c:pt idx="73165">
                  <c:v>59.81586269140724</c:v>
                </c:pt>
                <c:pt idx="73166">
                  <c:v>25.360548480311387</c:v>
                </c:pt>
                <c:pt idx="73167">
                  <c:v>22.855678724174354</c:v>
                </c:pt>
                <c:pt idx="73168">
                  <c:v>37.471430812532958</c:v>
                </c:pt>
                <c:pt idx="73169">
                  <c:v>21.944910379276575</c:v>
                </c:pt>
                <c:pt idx="73170">
                  <c:v>35.536427668218643</c:v>
                </c:pt>
                <c:pt idx="73171">
                  <c:v>27.771952589610809</c:v>
                </c:pt>
                <c:pt idx="73172">
                  <c:v>26.011519995395773</c:v>
                </c:pt>
                <c:pt idx="73173">
                  <c:v>22.380258733495531</c:v>
                </c:pt>
                <c:pt idx="73174">
                  <c:v>46.565551287182743</c:v>
                </c:pt>
                <c:pt idx="73175">
                  <c:v>39.52876168339003</c:v>
                </c:pt>
                <c:pt idx="73176">
                  <c:v>33.898649020438427</c:v>
                </c:pt>
                <c:pt idx="73177">
                  <c:v>21.511918541324057</c:v>
                </c:pt>
                <c:pt idx="73178">
                  <c:v>29.381687148026913</c:v>
                </c:pt>
                <c:pt idx="73179">
                  <c:v>28.84817969602603</c:v>
                </c:pt>
                <c:pt idx="73180">
                  <c:v>20.258982143256496</c:v>
                </c:pt>
                <c:pt idx="73181">
                  <c:v>31.146430649014864</c:v>
                </c:pt>
                <c:pt idx="73182">
                  <c:v>27.845508920284882</c:v>
                </c:pt>
                <c:pt idx="73183">
                  <c:v>23.345873526622221</c:v>
                </c:pt>
                <c:pt idx="73184">
                  <c:v>49.289473382622653</c:v>
                </c:pt>
                <c:pt idx="73185">
                  <c:v>31.89165775520619</c:v>
                </c:pt>
                <c:pt idx="73186">
                  <c:v>49.631898167483357</c:v>
                </c:pt>
                <c:pt idx="73187">
                  <c:v>23.688909622828575</c:v>
                </c:pt>
                <c:pt idx="73188">
                  <c:v>52.185020218260711</c:v>
                </c:pt>
                <c:pt idx="73189">
                  <c:v>29.57330299285319</c:v>
                </c:pt>
                <c:pt idx="73190">
                  <c:v>21.034706025626491</c:v>
                </c:pt>
                <c:pt idx="73191">
                  <c:v>28.693144155036777</c:v>
                </c:pt>
                <c:pt idx="73192">
                  <c:v>58.47773223932942</c:v>
                </c:pt>
                <c:pt idx="73193">
                  <c:v>20.804615906627223</c:v>
                </c:pt>
                <c:pt idx="73194">
                  <c:v>39.038375707260158</c:v>
                </c:pt>
                <c:pt idx="73195">
                  <c:v>25.978633058051784</c:v>
                </c:pt>
                <c:pt idx="73196">
                  <c:v>47.244899587248469</c:v>
                </c:pt>
                <c:pt idx="73197">
                  <c:v>28.423655810784076</c:v>
                </c:pt>
                <c:pt idx="73198">
                  <c:v>25.396050835382852</c:v>
                </c:pt>
                <c:pt idx="73199">
                  <c:v>45.749455658518457</c:v>
                </c:pt>
                <c:pt idx="73200">
                  <c:v>27.448521262117055</c:v>
                </c:pt>
                <c:pt idx="73201">
                  <c:v>54.568057058249693</c:v>
                </c:pt>
                <c:pt idx="73202">
                  <c:v>23.613559109502745</c:v>
                </c:pt>
                <c:pt idx="73203">
                  <c:v>18.555578853025583</c:v>
                </c:pt>
                <c:pt idx="73204">
                  <c:v>34.547695581020299</c:v>
                </c:pt>
                <c:pt idx="73205">
                  <c:v>42.745415309089474</c:v>
                </c:pt>
                <c:pt idx="73206">
                  <c:v>22.20443897777157</c:v>
                </c:pt>
                <c:pt idx="73207">
                  <c:v>43.088224971950837</c:v>
                </c:pt>
                <c:pt idx="73208">
                  <c:v>28.825144683079433</c:v>
                </c:pt>
                <c:pt idx="73209">
                  <c:v>20.775822014813393</c:v>
                </c:pt>
                <c:pt idx="73210">
                  <c:v>46.364716674759997</c:v>
                </c:pt>
                <c:pt idx="73211">
                  <c:v>51.36380808058405</c:v>
                </c:pt>
                <c:pt idx="73212">
                  <c:v>35.17122499728017</c:v>
                </c:pt>
                <c:pt idx="73213">
                  <c:v>32.383698830736414</c:v>
                </c:pt>
                <c:pt idx="73214">
                  <c:v>29.298190201631861</c:v>
                </c:pt>
                <c:pt idx="73215">
                  <c:v>38.916575182231874</c:v>
                </c:pt>
                <c:pt idx="73216">
                  <c:v>29.413176106618206</c:v>
                </c:pt>
                <c:pt idx="73217">
                  <c:v>23.38964764295968</c:v>
                </c:pt>
                <c:pt idx="73218">
                  <c:v>47.452040463087599</c:v>
                </c:pt>
                <c:pt idx="73219">
                  <c:v>24.433390327126869</c:v>
                </c:pt>
                <c:pt idx="73220">
                  <c:v>31.489085651974833</c:v>
                </c:pt>
                <c:pt idx="73221">
                  <c:v>23.001818396517223</c:v>
                </c:pt>
                <c:pt idx="73222">
                  <c:v>24.03799376429604</c:v>
                </c:pt>
                <c:pt idx="73223">
                  <c:v>45.544652124449293</c:v>
                </c:pt>
                <c:pt idx="73224">
                  <c:v>21.080033315700391</c:v>
                </c:pt>
                <c:pt idx="73225">
                  <c:v>41.819317395004276</c:v>
                </c:pt>
                <c:pt idx="73226">
                  <c:v>37.859953711296285</c:v>
                </c:pt>
                <c:pt idx="73227">
                  <c:v>22.332638244250365</c:v>
                </c:pt>
                <c:pt idx="73228">
                  <c:v>25.626579130486462</c:v>
                </c:pt>
                <c:pt idx="73229">
                  <c:v>24.187379462620203</c:v>
                </c:pt>
                <c:pt idx="73230">
                  <c:v>27.591462814945039</c:v>
                </c:pt>
                <c:pt idx="73231">
                  <c:v>24.367072941535458</c:v>
                </c:pt>
                <c:pt idx="73232">
                  <c:v>29.450752568524546</c:v>
                </c:pt>
                <c:pt idx="73233">
                  <c:v>48.661531920992012</c:v>
                </c:pt>
                <c:pt idx="73234">
                  <c:v>27.181350568807812</c:v>
                </c:pt>
                <c:pt idx="73235">
                  <c:v>23.094004719377907</c:v>
                </c:pt>
                <c:pt idx="73236">
                  <c:v>22.637235892879037</c:v>
                </c:pt>
                <c:pt idx="73237">
                  <c:v>37.663019568565758</c:v>
                </c:pt>
                <c:pt idx="73238">
                  <c:v>29.62653443091812</c:v>
                </c:pt>
                <c:pt idx="73239">
                  <c:v>30.240950489743266</c:v>
                </c:pt>
                <c:pt idx="73240">
                  <c:v>24.962121669232353</c:v>
                </c:pt>
                <c:pt idx="73241">
                  <c:v>24.92929714574953</c:v>
                </c:pt>
                <c:pt idx="73242">
                  <c:v>36.999048480117104</c:v>
                </c:pt>
                <c:pt idx="73243">
                  <c:v>25.684096306126463</c:v>
                </c:pt>
                <c:pt idx="73244">
                  <c:v>53.549980511647874</c:v>
                </c:pt>
                <c:pt idx="73245">
                  <c:v>25.649886237596469</c:v>
                </c:pt>
                <c:pt idx="73246">
                  <c:v>28.529031954405802</c:v>
                </c:pt>
                <c:pt idx="73247">
                  <c:v>26.015452059300657</c:v>
                </c:pt>
                <c:pt idx="73248">
                  <c:v>51.988612661872217</c:v>
                </c:pt>
                <c:pt idx="73249">
                  <c:v>16.462328169536637</c:v>
                </c:pt>
                <c:pt idx="73250">
                  <c:v>28.063361055356239</c:v>
                </c:pt>
                <c:pt idx="73251">
                  <c:v>40.352767955293039</c:v>
                </c:pt>
                <c:pt idx="73252">
                  <c:v>23.591502538845369</c:v>
                </c:pt>
                <c:pt idx="73253">
                  <c:v>35.424013427096057</c:v>
                </c:pt>
                <c:pt idx="73254">
                  <c:v>28.094472549350186</c:v>
                </c:pt>
                <c:pt idx="73255">
                  <c:v>27.891745284081257</c:v>
                </c:pt>
                <c:pt idx="73256">
                  <c:v>21.88555125349502</c:v>
                </c:pt>
                <c:pt idx="73257">
                  <c:v>24.932002240688604</c:v>
                </c:pt>
                <c:pt idx="73258">
                  <c:v>50.41386727420641</c:v>
                </c:pt>
                <c:pt idx="73259">
                  <c:v>33.686929192169615</c:v>
                </c:pt>
                <c:pt idx="73260">
                  <c:v>36.206171924664361</c:v>
                </c:pt>
                <c:pt idx="73261">
                  <c:v>28.22563001647433</c:v>
                </c:pt>
                <c:pt idx="73262">
                  <c:v>47.857013908594311</c:v>
                </c:pt>
                <c:pt idx="73263">
                  <c:v>27.345630977187351</c:v>
                </c:pt>
                <c:pt idx="73264">
                  <c:v>37.566395484052997</c:v>
                </c:pt>
                <c:pt idx="73265">
                  <c:v>19.69346077402956</c:v>
                </c:pt>
                <c:pt idx="73266">
                  <c:v>46.643497400042335</c:v>
                </c:pt>
                <c:pt idx="73267">
                  <c:v>25.499464632790485</c:v>
                </c:pt>
                <c:pt idx="73268">
                  <c:v>35.151564378635989</c:v>
                </c:pt>
                <c:pt idx="73269">
                  <c:v>32.345800307760911</c:v>
                </c:pt>
                <c:pt idx="73270">
                  <c:v>28.623319093569158</c:v>
                </c:pt>
                <c:pt idx="73271">
                  <c:v>36.669800282013448</c:v>
                </c:pt>
                <c:pt idx="73272">
                  <c:v>28.221309070506823</c:v>
                </c:pt>
                <c:pt idx="73273">
                  <c:v>45.944407762170776</c:v>
                </c:pt>
                <c:pt idx="73274">
                  <c:v>51.876236638935254</c:v>
                </c:pt>
                <c:pt idx="73275">
                  <c:v>27.572484185879205</c:v>
                </c:pt>
                <c:pt idx="73276">
                  <c:v>41.147325075367121</c:v>
                </c:pt>
                <c:pt idx="73277">
                  <c:v>26.786598310846188</c:v>
                </c:pt>
                <c:pt idx="73278">
                  <c:v>32.490891625227853</c:v>
                </c:pt>
                <c:pt idx="73279">
                  <c:v>20.486049619292174</c:v>
                </c:pt>
                <c:pt idx="73280">
                  <c:v>22.247717948398723</c:v>
                </c:pt>
                <c:pt idx="73281">
                  <c:v>35.668526040312315</c:v>
                </c:pt>
                <c:pt idx="73282">
                  <c:v>30.453512405593102</c:v>
                </c:pt>
                <c:pt idx="73283">
                  <c:v>24.184419341392857</c:v>
                </c:pt>
                <c:pt idx="73284">
                  <c:v>31.714763849993666</c:v>
                </c:pt>
                <c:pt idx="73285">
                  <c:v>30.15021169270215</c:v>
                </c:pt>
                <c:pt idx="73286">
                  <c:v>51.590009650869376</c:v>
                </c:pt>
                <c:pt idx="73287">
                  <c:v>21.968948238830951</c:v>
                </c:pt>
                <c:pt idx="73288">
                  <c:v>17.111031535892728</c:v>
                </c:pt>
                <c:pt idx="73289">
                  <c:v>30.254708713763446</c:v>
                </c:pt>
                <c:pt idx="73290">
                  <c:v>23.307710893837626</c:v>
                </c:pt>
                <c:pt idx="73291">
                  <c:v>35.85074124047653</c:v>
                </c:pt>
                <c:pt idx="73292">
                  <c:v>44.555169154930397</c:v>
                </c:pt>
                <c:pt idx="73293">
                  <c:v>23.562747126232885</c:v>
                </c:pt>
                <c:pt idx="73294">
                  <c:v>22.995148442234946</c:v>
                </c:pt>
                <c:pt idx="73295">
                  <c:v>51.319911661375315</c:v>
                </c:pt>
                <c:pt idx="73296">
                  <c:v>26.268040643091055</c:v>
                </c:pt>
                <c:pt idx="73297">
                  <c:v>51.070512627181799</c:v>
                </c:pt>
                <c:pt idx="73298">
                  <c:v>38.480122971136637</c:v>
                </c:pt>
                <c:pt idx="73299">
                  <c:v>35.481143811660715</c:v>
                </c:pt>
                <c:pt idx="73300">
                  <c:v>51.95669240411268</c:v>
                </c:pt>
                <c:pt idx="73301">
                  <c:v>29.582804554318074</c:v>
                </c:pt>
                <c:pt idx="73302">
                  <c:v>34.374005068811911</c:v>
                </c:pt>
                <c:pt idx="73303">
                  <c:v>26.872595546990127</c:v>
                </c:pt>
                <c:pt idx="73304">
                  <c:v>28.937929156454874</c:v>
                </c:pt>
                <c:pt idx="73305">
                  <c:v>22.894434459049009</c:v>
                </c:pt>
                <c:pt idx="73306">
                  <c:v>51.196846393289732</c:v>
                </c:pt>
                <c:pt idx="73307">
                  <c:v>33.04612735940529</c:v>
                </c:pt>
                <c:pt idx="73308">
                  <c:v>20.094269289236756</c:v>
                </c:pt>
                <c:pt idx="73309">
                  <c:v>20.788133809182426</c:v>
                </c:pt>
                <c:pt idx="73310">
                  <c:v>22.013596991044349</c:v>
                </c:pt>
                <c:pt idx="73311">
                  <c:v>28.57929540433306</c:v>
                </c:pt>
                <c:pt idx="73312">
                  <c:v>33.043566556436787</c:v>
                </c:pt>
                <c:pt idx="73313">
                  <c:v>31.733378996561363</c:v>
                </c:pt>
                <c:pt idx="73314">
                  <c:v>27.320507327415609</c:v>
                </c:pt>
                <c:pt idx="73315">
                  <c:v>21.983276701449643</c:v>
                </c:pt>
                <c:pt idx="73316">
                  <c:v>40.1147067834236</c:v>
                </c:pt>
                <c:pt idx="73317">
                  <c:v>38.917483940143406</c:v>
                </c:pt>
                <c:pt idx="73318">
                  <c:v>23.021286013942014</c:v>
                </c:pt>
                <c:pt idx="73319">
                  <c:v>41.884400973912335</c:v>
                </c:pt>
                <c:pt idx="73320">
                  <c:v>45.442446404030882</c:v>
                </c:pt>
                <c:pt idx="73321">
                  <c:v>30.792933273040376</c:v>
                </c:pt>
                <c:pt idx="73322">
                  <c:v>24.549166376744942</c:v>
                </c:pt>
                <c:pt idx="73323">
                  <c:v>24.968751007204158</c:v>
                </c:pt>
                <c:pt idx="73324">
                  <c:v>26.88244318211844</c:v>
                </c:pt>
                <c:pt idx="73325">
                  <c:v>42.473503022237495</c:v>
                </c:pt>
                <c:pt idx="73326">
                  <c:v>21.870167275301934</c:v>
                </c:pt>
                <c:pt idx="73327">
                  <c:v>23.388964535204355</c:v>
                </c:pt>
                <c:pt idx="73328">
                  <c:v>45.413759929232342</c:v>
                </c:pt>
                <c:pt idx="73329">
                  <c:v>27.113472563113412</c:v>
                </c:pt>
                <c:pt idx="73330">
                  <c:v>47.985887768503481</c:v>
                </c:pt>
                <c:pt idx="73331">
                  <c:v>42.328163301567713</c:v>
                </c:pt>
                <c:pt idx="73332">
                  <c:v>19.696744518550538</c:v>
                </c:pt>
                <c:pt idx="73333">
                  <c:v>23.779566940559846</c:v>
                </c:pt>
                <c:pt idx="73334">
                  <c:v>32.721329826963071</c:v>
                </c:pt>
                <c:pt idx="73335">
                  <c:v>21.53364935210049</c:v>
                </c:pt>
                <c:pt idx="73336">
                  <c:v>30.410272257876425</c:v>
                </c:pt>
                <c:pt idx="73337">
                  <c:v>19.163315065747355</c:v>
                </c:pt>
                <c:pt idx="73338">
                  <c:v>21.195104806776193</c:v>
                </c:pt>
                <c:pt idx="73339">
                  <c:v>28.496890819964182</c:v>
                </c:pt>
                <c:pt idx="73340">
                  <c:v>24.369654148761601</c:v>
                </c:pt>
                <c:pt idx="73341">
                  <c:v>28.257904743431151</c:v>
                </c:pt>
                <c:pt idx="73342">
                  <c:v>23.834323594634327</c:v>
                </c:pt>
                <c:pt idx="73343">
                  <c:v>27.157922600602806</c:v>
                </c:pt>
                <c:pt idx="73344">
                  <c:v>23.735763237851394</c:v>
                </c:pt>
                <c:pt idx="73345">
                  <c:v>46.603969836924463</c:v>
                </c:pt>
                <c:pt idx="73346">
                  <c:v>46.994284205911647</c:v>
                </c:pt>
                <c:pt idx="73347">
                  <c:v>24.38635510019374</c:v>
                </c:pt>
                <c:pt idx="73348">
                  <c:v>29.291499321016314</c:v>
                </c:pt>
                <c:pt idx="73349">
                  <c:v>34.585069920749703</c:v>
                </c:pt>
                <c:pt idx="73350">
                  <c:v>35.278384326327064</c:v>
                </c:pt>
                <c:pt idx="73351">
                  <c:v>23.726994923857852</c:v>
                </c:pt>
                <c:pt idx="73352">
                  <c:v>20.87119660997098</c:v>
                </c:pt>
                <c:pt idx="73353">
                  <c:v>23.458448120713591</c:v>
                </c:pt>
                <c:pt idx="73354">
                  <c:v>24.387027252873029</c:v>
                </c:pt>
                <c:pt idx="73355">
                  <c:v>18.612670329308472</c:v>
                </c:pt>
                <c:pt idx="73356">
                  <c:v>28.627757817905852</c:v>
                </c:pt>
                <c:pt idx="73357">
                  <c:v>58.387970713713621</c:v>
                </c:pt>
                <c:pt idx="73358">
                  <c:v>26.398035533574848</c:v>
                </c:pt>
                <c:pt idx="73359">
                  <c:v>24.62154793108375</c:v>
                </c:pt>
                <c:pt idx="73360">
                  <c:v>29.842048761508195</c:v>
                </c:pt>
                <c:pt idx="73361">
                  <c:v>55.55113990545032</c:v>
                </c:pt>
                <c:pt idx="73362">
                  <c:v>54.132113615837511</c:v>
                </c:pt>
                <c:pt idx="73363">
                  <c:v>24.94353790835617</c:v>
                </c:pt>
                <c:pt idx="73364">
                  <c:v>23.516918200244355</c:v>
                </c:pt>
                <c:pt idx="73365">
                  <c:v>26.07831459744153</c:v>
                </c:pt>
                <c:pt idx="73366">
                  <c:v>34.843963388537148</c:v>
                </c:pt>
                <c:pt idx="73367">
                  <c:v>27.961246356484434</c:v>
                </c:pt>
                <c:pt idx="73368">
                  <c:v>32.207537278159528</c:v>
                </c:pt>
                <c:pt idx="73369">
                  <c:v>30.55149537454799</c:v>
                </c:pt>
                <c:pt idx="73370">
                  <c:v>26.188152395945199</c:v>
                </c:pt>
                <c:pt idx="73371">
                  <c:v>23.124534573993738</c:v>
                </c:pt>
                <c:pt idx="73372">
                  <c:v>24.728814027251463</c:v>
                </c:pt>
                <c:pt idx="73373">
                  <c:v>46.790556431517757</c:v>
                </c:pt>
                <c:pt idx="73374">
                  <c:v>31.967347260743278</c:v>
                </c:pt>
                <c:pt idx="73375">
                  <c:v>42.063775698287117</c:v>
                </c:pt>
                <c:pt idx="73376">
                  <c:v>33.5832077063898</c:v>
                </c:pt>
                <c:pt idx="73377">
                  <c:v>23.364786541570801</c:v>
                </c:pt>
                <c:pt idx="73378">
                  <c:v>24.753689663434454</c:v>
                </c:pt>
                <c:pt idx="73379">
                  <c:v>28.071843350963213</c:v>
                </c:pt>
                <c:pt idx="73380">
                  <c:v>26.949993631192608</c:v>
                </c:pt>
                <c:pt idx="73381">
                  <c:v>32.763775749194778</c:v>
                </c:pt>
                <c:pt idx="73382">
                  <c:v>27.256077944291164</c:v>
                </c:pt>
                <c:pt idx="73383">
                  <c:v>25.377626831667094</c:v>
                </c:pt>
                <c:pt idx="73384">
                  <c:v>22.080055465234487</c:v>
                </c:pt>
                <c:pt idx="73385">
                  <c:v>37.323556143039553</c:v>
                </c:pt>
                <c:pt idx="73386">
                  <c:v>24.909315912121521</c:v>
                </c:pt>
                <c:pt idx="73387">
                  <c:v>35.853775580030032</c:v>
                </c:pt>
                <c:pt idx="73388">
                  <c:v>30.997182711252904</c:v>
                </c:pt>
                <c:pt idx="73389">
                  <c:v>19.208837298830375</c:v>
                </c:pt>
                <c:pt idx="73390">
                  <c:v>20.86543280629634</c:v>
                </c:pt>
                <c:pt idx="73391">
                  <c:v>34.322524486729456</c:v>
                </c:pt>
                <c:pt idx="73392">
                  <c:v>35.342743044983607</c:v>
                </c:pt>
                <c:pt idx="73393">
                  <c:v>28.134647012813129</c:v>
                </c:pt>
                <c:pt idx="73394">
                  <c:v>24.241399018693357</c:v>
                </c:pt>
                <c:pt idx="73395">
                  <c:v>28.937404421260496</c:v>
                </c:pt>
                <c:pt idx="73396">
                  <c:v>36.78585236997322</c:v>
                </c:pt>
                <c:pt idx="73397">
                  <c:v>26.665120926589388</c:v>
                </c:pt>
                <c:pt idx="73398">
                  <c:v>49.083435603969598</c:v>
                </c:pt>
                <c:pt idx="73399">
                  <c:v>20.401713822357152</c:v>
                </c:pt>
                <c:pt idx="73400">
                  <c:v>30.545472729443532</c:v>
                </c:pt>
                <c:pt idx="73401">
                  <c:v>38.377598959212392</c:v>
                </c:pt>
                <c:pt idx="73402">
                  <c:v>40.395512235851911</c:v>
                </c:pt>
                <c:pt idx="73403">
                  <c:v>35.312854300013626</c:v>
                </c:pt>
                <c:pt idx="73404">
                  <c:v>27.082750740533118</c:v>
                </c:pt>
                <c:pt idx="73405">
                  <c:v>24.848049735291841</c:v>
                </c:pt>
                <c:pt idx="73406">
                  <c:v>48.815064015836192</c:v>
                </c:pt>
                <c:pt idx="73407">
                  <c:v>40.823046830244088</c:v>
                </c:pt>
                <c:pt idx="73408">
                  <c:v>24.029807266995114</c:v>
                </c:pt>
                <c:pt idx="73409">
                  <c:v>29.802006225655457</c:v>
                </c:pt>
                <c:pt idx="73410">
                  <c:v>37.514869502700066</c:v>
                </c:pt>
                <c:pt idx="73411">
                  <c:v>36.252985636865134</c:v>
                </c:pt>
                <c:pt idx="73412">
                  <c:v>24.515767609466209</c:v>
                </c:pt>
                <c:pt idx="73413">
                  <c:v>33.140004286480327</c:v>
                </c:pt>
                <c:pt idx="73414">
                  <c:v>27.552267548745125</c:v>
                </c:pt>
                <c:pt idx="73415">
                  <c:v>46.399588701085463</c:v>
                </c:pt>
                <c:pt idx="73416">
                  <c:v>31.540249994424581</c:v>
                </c:pt>
                <c:pt idx="73417">
                  <c:v>56.582003870665105</c:v>
                </c:pt>
                <c:pt idx="73418">
                  <c:v>22.907291183448578</c:v>
                </c:pt>
                <c:pt idx="73419">
                  <c:v>21.168608024270085</c:v>
                </c:pt>
                <c:pt idx="73420">
                  <c:v>42.641938609319702</c:v>
                </c:pt>
                <c:pt idx="73421">
                  <c:v>43.220551503953949</c:v>
                </c:pt>
                <c:pt idx="73422">
                  <c:v>30.717425774975595</c:v>
                </c:pt>
                <c:pt idx="73423">
                  <c:v>50.620917654830052</c:v>
                </c:pt>
                <c:pt idx="73424">
                  <c:v>37.471301000212172</c:v>
                </c:pt>
                <c:pt idx="73425">
                  <c:v>27.27144799574706</c:v>
                </c:pt>
                <c:pt idx="73426">
                  <c:v>23.635206301719478</c:v>
                </c:pt>
                <c:pt idx="73427">
                  <c:v>27.368991137856799</c:v>
                </c:pt>
                <c:pt idx="73428">
                  <c:v>20.881093932900441</c:v>
                </c:pt>
                <c:pt idx="73429">
                  <c:v>29.586537200555416</c:v>
                </c:pt>
                <c:pt idx="73430">
                  <c:v>49.435824439716704</c:v>
                </c:pt>
                <c:pt idx="73431">
                  <c:v>32.880911503836614</c:v>
                </c:pt>
                <c:pt idx="73432">
                  <c:v>31.222056882363255</c:v>
                </c:pt>
                <c:pt idx="73433">
                  <c:v>33.793541996145649</c:v>
                </c:pt>
                <c:pt idx="73434">
                  <c:v>38.294545019704067</c:v>
                </c:pt>
                <c:pt idx="73435">
                  <c:v>29.203799462073395</c:v>
                </c:pt>
                <c:pt idx="73436">
                  <c:v>20.370849354269051</c:v>
                </c:pt>
                <c:pt idx="73437">
                  <c:v>24.833419728694683</c:v>
                </c:pt>
                <c:pt idx="73438">
                  <c:v>26.769393661524951</c:v>
                </c:pt>
                <c:pt idx="73439">
                  <c:v>29.103730583707346</c:v>
                </c:pt>
                <c:pt idx="73440">
                  <c:v>22.442011114386816</c:v>
                </c:pt>
                <c:pt idx="73441">
                  <c:v>50.10697800192569</c:v>
                </c:pt>
                <c:pt idx="73442">
                  <c:v>41.295637984205214</c:v>
                </c:pt>
                <c:pt idx="73443">
                  <c:v>23.431270138910893</c:v>
                </c:pt>
                <c:pt idx="73444">
                  <c:v>24.821154405397543</c:v>
                </c:pt>
                <c:pt idx="73445">
                  <c:v>29.519694469711855</c:v>
                </c:pt>
                <c:pt idx="73446">
                  <c:v>27.807302566483859</c:v>
                </c:pt>
                <c:pt idx="73447">
                  <c:v>24.855935526446878</c:v>
                </c:pt>
                <c:pt idx="73448">
                  <c:v>25.910457650230057</c:v>
                </c:pt>
                <c:pt idx="73449">
                  <c:v>32.172517869760782</c:v>
                </c:pt>
                <c:pt idx="73450">
                  <c:v>15.74212732811254</c:v>
                </c:pt>
                <c:pt idx="73451">
                  <c:v>30.729284815652068</c:v>
                </c:pt>
                <c:pt idx="73452">
                  <c:v>31.737320642818887</c:v>
                </c:pt>
                <c:pt idx="73453">
                  <c:v>23.493284829097831</c:v>
                </c:pt>
                <c:pt idx="73454">
                  <c:v>27.063983739989407</c:v>
                </c:pt>
                <c:pt idx="73455">
                  <c:v>18.759389380436524</c:v>
                </c:pt>
                <c:pt idx="73456">
                  <c:v>29.927467101806123</c:v>
                </c:pt>
                <c:pt idx="73457">
                  <c:v>46.460325278236951</c:v>
                </c:pt>
                <c:pt idx="73458">
                  <c:v>20.021510084422037</c:v>
                </c:pt>
                <c:pt idx="73459">
                  <c:v>29.890665278945306</c:v>
                </c:pt>
                <c:pt idx="73460">
                  <c:v>23.407007488137765</c:v>
                </c:pt>
                <c:pt idx="73461">
                  <c:v>46.205398980383023</c:v>
                </c:pt>
                <c:pt idx="73462">
                  <c:v>49.831563848858181</c:v>
                </c:pt>
                <c:pt idx="73463">
                  <c:v>27.992999432873187</c:v>
                </c:pt>
                <c:pt idx="73464">
                  <c:v>25.513754579451479</c:v>
                </c:pt>
                <c:pt idx="73465">
                  <c:v>26.705052948860612</c:v>
                </c:pt>
                <c:pt idx="73466">
                  <c:v>24.783331289436028</c:v>
                </c:pt>
                <c:pt idx="73467">
                  <c:v>21.727548070347456</c:v>
                </c:pt>
                <c:pt idx="73468">
                  <c:v>25.717880061392293</c:v>
                </c:pt>
                <c:pt idx="73469">
                  <c:v>20.934561684418657</c:v>
                </c:pt>
                <c:pt idx="73470">
                  <c:v>23.823495645688752</c:v>
                </c:pt>
                <c:pt idx="73471">
                  <c:v>29.656737120668488</c:v>
                </c:pt>
                <c:pt idx="73472">
                  <c:v>33.68930458870647</c:v>
                </c:pt>
                <c:pt idx="73473">
                  <c:v>37.310624851356685</c:v>
                </c:pt>
                <c:pt idx="73474">
                  <c:v>55.400539598568749</c:v>
                </c:pt>
                <c:pt idx="73475">
                  <c:v>47.846513562675661</c:v>
                </c:pt>
                <c:pt idx="73476">
                  <c:v>52.647840263802458</c:v>
                </c:pt>
                <c:pt idx="73477">
                  <c:v>56.342730484094957</c:v>
                </c:pt>
                <c:pt idx="73478">
                  <c:v>21.916419371555694</c:v>
                </c:pt>
                <c:pt idx="73479">
                  <c:v>52.543749581161315</c:v>
                </c:pt>
                <c:pt idx="73480">
                  <c:v>27.717949453533627</c:v>
                </c:pt>
                <c:pt idx="73481">
                  <c:v>32.420969125436585</c:v>
                </c:pt>
                <c:pt idx="73482">
                  <c:v>33.254099654365369</c:v>
                </c:pt>
                <c:pt idx="73483">
                  <c:v>29.297319878777703</c:v>
                </c:pt>
                <c:pt idx="73484">
                  <c:v>24.286782558098054</c:v>
                </c:pt>
                <c:pt idx="73485">
                  <c:v>30.834158859573904</c:v>
                </c:pt>
                <c:pt idx="73486">
                  <c:v>23.696014702275136</c:v>
                </c:pt>
                <c:pt idx="73487">
                  <c:v>25.455042811563018</c:v>
                </c:pt>
                <c:pt idx="73488">
                  <c:v>31.725102706436683</c:v>
                </c:pt>
                <c:pt idx="73489">
                  <c:v>25.097737738347007</c:v>
                </c:pt>
                <c:pt idx="73490">
                  <c:v>23.568256843626514</c:v>
                </c:pt>
                <c:pt idx="73491">
                  <c:v>26.920132451475041</c:v>
                </c:pt>
                <c:pt idx="73492">
                  <c:v>20.201869925403248</c:v>
                </c:pt>
                <c:pt idx="73493">
                  <c:v>60.310420971738822</c:v>
                </c:pt>
                <c:pt idx="73494">
                  <c:v>36.910028433267144</c:v>
                </c:pt>
                <c:pt idx="73495">
                  <c:v>22.29532121153143</c:v>
                </c:pt>
                <c:pt idx="73496">
                  <c:v>39.038458683457065</c:v>
                </c:pt>
                <c:pt idx="73497">
                  <c:v>50.82089300128888</c:v>
                </c:pt>
                <c:pt idx="73498">
                  <c:v>26.529233883837211</c:v>
                </c:pt>
                <c:pt idx="73499">
                  <c:v>26.752520505723428</c:v>
                </c:pt>
                <c:pt idx="73500">
                  <c:v>20.43293393432204</c:v>
                </c:pt>
                <c:pt idx="73501">
                  <c:v>34.785185264895546</c:v>
                </c:pt>
                <c:pt idx="73502">
                  <c:v>22.053558408688637</c:v>
                </c:pt>
                <c:pt idx="73503">
                  <c:v>26.863079989236848</c:v>
                </c:pt>
                <c:pt idx="73504">
                  <c:v>62.964718069680281</c:v>
                </c:pt>
                <c:pt idx="73505">
                  <c:v>24.624365868512445</c:v>
                </c:pt>
                <c:pt idx="73506">
                  <c:v>31.852803357897542</c:v>
                </c:pt>
                <c:pt idx="73507">
                  <c:v>24.269607306849309</c:v>
                </c:pt>
                <c:pt idx="73508">
                  <c:v>29.503550932660371</c:v>
                </c:pt>
                <c:pt idx="73509">
                  <c:v>31.011004021247487</c:v>
                </c:pt>
                <c:pt idx="73510">
                  <c:v>49.364060725601142</c:v>
                </c:pt>
                <c:pt idx="73511">
                  <c:v>38.171672856966715</c:v>
                </c:pt>
                <c:pt idx="73512">
                  <c:v>25.119075451433687</c:v>
                </c:pt>
                <c:pt idx="73513">
                  <c:v>28.636893714394027</c:v>
                </c:pt>
                <c:pt idx="73514">
                  <c:v>27.521185471646348</c:v>
                </c:pt>
                <c:pt idx="73515">
                  <c:v>21.79488062756938</c:v>
                </c:pt>
                <c:pt idx="73516">
                  <c:v>35.47020697867891</c:v>
                </c:pt>
                <c:pt idx="73517">
                  <c:v>27.297303583768901</c:v>
                </c:pt>
                <c:pt idx="73518">
                  <c:v>48.603939748337147</c:v>
                </c:pt>
                <c:pt idx="73519">
                  <c:v>28.852214254677094</c:v>
                </c:pt>
                <c:pt idx="73520">
                  <c:v>42.807645829489353</c:v>
                </c:pt>
                <c:pt idx="73521">
                  <c:v>31.724317487838441</c:v>
                </c:pt>
                <c:pt idx="73522">
                  <c:v>26.608624790275442</c:v>
                </c:pt>
                <c:pt idx="73523">
                  <c:v>17.419292856651577</c:v>
                </c:pt>
                <c:pt idx="73524">
                  <c:v>52.543538665707771</c:v>
                </c:pt>
                <c:pt idx="73525">
                  <c:v>25.864757310372141</c:v>
                </c:pt>
                <c:pt idx="73526">
                  <c:v>26.967220666039886</c:v>
                </c:pt>
                <c:pt idx="73527">
                  <c:v>28.902190492173922</c:v>
                </c:pt>
                <c:pt idx="73528">
                  <c:v>25.400667092549629</c:v>
                </c:pt>
                <c:pt idx="73529">
                  <c:v>26.320314916850641</c:v>
                </c:pt>
                <c:pt idx="73530">
                  <c:v>30.278113887082352</c:v>
                </c:pt>
                <c:pt idx="73531">
                  <c:v>22.25671793160468</c:v>
                </c:pt>
                <c:pt idx="73532">
                  <c:v>26.605106065327156</c:v>
                </c:pt>
                <c:pt idx="73533">
                  <c:v>52.537221939015623</c:v>
                </c:pt>
                <c:pt idx="73534">
                  <c:v>27.144397863416156</c:v>
                </c:pt>
                <c:pt idx="73535">
                  <c:v>32.101953709036891</c:v>
                </c:pt>
                <c:pt idx="73536">
                  <c:v>25.614004726267055</c:v>
                </c:pt>
                <c:pt idx="73537">
                  <c:v>43.964722274846224</c:v>
                </c:pt>
                <c:pt idx="73538">
                  <c:v>26.127194165678798</c:v>
                </c:pt>
                <c:pt idx="73539">
                  <c:v>34.72035782420722</c:v>
                </c:pt>
                <c:pt idx="73540">
                  <c:v>28.458876603719126</c:v>
                </c:pt>
                <c:pt idx="73541">
                  <c:v>28.313737004015916</c:v>
                </c:pt>
                <c:pt idx="73542">
                  <c:v>21.359823036116413</c:v>
                </c:pt>
                <c:pt idx="73543">
                  <c:v>40.981178200994179</c:v>
                </c:pt>
                <c:pt idx="73544">
                  <c:v>24.372601320989414</c:v>
                </c:pt>
                <c:pt idx="73545">
                  <c:v>22.129546588793289</c:v>
                </c:pt>
                <c:pt idx="73546">
                  <c:v>40.443764746065661</c:v>
                </c:pt>
                <c:pt idx="73547">
                  <c:v>28.690054203017958</c:v>
                </c:pt>
                <c:pt idx="73548">
                  <c:v>53.65481524444327</c:v>
                </c:pt>
                <c:pt idx="73549">
                  <c:v>43.022148101605765</c:v>
                </c:pt>
                <c:pt idx="73550">
                  <c:v>42.515364622853106</c:v>
                </c:pt>
                <c:pt idx="73551">
                  <c:v>30.417551314904969</c:v>
                </c:pt>
                <c:pt idx="73552">
                  <c:v>25.453596828021276</c:v>
                </c:pt>
                <c:pt idx="73553">
                  <c:v>24.690144596676259</c:v>
                </c:pt>
                <c:pt idx="73554">
                  <c:v>26.999363731341852</c:v>
                </c:pt>
                <c:pt idx="73555">
                  <c:v>13.892591226911351</c:v>
                </c:pt>
                <c:pt idx="73556">
                  <c:v>19.852658013337702</c:v>
                </c:pt>
                <c:pt idx="73557">
                  <c:v>32.883127755592781</c:v>
                </c:pt>
                <c:pt idx="73558">
                  <c:v>22.689914292390476</c:v>
                </c:pt>
                <c:pt idx="73559">
                  <c:v>33.906114548184043</c:v>
                </c:pt>
                <c:pt idx="73560">
                  <c:v>56.695816621489094</c:v>
                </c:pt>
                <c:pt idx="73561">
                  <c:v>30.00689346423362</c:v>
                </c:pt>
                <c:pt idx="73562">
                  <c:v>52.230669158111539</c:v>
                </c:pt>
                <c:pt idx="73563">
                  <c:v>23.916534161314672</c:v>
                </c:pt>
                <c:pt idx="73564">
                  <c:v>22.162582696606194</c:v>
                </c:pt>
                <c:pt idx="73565">
                  <c:v>60.585012109044939</c:v>
                </c:pt>
                <c:pt idx="73566">
                  <c:v>24.37993428561818</c:v>
                </c:pt>
                <c:pt idx="73567">
                  <c:v>26.263947371321997</c:v>
                </c:pt>
                <c:pt idx="73568">
                  <c:v>30.227008186064424</c:v>
                </c:pt>
                <c:pt idx="73569">
                  <c:v>19.629632884936225</c:v>
                </c:pt>
                <c:pt idx="73570">
                  <c:v>30.738906405701595</c:v>
                </c:pt>
                <c:pt idx="73571">
                  <c:v>45.463625549423234</c:v>
                </c:pt>
                <c:pt idx="73572">
                  <c:v>43.355936232873802</c:v>
                </c:pt>
                <c:pt idx="73573">
                  <c:v>21.350421789926671</c:v>
                </c:pt>
                <c:pt idx="73574">
                  <c:v>23.09760487139928</c:v>
                </c:pt>
                <c:pt idx="73575">
                  <c:v>15.797266294135561</c:v>
                </c:pt>
                <c:pt idx="73576">
                  <c:v>32.727898140748884</c:v>
                </c:pt>
                <c:pt idx="73577">
                  <c:v>29.245630801496848</c:v>
                </c:pt>
                <c:pt idx="73578">
                  <c:v>29.909130944527988</c:v>
                </c:pt>
                <c:pt idx="73579">
                  <c:v>47.614371222378601</c:v>
                </c:pt>
                <c:pt idx="73580">
                  <c:v>29.877605500143765</c:v>
                </c:pt>
                <c:pt idx="73581">
                  <c:v>32.323606857961103</c:v>
                </c:pt>
                <c:pt idx="73582">
                  <c:v>43.867157740765428</c:v>
                </c:pt>
                <c:pt idx="73583">
                  <c:v>17.291873684598603</c:v>
                </c:pt>
                <c:pt idx="73584">
                  <c:v>25.243555117870915</c:v>
                </c:pt>
                <c:pt idx="73585">
                  <c:v>21.816470826906624</c:v>
                </c:pt>
                <c:pt idx="73586">
                  <c:v>37.892474434517197</c:v>
                </c:pt>
                <c:pt idx="73587">
                  <c:v>26.369041072113021</c:v>
                </c:pt>
                <c:pt idx="73588">
                  <c:v>30.454146270370771</c:v>
                </c:pt>
                <c:pt idx="73589">
                  <c:v>29.755007155993958</c:v>
                </c:pt>
                <c:pt idx="73590">
                  <c:v>49.376107050968514</c:v>
                </c:pt>
                <c:pt idx="73591">
                  <c:v>27.352950016703609</c:v>
                </c:pt>
                <c:pt idx="73592">
                  <c:v>20.430744526468452</c:v>
                </c:pt>
                <c:pt idx="73593">
                  <c:v>29.996943269385845</c:v>
                </c:pt>
                <c:pt idx="73594">
                  <c:v>30.686191280889126</c:v>
                </c:pt>
                <c:pt idx="73595">
                  <c:v>33.117880939904431</c:v>
                </c:pt>
                <c:pt idx="73596">
                  <c:v>40.623829613261101</c:v>
                </c:pt>
                <c:pt idx="73597">
                  <c:v>22.910906534146083</c:v>
                </c:pt>
                <c:pt idx="73598">
                  <c:v>29.845508293657392</c:v>
                </c:pt>
                <c:pt idx="73599">
                  <c:v>23.593268826125755</c:v>
                </c:pt>
                <c:pt idx="73600">
                  <c:v>50.695330756635087</c:v>
                </c:pt>
                <c:pt idx="73601">
                  <c:v>23.668550362730212</c:v>
                </c:pt>
                <c:pt idx="73602">
                  <c:v>52.915469452803002</c:v>
                </c:pt>
                <c:pt idx="73603">
                  <c:v>25.701167186939077</c:v>
                </c:pt>
                <c:pt idx="73604">
                  <c:v>16.540581840619247</c:v>
                </c:pt>
                <c:pt idx="73605">
                  <c:v>28.0325875525843</c:v>
                </c:pt>
                <c:pt idx="73606">
                  <c:v>21.333450076258721</c:v>
                </c:pt>
                <c:pt idx="73607">
                  <c:v>26.780234025706495</c:v>
                </c:pt>
                <c:pt idx="73608">
                  <c:v>20.808609727712966</c:v>
                </c:pt>
                <c:pt idx="73609">
                  <c:v>46.295956201075192</c:v>
                </c:pt>
                <c:pt idx="73610">
                  <c:v>42.588488314811791</c:v>
                </c:pt>
                <c:pt idx="73611">
                  <c:v>22.728415806087519</c:v>
                </c:pt>
                <c:pt idx="73612">
                  <c:v>32.016338481700039</c:v>
                </c:pt>
                <c:pt idx="73613">
                  <c:v>35.518399572389185</c:v>
                </c:pt>
                <c:pt idx="73614">
                  <c:v>25.740172879822715</c:v>
                </c:pt>
                <c:pt idx="73615">
                  <c:v>29.665445977823282</c:v>
                </c:pt>
                <c:pt idx="73616">
                  <c:v>24.115811432249192</c:v>
                </c:pt>
                <c:pt idx="73617">
                  <c:v>42.801864676720406</c:v>
                </c:pt>
                <c:pt idx="73618">
                  <c:v>27.402077717612485</c:v>
                </c:pt>
                <c:pt idx="73619">
                  <c:v>28.668969848048313</c:v>
                </c:pt>
                <c:pt idx="73620">
                  <c:v>27.742348654723131</c:v>
                </c:pt>
                <c:pt idx="73621">
                  <c:v>40.561887838771199</c:v>
                </c:pt>
                <c:pt idx="73622">
                  <c:v>28.212664469042927</c:v>
                </c:pt>
                <c:pt idx="73623">
                  <c:v>21.33474446229831</c:v>
                </c:pt>
                <c:pt idx="73624">
                  <c:v>24.00294676767734</c:v>
                </c:pt>
                <c:pt idx="73625">
                  <c:v>32.393672931566769</c:v>
                </c:pt>
                <c:pt idx="73626">
                  <c:v>31.290912782325936</c:v>
                </c:pt>
                <c:pt idx="73627">
                  <c:v>26.806519610347202</c:v>
                </c:pt>
                <c:pt idx="73628">
                  <c:v>33.318815073849194</c:v>
                </c:pt>
                <c:pt idx="73629">
                  <c:v>39.909696781566382</c:v>
                </c:pt>
                <c:pt idx="73630">
                  <c:v>33.868148080780685</c:v>
                </c:pt>
                <c:pt idx="73631">
                  <c:v>20.235541417510714</c:v>
                </c:pt>
                <c:pt idx="73632">
                  <c:v>24.653704561147137</c:v>
                </c:pt>
                <c:pt idx="73633">
                  <c:v>24.870947516112057</c:v>
                </c:pt>
                <c:pt idx="73634">
                  <c:v>48.789131006554719</c:v>
                </c:pt>
                <c:pt idx="73635">
                  <c:v>32.879751772519356</c:v>
                </c:pt>
                <c:pt idx="73636">
                  <c:v>33.910024496202126</c:v>
                </c:pt>
                <c:pt idx="73637">
                  <c:v>33.763263833078199</c:v>
                </c:pt>
                <c:pt idx="73638">
                  <c:v>25.766307408090434</c:v>
                </c:pt>
                <c:pt idx="73639">
                  <c:v>23.606691430801568</c:v>
                </c:pt>
                <c:pt idx="73640">
                  <c:v>25.483175528414126</c:v>
                </c:pt>
                <c:pt idx="73641">
                  <c:v>18.237117121654943</c:v>
                </c:pt>
                <c:pt idx="73642">
                  <c:v>57.565149273716479</c:v>
                </c:pt>
                <c:pt idx="73643">
                  <c:v>29.274667727257874</c:v>
                </c:pt>
                <c:pt idx="73644">
                  <c:v>22.047182564136257</c:v>
                </c:pt>
                <c:pt idx="73645">
                  <c:v>26.618408888751485</c:v>
                </c:pt>
                <c:pt idx="73646">
                  <c:v>48.075153961738536</c:v>
                </c:pt>
                <c:pt idx="73647">
                  <c:v>30.331046800475558</c:v>
                </c:pt>
                <c:pt idx="73648">
                  <c:v>24.196108007858943</c:v>
                </c:pt>
                <c:pt idx="73649">
                  <c:v>23.166790019326172</c:v>
                </c:pt>
                <c:pt idx="73650">
                  <c:v>26.953591036703049</c:v>
                </c:pt>
                <c:pt idx="73651">
                  <c:v>45.043438909016082</c:v>
                </c:pt>
                <c:pt idx="73652">
                  <c:v>34.675876373990413</c:v>
                </c:pt>
                <c:pt idx="73653">
                  <c:v>51.580472335131368</c:v>
                </c:pt>
                <c:pt idx="73654">
                  <c:v>23.520638148860087</c:v>
                </c:pt>
                <c:pt idx="73655">
                  <c:v>26.500819983635665</c:v>
                </c:pt>
                <c:pt idx="73656">
                  <c:v>18.762805855803009</c:v>
                </c:pt>
                <c:pt idx="73657">
                  <c:v>40.224348263025007</c:v>
                </c:pt>
                <c:pt idx="73658">
                  <c:v>39.146057084568682</c:v>
                </c:pt>
                <c:pt idx="73659">
                  <c:v>30.036519041612479</c:v>
                </c:pt>
                <c:pt idx="73660">
                  <c:v>21.943404867394932</c:v>
                </c:pt>
                <c:pt idx="73661">
                  <c:v>26.237538306228611</c:v>
                </c:pt>
                <c:pt idx="73662">
                  <c:v>50.508707676393641</c:v>
                </c:pt>
                <c:pt idx="73663">
                  <c:v>20.878199075162165</c:v>
                </c:pt>
                <c:pt idx="73664">
                  <c:v>42.995913874240799</c:v>
                </c:pt>
                <c:pt idx="73665">
                  <c:v>35.76789465554225</c:v>
                </c:pt>
                <c:pt idx="73666">
                  <c:v>26.865372839600841</c:v>
                </c:pt>
                <c:pt idx="73667">
                  <c:v>35.446566219351389</c:v>
                </c:pt>
                <c:pt idx="73668">
                  <c:v>28.934393872407995</c:v>
                </c:pt>
                <c:pt idx="73669">
                  <c:v>47.257530879723234</c:v>
                </c:pt>
                <c:pt idx="73670">
                  <c:v>35.322576118196217</c:v>
                </c:pt>
                <c:pt idx="73671">
                  <c:v>18.286341024522205</c:v>
                </c:pt>
                <c:pt idx="73672">
                  <c:v>37.867640128646364</c:v>
                </c:pt>
                <c:pt idx="73673">
                  <c:v>25.659026891796799</c:v>
                </c:pt>
                <c:pt idx="73674">
                  <c:v>29.344896542393705</c:v>
                </c:pt>
                <c:pt idx="73675">
                  <c:v>22.257993527590706</c:v>
                </c:pt>
                <c:pt idx="73676">
                  <c:v>40.484995376197901</c:v>
                </c:pt>
                <c:pt idx="73677">
                  <c:v>29.216589898239445</c:v>
                </c:pt>
                <c:pt idx="73678">
                  <c:v>35.164605187719985</c:v>
                </c:pt>
                <c:pt idx="73679">
                  <c:v>26.83771409947358</c:v>
                </c:pt>
                <c:pt idx="73680">
                  <c:v>51.124141850750306</c:v>
                </c:pt>
                <c:pt idx="73681">
                  <c:v>25.83505972907713</c:v>
                </c:pt>
                <c:pt idx="73682">
                  <c:v>49.786778745970963</c:v>
                </c:pt>
                <c:pt idx="73683">
                  <c:v>28.037382205941388</c:v>
                </c:pt>
                <c:pt idx="73684">
                  <c:v>29.889817076665789</c:v>
                </c:pt>
                <c:pt idx="73685">
                  <c:v>37.439346266449398</c:v>
                </c:pt>
                <c:pt idx="73686">
                  <c:v>24.987715401431743</c:v>
                </c:pt>
                <c:pt idx="73687">
                  <c:v>33.221697095832866</c:v>
                </c:pt>
                <c:pt idx="73688">
                  <c:v>32.40135342352152</c:v>
                </c:pt>
                <c:pt idx="73689">
                  <c:v>26.414275871216297</c:v>
                </c:pt>
                <c:pt idx="73690">
                  <c:v>42.913599309507283</c:v>
                </c:pt>
                <c:pt idx="73691">
                  <c:v>21.981332065900794</c:v>
                </c:pt>
                <c:pt idx="73692">
                  <c:v>41.160608252340964</c:v>
                </c:pt>
                <c:pt idx="73693">
                  <c:v>29.813902147400409</c:v>
                </c:pt>
                <c:pt idx="73694">
                  <c:v>33.581269673872612</c:v>
                </c:pt>
                <c:pt idx="73695">
                  <c:v>18.225078250677935</c:v>
                </c:pt>
                <c:pt idx="73696">
                  <c:v>27.694129549189348</c:v>
                </c:pt>
                <c:pt idx="73697">
                  <c:v>48.384520682823549</c:v>
                </c:pt>
                <c:pt idx="73698">
                  <c:v>60.524981680664553</c:v>
                </c:pt>
                <c:pt idx="73699">
                  <c:v>25.197740160765846</c:v>
                </c:pt>
                <c:pt idx="73700">
                  <c:v>29.838488044040702</c:v>
                </c:pt>
                <c:pt idx="73701">
                  <c:v>26.226618348404315</c:v>
                </c:pt>
                <c:pt idx="73702">
                  <c:v>47.631767130914959</c:v>
                </c:pt>
                <c:pt idx="73703">
                  <c:v>26.984586245793338</c:v>
                </c:pt>
                <c:pt idx="73704">
                  <c:v>21.020664418869401</c:v>
                </c:pt>
                <c:pt idx="73705">
                  <c:v>18.285887285872104</c:v>
                </c:pt>
                <c:pt idx="73706">
                  <c:v>25.454006376786271</c:v>
                </c:pt>
                <c:pt idx="73707">
                  <c:v>43.384344128762145</c:v>
                </c:pt>
                <c:pt idx="73708">
                  <c:v>28.135265213934737</c:v>
                </c:pt>
                <c:pt idx="73709">
                  <c:v>16.088701353441834</c:v>
                </c:pt>
                <c:pt idx="73710">
                  <c:v>36.981748136774492</c:v>
                </c:pt>
                <c:pt idx="73711">
                  <c:v>21.035818416177406</c:v>
                </c:pt>
                <c:pt idx="73712">
                  <c:v>25.176651117096714</c:v>
                </c:pt>
                <c:pt idx="73713">
                  <c:v>29.503703646009679</c:v>
                </c:pt>
                <c:pt idx="73714">
                  <c:v>30.906474736163286</c:v>
                </c:pt>
                <c:pt idx="73715">
                  <c:v>18.640403969618255</c:v>
                </c:pt>
                <c:pt idx="73716">
                  <c:v>30.882625739830587</c:v>
                </c:pt>
                <c:pt idx="73717">
                  <c:v>36.307836233010413</c:v>
                </c:pt>
                <c:pt idx="73718">
                  <c:v>19.493003723740802</c:v>
                </c:pt>
                <c:pt idx="73719">
                  <c:v>46.196153452616542</c:v>
                </c:pt>
                <c:pt idx="73720">
                  <c:v>47.433446807245929</c:v>
                </c:pt>
                <c:pt idx="73721">
                  <c:v>41.380698564495944</c:v>
                </c:pt>
                <c:pt idx="73722">
                  <c:v>34.994909088180641</c:v>
                </c:pt>
                <c:pt idx="73723">
                  <c:v>29.813852014800993</c:v>
                </c:pt>
                <c:pt idx="73724">
                  <c:v>26.313325928128229</c:v>
                </c:pt>
                <c:pt idx="73725">
                  <c:v>26.899654857786917</c:v>
                </c:pt>
                <c:pt idx="73726">
                  <c:v>28.018085410996296</c:v>
                </c:pt>
                <c:pt idx="73727">
                  <c:v>29.49065445195561</c:v>
                </c:pt>
                <c:pt idx="73728">
                  <c:v>44.475858837555904</c:v>
                </c:pt>
                <c:pt idx="73729">
                  <c:v>39.125315608467815</c:v>
                </c:pt>
                <c:pt idx="73730">
                  <c:v>22.537457951891906</c:v>
                </c:pt>
                <c:pt idx="73731">
                  <c:v>32.428887024205522</c:v>
                </c:pt>
                <c:pt idx="73732">
                  <c:v>44.435261030143593</c:v>
                </c:pt>
                <c:pt idx="73733">
                  <c:v>22.738695639266027</c:v>
                </c:pt>
                <c:pt idx="73734">
                  <c:v>21.555066056566861</c:v>
                </c:pt>
                <c:pt idx="73735">
                  <c:v>43.491829220296296</c:v>
                </c:pt>
                <c:pt idx="73736">
                  <c:v>19.151573280978965</c:v>
                </c:pt>
                <c:pt idx="73737">
                  <c:v>27.751929593918344</c:v>
                </c:pt>
                <c:pt idx="73738">
                  <c:v>22.714730567402565</c:v>
                </c:pt>
                <c:pt idx="73739">
                  <c:v>27.885512101977664</c:v>
                </c:pt>
                <c:pt idx="73740">
                  <c:v>23.52474657837611</c:v>
                </c:pt>
                <c:pt idx="73741">
                  <c:v>26.43242932329219</c:v>
                </c:pt>
                <c:pt idx="73742">
                  <c:v>26.995868436571598</c:v>
                </c:pt>
                <c:pt idx="73743">
                  <c:v>51.085695484021784</c:v>
                </c:pt>
                <c:pt idx="73744">
                  <c:v>30.327387891587712</c:v>
                </c:pt>
                <c:pt idx="73745">
                  <c:v>30.146000854010861</c:v>
                </c:pt>
                <c:pt idx="73746">
                  <c:v>29.380086617365084</c:v>
                </c:pt>
                <c:pt idx="73747">
                  <c:v>28.746773519574312</c:v>
                </c:pt>
                <c:pt idx="73748">
                  <c:v>29.217555268317369</c:v>
                </c:pt>
                <c:pt idx="73749">
                  <c:v>24.92755353963549</c:v>
                </c:pt>
                <c:pt idx="73750">
                  <c:v>23.001127005899086</c:v>
                </c:pt>
                <c:pt idx="73751">
                  <c:v>32.370354257764092</c:v>
                </c:pt>
                <c:pt idx="73752">
                  <c:v>25.157089571356117</c:v>
                </c:pt>
                <c:pt idx="73753">
                  <c:v>33.225940636170158</c:v>
                </c:pt>
                <c:pt idx="73754">
                  <c:v>27.458917546322841</c:v>
                </c:pt>
                <c:pt idx="73755">
                  <c:v>18.995785482342423</c:v>
                </c:pt>
                <c:pt idx="73756">
                  <c:v>46.637838759065552</c:v>
                </c:pt>
                <c:pt idx="73757">
                  <c:v>51.608395368975401</c:v>
                </c:pt>
                <c:pt idx="73758">
                  <c:v>36.955736384192292</c:v>
                </c:pt>
                <c:pt idx="73759">
                  <c:v>27.329642482464223</c:v>
                </c:pt>
                <c:pt idx="73760">
                  <c:v>30.168691964889074</c:v>
                </c:pt>
                <c:pt idx="73761">
                  <c:v>31.59176387154972</c:v>
                </c:pt>
                <c:pt idx="73762">
                  <c:v>25.71163910765452</c:v>
                </c:pt>
                <c:pt idx="73763">
                  <c:v>20.142989240696728</c:v>
                </c:pt>
                <c:pt idx="73764">
                  <c:v>22.05612523722305</c:v>
                </c:pt>
                <c:pt idx="73765">
                  <c:v>26.70539070718894</c:v>
                </c:pt>
                <c:pt idx="73766">
                  <c:v>24.463819884382001</c:v>
                </c:pt>
                <c:pt idx="73767">
                  <c:v>29.430766702386681</c:v>
                </c:pt>
                <c:pt idx="73768">
                  <c:v>35.312956266661203</c:v>
                </c:pt>
                <c:pt idx="73769">
                  <c:v>28.8392696252333</c:v>
                </c:pt>
                <c:pt idx="73770">
                  <c:v>18.924199976305442</c:v>
                </c:pt>
                <c:pt idx="73771">
                  <c:v>30.473533876284108</c:v>
                </c:pt>
                <c:pt idx="73772">
                  <c:v>31.552394571716089</c:v>
                </c:pt>
                <c:pt idx="73773">
                  <c:v>24.762956039129996</c:v>
                </c:pt>
                <c:pt idx="73774">
                  <c:v>53.555695562440363</c:v>
                </c:pt>
                <c:pt idx="73775">
                  <c:v>39.315412734109479</c:v>
                </c:pt>
                <c:pt idx="73776">
                  <c:v>24.423871723831223</c:v>
                </c:pt>
                <c:pt idx="73777">
                  <c:v>23.857299857622227</c:v>
                </c:pt>
                <c:pt idx="73778">
                  <c:v>30.47925410476449</c:v>
                </c:pt>
                <c:pt idx="73779">
                  <c:v>34.330989398935309</c:v>
                </c:pt>
                <c:pt idx="73780">
                  <c:v>30.78680690995056</c:v>
                </c:pt>
                <c:pt idx="73781">
                  <c:v>25.910997130726575</c:v>
                </c:pt>
                <c:pt idx="73782">
                  <c:v>40.282905867723926</c:v>
                </c:pt>
                <c:pt idx="73783">
                  <c:v>27.216402857092728</c:v>
                </c:pt>
                <c:pt idx="73784">
                  <c:v>41.739779374153215</c:v>
                </c:pt>
                <c:pt idx="73785">
                  <c:v>22.666856855595302</c:v>
                </c:pt>
                <c:pt idx="73786">
                  <c:v>33.673830834691145</c:v>
                </c:pt>
                <c:pt idx="73787">
                  <c:v>27.718839089411702</c:v>
                </c:pt>
                <c:pt idx="73788">
                  <c:v>21.218188404074851</c:v>
                </c:pt>
                <c:pt idx="73789">
                  <c:v>30.882504500575717</c:v>
                </c:pt>
                <c:pt idx="73790">
                  <c:v>35.18535072719915</c:v>
                </c:pt>
                <c:pt idx="73791">
                  <c:v>19.576322830220185</c:v>
                </c:pt>
                <c:pt idx="73792">
                  <c:v>33.180818920862791</c:v>
                </c:pt>
                <c:pt idx="73793">
                  <c:v>31.537040924411663</c:v>
                </c:pt>
                <c:pt idx="73794">
                  <c:v>31.134184592889422</c:v>
                </c:pt>
                <c:pt idx="73795">
                  <c:v>31.389158149570488</c:v>
                </c:pt>
                <c:pt idx="73796">
                  <c:v>25.404469515198585</c:v>
                </c:pt>
                <c:pt idx="73797">
                  <c:v>54.878454216967839</c:v>
                </c:pt>
                <c:pt idx="73798">
                  <c:v>33.345215253405748</c:v>
                </c:pt>
                <c:pt idx="73799">
                  <c:v>49.274387914155326</c:v>
                </c:pt>
                <c:pt idx="73800">
                  <c:v>26.957641369991045</c:v>
                </c:pt>
                <c:pt idx="73801">
                  <c:v>37.094036107815512</c:v>
                </c:pt>
                <c:pt idx="73802">
                  <c:v>32.912741174424347</c:v>
                </c:pt>
                <c:pt idx="73803">
                  <c:v>34.891039576660859</c:v>
                </c:pt>
                <c:pt idx="73804">
                  <c:v>15.636213486259466</c:v>
                </c:pt>
                <c:pt idx="73805">
                  <c:v>21.811898549219695</c:v>
                </c:pt>
                <c:pt idx="73806">
                  <c:v>43.16187093899093</c:v>
                </c:pt>
                <c:pt idx="73807">
                  <c:v>40.236249914570635</c:v>
                </c:pt>
                <c:pt idx="73808">
                  <c:v>19.748821693231232</c:v>
                </c:pt>
                <c:pt idx="73809">
                  <c:v>25.109114205912423</c:v>
                </c:pt>
                <c:pt idx="73810">
                  <c:v>22.836623882501538</c:v>
                </c:pt>
                <c:pt idx="73811">
                  <c:v>33.624928743897435</c:v>
                </c:pt>
                <c:pt idx="73812">
                  <c:v>21.802222735329384</c:v>
                </c:pt>
                <c:pt idx="73813">
                  <c:v>21.386901664649809</c:v>
                </c:pt>
                <c:pt idx="73814">
                  <c:v>24.892129772264155</c:v>
                </c:pt>
                <c:pt idx="73815">
                  <c:v>30.542964705760639</c:v>
                </c:pt>
                <c:pt idx="73816">
                  <c:v>26.091525240282202</c:v>
                </c:pt>
                <c:pt idx="73817">
                  <c:v>15.192149701066105</c:v>
                </c:pt>
                <c:pt idx="73818">
                  <c:v>20.809607389346343</c:v>
                </c:pt>
                <c:pt idx="73819">
                  <c:v>29.9307733571091</c:v>
                </c:pt>
                <c:pt idx="73820">
                  <c:v>40.708763887848576</c:v>
                </c:pt>
                <c:pt idx="73821">
                  <c:v>43.938889693133667</c:v>
                </c:pt>
                <c:pt idx="73822">
                  <c:v>27.939811703044597</c:v>
                </c:pt>
                <c:pt idx="73823">
                  <c:v>28.081731744915388</c:v>
                </c:pt>
                <c:pt idx="73824">
                  <c:v>19.856501210452699</c:v>
                </c:pt>
                <c:pt idx="73825">
                  <c:v>36.43474011894623</c:v>
                </c:pt>
                <c:pt idx="73826">
                  <c:v>36.162025639487368</c:v>
                </c:pt>
                <c:pt idx="73827">
                  <c:v>27.695059429761194</c:v>
                </c:pt>
                <c:pt idx="73828">
                  <c:v>22.765885845785029</c:v>
                </c:pt>
                <c:pt idx="73829">
                  <c:v>26.182496778227758</c:v>
                </c:pt>
                <c:pt idx="73830">
                  <c:v>22.086060360404204</c:v>
                </c:pt>
                <c:pt idx="73831">
                  <c:v>28.643720244107868</c:v>
                </c:pt>
                <c:pt idx="73832">
                  <c:v>22.680842912699315</c:v>
                </c:pt>
                <c:pt idx="73833">
                  <c:v>37.512099004464581</c:v>
                </c:pt>
                <c:pt idx="73834">
                  <c:v>35.891518831796283</c:v>
                </c:pt>
                <c:pt idx="73835">
                  <c:v>25.435495552947661</c:v>
                </c:pt>
                <c:pt idx="73836">
                  <c:v>24.672985354384672</c:v>
                </c:pt>
                <c:pt idx="73837">
                  <c:v>27.646618399792221</c:v>
                </c:pt>
                <c:pt idx="73838">
                  <c:v>55.762843379007499</c:v>
                </c:pt>
                <c:pt idx="73839">
                  <c:v>27.025871049580708</c:v>
                </c:pt>
                <c:pt idx="73840">
                  <c:v>20.541882989628967</c:v>
                </c:pt>
                <c:pt idx="73841">
                  <c:v>31.655472264969902</c:v>
                </c:pt>
                <c:pt idx="73842">
                  <c:v>44.603031794536641</c:v>
                </c:pt>
                <c:pt idx="73843">
                  <c:v>22.751694742659662</c:v>
                </c:pt>
                <c:pt idx="73844">
                  <c:v>29.986743261837052</c:v>
                </c:pt>
                <c:pt idx="73845">
                  <c:v>49.632953449983063</c:v>
                </c:pt>
                <c:pt idx="73846">
                  <c:v>25.058478541016687</c:v>
                </c:pt>
                <c:pt idx="73847">
                  <c:v>20.100435666248607</c:v>
                </c:pt>
                <c:pt idx="73848">
                  <c:v>26.045210997418309</c:v>
                </c:pt>
                <c:pt idx="73849">
                  <c:v>29.664211605788843</c:v>
                </c:pt>
                <c:pt idx="73850">
                  <c:v>21.013427159262431</c:v>
                </c:pt>
                <c:pt idx="73851">
                  <c:v>62.692104588680834</c:v>
                </c:pt>
                <c:pt idx="73852">
                  <c:v>26.638717115722983</c:v>
                </c:pt>
                <c:pt idx="73853">
                  <c:v>28.766690311307858</c:v>
                </c:pt>
                <c:pt idx="73854">
                  <c:v>31.598629407237315</c:v>
                </c:pt>
                <c:pt idx="73855">
                  <c:v>24.025869020111344</c:v>
                </c:pt>
                <c:pt idx="73856">
                  <c:v>46.6958522831548</c:v>
                </c:pt>
                <c:pt idx="73857">
                  <c:v>29.68797031619005</c:v>
                </c:pt>
                <c:pt idx="73858">
                  <c:v>27.917931283944274</c:v>
                </c:pt>
                <c:pt idx="73859">
                  <c:v>24.623791744317273</c:v>
                </c:pt>
                <c:pt idx="73860">
                  <c:v>54.541722536029056</c:v>
                </c:pt>
                <c:pt idx="73861">
                  <c:v>29.085028157233438</c:v>
                </c:pt>
                <c:pt idx="73862">
                  <c:v>28.218979327084323</c:v>
                </c:pt>
                <c:pt idx="73863">
                  <c:v>28.930571256311723</c:v>
                </c:pt>
                <c:pt idx="73864">
                  <c:v>47.21528379441159</c:v>
                </c:pt>
                <c:pt idx="73865">
                  <c:v>20.714582879567445</c:v>
                </c:pt>
                <c:pt idx="73866">
                  <c:v>49.160219332597364</c:v>
                </c:pt>
                <c:pt idx="73867">
                  <c:v>62.576838095717882</c:v>
                </c:pt>
                <c:pt idx="73868">
                  <c:v>54.475626700781241</c:v>
                </c:pt>
                <c:pt idx="73869">
                  <c:v>29.71675943377949</c:v>
                </c:pt>
                <c:pt idx="73870">
                  <c:v>16.155680039070926</c:v>
                </c:pt>
                <c:pt idx="73871">
                  <c:v>28.659751295345973</c:v>
                </c:pt>
                <c:pt idx="73872">
                  <c:v>24.061657547528927</c:v>
                </c:pt>
                <c:pt idx="73873">
                  <c:v>26.282705281723103</c:v>
                </c:pt>
                <c:pt idx="73874">
                  <c:v>28.093212142844717</c:v>
                </c:pt>
                <c:pt idx="73875">
                  <c:v>28.20772975314139</c:v>
                </c:pt>
                <c:pt idx="73876">
                  <c:v>25.876499284278822</c:v>
                </c:pt>
                <c:pt idx="73877">
                  <c:v>15.924019570816021</c:v>
                </c:pt>
                <c:pt idx="73878">
                  <c:v>34.882225665928871</c:v>
                </c:pt>
                <c:pt idx="73879">
                  <c:v>30.35127298217467</c:v>
                </c:pt>
                <c:pt idx="73880">
                  <c:v>28.397394838280977</c:v>
                </c:pt>
                <c:pt idx="73881">
                  <c:v>44.839561394120793</c:v>
                </c:pt>
                <c:pt idx="73882">
                  <c:v>27.250779149763183</c:v>
                </c:pt>
                <c:pt idx="73883">
                  <c:v>43.359597353785212</c:v>
                </c:pt>
                <c:pt idx="73884">
                  <c:v>31.251962117438612</c:v>
                </c:pt>
                <c:pt idx="73885">
                  <c:v>46.034921284484504</c:v>
                </c:pt>
                <c:pt idx="73886">
                  <c:v>23.255248411969255</c:v>
                </c:pt>
                <c:pt idx="73887">
                  <c:v>34.927311799114939</c:v>
                </c:pt>
                <c:pt idx="73888">
                  <c:v>26.405687262928524</c:v>
                </c:pt>
                <c:pt idx="73889">
                  <c:v>28.777667076834856</c:v>
                </c:pt>
                <c:pt idx="73890">
                  <c:v>23.558373412553589</c:v>
                </c:pt>
                <c:pt idx="73891">
                  <c:v>28.049991424500718</c:v>
                </c:pt>
                <c:pt idx="73892">
                  <c:v>23.84616735635748</c:v>
                </c:pt>
                <c:pt idx="73893">
                  <c:v>33.751692998314994</c:v>
                </c:pt>
                <c:pt idx="73894">
                  <c:v>19.918795467300761</c:v>
                </c:pt>
                <c:pt idx="73895">
                  <c:v>25.727897457002626</c:v>
                </c:pt>
                <c:pt idx="73896">
                  <c:v>34.46853629484842</c:v>
                </c:pt>
                <c:pt idx="73897">
                  <c:v>27.259516438230687</c:v>
                </c:pt>
                <c:pt idx="73898">
                  <c:v>33.824872954531216</c:v>
                </c:pt>
                <c:pt idx="73899">
                  <c:v>31.778485246972803</c:v>
                </c:pt>
                <c:pt idx="73900">
                  <c:v>28.785288671578144</c:v>
                </c:pt>
                <c:pt idx="73901">
                  <c:v>37.498523192512693</c:v>
                </c:pt>
                <c:pt idx="73902">
                  <c:v>23.425425352551915</c:v>
                </c:pt>
                <c:pt idx="73903">
                  <c:v>23.975084935855609</c:v>
                </c:pt>
                <c:pt idx="73904">
                  <c:v>30.012050728748967</c:v>
                </c:pt>
                <c:pt idx="73905">
                  <c:v>35.793449554072055</c:v>
                </c:pt>
                <c:pt idx="73906">
                  <c:v>37.189450013831674</c:v>
                </c:pt>
                <c:pt idx="73907">
                  <c:v>29.284055776756404</c:v>
                </c:pt>
                <c:pt idx="73908">
                  <c:v>24.898252032475071</c:v>
                </c:pt>
                <c:pt idx="73909">
                  <c:v>24.498355005891945</c:v>
                </c:pt>
                <c:pt idx="73910">
                  <c:v>26.11732762826492</c:v>
                </c:pt>
                <c:pt idx="73911">
                  <c:v>26.834568593328644</c:v>
                </c:pt>
                <c:pt idx="73912">
                  <c:v>34.603394755809063</c:v>
                </c:pt>
                <c:pt idx="73913">
                  <c:v>25.018237806290816</c:v>
                </c:pt>
                <c:pt idx="73914">
                  <c:v>39.887092302710464</c:v>
                </c:pt>
                <c:pt idx="73915">
                  <c:v>20.405796807510196</c:v>
                </c:pt>
                <c:pt idx="73916">
                  <c:v>46.884833243188901</c:v>
                </c:pt>
                <c:pt idx="73917">
                  <c:v>24.630544375145092</c:v>
                </c:pt>
                <c:pt idx="73918">
                  <c:v>32.146322188110368</c:v>
                </c:pt>
                <c:pt idx="73919">
                  <c:v>25.585255561109062</c:v>
                </c:pt>
                <c:pt idx="73920">
                  <c:v>17.672310732265952</c:v>
                </c:pt>
                <c:pt idx="73921">
                  <c:v>26.869370504182346</c:v>
                </c:pt>
                <c:pt idx="73922">
                  <c:v>30.961548045331224</c:v>
                </c:pt>
                <c:pt idx="73923">
                  <c:v>32.711833878228276</c:v>
                </c:pt>
                <c:pt idx="73924">
                  <c:v>27.692396886045771</c:v>
                </c:pt>
                <c:pt idx="73925">
                  <c:v>20.358129932500297</c:v>
                </c:pt>
                <c:pt idx="73926">
                  <c:v>30.253665213046453</c:v>
                </c:pt>
                <c:pt idx="73927">
                  <c:v>23.515390886741827</c:v>
                </c:pt>
                <c:pt idx="73928">
                  <c:v>32.931773039291635</c:v>
                </c:pt>
                <c:pt idx="73929">
                  <c:v>28.640650920766685</c:v>
                </c:pt>
                <c:pt idx="73930">
                  <c:v>41.419200020284045</c:v>
                </c:pt>
                <c:pt idx="73931">
                  <c:v>27.943383732817644</c:v>
                </c:pt>
                <c:pt idx="73932">
                  <c:v>35.96084638290673</c:v>
                </c:pt>
                <c:pt idx="73933">
                  <c:v>27.589764130605296</c:v>
                </c:pt>
                <c:pt idx="73934">
                  <c:v>25.388965295430697</c:v>
                </c:pt>
                <c:pt idx="73935">
                  <c:v>36.277346157790262</c:v>
                </c:pt>
                <c:pt idx="73936">
                  <c:v>34.993802437135308</c:v>
                </c:pt>
                <c:pt idx="73937">
                  <c:v>42.32670528453076</c:v>
                </c:pt>
                <c:pt idx="73938">
                  <c:v>27.560073618593247</c:v>
                </c:pt>
                <c:pt idx="73939">
                  <c:v>20.425078101251223</c:v>
                </c:pt>
                <c:pt idx="73940">
                  <c:v>21.235575792314219</c:v>
                </c:pt>
                <c:pt idx="73941">
                  <c:v>32.855986768255043</c:v>
                </c:pt>
                <c:pt idx="73942">
                  <c:v>27.461396136295161</c:v>
                </c:pt>
                <c:pt idx="73943">
                  <c:v>30.080005657232658</c:v>
                </c:pt>
                <c:pt idx="73944">
                  <c:v>33.363500542173789</c:v>
                </c:pt>
                <c:pt idx="73945">
                  <c:v>22.898021280599661</c:v>
                </c:pt>
                <c:pt idx="73946">
                  <c:v>20.694863550699999</c:v>
                </c:pt>
                <c:pt idx="73947">
                  <c:v>29.566375034108333</c:v>
                </c:pt>
                <c:pt idx="73948">
                  <c:v>44.862934636173208</c:v>
                </c:pt>
                <c:pt idx="73949">
                  <c:v>32.068373717683329</c:v>
                </c:pt>
                <c:pt idx="73950">
                  <c:v>27.17390766577477</c:v>
                </c:pt>
                <c:pt idx="73951">
                  <c:v>24.803304038964875</c:v>
                </c:pt>
                <c:pt idx="73952">
                  <c:v>25.088838827375483</c:v>
                </c:pt>
                <c:pt idx="73953">
                  <c:v>37.394262301074846</c:v>
                </c:pt>
                <c:pt idx="73954">
                  <c:v>37.611152894782968</c:v>
                </c:pt>
                <c:pt idx="73955">
                  <c:v>33.677908271140367</c:v>
                </c:pt>
                <c:pt idx="73956">
                  <c:v>27.921799492055197</c:v>
                </c:pt>
                <c:pt idx="73957">
                  <c:v>31.645154413970616</c:v>
                </c:pt>
                <c:pt idx="73958">
                  <c:v>25.714487202305477</c:v>
                </c:pt>
                <c:pt idx="73959">
                  <c:v>31.376688823537613</c:v>
                </c:pt>
                <c:pt idx="73960">
                  <c:v>18.75195135470652</c:v>
                </c:pt>
                <c:pt idx="73961">
                  <c:v>24.3179416861765</c:v>
                </c:pt>
                <c:pt idx="73962">
                  <c:v>33.069724257889582</c:v>
                </c:pt>
                <c:pt idx="73963">
                  <c:v>27.855633873222825</c:v>
                </c:pt>
                <c:pt idx="73964">
                  <c:v>26.565231432628305</c:v>
                </c:pt>
                <c:pt idx="73965">
                  <c:v>24.597656604379143</c:v>
                </c:pt>
                <c:pt idx="73966">
                  <c:v>30.230097828584682</c:v>
                </c:pt>
                <c:pt idx="73967">
                  <c:v>32.659500370450999</c:v>
                </c:pt>
                <c:pt idx="73968">
                  <c:v>34.445656733527962</c:v>
                </c:pt>
                <c:pt idx="73969">
                  <c:v>24.478444870423054</c:v>
                </c:pt>
                <c:pt idx="73970">
                  <c:v>43.230922485299949</c:v>
                </c:pt>
                <c:pt idx="73971">
                  <c:v>56.672645244328692</c:v>
                </c:pt>
                <c:pt idx="73972">
                  <c:v>20.060543153445042</c:v>
                </c:pt>
                <c:pt idx="73973">
                  <c:v>20.386218315288122</c:v>
                </c:pt>
                <c:pt idx="73974">
                  <c:v>25.22901451313713</c:v>
                </c:pt>
                <c:pt idx="73975">
                  <c:v>42.15495112846888</c:v>
                </c:pt>
                <c:pt idx="73976">
                  <c:v>26.952049136440586</c:v>
                </c:pt>
                <c:pt idx="73977">
                  <c:v>23.404410086701823</c:v>
                </c:pt>
                <c:pt idx="73978">
                  <c:v>59.738487435863895</c:v>
                </c:pt>
                <c:pt idx="73979">
                  <c:v>25.603219620722392</c:v>
                </c:pt>
                <c:pt idx="73980">
                  <c:v>20.497379654012981</c:v>
                </c:pt>
                <c:pt idx="73981">
                  <c:v>27.86602269347383</c:v>
                </c:pt>
                <c:pt idx="73982">
                  <c:v>26.930199371535885</c:v>
                </c:pt>
                <c:pt idx="73983">
                  <c:v>28.391770227055293</c:v>
                </c:pt>
                <c:pt idx="73984">
                  <c:v>55.455721914830534</c:v>
                </c:pt>
                <c:pt idx="73985">
                  <c:v>32.96636335256121</c:v>
                </c:pt>
                <c:pt idx="73986">
                  <c:v>27.221018540804806</c:v>
                </c:pt>
                <c:pt idx="73987">
                  <c:v>21.593138960813793</c:v>
                </c:pt>
                <c:pt idx="73988">
                  <c:v>26.789002983069388</c:v>
                </c:pt>
                <c:pt idx="73989">
                  <c:v>36.340827403744456</c:v>
                </c:pt>
                <c:pt idx="73990">
                  <c:v>21.094822668325261</c:v>
                </c:pt>
                <c:pt idx="73991">
                  <c:v>47.890832899244273</c:v>
                </c:pt>
                <c:pt idx="73992">
                  <c:v>55.218278059098211</c:v>
                </c:pt>
                <c:pt idx="73993">
                  <c:v>26.165272901947802</c:v>
                </c:pt>
                <c:pt idx="73994">
                  <c:v>25.521233982360769</c:v>
                </c:pt>
                <c:pt idx="73995">
                  <c:v>50.394675929364311</c:v>
                </c:pt>
                <c:pt idx="73996">
                  <c:v>23.358136160558733</c:v>
                </c:pt>
                <c:pt idx="73997">
                  <c:v>39.938218929102185</c:v>
                </c:pt>
                <c:pt idx="73998">
                  <c:v>31.356824540333925</c:v>
                </c:pt>
                <c:pt idx="73999">
                  <c:v>30.496367756182458</c:v>
                </c:pt>
                <c:pt idx="74000">
                  <c:v>28.425273097466338</c:v>
                </c:pt>
                <c:pt idx="74001">
                  <c:v>23.378106934396108</c:v>
                </c:pt>
                <c:pt idx="74002">
                  <c:v>36.386333914668526</c:v>
                </c:pt>
                <c:pt idx="74003">
                  <c:v>31.670861543327618</c:v>
                </c:pt>
                <c:pt idx="74004">
                  <c:v>32.53154352423266</c:v>
                </c:pt>
                <c:pt idx="74005">
                  <c:v>59.294917423167568</c:v>
                </c:pt>
                <c:pt idx="74006">
                  <c:v>32.983009355077542</c:v>
                </c:pt>
                <c:pt idx="74007">
                  <c:v>24.601607226833032</c:v>
                </c:pt>
                <c:pt idx="74008">
                  <c:v>24.907240566755796</c:v>
                </c:pt>
                <c:pt idx="74009">
                  <c:v>43.874361091363113</c:v>
                </c:pt>
                <c:pt idx="74010">
                  <c:v>28.11676640887466</c:v>
                </c:pt>
                <c:pt idx="74011">
                  <c:v>24.727047011800373</c:v>
                </c:pt>
                <c:pt idx="74012">
                  <c:v>28.918699383119169</c:v>
                </c:pt>
                <c:pt idx="74013">
                  <c:v>25.384991896824467</c:v>
                </c:pt>
                <c:pt idx="74014">
                  <c:v>43.855199374914626</c:v>
                </c:pt>
                <c:pt idx="74015">
                  <c:v>35.911754786964337</c:v>
                </c:pt>
                <c:pt idx="74016">
                  <c:v>20.316964612677765</c:v>
                </c:pt>
                <c:pt idx="74017">
                  <c:v>28.608720613915072</c:v>
                </c:pt>
                <c:pt idx="74018">
                  <c:v>23.754373348656493</c:v>
                </c:pt>
                <c:pt idx="74019">
                  <c:v>16.227386197686549</c:v>
                </c:pt>
                <c:pt idx="74020">
                  <c:v>25.740910102558288</c:v>
                </c:pt>
                <c:pt idx="74021">
                  <c:v>44.742416205595788</c:v>
                </c:pt>
                <c:pt idx="74022">
                  <c:v>21.413165140612325</c:v>
                </c:pt>
                <c:pt idx="74023">
                  <c:v>38.200962660405956</c:v>
                </c:pt>
                <c:pt idx="74024">
                  <c:v>21.806491019657347</c:v>
                </c:pt>
                <c:pt idx="74025">
                  <c:v>23.718406527397402</c:v>
                </c:pt>
                <c:pt idx="74026">
                  <c:v>42.784901880656363</c:v>
                </c:pt>
                <c:pt idx="74027">
                  <c:v>30.0896380662811</c:v>
                </c:pt>
                <c:pt idx="74028">
                  <c:v>42.366269475024879</c:v>
                </c:pt>
                <c:pt idx="74029">
                  <c:v>27.476457019841412</c:v>
                </c:pt>
                <c:pt idx="74030">
                  <c:v>47.332001303922411</c:v>
                </c:pt>
                <c:pt idx="74031">
                  <c:v>45.410274238368075</c:v>
                </c:pt>
                <c:pt idx="74032">
                  <c:v>22.41742067450868</c:v>
                </c:pt>
                <c:pt idx="74033">
                  <c:v>28.717851770119861</c:v>
                </c:pt>
                <c:pt idx="74034">
                  <c:v>50.250406564859155</c:v>
                </c:pt>
                <c:pt idx="74035">
                  <c:v>32.468229817365192</c:v>
                </c:pt>
                <c:pt idx="74036">
                  <c:v>29.081898056570971</c:v>
                </c:pt>
                <c:pt idx="74037">
                  <c:v>24.592109475369522</c:v>
                </c:pt>
                <c:pt idx="74038">
                  <c:v>23.790180740203134</c:v>
                </c:pt>
                <c:pt idx="74039">
                  <c:v>40.729968187841024</c:v>
                </c:pt>
                <c:pt idx="74040">
                  <c:v>30.526338336018068</c:v>
                </c:pt>
                <c:pt idx="74041">
                  <c:v>31.707962747685528</c:v>
                </c:pt>
                <c:pt idx="74042">
                  <c:v>24.078147513519866</c:v>
                </c:pt>
                <c:pt idx="74043">
                  <c:v>21.305084197900023</c:v>
                </c:pt>
                <c:pt idx="74044">
                  <c:v>20.729561278392467</c:v>
                </c:pt>
                <c:pt idx="74045">
                  <c:v>30.012108082071329</c:v>
                </c:pt>
                <c:pt idx="74046">
                  <c:v>25.754831098890207</c:v>
                </c:pt>
                <c:pt idx="74047">
                  <c:v>25.652422046563633</c:v>
                </c:pt>
                <c:pt idx="74048">
                  <c:v>25.609418165567025</c:v>
                </c:pt>
                <c:pt idx="74049">
                  <c:v>22.402530856026658</c:v>
                </c:pt>
                <c:pt idx="74050">
                  <c:v>31.128414891734074</c:v>
                </c:pt>
                <c:pt idx="74051">
                  <c:v>30.198309051859543</c:v>
                </c:pt>
                <c:pt idx="74052">
                  <c:v>42.856517848354244</c:v>
                </c:pt>
                <c:pt idx="74053">
                  <c:v>18.598411983895584</c:v>
                </c:pt>
                <c:pt idx="74054">
                  <c:v>22.301000371008783</c:v>
                </c:pt>
                <c:pt idx="74055">
                  <c:v>27.869088546537593</c:v>
                </c:pt>
                <c:pt idx="74056">
                  <c:v>21.902197115139025</c:v>
                </c:pt>
                <c:pt idx="74057">
                  <c:v>26.792459982843337</c:v>
                </c:pt>
                <c:pt idx="74058">
                  <c:v>23.893170333366683</c:v>
                </c:pt>
                <c:pt idx="74059">
                  <c:v>54.506795352384586</c:v>
                </c:pt>
                <c:pt idx="74060">
                  <c:v>26.056408644948469</c:v>
                </c:pt>
                <c:pt idx="74061">
                  <c:v>32.812720841997816</c:v>
                </c:pt>
                <c:pt idx="74062">
                  <c:v>18.041258788995041</c:v>
                </c:pt>
                <c:pt idx="74063">
                  <c:v>37.880360838432765</c:v>
                </c:pt>
                <c:pt idx="74064">
                  <c:v>23.295975043572078</c:v>
                </c:pt>
                <c:pt idx="74065">
                  <c:v>25.56019661603229</c:v>
                </c:pt>
                <c:pt idx="74066">
                  <c:v>27.20023245312543</c:v>
                </c:pt>
                <c:pt idx="74067">
                  <c:v>21.959960971056301</c:v>
                </c:pt>
                <c:pt idx="74068">
                  <c:v>23.69763646211895</c:v>
                </c:pt>
                <c:pt idx="74069">
                  <c:v>55.196269057551362</c:v>
                </c:pt>
                <c:pt idx="74070">
                  <c:v>20.767566546752761</c:v>
                </c:pt>
                <c:pt idx="74071">
                  <c:v>26.028564211914084</c:v>
                </c:pt>
                <c:pt idx="74072">
                  <c:v>31.359360227153466</c:v>
                </c:pt>
                <c:pt idx="74073">
                  <c:v>29.094924951368306</c:v>
                </c:pt>
                <c:pt idx="74074">
                  <c:v>25.317956105440306</c:v>
                </c:pt>
                <c:pt idx="74075">
                  <c:v>25.969369670704392</c:v>
                </c:pt>
                <c:pt idx="74076">
                  <c:v>32.271578668396749</c:v>
                </c:pt>
                <c:pt idx="74077">
                  <c:v>45.767192483369939</c:v>
                </c:pt>
                <c:pt idx="74078">
                  <c:v>26.406537654694361</c:v>
                </c:pt>
                <c:pt idx="74079">
                  <c:v>32.58632869196326</c:v>
                </c:pt>
                <c:pt idx="74080">
                  <c:v>27.777721526026312</c:v>
                </c:pt>
                <c:pt idx="74081">
                  <c:v>49.288921448939909</c:v>
                </c:pt>
                <c:pt idx="74082">
                  <c:v>29.621265887968196</c:v>
                </c:pt>
                <c:pt idx="74083">
                  <c:v>23.768693803334603</c:v>
                </c:pt>
                <c:pt idx="74084">
                  <c:v>30.541713869415187</c:v>
                </c:pt>
                <c:pt idx="74085">
                  <c:v>21.526989230113958</c:v>
                </c:pt>
                <c:pt idx="74086">
                  <c:v>20.388534645263693</c:v>
                </c:pt>
                <c:pt idx="74087">
                  <c:v>23.38966039380594</c:v>
                </c:pt>
                <c:pt idx="74088">
                  <c:v>30.564271598178347</c:v>
                </c:pt>
                <c:pt idx="74089">
                  <c:v>24.686522236072385</c:v>
                </c:pt>
                <c:pt idx="74090">
                  <c:v>28.110912418165519</c:v>
                </c:pt>
                <c:pt idx="74091">
                  <c:v>30.72381622283357</c:v>
                </c:pt>
                <c:pt idx="74092">
                  <c:v>30.430424512727456</c:v>
                </c:pt>
                <c:pt idx="74093">
                  <c:v>28.174372189261195</c:v>
                </c:pt>
                <c:pt idx="74094">
                  <c:v>28.033349459210626</c:v>
                </c:pt>
                <c:pt idx="74095">
                  <c:v>37.279438520852239</c:v>
                </c:pt>
                <c:pt idx="74096">
                  <c:v>24.570702051656383</c:v>
                </c:pt>
                <c:pt idx="74097">
                  <c:v>18.733949707716079</c:v>
                </c:pt>
                <c:pt idx="74098">
                  <c:v>27.48312349695578</c:v>
                </c:pt>
                <c:pt idx="74099">
                  <c:v>30.993491460889572</c:v>
                </c:pt>
                <c:pt idx="74100">
                  <c:v>20.190231609450493</c:v>
                </c:pt>
                <c:pt idx="74101">
                  <c:v>41.504377491475985</c:v>
                </c:pt>
                <c:pt idx="74102">
                  <c:v>20.82620032727764</c:v>
                </c:pt>
                <c:pt idx="74103">
                  <c:v>31.053805097779872</c:v>
                </c:pt>
                <c:pt idx="74104">
                  <c:v>40.171714756315133</c:v>
                </c:pt>
                <c:pt idx="74105">
                  <c:v>26.565995493118425</c:v>
                </c:pt>
                <c:pt idx="74106">
                  <c:v>26.0857572544957</c:v>
                </c:pt>
                <c:pt idx="74107">
                  <c:v>26.05855804529574</c:v>
                </c:pt>
                <c:pt idx="74108">
                  <c:v>30.19482338736908</c:v>
                </c:pt>
                <c:pt idx="74109">
                  <c:v>27.890292323092961</c:v>
                </c:pt>
                <c:pt idx="74110">
                  <c:v>31.423194910800071</c:v>
                </c:pt>
                <c:pt idx="74111">
                  <c:v>25.330523693185555</c:v>
                </c:pt>
                <c:pt idx="74112">
                  <c:v>20.40949194543375</c:v>
                </c:pt>
                <c:pt idx="74113">
                  <c:v>48.677499532423226</c:v>
                </c:pt>
                <c:pt idx="74114">
                  <c:v>22.648926862476905</c:v>
                </c:pt>
                <c:pt idx="74115">
                  <c:v>23.077841214820371</c:v>
                </c:pt>
                <c:pt idx="74116">
                  <c:v>30.752078222212447</c:v>
                </c:pt>
                <c:pt idx="74117">
                  <c:v>33.469111473853843</c:v>
                </c:pt>
                <c:pt idx="74118">
                  <c:v>23.886459136046746</c:v>
                </c:pt>
                <c:pt idx="74119">
                  <c:v>52.823618784285379</c:v>
                </c:pt>
                <c:pt idx="74120">
                  <c:v>29.004319022531988</c:v>
                </c:pt>
                <c:pt idx="74121">
                  <c:v>23.955454031676151</c:v>
                </c:pt>
                <c:pt idx="74122">
                  <c:v>27.807250314652926</c:v>
                </c:pt>
                <c:pt idx="74123">
                  <c:v>17.227357401079544</c:v>
                </c:pt>
                <c:pt idx="74124">
                  <c:v>29.344524823641052</c:v>
                </c:pt>
                <c:pt idx="74125">
                  <c:v>59.28513454839198</c:v>
                </c:pt>
                <c:pt idx="74126">
                  <c:v>28.813290819911245</c:v>
                </c:pt>
                <c:pt idx="74127">
                  <c:v>35.331556350611756</c:v>
                </c:pt>
                <c:pt idx="74128">
                  <c:v>25.406285455521029</c:v>
                </c:pt>
                <c:pt idx="74129">
                  <c:v>45.463901712610252</c:v>
                </c:pt>
                <c:pt idx="74130">
                  <c:v>26.170099209462148</c:v>
                </c:pt>
                <c:pt idx="74131">
                  <c:v>49.95947342387619</c:v>
                </c:pt>
                <c:pt idx="74132">
                  <c:v>47.893114868100142</c:v>
                </c:pt>
                <c:pt idx="74133">
                  <c:v>28.340790017491351</c:v>
                </c:pt>
                <c:pt idx="74134">
                  <c:v>23.47057152890201</c:v>
                </c:pt>
                <c:pt idx="74135">
                  <c:v>23.456625224690907</c:v>
                </c:pt>
                <c:pt idx="74136">
                  <c:v>30.146616056042863</c:v>
                </c:pt>
                <c:pt idx="74137">
                  <c:v>24.141870368866996</c:v>
                </c:pt>
                <c:pt idx="74138">
                  <c:v>60.873279735763738</c:v>
                </c:pt>
                <c:pt idx="74139">
                  <c:v>16.788592764044651</c:v>
                </c:pt>
                <c:pt idx="74140">
                  <c:v>17.217089236878387</c:v>
                </c:pt>
                <c:pt idx="74141">
                  <c:v>28.660610105026613</c:v>
                </c:pt>
                <c:pt idx="74142">
                  <c:v>57.403562137703858</c:v>
                </c:pt>
                <c:pt idx="74143">
                  <c:v>43.567341088463117</c:v>
                </c:pt>
                <c:pt idx="74144">
                  <c:v>29.683753672907873</c:v>
                </c:pt>
                <c:pt idx="74145">
                  <c:v>27.565706703766271</c:v>
                </c:pt>
                <c:pt idx="74146">
                  <c:v>40.677576912147963</c:v>
                </c:pt>
                <c:pt idx="74147">
                  <c:v>29.93565686058318</c:v>
                </c:pt>
                <c:pt idx="74148">
                  <c:v>30.403179547324822</c:v>
                </c:pt>
                <c:pt idx="74149">
                  <c:v>26.413174808912629</c:v>
                </c:pt>
                <c:pt idx="74150">
                  <c:v>56.652625531058163</c:v>
                </c:pt>
                <c:pt idx="74151">
                  <c:v>25.762127030461251</c:v>
                </c:pt>
                <c:pt idx="74152">
                  <c:v>49.794740065178942</c:v>
                </c:pt>
                <c:pt idx="74153">
                  <c:v>34.923975801829933</c:v>
                </c:pt>
                <c:pt idx="74154">
                  <c:v>24.162206751170391</c:v>
                </c:pt>
                <c:pt idx="74155">
                  <c:v>25.829520329237592</c:v>
                </c:pt>
                <c:pt idx="74156">
                  <c:v>48.396337796031318</c:v>
                </c:pt>
                <c:pt idx="74157">
                  <c:v>15.669102661913223</c:v>
                </c:pt>
                <c:pt idx="74158">
                  <c:v>27.499677337753027</c:v>
                </c:pt>
                <c:pt idx="74159">
                  <c:v>37.890677849221355</c:v>
                </c:pt>
                <c:pt idx="74160">
                  <c:v>28.49404103556984</c:v>
                </c:pt>
                <c:pt idx="74161">
                  <c:v>50.952158706292565</c:v>
                </c:pt>
                <c:pt idx="74162">
                  <c:v>35.644167105901325</c:v>
                </c:pt>
                <c:pt idx="74163">
                  <c:v>28.04275334917061</c:v>
                </c:pt>
                <c:pt idx="74164">
                  <c:v>28.002850951712574</c:v>
                </c:pt>
                <c:pt idx="74165">
                  <c:v>26.718821122202272</c:v>
                </c:pt>
                <c:pt idx="74166">
                  <c:v>24.762478989186697</c:v>
                </c:pt>
                <c:pt idx="74167">
                  <c:v>26.274919673282525</c:v>
                </c:pt>
                <c:pt idx="74168">
                  <c:v>34.812319881186632</c:v>
                </c:pt>
                <c:pt idx="74169">
                  <c:v>30.772601185838994</c:v>
                </c:pt>
                <c:pt idx="74170">
                  <c:v>54.410167727587378</c:v>
                </c:pt>
                <c:pt idx="74171">
                  <c:v>31.760843541897422</c:v>
                </c:pt>
                <c:pt idx="74172">
                  <c:v>22.131013375696355</c:v>
                </c:pt>
                <c:pt idx="74173">
                  <c:v>47.915297737031729</c:v>
                </c:pt>
                <c:pt idx="74174">
                  <c:v>44.930707083190299</c:v>
                </c:pt>
                <c:pt idx="74175">
                  <c:v>27.393372516749579</c:v>
                </c:pt>
                <c:pt idx="74176">
                  <c:v>26.912122423639495</c:v>
                </c:pt>
                <c:pt idx="74177">
                  <c:v>27.838374548883074</c:v>
                </c:pt>
                <c:pt idx="74178">
                  <c:v>31.271284390967327</c:v>
                </c:pt>
                <c:pt idx="74179">
                  <c:v>21.074120385611135</c:v>
                </c:pt>
                <c:pt idx="74180">
                  <c:v>27.121124428906285</c:v>
                </c:pt>
                <c:pt idx="74181">
                  <c:v>32.355387340522157</c:v>
                </c:pt>
                <c:pt idx="74182">
                  <c:v>24.616939871068148</c:v>
                </c:pt>
                <c:pt idx="74183">
                  <c:v>30.019038046285253</c:v>
                </c:pt>
                <c:pt idx="74184">
                  <c:v>23.777856637510265</c:v>
                </c:pt>
                <c:pt idx="74185">
                  <c:v>28.716764426245117</c:v>
                </c:pt>
                <c:pt idx="74186">
                  <c:v>27.285434185471281</c:v>
                </c:pt>
                <c:pt idx="74187">
                  <c:v>35.700310374509712</c:v>
                </c:pt>
                <c:pt idx="74188">
                  <c:v>17.558394153349614</c:v>
                </c:pt>
                <c:pt idx="74189">
                  <c:v>25.472722257190554</c:v>
                </c:pt>
                <c:pt idx="74190">
                  <c:v>22.106532659433988</c:v>
                </c:pt>
                <c:pt idx="74191">
                  <c:v>47.231132739212654</c:v>
                </c:pt>
                <c:pt idx="74192">
                  <c:v>31.903021580358779</c:v>
                </c:pt>
                <c:pt idx="74193">
                  <c:v>50.54586431965653</c:v>
                </c:pt>
                <c:pt idx="74194">
                  <c:v>21.672133148230746</c:v>
                </c:pt>
                <c:pt idx="74195">
                  <c:v>25.226700307121661</c:v>
                </c:pt>
                <c:pt idx="74196">
                  <c:v>23.578810053359728</c:v>
                </c:pt>
                <c:pt idx="74197">
                  <c:v>27.08982491636576</c:v>
                </c:pt>
                <c:pt idx="74198">
                  <c:v>21.864473763953931</c:v>
                </c:pt>
                <c:pt idx="74199">
                  <c:v>26.400627137436384</c:v>
                </c:pt>
                <c:pt idx="74200">
                  <c:v>26.814376949949722</c:v>
                </c:pt>
                <c:pt idx="74201">
                  <c:v>25.644523474263352</c:v>
                </c:pt>
                <c:pt idx="74202">
                  <c:v>51.296361191074077</c:v>
                </c:pt>
                <c:pt idx="74203">
                  <c:v>34.318815315746889</c:v>
                </c:pt>
                <c:pt idx="74204">
                  <c:v>24.505740351126544</c:v>
                </c:pt>
                <c:pt idx="74205">
                  <c:v>25.085157699823419</c:v>
                </c:pt>
                <c:pt idx="74206">
                  <c:v>43.55038956124605</c:v>
                </c:pt>
                <c:pt idx="74207">
                  <c:v>23.658721642211145</c:v>
                </c:pt>
                <c:pt idx="74208">
                  <c:v>26.383326104996193</c:v>
                </c:pt>
                <c:pt idx="74209">
                  <c:v>40.058706438914406</c:v>
                </c:pt>
                <c:pt idx="74210">
                  <c:v>31.845080065653075</c:v>
                </c:pt>
                <c:pt idx="74211">
                  <c:v>27.040153369876435</c:v>
                </c:pt>
                <c:pt idx="74212">
                  <c:v>29.296792971915028</c:v>
                </c:pt>
                <c:pt idx="74213">
                  <c:v>26.160284477017434</c:v>
                </c:pt>
                <c:pt idx="74214">
                  <c:v>25.358429794256715</c:v>
                </c:pt>
                <c:pt idx="74215">
                  <c:v>24.95572124415046</c:v>
                </c:pt>
                <c:pt idx="74216">
                  <c:v>30.505345574102407</c:v>
                </c:pt>
                <c:pt idx="74217">
                  <c:v>27.009316483346478</c:v>
                </c:pt>
                <c:pt idx="74218">
                  <c:v>23.609494675454695</c:v>
                </c:pt>
                <c:pt idx="74219">
                  <c:v>27.039492833129977</c:v>
                </c:pt>
                <c:pt idx="74220">
                  <c:v>34.189214163617244</c:v>
                </c:pt>
                <c:pt idx="74221">
                  <c:v>55.688363304299813</c:v>
                </c:pt>
                <c:pt idx="74222">
                  <c:v>21.732772249539003</c:v>
                </c:pt>
                <c:pt idx="74223">
                  <c:v>27.979003410253565</c:v>
                </c:pt>
                <c:pt idx="74224">
                  <c:v>40.573553422964437</c:v>
                </c:pt>
                <c:pt idx="74225">
                  <c:v>24.030863889765225</c:v>
                </c:pt>
                <c:pt idx="74226">
                  <c:v>51.012573283021467</c:v>
                </c:pt>
                <c:pt idx="74227">
                  <c:v>38.385952164529925</c:v>
                </c:pt>
                <c:pt idx="74228">
                  <c:v>25.045916459185548</c:v>
                </c:pt>
                <c:pt idx="74229">
                  <c:v>29.034302300993531</c:v>
                </c:pt>
                <c:pt idx="74230">
                  <c:v>22.381225173700066</c:v>
                </c:pt>
                <c:pt idx="74231">
                  <c:v>25.266212429509725</c:v>
                </c:pt>
                <c:pt idx="74232">
                  <c:v>26.056478622625285</c:v>
                </c:pt>
                <c:pt idx="74233">
                  <c:v>25.638331113691805</c:v>
                </c:pt>
                <c:pt idx="74234">
                  <c:v>22.867077569481012</c:v>
                </c:pt>
                <c:pt idx="74235">
                  <c:v>21.683799659368663</c:v>
                </c:pt>
                <c:pt idx="74236">
                  <c:v>42.853175175399393</c:v>
                </c:pt>
                <c:pt idx="74237">
                  <c:v>33.268996597886719</c:v>
                </c:pt>
                <c:pt idx="74238">
                  <c:v>24.906604151604078</c:v>
                </c:pt>
                <c:pt idx="74239">
                  <c:v>26.792062274591238</c:v>
                </c:pt>
                <c:pt idx="74240">
                  <c:v>40.427787230000035</c:v>
                </c:pt>
                <c:pt idx="74241">
                  <c:v>49.823321558765826</c:v>
                </c:pt>
                <c:pt idx="74242">
                  <c:v>24.826417799313852</c:v>
                </c:pt>
                <c:pt idx="74243">
                  <c:v>25.76437634671618</c:v>
                </c:pt>
                <c:pt idx="74244">
                  <c:v>21.129753436160023</c:v>
                </c:pt>
                <c:pt idx="74245">
                  <c:v>32.461993373950691</c:v>
                </c:pt>
                <c:pt idx="74246">
                  <c:v>31.643378616209578</c:v>
                </c:pt>
                <c:pt idx="74247">
                  <c:v>27.960114383134982</c:v>
                </c:pt>
                <c:pt idx="74248">
                  <c:v>44.518882719231542</c:v>
                </c:pt>
                <c:pt idx="74249">
                  <c:v>30.531689704070065</c:v>
                </c:pt>
                <c:pt idx="74250">
                  <c:v>30.249493948695477</c:v>
                </c:pt>
                <c:pt idx="74251">
                  <c:v>33.384476727329236</c:v>
                </c:pt>
                <c:pt idx="74252">
                  <c:v>27.618542321918667</c:v>
                </c:pt>
                <c:pt idx="74253">
                  <c:v>24.452565169158586</c:v>
                </c:pt>
                <c:pt idx="74254">
                  <c:v>28.280826709660133</c:v>
                </c:pt>
                <c:pt idx="74255">
                  <c:v>46.110548209939061</c:v>
                </c:pt>
                <c:pt idx="74256">
                  <c:v>29.788654176708722</c:v>
                </c:pt>
                <c:pt idx="74257">
                  <c:v>23.760922937772456</c:v>
                </c:pt>
                <c:pt idx="74258">
                  <c:v>25.447534376970601</c:v>
                </c:pt>
                <c:pt idx="74259">
                  <c:v>24.706112695946413</c:v>
                </c:pt>
                <c:pt idx="74260">
                  <c:v>49.835019071057147</c:v>
                </c:pt>
                <c:pt idx="74261">
                  <c:v>24.012076016602105</c:v>
                </c:pt>
                <c:pt idx="74262">
                  <c:v>57.890702762198558</c:v>
                </c:pt>
                <c:pt idx="74263">
                  <c:v>22.690320458749554</c:v>
                </c:pt>
                <c:pt idx="74264">
                  <c:v>20.668081317923495</c:v>
                </c:pt>
                <c:pt idx="74265">
                  <c:v>17.644467478442348</c:v>
                </c:pt>
                <c:pt idx="74266">
                  <c:v>43.6559809129283</c:v>
                </c:pt>
                <c:pt idx="74267">
                  <c:v>43.22879160739685</c:v>
                </c:pt>
                <c:pt idx="74268">
                  <c:v>24.982496167714181</c:v>
                </c:pt>
                <c:pt idx="74269">
                  <c:v>62.830348552142233</c:v>
                </c:pt>
                <c:pt idx="74270">
                  <c:v>24.090520387085071</c:v>
                </c:pt>
                <c:pt idx="74271">
                  <c:v>23.131382686102</c:v>
                </c:pt>
                <c:pt idx="74272">
                  <c:v>54.55886648611218</c:v>
                </c:pt>
                <c:pt idx="74273">
                  <c:v>34.185744977382441</c:v>
                </c:pt>
                <c:pt idx="74274">
                  <c:v>22.197593364698768</c:v>
                </c:pt>
                <c:pt idx="74275">
                  <c:v>45.729268667898083</c:v>
                </c:pt>
                <c:pt idx="74276">
                  <c:v>44.230057062059728</c:v>
                </c:pt>
                <c:pt idx="74277">
                  <c:v>29.729364314949564</c:v>
                </c:pt>
                <c:pt idx="74278">
                  <c:v>19.591500647093458</c:v>
                </c:pt>
                <c:pt idx="74279">
                  <c:v>26.460734377052155</c:v>
                </c:pt>
                <c:pt idx="74280">
                  <c:v>28.592874106453255</c:v>
                </c:pt>
                <c:pt idx="74281">
                  <c:v>30.234172551321137</c:v>
                </c:pt>
                <c:pt idx="74282">
                  <c:v>55.115875144965337</c:v>
                </c:pt>
                <c:pt idx="74283">
                  <c:v>24.207560953047334</c:v>
                </c:pt>
                <c:pt idx="74284">
                  <c:v>27.72816937483454</c:v>
                </c:pt>
                <c:pt idx="74285">
                  <c:v>20.162960731985134</c:v>
                </c:pt>
                <c:pt idx="74286">
                  <c:v>29.174649555876254</c:v>
                </c:pt>
                <c:pt idx="74287">
                  <c:v>27.268059098265557</c:v>
                </c:pt>
                <c:pt idx="74288">
                  <c:v>29.773143301531029</c:v>
                </c:pt>
                <c:pt idx="74289">
                  <c:v>44.093441165831258</c:v>
                </c:pt>
                <c:pt idx="74290">
                  <c:v>46.945693674717774</c:v>
                </c:pt>
                <c:pt idx="74291">
                  <c:v>18.125184597122594</c:v>
                </c:pt>
                <c:pt idx="74292">
                  <c:v>23.976485618407374</c:v>
                </c:pt>
                <c:pt idx="74293">
                  <c:v>36.494150794301213</c:v>
                </c:pt>
                <c:pt idx="74294">
                  <c:v>23.495846807178481</c:v>
                </c:pt>
                <c:pt idx="74295">
                  <c:v>53.418295230282496</c:v>
                </c:pt>
                <c:pt idx="74296">
                  <c:v>40.107310031931817</c:v>
                </c:pt>
                <c:pt idx="74297">
                  <c:v>29.181788880995274</c:v>
                </c:pt>
                <c:pt idx="74298">
                  <c:v>18.439165202951646</c:v>
                </c:pt>
                <c:pt idx="74299">
                  <c:v>40.287373054421685</c:v>
                </c:pt>
                <c:pt idx="74300">
                  <c:v>21.912351019329677</c:v>
                </c:pt>
                <c:pt idx="74301">
                  <c:v>26.56169815731657</c:v>
                </c:pt>
                <c:pt idx="74302">
                  <c:v>29.041183857777767</c:v>
                </c:pt>
                <c:pt idx="74303">
                  <c:v>45.453701213635028</c:v>
                </c:pt>
                <c:pt idx="74304">
                  <c:v>22.439583165412859</c:v>
                </c:pt>
                <c:pt idx="74305">
                  <c:v>30.135726593539033</c:v>
                </c:pt>
                <c:pt idx="74306">
                  <c:v>41.390271836709921</c:v>
                </c:pt>
                <c:pt idx="74307">
                  <c:v>22.485766577586723</c:v>
                </c:pt>
                <c:pt idx="74308">
                  <c:v>27.682703654323593</c:v>
                </c:pt>
                <c:pt idx="74309">
                  <c:v>36.023807220132433</c:v>
                </c:pt>
                <c:pt idx="74310">
                  <c:v>33.084680796071567</c:v>
                </c:pt>
                <c:pt idx="74311">
                  <c:v>26.479915811673138</c:v>
                </c:pt>
                <c:pt idx="74312">
                  <c:v>25.358171183614079</c:v>
                </c:pt>
                <c:pt idx="74313">
                  <c:v>32.096041071390502</c:v>
                </c:pt>
                <c:pt idx="74314">
                  <c:v>26.087031907507829</c:v>
                </c:pt>
                <c:pt idx="74315">
                  <c:v>47.439998855853666</c:v>
                </c:pt>
                <c:pt idx="74316">
                  <c:v>25.382548442817669</c:v>
                </c:pt>
                <c:pt idx="74317">
                  <c:v>26.368206613383929</c:v>
                </c:pt>
                <c:pt idx="74318">
                  <c:v>31.450828338966836</c:v>
                </c:pt>
                <c:pt idx="74319">
                  <c:v>19.718303217787177</c:v>
                </c:pt>
                <c:pt idx="74320">
                  <c:v>49.239321920685533</c:v>
                </c:pt>
                <c:pt idx="74321">
                  <c:v>25.652351820434465</c:v>
                </c:pt>
                <c:pt idx="74322">
                  <c:v>46.590556123379208</c:v>
                </c:pt>
                <c:pt idx="74323">
                  <c:v>45.852992790569743</c:v>
                </c:pt>
                <c:pt idx="74324">
                  <c:v>22.626074149424227</c:v>
                </c:pt>
                <c:pt idx="74325">
                  <c:v>47.483867728014516</c:v>
                </c:pt>
                <c:pt idx="74326">
                  <c:v>56.873280925538346</c:v>
                </c:pt>
                <c:pt idx="74327">
                  <c:v>29.137609536365055</c:v>
                </c:pt>
                <c:pt idx="74328">
                  <c:v>40.291514631693559</c:v>
                </c:pt>
                <c:pt idx="74329">
                  <c:v>46.737960321886732</c:v>
                </c:pt>
                <c:pt idx="74330">
                  <c:v>26.558146583633729</c:v>
                </c:pt>
                <c:pt idx="74331">
                  <c:v>38.001455927236357</c:v>
                </c:pt>
                <c:pt idx="74332">
                  <c:v>26.701976706090022</c:v>
                </c:pt>
                <c:pt idx="74333">
                  <c:v>25.932898715388269</c:v>
                </c:pt>
                <c:pt idx="74334">
                  <c:v>40.125055369038385</c:v>
                </c:pt>
                <c:pt idx="74335">
                  <c:v>31.34736400714614</c:v>
                </c:pt>
                <c:pt idx="74336">
                  <c:v>35.351536693163816</c:v>
                </c:pt>
                <c:pt idx="74337">
                  <c:v>32.976582010478722</c:v>
                </c:pt>
                <c:pt idx="74338">
                  <c:v>24.780478050337031</c:v>
                </c:pt>
                <c:pt idx="74339">
                  <c:v>25.79923601401795</c:v>
                </c:pt>
                <c:pt idx="74340">
                  <c:v>25.970021253296245</c:v>
                </c:pt>
                <c:pt idx="74341">
                  <c:v>22.669332751386261</c:v>
                </c:pt>
                <c:pt idx="74342">
                  <c:v>24.441597914480067</c:v>
                </c:pt>
                <c:pt idx="74343">
                  <c:v>21.290270570478274</c:v>
                </c:pt>
                <c:pt idx="74344">
                  <c:v>42.860804991983969</c:v>
                </c:pt>
                <c:pt idx="74345">
                  <c:v>22.681710274197322</c:v>
                </c:pt>
                <c:pt idx="74346">
                  <c:v>40.630466983203689</c:v>
                </c:pt>
                <c:pt idx="74347">
                  <c:v>42.776145210180403</c:v>
                </c:pt>
                <c:pt idx="74348">
                  <c:v>34.92278964789849</c:v>
                </c:pt>
                <c:pt idx="74349">
                  <c:v>20.565253761928485</c:v>
                </c:pt>
                <c:pt idx="74350">
                  <c:v>27.27418266788132</c:v>
                </c:pt>
                <c:pt idx="74351">
                  <c:v>52.245884077813336</c:v>
                </c:pt>
                <c:pt idx="74352">
                  <c:v>26.923793597520437</c:v>
                </c:pt>
                <c:pt idx="74353">
                  <c:v>23.113611792902024</c:v>
                </c:pt>
                <c:pt idx="74354">
                  <c:v>27.669453682921468</c:v>
                </c:pt>
                <c:pt idx="74355">
                  <c:v>42.449219676863692</c:v>
                </c:pt>
                <c:pt idx="74356">
                  <c:v>38.665523839638524</c:v>
                </c:pt>
                <c:pt idx="74357">
                  <c:v>25.288602831233923</c:v>
                </c:pt>
                <c:pt idx="74358">
                  <c:v>28.388424777965582</c:v>
                </c:pt>
                <c:pt idx="74359">
                  <c:v>30.939442810586833</c:v>
                </c:pt>
                <c:pt idx="74360">
                  <c:v>28.644956747903294</c:v>
                </c:pt>
                <c:pt idx="74361">
                  <c:v>26.255129760028527</c:v>
                </c:pt>
                <c:pt idx="74362">
                  <c:v>17.125185221954681</c:v>
                </c:pt>
                <c:pt idx="74363">
                  <c:v>41.702038525422267</c:v>
                </c:pt>
                <c:pt idx="74364">
                  <c:v>45.143866226794444</c:v>
                </c:pt>
                <c:pt idx="74365">
                  <c:v>30.146076465384294</c:v>
                </c:pt>
                <c:pt idx="74366">
                  <c:v>50.590098460752714</c:v>
                </c:pt>
                <c:pt idx="74367">
                  <c:v>26.745484469464394</c:v>
                </c:pt>
                <c:pt idx="74368">
                  <c:v>28.909527716069945</c:v>
                </c:pt>
                <c:pt idx="74369">
                  <c:v>26.252112542004944</c:v>
                </c:pt>
                <c:pt idx="74370">
                  <c:v>28.527615958219325</c:v>
                </c:pt>
                <c:pt idx="74371">
                  <c:v>27.651198399698302</c:v>
                </c:pt>
                <c:pt idx="74372">
                  <c:v>21.595937320690457</c:v>
                </c:pt>
                <c:pt idx="74373">
                  <c:v>27.953037846969259</c:v>
                </c:pt>
                <c:pt idx="74374">
                  <c:v>28.954989386299108</c:v>
                </c:pt>
                <c:pt idx="74375">
                  <c:v>23.588951675057324</c:v>
                </c:pt>
                <c:pt idx="74376">
                  <c:v>22.873683773901256</c:v>
                </c:pt>
                <c:pt idx="74377">
                  <c:v>26.869093155632797</c:v>
                </c:pt>
                <c:pt idx="74378">
                  <c:v>25.959311269651479</c:v>
                </c:pt>
                <c:pt idx="74379">
                  <c:v>39.365091704615438</c:v>
                </c:pt>
                <c:pt idx="74380">
                  <c:v>24.342375408378043</c:v>
                </c:pt>
                <c:pt idx="74381">
                  <c:v>25.505132024943304</c:v>
                </c:pt>
                <c:pt idx="74382">
                  <c:v>29.399645299537301</c:v>
                </c:pt>
                <c:pt idx="74383">
                  <c:v>30.128413884563457</c:v>
                </c:pt>
                <c:pt idx="74384">
                  <c:v>22.776270188159124</c:v>
                </c:pt>
                <c:pt idx="74385">
                  <c:v>23.404431507917977</c:v>
                </c:pt>
                <c:pt idx="74386">
                  <c:v>22.496048367519677</c:v>
                </c:pt>
                <c:pt idx="74387">
                  <c:v>22.852616224867159</c:v>
                </c:pt>
                <c:pt idx="74388">
                  <c:v>27.22339051697233</c:v>
                </c:pt>
                <c:pt idx="74389">
                  <c:v>28.033796702744453</c:v>
                </c:pt>
                <c:pt idx="74390">
                  <c:v>45.378512193651325</c:v>
                </c:pt>
                <c:pt idx="74391">
                  <c:v>25.586666754248142</c:v>
                </c:pt>
                <c:pt idx="74392">
                  <c:v>20.611779046965243</c:v>
                </c:pt>
                <c:pt idx="74393">
                  <c:v>26.87550584371521</c:v>
                </c:pt>
                <c:pt idx="74394">
                  <c:v>28.159418360066944</c:v>
                </c:pt>
                <c:pt idx="74395">
                  <c:v>25.422764265081696</c:v>
                </c:pt>
                <c:pt idx="74396">
                  <c:v>36.069294073668516</c:v>
                </c:pt>
                <c:pt idx="74397">
                  <c:v>24.688608138789117</c:v>
                </c:pt>
                <c:pt idx="74398">
                  <c:v>46.402760114946041</c:v>
                </c:pt>
                <c:pt idx="74399">
                  <c:v>25.616688687330061</c:v>
                </c:pt>
                <c:pt idx="74400">
                  <c:v>21.892373129778782</c:v>
                </c:pt>
                <c:pt idx="74401">
                  <c:v>20.775374794878207</c:v>
                </c:pt>
                <c:pt idx="74402">
                  <c:v>29.339245583862599</c:v>
                </c:pt>
                <c:pt idx="74403">
                  <c:v>26.382664868418296</c:v>
                </c:pt>
                <c:pt idx="74404">
                  <c:v>28.051683534537357</c:v>
                </c:pt>
                <c:pt idx="74405">
                  <c:v>23.514574022648226</c:v>
                </c:pt>
                <c:pt idx="74406">
                  <c:v>21.913985591739578</c:v>
                </c:pt>
                <c:pt idx="74407">
                  <c:v>47.882394883630674</c:v>
                </c:pt>
                <c:pt idx="74408">
                  <c:v>40.441803964964613</c:v>
                </c:pt>
                <c:pt idx="74409">
                  <c:v>40.400354124495209</c:v>
                </c:pt>
                <c:pt idx="74410">
                  <c:v>45.765708904507392</c:v>
                </c:pt>
                <c:pt idx="74411">
                  <c:v>37.383035225934648</c:v>
                </c:pt>
                <c:pt idx="74412">
                  <c:v>36.110959729639454</c:v>
                </c:pt>
                <c:pt idx="74413">
                  <c:v>30.583286861122218</c:v>
                </c:pt>
                <c:pt idx="74414">
                  <c:v>27.430866404378119</c:v>
                </c:pt>
                <c:pt idx="74415">
                  <c:v>22.831034943831732</c:v>
                </c:pt>
                <c:pt idx="74416">
                  <c:v>35.273599821841771</c:v>
                </c:pt>
                <c:pt idx="74417">
                  <c:v>22.082250626138745</c:v>
                </c:pt>
                <c:pt idx="74418">
                  <c:v>21.529994371324186</c:v>
                </c:pt>
                <c:pt idx="74419">
                  <c:v>43.090333038515219</c:v>
                </c:pt>
                <c:pt idx="74420">
                  <c:v>46.764777998420357</c:v>
                </c:pt>
                <c:pt idx="74421">
                  <c:v>31.834217837124431</c:v>
                </c:pt>
                <c:pt idx="74422">
                  <c:v>23.680460836713834</c:v>
                </c:pt>
                <c:pt idx="74423">
                  <c:v>21.976406991746494</c:v>
                </c:pt>
                <c:pt idx="74424">
                  <c:v>35.57992570810773</c:v>
                </c:pt>
                <c:pt idx="74425">
                  <c:v>29.673869534943453</c:v>
                </c:pt>
                <c:pt idx="74426">
                  <c:v>25.567375758394384</c:v>
                </c:pt>
                <c:pt idx="74427">
                  <c:v>54.828164146886401</c:v>
                </c:pt>
                <c:pt idx="74428">
                  <c:v>29.400095319994549</c:v>
                </c:pt>
                <c:pt idx="74429">
                  <c:v>21.677143489330994</c:v>
                </c:pt>
                <c:pt idx="74430">
                  <c:v>16.487116739292865</c:v>
                </c:pt>
                <c:pt idx="74431">
                  <c:v>22.76967949693719</c:v>
                </c:pt>
                <c:pt idx="74432">
                  <c:v>28.576402550619626</c:v>
                </c:pt>
                <c:pt idx="74433">
                  <c:v>32.065233851848788</c:v>
                </c:pt>
                <c:pt idx="74434">
                  <c:v>27.037622180026524</c:v>
                </c:pt>
                <c:pt idx="74435">
                  <c:v>28.129186589573557</c:v>
                </c:pt>
                <c:pt idx="74436">
                  <c:v>21.927640159373439</c:v>
                </c:pt>
                <c:pt idx="74437">
                  <c:v>32.340685924623941</c:v>
                </c:pt>
                <c:pt idx="74438">
                  <c:v>50.45306218091595</c:v>
                </c:pt>
                <c:pt idx="74439">
                  <c:v>24.411953134739136</c:v>
                </c:pt>
                <c:pt idx="74440">
                  <c:v>19.965499865194275</c:v>
                </c:pt>
                <c:pt idx="74441">
                  <c:v>33.378803717080615</c:v>
                </c:pt>
                <c:pt idx="74442">
                  <c:v>44.76074989032314</c:v>
                </c:pt>
                <c:pt idx="74443">
                  <c:v>14.926865407917116</c:v>
                </c:pt>
                <c:pt idx="74444">
                  <c:v>30.990726773012817</c:v>
                </c:pt>
                <c:pt idx="74445">
                  <c:v>30.292640048769211</c:v>
                </c:pt>
                <c:pt idx="74446">
                  <c:v>28.468222179343002</c:v>
                </c:pt>
                <c:pt idx="74447">
                  <c:v>52.57547926092024</c:v>
                </c:pt>
                <c:pt idx="74448">
                  <c:v>48.287897186458416</c:v>
                </c:pt>
                <c:pt idx="74449">
                  <c:v>49.791291515213011</c:v>
                </c:pt>
                <c:pt idx="74450">
                  <c:v>43.356623709851647</c:v>
                </c:pt>
                <c:pt idx="74451">
                  <c:v>52.320429647253697</c:v>
                </c:pt>
                <c:pt idx="74452">
                  <c:v>26.887372868674472</c:v>
                </c:pt>
                <c:pt idx="74453">
                  <c:v>26.327921860767503</c:v>
                </c:pt>
                <c:pt idx="74454">
                  <c:v>40.827079998057748</c:v>
                </c:pt>
                <c:pt idx="74455">
                  <c:v>20.780550108711502</c:v>
                </c:pt>
                <c:pt idx="74456">
                  <c:v>27.160471049543631</c:v>
                </c:pt>
                <c:pt idx="74457">
                  <c:v>25.119251529896765</c:v>
                </c:pt>
                <c:pt idx="74458">
                  <c:v>52.658373938385068</c:v>
                </c:pt>
                <c:pt idx="74459">
                  <c:v>22.722807469912048</c:v>
                </c:pt>
                <c:pt idx="74460">
                  <c:v>21.368126873998417</c:v>
                </c:pt>
                <c:pt idx="74461">
                  <c:v>25.918036579190627</c:v>
                </c:pt>
                <c:pt idx="74462">
                  <c:v>27.761435166654824</c:v>
                </c:pt>
                <c:pt idx="74463">
                  <c:v>34.735845590399869</c:v>
                </c:pt>
                <c:pt idx="74464">
                  <c:v>48.072474195834594</c:v>
                </c:pt>
                <c:pt idx="74465">
                  <c:v>49.05505728052983</c:v>
                </c:pt>
                <c:pt idx="74466">
                  <c:v>30.120735661748299</c:v>
                </c:pt>
                <c:pt idx="74467">
                  <c:v>42.143613949631295</c:v>
                </c:pt>
                <c:pt idx="74468">
                  <c:v>26.03763775133158</c:v>
                </c:pt>
                <c:pt idx="74469">
                  <c:v>31.567067223079643</c:v>
                </c:pt>
                <c:pt idx="74470">
                  <c:v>27.589898603546324</c:v>
                </c:pt>
                <c:pt idx="74471">
                  <c:v>45.542152781164006</c:v>
                </c:pt>
                <c:pt idx="74472">
                  <c:v>32.692030056898631</c:v>
                </c:pt>
                <c:pt idx="74473">
                  <c:v>45.345453548910932</c:v>
                </c:pt>
                <c:pt idx="74474">
                  <c:v>24.701803699191288</c:v>
                </c:pt>
                <c:pt idx="74475">
                  <c:v>38.748722150271057</c:v>
                </c:pt>
                <c:pt idx="74476">
                  <c:v>27.38651911743866</c:v>
                </c:pt>
                <c:pt idx="74477">
                  <c:v>43.091646253813344</c:v>
                </c:pt>
                <c:pt idx="74478">
                  <c:v>28.538040674115969</c:v>
                </c:pt>
                <c:pt idx="74479">
                  <c:v>22.859878686263258</c:v>
                </c:pt>
                <c:pt idx="74480">
                  <c:v>42.163761385604694</c:v>
                </c:pt>
                <c:pt idx="74481">
                  <c:v>24.800250214963668</c:v>
                </c:pt>
                <c:pt idx="74482">
                  <c:v>43.942501038808025</c:v>
                </c:pt>
                <c:pt idx="74483">
                  <c:v>32.151788695532098</c:v>
                </c:pt>
                <c:pt idx="74484">
                  <c:v>26.4025751356758</c:v>
                </c:pt>
                <c:pt idx="74485">
                  <c:v>21.323417700621746</c:v>
                </c:pt>
                <c:pt idx="74486">
                  <c:v>38.587704037692014</c:v>
                </c:pt>
                <c:pt idx="74487">
                  <c:v>19.92261845937724</c:v>
                </c:pt>
                <c:pt idx="74488">
                  <c:v>30.102011968419234</c:v>
                </c:pt>
                <c:pt idx="74489">
                  <c:v>24.014617305771893</c:v>
                </c:pt>
                <c:pt idx="74490">
                  <c:v>50.807023964202749</c:v>
                </c:pt>
                <c:pt idx="74491">
                  <c:v>25.411364717855935</c:v>
                </c:pt>
                <c:pt idx="74492">
                  <c:v>31.017831024689507</c:v>
                </c:pt>
                <c:pt idx="74493">
                  <c:v>39.428966907553466</c:v>
                </c:pt>
                <c:pt idx="74494">
                  <c:v>22.892898236399816</c:v>
                </c:pt>
                <c:pt idx="74495">
                  <c:v>29.570169602552092</c:v>
                </c:pt>
                <c:pt idx="74496">
                  <c:v>49.642803214538269</c:v>
                </c:pt>
                <c:pt idx="74497">
                  <c:v>27.380712128836585</c:v>
                </c:pt>
                <c:pt idx="74498">
                  <c:v>28.20736714998619</c:v>
                </c:pt>
                <c:pt idx="74499">
                  <c:v>47.677896275141194</c:v>
                </c:pt>
                <c:pt idx="74500">
                  <c:v>21.472765177708425</c:v>
                </c:pt>
                <c:pt idx="74501">
                  <c:v>24.87872426452417</c:v>
                </c:pt>
                <c:pt idx="74502">
                  <c:v>25.591236266691368</c:v>
                </c:pt>
                <c:pt idx="74503">
                  <c:v>27.842009499154521</c:v>
                </c:pt>
                <c:pt idx="74504">
                  <c:v>28.450387631039618</c:v>
                </c:pt>
                <c:pt idx="74505">
                  <c:v>44.922838581685006</c:v>
                </c:pt>
                <c:pt idx="74506">
                  <c:v>46.050717480498072</c:v>
                </c:pt>
                <c:pt idx="74507">
                  <c:v>37.944446880541953</c:v>
                </c:pt>
                <c:pt idx="74508">
                  <c:v>25.35492566917636</c:v>
                </c:pt>
                <c:pt idx="74509">
                  <c:v>25.060224098306644</c:v>
                </c:pt>
                <c:pt idx="74510">
                  <c:v>28.853153903544545</c:v>
                </c:pt>
                <c:pt idx="74511">
                  <c:v>21.940419281069445</c:v>
                </c:pt>
                <c:pt idx="74512">
                  <c:v>21.194066120335368</c:v>
                </c:pt>
                <c:pt idx="74513">
                  <c:v>33.573268415489409</c:v>
                </c:pt>
                <c:pt idx="74514">
                  <c:v>32.069305614820742</c:v>
                </c:pt>
                <c:pt idx="74515">
                  <c:v>30.435573216599174</c:v>
                </c:pt>
                <c:pt idx="74516">
                  <c:v>23.855370050672889</c:v>
                </c:pt>
                <c:pt idx="74517">
                  <c:v>46.281462453441364</c:v>
                </c:pt>
                <c:pt idx="74518">
                  <c:v>27.192339499381106</c:v>
                </c:pt>
                <c:pt idx="74519">
                  <c:v>32.310782544244113</c:v>
                </c:pt>
                <c:pt idx="74520">
                  <c:v>26.632057312873307</c:v>
                </c:pt>
                <c:pt idx="74521">
                  <c:v>47.467372413733912</c:v>
                </c:pt>
                <c:pt idx="74522">
                  <c:v>25.41704125666142</c:v>
                </c:pt>
                <c:pt idx="74523">
                  <c:v>30.112652524376475</c:v>
                </c:pt>
                <c:pt idx="74524">
                  <c:v>29.049094375323335</c:v>
                </c:pt>
                <c:pt idx="74525">
                  <c:v>31.276449257987956</c:v>
                </c:pt>
                <c:pt idx="74526">
                  <c:v>25.585072548958451</c:v>
                </c:pt>
                <c:pt idx="74527">
                  <c:v>43.332638245551522</c:v>
                </c:pt>
                <c:pt idx="74528">
                  <c:v>56.301509690833072</c:v>
                </c:pt>
                <c:pt idx="74529">
                  <c:v>44.002753993904136</c:v>
                </c:pt>
                <c:pt idx="74530">
                  <c:v>30.051018091762913</c:v>
                </c:pt>
                <c:pt idx="74531">
                  <c:v>22.226747217500879</c:v>
                </c:pt>
                <c:pt idx="74532">
                  <c:v>26.609107994176256</c:v>
                </c:pt>
                <c:pt idx="74533">
                  <c:v>22.40320232224968</c:v>
                </c:pt>
                <c:pt idx="74534">
                  <c:v>31.703094555593204</c:v>
                </c:pt>
                <c:pt idx="74535">
                  <c:v>29.665936439759314</c:v>
                </c:pt>
                <c:pt idx="74536">
                  <c:v>28.03786280362845</c:v>
                </c:pt>
                <c:pt idx="74537">
                  <c:v>45.766980286578409</c:v>
                </c:pt>
                <c:pt idx="74538">
                  <c:v>23.69511235086425</c:v>
                </c:pt>
                <c:pt idx="74539">
                  <c:v>27.510449856964328</c:v>
                </c:pt>
                <c:pt idx="74540">
                  <c:v>50.736954549376648</c:v>
                </c:pt>
                <c:pt idx="74541">
                  <c:v>22.765048730110184</c:v>
                </c:pt>
                <c:pt idx="74542">
                  <c:v>29.447396667818509</c:v>
                </c:pt>
                <c:pt idx="74543">
                  <c:v>20.845132698041063</c:v>
                </c:pt>
                <c:pt idx="74544">
                  <c:v>44.214928170284729</c:v>
                </c:pt>
                <c:pt idx="74545">
                  <c:v>28.240759025201118</c:v>
                </c:pt>
                <c:pt idx="74546">
                  <c:v>32.913605033556934</c:v>
                </c:pt>
                <c:pt idx="74547">
                  <c:v>27.952111261529453</c:v>
                </c:pt>
                <c:pt idx="74548">
                  <c:v>23.561642548451513</c:v>
                </c:pt>
                <c:pt idx="74549">
                  <c:v>58.795858013661181</c:v>
                </c:pt>
                <c:pt idx="74550">
                  <c:v>25.525888923659124</c:v>
                </c:pt>
                <c:pt idx="74551">
                  <c:v>48.48128379047877</c:v>
                </c:pt>
                <c:pt idx="74552">
                  <c:v>31.631996247043034</c:v>
                </c:pt>
                <c:pt idx="74553">
                  <c:v>36.001929686902386</c:v>
                </c:pt>
                <c:pt idx="74554">
                  <c:v>35.309755809214998</c:v>
                </c:pt>
                <c:pt idx="74555">
                  <c:v>34.328452660979224</c:v>
                </c:pt>
                <c:pt idx="74556">
                  <c:v>28.477449433483258</c:v>
                </c:pt>
                <c:pt idx="74557">
                  <c:v>24.080754409746412</c:v>
                </c:pt>
                <c:pt idx="74558">
                  <c:v>62.564999202034123</c:v>
                </c:pt>
                <c:pt idx="74559">
                  <c:v>22.304777729326311</c:v>
                </c:pt>
                <c:pt idx="74560">
                  <c:v>29.427100762280816</c:v>
                </c:pt>
                <c:pt idx="74561">
                  <c:v>40.636144885518341</c:v>
                </c:pt>
                <c:pt idx="74562">
                  <c:v>29.3719753174015</c:v>
                </c:pt>
                <c:pt idx="74563">
                  <c:v>32.363705184072501</c:v>
                </c:pt>
                <c:pt idx="74564">
                  <c:v>25.671789801828794</c:v>
                </c:pt>
                <c:pt idx="74565">
                  <c:v>48.112959257648271</c:v>
                </c:pt>
                <c:pt idx="74566">
                  <c:v>22.731345552457327</c:v>
                </c:pt>
                <c:pt idx="74567">
                  <c:v>31.537543813479168</c:v>
                </c:pt>
                <c:pt idx="74568">
                  <c:v>24.937155724939331</c:v>
                </c:pt>
                <c:pt idx="74569">
                  <c:v>25.828808281929057</c:v>
                </c:pt>
                <c:pt idx="74570">
                  <c:v>24.196941135323911</c:v>
                </c:pt>
                <c:pt idx="74571">
                  <c:v>25.637170007277689</c:v>
                </c:pt>
                <c:pt idx="74572">
                  <c:v>31.180994526377717</c:v>
                </c:pt>
                <c:pt idx="74573">
                  <c:v>28.574705806304792</c:v>
                </c:pt>
                <c:pt idx="74574">
                  <c:v>28.518457539286679</c:v>
                </c:pt>
                <c:pt idx="74575">
                  <c:v>30.483307152249701</c:v>
                </c:pt>
                <c:pt idx="74576">
                  <c:v>27.845802404580095</c:v>
                </c:pt>
                <c:pt idx="74577">
                  <c:v>20.468751938839326</c:v>
                </c:pt>
                <c:pt idx="74578">
                  <c:v>44.297124826974127</c:v>
                </c:pt>
                <c:pt idx="74579">
                  <c:v>22.460255355281795</c:v>
                </c:pt>
                <c:pt idx="74580">
                  <c:v>46.93327450881128</c:v>
                </c:pt>
                <c:pt idx="74581">
                  <c:v>21.120965912787742</c:v>
                </c:pt>
                <c:pt idx="74582">
                  <c:v>24.96701789767986</c:v>
                </c:pt>
                <c:pt idx="74583">
                  <c:v>43.76269501335279</c:v>
                </c:pt>
                <c:pt idx="74584">
                  <c:v>30.303803701440906</c:v>
                </c:pt>
                <c:pt idx="74585">
                  <c:v>23.82288073376974</c:v>
                </c:pt>
                <c:pt idx="74586">
                  <c:v>22.202196235536103</c:v>
                </c:pt>
                <c:pt idx="74587">
                  <c:v>31.058600361884832</c:v>
                </c:pt>
                <c:pt idx="74588">
                  <c:v>24.318130003985537</c:v>
                </c:pt>
                <c:pt idx="74589">
                  <c:v>42.102331517614736</c:v>
                </c:pt>
                <c:pt idx="74590">
                  <c:v>38.207895562721198</c:v>
                </c:pt>
                <c:pt idx="74591">
                  <c:v>52.637279389056062</c:v>
                </c:pt>
                <c:pt idx="74592">
                  <c:v>21.039856987317059</c:v>
                </c:pt>
                <c:pt idx="74593">
                  <c:v>37.970992518199523</c:v>
                </c:pt>
                <c:pt idx="74594">
                  <c:v>27.664970591361211</c:v>
                </c:pt>
                <c:pt idx="74595">
                  <c:v>34.307343400719155</c:v>
                </c:pt>
                <c:pt idx="74596">
                  <c:v>42.57573347345722</c:v>
                </c:pt>
                <c:pt idx="74597">
                  <c:v>28.94138828676008</c:v>
                </c:pt>
                <c:pt idx="74598">
                  <c:v>45.53216080759114</c:v>
                </c:pt>
                <c:pt idx="74599">
                  <c:v>16.728918298446672</c:v>
                </c:pt>
                <c:pt idx="74600">
                  <c:v>30.092949879072243</c:v>
                </c:pt>
                <c:pt idx="74601">
                  <c:v>22.716603025626036</c:v>
                </c:pt>
                <c:pt idx="74602">
                  <c:v>33.982482777072534</c:v>
                </c:pt>
                <c:pt idx="74603">
                  <c:v>48.688649937515315</c:v>
                </c:pt>
                <c:pt idx="74604">
                  <c:v>39.409784564955892</c:v>
                </c:pt>
                <c:pt idx="74605">
                  <c:v>33.748372961453171</c:v>
                </c:pt>
                <c:pt idx="74606">
                  <c:v>27.713835412138355</c:v>
                </c:pt>
                <c:pt idx="74607">
                  <c:v>50.641514837635931</c:v>
                </c:pt>
                <c:pt idx="74608">
                  <c:v>22.185695648609872</c:v>
                </c:pt>
                <c:pt idx="74609">
                  <c:v>45.420889052675776</c:v>
                </c:pt>
                <c:pt idx="74610">
                  <c:v>38.881845885131753</c:v>
                </c:pt>
                <c:pt idx="74611">
                  <c:v>30.683319531592357</c:v>
                </c:pt>
                <c:pt idx="74612">
                  <c:v>25.699680726088545</c:v>
                </c:pt>
                <c:pt idx="74613">
                  <c:v>25.768654410609674</c:v>
                </c:pt>
                <c:pt idx="74614">
                  <c:v>25.212604683361228</c:v>
                </c:pt>
                <c:pt idx="74615">
                  <c:v>33.584326871541123</c:v>
                </c:pt>
                <c:pt idx="74616">
                  <c:v>35.817489705704745</c:v>
                </c:pt>
                <c:pt idx="74617">
                  <c:v>56.661701299238324</c:v>
                </c:pt>
                <c:pt idx="74618">
                  <c:v>22.924917908189101</c:v>
                </c:pt>
                <c:pt idx="74619">
                  <c:v>25.681119344285648</c:v>
                </c:pt>
                <c:pt idx="74620">
                  <c:v>22.810833644163768</c:v>
                </c:pt>
                <c:pt idx="74621">
                  <c:v>29.907802943190852</c:v>
                </c:pt>
                <c:pt idx="74622">
                  <c:v>27.902955260358183</c:v>
                </c:pt>
                <c:pt idx="74623">
                  <c:v>30.279768850137124</c:v>
                </c:pt>
                <c:pt idx="74624">
                  <c:v>32.884922365396449</c:v>
                </c:pt>
                <c:pt idx="74625">
                  <c:v>25.147448715520781</c:v>
                </c:pt>
                <c:pt idx="74626">
                  <c:v>24.222135264566642</c:v>
                </c:pt>
                <c:pt idx="74627">
                  <c:v>19.448968864790839</c:v>
                </c:pt>
                <c:pt idx="74628">
                  <c:v>37.138024069020361</c:v>
                </c:pt>
                <c:pt idx="74629">
                  <c:v>22.169714033031667</c:v>
                </c:pt>
                <c:pt idx="74630">
                  <c:v>26.894874600570123</c:v>
                </c:pt>
                <c:pt idx="74631">
                  <c:v>19.743687586681588</c:v>
                </c:pt>
                <c:pt idx="74632">
                  <c:v>21.249945619144953</c:v>
                </c:pt>
                <c:pt idx="74633">
                  <c:v>27.615978725924624</c:v>
                </c:pt>
                <c:pt idx="74634">
                  <c:v>25.580888471721352</c:v>
                </c:pt>
                <c:pt idx="74635">
                  <c:v>29.782462457143239</c:v>
                </c:pt>
                <c:pt idx="74636">
                  <c:v>26.11752919661383</c:v>
                </c:pt>
                <c:pt idx="74637">
                  <c:v>29.156379020403335</c:v>
                </c:pt>
                <c:pt idx="74638">
                  <c:v>27.71414190106497</c:v>
                </c:pt>
                <c:pt idx="74639">
                  <c:v>21.058967665062958</c:v>
                </c:pt>
                <c:pt idx="74640">
                  <c:v>26.5556186806859</c:v>
                </c:pt>
                <c:pt idx="74641">
                  <c:v>29.959511423723463</c:v>
                </c:pt>
                <c:pt idx="74642">
                  <c:v>27.821072036496872</c:v>
                </c:pt>
                <c:pt idx="74643">
                  <c:v>18.539105732510851</c:v>
                </c:pt>
                <c:pt idx="74644">
                  <c:v>25.998483219577388</c:v>
                </c:pt>
                <c:pt idx="74645">
                  <c:v>21.911754261310897</c:v>
                </c:pt>
                <c:pt idx="74646">
                  <c:v>24.660219187456935</c:v>
                </c:pt>
                <c:pt idx="74647">
                  <c:v>34.690352816503768</c:v>
                </c:pt>
                <c:pt idx="74648">
                  <c:v>26.995724427822026</c:v>
                </c:pt>
                <c:pt idx="74649">
                  <c:v>29.789809757908287</c:v>
                </c:pt>
                <c:pt idx="74650">
                  <c:v>55.382831339423696</c:v>
                </c:pt>
                <c:pt idx="74651">
                  <c:v>41.226579218343232</c:v>
                </c:pt>
                <c:pt idx="74652">
                  <c:v>29.308479406808527</c:v>
                </c:pt>
                <c:pt idx="74653">
                  <c:v>32.147460667312899</c:v>
                </c:pt>
                <c:pt idx="74654">
                  <c:v>34.073742775715708</c:v>
                </c:pt>
                <c:pt idx="74655">
                  <c:v>34.156291203458899</c:v>
                </c:pt>
                <c:pt idx="74656">
                  <c:v>35.814010712555756</c:v>
                </c:pt>
                <c:pt idx="74657">
                  <c:v>29.964040515205994</c:v>
                </c:pt>
                <c:pt idx="74658">
                  <c:v>42.955158197882838</c:v>
                </c:pt>
                <c:pt idx="74659">
                  <c:v>45.996321677412105</c:v>
                </c:pt>
                <c:pt idx="74660">
                  <c:v>47.708419977553142</c:v>
                </c:pt>
                <c:pt idx="74661">
                  <c:v>44.891049376506146</c:v>
                </c:pt>
                <c:pt idx="74662">
                  <c:v>24.155833705140385</c:v>
                </c:pt>
                <c:pt idx="74663">
                  <c:v>24.109223812758824</c:v>
                </c:pt>
                <c:pt idx="74664">
                  <c:v>49.344379870406655</c:v>
                </c:pt>
                <c:pt idx="74665">
                  <c:v>22.623366560821502</c:v>
                </c:pt>
                <c:pt idx="74666">
                  <c:v>33.99441918908532</c:v>
                </c:pt>
                <c:pt idx="74667">
                  <c:v>32.997595005413125</c:v>
                </c:pt>
                <c:pt idx="74668">
                  <c:v>25.549464210118476</c:v>
                </c:pt>
                <c:pt idx="74669">
                  <c:v>20.238616971089989</c:v>
                </c:pt>
                <c:pt idx="74670">
                  <c:v>33.541111319725232</c:v>
                </c:pt>
                <c:pt idx="74671">
                  <c:v>25.475671291212024</c:v>
                </c:pt>
                <c:pt idx="74672">
                  <c:v>20.189176620510608</c:v>
                </c:pt>
                <c:pt idx="74673">
                  <c:v>42.102179092740357</c:v>
                </c:pt>
                <c:pt idx="74674">
                  <c:v>25.243259946844308</c:v>
                </c:pt>
                <c:pt idx="74675">
                  <c:v>44.104394796674136</c:v>
                </c:pt>
                <c:pt idx="74676">
                  <c:v>28.903939623988329</c:v>
                </c:pt>
                <c:pt idx="74677">
                  <c:v>29.187699467009011</c:v>
                </c:pt>
                <c:pt idx="74678">
                  <c:v>26.020352217571123</c:v>
                </c:pt>
                <c:pt idx="74679">
                  <c:v>21.336521191887314</c:v>
                </c:pt>
                <c:pt idx="74680">
                  <c:v>37.916928047271725</c:v>
                </c:pt>
                <c:pt idx="74681">
                  <c:v>36.288088165788572</c:v>
                </c:pt>
                <c:pt idx="74682">
                  <c:v>30.438617058694213</c:v>
                </c:pt>
                <c:pt idx="74683">
                  <c:v>28.973546484400448</c:v>
                </c:pt>
                <c:pt idx="74684">
                  <c:v>23.67603218510439</c:v>
                </c:pt>
                <c:pt idx="74685">
                  <c:v>28.641579467594489</c:v>
                </c:pt>
                <c:pt idx="74686">
                  <c:v>26.100647889019633</c:v>
                </c:pt>
                <c:pt idx="74687">
                  <c:v>24.605273621739336</c:v>
                </c:pt>
                <c:pt idx="74688">
                  <c:v>29.694784859236535</c:v>
                </c:pt>
                <c:pt idx="74689">
                  <c:v>22.509495765880256</c:v>
                </c:pt>
                <c:pt idx="74690">
                  <c:v>39.957836624535652</c:v>
                </c:pt>
                <c:pt idx="74691">
                  <c:v>18.263574207842304</c:v>
                </c:pt>
                <c:pt idx="74692">
                  <c:v>19.763926419547438</c:v>
                </c:pt>
                <c:pt idx="74693">
                  <c:v>24.241123682055424</c:v>
                </c:pt>
                <c:pt idx="74694">
                  <c:v>26.600176369646046</c:v>
                </c:pt>
                <c:pt idx="74695">
                  <c:v>32.421968514777433</c:v>
                </c:pt>
                <c:pt idx="74696">
                  <c:v>32.06285458346909</c:v>
                </c:pt>
                <c:pt idx="74697">
                  <c:v>28.611666257917648</c:v>
                </c:pt>
                <c:pt idx="74698">
                  <c:v>23.849426276845701</c:v>
                </c:pt>
                <c:pt idx="74699">
                  <c:v>24.706393509387041</c:v>
                </c:pt>
                <c:pt idx="74700">
                  <c:v>42.328938694988743</c:v>
                </c:pt>
                <c:pt idx="74701">
                  <c:v>29.58417115933397</c:v>
                </c:pt>
                <c:pt idx="74702">
                  <c:v>42.289967253842661</c:v>
                </c:pt>
                <c:pt idx="74703">
                  <c:v>30.437832072263795</c:v>
                </c:pt>
                <c:pt idx="74704">
                  <c:v>28.211353502239646</c:v>
                </c:pt>
                <c:pt idx="74705">
                  <c:v>37.938838497278624</c:v>
                </c:pt>
                <c:pt idx="74706">
                  <c:v>23.386146751630907</c:v>
                </c:pt>
                <c:pt idx="74707">
                  <c:v>23.610589820161742</c:v>
                </c:pt>
                <c:pt idx="74708">
                  <c:v>27.998053684729236</c:v>
                </c:pt>
                <c:pt idx="74709">
                  <c:v>41.200348162197002</c:v>
                </c:pt>
                <c:pt idx="74710">
                  <c:v>34.193806872336182</c:v>
                </c:pt>
                <c:pt idx="74711">
                  <c:v>23.475151897237218</c:v>
                </c:pt>
                <c:pt idx="74712">
                  <c:v>28.511190324763017</c:v>
                </c:pt>
                <c:pt idx="74713">
                  <c:v>18.926921297728654</c:v>
                </c:pt>
                <c:pt idx="74714">
                  <c:v>55.026838523172728</c:v>
                </c:pt>
                <c:pt idx="74715">
                  <c:v>24.686966329593965</c:v>
                </c:pt>
                <c:pt idx="74716">
                  <c:v>25.654246094403216</c:v>
                </c:pt>
                <c:pt idx="74717">
                  <c:v>29.635853417743704</c:v>
                </c:pt>
                <c:pt idx="74718">
                  <c:v>40.214558209751075</c:v>
                </c:pt>
                <c:pt idx="74719">
                  <c:v>27.145988197513983</c:v>
                </c:pt>
                <c:pt idx="74720">
                  <c:v>52.987610627799995</c:v>
                </c:pt>
                <c:pt idx="74721">
                  <c:v>49.472976041710751</c:v>
                </c:pt>
                <c:pt idx="74722">
                  <c:v>52.757145297024138</c:v>
                </c:pt>
                <c:pt idx="74723">
                  <c:v>46.463909545755001</c:v>
                </c:pt>
                <c:pt idx="74724">
                  <c:v>27.187568429278812</c:v>
                </c:pt>
                <c:pt idx="74725">
                  <c:v>33.058112850237322</c:v>
                </c:pt>
                <c:pt idx="74726">
                  <c:v>24.467001994849703</c:v>
                </c:pt>
                <c:pt idx="74727">
                  <c:v>26.683105175896443</c:v>
                </c:pt>
                <c:pt idx="74728">
                  <c:v>34.768315707740314</c:v>
                </c:pt>
                <c:pt idx="74729">
                  <c:v>18.452590132873933</c:v>
                </c:pt>
                <c:pt idx="74730">
                  <c:v>40.773298079604665</c:v>
                </c:pt>
                <c:pt idx="74731">
                  <c:v>50.213260665430788</c:v>
                </c:pt>
                <c:pt idx="74732">
                  <c:v>24.246231726253939</c:v>
                </c:pt>
                <c:pt idx="74733">
                  <c:v>29.107716488017893</c:v>
                </c:pt>
                <c:pt idx="74734">
                  <c:v>33.671628234718355</c:v>
                </c:pt>
                <c:pt idx="74735">
                  <c:v>39.885641943367418</c:v>
                </c:pt>
                <c:pt idx="74736">
                  <c:v>33.005510974613095</c:v>
                </c:pt>
                <c:pt idx="74737">
                  <c:v>29.880945414897511</c:v>
                </c:pt>
                <c:pt idx="74738">
                  <c:v>45.984852194945489</c:v>
                </c:pt>
                <c:pt idx="74739">
                  <c:v>32.720853448558529</c:v>
                </c:pt>
                <c:pt idx="74740">
                  <c:v>34.484452672376044</c:v>
                </c:pt>
                <c:pt idx="74741">
                  <c:v>16.503373974070801</c:v>
                </c:pt>
                <c:pt idx="74742">
                  <c:v>42.629267165556016</c:v>
                </c:pt>
                <c:pt idx="74743">
                  <c:v>24.78213105215179</c:v>
                </c:pt>
                <c:pt idx="74744">
                  <c:v>37.982327016339717</c:v>
                </c:pt>
                <c:pt idx="74745">
                  <c:v>21.131081283069051</c:v>
                </c:pt>
                <c:pt idx="74746">
                  <c:v>32.740207041958314</c:v>
                </c:pt>
                <c:pt idx="74747">
                  <c:v>19.068150066383872</c:v>
                </c:pt>
                <c:pt idx="74748">
                  <c:v>24.293472638756853</c:v>
                </c:pt>
                <c:pt idx="74749">
                  <c:v>39.159736411772478</c:v>
                </c:pt>
                <c:pt idx="74750">
                  <c:v>33.953252752027623</c:v>
                </c:pt>
                <c:pt idx="74751">
                  <c:v>34.585886299259457</c:v>
                </c:pt>
                <c:pt idx="74752">
                  <c:v>25.091821887409736</c:v>
                </c:pt>
                <c:pt idx="74753">
                  <c:v>24.566546790108717</c:v>
                </c:pt>
                <c:pt idx="74754">
                  <c:v>19.962332273884339</c:v>
                </c:pt>
                <c:pt idx="74755">
                  <c:v>23.281457434096868</c:v>
                </c:pt>
                <c:pt idx="74756">
                  <c:v>27.097242316600525</c:v>
                </c:pt>
                <c:pt idx="74757">
                  <c:v>25.365209223062976</c:v>
                </c:pt>
                <c:pt idx="74758">
                  <c:v>41.168552758185051</c:v>
                </c:pt>
                <c:pt idx="74759">
                  <c:v>48.489292954692431</c:v>
                </c:pt>
                <c:pt idx="74760">
                  <c:v>21.631248825933039</c:v>
                </c:pt>
                <c:pt idx="74761">
                  <c:v>28.120717012333479</c:v>
                </c:pt>
                <c:pt idx="74762">
                  <c:v>27.765976019636941</c:v>
                </c:pt>
                <c:pt idx="74763">
                  <c:v>26.711877024424901</c:v>
                </c:pt>
                <c:pt idx="74764">
                  <c:v>60.042691176889157</c:v>
                </c:pt>
                <c:pt idx="74765">
                  <c:v>20.88575022663391</c:v>
                </c:pt>
                <c:pt idx="74766">
                  <c:v>32.364748645224893</c:v>
                </c:pt>
                <c:pt idx="74767">
                  <c:v>54.10018152050241</c:v>
                </c:pt>
                <c:pt idx="74768">
                  <c:v>18.751595428229539</c:v>
                </c:pt>
                <c:pt idx="74769">
                  <c:v>27.675048789483235</c:v>
                </c:pt>
                <c:pt idx="74770">
                  <c:v>31.000502187395682</c:v>
                </c:pt>
                <c:pt idx="74771">
                  <c:v>26.946646028971685</c:v>
                </c:pt>
                <c:pt idx="74772">
                  <c:v>33.130421924106862</c:v>
                </c:pt>
                <c:pt idx="74773">
                  <c:v>43.868709110264923</c:v>
                </c:pt>
                <c:pt idx="74774">
                  <c:v>28.481335176971406</c:v>
                </c:pt>
                <c:pt idx="74775">
                  <c:v>26.195125486777684</c:v>
                </c:pt>
                <c:pt idx="74776">
                  <c:v>27.434718493414152</c:v>
                </c:pt>
                <c:pt idx="74777">
                  <c:v>28.210179334012349</c:v>
                </c:pt>
                <c:pt idx="74778">
                  <c:v>33.121920210115547</c:v>
                </c:pt>
                <c:pt idx="74779">
                  <c:v>57.610593203243596</c:v>
                </c:pt>
                <c:pt idx="74780">
                  <c:v>25.441518293964904</c:v>
                </c:pt>
                <c:pt idx="74781">
                  <c:v>37.349341383377464</c:v>
                </c:pt>
                <c:pt idx="74782">
                  <c:v>24.149891988882505</c:v>
                </c:pt>
                <c:pt idx="74783">
                  <c:v>22.616698033517352</c:v>
                </c:pt>
                <c:pt idx="74784">
                  <c:v>47.522003394497197</c:v>
                </c:pt>
                <c:pt idx="74785">
                  <c:v>24.015011535040134</c:v>
                </c:pt>
                <c:pt idx="74786">
                  <c:v>20.826597296236422</c:v>
                </c:pt>
                <c:pt idx="74787">
                  <c:v>23.769511116699448</c:v>
                </c:pt>
                <c:pt idx="74788">
                  <c:v>25.962079861093322</c:v>
                </c:pt>
                <c:pt idx="74789">
                  <c:v>30.130982862933703</c:v>
                </c:pt>
                <c:pt idx="74790">
                  <c:v>39.091983609415053</c:v>
                </c:pt>
                <c:pt idx="74791">
                  <c:v>32.424992277079149</c:v>
                </c:pt>
                <c:pt idx="74792">
                  <c:v>27.735130600828704</c:v>
                </c:pt>
                <c:pt idx="74793">
                  <c:v>52.13777205571273</c:v>
                </c:pt>
                <c:pt idx="74794">
                  <c:v>53.165198262660276</c:v>
                </c:pt>
                <c:pt idx="74795">
                  <c:v>32.315344191115749</c:v>
                </c:pt>
                <c:pt idx="74796">
                  <c:v>23.591807630513902</c:v>
                </c:pt>
                <c:pt idx="74797">
                  <c:v>34.352683299878713</c:v>
                </c:pt>
                <c:pt idx="74798">
                  <c:v>44.818101456450435</c:v>
                </c:pt>
                <c:pt idx="74799">
                  <c:v>22.062056900868861</c:v>
                </c:pt>
                <c:pt idx="74800">
                  <c:v>47.180309479083562</c:v>
                </c:pt>
                <c:pt idx="74801">
                  <c:v>24.409801254937847</c:v>
                </c:pt>
                <c:pt idx="74802">
                  <c:v>22.04606107697311</c:v>
                </c:pt>
                <c:pt idx="74803">
                  <c:v>25.882732742137211</c:v>
                </c:pt>
                <c:pt idx="74804">
                  <c:v>33.633133737119884</c:v>
                </c:pt>
                <c:pt idx="74805">
                  <c:v>26.277374910610686</c:v>
                </c:pt>
                <c:pt idx="74806">
                  <c:v>33.706575624279537</c:v>
                </c:pt>
                <c:pt idx="74807">
                  <c:v>63.76717158070408</c:v>
                </c:pt>
                <c:pt idx="74808">
                  <c:v>44.543878388853138</c:v>
                </c:pt>
                <c:pt idx="74809">
                  <c:v>39.488919710054518</c:v>
                </c:pt>
                <c:pt idx="74810">
                  <c:v>25.309981380009425</c:v>
                </c:pt>
                <c:pt idx="74811">
                  <c:v>50.635063624243244</c:v>
                </c:pt>
                <c:pt idx="74812">
                  <c:v>39.361642245376075</c:v>
                </c:pt>
                <c:pt idx="74813">
                  <c:v>24.814918715286087</c:v>
                </c:pt>
                <c:pt idx="74814">
                  <c:v>49.116349057748479</c:v>
                </c:pt>
                <c:pt idx="74815">
                  <c:v>25.215284772410751</c:v>
                </c:pt>
                <c:pt idx="74816">
                  <c:v>24.763624206259948</c:v>
                </c:pt>
                <c:pt idx="74817">
                  <c:v>36.299411015906315</c:v>
                </c:pt>
                <c:pt idx="74818">
                  <c:v>43.398658147531421</c:v>
                </c:pt>
                <c:pt idx="74819">
                  <c:v>26.225931182170562</c:v>
                </c:pt>
                <c:pt idx="74820">
                  <c:v>54.520442979644983</c:v>
                </c:pt>
                <c:pt idx="74821">
                  <c:v>23.109076785915992</c:v>
                </c:pt>
                <c:pt idx="74822">
                  <c:v>52.252179724794502</c:v>
                </c:pt>
                <c:pt idx="74823">
                  <c:v>32.953787983584533</c:v>
                </c:pt>
                <c:pt idx="74824">
                  <c:v>21.455551702802154</c:v>
                </c:pt>
                <c:pt idx="74825">
                  <c:v>25.743371949447052</c:v>
                </c:pt>
                <c:pt idx="74826">
                  <c:v>27.04539582664119</c:v>
                </c:pt>
                <c:pt idx="74827">
                  <c:v>55.269012473967443</c:v>
                </c:pt>
                <c:pt idx="74828">
                  <c:v>30.167804719091688</c:v>
                </c:pt>
                <c:pt idx="74829">
                  <c:v>25.675879468526087</c:v>
                </c:pt>
                <c:pt idx="74830">
                  <c:v>28.963995699587404</c:v>
                </c:pt>
                <c:pt idx="74831">
                  <c:v>37.400330892265224</c:v>
                </c:pt>
                <c:pt idx="74832">
                  <c:v>30.585121868572219</c:v>
                </c:pt>
                <c:pt idx="74833">
                  <c:v>43.100601480948342</c:v>
                </c:pt>
                <c:pt idx="74834">
                  <c:v>52.615832743092078</c:v>
                </c:pt>
                <c:pt idx="74835">
                  <c:v>43.546510116746667</c:v>
                </c:pt>
                <c:pt idx="74836">
                  <c:v>47.040284382258889</c:v>
                </c:pt>
                <c:pt idx="74837">
                  <c:v>25.027388096446373</c:v>
                </c:pt>
                <c:pt idx="74838">
                  <c:v>22.275255162106003</c:v>
                </c:pt>
                <c:pt idx="74839">
                  <c:v>45.76271942948528</c:v>
                </c:pt>
                <c:pt idx="74840">
                  <c:v>36.433020679326525</c:v>
                </c:pt>
                <c:pt idx="74841">
                  <c:v>26.880253625440481</c:v>
                </c:pt>
                <c:pt idx="74842">
                  <c:v>18.965273157880752</c:v>
                </c:pt>
                <c:pt idx="74843">
                  <c:v>23.672445461037597</c:v>
                </c:pt>
                <c:pt idx="74844">
                  <c:v>33.837407987446284</c:v>
                </c:pt>
                <c:pt idx="74845">
                  <c:v>30.244555612835587</c:v>
                </c:pt>
                <c:pt idx="74846">
                  <c:v>22.587664369237181</c:v>
                </c:pt>
                <c:pt idx="74847">
                  <c:v>49.523002609341475</c:v>
                </c:pt>
                <c:pt idx="74848">
                  <c:v>45.81380714362583</c:v>
                </c:pt>
                <c:pt idx="74849">
                  <c:v>50.686984671528961</c:v>
                </c:pt>
                <c:pt idx="74850">
                  <c:v>47.703665455036656</c:v>
                </c:pt>
                <c:pt idx="74851">
                  <c:v>24.768253992691715</c:v>
                </c:pt>
                <c:pt idx="74852">
                  <c:v>29.216403069017062</c:v>
                </c:pt>
                <c:pt idx="74853">
                  <c:v>20.360535135562195</c:v>
                </c:pt>
                <c:pt idx="74854">
                  <c:v>54.911669581960133</c:v>
                </c:pt>
                <c:pt idx="74855">
                  <c:v>30.668260477135142</c:v>
                </c:pt>
                <c:pt idx="74856">
                  <c:v>16.520533137277553</c:v>
                </c:pt>
                <c:pt idx="74857">
                  <c:v>26.37075102073079</c:v>
                </c:pt>
                <c:pt idx="74858">
                  <c:v>22.571056081537701</c:v>
                </c:pt>
                <c:pt idx="74859">
                  <c:v>18.271190644413981</c:v>
                </c:pt>
                <c:pt idx="74860">
                  <c:v>31.97976510062805</c:v>
                </c:pt>
                <c:pt idx="74861">
                  <c:v>32.210359242750968</c:v>
                </c:pt>
                <c:pt idx="74862">
                  <c:v>39.116308637352446</c:v>
                </c:pt>
                <c:pt idx="74863">
                  <c:v>31.866207797244066</c:v>
                </c:pt>
                <c:pt idx="74864">
                  <c:v>35.518296758284791</c:v>
                </c:pt>
                <c:pt idx="74865">
                  <c:v>29.707975405383053</c:v>
                </c:pt>
                <c:pt idx="74866">
                  <c:v>36.140713192847571</c:v>
                </c:pt>
                <c:pt idx="74867">
                  <c:v>19.444495104905361</c:v>
                </c:pt>
                <c:pt idx="74868">
                  <c:v>27.74861465565888</c:v>
                </c:pt>
                <c:pt idx="74869">
                  <c:v>24.264148727839391</c:v>
                </c:pt>
                <c:pt idx="74870">
                  <c:v>27.132348357332695</c:v>
                </c:pt>
                <c:pt idx="74871">
                  <c:v>26.162242993179841</c:v>
                </c:pt>
                <c:pt idx="74872">
                  <c:v>23.869023113503275</c:v>
                </c:pt>
                <c:pt idx="74873">
                  <c:v>22.462031131828837</c:v>
                </c:pt>
                <c:pt idx="74874">
                  <c:v>54.863982726501703</c:v>
                </c:pt>
                <c:pt idx="74875">
                  <c:v>29.843402545570008</c:v>
                </c:pt>
                <c:pt idx="74876">
                  <c:v>23.335271629347446</c:v>
                </c:pt>
                <c:pt idx="74877">
                  <c:v>43.336312822112205</c:v>
                </c:pt>
                <c:pt idx="74878">
                  <c:v>45.293385003136521</c:v>
                </c:pt>
                <c:pt idx="74879">
                  <c:v>41.322065980903872</c:v>
                </c:pt>
                <c:pt idx="74880">
                  <c:v>25.051549083787915</c:v>
                </c:pt>
                <c:pt idx="74881">
                  <c:v>31.681874156696178</c:v>
                </c:pt>
                <c:pt idx="74882">
                  <c:v>28.890118610264459</c:v>
                </c:pt>
                <c:pt idx="74883">
                  <c:v>24.329224588217006</c:v>
                </c:pt>
                <c:pt idx="74884">
                  <c:v>25.924789567996662</c:v>
                </c:pt>
                <c:pt idx="74885">
                  <c:v>26.251744156155169</c:v>
                </c:pt>
                <c:pt idx="74886">
                  <c:v>23.104927744355646</c:v>
                </c:pt>
                <c:pt idx="74887">
                  <c:v>28.519006768696705</c:v>
                </c:pt>
                <c:pt idx="74888">
                  <c:v>22.814387237315557</c:v>
                </c:pt>
                <c:pt idx="74889">
                  <c:v>30.061871733808971</c:v>
                </c:pt>
                <c:pt idx="74890">
                  <c:v>28.167701105586694</c:v>
                </c:pt>
                <c:pt idx="74891">
                  <c:v>24.534272126407551</c:v>
                </c:pt>
                <c:pt idx="74892">
                  <c:v>19.125303676367007</c:v>
                </c:pt>
                <c:pt idx="74893">
                  <c:v>25.281757999217191</c:v>
                </c:pt>
                <c:pt idx="74894">
                  <c:v>52.084401787660362</c:v>
                </c:pt>
                <c:pt idx="74895">
                  <c:v>35.054022375614508</c:v>
                </c:pt>
                <c:pt idx="74896">
                  <c:v>14.833493159755879</c:v>
                </c:pt>
                <c:pt idx="74897">
                  <c:v>33.924055815927474</c:v>
                </c:pt>
                <c:pt idx="74898">
                  <c:v>34.647252057624591</c:v>
                </c:pt>
                <c:pt idx="74899">
                  <c:v>25.943771742782761</c:v>
                </c:pt>
                <c:pt idx="74900">
                  <c:v>44.169155667994929</c:v>
                </c:pt>
                <c:pt idx="74901">
                  <c:v>21.466039242337825</c:v>
                </c:pt>
                <c:pt idx="74902">
                  <c:v>30.720625732458807</c:v>
                </c:pt>
                <c:pt idx="74903">
                  <c:v>25.555423617088444</c:v>
                </c:pt>
                <c:pt idx="74904">
                  <c:v>24.764860387463777</c:v>
                </c:pt>
                <c:pt idx="74905">
                  <c:v>30.05757823702152</c:v>
                </c:pt>
                <c:pt idx="74906">
                  <c:v>17.796386799713289</c:v>
                </c:pt>
                <c:pt idx="74907">
                  <c:v>27.300887914120757</c:v>
                </c:pt>
                <c:pt idx="74908">
                  <c:v>41.787565678753609</c:v>
                </c:pt>
                <c:pt idx="74909">
                  <c:v>34.85841929638395</c:v>
                </c:pt>
                <c:pt idx="74910">
                  <c:v>21.054975362873247</c:v>
                </c:pt>
                <c:pt idx="74911">
                  <c:v>51.727428897510471</c:v>
                </c:pt>
                <c:pt idx="74912">
                  <c:v>28.964147358972728</c:v>
                </c:pt>
                <c:pt idx="74913">
                  <c:v>51.347709519243622</c:v>
                </c:pt>
                <c:pt idx="74914">
                  <c:v>25.266919279931663</c:v>
                </c:pt>
                <c:pt idx="74915">
                  <c:v>37.40857453202193</c:v>
                </c:pt>
                <c:pt idx="74916">
                  <c:v>20.306659416926724</c:v>
                </c:pt>
                <c:pt idx="74917">
                  <c:v>27.570719382590148</c:v>
                </c:pt>
                <c:pt idx="74918">
                  <c:v>43.690299569031119</c:v>
                </c:pt>
                <c:pt idx="74919">
                  <c:v>26.384158469751899</c:v>
                </c:pt>
                <c:pt idx="74920">
                  <c:v>18.749965206817656</c:v>
                </c:pt>
                <c:pt idx="74921">
                  <c:v>23.520404750309442</c:v>
                </c:pt>
                <c:pt idx="74922">
                  <c:v>28.50647862679784</c:v>
                </c:pt>
                <c:pt idx="74923">
                  <c:v>27.239620834081162</c:v>
                </c:pt>
                <c:pt idx="74924">
                  <c:v>33.703013354069185</c:v>
                </c:pt>
                <c:pt idx="74925">
                  <c:v>26.786310003970691</c:v>
                </c:pt>
                <c:pt idx="74926">
                  <c:v>22.848225575232192</c:v>
                </c:pt>
                <c:pt idx="74927">
                  <c:v>19.757265294608551</c:v>
                </c:pt>
                <c:pt idx="74928">
                  <c:v>40.673707159491805</c:v>
                </c:pt>
                <c:pt idx="74929">
                  <c:v>38.346860025300003</c:v>
                </c:pt>
                <c:pt idx="74930">
                  <c:v>22.47460534652857</c:v>
                </c:pt>
                <c:pt idx="74931">
                  <c:v>28.647510660195554</c:v>
                </c:pt>
                <c:pt idx="74932">
                  <c:v>18.855692430731843</c:v>
                </c:pt>
                <c:pt idx="74933">
                  <c:v>30.194838774871613</c:v>
                </c:pt>
                <c:pt idx="74934">
                  <c:v>23.685761024738639</c:v>
                </c:pt>
                <c:pt idx="74935">
                  <c:v>47.432358509027353</c:v>
                </c:pt>
                <c:pt idx="74936">
                  <c:v>22.512108297978237</c:v>
                </c:pt>
                <c:pt idx="74937">
                  <c:v>21.784843572147608</c:v>
                </c:pt>
                <c:pt idx="74938">
                  <c:v>27.725933724506788</c:v>
                </c:pt>
                <c:pt idx="74939">
                  <c:v>37.756085355853465</c:v>
                </c:pt>
                <c:pt idx="74940">
                  <c:v>18.821481306590108</c:v>
                </c:pt>
                <c:pt idx="74941">
                  <c:v>20.965311270634864</c:v>
                </c:pt>
                <c:pt idx="74942">
                  <c:v>22.212920768750656</c:v>
                </c:pt>
                <c:pt idx="74943">
                  <c:v>26.251772989652029</c:v>
                </c:pt>
                <c:pt idx="74944">
                  <c:v>48.917714059241604</c:v>
                </c:pt>
                <c:pt idx="74945">
                  <c:v>29.837563346563272</c:v>
                </c:pt>
                <c:pt idx="74946">
                  <c:v>33.310715667261242</c:v>
                </c:pt>
                <c:pt idx="74947">
                  <c:v>24.461829832085431</c:v>
                </c:pt>
                <c:pt idx="74948">
                  <c:v>54.294366977192055</c:v>
                </c:pt>
                <c:pt idx="74949">
                  <c:v>37.295362528794598</c:v>
                </c:pt>
                <c:pt idx="74950">
                  <c:v>23.362438070166565</c:v>
                </c:pt>
                <c:pt idx="74951">
                  <c:v>23.698613798049642</c:v>
                </c:pt>
                <c:pt idx="74952">
                  <c:v>33.055688338349512</c:v>
                </c:pt>
                <c:pt idx="74953">
                  <c:v>27.029351372605241</c:v>
                </c:pt>
                <c:pt idx="74954">
                  <c:v>22.671170691458208</c:v>
                </c:pt>
                <c:pt idx="74955">
                  <c:v>32.879296983004565</c:v>
                </c:pt>
                <c:pt idx="74956">
                  <c:v>25.500825229938421</c:v>
                </c:pt>
                <c:pt idx="74957">
                  <c:v>29.12384719248103</c:v>
                </c:pt>
                <c:pt idx="74958">
                  <c:v>16.788857476551094</c:v>
                </c:pt>
                <c:pt idx="74959">
                  <c:v>15.581822823499291</c:v>
                </c:pt>
                <c:pt idx="74960">
                  <c:v>56.266149619077666</c:v>
                </c:pt>
                <c:pt idx="74961">
                  <c:v>28.004094496094211</c:v>
                </c:pt>
                <c:pt idx="74962">
                  <c:v>29.952590282576416</c:v>
                </c:pt>
                <c:pt idx="74963">
                  <c:v>30.622424547034758</c:v>
                </c:pt>
                <c:pt idx="74964">
                  <c:v>29.199700982260797</c:v>
                </c:pt>
                <c:pt idx="74965">
                  <c:v>55.772187295121327</c:v>
                </c:pt>
                <c:pt idx="74966">
                  <c:v>34.480692773650063</c:v>
                </c:pt>
                <c:pt idx="74967">
                  <c:v>24.740266376270846</c:v>
                </c:pt>
                <c:pt idx="74968">
                  <c:v>29.092044502043315</c:v>
                </c:pt>
                <c:pt idx="74969">
                  <c:v>28.317649855733329</c:v>
                </c:pt>
                <c:pt idx="74970">
                  <c:v>29.399454994241715</c:v>
                </c:pt>
                <c:pt idx="74971">
                  <c:v>70.902217772059046</c:v>
                </c:pt>
                <c:pt idx="74972">
                  <c:v>30.693935013636487</c:v>
                </c:pt>
                <c:pt idx="74973">
                  <c:v>27.353018245683263</c:v>
                </c:pt>
                <c:pt idx="74974">
                  <c:v>20.244349001055664</c:v>
                </c:pt>
                <c:pt idx="74975">
                  <c:v>33.272213379640078</c:v>
                </c:pt>
                <c:pt idx="74976">
                  <c:v>27.14359523202306</c:v>
                </c:pt>
                <c:pt idx="74977">
                  <c:v>31.074232458394462</c:v>
                </c:pt>
                <c:pt idx="74978">
                  <c:v>21.778363905341621</c:v>
                </c:pt>
                <c:pt idx="74979">
                  <c:v>38.396822937736012</c:v>
                </c:pt>
                <c:pt idx="74980">
                  <c:v>31.991510531044863</c:v>
                </c:pt>
                <c:pt idx="74981">
                  <c:v>22.959570582229482</c:v>
                </c:pt>
                <c:pt idx="74982">
                  <c:v>22.685572900009703</c:v>
                </c:pt>
                <c:pt idx="74983">
                  <c:v>30.262388422034526</c:v>
                </c:pt>
                <c:pt idx="74984">
                  <c:v>44.988928965930917</c:v>
                </c:pt>
                <c:pt idx="74985">
                  <c:v>43.139879013533857</c:v>
                </c:pt>
                <c:pt idx="74986">
                  <c:v>54.89469445987779</c:v>
                </c:pt>
                <c:pt idx="74987">
                  <c:v>28.199998077330239</c:v>
                </c:pt>
                <c:pt idx="74988">
                  <c:v>38.439064480609879</c:v>
                </c:pt>
                <c:pt idx="74989">
                  <c:v>25.783752747923881</c:v>
                </c:pt>
                <c:pt idx="74990">
                  <c:v>52.245053161061747</c:v>
                </c:pt>
                <c:pt idx="74991">
                  <c:v>30.805797319152443</c:v>
                </c:pt>
                <c:pt idx="74992">
                  <c:v>24.773261626793541</c:v>
                </c:pt>
                <c:pt idx="74993">
                  <c:v>28.19053586898087</c:v>
                </c:pt>
                <c:pt idx="74994">
                  <c:v>47.095158427735171</c:v>
                </c:pt>
                <c:pt idx="74995">
                  <c:v>39.956432944080419</c:v>
                </c:pt>
                <c:pt idx="74996">
                  <c:v>27.133780465915731</c:v>
                </c:pt>
                <c:pt idx="74997">
                  <c:v>31.891218238515897</c:v>
                </c:pt>
                <c:pt idx="74998">
                  <c:v>34.318703889014813</c:v>
                </c:pt>
                <c:pt idx="74999">
                  <c:v>20.600542373011415</c:v>
                </c:pt>
              </c:numCache>
            </c:numRef>
          </c:yVal>
          <c:smooth val="0"/>
          <c:extLst>
            <c:ext xmlns:c16="http://schemas.microsoft.com/office/drawing/2014/chart" uri="{C3380CC4-5D6E-409C-BE32-E72D297353CC}">
              <c16:uniqueId val="{00000000-1872-4B53-B1DA-1316F1064234}"/>
            </c:ext>
          </c:extLst>
        </c:ser>
        <c:dLbls>
          <c:showLegendKey val="0"/>
          <c:showVal val="0"/>
          <c:showCatName val="0"/>
          <c:showSerName val="0"/>
          <c:showPercent val="0"/>
          <c:showBubbleSize val="0"/>
        </c:dLbls>
        <c:axId val="49750575"/>
        <c:axId val="49764975"/>
      </c:scatterChart>
      <c:valAx>
        <c:axId val="49750575"/>
        <c:scaling>
          <c:orientation val="minMax"/>
        </c:scaling>
        <c:delete val="0"/>
        <c:axPos val="b"/>
        <c:numFmt formatCode="&quot;$&quot;#,##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49764975"/>
        <c:crosses val="autoZero"/>
        <c:crossBetween val="midCat"/>
      </c:valAx>
      <c:valAx>
        <c:axId val="49764975"/>
        <c:scaling>
          <c:orientation val="minMax"/>
        </c:scaling>
        <c:delete val="0"/>
        <c:axPos val="l"/>
        <c:numFmt formatCode="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49750575"/>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05D197D-2546-93E6-A4B1-1C23711EFEB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E17475A4-469E-6221-5F6E-0A20AEF216E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268FE30-FBDC-40D6-A0FE-6CE024CDE572}" type="datetimeFigureOut">
              <a:rPr lang="en-US" smtClean="0"/>
              <a:t>11/15/2024</a:t>
            </a:fld>
            <a:endParaRPr lang="en-US"/>
          </a:p>
        </p:txBody>
      </p:sp>
      <p:sp>
        <p:nvSpPr>
          <p:cNvPr id="4" name="Footer Placeholder 3">
            <a:extLst>
              <a:ext uri="{FF2B5EF4-FFF2-40B4-BE49-F238E27FC236}">
                <a16:creationId xmlns:a16="http://schemas.microsoft.com/office/drawing/2014/main" id="{680900A2-835F-79A0-9DDF-2870F14355E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60245FA3-2466-E616-BD4E-A1E71EA5123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2013F3E-3280-42A5-A9C0-AD1DFF573008}" type="slidenum">
              <a:rPr lang="en-US" smtClean="0"/>
              <a:t>‹#›</a:t>
            </a:fld>
            <a:endParaRPr lang="en-US"/>
          </a:p>
        </p:txBody>
      </p:sp>
    </p:spTree>
    <p:extLst>
      <p:ext uri="{BB962C8B-B14F-4D97-AF65-F5344CB8AC3E}">
        <p14:creationId xmlns:p14="http://schemas.microsoft.com/office/powerpoint/2010/main" val="274257972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8C8CE57-F058-477A-A48F-9392368F5DAE}" type="datetimeFigureOut">
              <a:rPr lang="en-US" smtClean="0"/>
              <a:t>11/15/2024</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5F63E0B9-F4D7-48EB-B4EC-2C3C712F5316}" type="slidenum">
              <a:rPr lang="en-US" smtClean="0"/>
              <a:t>‹#›</a:t>
            </a:fld>
            <a:endParaRPr lang="en-US"/>
          </a:p>
        </p:txBody>
      </p:sp>
    </p:spTree>
    <p:extLst>
      <p:ext uri="{BB962C8B-B14F-4D97-AF65-F5344CB8AC3E}">
        <p14:creationId xmlns:p14="http://schemas.microsoft.com/office/powerpoint/2010/main" val="3687755323"/>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5 November 2024</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1" name="Slide Image Placeholder 50">
            <a:extLst>
              <a:ext uri="{FF2B5EF4-FFF2-40B4-BE49-F238E27FC236}">
                <a16:creationId xmlns:a16="http://schemas.microsoft.com/office/drawing/2014/main" id="{DCE3710F-2356-44F5-A47E-3DFCE8CD483E}"/>
              </a:ext>
            </a:extLst>
          </p:cNvPr>
          <p:cNvSpPr>
            <a:spLocks noGrp="1" noRot="1" noChangeAspect="1"/>
          </p:cNvSpPr>
          <p:nvPr>
            <p:ph type="sldImg"/>
          </p:nvPr>
        </p:nvSpPr>
        <p:spPr>
          <a:xfrm>
            <a:off x="735013" y="563563"/>
            <a:ext cx="5632450" cy="3168650"/>
          </a:xfrm>
        </p:spPr>
      </p:sp>
    </p:spTree>
    <p:extLst>
      <p:ext uri="{BB962C8B-B14F-4D97-AF65-F5344CB8AC3E}">
        <p14:creationId xmlns:p14="http://schemas.microsoft.com/office/powerpoint/2010/main" val="39107832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7"/>
        <p:cNvGrpSpPr/>
        <p:nvPr/>
      </p:nvGrpSpPr>
      <p:grpSpPr>
        <a:xfrm>
          <a:off x="0" y="0"/>
          <a:ext cx="0" cy="0"/>
          <a:chOff x="0" y="0"/>
          <a:chExt cx="0" cy="0"/>
        </a:xfrm>
      </p:grpSpPr>
      <p:sp>
        <p:nvSpPr>
          <p:cNvPr id="188" name="Google Shape;188;g314025f63f9_2_13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89" name="Google Shape;189;g314025f63f9_2_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7">
          <a:extLst>
            <a:ext uri="{FF2B5EF4-FFF2-40B4-BE49-F238E27FC236}">
              <a16:creationId xmlns:a16="http://schemas.microsoft.com/office/drawing/2014/main" id="{D7E66905-CFEF-92B5-0ABB-D48F2979857E}"/>
            </a:ext>
          </a:extLst>
        </p:cNvPr>
        <p:cNvGrpSpPr/>
        <p:nvPr/>
      </p:nvGrpSpPr>
      <p:grpSpPr>
        <a:xfrm>
          <a:off x="0" y="0"/>
          <a:ext cx="0" cy="0"/>
          <a:chOff x="0" y="0"/>
          <a:chExt cx="0" cy="0"/>
        </a:xfrm>
      </p:grpSpPr>
      <p:sp>
        <p:nvSpPr>
          <p:cNvPr id="188" name="Google Shape;188;g314025f63f9_2_135:notes">
            <a:extLst>
              <a:ext uri="{FF2B5EF4-FFF2-40B4-BE49-F238E27FC236}">
                <a16:creationId xmlns:a16="http://schemas.microsoft.com/office/drawing/2014/main" id="{54D22120-D445-99D6-9A99-4124E4F457A2}"/>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89" name="Google Shape;189;g314025f63f9_2_135:notes">
            <a:extLst>
              <a:ext uri="{FF2B5EF4-FFF2-40B4-BE49-F238E27FC236}">
                <a16:creationId xmlns:a16="http://schemas.microsoft.com/office/drawing/2014/main" id="{3A264BF9-EDEC-F5FD-5C48-31D69BB63D58}"/>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6487195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5"/>
        <p:cNvGrpSpPr/>
        <p:nvPr/>
      </p:nvGrpSpPr>
      <p:grpSpPr>
        <a:xfrm>
          <a:off x="0" y="0"/>
          <a:ext cx="0" cy="0"/>
          <a:chOff x="0" y="0"/>
          <a:chExt cx="0" cy="0"/>
        </a:xfrm>
      </p:grpSpPr>
      <p:sp>
        <p:nvSpPr>
          <p:cNvPr id="206" name="Google Shape;206;g314025f63f9_2_14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07" name="Google Shape;207;g314025f63f9_2_14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9"/>
        <p:cNvGrpSpPr/>
        <p:nvPr/>
      </p:nvGrpSpPr>
      <p:grpSpPr>
        <a:xfrm>
          <a:off x="0" y="0"/>
          <a:ext cx="0" cy="0"/>
          <a:chOff x="0" y="0"/>
          <a:chExt cx="0" cy="0"/>
        </a:xfrm>
      </p:grpSpPr>
      <p:sp>
        <p:nvSpPr>
          <p:cNvPr id="220" name="Google Shape;220;g314025f63f9_2_15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21" name="Google Shape;221;g314025f63f9_2_15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8"/>
        <p:cNvGrpSpPr/>
        <p:nvPr/>
      </p:nvGrpSpPr>
      <p:grpSpPr>
        <a:xfrm>
          <a:off x="0" y="0"/>
          <a:ext cx="0" cy="0"/>
          <a:chOff x="0" y="0"/>
          <a:chExt cx="0" cy="0"/>
        </a:xfrm>
      </p:grpSpPr>
      <p:sp>
        <p:nvSpPr>
          <p:cNvPr id="279" name="Google Shape;279;g314025f63f9_2_20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80" name="Google Shape;280;g314025f63f9_2_20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7"/>
        <p:cNvGrpSpPr/>
        <p:nvPr/>
      </p:nvGrpSpPr>
      <p:grpSpPr>
        <a:xfrm>
          <a:off x="0" y="0"/>
          <a:ext cx="0" cy="0"/>
          <a:chOff x="0" y="0"/>
          <a:chExt cx="0" cy="0"/>
        </a:xfrm>
      </p:grpSpPr>
      <p:sp>
        <p:nvSpPr>
          <p:cNvPr id="288" name="Google Shape;288;g314025f63f9_2_21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89" name="Google Shape;289;g314025f63f9_2_2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8"/>
        <p:cNvGrpSpPr/>
        <p:nvPr/>
      </p:nvGrpSpPr>
      <p:grpSpPr>
        <a:xfrm>
          <a:off x="0" y="0"/>
          <a:ext cx="0" cy="0"/>
          <a:chOff x="0" y="0"/>
          <a:chExt cx="0" cy="0"/>
        </a:xfrm>
      </p:grpSpPr>
      <p:sp>
        <p:nvSpPr>
          <p:cNvPr id="349" name="Google Shape;349;g314025f63f9_2_28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350" name="Google Shape;350;g314025f63f9_2_28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22.xml"/><Relationship Id="rId7"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2.vml"/><Relationship Id="rId6" Type="http://schemas.openxmlformats.org/officeDocument/2006/relationships/tags" Target="../tags/tag25.xml"/><Relationship Id="rId5" Type="http://schemas.openxmlformats.org/officeDocument/2006/relationships/tags" Target="../tags/tag24.xml"/><Relationship Id="rId10" Type="http://schemas.openxmlformats.org/officeDocument/2006/relationships/image" Target="../media/image2.png"/><Relationship Id="rId4" Type="http://schemas.openxmlformats.org/officeDocument/2006/relationships/tags" Target="../tags/tag23.xml"/><Relationship Id="rId9"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92.xml"/><Relationship Id="rId13" Type="http://schemas.openxmlformats.org/officeDocument/2006/relationships/slideMaster" Target="../slideMasters/slideMaster1.xml"/><Relationship Id="rId3" Type="http://schemas.openxmlformats.org/officeDocument/2006/relationships/tags" Target="../tags/tag87.xml"/><Relationship Id="rId7" Type="http://schemas.openxmlformats.org/officeDocument/2006/relationships/tags" Target="../tags/tag91.xml"/><Relationship Id="rId12" Type="http://schemas.openxmlformats.org/officeDocument/2006/relationships/tags" Target="../tags/tag96.xml"/><Relationship Id="rId2" Type="http://schemas.openxmlformats.org/officeDocument/2006/relationships/tags" Target="../tags/tag86.xml"/><Relationship Id="rId16" Type="http://schemas.openxmlformats.org/officeDocument/2006/relationships/image" Target="../media/image4.png"/><Relationship Id="rId1" Type="http://schemas.openxmlformats.org/officeDocument/2006/relationships/vmlDrawing" Target="../drawings/vmlDrawing11.vml"/><Relationship Id="rId6" Type="http://schemas.openxmlformats.org/officeDocument/2006/relationships/tags" Target="../tags/tag90.xml"/><Relationship Id="rId11" Type="http://schemas.openxmlformats.org/officeDocument/2006/relationships/tags" Target="../tags/tag95.xml"/><Relationship Id="rId5" Type="http://schemas.openxmlformats.org/officeDocument/2006/relationships/tags" Target="../tags/tag89.xml"/><Relationship Id="rId15" Type="http://schemas.openxmlformats.org/officeDocument/2006/relationships/image" Target="../media/image5.emf"/><Relationship Id="rId10" Type="http://schemas.openxmlformats.org/officeDocument/2006/relationships/tags" Target="../tags/tag94.xml"/><Relationship Id="rId4" Type="http://schemas.openxmlformats.org/officeDocument/2006/relationships/tags" Target="../tags/tag88.xml"/><Relationship Id="rId9" Type="http://schemas.openxmlformats.org/officeDocument/2006/relationships/tags" Target="../tags/tag93.xml"/><Relationship Id="rId1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03.xml"/><Relationship Id="rId13" Type="http://schemas.openxmlformats.org/officeDocument/2006/relationships/oleObject" Target="../embeddings/oleObject12.bin"/><Relationship Id="rId3" Type="http://schemas.openxmlformats.org/officeDocument/2006/relationships/tags" Target="../tags/tag98.xml"/><Relationship Id="rId7" Type="http://schemas.openxmlformats.org/officeDocument/2006/relationships/tags" Target="../tags/tag102.xml"/><Relationship Id="rId12" Type="http://schemas.openxmlformats.org/officeDocument/2006/relationships/slideMaster" Target="../slideMasters/slideMaster1.xml"/><Relationship Id="rId2" Type="http://schemas.openxmlformats.org/officeDocument/2006/relationships/tags" Target="../tags/tag97.xml"/><Relationship Id="rId1" Type="http://schemas.openxmlformats.org/officeDocument/2006/relationships/vmlDrawing" Target="../drawings/vmlDrawing12.vml"/><Relationship Id="rId6" Type="http://schemas.openxmlformats.org/officeDocument/2006/relationships/tags" Target="../tags/tag101.xml"/><Relationship Id="rId11" Type="http://schemas.openxmlformats.org/officeDocument/2006/relationships/tags" Target="../tags/tag106.xml"/><Relationship Id="rId5" Type="http://schemas.openxmlformats.org/officeDocument/2006/relationships/tags" Target="../tags/tag100.xml"/><Relationship Id="rId15" Type="http://schemas.openxmlformats.org/officeDocument/2006/relationships/image" Target="../media/image4.png"/><Relationship Id="rId10" Type="http://schemas.openxmlformats.org/officeDocument/2006/relationships/tags" Target="../tags/tag105.xml"/><Relationship Id="rId4" Type="http://schemas.openxmlformats.org/officeDocument/2006/relationships/tags" Target="../tags/tag99.xml"/><Relationship Id="rId9" Type="http://schemas.openxmlformats.org/officeDocument/2006/relationships/tags" Target="../tags/tag104.xml"/><Relationship Id="rId1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08.xml"/><Relationship Id="rId7" Type="http://schemas.openxmlformats.org/officeDocument/2006/relationships/tags" Target="../tags/tag112.xml"/><Relationship Id="rId2" Type="http://schemas.openxmlformats.org/officeDocument/2006/relationships/tags" Target="../tags/tag107.xml"/><Relationship Id="rId1" Type="http://schemas.openxmlformats.org/officeDocument/2006/relationships/vmlDrawing" Target="../drawings/vmlDrawing13.vml"/><Relationship Id="rId6" Type="http://schemas.openxmlformats.org/officeDocument/2006/relationships/tags" Target="../tags/tag111.xml"/><Relationship Id="rId11" Type="http://schemas.openxmlformats.org/officeDocument/2006/relationships/image" Target="../media/image4.png"/><Relationship Id="rId5" Type="http://schemas.openxmlformats.org/officeDocument/2006/relationships/tags" Target="../tags/tag110.xml"/><Relationship Id="rId10" Type="http://schemas.openxmlformats.org/officeDocument/2006/relationships/image" Target="../media/image3.emf"/><Relationship Id="rId4" Type="http://schemas.openxmlformats.org/officeDocument/2006/relationships/tags" Target="../tags/tag109.xml"/><Relationship Id="rId9"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14.xml"/><Relationship Id="rId7" Type="http://schemas.openxmlformats.org/officeDocument/2006/relationships/image" Target="../media/image6.png"/><Relationship Id="rId2" Type="http://schemas.openxmlformats.org/officeDocument/2006/relationships/tags" Target="../tags/tag113.xml"/><Relationship Id="rId1" Type="http://schemas.openxmlformats.org/officeDocument/2006/relationships/vmlDrawing" Target="../drawings/vmlDrawing14.vml"/><Relationship Id="rId6" Type="http://schemas.openxmlformats.org/officeDocument/2006/relationships/image" Target="../media/image3.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16.xml"/><Relationship Id="rId2" Type="http://schemas.openxmlformats.org/officeDocument/2006/relationships/tags" Target="../tags/tag115.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7.xml"/><Relationship Id="rId7"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3.vml"/><Relationship Id="rId6" Type="http://schemas.openxmlformats.org/officeDocument/2006/relationships/tags" Target="../tags/tag30.xml"/><Relationship Id="rId5" Type="http://schemas.openxmlformats.org/officeDocument/2006/relationships/tags" Target="../tags/tag29.xml"/><Relationship Id="rId4" Type="http://schemas.openxmlformats.org/officeDocument/2006/relationships/tags" Target="../tags/tag28.xml"/><Relationship Id="rId9"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2.xml"/><Relationship Id="rId7" Type="http://schemas.openxmlformats.org/officeDocument/2006/relationships/tags" Target="../tags/tag36.xml"/><Relationship Id="rId2" Type="http://schemas.openxmlformats.org/officeDocument/2006/relationships/tags" Target="../tags/tag31.xml"/><Relationship Id="rId1" Type="http://schemas.openxmlformats.org/officeDocument/2006/relationships/vmlDrawing" Target="../drawings/vmlDrawing4.vml"/><Relationship Id="rId6" Type="http://schemas.openxmlformats.org/officeDocument/2006/relationships/tags" Target="../tags/tag35.xml"/><Relationship Id="rId5" Type="http://schemas.openxmlformats.org/officeDocument/2006/relationships/tags" Target="../tags/tag34.xml"/><Relationship Id="rId10" Type="http://schemas.openxmlformats.org/officeDocument/2006/relationships/image" Target="../media/image3.emf"/><Relationship Id="rId4" Type="http://schemas.openxmlformats.org/officeDocument/2006/relationships/tags" Target="../tags/tag33.xml"/><Relationship Id="rId9"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8.xml"/><Relationship Id="rId7" Type="http://schemas.openxmlformats.org/officeDocument/2006/relationships/tags" Target="../tags/tag42.xml"/><Relationship Id="rId2" Type="http://schemas.openxmlformats.org/officeDocument/2006/relationships/tags" Target="../tags/tag37.xml"/><Relationship Id="rId1" Type="http://schemas.openxmlformats.org/officeDocument/2006/relationships/vmlDrawing" Target="../drawings/vmlDrawing5.vml"/><Relationship Id="rId6" Type="http://schemas.openxmlformats.org/officeDocument/2006/relationships/tags" Target="../tags/tag41.xml"/><Relationship Id="rId5" Type="http://schemas.openxmlformats.org/officeDocument/2006/relationships/tags" Target="../tags/tag40.xml"/><Relationship Id="rId10" Type="http://schemas.openxmlformats.org/officeDocument/2006/relationships/image" Target="../media/image3.emf"/><Relationship Id="rId4" Type="http://schemas.openxmlformats.org/officeDocument/2006/relationships/tags" Target="../tags/tag39.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4.xml"/><Relationship Id="rId7" Type="http://schemas.openxmlformats.org/officeDocument/2006/relationships/tags" Target="../tags/tag48.xml"/><Relationship Id="rId2" Type="http://schemas.openxmlformats.org/officeDocument/2006/relationships/tags" Target="../tags/tag43.xml"/><Relationship Id="rId1" Type="http://schemas.openxmlformats.org/officeDocument/2006/relationships/vmlDrawing" Target="../drawings/vmlDrawing6.vml"/><Relationship Id="rId6" Type="http://schemas.openxmlformats.org/officeDocument/2006/relationships/tags" Target="../tags/tag47.xml"/><Relationship Id="rId5" Type="http://schemas.openxmlformats.org/officeDocument/2006/relationships/tags" Target="../tags/tag46.xml"/><Relationship Id="rId10" Type="http://schemas.openxmlformats.org/officeDocument/2006/relationships/image" Target="../media/image3.emf"/><Relationship Id="rId4" Type="http://schemas.openxmlformats.org/officeDocument/2006/relationships/tags" Target="../tags/tag45.xml"/><Relationship Id="rId9"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5.xml"/><Relationship Id="rId3" Type="http://schemas.openxmlformats.org/officeDocument/2006/relationships/tags" Target="../tags/tag50.xml"/><Relationship Id="rId7" Type="http://schemas.openxmlformats.org/officeDocument/2006/relationships/tags" Target="../tags/tag54.xml"/><Relationship Id="rId2" Type="http://schemas.openxmlformats.org/officeDocument/2006/relationships/tags" Target="../tags/tag49.xml"/><Relationship Id="rId1" Type="http://schemas.openxmlformats.org/officeDocument/2006/relationships/vmlDrawing" Target="../drawings/vmlDrawing7.vml"/><Relationship Id="rId6" Type="http://schemas.openxmlformats.org/officeDocument/2006/relationships/tags" Target="../tags/tag53.xml"/><Relationship Id="rId11" Type="http://schemas.openxmlformats.org/officeDocument/2006/relationships/image" Target="../media/image3.emf"/><Relationship Id="rId5" Type="http://schemas.openxmlformats.org/officeDocument/2006/relationships/tags" Target="../tags/tag52.xml"/><Relationship Id="rId10" Type="http://schemas.openxmlformats.org/officeDocument/2006/relationships/oleObject" Target="../embeddings/oleObject7.bin"/><Relationship Id="rId4" Type="http://schemas.openxmlformats.org/officeDocument/2006/relationships/tags" Target="../tags/tag51.xml"/><Relationship Id="rId9"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2.xml"/><Relationship Id="rId13" Type="http://schemas.openxmlformats.org/officeDocument/2006/relationships/image" Target="../media/image1.emf"/><Relationship Id="rId3" Type="http://schemas.openxmlformats.org/officeDocument/2006/relationships/tags" Target="../tags/tag57.xml"/><Relationship Id="rId7" Type="http://schemas.openxmlformats.org/officeDocument/2006/relationships/tags" Target="../tags/tag61.xml"/><Relationship Id="rId12" Type="http://schemas.openxmlformats.org/officeDocument/2006/relationships/oleObject" Target="../embeddings/oleObject8.bin"/><Relationship Id="rId2" Type="http://schemas.openxmlformats.org/officeDocument/2006/relationships/tags" Target="../tags/tag56.xml"/><Relationship Id="rId1" Type="http://schemas.openxmlformats.org/officeDocument/2006/relationships/vmlDrawing" Target="../drawings/vmlDrawing8.vml"/><Relationship Id="rId6" Type="http://schemas.openxmlformats.org/officeDocument/2006/relationships/tags" Target="../tags/tag60.xml"/><Relationship Id="rId11" Type="http://schemas.openxmlformats.org/officeDocument/2006/relationships/slideMaster" Target="../slideMasters/slideMaster1.xml"/><Relationship Id="rId5" Type="http://schemas.openxmlformats.org/officeDocument/2006/relationships/tags" Target="../tags/tag59.xml"/><Relationship Id="rId10" Type="http://schemas.openxmlformats.org/officeDocument/2006/relationships/tags" Target="../tags/tag64.xml"/><Relationship Id="rId4" Type="http://schemas.openxmlformats.org/officeDocument/2006/relationships/tags" Target="../tags/tag58.xml"/><Relationship Id="rId9" Type="http://schemas.openxmlformats.org/officeDocument/2006/relationships/tags" Target="../tags/tag63.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1.xml"/><Relationship Id="rId13" Type="http://schemas.openxmlformats.org/officeDocument/2006/relationships/oleObject" Target="../embeddings/oleObject9.bin"/><Relationship Id="rId3" Type="http://schemas.openxmlformats.org/officeDocument/2006/relationships/tags" Target="../tags/tag66.xml"/><Relationship Id="rId7" Type="http://schemas.openxmlformats.org/officeDocument/2006/relationships/tags" Target="../tags/tag70.xml"/><Relationship Id="rId12" Type="http://schemas.openxmlformats.org/officeDocument/2006/relationships/slideMaster" Target="../slideMasters/slideMaster1.xml"/><Relationship Id="rId2" Type="http://schemas.openxmlformats.org/officeDocument/2006/relationships/tags" Target="../tags/tag65.xml"/><Relationship Id="rId1" Type="http://schemas.openxmlformats.org/officeDocument/2006/relationships/vmlDrawing" Target="../drawings/vmlDrawing9.vml"/><Relationship Id="rId6" Type="http://schemas.openxmlformats.org/officeDocument/2006/relationships/tags" Target="../tags/tag69.xml"/><Relationship Id="rId11" Type="http://schemas.openxmlformats.org/officeDocument/2006/relationships/tags" Target="../tags/tag74.xml"/><Relationship Id="rId5" Type="http://schemas.openxmlformats.org/officeDocument/2006/relationships/tags" Target="../tags/tag68.xml"/><Relationship Id="rId15" Type="http://schemas.openxmlformats.org/officeDocument/2006/relationships/image" Target="../media/image4.png"/><Relationship Id="rId10" Type="http://schemas.openxmlformats.org/officeDocument/2006/relationships/tags" Target="../tags/tag73.xml"/><Relationship Id="rId4" Type="http://schemas.openxmlformats.org/officeDocument/2006/relationships/tags" Target="../tags/tag67.xml"/><Relationship Id="rId9" Type="http://schemas.openxmlformats.org/officeDocument/2006/relationships/tags" Target="../tags/tag72.xml"/><Relationship Id="rId1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1.xml"/><Relationship Id="rId13" Type="http://schemas.openxmlformats.org/officeDocument/2006/relationships/slideMaster" Target="../slideMasters/slideMaster1.xml"/><Relationship Id="rId3" Type="http://schemas.openxmlformats.org/officeDocument/2006/relationships/tags" Target="../tags/tag76.xml"/><Relationship Id="rId7" Type="http://schemas.openxmlformats.org/officeDocument/2006/relationships/tags" Target="../tags/tag80.xml"/><Relationship Id="rId12" Type="http://schemas.openxmlformats.org/officeDocument/2006/relationships/tags" Target="../tags/tag85.xml"/><Relationship Id="rId2" Type="http://schemas.openxmlformats.org/officeDocument/2006/relationships/tags" Target="../tags/tag75.xml"/><Relationship Id="rId16" Type="http://schemas.openxmlformats.org/officeDocument/2006/relationships/image" Target="../media/image4.png"/><Relationship Id="rId1" Type="http://schemas.openxmlformats.org/officeDocument/2006/relationships/vmlDrawing" Target="../drawings/vmlDrawing10.vml"/><Relationship Id="rId6" Type="http://schemas.openxmlformats.org/officeDocument/2006/relationships/tags" Target="../tags/tag79.xml"/><Relationship Id="rId11" Type="http://schemas.openxmlformats.org/officeDocument/2006/relationships/tags" Target="../tags/tag84.xml"/><Relationship Id="rId5" Type="http://schemas.openxmlformats.org/officeDocument/2006/relationships/tags" Target="../tags/tag78.xml"/><Relationship Id="rId15" Type="http://schemas.openxmlformats.org/officeDocument/2006/relationships/image" Target="../media/image1.emf"/><Relationship Id="rId10" Type="http://schemas.openxmlformats.org/officeDocument/2006/relationships/tags" Target="../tags/tag83.xml"/><Relationship Id="rId4" Type="http://schemas.openxmlformats.org/officeDocument/2006/relationships/tags" Target="../tags/tag77.xml"/><Relationship Id="rId9" Type="http://schemas.openxmlformats.org/officeDocument/2006/relationships/tags" Target="../tags/tag82.xml"/><Relationship Id="rId1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403183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3"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Rectangle 2">
            <a:extLst>
              <a:ext uri="{FF2B5EF4-FFF2-40B4-BE49-F238E27FC236}">
                <a16:creationId xmlns:a16="http://schemas.microsoft.com/office/drawing/2014/main" id="{9B2BB598-2691-4D01-A539-1D662EC06D72}"/>
              </a:ext>
            </a:extLst>
          </p:cNvPr>
          <p:cNvSpPr/>
          <p:nvPr userDrawn="1"/>
        </p:nvSpPr>
        <p:spPr>
          <a:xfrm>
            <a:off x="3176" y="2971799"/>
            <a:ext cx="12188824" cy="3886201"/>
          </a:xfrm>
          <a:prstGeom prst="rect">
            <a:avLst/>
          </a:prstGeom>
          <a:solidFill>
            <a:schemeClr val="accent1">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1" name="Rectangle 10">
            <a:extLst>
              <a:ext uri="{FF2B5EF4-FFF2-40B4-BE49-F238E27FC236}">
                <a16:creationId xmlns:a16="http://schemas.microsoft.com/office/drawing/2014/main" id="{6ABE5ED7-62AC-442E-9D78-2775559457BD}"/>
              </a:ext>
            </a:extLst>
          </p:cNvPr>
          <p:cNvSpPr/>
          <p:nvPr userDrawn="1"/>
        </p:nvSpPr>
        <p:spPr>
          <a:xfrm>
            <a:off x="0" y="2658479"/>
            <a:ext cx="12188824" cy="186085"/>
          </a:xfrm>
          <a:prstGeom prst="rect">
            <a:avLst/>
          </a:prstGeom>
          <a:solidFill>
            <a:srgbClr val="FFC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a:xfrm>
            <a:off x="550800" y="5369239"/>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2"/>
                </a:solidFill>
              </a:defRPr>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a:xfrm>
            <a:off x="547688" y="4951630"/>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2"/>
                </a:solidFill>
              </a:defRPr>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6"/>
            </p:custDataLst>
          </p:nvPr>
        </p:nvSpPr>
        <p:spPr>
          <a:xfrm>
            <a:off x="551941" y="4153476"/>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bg2"/>
                </a:solidFill>
              </a:defRPr>
            </a:lvl1pPr>
          </a:lstStyle>
          <a:p>
            <a:pPr lvl="0"/>
            <a:r>
              <a:rPr lang="en-US"/>
              <a:t>Click to edit Master title style</a:t>
            </a:r>
            <a:endParaRPr lang="en-US" dirty="0"/>
          </a:p>
        </p:txBody>
      </p:sp>
      <p:sp>
        <p:nvSpPr>
          <p:cNvPr id="13" name="Footer Placeholder 5">
            <a:extLst>
              <a:ext uri="{FF2B5EF4-FFF2-40B4-BE49-F238E27FC236}">
                <a16:creationId xmlns:a16="http://schemas.microsoft.com/office/drawing/2014/main" id="{CDF1E86B-230A-4AE3-92EE-18802C00ED66}"/>
              </a:ext>
            </a:extLst>
          </p:cNvPr>
          <p:cNvSpPr txBox="1">
            <a:spLocks/>
          </p:cNvSpPr>
          <p:nvPr userDrawn="1"/>
        </p:nvSpPr>
        <p:spPr>
          <a:xfrm>
            <a:off x="547688" y="903956"/>
            <a:ext cx="4502836" cy="307777"/>
          </a:xfrm>
          <a:prstGeom prst="rect">
            <a:avLst/>
          </a:prstGeom>
        </p:spPr>
        <p:txBody>
          <a:bodyPr vert="horz" wrap="square" lIns="0" tIns="0" rIns="0" bIns="0" rtlCol="0" anchor="ctr">
            <a:spAutoFit/>
          </a:bodyPr>
          <a:lstStyle>
            <a:defPPr>
              <a:defRPr lang="en-US"/>
            </a:defPPr>
            <a:lvl1pPr marL="0" algn="ct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000" b="1" dirty="0">
                <a:solidFill>
                  <a:schemeClr val="tx1"/>
                </a:solidFill>
              </a:rPr>
              <a:t>CDC,</a:t>
            </a:r>
            <a:r>
              <a:rPr lang="en-US" sz="2000" b="1" baseline="0" dirty="0">
                <a:solidFill>
                  <a:schemeClr val="tx1"/>
                </a:solidFill>
              </a:rPr>
              <a:t> MoIB</a:t>
            </a:r>
            <a:endParaRPr lang="en-US" sz="2000" b="1" dirty="0">
              <a:solidFill>
                <a:schemeClr val="tx1"/>
              </a:solidFill>
            </a:endParaRPr>
          </a:p>
        </p:txBody>
      </p:sp>
      <p:pic>
        <p:nvPicPr>
          <p:cNvPr id="4" name="Picture 20" descr="Arizona State University on Collegepedia">
            <a:extLst>
              <a:ext uri="{FF2B5EF4-FFF2-40B4-BE49-F238E27FC236}">
                <a16:creationId xmlns:a16="http://schemas.microsoft.com/office/drawing/2014/main" id="{BC265D0D-3FB5-5A5C-B6F5-EB2EF4E7B52C}"/>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10714801" y="275960"/>
            <a:ext cx="1159604" cy="4957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96575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244256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9" name="think-cell Slide" r:id="rId14" imgW="572" imgH="588" progId="TCLayout.ActiveDocument.1">
                  <p:embed/>
                </p:oleObj>
              </mc:Choice>
              <mc:Fallback>
                <p:oleObj name="think-cell Slide" r:id="rId14" imgW="572" imgH="588" progId="TCLayout.ActiveDocument.1">
                  <p:embed/>
                  <p:pic>
                    <p:nvPicPr>
                      <p:cNvPr id="3" name="Object 6" hidden="1">
                        <a:extLst>
                          <a:ext uri="{FF2B5EF4-FFF2-40B4-BE49-F238E27FC236}">
                            <a16:creationId xmlns:a16="http://schemas.microsoft.com/office/drawing/2014/main" id="{C293AC4C-5B2F-4A0C-8C9B-7295BEE1F457}"/>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519011"/>
            <a:ext cx="6967728" cy="384721"/>
          </a:xfrm>
        </p:spPr>
        <p:txBody>
          <a:bodyPr>
            <a:spAutoFit/>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EFFCE4"/>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7"/>
            </p:custDataLst>
          </p:nvPr>
        </p:nvSpPr>
        <p:spPr>
          <a:xfrm>
            <a:off x="554738" y="976471"/>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8"/>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pic>
        <p:nvPicPr>
          <p:cNvPr id="12" name="Picture 288">
            <a:extLst>
              <a:ext uri="{FF2B5EF4-FFF2-40B4-BE49-F238E27FC236}">
                <a16:creationId xmlns:a16="http://schemas.microsoft.com/office/drawing/2014/main" id="{1E14135B-FDDE-49D3-B6D7-1BDC242495B1}"/>
              </a:ext>
            </a:extLst>
          </p:cNvPr>
          <p:cNvPicPr>
            <a:picLocks noChangeAspect="1" noChangeArrowheads="1"/>
          </p:cNvPicPr>
          <p:nvPr userDrawn="1"/>
        </p:nvPicPr>
        <p:blipFill>
          <a:blip r:embed="rId16" cstate="print">
            <a:extLst>
              <a:ext uri="{28A0092B-C50C-407E-A947-70E740481C1C}">
                <a14:useLocalDpi xmlns:a14="http://schemas.microsoft.com/office/drawing/2010/main" val="0"/>
              </a:ext>
            </a:extLst>
          </a:blip>
          <a:srcRect/>
          <a:stretch>
            <a:fillRect/>
          </a:stretch>
        </p:blipFill>
        <p:spPr bwMode="auto">
          <a:xfrm>
            <a:off x="10856494" y="74067"/>
            <a:ext cx="837450" cy="860146"/>
          </a:xfrm>
          <a:prstGeom prst="rect">
            <a:avLst/>
          </a:prstGeom>
          <a:noFill/>
          <a:extLst>
            <a:ext uri="{909E8E84-426E-40DD-AFC4-6F175D3DCCD1}">
              <a14:hiddenFill xmlns:a14="http://schemas.microsoft.com/office/drawing/2010/main">
                <a:solidFill>
                  <a:srgbClr val="FFFFFF"/>
                </a:solidFill>
              </a14:hiddenFill>
            </a:ext>
          </a:extLst>
        </p:spPr>
      </p:pic>
      <p:sp>
        <p:nvSpPr>
          <p:cNvPr id="13" name="Footer Placeholder 5">
            <a:extLst>
              <a:ext uri="{FF2B5EF4-FFF2-40B4-BE49-F238E27FC236}">
                <a16:creationId xmlns:a16="http://schemas.microsoft.com/office/drawing/2014/main" id="{7EDB617A-2990-4053-9520-0F5D1D976262}"/>
              </a:ext>
            </a:extLst>
          </p:cNvPr>
          <p:cNvSpPr txBox="1">
            <a:spLocks/>
          </p:cNvSpPr>
          <p:nvPr userDrawn="1"/>
        </p:nvSpPr>
        <p:spPr>
          <a:xfrm>
            <a:off x="9283474" y="6498753"/>
            <a:ext cx="1885131" cy="138499"/>
          </a:xfrm>
          <a:prstGeom prst="rect">
            <a:avLst/>
          </a:prstGeom>
        </p:spPr>
        <p:txBody>
          <a:bodyPr vert="horz" wrap="none" lIns="0" tIns="0" rIns="0" bIns="0" rtlCol="0" anchor="ctr">
            <a:spAutoFit/>
          </a:bodyPr>
          <a:lstStyle>
            <a:defPPr>
              <a:defRPr lang="en-US"/>
            </a:defPPr>
            <a:lvl1pPr marL="0" algn="ct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a:solidFill>
                  <a:schemeClr val="tx1"/>
                </a:solidFill>
              </a:rPr>
              <a:t>Government of Khyber Pakhtunkhwa</a:t>
            </a:r>
            <a:endParaRPr lang="en-US" sz="900" dirty="0">
              <a:solidFill>
                <a:schemeClr val="tx1"/>
              </a:solidFill>
            </a:endParaRPr>
          </a:p>
        </p:txBody>
      </p:sp>
      <p:cxnSp>
        <p:nvCxnSpPr>
          <p:cNvPr id="18" name="TopLineRight">
            <a:extLst>
              <a:ext uri="{FF2B5EF4-FFF2-40B4-BE49-F238E27FC236}">
                <a16:creationId xmlns:a16="http://schemas.microsoft.com/office/drawing/2014/main" id="{283AA53C-33A4-4DA5-9E72-12C2883CAF2A}"/>
              </a:ext>
            </a:extLst>
          </p:cNvPr>
          <p:cNvCxnSpPr/>
          <p:nvPr userDrawn="1">
            <p:custDataLst>
              <p:tags r:id="rId10"/>
            </p:custDataLst>
          </p:nvPr>
        </p:nvCxnSpPr>
        <p:spPr>
          <a:xfrm>
            <a:off x="8173371" y="937377"/>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TopLineLeft">
            <a:extLst>
              <a:ext uri="{FF2B5EF4-FFF2-40B4-BE49-F238E27FC236}">
                <a16:creationId xmlns:a16="http://schemas.microsoft.com/office/drawing/2014/main" id="{D0F7ADBC-6D86-4EAD-85BB-DADD184C60BD}"/>
              </a:ext>
            </a:extLst>
          </p:cNvPr>
          <p:cNvCxnSpPr/>
          <p:nvPr userDrawn="1">
            <p:custDataLst>
              <p:tags r:id="rId11"/>
            </p:custDataLst>
          </p:nvPr>
        </p:nvCxnSpPr>
        <p:spPr>
          <a:xfrm>
            <a:off x="554736" y="937377"/>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6E3AEA7-76E4-4DBB-B219-BB82D650A1EE}"/>
              </a:ext>
            </a:extLst>
          </p:cNvPr>
          <p:cNvCxnSpPr/>
          <p:nvPr userDrawn="1">
            <p:custDataLst>
              <p:tags r:id="rId12"/>
            </p:custDataLst>
          </p:nvPr>
        </p:nvCxnSpPr>
        <p:spPr>
          <a:xfrm>
            <a:off x="554736" y="937377"/>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793688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400302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3" name="think-cell Slide" r:id="rId13" imgW="413" imgH="416" progId="TCLayout.ActiveDocument.1">
                  <p:embed/>
                </p:oleObj>
              </mc:Choice>
              <mc:Fallback>
                <p:oleObj name="think-cell Slide" r:id="rId13"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FFCE4"/>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519011"/>
            <a:ext cx="7918704" cy="384721"/>
          </a:xfrm>
        </p:spPr>
        <p:txBody>
          <a:bodyPr>
            <a:spAutoFit/>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8" y="976471"/>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pic>
        <p:nvPicPr>
          <p:cNvPr id="12" name="Picture 288">
            <a:extLst>
              <a:ext uri="{FF2B5EF4-FFF2-40B4-BE49-F238E27FC236}">
                <a16:creationId xmlns:a16="http://schemas.microsoft.com/office/drawing/2014/main" id="{A11DBEA6-99D6-418E-8F15-09398E5B0635}"/>
              </a:ext>
            </a:extLst>
          </p:cNvPr>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10856494" y="74067"/>
            <a:ext cx="837450" cy="860146"/>
          </a:xfrm>
          <a:prstGeom prst="rect">
            <a:avLst/>
          </a:prstGeom>
          <a:noFill/>
          <a:extLst>
            <a:ext uri="{909E8E84-426E-40DD-AFC4-6F175D3DCCD1}">
              <a14:hiddenFill xmlns:a14="http://schemas.microsoft.com/office/drawing/2010/main">
                <a:solidFill>
                  <a:srgbClr val="FFFFFF"/>
                </a:solidFill>
              </a14:hiddenFill>
            </a:ext>
          </a:extLst>
        </p:spPr>
      </p:pic>
      <p:sp>
        <p:nvSpPr>
          <p:cNvPr id="13" name="Footer Placeholder 5">
            <a:extLst>
              <a:ext uri="{FF2B5EF4-FFF2-40B4-BE49-F238E27FC236}">
                <a16:creationId xmlns:a16="http://schemas.microsoft.com/office/drawing/2014/main" id="{4A1B6220-01F0-438D-8C94-91F67AF369FA}"/>
              </a:ext>
            </a:extLst>
          </p:cNvPr>
          <p:cNvSpPr txBox="1">
            <a:spLocks/>
          </p:cNvSpPr>
          <p:nvPr userDrawn="1"/>
        </p:nvSpPr>
        <p:spPr>
          <a:xfrm>
            <a:off x="9283474" y="6498753"/>
            <a:ext cx="1885131" cy="138499"/>
          </a:xfrm>
          <a:prstGeom prst="rect">
            <a:avLst/>
          </a:prstGeom>
        </p:spPr>
        <p:txBody>
          <a:bodyPr vert="horz" wrap="none" lIns="0" tIns="0" rIns="0" bIns="0" rtlCol="0" anchor="ctr">
            <a:spAutoFit/>
          </a:bodyPr>
          <a:lstStyle>
            <a:defPPr>
              <a:defRPr lang="en-US"/>
            </a:defPPr>
            <a:lvl1pPr marL="0" algn="ct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a:solidFill>
                  <a:schemeClr val="tx1"/>
                </a:solidFill>
              </a:rPr>
              <a:t>Government of Khyber Pakhtunkhwa</a:t>
            </a:r>
            <a:endParaRPr lang="en-US" sz="900" dirty="0">
              <a:solidFill>
                <a:schemeClr val="tx1"/>
              </a:solidFill>
            </a:endParaRPr>
          </a:p>
        </p:txBody>
      </p:sp>
      <p:cxnSp>
        <p:nvCxnSpPr>
          <p:cNvPr id="25" name="TopLineRight">
            <a:extLst>
              <a:ext uri="{FF2B5EF4-FFF2-40B4-BE49-F238E27FC236}">
                <a16:creationId xmlns:a16="http://schemas.microsoft.com/office/drawing/2014/main" id="{0201B559-53A5-4D8D-8C98-7ED52ACCCCB2}"/>
              </a:ext>
            </a:extLst>
          </p:cNvPr>
          <p:cNvCxnSpPr/>
          <p:nvPr userDrawn="1">
            <p:custDataLst>
              <p:tags r:id="rId10"/>
            </p:custDataLst>
          </p:nvPr>
        </p:nvCxnSpPr>
        <p:spPr>
          <a:xfrm>
            <a:off x="9119861" y="937377"/>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1BA93093-D8C7-45C3-AAB7-AF77483A9292}"/>
              </a:ext>
            </a:extLst>
          </p:cNvPr>
          <p:cNvCxnSpPr/>
          <p:nvPr userDrawn="1">
            <p:custDataLst>
              <p:tags r:id="rId11"/>
            </p:custDataLst>
          </p:nvPr>
        </p:nvCxnSpPr>
        <p:spPr>
          <a:xfrm>
            <a:off x="554736" y="937377"/>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98516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ext uri="{D42A27DB-BD31-4B8C-83A1-F6EECF244321}">
                <p14:modId xmlns:p14="http://schemas.microsoft.com/office/powerpoint/2010/main" val="2136692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7"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7" y="521970"/>
            <a:ext cx="10160065" cy="384721"/>
          </a:xfrm>
        </p:spPr>
        <p:txBody>
          <a:bodyPr>
            <a:sp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pic>
        <p:nvPicPr>
          <p:cNvPr id="11" name="Picture 288">
            <a:extLst>
              <a:ext uri="{FF2B5EF4-FFF2-40B4-BE49-F238E27FC236}">
                <a16:creationId xmlns:a16="http://schemas.microsoft.com/office/drawing/2014/main" id="{E8F69406-48F2-46A3-A50D-5BDA8951AA4A}"/>
              </a:ext>
            </a:extLst>
          </p:cNvPr>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10856494" y="74067"/>
            <a:ext cx="837450" cy="860146"/>
          </a:xfrm>
          <a:prstGeom prst="rect">
            <a:avLst/>
          </a:prstGeom>
          <a:noFill/>
          <a:extLst>
            <a:ext uri="{909E8E84-426E-40DD-AFC4-6F175D3DCCD1}">
              <a14:hiddenFill xmlns:a14="http://schemas.microsoft.com/office/drawing/2010/main">
                <a:solidFill>
                  <a:srgbClr val="FFFFFF"/>
                </a:solidFill>
              </a14:hiddenFill>
            </a:ext>
          </a:extLst>
        </p:spPr>
      </p:pic>
      <p:sp>
        <p:nvSpPr>
          <p:cNvPr id="12" name="Footer Placeholder 5">
            <a:extLst>
              <a:ext uri="{FF2B5EF4-FFF2-40B4-BE49-F238E27FC236}">
                <a16:creationId xmlns:a16="http://schemas.microsoft.com/office/drawing/2014/main" id="{C81710A1-E76E-4D4C-8BF7-33FCC7414A62}"/>
              </a:ext>
            </a:extLst>
          </p:cNvPr>
          <p:cNvSpPr txBox="1">
            <a:spLocks/>
          </p:cNvSpPr>
          <p:nvPr userDrawn="1"/>
        </p:nvSpPr>
        <p:spPr>
          <a:xfrm>
            <a:off x="9283474" y="6498753"/>
            <a:ext cx="1885131" cy="138499"/>
          </a:xfrm>
          <a:prstGeom prst="rect">
            <a:avLst/>
          </a:prstGeom>
        </p:spPr>
        <p:txBody>
          <a:bodyPr vert="horz" wrap="none" lIns="0" tIns="0" rIns="0" bIns="0" rtlCol="0" anchor="ctr">
            <a:spAutoFit/>
          </a:bodyPr>
          <a:lstStyle>
            <a:defPPr>
              <a:defRPr lang="en-US"/>
            </a:defPPr>
            <a:lvl1pPr marL="0" algn="ct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a:solidFill>
                  <a:schemeClr val="tx1"/>
                </a:solidFill>
              </a:rPr>
              <a:t>Government of Khyber Pakhtunkhwa</a:t>
            </a:r>
            <a:endParaRPr lang="en-US" sz="900" dirty="0">
              <a:solidFill>
                <a:schemeClr val="tx1"/>
              </a:solidFill>
            </a:endParaRPr>
          </a:p>
        </p:txBody>
      </p:sp>
      <p:cxnSp>
        <p:nvCxnSpPr>
          <p:cNvPr id="18" name="Straight Connector 17">
            <a:extLst>
              <a:ext uri="{FF2B5EF4-FFF2-40B4-BE49-F238E27FC236}">
                <a16:creationId xmlns:a16="http://schemas.microsoft.com/office/drawing/2014/main" id="{8764F4EC-8126-41DB-9F1E-559D1F1F1FCC}"/>
              </a:ext>
            </a:extLst>
          </p:cNvPr>
          <p:cNvCxnSpPr>
            <a:cxnSpLocks/>
          </p:cNvCxnSpPr>
          <p:nvPr userDrawn="1"/>
        </p:nvCxnSpPr>
        <p:spPr>
          <a:xfrm>
            <a:off x="554736" y="937377"/>
            <a:ext cx="11089576"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214939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ext uri="{D42A27DB-BD31-4B8C-83A1-F6EECF244321}">
                <p14:modId xmlns:p14="http://schemas.microsoft.com/office/powerpoint/2010/main" val="1201693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1"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288">
            <a:extLst>
              <a:ext uri="{FF2B5EF4-FFF2-40B4-BE49-F238E27FC236}">
                <a16:creationId xmlns:a16="http://schemas.microsoft.com/office/drawing/2014/main" id="{C523E553-160B-4F97-BE36-F6D7F3C14D29}"/>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5004933" y="2233287"/>
            <a:ext cx="2212614" cy="2272580"/>
          </a:xfrm>
          <a:prstGeom prst="rect">
            <a:avLst/>
          </a:prstGeom>
          <a:noFill/>
          <a:extLst>
            <a:ext uri="{909E8E84-426E-40DD-AFC4-6F175D3DCCD1}">
              <a14:hiddenFill xmlns:a14="http://schemas.microsoft.com/office/drawing/2010/main">
                <a:solidFill>
                  <a:srgbClr val="FFFFFF"/>
                </a:solidFill>
              </a14:hiddenFill>
            </a:ext>
          </a:extLst>
        </p:spPr>
      </p:pic>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149162319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End">
    <p:bg>
      <p:bgPr>
        <a:solidFill>
          <a:schemeClr val="accent6">
            <a:lumMod val="20000"/>
            <a:lumOff val="80000"/>
          </a:schemeClr>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ext uri="{D42A27DB-BD31-4B8C-83A1-F6EECF244321}">
                <p14:modId xmlns:p14="http://schemas.microsoft.com/office/powerpoint/2010/main" val="1217016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5"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5477287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38125" y="-86299"/>
            <a:ext cx="11334750" cy="701673"/>
          </a:xfrm>
        </p:spPr>
        <p:txBody>
          <a:bodyPr>
            <a:normAutofit/>
          </a:bodyPr>
          <a:lstStyle>
            <a:lvl1pPr>
              <a:defRPr sz="4000">
                <a:solidFill>
                  <a:srgbClr val="275C26"/>
                </a:solidFill>
              </a:defRPr>
            </a:lvl1pPr>
          </a:lstStyle>
          <a:p>
            <a:r>
              <a:rPr lang="en-US"/>
              <a:t>Click to edit Master title style</a:t>
            </a:r>
          </a:p>
        </p:txBody>
      </p:sp>
      <p:sp>
        <p:nvSpPr>
          <p:cNvPr id="3" name="Content Placeholder 2"/>
          <p:cNvSpPr>
            <a:spLocks noGrp="1"/>
          </p:cNvSpPr>
          <p:nvPr>
            <p:ph idx="1"/>
          </p:nvPr>
        </p:nvSpPr>
        <p:spPr>
          <a:xfrm>
            <a:off x="419100" y="1577976"/>
            <a:ext cx="11334750" cy="4613274"/>
          </a:xfrm>
        </p:spPr>
        <p:txBody>
          <a:bodyPr/>
          <a:lstStyle>
            <a:lvl1pPr>
              <a:buClr>
                <a:schemeClr val="accent6">
                  <a:lumMod val="50000"/>
                </a:schemeClr>
              </a:buClr>
              <a:defRPr/>
            </a:lvl1pPr>
            <a:lvl2pPr marL="685800" indent="-252000">
              <a:buClr>
                <a:schemeClr val="accent6">
                  <a:lumMod val="50000"/>
                </a:schemeClr>
              </a:buClr>
              <a:buFont typeface="Symbol" panose="05050102010706020507" pitchFamily="18" charset="2"/>
              <a:buChar char=""/>
              <a:defRPr/>
            </a:lvl2pPr>
            <a:lvl3pPr>
              <a:buClr>
                <a:schemeClr val="accent6">
                  <a:lumMod val="50000"/>
                </a:schemeClr>
              </a:buClr>
              <a:defRPr/>
            </a:lvl3pPr>
            <a:lvl4pPr>
              <a:buClr>
                <a:schemeClr val="accent6">
                  <a:lumMod val="50000"/>
                </a:schemeClr>
              </a:buClr>
              <a:defRPr/>
            </a:lvl4pPr>
            <a:lvl5pPr>
              <a:buClr>
                <a:schemeClr val="accent6">
                  <a:lumMod val="50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19100" y="6356350"/>
            <a:ext cx="2743200" cy="365125"/>
          </a:xfrm>
          <a:prstGeom prst="rect">
            <a:avLst/>
          </a:prstGeom>
        </p:spPr>
        <p:txBody>
          <a:bodyPr/>
          <a:lstStyle/>
          <a:p>
            <a:endParaRPr lang="en-GB"/>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9010650" y="6359525"/>
            <a:ext cx="2743200" cy="365125"/>
          </a:xfrm>
          <a:prstGeom prst="rect">
            <a:avLst/>
          </a:prstGeom>
        </p:spPr>
        <p:txBody>
          <a:bodyPr/>
          <a:lstStyle/>
          <a:p>
            <a:fld id="{AECC9F4F-EA36-4B42-8EE7-919FA8C3AD41}" type="slidenum">
              <a:rPr lang="en-GB" smtClean="0"/>
              <a:t>‹#›</a:t>
            </a:fld>
            <a:endParaRPr lang="en-GB"/>
          </a:p>
        </p:txBody>
      </p:sp>
      <p:sp>
        <p:nvSpPr>
          <p:cNvPr id="20" name="Text Placeholder 19">
            <a:extLst>
              <a:ext uri="{FF2B5EF4-FFF2-40B4-BE49-F238E27FC236}">
                <a16:creationId xmlns:a16="http://schemas.microsoft.com/office/drawing/2014/main" id="{68EA9D27-C3C6-4C3E-89DD-D85EC3E45945}"/>
              </a:ext>
            </a:extLst>
          </p:cNvPr>
          <p:cNvSpPr>
            <a:spLocks noGrp="1"/>
          </p:cNvSpPr>
          <p:nvPr>
            <p:ph type="body" sz="quarter" idx="13"/>
          </p:nvPr>
        </p:nvSpPr>
        <p:spPr>
          <a:xfrm>
            <a:off x="419100" y="962025"/>
            <a:ext cx="11334750" cy="512763"/>
          </a:xfrm>
        </p:spPr>
        <p:txBody>
          <a:bodyPr>
            <a:normAutofit/>
          </a:bodyPr>
          <a:lstStyle>
            <a:lvl1pPr marL="0" indent="0">
              <a:buNone/>
              <a:defRPr sz="2400" i="1"/>
            </a:lvl1pPr>
          </a:lstStyle>
          <a:p>
            <a:pPr lvl="0"/>
            <a:r>
              <a:rPr lang="en-US"/>
              <a:t>Click to edit Master text styles</a:t>
            </a:r>
          </a:p>
        </p:txBody>
      </p:sp>
    </p:spTree>
    <p:extLst>
      <p:ext uri="{BB962C8B-B14F-4D97-AF65-F5344CB8AC3E}">
        <p14:creationId xmlns:p14="http://schemas.microsoft.com/office/powerpoint/2010/main" val="26384075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B4792231-69F4-4F9D-9049-A1DDF7DEBE79}" type="slidenum">
              <a:rPr lang="en-US" smtClean="0"/>
              <a:t>‹#›</a:t>
            </a:fld>
            <a:endParaRPr lang="en-US"/>
          </a:p>
        </p:txBody>
      </p:sp>
    </p:spTree>
    <p:extLst>
      <p:ext uri="{BB962C8B-B14F-4D97-AF65-F5344CB8AC3E}">
        <p14:creationId xmlns:p14="http://schemas.microsoft.com/office/powerpoint/2010/main" val="15089667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007 Big Title">
  <p:cSld name="007 Big Title">
    <p:spTree>
      <p:nvGrpSpPr>
        <p:cNvPr id="1" name="Shape 46"/>
        <p:cNvGrpSpPr/>
        <p:nvPr/>
      </p:nvGrpSpPr>
      <p:grpSpPr>
        <a:xfrm>
          <a:off x="0" y="0"/>
          <a:ext cx="0" cy="0"/>
          <a:chOff x="0" y="0"/>
          <a:chExt cx="0" cy="0"/>
        </a:xfrm>
      </p:grpSpPr>
      <p:sp>
        <p:nvSpPr>
          <p:cNvPr id="47" name="Google Shape;47;p8"/>
          <p:cNvSpPr txBox="1">
            <a:spLocks noGrp="1"/>
          </p:cNvSpPr>
          <p:nvPr>
            <p:ph type="title"/>
          </p:nvPr>
        </p:nvSpPr>
        <p:spPr>
          <a:xfrm>
            <a:off x="511300" y="1949725"/>
            <a:ext cx="11142300" cy="3160800"/>
          </a:xfrm>
          <a:prstGeom prst="rect">
            <a:avLst/>
          </a:prstGeom>
        </p:spPr>
        <p:txBody>
          <a:bodyPr spcFirstLastPara="1" wrap="square" lIns="121900" tIns="121900" rIns="121900" bIns="121900" anchor="ctr" anchorCtr="0">
            <a:noAutofit/>
          </a:bodyPr>
          <a:lstStyle>
            <a:lvl1pPr lvl="0" algn="ctr" rtl="0">
              <a:spcBef>
                <a:spcPts val="0"/>
              </a:spcBef>
              <a:spcAft>
                <a:spcPts val="0"/>
              </a:spcAft>
              <a:buSzPts val="5000"/>
              <a:buNone/>
              <a:defRPr sz="5000"/>
            </a:lvl1pPr>
            <a:lvl2pPr lvl="1" algn="ctr" rtl="0">
              <a:spcBef>
                <a:spcPts val="0"/>
              </a:spcBef>
              <a:spcAft>
                <a:spcPts val="0"/>
              </a:spcAft>
              <a:buSzPts val="5000"/>
              <a:buNone/>
              <a:defRPr sz="5000"/>
            </a:lvl2pPr>
            <a:lvl3pPr lvl="2" algn="ctr" rtl="0">
              <a:spcBef>
                <a:spcPts val="0"/>
              </a:spcBef>
              <a:spcAft>
                <a:spcPts val="0"/>
              </a:spcAft>
              <a:buSzPts val="5000"/>
              <a:buNone/>
              <a:defRPr sz="5000"/>
            </a:lvl3pPr>
            <a:lvl4pPr lvl="3" algn="ctr" rtl="0">
              <a:spcBef>
                <a:spcPts val="0"/>
              </a:spcBef>
              <a:spcAft>
                <a:spcPts val="0"/>
              </a:spcAft>
              <a:buSzPts val="5000"/>
              <a:buNone/>
              <a:defRPr sz="5000"/>
            </a:lvl4pPr>
            <a:lvl5pPr lvl="4" algn="ctr" rtl="0">
              <a:spcBef>
                <a:spcPts val="0"/>
              </a:spcBef>
              <a:spcAft>
                <a:spcPts val="0"/>
              </a:spcAft>
              <a:buSzPts val="5000"/>
              <a:buNone/>
              <a:defRPr sz="5000"/>
            </a:lvl5pPr>
            <a:lvl6pPr lvl="5" algn="ctr" rtl="0">
              <a:spcBef>
                <a:spcPts val="0"/>
              </a:spcBef>
              <a:spcAft>
                <a:spcPts val="0"/>
              </a:spcAft>
              <a:buSzPts val="5000"/>
              <a:buNone/>
              <a:defRPr sz="5000"/>
            </a:lvl6pPr>
            <a:lvl7pPr lvl="6" algn="ctr" rtl="0">
              <a:spcBef>
                <a:spcPts val="0"/>
              </a:spcBef>
              <a:spcAft>
                <a:spcPts val="0"/>
              </a:spcAft>
              <a:buSzPts val="5000"/>
              <a:buNone/>
              <a:defRPr sz="5000"/>
            </a:lvl7pPr>
            <a:lvl8pPr lvl="7" algn="ctr" rtl="0">
              <a:spcBef>
                <a:spcPts val="0"/>
              </a:spcBef>
              <a:spcAft>
                <a:spcPts val="0"/>
              </a:spcAft>
              <a:buSzPts val="5000"/>
              <a:buNone/>
              <a:defRPr sz="5000"/>
            </a:lvl8pPr>
            <a:lvl9pPr lvl="8" algn="ctr" rtl="0">
              <a:spcBef>
                <a:spcPts val="0"/>
              </a:spcBef>
              <a:spcAft>
                <a:spcPts val="0"/>
              </a:spcAft>
              <a:buSzPts val="5000"/>
              <a:buNone/>
              <a:defRPr sz="5000"/>
            </a:lvl9pPr>
          </a:lstStyle>
          <a:p>
            <a:endParaRPr/>
          </a:p>
        </p:txBody>
      </p:sp>
      <p:sp>
        <p:nvSpPr>
          <p:cNvPr id="48" name="Google Shape;48;p8"/>
          <p:cNvSpPr txBox="1">
            <a:spLocks noGrp="1"/>
          </p:cNvSpPr>
          <p:nvPr>
            <p:ph type="subTitle" idx="1"/>
          </p:nvPr>
        </p:nvSpPr>
        <p:spPr>
          <a:xfrm>
            <a:off x="511375" y="5538475"/>
            <a:ext cx="11142300" cy="717900"/>
          </a:xfrm>
          <a:prstGeom prst="rect">
            <a:avLst/>
          </a:prstGeom>
        </p:spPr>
        <p:txBody>
          <a:bodyPr spcFirstLastPara="1" wrap="square" lIns="121900" tIns="121900" rIns="121900" bIns="121900" anchor="b" anchorCtr="0">
            <a:noAutofit/>
          </a:bodyPr>
          <a:lstStyle>
            <a:lvl1pPr lvl="0" algn="r" rtl="0">
              <a:lnSpc>
                <a:spcPct val="100000"/>
              </a:lnSpc>
              <a:spcBef>
                <a:spcPts val="0"/>
              </a:spcBef>
              <a:spcAft>
                <a:spcPts val="0"/>
              </a:spcAft>
              <a:buSzPts val="1900"/>
              <a:buNone/>
              <a:defRPr/>
            </a:lvl1pPr>
            <a:lvl2pPr lvl="1" algn="r" rtl="0">
              <a:lnSpc>
                <a:spcPct val="100000"/>
              </a:lnSpc>
              <a:spcBef>
                <a:spcPts val="0"/>
              </a:spcBef>
              <a:spcAft>
                <a:spcPts val="0"/>
              </a:spcAft>
              <a:buSzPts val="1900"/>
              <a:buNone/>
              <a:defRPr/>
            </a:lvl2pPr>
            <a:lvl3pPr lvl="2" algn="r" rtl="0">
              <a:lnSpc>
                <a:spcPct val="100000"/>
              </a:lnSpc>
              <a:spcBef>
                <a:spcPts val="0"/>
              </a:spcBef>
              <a:spcAft>
                <a:spcPts val="0"/>
              </a:spcAft>
              <a:buSzPts val="1900"/>
              <a:buNone/>
              <a:defRPr/>
            </a:lvl3pPr>
            <a:lvl4pPr lvl="3" algn="r" rtl="0">
              <a:lnSpc>
                <a:spcPct val="100000"/>
              </a:lnSpc>
              <a:spcBef>
                <a:spcPts val="0"/>
              </a:spcBef>
              <a:spcAft>
                <a:spcPts val="0"/>
              </a:spcAft>
              <a:buSzPts val="1900"/>
              <a:buNone/>
              <a:defRPr/>
            </a:lvl4pPr>
            <a:lvl5pPr lvl="4" algn="r" rtl="0">
              <a:lnSpc>
                <a:spcPct val="100000"/>
              </a:lnSpc>
              <a:spcBef>
                <a:spcPts val="0"/>
              </a:spcBef>
              <a:spcAft>
                <a:spcPts val="0"/>
              </a:spcAft>
              <a:buSzPts val="1900"/>
              <a:buNone/>
              <a:defRPr/>
            </a:lvl5pPr>
            <a:lvl6pPr lvl="5" algn="r" rtl="0">
              <a:lnSpc>
                <a:spcPct val="100000"/>
              </a:lnSpc>
              <a:spcBef>
                <a:spcPts val="0"/>
              </a:spcBef>
              <a:spcAft>
                <a:spcPts val="0"/>
              </a:spcAft>
              <a:buSzPts val="1900"/>
              <a:buNone/>
              <a:defRPr/>
            </a:lvl6pPr>
            <a:lvl7pPr lvl="6" algn="r" rtl="0">
              <a:lnSpc>
                <a:spcPct val="100000"/>
              </a:lnSpc>
              <a:spcBef>
                <a:spcPts val="0"/>
              </a:spcBef>
              <a:spcAft>
                <a:spcPts val="0"/>
              </a:spcAft>
              <a:buSzPts val="1900"/>
              <a:buNone/>
              <a:defRPr/>
            </a:lvl7pPr>
            <a:lvl8pPr lvl="7" algn="r" rtl="0">
              <a:lnSpc>
                <a:spcPct val="100000"/>
              </a:lnSpc>
              <a:spcBef>
                <a:spcPts val="0"/>
              </a:spcBef>
              <a:spcAft>
                <a:spcPts val="0"/>
              </a:spcAft>
              <a:buSzPts val="1900"/>
              <a:buNone/>
              <a:defRPr/>
            </a:lvl8pPr>
            <a:lvl9pPr lvl="8" algn="r" rtl="0">
              <a:lnSpc>
                <a:spcPct val="100000"/>
              </a:lnSpc>
              <a:spcBef>
                <a:spcPts val="0"/>
              </a:spcBef>
              <a:spcAft>
                <a:spcPts val="0"/>
              </a:spcAft>
              <a:buSzPts val="1900"/>
              <a:buNone/>
              <a:defRPr/>
            </a:lvl9pPr>
          </a:lstStyle>
          <a:p>
            <a:endParaRPr dirty="0"/>
          </a:p>
        </p:txBody>
      </p:sp>
    </p:spTree>
    <p:extLst>
      <p:ext uri="{BB962C8B-B14F-4D97-AF65-F5344CB8AC3E}">
        <p14:creationId xmlns:p14="http://schemas.microsoft.com/office/powerpoint/2010/main" val="26240115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688169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7"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7" y="103152"/>
            <a:ext cx="10160065" cy="731520"/>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16937253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ext uri="{D42A27DB-BD31-4B8C-83A1-F6EECF244321}">
                <p14:modId xmlns:p14="http://schemas.microsoft.com/office/powerpoint/2010/main" val="2242582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1"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4547734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ext uri="{D42A27DB-BD31-4B8C-83A1-F6EECF244321}">
                <p14:modId xmlns:p14="http://schemas.microsoft.com/office/powerpoint/2010/main" val="4177902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5"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932172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ext uri="{D42A27DB-BD31-4B8C-83A1-F6EECF244321}">
                <p14:modId xmlns:p14="http://schemas.microsoft.com/office/powerpoint/2010/main" val="26092744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9"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8257920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ext uri="{D42A27DB-BD31-4B8C-83A1-F6EECF244321}">
                <p14:modId xmlns:p14="http://schemas.microsoft.com/office/powerpoint/2010/main" val="250731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3"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423444067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19998995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7" name="think-cell Slide" r:id="rId12" imgW="413" imgH="416" progId="TCLayout.ActiveDocument.1">
                  <p:embed/>
                </p:oleObj>
              </mc:Choice>
              <mc:Fallback>
                <p:oleObj name="think-cell Slide" r:id="rId12"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FFCE4"/>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9"/>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3" name="Footer Placeholder 5">
            <a:extLst>
              <a:ext uri="{FF2B5EF4-FFF2-40B4-BE49-F238E27FC236}">
                <a16:creationId xmlns:a16="http://schemas.microsoft.com/office/drawing/2014/main" id="{5C41599A-8B2D-4A1E-BD19-DCE48FA92F66}"/>
              </a:ext>
            </a:extLst>
          </p:cNvPr>
          <p:cNvSpPr txBox="1">
            <a:spLocks/>
          </p:cNvSpPr>
          <p:nvPr userDrawn="1"/>
        </p:nvSpPr>
        <p:spPr>
          <a:xfrm>
            <a:off x="9283474" y="6498753"/>
            <a:ext cx="1885131" cy="138499"/>
          </a:xfrm>
          <a:prstGeom prst="rect">
            <a:avLst/>
          </a:prstGeom>
        </p:spPr>
        <p:txBody>
          <a:bodyPr vert="horz" wrap="none" lIns="0" tIns="0" rIns="0" bIns="0" rtlCol="0" anchor="ctr">
            <a:spAutoFit/>
          </a:bodyPr>
          <a:lstStyle>
            <a:defPPr>
              <a:defRPr lang="en-US"/>
            </a:defPPr>
            <a:lvl1pPr marL="0" algn="ct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a:solidFill>
                  <a:schemeClr val="tx1"/>
                </a:solidFill>
              </a:rPr>
              <a:t>Government of Khyber Pakhtunkhwa</a:t>
            </a:r>
            <a:endParaRPr lang="en-US" sz="900" dirty="0">
              <a:solidFill>
                <a:schemeClr val="tx1"/>
              </a:solidFill>
            </a:endParaRPr>
          </a:p>
        </p:txBody>
      </p:sp>
      <p:cxnSp>
        <p:nvCxnSpPr>
          <p:cNvPr id="18" name="TopLineLeft">
            <a:extLst>
              <a:ext uri="{FF2B5EF4-FFF2-40B4-BE49-F238E27FC236}">
                <a16:creationId xmlns:a16="http://schemas.microsoft.com/office/drawing/2014/main" id="{D19401A5-72E5-4C46-8FAA-8600CAC41277}"/>
              </a:ext>
            </a:extLst>
          </p:cNvPr>
          <p:cNvCxnSpPr/>
          <p:nvPr userDrawn="1">
            <p:custDataLst>
              <p:tags r:id="rId10"/>
            </p:custDataLst>
          </p:nvPr>
        </p:nvCxnSpPr>
        <p:spPr>
          <a:xfrm>
            <a:off x="554736" y="937377"/>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1640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3351185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 name="think-cell Slide" r:id="rId13" imgW="413" imgH="416" progId="TCLayout.ActiveDocument.1">
                  <p:embed/>
                </p:oleObj>
              </mc:Choice>
              <mc:Fallback>
                <p:oleObj name="think-cell Slide" r:id="rId13"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FFCE4"/>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6"/>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7"/>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9"/>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pic>
        <p:nvPicPr>
          <p:cNvPr id="12" name="Picture 288">
            <a:extLst>
              <a:ext uri="{FF2B5EF4-FFF2-40B4-BE49-F238E27FC236}">
                <a16:creationId xmlns:a16="http://schemas.microsoft.com/office/drawing/2014/main" id="{FD1F626C-A86C-4520-A582-147DA197EBF2}"/>
              </a:ext>
            </a:extLst>
          </p:cNvPr>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10856494" y="74067"/>
            <a:ext cx="837450" cy="860146"/>
          </a:xfrm>
          <a:prstGeom prst="rect">
            <a:avLst/>
          </a:prstGeom>
          <a:noFill/>
          <a:extLst>
            <a:ext uri="{909E8E84-426E-40DD-AFC4-6F175D3DCCD1}">
              <a14:hiddenFill xmlns:a14="http://schemas.microsoft.com/office/drawing/2010/main">
                <a:solidFill>
                  <a:srgbClr val="FFFFFF"/>
                </a:solidFill>
              </a14:hiddenFill>
            </a:ext>
          </a:extLst>
        </p:spPr>
      </p:pic>
      <p:sp>
        <p:nvSpPr>
          <p:cNvPr id="13" name="Footer Placeholder 5">
            <a:extLst>
              <a:ext uri="{FF2B5EF4-FFF2-40B4-BE49-F238E27FC236}">
                <a16:creationId xmlns:a16="http://schemas.microsoft.com/office/drawing/2014/main" id="{BFAF0B23-BF46-42E3-9C8D-062896DC1F39}"/>
              </a:ext>
            </a:extLst>
          </p:cNvPr>
          <p:cNvSpPr txBox="1">
            <a:spLocks/>
          </p:cNvSpPr>
          <p:nvPr userDrawn="1"/>
        </p:nvSpPr>
        <p:spPr>
          <a:xfrm>
            <a:off x="9283474" y="6498753"/>
            <a:ext cx="1885131" cy="138499"/>
          </a:xfrm>
          <a:prstGeom prst="rect">
            <a:avLst/>
          </a:prstGeom>
        </p:spPr>
        <p:txBody>
          <a:bodyPr vert="horz" wrap="none" lIns="0" tIns="0" rIns="0" bIns="0" rtlCol="0" anchor="ctr">
            <a:spAutoFit/>
          </a:bodyPr>
          <a:lstStyle>
            <a:defPPr>
              <a:defRPr lang="en-US"/>
            </a:defPPr>
            <a:lvl1pPr marL="0" algn="ct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a:solidFill>
                  <a:schemeClr val="tx1"/>
                </a:solidFill>
              </a:rPr>
              <a:t>Government of Khyber Pakhtunkhwa</a:t>
            </a:r>
            <a:endParaRPr lang="en-US" sz="900" dirty="0">
              <a:solidFill>
                <a:schemeClr val="tx1"/>
              </a:solidFill>
            </a:endParaRPr>
          </a:p>
        </p:txBody>
      </p:sp>
      <p:cxnSp>
        <p:nvCxnSpPr>
          <p:cNvPr id="16" name="TopLineRight">
            <a:extLst>
              <a:ext uri="{FF2B5EF4-FFF2-40B4-BE49-F238E27FC236}">
                <a16:creationId xmlns:a16="http://schemas.microsoft.com/office/drawing/2014/main" id="{4BCEE20B-068B-4409-9929-C9F6EFDCE7C2}"/>
              </a:ext>
            </a:extLst>
          </p:cNvPr>
          <p:cNvCxnSpPr/>
          <p:nvPr userDrawn="1">
            <p:custDataLst>
              <p:tags r:id="rId10"/>
            </p:custDataLst>
          </p:nvPr>
        </p:nvCxnSpPr>
        <p:spPr>
          <a:xfrm>
            <a:off x="4671219" y="937377"/>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TopLineLeft">
            <a:extLst>
              <a:ext uri="{FF2B5EF4-FFF2-40B4-BE49-F238E27FC236}">
                <a16:creationId xmlns:a16="http://schemas.microsoft.com/office/drawing/2014/main" id="{04B50E07-5CF6-4FA4-80C0-5A97640377DD}"/>
              </a:ext>
            </a:extLst>
          </p:cNvPr>
          <p:cNvCxnSpPr/>
          <p:nvPr userDrawn="1">
            <p:custDataLst>
              <p:tags r:id="rId11"/>
            </p:custDataLst>
          </p:nvPr>
        </p:nvCxnSpPr>
        <p:spPr>
          <a:xfrm>
            <a:off x="554736" y="937377"/>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1007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8038578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5" name="think-cell Slide" r:id="rId14" imgW="413" imgH="416" progId="TCLayout.ActiveDocument.1">
                  <p:embed/>
                </p:oleObj>
              </mc:Choice>
              <mc:Fallback>
                <p:oleObj name="think-cell Slide" r:id="rId14"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FFCE4"/>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519011"/>
            <a:ext cx="5065776" cy="384721"/>
          </a:xfrm>
        </p:spPr>
        <p:txBody>
          <a:bodyPr>
            <a:spAutoFit/>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8" y="976471"/>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pic>
        <p:nvPicPr>
          <p:cNvPr id="12" name="Picture 288">
            <a:extLst>
              <a:ext uri="{FF2B5EF4-FFF2-40B4-BE49-F238E27FC236}">
                <a16:creationId xmlns:a16="http://schemas.microsoft.com/office/drawing/2014/main" id="{71C1E2E7-775A-4A1D-B5DE-019923E5B125}"/>
              </a:ext>
            </a:extLst>
          </p:cNvPr>
          <p:cNvPicPr>
            <a:picLocks noChangeAspect="1" noChangeArrowheads="1"/>
          </p:cNvPicPr>
          <p:nvPr userDrawn="1"/>
        </p:nvPicPr>
        <p:blipFill>
          <a:blip r:embed="rId16" cstate="print">
            <a:extLst>
              <a:ext uri="{28A0092B-C50C-407E-A947-70E740481C1C}">
                <a14:useLocalDpi xmlns:a14="http://schemas.microsoft.com/office/drawing/2010/main" val="0"/>
              </a:ext>
            </a:extLst>
          </a:blip>
          <a:srcRect/>
          <a:stretch>
            <a:fillRect/>
          </a:stretch>
        </p:blipFill>
        <p:spPr bwMode="auto">
          <a:xfrm>
            <a:off x="10856494" y="74067"/>
            <a:ext cx="837450" cy="860146"/>
          </a:xfrm>
          <a:prstGeom prst="rect">
            <a:avLst/>
          </a:prstGeom>
          <a:noFill/>
          <a:extLst>
            <a:ext uri="{909E8E84-426E-40DD-AFC4-6F175D3DCCD1}">
              <a14:hiddenFill xmlns:a14="http://schemas.microsoft.com/office/drawing/2010/main">
                <a:solidFill>
                  <a:srgbClr val="FFFFFF"/>
                </a:solidFill>
              </a14:hiddenFill>
            </a:ext>
          </a:extLst>
        </p:spPr>
      </p:pic>
      <p:sp>
        <p:nvSpPr>
          <p:cNvPr id="13" name="Footer Placeholder 5">
            <a:extLst>
              <a:ext uri="{FF2B5EF4-FFF2-40B4-BE49-F238E27FC236}">
                <a16:creationId xmlns:a16="http://schemas.microsoft.com/office/drawing/2014/main" id="{390BA6A6-D622-40EC-8EE4-FAF115321C41}"/>
              </a:ext>
            </a:extLst>
          </p:cNvPr>
          <p:cNvSpPr txBox="1">
            <a:spLocks/>
          </p:cNvSpPr>
          <p:nvPr userDrawn="1"/>
        </p:nvSpPr>
        <p:spPr>
          <a:xfrm>
            <a:off x="9283474" y="6498753"/>
            <a:ext cx="1885131" cy="138499"/>
          </a:xfrm>
          <a:prstGeom prst="rect">
            <a:avLst/>
          </a:prstGeom>
        </p:spPr>
        <p:txBody>
          <a:bodyPr vert="horz" wrap="none" lIns="0" tIns="0" rIns="0" bIns="0" rtlCol="0" anchor="ctr">
            <a:spAutoFit/>
          </a:bodyPr>
          <a:lstStyle>
            <a:defPPr>
              <a:defRPr lang="en-US"/>
            </a:defPPr>
            <a:lvl1pPr marL="0" algn="ct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a:solidFill>
                  <a:schemeClr val="tx1"/>
                </a:solidFill>
              </a:rPr>
              <a:t>Government of Khyber Pakhtunkhwa</a:t>
            </a:r>
            <a:endParaRPr lang="en-US" sz="900" dirty="0">
              <a:solidFill>
                <a:schemeClr val="tx1"/>
              </a:solidFill>
            </a:endParaRPr>
          </a:p>
        </p:txBody>
      </p:sp>
      <p:cxnSp>
        <p:nvCxnSpPr>
          <p:cNvPr id="17" name="TopLineRight">
            <a:extLst>
              <a:ext uri="{FF2B5EF4-FFF2-40B4-BE49-F238E27FC236}">
                <a16:creationId xmlns:a16="http://schemas.microsoft.com/office/drawing/2014/main" id="{4621481D-27E5-4F87-B45B-41DC18907499}"/>
              </a:ext>
            </a:extLst>
          </p:cNvPr>
          <p:cNvCxnSpPr/>
          <p:nvPr userDrawn="1">
            <p:custDataLst>
              <p:tags r:id="rId10"/>
            </p:custDataLst>
          </p:nvPr>
        </p:nvCxnSpPr>
        <p:spPr>
          <a:xfrm>
            <a:off x="6573171" y="937377"/>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 name="TopLineLeft">
            <a:extLst>
              <a:ext uri="{FF2B5EF4-FFF2-40B4-BE49-F238E27FC236}">
                <a16:creationId xmlns:a16="http://schemas.microsoft.com/office/drawing/2014/main" id="{29C45080-F0A3-4994-8BE9-0C272784001F}"/>
              </a:ext>
            </a:extLst>
          </p:cNvPr>
          <p:cNvCxnSpPr/>
          <p:nvPr userDrawn="1">
            <p:custDataLst>
              <p:tags r:id="rId11"/>
            </p:custDataLst>
          </p:nvPr>
        </p:nvCxnSpPr>
        <p:spPr>
          <a:xfrm>
            <a:off x="554736" y="937377"/>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0324EE6-02E1-4789-BCBA-CEC16E7B160F}"/>
              </a:ext>
            </a:extLst>
          </p:cNvPr>
          <p:cNvCxnSpPr/>
          <p:nvPr userDrawn="1">
            <p:custDataLst>
              <p:tags r:id="rId12"/>
            </p:custDataLst>
          </p:nvPr>
        </p:nvCxnSpPr>
        <p:spPr>
          <a:xfrm>
            <a:off x="554736" y="937377"/>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411383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9" Type="http://schemas.openxmlformats.org/officeDocument/2006/relationships/tags" Target="../tags/tag20.xml"/><Relationship Id="rId21" Type="http://schemas.openxmlformats.org/officeDocument/2006/relationships/tags" Target="../tags/tag2.xml"/><Relationship Id="rId34" Type="http://schemas.openxmlformats.org/officeDocument/2006/relationships/tags" Target="../tags/tag15.xml"/><Relationship Id="rId42" Type="http://schemas.openxmlformats.org/officeDocument/2006/relationships/image" Target="../media/image2.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tags" Target="../tags/tag10.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32" Type="http://schemas.openxmlformats.org/officeDocument/2006/relationships/tags" Target="../tags/tag13.xml"/><Relationship Id="rId37" Type="http://schemas.openxmlformats.org/officeDocument/2006/relationships/tags" Target="../tags/tag18.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tags" Target="../tags/tag9.xml"/><Relationship Id="rId36" Type="http://schemas.openxmlformats.org/officeDocument/2006/relationships/tags" Target="../tags/tag17.xml"/><Relationship Id="rId10" Type="http://schemas.openxmlformats.org/officeDocument/2006/relationships/slideLayout" Target="../slideLayouts/slideLayout10.xml"/><Relationship Id="rId19" Type="http://schemas.openxmlformats.org/officeDocument/2006/relationships/vmlDrawing" Target="../drawings/vmlDrawing1.vml"/><Relationship Id="rId31" Type="http://schemas.openxmlformats.org/officeDocument/2006/relationships/tags" Target="../tags/tag1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tags" Target="../tags/tag8.xml"/><Relationship Id="rId30" Type="http://schemas.openxmlformats.org/officeDocument/2006/relationships/tags" Target="../tags/tag11.xml"/><Relationship Id="rId35" Type="http://schemas.openxmlformats.org/officeDocument/2006/relationships/tags" Target="../tags/tag16.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33" Type="http://schemas.openxmlformats.org/officeDocument/2006/relationships/tags" Target="../tags/tag14.xml"/><Relationship Id="rId38" Type="http://schemas.openxmlformats.org/officeDocument/2006/relationships/tags" Target="../tags/tag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0"/>
            </p:custDataLst>
            <p:extLst>
              <p:ext uri="{D42A27DB-BD31-4B8C-83A1-F6EECF244321}">
                <p14:modId xmlns:p14="http://schemas.microsoft.com/office/powerpoint/2010/main" val="14985277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9" name="think-cell Slide" r:id="rId40" imgW="413" imgH="416" progId="TCLayout.ActiveDocument.1">
                  <p:embed/>
                </p:oleObj>
              </mc:Choice>
              <mc:Fallback>
                <p:oleObj name="think-cell Slide" r:id="rId40"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1"/>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10160065"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4"/>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p>
          <a:p>
            <a:pPr lvl="0"/>
            <a:r>
              <a:rPr lang="en-US"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70" name="LegendLines" hidden="1">
            <a:extLst>
              <a:ext uri="{FF2B5EF4-FFF2-40B4-BE49-F238E27FC236}">
                <a16:creationId xmlns:a16="http://schemas.microsoft.com/office/drawing/2014/main" id="{6017DE47-4B7E-4602-A5D8-84F1D054B685}"/>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E773DEB-38A3-4D4F-8F3A-7DED71AB991A}"/>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72" name="Legend2">
              <a:extLst>
                <a:ext uri="{FF2B5EF4-FFF2-40B4-BE49-F238E27FC236}">
                  <a16:creationId xmlns:a16="http://schemas.microsoft.com/office/drawing/2014/main" id="{0BBD940B-C7B3-42F9-A317-3A6409A75F43}"/>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3" name="Legend3">
              <a:extLst>
                <a:ext uri="{FF2B5EF4-FFF2-40B4-BE49-F238E27FC236}">
                  <a16:creationId xmlns:a16="http://schemas.microsoft.com/office/drawing/2014/main" id="{C26E9D6E-D5B2-4063-BC7C-9B64A65F12D6}"/>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4" name="LineLegend3">
              <a:extLst>
                <a:ext uri="{FF2B5EF4-FFF2-40B4-BE49-F238E27FC236}">
                  <a16:creationId xmlns:a16="http://schemas.microsoft.com/office/drawing/2014/main" id="{D75199AB-4672-4D43-A550-E0AD095E38D9}"/>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75" name="LineLegend2">
              <a:extLst>
                <a:ext uri="{FF2B5EF4-FFF2-40B4-BE49-F238E27FC236}">
                  <a16:creationId xmlns:a16="http://schemas.microsoft.com/office/drawing/2014/main" id="{C54E0345-E77E-4F4E-A6DE-370FD26C5833}"/>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76" name="LineLegend1">
              <a:extLst>
                <a:ext uri="{FF2B5EF4-FFF2-40B4-BE49-F238E27FC236}">
                  <a16:creationId xmlns:a16="http://schemas.microsoft.com/office/drawing/2014/main" id="{6EF73E9A-1D4C-4C71-AC42-915A9A82D8EE}"/>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77" name="LegendMoons" hidden="1">
            <a:extLst>
              <a:ext uri="{FF2B5EF4-FFF2-40B4-BE49-F238E27FC236}">
                <a16:creationId xmlns:a16="http://schemas.microsoft.com/office/drawing/2014/main" id="{293BE944-4FB1-49E4-A46A-DFB832FADF2D}"/>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7C824262-8989-4B2D-8DBF-135E9E168DBC}"/>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86" name="Legend2">
              <a:extLst>
                <a:ext uri="{FF2B5EF4-FFF2-40B4-BE49-F238E27FC236}">
                  <a16:creationId xmlns:a16="http://schemas.microsoft.com/office/drawing/2014/main" id="{F6423FB4-50F6-480B-81B0-87D1466FC3D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98" name="Legend3">
              <a:extLst>
                <a:ext uri="{FF2B5EF4-FFF2-40B4-BE49-F238E27FC236}">
                  <a16:creationId xmlns:a16="http://schemas.microsoft.com/office/drawing/2014/main" id="{F5CAFF64-59BF-4FFA-A7EC-6C6AB587CFFB}"/>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99" name="Legend4">
              <a:extLst>
                <a:ext uri="{FF2B5EF4-FFF2-40B4-BE49-F238E27FC236}">
                  <a16:creationId xmlns:a16="http://schemas.microsoft.com/office/drawing/2014/main" id="{16DCA56E-1BE7-44F5-B451-C39F813FE2B6}"/>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00" name="Legend5">
              <a:extLst>
                <a:ext uri="{FF2B5EF4-FFF2-40B4-BE49-F238E27FC236}">
                  <a16:creationId xmlns:a16="http://schemas.microsoft.com/office/drawing/2014/main" id="{115CD1D8-A840-4C47-8BAE-4755ADB1023C}"/>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grpSp>
          <p:nvGrpSpPr>
            <p:cNvPr id="201" name="MoonLegend1">
              <a:extLst>
                <a:ext uri="{FF2B5EF4-FFF2-40B4-BE49-F238E27FC236}">
                  <a16:creationId xmlns:a16="http://schemas.microsoft.com/office/drawing/2014/main" id="{98251E0D-E6AA-48B7-9F7E-F065654B0419}"/>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2BCBBD5C-74E4-49E5-AB9C-046CC11FD95D}"/>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5" name="Arc 214">
                <a:extLst>
                  <a:ext uri="{FF2B5EF4-FFF2-40B4-BE49-F238E27FC236}">
                    <a16:creationId xmlns:a16="http://schemas.microsoft.com/office/drawing/2014/main" id="{FA7671A9-71DB-43E2-9D83-DE6CB521F4F4}"/>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E4E3E41D-ACEE-448A-9712-FCB4DC84E263}"/>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A14524F-36B3-4640-BB23-FC3334384374}"/>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3" name="Arc 212">
                <a:extLst>
                  <a:ext uri="{FF2B5EF4-FFF2-40B4-BE49-F238E27FC236}">
                    <a16:creationId xmlns:a16="http://schemas.microsoft.com/office/drawing/2014/main" id="{6B313E13-C478-43A9-8722-8D490DFC9F2B}"/>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346CEEAD-EB0F-4654-9B74-E9B88E15E92E}"/>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F1CCE464-A935-45D5-9DD2-6FD002E2E10F}"/>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1" name="Arc 210">
                <a:extLst>
                  <a:ext uri="{FF2B5EF4-FFF2-40B4-BE49-F238E27FC236}">
                    <a16:creationId xmlns:a16="http://schemas.microsoft.com/office/drawing/2014/main" id="{F06CB200-3A1A-467F-8166-1307ABD2F9DA}"/>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A3F57F0F-CFB6-4459-98C3-704A188C1688}"/>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36A70474-5B3B-4D05-B276-92201F90794C}"/>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09" name="Arc 208">
                <a:extLst>
                  <a:ext uri="{FF2B5EF4-FFF2-40B4-BE49-F238E27FC236}">
                    <a16:creationId xmlns:a16="http://schemas.microsoft.com/office/drawing/2014/main" id="{4E47F3DF-D57B-42D9-97F5-DF93588DD451}"/>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B7E58BBA-E347-43CE-AC2B-53B1091EB4FF}"/>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08C970BA-BB1D-41DF-BB7E-F37715E023C2}"/>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07" name="Arc 206">
                <a:extLst>
                  <a:ext uri="{FF2B5EF4-FFF2-40B4-BE49-F238E27FC236}">
                    <a16:creationId xmlns:a16="http://schemas.microsoft.com/office/drawing/2014/main" id="{BB43699A-A93F-40F4-B94F-5ACC3FC7A2B3}"/>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AAA3D2-18E4-48C0-BE83-DB21A10DD202}"/>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F691D58-858A-4AA0-AF95-9DAF892CEC93}"/>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8" name="RectangleLegend2">
              <a:extLst>
                <a:ext uri="{FF2B5EF4-FFF2-40B4-BE49-F238E27FC236}">
                  <a16:creationId xmlns:a16="http://schemas.microsoft.com/office/drawing/2014/main" id="{6DACF4A1-1081-4AC1-9D47-12E01E2521AD}"/>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9" name="RectangleLegend3">
              <a:extLst>
                <a:ext uri="{FF2B5EF4-FFF2-40B4-BE49-F238E27FC236}">
                  <a16:creationId xmlns:a16="http://schemas.microsoft.com/office/drawing/2014/main" id="{D1B52631-B18F-4E3B-9E20-D5DE506756B1}"/>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0" name="RectangleLegend4">
              <a:extLst>
                <a:ext uri="{FF2B5EF4-FFF2-40B4-BE49-F238E27FC236}">
                  <a16:creationId xmlns:a16="http://schemas.microsoft.com/office/drawing/2014/main" id="{0074E8A9-58EF-400E-9311-7E77FC619AA5}"/>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1" name="RectangleLegend5">
              <a:extLst>
                <a:ext uri="{FF2B5EF4-FFF2-40B4-BE49-F238E27FC236}">
                  <a16:creationId xmlns:a16="http://schemas.microsoft.com/office/drawing/2014/main" id="{CAB53C7B-2604-409C-ACAB-B85D0279EDA6}"/>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2" name="Legend1">
              <a:extLst>
                <a:ext uri="{FF2B5EF4-FFF2-40B4-BE49-F238E27FC236}">
                  <a16:creationId xmlns:a16="http://schemas.microsoft.com/office/drawing/2014/main" id="{DABF097C-99AD-454B-88C9-800E21992926}"/>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3" name="Legend2">
              <a:extLst>
                <a:ext uri="{FF2B5EF4-FFF2-40B4-BE49-F238E27FC236}">
                  <a16:creationId xmlns:a16="http://schemas.microsoft.com/office/drawing/2014/main" id="{04348013-5D9A-49E0-853F-523527ACCE23}"/>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4" name="Legend3">
              <a:extLst>
                <a:ext uri="{FF2B5EF4-FFF2-40B4-BE49-F238E27FC236}">
                  <a16:creationId xmlns:a16="http://schemas.microsoft.com/office/drawing/2014/main" id="{2F54CB71-C033-4B3C-B037-1A95FC3C56A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5" name="Legend4">
              <a:extLst>
                <a:ext uri="{FF2B5EF4-FFF2-40B4-BE49-F238E27FC236}">
                  <a16:creationId xmlns:a16="http://schemas.microsoft.com/office/drawing/2014/main" id="{A9A3FC63-A72C-490E-BC2F-EB378B726610}"/>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6" name="Legend5">
              <a:extLst>
                <a:ext uri="{FF2B5EF4-FFF2-40B4-BE49-F238E27FC236}">
                  <a16:creationId xmlns:a16="http://schemas.microsoft.com/office/drawing/2014/main" id="{8ABE5E40-BFBB-4D07-A6EF-7D8CAAAD21BC}"/>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grpSp>
      <p:sp>
        <p:nvSpPr>
          <p:cNvPr id="150" name="Footer Placeholder 5">
            <a:extLst>
              <a:ext uri="{FF2B5EF4-FFF2-40B4-BE49-F238E27FC236}">
                <a16:creationId xmlns:a16="http://schemas.microsoft.com/office/drawing/2014/main" id="{6BBE091D-712C-4217-8ACC-0D726A9E4244}"/>
              </a:ext>
            </a:extLst>
          </p:cNvPr>
          <p:cNvSpPr txBox="1">
            <a:spLocks/>
          </p:cNvSpPr>
          <p:nvPr userDrawn="1"/>
        </p:nvSpPr>
        <p:spPr>
          <a:xfrm>
            <a:off x="11013590" y="6369572"/>
            <a:ext cx="621965" cy="138499"/>
          </a:xfrm>
          <a:prstGeom prst="rect">
            <a:avLst/>
          </a:prstGeom>
        </p:spPr>
        <p:txBody>
          <a:bodyPr vert="horz" wrap="none" lIns="0" tIns="0" rIns="0" bIns="0" rtlCol="0" anchor="ctr">
            <a:spAutoFit/>
          </a:bodyPr>
          <a:lstStyle>
            <a:defPPr>
              <a:defRPr lang="en-US"/>
            </a:defPPr>
            <a:lvl1pPr marL="0" algn="ct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dirty="0">
                <a:solidFill>
                  <a:schemeClr val="tx1"/>
                </a:solidFill>
              </a:rPr>
              <a:t>W. P. Carey</a:t>
            </a:r>
          </a:p>
        </p:txBody>
      </p:sp>
      <p:cxnSp>
        <p:nvCxnSpPr>
          <p:cNvPr id="148" name="Straight Connector 147">
            <a:extLst>
              <a:ext uri="{FF2B5EF4-FFF2-40B4-BE49-F238E27FC236}">
                <a16:creationId xmlns:a16="http://schemas.microsoft.com/office/drawing/2014/main" id="{7F9993B8-5743-4B3A-9BEF-DD9C57A04F7F}"/>
              </a:ext>
            </a:extLst>
          </p:cNvPr>
          <p:cNvCxnSpPr>
            <a:cxnSpLocks/>
          </p:cNvCxnSpPr>
          <p:nvPr userDrawn="1"/>
        </p:nvCxnSpPr>
        <p:spPr>
          <a:xfrm>
            <a:off x="554736" y="1001545"/>
            <a:ext cx="11089576"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1044" name="Picture 20" descr="Arizona State University on Collegepedia">
            <a:extLst>
              <a:ext uri="{FF2B5EF4-FFF2-40B4-BE49-F238E27FC236}">
                <a16:creationId xmlns:a16="http://schemas.microsoft.com/office/drawing/2014/main" id="{51B2A7F5-AEF3-A32C-E6CA-66CC94129FF6}"/>
              </a:ext>
            </a:extLst>
          </p:cNvPr>
          <p:cNvPicPr>
            <a:picLocks noChangeAspect="1" noChangeArrowheads="1"/>
          </p:cNvPicPr>
          <p:nvPr userDrawn="1"/>
        </p:nvPicPr>
        <p:blipFill>
          <a:blip r:embed="rId42" cstate="print">
            <a:extLst>
              <a:ext uri="{28A0092B-C50C-407E-A947-70E740481C1C}">
                <a14:useLocalDpi xmlns:a14="http://schemas.microsoft.com/office/drawing/2010/main" val="0"/>
              </a:ext>
            </a:extLst>
          </a:blip>
          <a:srcRect/>
          <a:stretch>
            <a:fillRect/>
          </a:stretch>
        </p:blipFill>
        <p:spPr bwMode="auto">
          <a:xfrm>
            <a:off x="10714801" y="275960"/>
            <a:ext cx="1159604" cy="4957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8085289"/>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27" r:id="rId15"/>
    <p:sldLayoutId id="2147483744" r:id="rId16"/>
    <p:sldLayoutId id="2147483745" r:id="rId17"/>
  </p:sldLayoutIdLst>
  <p:hf hdr="0" ftr="0" dt="0"/>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118.xml"/><Relationship Id="rId7" Type="http://schemas.openxmlformats.org/officeDocument/2006/relationships/tags" Target="../tags/tag122.xml"/><Relationship Id="rId2" Type="http://schemas.openxmlformats.org/officeDocument/2006/relationships/tags" Target="../tags/tag117.xml"/><Relationship Id="rId1" Type="http://schemas.openxmlformats.org/officeDocument/2006/relationships/vmlDrawing" Target="../drawings/vmlDrawing16.vml"/><Relationship Id="rId6" Type="http://schemas.openxmlformats.org/officeDocument/2006/relationships/tags" Target="../tags/tag121.xml"/><Relationship Id="rId11" Type="http://schemas.openxmlformats.org/officeDocument/2006/relationships/image" Target="../media/image3.emf"/><Relationship Id="rId5" Type="http://schemas.openxmlformats.org/officeDocument/2006/relationships/tags" Target="../tags/tag120.xml"/><Relationship Id="rId10" Type="http://schemas.openxmlformats.org/officeDocument/2006/relationships/oleObject" Target="../embeddings/oleObject15.bin"/><Relationship Id="rId4" Type="http://schemas.openxmlformats.org/officeDocument/2006/relationships/tags" Target="../tags/tag119.xml"/><Relationship Id="rId9"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3.xml"/><Relationship Id="rId1" Type="http://schemas.openxmlformats.org/officeDocument/2006/relationships/slideLayout" Target="../slideLayouts/slideLayout16.xml"/><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B0E17E90-3C4E-4F37-9FA4-FC779C250872}"/>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0" name="think-cell Slide" r:id="rId10" imgW="592" imgH="591" progId="TCLayout.ActiveDocument.1">
                  <p:embed/>
                </p:oleObj>
              </mc:Choice>
              <mc:Fallback>
                <p:oleObj name="think-cell Slide" r:id="rId10" imgW="592" imgH="591" progId="TCLayout.ActiveDocument.1">
                  <p:embed/>
                  <p:pic>
                    <p:nvPicPr>
                      <p:cNvPr id="6" name="Object 6" hidden="1">
                        <a:extLst>
                          <a:ext uri="{FF2B5EF4-FFF2-40B4-BE49-F238E27FC236}">
                            <a16:creationId xmlns:a16="http://schemas.microsoft.com/office/drawing/2014/main" id="{B0E17E90-3C4E-4F37-9FA4-FC779C250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EB9340E2-D95A-4545-81E1-3AD07AB3A012}"/>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4400" b="1" i="0" u="none" strike="noStrike" kern="1200" cap="none" spc="0" normalizeH="0" baseline="0" noProof="0" dirty="0" err="1">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 name="Documenttype">
            <a:extLst>
              <a:ext uri="{FF2B5EF4-FFF2-40B4-BE49-F238E27FC236}">
                <a16:creationId xmlns:a16="http://schemas.microsoft.com/office/drawing/2014/main" id="{11D06D31-577C-468F-A315-4B1A48E07A2C}"/>
              </a:ext>
            </a:extLst>
          </p:cNvPr>
          <p:cNvSpPr>
            <a:spLocks noGrp="1"/>
          </p:cNvSpPr>
          <p:nvPr>
            <p:ph type="body" sz="quarter" idx="13"/>
            <p:custDataLst>
              <p:tags r:id="rId5"/>
            </p:custDataLst>
          </p:nvPr>
        </p:nvSpPr>
        <p:spPr>
          <a:xfrm>
            <a:off x="381000" y="5638800"/>
            <a:ext cx="9726795" cy="246221"/>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pPr>
              <a:buNone/>
            </a:pPr>
            <a:r>
              <a:rPr lang="en-US" sz="1600" b="1" dirty="0" smtClean="0">
                <a:ln w="6350" cap="flat">
                  <a:noFill/>
                  <a:miter lim="800000"/>
                </a:ln>
                <a:solidFill>
                  <a:srgbClr val="FFC000"/>
                </a:solidFill>
                <a:latin typeface="+mj-lt"/>
                <a:ea typeface="+mj-ea"/>
                <a:cs typeface="+mj-cs"/>
              </a:rPr>
              <a:t>Business Process Analytics</a:t>
            </a:r>
            <a:endParaRPr lang="en-US" sz="1600" b="1" dirty="0">
              <a:ln w="6350" cap="flat">
                <a:noFill/>
                <a:miter lim="800000"/>
              </a:ln>
              <a:solidFill>
                <a:srgbClr val="FFC000"/>
              </a:solidFill>
              <a:latin typeface="+mj-lt"/>
              <a:ea typeface="+mj-ea"/>
              <a:cs typeface="+mj-cs"/>
            </a:endParaRPr>
          </a:p>
        </p:txBody>
      </p:sp>
      <p:sp>
        <p:nvSpPr>
          <p:cNvPr id="4" name="Title">
            <a:extLst>
              <a:ext uri="{FF2B5EF4-FFF2-40B4-BE49-F238E27FC236}">
                <a16:creationId xmlns:a16="http://schemas.microsoft.com/office/drawing/2014/main" id="{806FD97B-691F-4513-92F7-37A1FAC29B8E}"/>
              </a:ext>
            </a:extLst>
          </p:cNvPr>
          <p:cNvSpPr>
            <a:spLocks noGrp="1"/>
          </p:cNvSpPr>
          <p:nvPr>
            <p:ph type="title"/>
            <p:custDataLst>
              <p:tags r:id="rId6"/>
            </p:custDataLst>
          </p:nvPr>
        </p:nvSpPr>
        <p:spPr>
          <a:xfrm>
            <a:off x="381000" y="3963087"/>
            <a:ext cx="9277859" cy="1354217"/>
          </a:xfrm>
          <a:noFill/>
          <a:ln/>
        </p:spPr>
        <p:txBody>
          <a:bodyPr wrap="square" anchor="b" anchorCtr="0">
            <a:spAutoFit/>
          </a:bodyPr>
          <a:lstStyle/>
          <a:p>
            <a:r>
              <a:rPr lang="en-US" sz="4400" dirty="0">
                <a:solidFill>
                  <a:srgbClr val="FFC000"/>
                </a:solidFill>
              </a:rPr>
              <a:t>Lean Six Sigma Case Study - Gentech</a:t>
            </a:r>
            <a:endParaRPr lang="en-US" dirty="0">
              <a:solidFill>
                <a:srgbClr val="FFC000"/>
              </a:solidFill>
            </a:endParaRPr>
          </a:p>
        </p:txBody>
      </p:sp>
      <p:sp>
        <p:nvSpPr>
          <p:cNvPr id="3" name="Rectangle 2"/>
          <p:cNvSpPr/>
          <p:nvPr/>
        </p:nvSpPr>
        <p:spPr>
          <a:xfrm>
            <a:off x="381000" y="838200"/>
            <a:ext cx="3276600" cy="609600"/>
          </a:xfrm>
          <a:prstGeom prst="rect">
            <a:avLst/>
          </a:prstGeom>
          <a:solidFill>
            <a:schemeClr val="bg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7" name="Documenttype">
            <a:extLst>
              <a:ext uri="{FF2B5EF4-FFF2-40B4-BE49-F238E27FC236}">
                <a16:creationId xmlns:a16="http://schemas.microsoft.com/office/drawing/2014/main" id="{3C0C3D40-9ED7-FE3D-CAC0-DC06B5F86D74}"/>
              </a:ext>
            </a:extLst>
          </p:cNvPr>
          <p:cNvSpPr txBox="1">
            <a:spLocks/>
          </p:cNvSpPr>
          <p:nvPr>
            <p:custDataLst>
              <p:tags r:id="rId7"/>
            </p:custDataLst>
          </p:nvPr>
        </p:nvSpPr>
        <p:spPr>
          <a:xfrm>
            <a:off x="381000" y="6206517"/>
            <a:ext cx="9726795"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400" kern="1200" dirty="0">
                <a:solidFill>
                  <a:schemeClr val="bg2"/>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buFont typeface="Segoe UI" panose="020B0502040204020203" pitchFamily="34" charset="0"/>
              <a:buNone/>
            </a:pPr>
            <a:r>
              <a:rPr lang="en-US" sz="1600" b="1" dirty="0">
                <a:ln w="6350" cap="flat">
                  <a:noFill/>
                  <a:miter lim="800000"/>
                </a:ln>
                <a:solidFill>
                  <a:srgbClr val="FFC000"/>
                </a:solidFill>
                <a:latin typeface="+mj-lt"/>
                <a:ea typeface="+mj-ea"/>
                <a:cs typeface="+mj-cs"/>
              </a:rPr>
              <a:t>Ayush </a:t>
            </a:r>
            <a:r>
              <a:rPr lang="en-US" sz="1600" b="1" dirty="0" smtClean="0">
                <a:ln w="6350" cap="flat">
                  <a:noFill/>
                  <a:miter lim="800000"/>
                </a:ln>
                <a:solidFill>
                  <a:srgbClr val="FFC000"/>
                </a:solidFill>
                <a:latin typeface="+mj-lt"/>
                <a:ea typeface="+mj-ea"/>
                <a:cs typeface="+mj-cs"/>
              </a:rPr>
              <a:t>Trivedi</a:t>
            </a:r>
            <a:r>
              <a:rPr lang="en-US" sz="1600" b="1" dirty="0">
                <a:ln w="6350" cap="flat">
                  <a:noFill/>
                  <a:miter lim="800000"/>
                </a:ln>
                <a:solidFill>
                  <a:srgbClr val="FFC000"/>
                </a:solidFill>
                <a:latin typeface="+mj-lt"/>
                <a:ea typeface="+mj-ea"/>
                <a:cs typeface="+mj-cs"/>
              </a:rPr>
              <a:t>, </a:t>
            </a:r>
            <a:r>
              <a:rPr lang="en-US" sz="1600" b="1" dirty="0" smtClean="0">
                <a:ln w="6350" cap="flat">
                  <a:noFill/>
                  <a:miter lim="800000"/>
                </a:ln>
                <a:solidFill>
                  <a:srgbClr val="FFC000"/>
                </a:solidFill>
                <a:latin typeface="+mj-lt"/>
                <a:ea typeface="+mj-ea"/>
                <a:cs typeface="+mj-cs"/>
              </a:rPr>
              <a:t>Lakshmi </a:t>
            </a:r>
            <a:r>
              <a:rPr lang="en-US" sz="1600" b="1" dirty="0">
                <a:ln w="6350" cap="flat">
                  <a:noFill/>
                  <a:miter lim="800000"/>
                </a:ln>
                <a:solidFill>
                  <a:srgbClr val="FFC000"/>
                </a:solidFill>
                <a:latin typeface="+mj-lt"/>
                <a:ea typeface="+mj-ea"/>
                <a:cs typeface="+mj-cs"/>
              </a:rPr>
              <a:t>Sarva, Miao Zheng, S Shujahat Ali</a:t>
            </a:r>
          </a:p>
        </p:txBody>
      </p:sp>
    </p:spTree>
    <p:custDataLst>
      <p:tags r:id="rId2"/>
    </p:custDataLst>
    <p:extLst>
      <p:ext uri="{BB962C8B-B14F-4D97-AF65-F5344CB8AC3E}">
        <p14:creationId xmlns:p14="http://schemas.microsoft.com/office/powerpoint/2010/main" val="6192171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52A1DE-AEAF-559F-EE4F-270DF0BD3F0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345AE56-6DB5-ECEA-E609-41895D98AA39}"/>
              </a:ext>
            </a:extLst>
          </p:cNvPr>
          <p:cNvSpPr>
            <a:spLocks noGrp="1"/>
          </p:cNvSpPr>
          <p:nvPr>
            <p:ph type="title"/>
          </p:nvPr>
        </p:nvSpPr>
        <p:spPr>
          <a:xfrm>
            <a:off x="533400" y="154234"/>
            <a:ext cx="10591800" cy="731520"/>
          </a:xfrm>
        </p:spPr>
        <p:txBody>
          <a:bodyPr/>
          <a:lstStyle/>
          <a:p>
            <a:r>
              <a:rPr lang="en-US" sz="2800" dirty="0">
                <a:solidFill>
                  <a:schemeClr val="accent1">
                    <a:lumMod val="50000"/>
                  </a:schemeClr>
                </a:solidFill>
              </a:rPr>
              <a:t>Comparison of SLA, DPMO and Sigma Level </a:t>
            </a:r>
          </a:p>
        </p:txBody>
      </p:sp>
      <p:cxnSp>
        <p:nvCxnSpPr>
          <p:cNvPr id="6" name="Straight Connector 5">
            <a:extLst>
              <a:ext uri="{FF2B5EF4-FFF2-40B4-BE49-F238E27FC236}">
                <a16:creationId xmlns:a16="http://schemas.microsoft.com/office/drawing/2014/main" id="{EBE7011E-DAA0-F3D6-5492-45D5BE8A28CE}"/>
              </a:ext>
            </a:extLst>
          </p:cNvPr>
          <p:cNvCxnSpPr/>
          <p:nvPr/>
        </p:nvCxnSpPr>
        <p:spPr>
          <a:xfrm>
            <a:off x="1600200" y="6553200"/>
            <a:ext cx="8892208" cy="0"/>
          </a:xfrm>
          <a:prstGeom prst="line">
            <a:avLst/>
          </a:prstGeom>
          <a:ln w="38100"/>
        </p:spPr>
        <p:style>
          <a:lnRef idx="3">
            <a:schemeClr val="accent5"/>
          </a:lnRef>
          <a:fillRef idx="0">
            <a:schemeClr val="accent5"/>
          </a:fillRef>
          <a:effectRef idx="2">
            <a:schemeClr val="accent5"/>
          </a:effectRef>
          <a:fontRef idx="minor">
            <a:schemeClr val="tx1"/>
          </a:fontRef>
        </p:style>
      </p:cxnSp>
      <p:sp>
        <p:nvSpPr>
          <p:cNvPr id="7" name="Oval 6">
            <a:extLst>
              <a:ext uri="{FF2B5EF4-FFF2-40B4-BE49-F238E27FC236}">
                <a16:creationId xmlns:a16="http://schemas.microsoft.com/office/drawing/2014/main" id="{78E522A6-3370-AA72-8329-D2600ABC51AF}"/>
              </a:ext>
            </a:extLst>
          </p:cNvPr>
          <p:cNvSpPr/>
          <p:nvPr/>
        </p:nvSpPr>
        <p:spPr>
          <a:xfrm>
            <a:off x="838200" y="1313939"/>
            <a:ext cx="3962400" cy="1828800"/>
          </a:xfrm>
          <a:prstGeom prst="ellipse">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4800" b="1" dirty="0">
                <a:solidFill>
                  <a:schemeClr val="accent1">
                    <a:lumMod val="50000"/>
                  </a:schemeClr>
                </a:solidFill>
              </a:rPr>
              <a:t>21,079 </a:t>
            </a:r>
            <a:r>
              <a:rPr lang="en-US" sz="2400" dirty="0">
                <a:solidFill>
                  <a:schemeClr val="accent1">
                    <a:lumMod val="50000"/>
                  </a:schemeClr>
                </a:solidFill>
              </a:rPr>
              <a:t>Number of Defects</a:t>
            </a:r>
          </a:p>
        </p:txBody>
      </p:sp>
      <p:sp>
        <p:nvSpPr>
          <p:cNvPr id="9" name="Oval 8">
            <a:extLst>
              <a:ext uri="{FF2B5EF4-FFF2-40B4-BE49-F238E27FC236}">
                <a16:creationId xmlns:a16="http://schemas.microsoft.com/office/drawing/2014/main" id="{8831DF17-2B91-0E9B-D7DF-D3A9644249F3}"/>
              </a:ext>
            </a:extLst>
          </p:cNvPr>
          <p:cNvSpPr/>
          <p:nvPr/>
        </p:nvSpPr>
        <p:spPr>
          <a:xfrm>
            <a:off x="5975441" y="1313537"/>
            <a:ext cx="4876800" cy="1828800"/>
          </a:xfrm>
          <a:prstGeom prst="ellipse">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4800" b="1" dirty="0">
                <a:solidFill>
                  <a:schemeClr val="accent1">
                    <a:lumMod val="50000"/>
                  </a:schemeClr>
                </a:solidFill>
              </a:rPr>
              <a:t>75,000 </a:t>
            </a:r>
            <a:r>
              <a:rPr lang="en-US" sz="2400" dirty="0">
                <a:solidFill>
                  <a:schemeClr val="accent1">
                    <a:lumMod val="50000"/>
                  </a:schemeClr>
                </a:solidFill>
              </a:rPr>
              <a:t>Opportunities for Errors</a:t>
            </a:r>
          </a:p>
        </p:txBody>
      </p:sp>
      <p:sp>
        <p:nvSpPr>
          <p:cNvPr id="11" name="Oval 10">
            <a:extLst>
              <a:ext uri="{FF2B5EF4-FFF2-40B4-BE49-F238E27FC236}">
                <a16:creationId xmlns:a16="http://schemas.microsoft.com/office/drawing/2014/main" id="{ED7A0192-76B2-9E95-5070-BDBA1671B51C}"/>
              </a:ext>
            </a:extLst>
          </p:cNvPr>
          <p:cNvSpPr/>
          <p:nvPr/>
        </p:nvSpPr>
        <p:spPr>
          <a:xfrm>
            <a:off x="-38100" y="3469281"/>
            <a:ext cx="5715000" cy="1828800"/>
          </a:xfrm>
          <a:prstGeom prst="ellipse">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4800" b="1" dirty="0">
                <a:solidFill>
                  <a:schemeClr val="accent1">
                    <a:lumMod val="50000"/>
                  </a:schemeClr>
                </a:solidFill>
              </a:rPr>
              <a:t>281,053.3 </a:t>
            </a:r>
          </a:p>
          <a:p>
            <a:pPr algn="ctr">
              <a:spcBef>
                <a:spcPts val="300"/>
              </a:spcBef>
              <a:spcAft>
                <a:spcPts val="300"/>
              </a:spcAft>
            </a:pPr>
            <a:r>
              <a:rPr lang="en-US" sz="2400" dirty="0">
                <a:solidFill>
                  <a:schemeClr val="accent1">
                    <a:lumMod val="50000"/>
                  </a:schemeClr>
                </a:solidFill>
              </a:rPr>
              <a:t>DPMO</a:t>
            </a:r>
          </a:p>
        </p:txBody>
      </p:sp>
      <p:sp>
        <p:nvSpPr>
          <p:cNvPr id="12" name="Rectangle 11">
            <a:extLst>
              <a:ext uri="{FF2B5EF4-FFF2-40B4-BE49-F238E27FC236}">
                <a16:creationId xmlns:a16="http://schemas.microsoft.com/office/drawing/2014/main" id="{9C5E418A-4E0C-0A6F-81C3-B520BA215E4C}"/>
              </a:ext>
            </a:extLst>
          </p:cNvPr>
          <p:cNvSpPr/>
          <p:nvPr/>
        </p:nvSpPr>
        <p:spPr>
          <a:xfrm>
            <a:off x="0" y="5353755"/>
            <a:ext cx="12192000" cy="722489"/>
          </a:xfrm>
          <a:prstGeom prst="rect">
            <a:avLst/>
          </a:prstGeom>
          <a:solidFill>
            <a:schemeClr val="accent1">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600" dirty="0">
                <a:solidFill>
                  <a:schemeClr val="bg2"/>
                </a:solidFill>
                <a:latin typeface="Roboto" panose="02000000000000000000" pitchFamily="2" charset="0"/>
              </a:rPr>
              <a:t>28.1%  </a:t>
            </a:r>
            <a:r>
              <a:rPr lang="en-US" sz="2400" dirty="0">
                <a:solidFill>
                  <a:schemeClr val="bg2"/>
                </a:solidFill>
                <a:latin typeface="Roboto" panose="02000000000000000000" pitchFamily="2" charset="0"/>
              </a:rPr>
              <a:t>of the Transactions take longer than 35 Days</a:t>
            </a:r>
            <a:endParaRPr lang="en-US" dirty="0">
              <a:solidFill>
                <a:schemeClr val="bg2"/>
              </a:solidFill>
            </a:endParaRPr>
          </a:p>
        </p:txBody>
      </p:sp>
      <p:sp>
        <p:nvSpPr>
          <p:cNvPr id="13" name="Oval 12">
            <a:extLst>
              <a:ext uri="{FF2B5EF4-FFF2-40B4-BE49-F238E27FC236}">
                <a16:creationId xmlns:a16="http://schemas.microsoft.com/office/drawing/2014/main" id="{50CBD2F7-328C-BAC0-EF67-9EC58D2E5B42}"/>
              </a:ext>
            </a:extLst>
          </p:cNvPr>
          <p:cNvSpPr/>
          <p:nvPr/>
        </p:nvSpPr>
        <p:spPr>
          <a:xfrm>
            <a:off x="5975441" y="3356663"/>
            <a:ext cx="4876800" cy="1828800"/>
          </a:xfrm>
          <a:prstGeom prst="ellipse">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4800" b="1" dirty="0">
                <a:solidFill>
                  <a:schemeClr val="accent1">
                    <a:lumMod val="50000"/>
                  </a:schemeClr>
                </a:solidFill>
              </a:rPr>
              <a:t>2.08</a:t>
            </a:r>
          </a:p>
          <a:p>
            <a:pPr algn="ctr">
              <a:spcBef>
                <a:spcPts val="300"/>
              </a:spcBef>
              <a:spcAft>
                <a:spcPts val="300"/>
              </a:spcAft>
            </a:pPr>
            <a:r>
              <a:rPr lang="en-US" sz="2400" dirty="0">
                <a:solidFill>
                  <a:schemeClr val="accent1">
                    <a:lumMod val="50000"/>
                  </a:schemeClr>
                </a:solidFill>
              </a:rPr>
              <a:t>Sigma Level</a:t>
            </a:r>
          </a:p>
        </p:txBody>
      </p:sp>
      <p:sp>
        <p:nvSpPr>
          <p:cNvPr id="14" name="Rectangle 13">
            <a:extLst>
              <a:ext uri="{FF2B5EF4-FFF2-40B4-BE49-F238E27FC236}">
                <a16:creationId xmlns:a16="http://schemas.microsoft.com/office/drawing/2014/main" id="{D7CD101F-0070-6AB0-20AA-C843A861F0F7}"/>
              </a:ext>
            </a:extLst>
          </p:cNvPr>
          <p:cNvSpPr/>
          <p:nvPr/>
        </p:nvSpPr>
        <p:spPr>
          <a:xfrm>
            <a:off x="2057400" y="5213381"/>
            <a:ext cx="1676400" cy="1003235"/>
          </a:xfrm>
          <a:prstGeom prst="rect">
            <a:avLst/>
          </a:prstGeom>
          <a:noFill/>
          <a:ln w="38100" cap="sq">
            <a:solidFill>
              <a:srgbClr val="FF0000"/>
            </a:solidFill>
            <a:prstDash val="dash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 name="Slide Number Placeholder 2"/>
          <p:cNvSpPr>
            <a:spLocks noGrp="1"/>
          </p:cNvSpPr>
          <p:nvPr>
            <p:ph type="sldNum" sz="quarter" idx="12"/>
          </p:nvPr>
        </p:nvSpPr>
        <p:spPr>
          <a:xfrm>
            <a:off x="11582400" y="6370637"/>
            <a:ext cx="457200" cy="365125"/>
          </a:xfrm>
        </p:spPr>
        <p:txBody>
          <a:bodyPr/>
          <a:lstStyle/>
          <a:p>
            <a:fld id="{B4792231-69F4-4F9D-9049-A1DDF7DEBE79}" type="slidenum">
              <a:rPr lang="en-US" smtClean="0"/>
              <a:t>10</a:t>
            </a:fld>
            <a:endParaRPr lang="en-US" dirty="0"/>
          </a:p>
        </p:txBody>
      </p:sp>
    </p:spTree>
    <p:extLst>
      <p:ext uri="{BB962C8B-B14F-4D97-AF65-F5344CB8AC3E}">
        <p14:creationId xmlns:p14="http://schemas.microsoft.com/office/powerpoint/2010/main" val="6705808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9C5650-F15C-4530-14CA-FB7D8C361E9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808627C-B7EE-01D8-4F8B-D65B40382237}"/>
              </a:ext>
            </a:extLst>
          </p:cNvPr>
          <p:cNvSpPr>
            <a:spLocks noGrp="1"/>
          </p:cNvSpPr>
          <p:nvPr>
            <p:ph type="title"/>
          </p:nvPr>
        </p:nvSpPr>
        <p:spPr/>
        <p:txBody>
          <a:bodyPr/>
          <a:lstStyle/>
          <a:p>
            <a:r>
              <a:rPr lang="en-US" sz="2800" dirty="0">
                <a:solidFill>
                  <a:schemeClr val="accent1">
                    <a:lumMod val="50000"/>
                  </a:schemeClr>
                </a:solidFill>
              </a:rPr>
              <a:t>Brands and their Average Cycle Times</a:t>
            </a:r>
          </a:p>
        </p:txBody>
      </p:sp>
      <p:cxnSp>
        <p:nvCxnSpPr>
          <p:cNvPr id="6" name="Straight Connector 5">
            <a:extLst>
              <a:ext uri="{FF2B5EF4-FFF2-40B4-BE49-F238E27FC236}">
                <a16:creationId xmlns:a16="http://schemas.microsoft.com/office/drawing/2014/main" id="{BE9D2D15-8885-35EC-0139-D1250D1C7C1D}"/>
              </a:ext>
            </a:extLst>
          </p:cNvPr>
          <p:cNvCxnSpPr/>
          <p:nvPr/>
        </p:nvCxnSpPr>
        <p:spPr>
          <a:xfrm>
            <a:off x="1600200" y="6553200"/>
            <a:ext cx="8892208" cy="0"/>
          </a:xfrm>
          <a:prstGeom prst="line">
            <a:avLst/>
          </a:prstGeom>
          <a:ln w="38100"/>
        </p:spPr>
        <p:style>
          <a:lnRef idx="3">
            <a:schemeClr val="accent5"/>
          </a:lnRef>
          <a:fillRef idx="0">
            <a:schemeClr val="accent5"/>
          </a:fillRef>
          <a:effectRef idx="2">
            <a:schemeClr val="accent5"/>
          </a:effectRef>
          <a:fontRef idx="minor">
            <a:schemeClr val="tx1"/>
          </a:fontRef>
        </p:style>
      </p:cxnSp>
      <p:graphicFrame>
        <p:nvGraphicFramePr>
          <p:cNvPr id="8" name="Chart 7">
            <a:extLst>
              <a:ext uri="{FF2B5EF4-FFF2-40B4-BE49-F238E27FC236}">
                <a16:creationId xmlns:a16="http://schemas.microsoft.com/office/drawing/2014/main" id="{393BD250-1F45-FD6C-E287-768550B3E7F3}"/>
              </a:ext>
            </a:extLst>
          </p:cNvPr>
          <p:cNvGraphicFramePr/>
          <p:nvPr>
            <p:extLst>
              <p:ext uri="{D42A27DB-BD31-4B8C-83A1-F6EECF244321}">
                <p14:modId xmlns:p14="http://schemas.microsoft.com/office/powerpoint/2010/main" val="2099164779"/>
              </p:ext>
            </p:extLst>
          </p:nvPr>
        </p:nvGraphicFramePr>
        <p:xfrm>
          <a:off x="563203" y="1019132"/>
          <a:ext cx="8128000" cy="541866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Table 6"/>
          <p:cNvGraphicFramePr>
            <a:graphicFrameLocks noGrp="1"/>
          </p:cNvGraphicFramePr>
          <p:nvPr>
            <p:extLst>
              <p:ext uri="{D42A27DB-BD31-4B8C-83A1-F6EECF244321}">
                <p14:modId xmlns:p14="http://schemas.microsoft.com/office/powerpoint/2010/main" val="563736299"/>
              </p:ext>
            </p:extLst>
          </p:nvPr>
        </p:nvGraphicFramePr>
        <p:xfrm>
          <a:off x="8382000" y="2038046"/>
          <a:ext cx="3454400" cy="2966720"/>
        </p:xfrm>
        <a:graphic>
          <a:graphicData uri="http://schemas.openxmlformats.org/drawingml/2006/table">
            <a:tbl>
              <a:tblPr firstRow="1" bandRow="1">
                <a:tableStyleId>{68D230F3-CF80-4859-8CE7-A43EE81993B5}</a:tableStyleId>
              </a:tblPr>
              <a:tblGrid>
                <a:gridCol w="3454400">
                  <a:extLst>
                    <a:ext uri="{9D8B030D-6E8A-4147-A177-3AD203B41FA5}">
                      <a16:colId xmlns:a16="http://schemas.microsoft.com/office/drawing/2014/main" val="3160456196"/>
                    </a:ext>
                  </a:extLst>
                </a:gridCol>
              </a:tblGrid>
              <a:tr h="370840">
                <a:tc>
                  <a:txBody>
                    <a:bodyPr/>
                    <a:lstStyle/>
                    <a:p>
                      <a:pPr algn="ctr"/>
                      <a:r>
                        <a:rPr lang="en-US" dirty="0" smtClean="0"/>
                        <a:t>Most Efficient Region</a:t>
                      </a:r>
                      <a:endParaRPr lang="en-IN" b="1" dirty="0">
                        <a:solidFill>
                          <a:schemeClr val="accent2">
                            <a:lumMod val="50000"/>
                          </a:schemeClr>
                        </a:solidFill>
                      </a:endParaRPr>
                    </a:p>
                  </a:txBody>
                  <a:tcPr anchor="ctr"/>
                </a:tc>
                <a:extLst>
                  <a:ext uri="{0D108BD9-81ED-4DB2-BD59-A6C34878D82A}">
                    <a16:rowId xmlns:a16="http://schemas.microsoft.com/office/drawing/2014/main" val="1968101243"/>
                  </a:ext>
                </a:extLst>
              </a:tr>
              <a:tr h="370840">
                <a:tc>
                  <a:txBody>
                    <a:bodyPr/>
                    <a:lstStyle/>
                    <a:p>
                      <a:pPr algn="ctr"/>
                      <a:r>
                        <a:rPr lang="en-US" sz="1600" dirty="0" smtClean="0"/>
                        <a:t>Japan (27 Days)</a:t>
                      </a:r>
                      <a:endParaRPr lang="en-IN" sz="1600" b="1" dirty="0">
                        <a:solidFill>
                          <a:schemeClr val="accent2">
                            <a:lumMod val="50000"/>
                          </a:schemeClr>
                        </a:solidFill>
                      </a:endParaRPr>
                    </a:p>
                  </a:txBody>
                  <a:tcPr anchor="ctr"/>
                </a:tc>
                <a:extLst>
                  <a:ext uri="{0D108BD9-81ED-4DB2-BD59-A6C34878D82A}">
                    <a16:rowId xmlns:a16="http://schemas.microsoft.com/office/drawing/2014/main" val="3103933667"/>
                  </a:ext>
                </a:extLst>
              </a:tr>
              <a:tr h="370840">
                <a:tc>
                  <a:txBody>
                    <a:bodyPr/>
                    <a:lstStyle/>
                    <a:p>
                      <a:pPr algn="ctr"/>
                      <a:r>
                        <a:rPr lang="en-US" b="1" dirty="0" smtClean="0"/>
                        <a:t>Longest Delay</a:t>
                      </a:r>
                      <a:endParaRPr lang="en-IN" b="1" dirty="0">
                        <a:solidFill>
                          <a:schemeClr val="accent2">
                            <a:lumMod val="50000"/>
                          </a:schemeClr>
                        </a:solidFill>
                      </a:endParaRPr>
                    </a:p>
                  </a:txBody>
                  <a:tcPr anchor="ctr"/>
                </a:tc>
                <a:extLst>
                  <a:ext uri="{0D108BD9-81ED-4DB2-BD59-A6C34878D82A}">
                    <a16:rowId xmlns:a16="http://schemas.microsoft.com/office/drawing/2014/main" val="4009039433"/>
                  </a:ext>
                </a:extLst>
              </a:tr>
              <a:tr h="370840">
                <a:tc>
                  <a:txBody>
                    <a:bodyPr/>
                    <a:lstStyle/>
                    <a:p>
                      <a:pPr algn="ctr"/>
                      <a:r>
                        <a:rPr lang="en-US" sz="1600" dirty="0" smtClean="0"/>
                        <a:t>North America (35.97 Days)</a:t>
                      </a:r>
                      <a:endParaRPr lang="en-IN" sz="1600" b="1" dirty="0">
                        <a:solidFill>
                          <a:schemeClr val="accent2">
                            <a:lumMod val="50000"/>
                          </a:schemeClr>
                        </a:solidFill>
                      </a:endParaRPr>
                    </a:p>
                  </a:txBody>
                  <a:tcPr anchor="ctr"/>
                </a:tc>
                <a:extLst>
                  <a:ext uri="{0D108BD9-81ED-4DB2-BD59-A6C34878D82A}">
                    <a16:rowId xmlns:a16="http://schemas.microsoft.com/office/drawing/2014/main" val="1148739678"/>
                  </a:ext>
                </a:extLst>
              </a:tr>
              <a:tr h="370840">
                <a:tc>
                  <a:txBody>
                    <a:bodyPr/>
                    <a:lstStyle/>
                    <a:p>
                      <a:pPr algn="ctr"/>
                      <a:r>
                        <a:rPr lang="en-US" b="1" dirty="0" smtClean="0"/>
                        <a:t>Similar Cycle Times</a:t>
                      </a:r>
                      <a:endParaRPr lang="en-IN" b="1" dirty="0">
                        <a:solidFill>
                          <a:schemeClr val="accent2">
                            <a:lumMod val="50000"/>
                          </a:schemeClr>
                        </a:solidFill>
                      </a:endParaRPr>
                    </a:p>
                  </a:txBody>
                  <a:tcPr anchor="ctr"/>
                </a:tc>
                <a:extLst>
                  <a:ext uri="{0D108BD9-81ED-4DB2-BD59-A6C34878D82A}">
                    <a16:rowId xmlns:a16="http://schemas.microsoft.com/office/drawing/2014/main" val="807916740"/>
                  </a:ext>
                </a:extLst>
              </a:tr>
              <a:tr h="370840">
                <a:tc>
                  <a:txBody>
                    <a:bodyPr/>
                    <a:lstStyle/>
                    <a:p>
                      <a:pPr algn="ctr"/>
                      <a:r>
                        <a:rPr lang="en-US" sz="1600" dirty="0" smtClean="0"/>
                        <a:t>AP, EMEA</a:t>
                      </a:r>
                      <a:r>
                        <a:rPr lang="en-US" sz="1600" baseline="0" dirty="0" smtClean="0"/>
                        <a:t> and SA </a:t>
                      </a:r>
                      <a:r>
                        <a:rPr lang="en-US" sz="1600" dirty="0" smtClean="0"/>
                        <a:t>(~30 Days)</a:t>
                      </a:r>
                      <a:endParaRPr lang="en-IN" sz="1600" b="1" dirty="0">
                        <a:solidFill>
                          <a:schemeClr val="accent2">
                            <a:lumMod val="50000"/>
                          </a:schemeClr>
                        </a:solidFill>
                      </a:endParaRPr>
                    </a:p>
                  </a:txBody>
                  <a:tcPr anchor="ctr"/>
                </a:tc>
                <a:extLst>
                  <a:ext uri="{0D108BD9-81ED-4DB2-BD59-A6C34878D82A}">
                    <a16:rowId xmlns:a16="http://schemas.microsoft.com/office/drawing/2014/main" val="3579462095"/>
                  </a:ext>
                </a:extLst>
              </a:tr>
              <a:tr h="370840">
                <a:tc>
                  <a:txBody>
                    <a:bodyPr/>
                    <a:lstStyle/>
                    <a:p>
                      <a:pPr algn="ctr"/>
                      <a:r>
                        <a:rPr lang="en-US" b="1" dirty="0" smtClean="0"/>
                        <a:t>Benchmark for Best Practices</a:t>
                      </a:r>
                      <a:endParaRPr lang="en-IN" b="1" dirty="0">
                        <a:solidFill>
                          <a:schemeClr val="accent2">
                            <a:lumMod val="50000"/>
                          </a:schemeClr>
                        </a:solidFill>
                      </a:endParaRPr>
                    </a:p>
                  </a:txBody>
                  <a:tcPr anchor="ctr"/>
                </a:tc>
                <a:extLst>
                  <a:ext uri="{0D108BD9-81ED-4DB2-BD59-A6C34878D82A}">
                    <a16:rowId xmlns:a16="http://schemas.microsoft.com/office/drawing/2014/main" val="2678179506"/>
                  </a:ext>
                </a:extLst>
              </a:tr>
              <a:tr h="370840">
                <a:tc>
                  <a:txBody>
                    <a:bodyPr/>
                    <a:lstStyle/>
                    <a:p>
                      <a:pPr algn="ctr"/>
                      <a:r>
                        <a:rPr lang="en-US" sz="1600" dirty="0" smtClean="0"/>
                        <a:t>JPN</a:t>
                      </a:r>
                      <a:endParaRPr lang="en-IN" sz="1600" b="1" dirty="0">
                        <a:solidFill>
                          <a:schemeClr val="accent2">
                            <a:lumMod val="50000"/>
                          </a:schemeClr>
                        </a:solidFill>
                      </a:endParaRPr>
                    </a:p>
                  </a:txBody>
                  <a:tcPr anchor="ctr"/>
                </a:tc>
                <a:extLst>
                  <a:ext uri="{0D108BD9-81ED-4DB2-BD59-A6C34878D82A}">
                    <a16:rowId xmlns:a16="http://schemas.microsoft.com/office/drawing/2014/main" val="4132939904"/>
                  </a:ext>
                </a:extLst>
              </a:tr>
            </a:tbl>
          </a:graphicData>
        </a:graphic>
      </p:graphicFrame>
      <p:sp>
        <p:nvSpPr>
          <p:cNvPr id="9" name="Slide Number Placeholder 8"/>
          <p:cNvSpPr>
            <a:spLocks noGrp="1"/>
          </p:cNvSpPr>
          <p:nvPr>
            <p:ph type="sldNum" sz="quarter" idx="12"/>
          </p:nvPr>
        </p:nvSpPr>
        <p:spPr>
          <a:xfrm>
            <a:off x="11717594" y="6370637"/>
            <a:ext cx="457200" cy="365125"/>
          </a:xfrm>
        </p:spPr>
        <p:txBody>
          <a:bodyPr/>
          <a:lstStyle/>
          <a:p>
            <a:fld id="{B4792231-69F4-4F9D-9049-A1DDF7DEBE79}" type="slidenum">
              <a:rPr lang="en-US" smtClean="0"/>
              <a:t>11</a:t>
            </a:fld>
            <a:endParaRPr lang="en-US"/>
          </a:p>
        </p:txBody>
      </p:sp>
    </p:spTree>
    <p:extLst>
      <p:ext uri="{BB962C8B-B14F-4D97-AF65-F5344CB8AC3E}">
        <p14:creationId xmlns:p14="http://schemas.microsoft.com/office/powerpoint/2010/main" val="331271437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E76478-709C-1FCD-B681-B8C3B60B7ED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1C8B803-547C-2209-3258-C8D4558EA399}"/>
              </a:ext>
            </a:extLst>
          </p:cNvPr>
          <p:cNvSpPr>
            <a:spLocks noGrp="1"/>
          </p:cNvSpPr>
          <p:nvPr>
            <p:ph type="title"/>
          </p:nvPr>
        </p:nvSpPr>
        <p:spPr>
          <a:xfrm>
            <a:off x="533400" y="188185"/>
            <a:ext cx="10160065" cy="598933"/>
          </a:xfrm>
        </p:spPr>
        <p:txBody>
          <a:bodyPr/>
          <a:lstStyle/>
          <a:p>
            <a:r>
              <a:rPr lang="en-US" sz="2800" dirty="0">
                <a:solidFill>
                  <a:schemeClr val="accent1">
                    <a:lumMod val="50000"/>
                  </a:schemeClr>
                </a:solidFill>
              </a:rPr>
              <a:t>Correlation between bid complexity and cycle time</a:t>
            </a:r>
          </a:p>
        </p:txBody>
      </p:sp>
      <p:cxnSp>
        <p:nvCxnSpPr>
          <p:cNvPr id="6" name="Straight Connector 5">
            <a:extLst>
              <a:ext uri="{FF2B5EF4-FFF2-40B4-BE49-F238E27FC236}">
                <a16:creationId xmlns:a16="http://schemas.microsoft.com/office/drawing/2014/main" id="{89458A05-CACC-E7B2-0202-25962A481642}"/>
              </a:ext>
            </a:extLst>
          </p:cNvPr>
          <p:cNvCxnSpPr/>
          <p:nvPr/>
        </p:nvCxnSpPr>
        <p:spPr>
          <a:xfrm>
            <a:off x="1600200" y="6553200"/>
            <a:ext cx="8892208" cy="0"/>
          </a:xfrm>
          <a:prstGeom prst="line">
            <a:avLst/>
          </a:prstGeom>
          <a:ln w="38100"/>
        </p:spPr>
        <p:style>
          <a:lnRef idx="3">
            <a:schemeClr val="accent5"/>
          </a:lnRef>
          <a:fillRef idx="0">
            <a:schemeClr val="accent5"/>
          </a:fillRef>
          <a:effectRef idx="2">
            <a:schemeClr val="accent5"/>
          </a:effectRef>
          <a:fontRef idx="minor">
            <a:schemeClr val="tx1"/>
          </a:fontRef>
        </p:style>
      </p:cxnSp>
      <p:sp>
        <p:nvSpPr>
          <p:cNvPr id="3" name="Rectangle 2">
            <a:extLst>
              <a:ext uri="{FF2B5EF4-FFF2-40B4-BE49-F238E27FC236}">
                <a16:creationId xmlns:a16="http://schemas.microsoft.com/office/drawing/2014/main" id="{B277FC6D-5F94-2276-FA92-2F441AD96277}"/>
              </a:ext>
            </a:extLst>
          </p:cNvPr>
          <p:cNvSpPr/>
          <p:nvPr/>
        </p:nvSpPr>
        <p:spPr>
          <a:xfrm>
            <a:off x="8481978" y="2956508"/>
            <a:ext cx="3481422" cy="213359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42900" marR="0" lvl="0" indent="-342900" algn="just">
              <a:lnSpc>
                <a:spcPct val="107000"/>
              </a:lnSpc>
              <a:spcBef>
                <a:spcPts val="0"/>
              </a:spcBef>
              <a:spcAft>
                <a:spcPts val="800"/>
              </a:spcAft>
              <a:buFont typeface="+mj-lt"/>
              <a:buAutoNum type="arabicPeriod"/>
            </a:pPr>
            <a:r>
              <a:rPr lang="en-US" sz="1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0.83 Correlation between Bid Complexity and Cycle Time</a:t>
            </a:r>
            <a:br>
              <a:rPr lang="en-US" sz="1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br>
            <a:r>
              <a:rPr lang="en-US" sz="180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trong </a:t>
            </a:r>
            <a:r>
              <a:rPr lang="en-US" sz="1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ositive Relation</a:t>
            </a:r>
            <a:r>
              <a:rPr lang="en-US" dirty="0">
                <a:solidFill>
                  <a:schemeClr val="tx1"/>
                </a:solidFill>
                <a:latin typeface="Calibri" panose="020F0502020204030204" pitchFamily="34" charset="0"/>
                <a:ea typeface="Calibri" panose="020F0502020204030204" pitchFamily="34" charset="0"/>
                <a:cs typeface="Times New Roman" panose="02020603050405020304" pitchFamily="18" charset="0"/>
              </a:rPr>
              <a:t>ship</a:t>
            </a:r>
          </a:p>
          <a:p>
            <a:pPr marL="342900" marR="0" lvl="0" indent="-342900" algn="just">
              <a:lnSpc>
                <a:spcPct val="107000"/>
              </a:lnSpc>
              <a:spcBef>
                <a:spcPts val="0"/>
              </a:spcBef>
              <a:spcAft>
                <a:spcPts val="800"/>
              </a:spcAft>
              <a:buFont typeface="+mj-lt"/>
              <a:buAutoNum type="arabicPeriod"/>
            </a:pPr>
            <a:r>
              <a:rPr lang="en-US" dirty="0">
                <a:solidFill>
                  <a:schemeClr val="tx1"/>
                </a:solidFill>
                <a:latin typeface="Calibri" panose="020F0502020204030204" pitchFamily="34" charset="0"/>
                <a:ea typeface="Calibri" panose="020F0502020204030204" pitchFamily="34" charset="0"/>
                <a:cs typeface="Times New Roman" panose="02020603050405020304" pitchFamily="18" charset="0"/>
              </a:rPr>
              <a:t>Generally, L</a:t>
            </a:r>
            <a:r>
              <a:rPr lang="en-US" sz="1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arger Bids require larger times</a:t>
            </a:r>
          </a:p>
          <a:p>
            <a:pPr marL="342900" marR="0" lvl="0" indent="-342900" algn="just">
              <a:lnSpc>
                <a:spcPct val="107000"/>
              </a:lnSpc>
              <a:spcBef>
                <a:spcPts val="0"/>
              </a:spcBef>
              <a:spcAft>
                <a:spcPts val="800"/>
              </a:spcAft>
              <a:buFont typeface="+mj-lt"/>
              <a:buAutoNum type="arabicPeriod"/>
            </a:pPr>
            <a:r>
              <a:rPr lang="en-US" sz="1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rocess Segmentation based on Bid Size  </a:t>
            </a:r>
          </a:p>
          <a:p>
            <a:pPr marR="0" lvl="0" algn="just">
              <a:lnSpc>
                <a:spcPct val="107000"/>
              </a:lnSpc>
              <a:spcBef>
                <a:spcPts val="0"/>
              </a:spcBef>
              <a:spcAft>
                <a:spcPts val="800"/>
              </a:spcAft>
            </a:pPr>
            <a:endParaRPr lang="en-US" sz="1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solidFill>
                <a:schemeClr val="tx1"/>
              </a:solidFill>
            </a:endParaRPr>
          </a:p>
        </p:txBody>
      </p:sp>
      <p:graphicFrame>
        <p:nvGraphicFramePr>
          <p:cNvPr id="7" name="Chart 6">
            <a:extLst>
              <a:ext uri="{FF2B5EF4-FFF2-40B4-BE49-F238E27FC236}">
                <a16:creationId xmlns:a16="http://schemas.microsoft.com/office/drawing/2014/main" id="{25EB7A2F-DDE9-6BEE-6EEC-C76C0DEC8548}"/>
              </a:ext>
            </a:extLst>
          </p:cNvPr>
          <p:cNvGraphicFramePr/>
          <p:nvPr>
            <p:extLst>
              <p:ext uri="{D42A27DB-BD31-4B8C-83A1-F6EECF244321}">
                <p14:modId xmlns:p14="http://schemas.microsoft.com/office/powerpoint/2010/main" val="702503956"/>
              </p:ext>
            </p:extLst>
          </p:nvPr>
        </p:nvGraphicFramePr>
        <p:xfrm>
          <a:off x="861978" y="1219201"/>
          <a:ext cx="7977222" cy="5095432"/>
        </p:xfrm>
        <a:graphic>
          <a:graphicData uri="http://schemas.openxmlformats.org/drawingml/2006/chart">
            <c:chart xmlns:c="http://schemas.openxmlformats.org/drawingml/2006/chart" xmlns:r="http://schemas.openxmlformats.org/officeDocument/2006/relationships" r:id="rId2"/>
          </a:graphicData>
        </a:graphic>
      </p:graphicFrame>
      <p:sp>
        <p:nvSpPr>
          <p:cNvPr id="4" name="Slide Number Placeholder 3"/>
          <p:cNvSpPr>
            <a:spLocks noGrp="1"/>
          </p:cNvSpPr>
          <p:nvPr>
            <p:ph type="sldNum" sz="quarter" idx="12"/>
          </p:nvPr>
        </p:nvSpPr>
        <p:spPr>
          <a:xfrm>
            <a:off x="11658600" y="6370637"/>
            <a:ext cx="457200" cy="365125"/>
          </a:xfrm>
        </p:spPr>
        <p:txBody>
          <a:bodyPr/>
          <a:lstStyle/>
          <a:p>
            <a:fld id="{B4792231-69F4-4F9D-9049-A1DDF7DEBE79}" type="slidenum">
              <a:rPr lang="en-US" smtClean="0"/>
              <a:t>12</a:t>
            </a:fld>
            <a:endParaRPr lang="en-US" dirty="0"/>
          </a:p>
        </p:txBody>
      </p:sp>
    </p:spTree>
    <p:extLst>
      <p:ext uri="{BB962C8B-B14F-4D97-AF65-F5344CB8AC3E}">
        <p14:creationId xmlns:p14="http://schemas.microsoft.com/office/powerpoint/2010/main" val="39553588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3AC6E1-B8EC-12ED-7D03-F471C346484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D6822DE-C701-2F0D-2657-482F6A7A9597}"/>
              </a:ext>
            </a:extLst>
          </p:cNvPr>
          <p:cNvSpPr>
            <a:spLocks noGrp="1"/>
          </p:cNvSpPr>
          <p:nvPr>
            <p:ph type="title"/>
          </p:nvPr>
        </p:nvSpPr>
        <p:spPr>
          <a:xfrm>
            <a:off x="0" y="0"/>
            <a:ext cx="12192000" cy="6858000"/>
          </a:xfrm>
          <a:solidFill>
            <a:schemeClr val="accent1">
              <a:lumMod val="75000"/>
            </a:schemeClr>
          </a:solidFill>
        </p:spPr>
        <p:txBody>
          <a:bodyPr/>
          <a:lstStyle/>
          <a:p>
            <a:r>
              <a:rPr lang="en-US" dirty="0"/>
              <a:t/>
            </a:r>
            <a:br>
              <a:rPr lang="en-US" dirty="0"/>
            </a:br>
            <a:r>
              <a:rPr lang="en-US" dirty="0"/>
              <a:t/>
            </a:r>
            <a:br>
              <a:rPr lang="en-US" dirty="0"/>
            </a:br>
            <a:r>
              <a:rPr lang="en-US" dirty="0"/>
              <a:t/>
            </a:r>
            <a:br>
              <a:rPr lang="en-US" dirty="0"/>
            </a:br>
            <a:r>
              <a:rPr lang="en-US" dirty="0"/>
              <a:t/>
            </a:r>
            <a:br>
              <a:rPr lang="en-US" dirty="0"/>
            </a:br>
            <a:r>
              <a:rPr lang="en-US" dirty="0"/>
              <a:t/>
            </a:r>
            <a:br>
              <a:rPr lang="en-US" dirty="0"/>
            </a:br>
            <a:r>
              <a:rPr lang="en-US" dirty="0"/>
              <a:t/>
            </a:r>
            <a:br>
              <a:rPr lang="en-US" dirty="0"/>
            </a:br>
            <a:r>
              <a:rPr lang="en-US" dirty="0"/>
              <a:t/>
            </a:r>
            <a:br>
              <a:rPr lang="en-US" dirty="0"/>
            </a:br>
            <a:endParaRPr lang="en-US" dirty="0"/>
          </a:p>
        </p:txBody>
      </p:sp>
      <p:sp>
        <p:nvSpPr>
          <p:cNvPr id="4" name="Slide Number Placeholder 3">
            <a:extLst>
              <a:ext uri="{FF2B5EF4-FFF2-40B4-BE49-F238E27FC236}">
                <a16:creationId xmlns:a16="http://schemas.microsoft.com/office/drawing/2014/main" id="{5B55FF8B-0C98-0340-1BC3-C50ABFC54DC8}"/>
              </a:ext>
            </a:extLst>
          </p:cNvPr>
          <p:cNvSpPr>
            <a:spLocks noGrp="1"/>
          </p:cNvSpPr>
          <p:nvPr>
            <p:ph type="sldNum" sz="quarter" idx="12"/>
          </p:nvPr>
        </p:nvSpPr>
        <p:spPr>
          <a:xfrm>
            <a:off x="3810000" y="2895600"/>
            <a:ext cx="5715000" cy="762000"/>
          </a:xfrm>
        </p:spPr>
        <p:txBody>
          <a:bodyPr/>
          <a:lstStyle/>
          <a:p>
            <a:r>
              <a:rPr lang="en-US" sz="4000" b="1" dirty="0">
                <a:solidFill>
                  <a:schemeClr val="bg1"/>
                </a:solidFill>
              </a:rPr>
              <a:t>Qualitative Analysis</a:t>
            </a:r>
          </a:p>
        </p:txBody>
      </p:sp>
    </p:spTree>
    <p:extLst>
      <p:ext uri="{BB962C8B-B14F-4D97-AF65-F5344CB8AC3E}">
        <p14:creationId xmlns:p14="http://schemas.microsoft.com/office/powerpoint/2010/main" val="96249992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061CDC5-FD40-CF42-D9DD-78066DD4B24B}"/>
              </a:ext>
            </a:extLst>
          </p:cNvPr>
          <p:cNvSpPr>
            <a:spLocks noGrp="1"/>
          </p:cNvSpPr>
          <p:nvPr>
            <p:ph type="title"/>
          </p:nvPr>
        </p:nvSpPr>
        <p:spPr>
          <a:xfrm>
            <a:off x="533400" y="152400"/>
            <a:ext cx="10160065" cy="731520"/>
          </a:xfrm>
        </p:spPr>
        <p:txBody>
          <a:bodyPr/>
          <a:lstStyle/>
          <a:p>
            <a:r>
              <a:rPr lang="en-US" sz="2800" dirty="0">
                <a:solidFill>
                  <a:schemeClr val="accent1">
                    <a:lumMod val="50000"/>
                  </a:schemeClr>
                </a:solidFill>
              </a:rPr>
              <a:t>Average Times across Brands and Geographies</a:t>
            </a:r>
          </a:p>
        </p:txBody>
      </p:sp>
      <p:pic>
        <p:nvPicPr>
          <p:cNvPr id="6" name="Picture 5">
            <a:extLst>
              <a:ext uri="{FF2B5EF4-FFF2-40B4-BE49-F238E27FC236}">
                <a16:creationId xmlns:a16="http://schemas.microsoft.com/office/drawing/2014/main" id="{F0A22630-FD00-8838-3EA1-D03A5E9850C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3065" y="1066800"/>
            <a:ext cx="8610600" cy="5553076"/>
          </a:xfrm>
          <a:prstGeom prst="rect">
            <a:avLst/>
          </a:prstGeom>
        </p:spPr>
      </p:pic>
      <p:sp>
        <p:nvSpPr>
          <p:cNvPr id="7" name="Rectangle 6">
            <a:extLst>
              <a:ext uri="{FF2B5EF4-FFF2-40B4-BE49-F238E27FC236}">
                <a16:creationId xmlns:a16="http://schemas.microsoft.com/office/drawing/2014/main" id="{D9C6B37F-9276-1308-ED9A-F9C5326DFE61}"/>
              </a:ext>
            </a:extLst>
          </p:cNvPr>
          <p:cNvSpPr/>
          <p:nvPr/>
        </p:nvSpPr>
        <p:spPr>
          <a:xfrm>
            <a:off x="9173497" y="2688226"/>
            <a:ext cx="2186022" cy="213359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42900" marR="0" lvl="0" indent="-342900" algn="ctr">
              <a:lnSpc>
                <a:spcPct val="107000"/>
              </a:lnSpc>
              <a:spcBef>
                <a:spcPts val="0"/>
              </a:spcBef>
              <a:spcAft>
                <a:spcPts val="800"/>
              </a:spcAft>
              <a:buFont typeface="+mj-lt"/>
              <a:buAutoNum type="arabicPeriod"/>
            </a:pPr>
            <a:r>
              <a:rPr lang="en-US" sz="1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Japan has the lowest of Cycle Times and NA America has the highest</a:t>
            </a:r>
          </a:p>
          <a:p>
            <a:pPr marL="342900" marR="0" lvl="0" indent="-342900" algn="ctr">
              <a:lnSpc>
                <a:spcPct val="107000"/>
              </a:lnSpc>
              <a:spcBef>
                <a:spcPts val="0"/>
              </a:spcBef>
              <a:spcAft>
                <a:spcPts val="800"/>
              </a:spcAft>
              <a:buFont typeface="+mj-lt"/>
              <a:buAutoNum type="arabicPeriod"/>
            </a:pPr>
            <a:r>
              <a:rPr lang="en-US" dirty="0">
                <a:solidFill>
                  <a:schemeClr val="tx1"/>
                </a:solidFill>
                <a:latin typeface="Calibri" panose="020F0502020204030204" pitchFamily="34" charset="0"/>
                <a:ea typeface="Calibri" panose="020F0502020204030204" pitchFamily="34" charset="0"/>
                <a:cs typeface="Times New Roman" panose="02020603050405020304" pitchFamily="18" charset="0"/>
              </a:rPr>
              <a:t>Xseries has the </a:t>
            </a:r>
            <a:r>
              <a:rPr lang="en-US" dirty="0" smtClean="0">
                <a:solidFill>
                  <a:schemeClr val="tx1"/>
                </a:solidFill>
                <a:latin typeface="Calibri" panose="020F0502020204030204" pitchFamily="34" charset="0"/>
                <a:ea typeface="Calibri" panose="020F0502020204030204" pitchFamily="34" charset="0"/>
                <a:cs typeface="Times New Roman" panose="02020603050405020304" pitchFamily="18" charset="0"/>
              </a:rPr>
              <a:t>highest Cycle </a:t>
            </a:r>
            <a:r>
              <a:rPr lang="en-US" dirty="0">
                <a:solidFill>
                  <a:schemeClr val="tx1"/>
                </a:solidFill>
                <a:latin typeface="Calibri" panose="020F0502020204030204" pitchFamily="34" charset="0"/>
                <a:ea typeface="Calibri" panose="020F0502020204030204" pitchFamily="34" charset="0"/>
                <a:cs typeface="Times New Roman" panose="02020603050405020304" pitchFamily="18" charset="0"/>
              </a:rPr>
              <a:t>time and Consulting has the lowest</a:t>
            </a:r>
            <a:r>
              <a:rPr lang="en-US" sz="1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a:t>
            </a:r>
          </a:p>
          <a:p>
            <a:pPr marR="0" lvl="0" algn="just">
              <a:lnSpc>
                <a:spcPct val="107000"/>
              </a:lnSpc>
              <a:spcBef>
                <a:spcPts val="0"/>
              </a:spcBef>
              <a:spcAft>
                <a:spcPts val="800"/>
              </a:spcAft>
            </a:pPr>
            <a:endParaRPr lang="en-US" sz="1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solidFill>
                <a:schemeClr val="tx1"/>
              </a:solidFill>
            </a:endParaRPr>
          </a:p>
        </p:txBody>
      </p:sp>
      <p:sp>
        <p:nvSpPr>
          <p:cNvPr id="8" name="Slide Number Placeholder 7"/>
          <p:cNvSpPr>
            <a:spLocks noGrp="1"/>
          </p:cNvSpPr>
          <p:nvPr>
            <p:ph type="sldNum" sz="quarter" idx="12"/>
          </p:nvPr>
        </p:nvSpPr>
        <p:spPr>
          <a:xfrm>
            <a:off x="11638935" y="6324600"/>
            <a:ext cx="553065" cy="365125"/>
          </a:xfrm>
        </p:spPr>
        <p:txBody>
          <a:bodyPr/>
          <a:lstStyle/>
          <a:p>
            <a:fld id="{B4792231-69F4-4F9D-9049-A1DDF7DEBE79}" type="slidenum">
              <a:rPr lang="en-US" smtClean="0"/>
              <a:t>14</a:t>
            </a:fld>
            <a:endParaRPr lang="en-US" dirty="0"/>
          </a:p>
        </p:txBody>
      </p:sp>
    </p:spTree>
    <p:extLst>
      <p:ext uri="{BB962C8B-B14F-4D97-AF65-F5344CB8AC3E}">
        <p14:creationId xmlns:p14="http://schemas.microsoft.com/office/powerpoint/2010/main" val="37266985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1000"/>
                                        <p:tgtEl>
                                          <p:spTgt spid="7">
                                            <p:txEl>
                                              <p:pRg st="0" end="0"/>
                                            </p:txEl>
                                          </p:spTgt>
                                        </p:tgtEl>
                                      </p:cBhvr>
                                    </p:animEffect>
                                    <p:anim calcmode="lin" valueType="num">
                                      <p:cBhvr>
                                        <p:cTn id="8" dur="1000" fill="hold"/>
                                        <p:tgtEl>
                                          <p:spTgt spid="7">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7">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7">
                                            <p:txEl>
                                              <p:pRg st="1" end="1"/>
                                            </p:txEl>
                                          </p:spTgt>
                                        </p:tgtEl>
                                        <p:attrNameLst>
                                          <p:attrName>style.visibility</p:attrName>
                                        </p:attrNameLst>
                                      </p:cBhvr>
                                      <p:to>
                                        <p:strVal val="visible"/>
                                      </p:to>
                                    </p:set>
                                    <p:animEffect transition="in" filter="fade">
                                      <p:cBhvr>
                                        <p:cTn id="12" dur="1000"/>
                                        <p:tgtEl>
                                          <p:spTgt spid="7">
                                            <p:txEl>
                                              <p:pRg st="1" end="1"/>
                                            </p:txEl>
                                          </p:spTgt>
                                        </p:tgtEl>
                                      </p:cBhvr>
                                    </p:animEffect>
                                    <p:anim calcmode="lin" valueType="num">
                                      <p:cBhvr>
                                        <p:cTn id="13" dur="1000" fill="hold"/>
                                        <p:tgtEl>
                                          <p:spTgt spid="7">
                                            <p:txEl>
                                              <p:pRg st="1" end="1"/>
                                            </p:txEl>
                                          </p:spTgt>
                                        </p:tgtEl>
                                        <p:attrNameLst>
                                          <p:attrName>ppt_x</p:attrName>
                                        </p:attrNameLst>
                                      </p:cBhvr>
                                      <p:tavLst>
                                        <p:tav tm="0">
                                          <p:val>
                                            <p:strVal val="#ppt_x"/>
                                          </p:val>
                                        </p:tav>
                                        <p:tav tm="100000">
                                          <p:val>
                                            <p:strVal val="#ppt_x"/>
                                          </p:val>
                                        </p:tav>
                                      </p:tavLst>
                                    </p:anim>
                                    <p:anim calcmode="lin" valueType="num">
                                      <p:cBhvr>
                                        <p:cTn id="14" dur="1000" fill="hold"/>
                                        <p:tgtEl>
                                          <p:spTgt spid="7">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281"/>
        <p:cNvGrpSpPr/>
        <p:nvPr/>
      </p:nvGrpSpPr>
      <p:grpSpPr>
        <a:xfrm>
          <a:off x="0" y="0"/>
          <a:ext cx="0" cy="0"/>
          <a:chOff x="0" y="0"/>
          <a:chExt cx="0" cy="0"/>
        </a:xfrm>
      </p:grpSpPr>
      <p:sp>
        <p:nvSpPr>
          <p:cNvPr id="282" name="Google Shape;282;p42"/>
          <p:cNvSpPr txBox="1">
            <a:spLocks noGrp="1"/>
          </p:cNvSpPr>
          <p:nvPr>
            <p:ph type="title"/>
          </p:nvPr>
        </p:nvSpPr>
        <p:spPr>
          <a:xfrm>
            <a:off x="554737" y="172212"/>
            <a:ext cx="10160065" cy="731520"/>
          </a:xfrm>
          <a:prstGeom prst="rect">
            <a:avLst/>
          </a:prstGeom>
          <a:noFill/>
          <a:ln>
            <a:noFill/>
          </a:ln>
        </p:spPr>
        <p:txBody>
          <a:bodyPr spcFirstLastPara="1" vert="horz" wrap="square" lIns="0" tIns="0" rIns="0" bIns="0" rtlCol="0" anchor="b" anchorCtr="0">
            <a:noAutofit/>
          </a:bodyPr>
          <a:lstStyle/>
          <a:p>
            <a:pPr>
              <a:spcBef>
                <a:spcPts val="0"/>
              </a:spcBef>
              <a:buClr>
                <a:srgbClr val="00341B"/>
              </a:buClr>
              <a:buSzPts val="2100"/>
            </a:pPr>
            <a:r>
              <a:rPr lang="en" sz="2800" dirty="0">
                <a:solidFill>
                  <a:srgbClr val="00341B"/>
                </a:solidFill>
              </a:rPr>
              <a:t>Pareto Chart for Sellers: Too Many BSS Issues</a:t>
            </a:r>
            <a:endParaRPr dirty="0"/>
          </a:p>
        </p:txBody>
      </p:sp>
      <p:cxnSp>
        <p:nvCxnSpPr>
          <p:cNvPr id="283" name="Google Shape;283;p42"/>
          <p:cNvCxnSpPr/>
          <p:nvPr/>
        </p:nvCxnSpPr>
        <p:spPr>
          <a:xfrm>
            <a:off x="1600200" y="6553200"/>
            <a:ext cx="8892208" cy="0"/>
          </a:xfrm>
          <a:prstGeom prst="straightConnector1">
            <a:avLst/>
          </a:prstGeom>
          <a:noFill/>
          <a:ln w="38100" cap="flat" cmpd="sng">
            <a:solidFill>
              <a:srgbClr val="00550B">
                <a:alpha val="49803"/>
              </a:srgbClr>
            </a:solidFill>
            <a:prstDash val="solid"/>
            <a:round/>
            <a:headEnd type="none" w="sm" len="sm"/>
            <a:tailEnd type="none" w="sm" len="sm"/>
          </a:ln>
        </p:spPr>
      </p:cxnSp>
      <p:pic>
        <p:nvPicPr>
          <p:cNvPr id="286" name="Google Shape;286;p42"/>
          <p:cNvPicPr preferRelativeResize="0"/>
          <p:nvPr/>
        </p:nvPicPr>
        <p:blipFill>
          <a:blip r:embed="rId3">
            <a:alphaModFix/>
          </a:blip>
          <a:stretch>
            <a:fillRect/>
          </a:stretch>
        </p:blipFill>
        <p:spPr>
          <a:xfrm>
            <a:off x="228600" y="1059401"/>
            <a:ext cx="10593035" cy="5569999"/>
          </a:xfrm>
          <a:prstGeom prst="rect">
            <a:avLst/>
          </a:prstGeom>
          <a:noFill/>
          <a:ln>
            <a:noFill/>
          </a:ln>
        </p:spPr>
      </p:pic>
      <p:sp>
        <p:nvSpPr>
          <p:cNvPr id="2" name="Rectangle 1">
            <a:extLst>
              <a:ext uri="{FF2B5EF4-FFF2-40B4-BE49-F238E27FC236}">
                <a16:creationId xmlns:a16="http://schemas.microsoft.com/office/drawing/2014/main" id="{90B6F203-5605-8790-DFC7-52AAC9925DBA}"/>
              </a:ext>
            </a:extLst>
          </p:cNvPr>
          <p:cNvSpPr/>
          <p:nvPr/>
        </p:nvSpPr>
        <p:spPr>
          <a:xfrm>
            <a:off x="922054" y="1355200"/>
            <a:ext cx="703546" cy="3369200"/>
          </a:xfrm>
          <a:prstGeom prst="rect">
            <a:avLst/>
          </a:prstGeom>
          <a:noFill/>
          <a:ln w="38100" cap="sq">
            <a:solidFill>
              <a:srgbClr val="FF0066"/>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 name="Rectangle 2">
            <a:extLst>
              <a:ext uri="{FF2B5EF4-FFF2-40B4-BE49-F238E27FC236}">
                <a16:creationId xmlns:a16="http://schemas.microsoft.com/office/drawing/2014/main" id="{956101AD-4359-BBBE-55B5-37B87EA1534A}"/>
              </a:ext>
            </a:extLst>
          </p:cNvPr>
          <p:cNvSpPr/>
          <p:nvPr/>
        </p:nvSpPr>
        <p:spPr>
          <a:xfrm>
            <a:off x="2319054" y="2362200"/>
            <a:ext cx="703546" cy="2362199"/>
          </a:xfrm>
          <a:prstGeom prst="rect">
            <a:avLst/>
          </a:prstGeom>
          <a:noFill/>
          <a:ln w="38100" cap="sq">
            <a:solidFill>
              <a:srgbClr val="FF0066"/>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 name="Rectangle 3">
            <a:extLst>
              <a:ext uri="{FF2B5EF4-FFF2-40B4-BE49-F238E27FC236}">
                <a16:creationId xmlns:a16="http://schemas.microsoft.com/office/drawing/2014/main" id="{081C8201-FD36-E753-8FD0-093E71F5029E}"/>
              </a:ext>
            </a:extLst>
          </p:cNvPr>
          <p:cNvSpPr/>
          <p:nvPr/>
        </p:nvSpPr>
        <p:spPr>
          <a:xfrm>
            <a:off x="3563654" y="2362200"/>
            <a:ext cx="703546" cy="2362199"/>
          </a:xfrm>
          <a:prstGeom prst="rect">
            <a:avLst/>
          </a:prstGeom>
          <a:noFill/>
          <a:ln w="38100" cap="sq">
            <a:solidFill>
              <a:srgbClr val="FF0066"/>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 name="Rectangle 4">
            <a:extLst>
              <a:ext uri="{FF2B5EF4-FFF2-40B4-BE49-F238E27FC236}">
                <a16:creationId xmlns:a16="http://schemas.microsoft.com/office/drawing/2014/main" id="{03DD2643-261A-7120-69CB-C9C21FD3B5FC}"/>
              </a:ext>
            </a:extLst>
          </p:cNvPr>
          <p:cNvSpPr/>
          <p:nvPr/>
        </p:nvSpPr>
        <p:spPr>
          <a:xfrm>
            <a:off x="8229600" y="3213099"/>
            <a:ext cx="703546" cy="1634067"/>
          </a:xfrm>
          <a:prstGeom prst="rect">
            <a:avLst/>
          </a:prstGeom>
          <a:noFill/>
          <a:ln w="38100" cap="sq">
            <a:solidFill>
              <a:srgbClr val="FF0066"/>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 name="Slide Number Placeholder 5"/>
          <p:cNvSpPr>
            <a:spLocks noGrp="1"/>
          </p:cNvSpPr>
          <p:nvPr>
            <p:ph type="sldNum" sz="quarter" idx="12"/>
          </p:nvPr>
        </p:nvSpPr>
        <p:spPr>
          <a:xfrm>
            <a:off x="11635408" y="6370637"/>
            <a:ext cx="457200" cy="365125"/>
          </a:xfrm>
        </p:spPr>
        <p:txBody>
          <a:bodyPr/>
          <a:lstStyle/>
          <a:p>
            <a:fld id="{B4792231-69F4-4F9D-9049-A1DDF7DEBE79}" type="slidenum">
              <a:rPr lang="en-US" smtClean="0"/>
              <a:t>15</a:t>
            </a:fld>
            <a:endParaRPr lang="en-US"/>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290"/>
        <p:cNvGrpSpPr/>
        <p:nvPr/>
      </p:nvGrpSpPr>
      <p:grpSpPr>
        <a:xfrm>
          <a:off x="0" y="0"/>
          <a:ext cx="0" cy="0"/>
          <a:chOff x="0" y="0"/>
          <a:chExt cx="0" cy="0"/>
        </a:xfrm>
      </p:grpSpPr>
      <p:sp>
        <p:nvSpPr>
          <p:cNvPr id="291" name="Google Shape;291;p43"/>
          <p:cNvSpPr txBox="1">
            <a:spLocks noGrp="1"/>
          </p:cNvSpPr>
          <p:nvPr>
            <p:ph type="title"/>
          </p:nvPr>
        </p:nvSpPr>
        <p:spPr>
          <a:xfrm>
            <a:off x="554737" y="172212"/>
            <a:ext cx="10160065" cy="731520"/>
          </a:xfrm>
          <a:prstGeom prst="rect">
            <a:avLst/>
          </a:prstGeom>
          <a:noFill/>
          <a:ln>
            <a:noFill/>
          </a:ln>
        </p:spPr>
        <p:txBody>
          <a:bodyPr spcFirstLastPara="1" vert="horz" wrap="square" lIns="0" tIns="0" rIns="0" bIns="0" rtlCol="0" anchor="b" anchorCtr="0">
            <a:noAutofit/>
          </a:bodyPr>
          <a:lstStyle/>
          <a:p>
            <a:pPr>
              <a:spcBef>
                <a:spcPts val="0"/>
              </a:spcBef>
              <a:buClr>
                <a:srgbClr val="00341B"/>
              </a:buClr>
              <a:buSzPts val="2100"/>
            </a:pPr>
            <a:r>
              <a:rPr lang="en" sz="2800" dirty="0">
                <a:solidFill>
                  <a:srgbClr val="00341B"/>
                </a:solidFill>
              </a:rPr>
              <a:t>Pareto Chart for BSS: Missing Information Issues</a:t>
            </a:r>
            <a:endParaRPr dirty="0"/>
          </a:p>
        </p:txBody>
      </p:sp>
      <p:cxnSp>
        <p:nvCxnSpPr>
          <p:cNvPr id="292" name="Google Shape;292;p43"/>
          <p:cNvCxnSpPr/>
          <p:nvPr/>
        </p:nvCxnSpPr>
        <p:spPr>
          <a:xfrm>
            <a:off x="1600200" y="6553200"/>
            <a:ext cx="8892208" cy="0"/>
          </a:xfrm>
          <a:prstGeom prst="straightConnector1">
            <a:avLst/>
          </a:prstGeom>
          <a:noFill/>
          <a:ln w="38100" cap="flat" cmpd="sng">
            <a:solidFill>
              <a:srgbClr val="00550B">
                <a:alpha val="49803"/>
              </a:srgbClr>
            </a:solidFill>
            <a:prstDash val="solid"/>
            <a:round/>
            <a:headEnd type="none" w="sm" len="sm"/>
            <a:tailEnd type="none" w="sm" len="sm"/>
          </a:ln>
        </p:spPr>
      </p:cxnSp>
      <p:pic>
        <p:nvPicPr>
          <p:cNvPr id="295" name="Google Shape;295;p43"/>
          <p:cNvPicPr preferRelativeResize="0"/>
          <p:nvPr/>
        </p:nvPicPr>
        <p:blipFill>
          <a:blip r:embed="rId3">
            <a:alphaModFix/>
          </a:blip>
          <a:stretch>
            <a:fillRect/>
          </a:stretch>
        </p:blipFill>
        <p:spPr>
          <a:xfrm>
            <a:off x="554738" y="1099717"/>
            <a:ext cx="10235381" cy="5682083"/>
          </a:xfrm>
          <a:prstGeom prst="rect">
            <a:avLst/>
          </a:prstGeom>
          <a:noFill/>
          <a:ln>
            <a:noFill/>
          </a:ln>
        </p:spPr>
      </p:pic>
      <p:sp>
        <p:nvSpPr>
          <p:cNvPr id="2" name="Rectangle 1">
            <a:extLst>
              <a:ext uri="{FF2B5EF4-FFF2-40B4-BE49-F238E27FC236}">
                <a16:creationId xmlns:a16="http://schemas.microsoft.com/office/drawing/2014/main" id="{4DC5AFA0-9FF6-75EA-C96D-6CD794C4685C}"/>
              </a:ext>
            </a:extLst>
          </p:cNvPr>
          <p:cNvSpPr/>
          <p:nvPr/>
        </p:nvSpPr>
        <p:spPr>
          <a:xfrm>
            <a:off x="1125254" y="1295400"/>
            <a:ext cx="703546" cy="3200398"/>
          </a:xfrm>
          <a:prstGeom prst="rect">
            <a:avLst/>
          </a:prstGeom>
          <a:noFill/>
          <a:ln w="38100" cap="sq">
            <a:solidFill>
              <a:srgbClr val="FF0066"/>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 name="Rectangle 2">
            <a:extLst>
              <a:ext uri="{FF2B5EF4-FFF2-40B4-BE49-F238E27FC236}">
                <a16:creationId xmlns:a16="http://schemas.microsoft.com/office/drawing/2014/main" id="{8974FA16-15AB-D782-9D62-95F5A29B2520}"/>
              </a:ext>
            </a:extLst>
          </p:cNvPr>
          <p:cNvSpPr/>
          <p:nvPr/>
        </p:nvSpPr>
        <p:spPr>
          <a:xfrm>
            <a:off x="1845733" y="1295400"/>
            <a:ext cx="703546" cy="3200393"/>
          </a:xfrm>
          <a:prstGeom prst="rect">
            <a:avLst/>
          </a:prstGeom>
          <a:noFill/>
          <a:ln w="38100" cap="sq">
            <a:solidFill>
              <a:srgbClr val="FF0066"/>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 name="Rectangle 3">
            <a:extLst>
              <a:ext uri="{FF2B5EF4-FFF2-40B4-BE49-F238E27FC236}">
                <a16:creationId xmlns:a16="http://schemas.microsoft.com/office/drawing/2014/main" id="{0A01A5DA-FCFB-41F5-F6F1-FC83E063804A}"/>
              </a:ext>
            </a:extLst>
          </p:cNvPr>
          <p:cNvSpPr/>
          <p:nvPr/>
        </p:nvSpPr>
        <p:spPr>
          <a:xfrm>
            <a:off x="3733800" y="1692859"/>
            <a:ext cx="703546" cy="2802927"/>
          </a:xfrm>
          <a:prstGeom prst="rect">
            <a:avLst/>
          </a:prstGeom>
          <a:noFill/>
          <a:ln w="38100" cap="sq">
            <a:solidFill>
              <a:srgbClr val="FF0066"/>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 name="Rectangle 4">
            <a:extLst>
              <a:ext uri="{FF2B5EF4-FFF2-40B4-BE49-F238E27FC236}">
                <a16:creationId xmlns:a16="http://schemas.microsoft.com/office/drawing/2014/main" id="{C3375E76-D815-5266-5CF2-D2212887C530}"/>
              </a:ext>
            </a:extLst>
          </p:cNvPr>
          <p:cNvSpPr/>
          <p:nvPr/>
        </p:nvSpPr>
        <p:spPr>
          <a:xfrm>
            <a:off x="4488146" y="1692859"/>
            <a:ext cx="703546" cy="2802926"/>
          </a:xfrm>
          <a:prstGeom prst="rect">
            <a:avLst/>
          </a:prstGeom>
          <a:noFill/>
          <a:ln w="38100" cap="sq">
            <a:solidFill>
              <a:srgbClr val="FF0066"/>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 name="Rectangle 5">
            <a:extLst>
              <a:ext uri="{FF2B5EF4-FFF2-40B4-BE49-F238E27FC236}">
                <a16:creationId xmlns:a16="http://schemas.microsoft.com/office/drawing/2014/main" id="{256BA69D-DE28-331A-5747-2C6A27E3E09E}"/>
              </a:ext>
            </a:extLst>
          </p:cNvPr>
          <p:cNvSpPr/>
          <p:nvPr/>
        </p:nvSpPr>
        <p:spPr>
          <a:xfrm>
            <a:off x="8915400" y="3429000"/>
            <a:ext cx="703546" cy="1295399"/>
          </a:xfrm>
          <a:prstGeom prst="rect">
            <a:avLst/>
          </a:prstGeom>
          <a:noFill/>
          <a:ln w="38100" cap="sq">
            <a:solidFill>
              <a:srgbClr val="FF0066"/>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7" name="Slide Number Placeholder 6"/>
          <p:cNvSpPr>
            <a:spLocks noGrp="1"/>
          </p:cNvSpPr>
          <p:nvPr>
            <p:ph type="sldNum" sz="quarter" idx="12"/>
          </p:nvPr>
        </p:nvSpPr>
        <p:spPr>
          <a:xfrm>
            <a:off x="11638935" y="6370637"/>
            <a:ext cx="533400" cy="365125"/>
          </a:xfrm>
        </p:spPr>
        <p:txBody>
          <a:bodyPr/>
          <a:lstStyle/>
          <a:p>
            <a:fld id="{B4792231-69F4-4F9D-9049-A1DDF7DEBE79}" type="slidenum">
              <a:rPr lang="en-US" smtClean="0"/>
              <a:t>16</a:t>
            </a:fld>
            <a:endParaRPr lang="en-US"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6987B744-9D24-4D5B-08CB-B0ABB801B48A}"/>
              </a:ext>
            </a:extLst>
          </p:cNvPr>
          <p:cNvSpPr txBox="1">
            <a:spLocks/>
          </p:cNvSpPr>
          <p:nvPr/>
        </p:nvSpPr>
        <p:spPr>
          <a:xfrm>
            <a:off x="457200" y="202001"/>
            <a:ext cx="11142300" cy="863813"/>
          </a:xfrm>
          <a:prstGeom prst="rect">
            <a:avLst/>
          </a:prstGeom>
          <a:no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dk1"/>
              </a:buClr>
              <a:buSzPts val="5000"/>
              <a:buFont typeface="Calistoga"/>
              <a:buNone/>
              <a:defRPr sz="5000" b="0" i="0" u="none" strike="noStrike" cap="none">
                <a:solidFill>
                  <a:schemeClr val="dk1"/>
                </a:solidFill>
                <a:latin typeface="Calistoga"/>
                <a:ea typeface="Calistoga"/>
                <a:cs typeface="Calistoga"/>
                <a:sym typeface="Calistoga"/>
              </a:defRPr>
            </a:lvl1pPr>
            <a:lvl2pPr marR="0" lvl="1" algn="ctr" rtl="0">
              <a:lnSpc>
                <a:spcPct val="100000"/>
              </a:lnSpc>
              <a:spcBef>
                <a:spcPts val="0"/>
              </a:spcBef>
              <a:spcAft>
                <a:spcPts val="0"/>
              </a:spcAft>
              <a:buClr>
                <a:schemeClr val="dk1"/>
              </a:buClr>
              <a:buSzPts val="5000"/>
              <a:buFont typeface="Calistoga"/>
              <a:buNone/>
              <a:defRPr sz="5000" b="0" i="0" u="none" strike="noStrike" cap="none">
                <a:solidFill>
                  <a:schemeClr val="dk1"/>
                </a:solidFill>
                <a:latin typeface="Calistoga"/>
                <a:ea typeface="Calistoga"/>
                <a:cs typeface="Calistoga"/>
                <a:sym typeface="Calistoga"/>
              </a:defRPr>
            </a:lvl2pPr>
            <a:lvl3pPr marR="0" lvl="2" algn="ctr" rtl="0">
              <a:lnSpc>
                <a:spcPct val="100000"/>
              </a:lnSpc>
              <a:spcBef>
                <a:spcPts val="0"/>
              </a:spcBef>
              <a:spcAft>
                <a:spcPts val="0"/>
              </a:spcAft>
              <a:buClr>
                <a:schemeClr val="dk1"/>
              </a:buClr>
              <a:buSzPts val="5000"/>
              <a:buFont typeface="Calistoga"/>
              <a:buNone/>
              <a:defRPr sz="5000" b="0" i="0" u="none" strike="noStrike" cap="none">
                <a:solidFill>
                  <a:schemeClr val="dk1"/>
                </a:solidFill>
                <a:latin typeface="Calistoga"/>
                <a:ea typeface="Calistoga"/>
                <a:cs typeface="Calistoga"/>
                <a:sym typeface="Calistoga"/>
              </a:defRPr>
            </a:lvl3pPr>
            <a:lvl4pPr marR="0" lvl="3" algn="ctr" rtl="0">
              <a:lnSpc>
                <a:spcPct val="100000"/>
              </a:lnSpc>
              <a:spcBef>
                <a:spcPts val="0"/>
              </a:spcBef>
              <a:spcAft>
                <a:spcPts val="0"/>
              </a:spcAft>
              <a:buClr>
                <a:schemeClr val="dk1"/>
              </a:buClr>
              <a:buSzPts val="5000"/>
              <a:buFont typeface="Calistoga"/>
              <a:buNone/>
              <a:defRPr sz="5000" b="0" i="0" u="none" strike="noStrike" cap="none">
                <a:solidFill>
                  <a:schemeClr val="dk1"/>
                </a:solidFill>
                <a:latin typeface="Calistoga"/>
                <a:ea typeface="Calistoga"/>
                <a:cs typeface="Calistoga"/>
                <a:sym typeface="Calistoga"/>
              </a:defRPr>
            </a:lvl4pPr>
            <a:lvl5pPr marR="0" lvl="4" algn="ctr" rtl="0">
              <a:lnSpc>
                <a:spcPct val="100000"/>
              </a:lnSpc>
              <a:spcBef>
                <a:spcPts val="0"/>
              </a:spcBef>
              <a:spcAft>
                <a:spcPts val="0"/>
              </a:spcAft>
              <a:buClr>
                <a:schemeClr val="dk1"/>
              </a:buClr>
              <a:buSzPts val="5000"/>
              <a:buFont typeface="Calistoga"/>
              <a:buNone/>
              <a:defRPr sz="5000" b="0" i="0" u="none" strike="noStrike" cap="none">
                <a:solidFill>
                  <a:schemeClr val="dk1"/>
                </a:solidFill>
                <a:latin typeface="Calistoga"/>
                <a:ea typeface="Calistoga"/>
                <a:cs typeface="Calistoga"/>
                <a:sym typeface="Calistoga"/>
              </a:defRPr>
            </a:lvl5pPr>
            <a:lvl6pPr marR="0" lvl="5" algn="ctr" rtl="0">
              <a:lnSpc>
                <a:spcPct val="100000"/>
              </a:lnSpc>
              <a:spcBef>
                <a:spcPts val="0"/>
              </a:spcBef>
              <a:spcAft>
                <a:spcPts val="0"/>
              </a:spcAft>
              <a:buClr>
                <a:schemeClr val="dk1"/>
              </a:buClr>
              <a:buSzPts val="5000"/>
              <a:buFont typeface="Calistoga"/>
              <a:buNone/>
              <a:defRPr sz="5000" b="0" i="0" u="none" strike="noStrike" cap="none">
                <a:solidFill>
                  <a:schemeClr val="dk1"/>
                </a:solidFill>
                <a:latin typeface="Calistoga"/>
                <a:ea typeface="Calistoga"/>
                <a:cs typeface="Calistoga"/>
                <a:sym typeface="Calistoga"/>
              </a:defRPr>
            </a:lvl6pPr>
            <a:lvl7pPr marR="0" lvl="6" algn="ctr" rtl="0">
              <a:lnSpc>
                <a:spcPct val="100000"/>
              </a:lnSpc>
              <a:spcBef>
                <a:spcPts val="0"/>
              </a:spcBef>
              <a:spcAft>
                <a:spcPts val="0"/>
              </a:spcAft>
              <a:buClr>
                <a:schemeClr val="dk1"/>
              </a:buClr>
              <a:buSzPts val="5000"/>
              <a:buFont typeface="Calistoga"/>
              <a:buNone/>
              <a:defRPr sz="5000" b="0" i="0" u="none" strike="noStrike" cap="none">
                <a:solidFill>
                  <a:schemeClr val="dk1"/>
                </a:solidFill>
                <a:latin typeface="Calistoga"/>
                <a:ea typeface="Calistoga"/>
                <a:cs typeface="Calistoga"/>
                <a:sym typeface="Calistoga"/>
              </a:defRPr>
            </a:lvl7pPr>
            <a:lvl8pPr marR="0" lvl="7" algn="ctr" rtl="0">
              <a:lnSpc>
                <a:spcPct val="100000"/>
              </a:lnSpc>
              <a:spcBef>
                <a:spcPts val="0"/>
              </a:spcBef>
              <a:spcAft>
                <a:spcPts val="0"/>
              </a:spcAft>
              <a:buClr>
                <a:schemeClr val="dk1"/>
              </a:buClr>
              <a:buSzPts val="5000"/>
              <a:buFont typeface="Calistoga"/>
              <a:buNone/>
              <a:defRPr sz="5000" b="0" i="0" u="none" strike="noStrike" cap="none">
                <a:solidFill>
                  <a:schemeClr val="dk1"/>
                </a:solidFill>
                <a:latin typeface="Calistoga"/>
                <a:ea typeface="Calistoga"/>
                <a:cs typeface="Calistoga"/>
                <a:sym typeface="Calistoga"/>
              </a:defRPr>
            </a:lvl8pPr>
            <a:lvl9pPr marR="0" lvl="8" algn="ctr" rtl="0">
              <a:lnSpc>
                <a:spcPct val="100000"/>
              </a:lnSpc>
              <a:spcBef>
                <a:spcPts val="0"/>
              </a:spcBef>
              <a:spcAft>
                <a:spcPts val="0"/>
              </a:spcAft>
              <a:buClr>
                <a:schemeClr val="dk1"/>
              </a:buClr>
              <a:buSzPts val="5000"/>
              <a:buFont typeface="Calistoga"/>
              <a:buNone/>
              <a:defRPr sz="5000" b="0" i="0" u="none" strike="noStrike" cap="none">
                <a:solidFill>
                  <a:schemeClr val="dk1"/>
                </a:solidFill>
                <a:latin typeface="Calistoga"/>
                <a:ea typeface="Calistoga"/>
                <a:cs typeface="Calistoga"/>
                <a:sym typeface="Calistoga"/>
              </a:defRPr>
            </a:lvl9pPr>
          </a:lstStyle>
          <a:p>
            <a:pPr algn="l">
              <a:spcBef>
                <a:spcPct val="0"/>
              </a:spcBef>
            </a:pPr>
            <a:r>
              <a:rPr lang="en-US" sz="2800" b="1" dirty="0">
                <a:ln w="6350" cap="flat">
                  <a:noFill/>
                  <a:miter lim="800000"/>
                </a:ln>
                <a:solidFill>
                  <a:schemeClr val="accent1">
                    <a:lumMod val="50000"/>
                  </a:schemeClr>
                </a:solidFill>
                <a:latin typeface="+mj-lt"/>
                <a:ea typeface="+mj-ea"/>
                <a:cs typeface="+mj-cs"/>
              </a:rPr>
              <a:t>Fish bone for Long Cycle Time for Gentech</a:t>
            </a:r>
            <a:endParaRPr lang="en-TW" sz="2800" b="1" dirty="0">
              <a:ln w="6350" cap="flat">
                <a:noFill/>
                <a:miter lim="800000"/>
              </a:ln>
              <a:solidFill>
                <a:schemeClr val="accent1">
                  <a:lumMod val="50000"/>
                </a:schemeClr>
              </a:solidFill>
              <a:latin typeface="+mj-lt"/>
              <a:ea typeface="+mj-ea"/>
              <a:cs typeface="+mj-cs"/>
            </a:endParaRPr>
          </a:p>
        </p:txBody>
      </p:sp>
      <p:sp>
        <p:nvSpPr>
          <p:cNvPr id="33" name="object 4">
            <a:extLst>
              <a:ext uri="{FF2B5EF4-FFF2-40B4-BE49-F238E27FC236}">
                <a16:creationId xmlns:a16="http://schemas.microsoft.com/office/drawing/2014/main" id="{755E5346-71F6-F23B-587B-2FBA74509E52}"/>
              </a:ext>
            </a:extLst>
          </p:cNvPr>
          <p:cNvSpPr/>
          <p:nvPr/>
        </p:nvSpPr>
        <p:spPr>
          <a:xfrm>
            <a:off x="2702827" y="3520039"/>
            <a:ext cx="6434959" cy="120140"/>
          </a:xfrm>
          <a:custGeom>
            <a:avLst/>
            <a:gdLst/>
            <a:ahLst/>
            <a:cxnLst/>
            <a:rect l="l" t="t" r="r" b="b"/>
            <a:pathLst>
              <a:path w="5334000" h="173989">
                <a:moveTo>
                  <a:pt x="5160264" y="0"/>
                </a:moveTo>
                <a:lnTo>
                  <a:pt x="5160264" y="173735"/>
                </a:lnTo>
                <a:lnTo>
                  <a:pt x="5276088" y="115823"/>
                </a:lnTo>
                <a:lnTo>
                  <a:pt x="5189220" y="115823"/>
                </a:lnTo>
                <a:lnTo>
                  <a:pt x="5189220" y="57912"/>
                </a:lnTo>
                <a:lnTo>
                  <a:pt x="5276088" y="57912"/>
                </a:lnTo>
                <a:lnTo>
                  <a:pt x="5160264" y="0"/>
                </a:lnTo>
                <a:close/>
              </a:path>
              <a:path w="5334000" h="173989">
                <a:moveTo>
                  <a:pt x="5160264" y="57912"/>
                </a:moveTo>
                <a:lnTo>
                  <a:pt x="0" y="57912"/>
                </a:lnTo>
                <a:lnTo>
                  <a:pt x="0" y="115823"/>
                </a:lnTo>
                <a:lnTo>
                  <a:pt x="5160264" y="115823"/>
                </a:lnTo>
                <a:lnTo>
                  <a:pt x="5160264" y="57912"/>
                </a:lnTo>
                <a:close/>
              </a:path>
              <a:path w="5334000" h="173989">
                <a:moveTo>
                  <a:pt x="5276088" y="57912"/>
                </a:moveTo>
                <a:lnTo>
                  <a:pt x="5189220" y="57912"/>
                </a:lnTo>
                <a:lnTo>
                  <a:pt x="5189220" y="115823"/>
                </a:lnTo>
                <a:lnTo>
                  <a:pt x="5276088" y="115823"/>
                </a:lnTo>
                <a:lnTo>
                  <a:pt x="5334000" y="86867"/>
                </a:lnTo>
                <a:lnTo>
                  <a:pt x="5276088" y="57912"/>
                </a:lnTo>
                <a:close/>
              </a:path>
            </a:pathLst>
          </a:custGeom>
          <a:solidFill>
            <a:srgbClr val="006837"/>
          </a:solidFill>
          <a:ln>
            <a:solidFill>
              <a:srgbClr val="006837"/>
            </a:solidFill>
          </a:ln>
        </p:spPr>
        <p:txBody>
          <a:bodyPr wrap="square" lIns="0" tIns="0" rIns="0" bIns="0" rtlCol="0"/>
          <a:lstStyle>
            <a:defPPr>
              <a:defRPr lang="en-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a:latin typeface="Calisto MT" panose="02040603050505030304" pitchFamily="18" charset="77"/>
            </a:endParaRPr>
          </a:p>
        </p:txBody>
      </p:sp>
      <p:sp>
        <p:nvSpPr>
          <p:cNvPr id="34" name="object 5">
            <a:extLst>
              <a:ext uri="{FF2B5EF4-FFF2-40B4-BE49-F238E27FC236}">
                <a16:creationId xmlns:a16="http://schemas.microsoft.com/office/drawing/2014/main" id="{E27B7AA1-1AA7-79D3-EEA6-988F0D26B8FD}"/>
              </a:ext>
            </a:extLst>
          </p:cNvPr>
          <p:cNvSpPr/>
          <p:nvPr/>
        </p:nvSpPr>
        <p:spPr>
          <a:xfrm>
            <a:off x="4154331" y="1931268"/>
            <a:ext cx="1371600" cy="1676400"/>
          </a:xfrm>
          <a:custGeom>
            <a:avLst/>
            <a:gdLst/>
            <a:ahLst/>
            <a:cxnLst/>
            <a:rect l="l" t="t" r="r" b="b"/>
            <a:pathLst>
              <a:path w="1371600" h="1676400">
                <a:moveTo>
                  <a:pt x="1371600" y="1676400"/>
                </a:moveTo>
                <a:lnTo>
                  <a:pt x="0" y="0"/>
                </a:lnTo>
              </a:path>
            </a:pathLst>
          </a:custGeom>
          <a:ln w="19812">
            <a:solidFill>
              <a:srgbClr val="000000"/>
            </a:solidFill>
          </a:ln>
        </p:spPr>
        <p:txBody>
          <a:bodyPr wrap="square" lIns="0" tIns="0" rIns="0" bIns="0" rtlCol="0"/>
          <a:lstStyle>
            <a:defPPr>
              <a:defRPr lang="en-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a:latin typeface="Calisto MT" panose="02040603050505030304" pitchFamily="18" charset="77"/>
            </a:endParaRPr>
          </a:p>
        </p:txBody>
      </p:sp>
      <p:sp>
        <p:nvSpPr>
          <p:cNvPr id="35" name="object 6">
            <a:extLst>
              <a:ext uri="{FF2B5EF4-FFF2-40B4-BE49-F238E27FC236}">
                <a16:creationId xmlns:a16="http://schemas.microsoft.com/office/drawing/2014/main" id="{77BAC2AB-8BF6-58EC-6664-31B5D03EA8F2}"/>
              </a:ext>
            </a:extLst>
          </p:cNvPr>
          <p:cNvSpPr/>
          <p:nvPr/>
        </p:nvSpPr>
        <p:spPr>
          <a:xfrm>
            <a:off x="6941602" y="1931268"/>
            <a:ext cx="1371600" cy="1676400"/>
          </a:xfrm>
          <a:custGeom>
            <a:avLst/>
            <a:gdLst/>
            <a:ahLst/>
            <a:cxnLst/>
            <a:rect l="l" t="t" r="r" b="b"/>
            <a:pathLst>
              <a:path w="1371600" h="1676400">
                <a:moveTo>
                  <a:pt x="1371600" y="1676400"/>
                </a:moveTo>
                <a:lnTo>
                  <a:pt x="0" y="0"/>
                </a:lnTo>
              </a:path>
            </a:pathLst>
          </a:custGeom>
          <a:ln w="19812">
            <a:solidFill>
              <a:srgbClr val="000000"/>
            </a:solidFill>
          </a:ln>
        </p:spPr>
        <p:txBody>
          <a:bodyPr wrap="square" lIns="0" tIns="0" rIns="0" bIns="0" rtlCol="0"/>
          <a:lstStyle>
            <a:defPPr>
              <a:defRPr lang="en-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a:latin typeface="Calisto MT" panose="02040603050505030304" pitchFamily="18" charset="77"/>
            </a:endParaRPr>
          </a:p>
        </p:txBody>
      </p:sp>
      <p:sp>
        <p:nvSpPr>
          <p:cNvPr id="36" name="object 7">
            <a:extLst>
              <a:ext uri="{FF2B5EF4-FFF2-40B4-BE49-F238E27FC236}">
                <a16:creationId xmlns:a16="http://schemas.microsoft.com/office/drawing/2014/main" id="{DCAC8898-08A5-F902-4876-7AA130681C6A}"/>
              </a:ext>
            </a:extLst>
          </p:cNvPr>
          <p:cNvSpPr/>
          <p:nvPr/>
        </p:nvSpPr>
        <p:spPr>
          <a:xfrm>
            <a:off x="2701211" y="3607667"/>
            <a:ext cx="1376919" cy="1707643"/>
          </a:xfrm>
          <a:custGeom>
            <a:avLst/>
            <a:gdLst/>
            <a:ahLst/>
            <a:cxnLst/>
            <a:rect l="l" t="t" r="r" b="b"/>
            <a:pathLst>
              <a:path w="1295400" h="1600200">
                <a:moveTo>
                  <a:pt x="0" y="1600200"/>
                </a:moveTo>
                <a:lnTo>
                  <a:pt x="1295400" y="0"/>
                </a:lnTo>
              </a:path>
            </a:pathLst>
          </a:custGeom>
          <a:ln w="19812">
            <a:solidFill>
              <a:srgbClr val="000000"/>
            </a:solidFill>
          </a:ln>
        </p:spPr>
        <p:txBody>
          <a:bodyPr wrap="square" lIns="0" tIns="0" rIns="0" bIns="0" rtlCol="0"/>
          <a:lstStyle>
            <a:defPPr>
              <a:defRPr lang="en-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a:latin typeface="Calisto MT" panose="02040603050505030304" pitchFamily="18" charset="77"/>
            </a:endParaRPr>
          </a:p>
        </p:txBody>
      </p:sp>
      <p:sp>
        <p:nvSpPr>
          <p:cNvPr id="37" name="object 8">
            <a:extLst>
              <a:ext uri="{FF2B5EF4-FFF2-40B4-BE49-F238E27FC236}">
                <a16:creationId xmlns:a16="http://schemas.microsoft.com/office/drawing/2014/main" id="{9716BC63-82BC-790D-CAE4-C7B41962B882}"/>
              </a:ext>
            </a:extLst>
          </p:cNvPr>
          <p:cNvSpPr/>
          <p:nvPr/>
        </p:nvSpPr>
        <p:spPr>
          <a:xfrm>
            <a:off x="5274376" y="3607668"/>
            <a:ext cx="1295400" cy="1600200"/>
          </a:xfrm>
          <a:custGeom>
            <a:avLst/>
            <a:gdLst/>
            <a:ahLst/>
            <a:cxnLst/>
            <a:rect l="l" t="t" r="r" b="b"/>
            <a:pathLst>
              <a:path w="1295400" h="1600200">
                <a:moveTo>
                  <a:pt x="0" y="1600200"/>
                </a:moveTo>
                <a:lnTo>
                  <a:pt x="1295400" y="0"/>
                </a:lnTo>
              </a:path>
            </a:pathLst>
          </a:custGeom>
          <a:ln w="19812">
            <a:solidFill>
              <a:srgbClr val="000000"/>
            </a:solidFill>
          </a:ln>
        </p:spPr>
        <p:txBody>
          <a:bodyPr wrap="square" lIns="0" tIns="0" rIns="0" bIns="0" rtlCol="0"/>
          <a:lstStyle>
            <a:defPPr>
              <a:defRPr lang="en-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a:latin typeface="Calisto MT" panose="02040603050505030304" pitchFamily="18" charset="77"/>
            </a:endParaRPr>
          </a:p>
        </p:txBody>
      </p:sp>
      <p:sp>
        <p:nvSpPr>
          <p:cNvPr id="38" name="object 10">
            <a:extLst>
              <a:ext uri="{FF2B5EF4-FFF2-40B4-BE49-F238E27FC236}">
                <a16:creationId xmlns:a16="http://schemas.microsoft.com/office/drawing/2014/main" id="{50FBBFF8-8070-A5B9-C191-0CAF39913272}"/>
              </a:ext>
            </a:extLst>
          </p:cNvPr>
          <p:cNvSpPr txBox="1"/>
          <p:nvPr/>
        </p:nvSpPr>
        <p:spPr>
          <a:xfrm>
            <a:off x="2934370" y="1548661"/>
            <a:ext cx="1371600" cy="350096"/>
          </a:xfrm>
          <a:prstGeom prst="rect">
            <a:avLst/>
          </a:prstGeom>
          <a:solidFill>
            <a:srgbClr val="006837"/>
          </a:solidFill>
        </p:spPr>
        <p:txBody>
          <a:bodyPr vert="horz" wrap="square" lIns="0" tIns="41910" rIns="0" bIns="0" rtlCol="0">
            <a:spAutoFit/>
          </a:bodyPr>
          <a:lstStyle>
            <a:defPPr>
              <a:defRPr lang="en-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91440" algn="ctr">
              <a:spcBef>
                <a:spcPts val="330"/>
              </a:spcBef>
            </a:pPr>
            <a:r>
              <a:rPr sz="2000" b="1" spc="-5" dirty="0">
                <a:solidFill>
                  <a:schemeClr val="bg2"/>
                </a:solidFill>
                <a:latin typeface="Calisto MT" panose="02040603050505030304" pitchFamily="18" charset="77"/>
                <a:cs typeface="Arial"/>
              </a:rPr>
              <a:t>People</a:t>
            </a:r>
            <a:endParaRPr sz="2000" b="1" dirty="0">
              <a:solidFill>
                <a:schemeClr val="bg2"/>
              </a:solidFill>
              <a:latin typeface="Calisto MT" panose="02040603050505030304" pitchFamily="18" charset="77"/>
              <a:cs typeface="Arial"/>
            </a:endParaRPr>
          </a:p>
        </p:txBody>
      </p:sp>
      <p:sp>
        <p:nvSpPr>
          <p:cNvPr id="39" name="object 11">
            <a:extLst>
              <a:ext uri="{FF2B5EF4-FFF2-40B4-BE49-F238E27FC236}">
                <a16:creationId xmlns:a16="http://schemas.microsoft.com/office/drawing/2014/main" id="{533D3133-3202-4ECE-3C41-644FCD2777CD}"/>
              </a:ext>
            </a:extLst>
          </p:cNvPr>
          <p:cNvSpPr txBox="1"/>
          <p:nvPr/>
        </p:nvSpPr>
        <p:spPr>
          <a:xfrm>
            <a:off x="6407440" y="1473308"/>
            <a:ext cx="1371599" cy="350096"/>
          </a:xfrm>
          <a:prstGeom prst="rect">
            <a:avLst/>
          </a:prstGeom>
          <a:solidFill>
            <a:srgbClr val="006837"/>
          </a:solidFill>
        </p:spPr>
        <p:txBody>
          <a:bodyPr vert="horz" wrap="square" lIns="0" tIns="41910" rIns="0" bIns="0" rtlCol="0">
            <a:spAutoFit/>
          </a:bodyPr>
          <a:lstStyle>
            <a:defPPr>
              <a:defRPr lang="en-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92075" algn="ctr">
              <a:spcBef>
                <a:spcPts val="330"/>
              </a:spcBef>
            </a:pPr>
            <a:r>
              <a:rPr sz="2000" b="1" dirty="0">
                <a:solidFill>
                  <a:schemeClr val="bg2"/>
                </a:solidFill>
                <a:latin typeface="Calisto MT" panose="02040603050505030304" pitchFamily="18" charset="77"/>
                <a:cs typeface="Arial"/>
              </a:rPr>
              <a:t>Method</a:t>
            </a:r>
          </a:p>
        </p:txBody>
      </p:sp>
      <p:sp>
        <p:nvSpPr>
          <p:cNvPr id="40" name="object 12">
            <a:extLst>
              <a:ext uri="{FF2B5EF4-FFF2-40B4-BE49-F238E27FC236}">
                <a16:creationId xmlns:a16="http://schemas.microsoft.com/office/drawing/2014/main" id="{B3720EBE-6936-5CA5-3670-9FE1A203FC41}"/>
              </a:ext>
            </a:extLst>
          </p:cNvPr>
          <p:cNvSpPr txBox="1"/>
          <p:nvPr/>
        </p:nvSpPr>
        <p:spPr>
          <a:xfrm>
            <a:off x="7004186" y="5315311"/>
            <a:ext cx="1655868" cy="350736"/>
          </a:xfrm>
          <a:prstGeom prst="rect">
            <a:avLst/>
          </a:prstGeom>
          <a:solidFill>
            <a:srgbClr val="006837"/>
          </a:solidFill>
        </p:spPr>
        <p:txBody>
          <a:bodyPr vert="horz" wrap="square" lIns="0" tIns="42544" rIns="0" bIns="0" rtlCol="0">
            <a:spAutoFit/>
          </a:bodyPr>
          <a:lstStyle>
            <a:defPPr>
              <a:defRPr lang="en-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92075" algn="ctr">
              <a:spcBef>
                <a:spcPts val="334"/>
              </a:spcBef>
            </a:pPr>
            <a:r>
              <a:rPr sz="2000" b="1" spc="-5" dirty="0">
                <a:solidFill>
                  <a:schemeClr val="bg2"/>
                </a:solidFill>
                <a:latin typeface="Calisto MT" panose="02040603050505030304" pitchFamily="18" charset="77"/>
                <a:cs typeface="Arial"/>
              </a:rPr>
              <a:t>M</a:t>
            </a:r>
            <a:r>
              <a:rPr lang="en-US" sz="2000" b="1" spc="-5" dirty="0">
                <a:solidFill>
                  <a:schemeClr val="bg2"/>
                </a:solidFill>
                <a:latin typeface="Calisto MT" panose="02040603050505030304" pitchFamily="18" charset="77"/>
                <a:cs typeface="Arial"/>
              </a:rPr>
              <a:t>ethod</a:t>
            </a:r>
            <a:endParaRPr sz="2000" b="1" dirty="0">
              <a:solidFill>
                <a:schemeClr val="bg2"/>
              </a:solidFill>
              <a:latin typeface="Calisto MT" panose="02040603050505030304" pitchFamily="18" charset="77"/>
              <a:cs typeface="Arial"/>
            </a:endParaRPr>
          </a:p>
        </p:txBody>
      </p:sp>
      <p:sp>
        <p:nvSpPr>
          <p:cNvPr id="41" name="object 13">
            <a:extLst>
              <a:ext uri="{FF2B5EF4-FFF2-40B4-BE49-F238E27FC236}">
                <a16:creationId xmlns:a16="http://schemas.microsoft.com/office/drawing/2014/main" id="{0260BFD5-62D2-5D0E-0640-7331FCDE6818}"/>
              </a:ext>
            </a:extLst>
          </p:cNvPr>
          <p:cNvSpPr/>
          <p:nvPr/>
        </p:nvSpPr>
        <p:spPr>
          <a:xfrm>
            <a:off x="7462147" y="3607668"/>
            <a:ext cx="1295400" cy="1600200"/>
          </a:xfrm>
          <a:custGeom>
            <a:avLst/>
            <a:gdLst/>
            <a:ahLst/>
            <a:cxnLst/>
            <a:rect l="l" t="t" r="r" b="b"/>
            <a:pathLst>
              <a:path w="1295400" h="1600200">
                <a:moveTo>
                  <a:pt x="0" y="1600200"/>
                </a:moveTo>
                <a:lnTo>
                  <a:pt x="1295400" y="0"/>
                </a:lnTo>
              </a:path>
            </a:pathLst>
          </a:custGeom>
          <a:ln w="19812">
            <a:solidFill>
              <a:srgbClr val="000000"/>
            </a:solidFill>
          </a:ln>
        </p:spPr>
        <p:txBody>
          <a:bodyPr wrap="square" lIns="0" tIns="0" rIns="0" bIns="0" rtlCol="0"/>
          <a:lstStyle>
            <a:defPPr>
              <a:defRPr lang="en-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a:latin typeface="Calisto MT" panose="02040603050505030304" pitchFamily="18" charset="77"/>
            </a:endParaRPr>
          </a:p>
        </p:txBody>
      </p:sp>
      <p:sp>
        <p:nvSpPr>
          <p:cNvPr id="42" name="object 14">
            <a:extLst>
              <a:ext uri="{FF2B5EF4-FFF2-40B4-BE49-F238E27FC236}">
                <a16:creationId xmlns:a16="http://schemas.microsoft.com/office/drawing/2014/main" id="{5ECC0AC1-AE87-F571-AA0C-69C53C1BD0FC}"/>
              </a:ext>
            </a:extLst>
          </p:cNvPr>
          <p:cNvSpPr txBox="1"/>
          <p:nvPr/>
        </p:nvSpPr>
        <p:spPr>
          <a:xfrm>
            <a:off x="4151146" y="5315311"/>
            <a:ext cx="2101381" cy="350736"/>
          </a:xfrm>
          <a:prstGeom prst="rect">
            <a:avLst/>
          </a:prstGeom>
          <a:solidFill>
            <a:srgbClr val="006837"/>
          </a:solidFill>
        </p:spPr>
        <p:txBody>
          <a:bodyPr vert="horz" wrap="square" lIns="0" tIns="42544" rIns="0" bIns="0" rtlCol="0">
            <a:spAutoFit/>
          </a:bodyPr>
          <a:lstStyle>
            <a:defPPr>
              <a:defRPr lang="en-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92075" algn="ctr">
              <a:spcBef>
                <a:spcPts val="334"/>
              </a:spcBef>
            </a:pPr>
            <a:r>
              <a:rPr sz="2000" b="1" spc="-5" dirty="0">
                <a:solidFill>
                  <a:schemeClr val="bg2"/>
                </a:solidFill>
                <a:latin typeface="Calisto MT" panose="02040603050505030304" pitchFamily="18" charset="77"/>
                <a:cs typeface="Arial"/>
              </a:rPr>
              <a:t>Environment</a:t>
            </a:r>
            <a:endParaRPr sz="2000" b="1" dirty="0">
              <a:solidFill>
                <a:schemeClr val="bg2"/>
              </a:solidFill>
              <a:latin typeface="Calisto MT" panose="02040603050505030304" pitchFamily="18" charset="77"/>
              <a:cs typeface="Arial"/>
            </a:endParaRPr>
          </a:p>
        </p:txBody>
      </p:sp>
      <p:sp>
        <p:nvSpPr>
          <p:cNvPr id="43" name="object 15">
            <a:extLst>
              <a:ext uri="{FF2B5EF4-FFF2-40B4-BE49-F238E27FC236}">
                <a16:creationId xmlns:a16="http://schemas.microsoft.com/office/drawing/2014/main" id="{1A394F51-C67B-FEDD-B636-8E50F8C178A8}"/>
              </a:ext>
            </a:extLst>
          </p:cNvPr>
          <p:cNvSpPr txBox="1"/>
          <p:nvPr/>
        </p:nvSpPr>
        <p:spPr>
          <a:xfrm>
            <a:off x="1667238" y="5315311"/>
            <a:ext cx="1908299" cy="350736"/>
          </a:xfrm>
          <a:prstGeom prst="rect">
            <a:avLst/>
          </a:prstGeom>
          <a:solidFill>
            <a:srgbClr val="006837"/>
          </a:solidFill>
        </p:spPr>
        <p:txBody>
          <a:bodyPr vert="horz" wrap="square" lIns="0" tIns="42544" rIns="0" bIns="0" rtlCol="0">
            <a:spAutoFit/>
          </a:bodyPr>
          <a:lstStyle>
            <a:defPPr>
              <a:defRPr lang="en-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91440" algn="ctr">
              <a:spcBef>
                <a:spcPts val="334"/>
              </a:spcBef>
            </a:pPr>
            <a:r>
              <a:rPr lang="en-US" sz="2000" b="1" spc="-5" dirty="0">
                <a:solidFill>
                  <a:schemeClr val="bg2"/>
                </a:solidFill>
                <a:latin typeface="Calisto MT" panose="02040603050505030304" pitchFamily="18" charset="77"/>
                <a:cs typeface="Arial"/>
              </a:rPr>
              <a:t>Machine</a:t>
            </a:r>
            <a:endParaRPr sz="2000" b="1" dirty="0">
              <a:solidFill>
                <a:schemeClr val="bg2"/>
              </a:solidFill>
              <a:latin typeface="Calisto MT" panose="02040603050505030304" pitchFamily="18" charset="77"/>
              <a:cs typeface="Arial"/>
            </a:endParaRPr>
          </a:p>
        </p:txBody>
      </p:sp>
      <p:sp>
        <p:nvSpPr>
          <p:cNvPr id="44" name="TextBox 39">
            <a:extLst>
              <a:ext uri="{FF2B5EF4-FFF2-40B4-BE49-F238E27FC236}">
                <a16:creationId xmlns:a16="http://schemas.microsoft.com/office/drawing/2014/main" id="{0DED402B-43D1-4207-0ADC-5BBDECEF915C}"/>
              </a:ext>
            </a:extLst>
          </p:cNvPr>
          <p:cNvSpPr txBox="1"/>
          <p:nvPr/>
        </p:nvSpPr>
        <p:spPr>
          <a:xfrm>
            <a:off x="2019381" y="2075156"/>
            <a:ext cx="2516400" cy="369332"/>
          </a:xfrm>
          <a:prstGeom prst="rect">
            <a:avLst/>
          </a:prstGeom>
          <a:noFill/>
        </p:spPr>
        <p:txBody>
          <a:bodyPr wrap="square">
            <a:spAutoFit/>
          </a:bodyPr>
          <a:lstStyle>
            <a:defPPr>
              <a:defRPr lang="en-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i="0" dirty="0">
                <a:solidFill>
                  <a:srgbClr val="374151"/>
                </a:solidFill>
                <a:effectLst/>
                <a:latin typeface="Calisto MT" panose="02040603050505030304" pitchFamily="18" charset="77"/>
              </a:rPr>
              <a:t>Seller Overburdened </a:t>
            </a:r>
          </a:p>
        </p:txBody>
      </p:sp>
      <p:sp>
        <p:nvSpPr>
          <p:cNvPr id="45" name="TextBox 40">
            <a:extLst>
              <a:ext uri="{FF2B5EF4-FFF2-40B4-BE49-F238E27FC236}">
                <a16:creationId xmlns:a16="http://schemas.microsoft.com/office/drawing/2014/main" id="{DA55C231-5A65-C600-524C-0B7923D08903}"/>
              </a:ext>
            </a:extLst>
          </p:cNvPr>
          <p:cNvSpPr txBox="1"/>
          <p:nvPr/>
        </p:nvSpPr>
        <p:spPr>
          <a:xfrm>
            <a:off x="2627769" y="2410153"/>
            <a:ext cx="2516400" cy="369332"/>
          </a:xfrm>
          <a:prstGeom prst="rect">
            <a:avLst/>
          </a:prstGeom>
          <a:noFill/>
        </p:spPr>
        <p:txBody>
          <a:bodyPr wrap="square">
            <a:spAutoFit/>
          </a:bodyPr>
          <a:lstStyle>
            <a:defPPr>
              <a:defRPr lang="en-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i="0" dirty="0">
                <a:solidFill>
                  <a:schemeClr val="accent6">
                    <a:lumMod val="50000"/>
                  </a:schemeClr>
                </a:solidFill>
                <a:effectLst/>
                <a:latin typeface="Calisto MT" panose="02040603050505030304" pitchFamily="18" charset="77"/>
              </a:rPr>
              <a:t>BSS Problems</a:t>
            </a:r>
          </a:p>
        </p:txBody>
      </p:sp>
      <p:sp>
        <p:nvSpPr>
          <p:cNvPr id="46" name="TextBox 41">
            <a:extLst>
              <a:ext uri="{FF2B5EF4-FFF2-40B4-BE49-F238E27FC236}">
                <a16:creationId xmlns:a16="http://schemas.microsoft.com/office/drawing/2014/main" id="{A96F7484-2619-9B6D-8370-0E68CD7C5A81}"/>
              </a:ext>
            </a:extLst>
          </p:cNvPr>
          <p:cNvSpPr txBox="1"/>
          <p:nvPr/>
        </p:nvSpPr>
        <p:spPr>
          <a:xfrm>
            <a:off x="3367120" y="3075354"/>
            <a:ext cx="1371600" cy="369332"/>
          </a:xfrm>
          <a:prstGeom prst="rect">
            <a:avLst/>
          </a:prstGeom>
          <a:noFill/>
        </p:spPr>
        <p:txBody>
          <a:bodyPr wrap="square">
            <a:spAutoFit/>
          </a:bodyPr>
          <a:lstStyle>
            <a:defPPr>
              <a:defRPr lang="en-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i="0" dirty="0">
                <a:solidFill>
                  <a:srgbClr val="374151"/>
                </a:solidFill>
                <a:effectLst/>
                <a:latin typeface="Calisto MT" panose="02040603050505030304" pitchFamily="18" charset="77"/>
              </a:rPr>
              <a:t>Fragmented </a:t>
            </a:r>
            <a:endParaRPr lang="en-US" dirty="0">
              <a:solidFill>
                <a:srgbClr val="374151"/>
              </a:solidFill>
              <a:latin typeface="Calisto MT" panose="02040603050505030304" pitchFamily="18" charset="77"/>
            </a:endParaRPr>
          </a:p>
        </p:txBody>
      </p:sp>
      <p:sp>
        <p:nvSpPr>
          <p:cNvPr id="47" name="TextBox 42">
            <a:extLst>
              <a:ext uri="{FF2B5EF4-FFF2-40B4-BE49-F238E27FC236}">
                <a16:creationId xmlns:a16="http://schemas.microsoft.com/office/drawing/2014/main" id="{141A634D-5C59-A329-9B5E-EE49416D4E2B}"/>
              </a:ext>
            </a:extLst>
          </p:cNvPr>
          <p:cNvSpPr txBox="1"/>
          <p:nvPr/>
        </p:nvSpPr>
        <p:spPr>
          <a:xfrm>
            <a:off x="2901104" y="2734405"/>
            <a:ext cx="2516400" cy="369332"/>
          </a:xfrm>
          <a:prstGeom prst="rect">
            <a:avLst/>
          </a:prstGeom>
          <a:noFill/>
        </p:spPr>
        <p:txBody>
          <a:bodyPr wrap="square">
            <a:spAutoFit/>
          </a:bodyPr>
          <a:lstStyle>
            <a:defPPr>
              <a:defRPr lang="en-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i="0" dirty="0">
                <a:solidFill>
                  <a:schemeClr val="accent6">
                    <a:lumMod val="50000"/>
                  </a:schemeClr>
                </a:solidFill>
                <a:effectLst/>
                <a:latin typeface="Calisto MT" panose="02040603050505030304" pitchFamily="18" charset="77"/>
              </a:rPr>
              <a:t>Lack of Training</a:t>
            </a:r>
          </a:p>
        </p:txBody>
      </p:sp>
      <p:sp>
        <p:nvSpPr>
          <p:cNvPr id="48" name="TextBox 44">
            <a:extLst>
              <a:ext uri="{FF2B5EF4-FFF2-40B4-BE49-F238E27FC236}">
                <a16:creationId xmlns:a16="http://schemas.microsoft.com/office/drawing/2014/main" id="{A4F28397-424A-AA15-B003-E5902114510A}"/>
              </a:ext>
            </a:extLst>
          </p:cNvPr>
          <p:cNvSpPr txBox="1"/>
          <p:nvPr/>
        </p:nvSpPr>
        <p:spPr>
          <a:xfrm>
            <a:off x="9137786" y="2904120"/>
            <a:ext cx="2339969" cy="1200329"/>
          </a:xfrm>
          <a:prstGeom prst="rect">
            <a:avLst/>
          </a:prstGeom>
          <a:solidFill>
            <a:schemeClr val="tx2"/>
          </a:solidFill>
          <a:ln w="57150">
            <a:solidFill>
              <a:srgbClr val="006837"/>
            </a:solidFill>
          </a:ln>
        </p:spPr>
        <p:txBody>
          <a:bodyPr wrap="square">
            <a:spAutoFit/>
          </a:bodyPr>
          <a:lstStyle>
            <a:defPPr>
              <a:defRPr lang="en-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53035" marR="325120" algn="ctr">
              <a:spcBef>
                <a:spcPts val="5"/>
              </a:spcBef>
            </a:pPr>
            <a:r>
              <a:rPr lang="en-US" sz="2400" b="1" spc="5" dirty="0">
                <a:solidFill>
                  <a:srgbClr val="00341B"/>
                </a:solidFill>
                <a:latin typeface="Calisto MT" panose="02040603050505030304" pitchFamily="18" charset="77"/>
                <a:cs typeface="Arial"/>
              </a:rPr>
              <a:t>Long </a:t>
            </a:r>
          </a:p>
          <a:p>
            <a:pPr marL="153035" marR="325120" algn="ctr">
              <a:spcBef>
                <a:spcPts val="5"/>
              </a:spcBef>
            </a:pPr>
            <a:r>
              <a:rPr lang="en-US" sz="2400" b="1" spc="5" dirty="0">
                <a:solidFill>
                  <a:srgbClr val="00341B"/>
                </a:solidFill>
                <a:latin typeface="Calisto MT" panose="02040603050505030304" pitchFamily="18" charset="77"/>
                <a:cs typeface="Arial"/>
              </a:rPr>
              <a:t>Cycle </a:t>
            </a:r>
          </a:p>
          <a:p>
            <a:pPr marL="153035" marR="325120" algn="ctr">
              <a:spcBef>
                <a:spcPts val="5"/>
              </a:spcBef>
            </a:pPr>
            <a:r>
              <a:rPr lang="en-US" sz="2400" b="1" spc="5" dirty="0">
                <a:solidFill>
                  <a:srgbClr val="00341B"/>
                </a:solidFill>
                <a:latin typeface="Calisto MT" panose="02040603050505030304" pitchFamily="18" charset="77"/>
                <a:cs typeface="Arial"/>
              </a:rPr>
              <a:t>Time</a:t>
            </a:r>
            <a:endParaRPr lang="en-US" sz="2400" b="1" dirty="0">
              <a:solidFill>
                <a:srgbClr val="00341B"/>
              </a:solidFill>
              <a:latin typeface="Calisto MT" panose="02040603050505030304" pitchFamily="18" charset="77"/>
              <a:cs typeface="Arial"/>
            </a:endParaRPr>
          </a:p>
        </p:txBody>
      </p:sp>
      <p:sp>
        <p:nvSpPr>
          <p:cNvPr id="49" name="TextBox 46">
            <a:extLst>
              <a:ext uri="{FF2B5EF4-FFF2-40B4-BE49-F238E27FC236}">
                <a16:creationId xmlns:a16="http://schemas.microsoft.com/office/drawing/2014/main" id="{20B53741-F3D6-CC2D-8C5A-E479BD65A907}"/>
              </a:ext>
            </a:extLst>
          </p:cNvPr>
          <p:cNvSpPr txBox="1"/>
          <p:nvPr/>
        </p:nvSpPr>
        <p:spPr>
          <a:xfrm>
            <a:off x="5875915" y="3040015"/>
            <a:ext cx="2962396" cy="369332"/>
          </a:xfrm>
          <a:prstGeom prst="rect">
            <a:avLst/>
          </a:prstGeom>
          <a:noFill/>
        </p:spPr>
        <p:txBody>
          <a:bodyPr wrap="square">
            <a:spAutoFit/>
          </a:bodyPr>
          <a:lstStyle>
            <a:defPPr>
              <a:defRPr lang="en-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i="0" dirty="0">
                <a:solidFill>
                  <a:schemeClr val="accent6">
                    <a:lumMod val="50000"/>
                  </a:schemeClr>
                </a:solidFill>
                <a:effectLst/>
                <a:latin typeface="Calisto MT" panose="02040603050505030304" pitchFamily="18" charset="77"/>
              </a:rPr>
              <a:t>Red Tapism</a:t>
            </a:r>
          </a:p>
        </p:txBody>
      </p:sp>
      <p:sp>
        <p:nvSpPr>
          <p:cNvPr id="50" name="TextBox 47">
            <a:extLst>
              <a:ext uri="{FF2B5EF4-FFF2-40B4-BE49-F238E27FC236}">
                <a16:creationId xmlns:a16="http://schemas.microsoft.com/office/drawing/2014/main" id="{8BB7AFF8-B543-D194-BB8B-7878EC62C546}"/>
              </a:ext>
            </a:extLst>
          </p:cNvPr>
          <p:cNvSpPr txBox="1"/>
          <p:nvPr/>
        </p:nvSpPr>
        <p:spPr>
          <a:xfrm>
            <a:off x="5150270" y="2385768"/>
            <a:ext cx="2962396" cy="369332"/>
          </a:xfrm>
          <a:prstGeom prst="rect">
            <a:avLst/>
          </a:prstGeom>
          <a:noFill/>
        </p:spPr>
        <p:txBody>
          <a:bodyPr wrap="square">
            <a:spAutoFit/>
          </a:bodyPr>
          <a:lstStyle>
            <a:defPPr>
              <a:defRPr lang="en-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solidFill>
                  <a:srgbClr val="374151"/>
                </a:solidFill>
                <a:latin typeface="Calisto MT" panose="02040603050505030304" pitchFamily="18" charset="77"/>
              </a:rPr>
              <a:t>Too many dependencies</a:t>
            </a:r>
            <a:endParaRPr lang="en-US" i="0" dirty="0">
              <a:solidFill>
                <a:srgbClr val="374151"/>
              </a:solidFill>
              <a:effectLst/>
              <a:latin typeface="Calisto MT" panose="02040603050505030304" pitchFamily="18" charset="77"/>
            </a:endParaRPr>
          </a:p>
        </p:txBody>
      </p:sp>
      <p:sp>
        <p:nvSpPr>
          <p:cNvPr id="51" name="TextBox 48">
            <a:extLst>
              <a:ext uri="{FF2B5EF4-FFF2-40B4-BE49-F238E27FC236}">
                <a16:creationId xmlns:a16="http://schemas.microsoft.com/office/drawing/2014/main" id="{CD670085-56B1-4462-8EAC-26171828DBA4}"/>
              </a:ext>
            </a:extLst>
          </p:cNvPr>
          <p:cNvSpPr txBox="1"/>
          <p:nvPr/>
        </p:nvSpPr>
        <p:spPr>
          <a:xfrm>
            <a:off x="5596682" y="2719454"/>
            <a:ext cx="1973660" cy="369332"/>
          </a:xfrm>
          <a:prstGeom prst="rect">
            <a:avLst/>
          </a:prstGeom>
          <a:noFill/>
        </p:spPr>
        <p:txBody>
          <a:bodyPr wrap="square">
            <a:spAutoFit/>
          </a:bodyPr>
          <a:lstStyle>
            <a:defPPr>
              <a:defRPr lang="en-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i="0" dirty="0">
                <a:solidFill>
                  <a:srgbClr val="374151"/>
                </a:solidFill>
                <a:effectLst/>
                <a:latin typeface="Calisto MT" panose="02040603050505030304" pitchFamily="18" charset="77"/>
              </a:rPr>
              <a:t>Manual checking</a:t>
            </a:r>
          </a:p>
        </p:txBody>
      </p:sp>
      <p:sp>
        <p:nvSpPr>
          <p:cNvPr id="52" name="TextBox 49">
            <a:extLst>
              <a:ext uri="{FF2B5EF4-FFF2-40B4-BE49-F238E27FC236}">
                <a16:creationId xmlns:a16="http://schemas.microsoft.com/office/drawing/2014/main" id="{110D764A-3B59-355D-4775-4ABEFD944065}"/>
              </a:ext>
            </a:extLst>
          </p:cNvPr>
          <p:cNvSpPr txBox="1"/>
          <p:nvPr/>
        </p:nvSpPr>
        <p:spPr>
          <a:xfrm>
            <a:off x="4902842" y="2010177"/>
            <a:ext cx="2962396" cy="369332"/>
          </a:xfrm>
          <a:prstGeom prst="rect">
            <a:avLst/>
          </a:prstGeom>
          <a:noFill/>
        </p:spPr>
        <p:txBody>
          <a:bodyPr wrap="square">
            <a:spAutoFit/>
          </a:bodyPr>
          <a:lstStyle>
            <a:defPPr>
              <a:defRPr lang="en-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solidFill>
                  <a:srgbClr val="374151"/>
                </a:solidFill>
                <a:latin typeface="Calisto MT" panose="02040603050505030304" pitchFamily="18" charset="77"/>
              </a:rPr>
              <a:t>No RPA</a:t>
            </a:r>
            <a:endParaRPr lang="en-US" i="0" dirty="0">
              <a:solidFill>
                <a:srgbClr val="374151"/>
              </a:solidFill>
              <a:effectLst/>
              <a:latin typeface="Calisto MT" panose="02040603050505030304" pitchFamily="18" charset="77"/>
            </a:endParaRPr>
          </a:p>
        </p:txBody>
      </p:sp>
      <p:sp>
        <p:nvSpPr>
          <p:cNvPr id="53" name="TextBox 51">
            <a:extLst>
              <a:ext uri="{FF2B5EF4-FFF2-40B4-BE49-F238E27FC236}">
                <a16:creationId xmlns:a16="http://schemas.microsoft.com/office/drawing/2014/main" id="{C20E3552-C7B4-CFCB-53F6-F1C00B2D77E4}"/>
              </a:ext>
            </a:extLst>
          </p:cNvPr>
          <p:cNvSpPr txBox="1"/>
          <p:nvPr/>
        </p:nvSpPr>
        <p:spPr>
          <a:xfrm>
            <a:off x="4151147" y="3759889"/>
            <a:ext cx="2218420" cy="923330"/>
          </a:xfrm>
          <a:prstGeom prst="rect">
            <a:avLst/>
          </a:prstGeom>
          <a:noFill/>
        </p:spPr>
        <p:txBody>
          <a:bodyPr wrap="square">
            <a:spAutoFit/>
          </a:bodyPr>
          <a:lstStyle>
            <a:defPPr>
              <a:defRPr lang="en-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i="0" dirty="0">
                <a:solidFill>
                  <a:schemeClr val="accent6">
                    <a:lumMod val="50000"/>
                  </a:schemeClr>
                </a:solidFill>
                <a:effectLst/>
                <a:latin typeface="Calisto MT" panose="02040603050505030304" pitchFamily="18" charset="77"/>
              </a:rPr>
              <a:t>Informal settings</a:t>
            </a:r>
          </a:p>
          <a:p>
            <a:r>
              <a:rPr lang="en-US" dirty="0">
                <a:latin typeface="Calisto MT" panose="02040603050505030304" pitchFamily="18" charset="77"/>
              </a:rPr>
              <a:t/>
            </a:r>
            <a:br>
              <a:rPr lang="en-US" dirty="0">
                <a:latin typeface="Calisto MT" panose="02040603050505030304" pitchFamily="18" charset="77"/>
              </a:rPr>
            </a:br>
            <a:endParaRPr lang="en-TW" dirty="0">
              <a:latin typeface="Calisto MT" panose="02040603050505030304" pitchFamily="18" charset="77"/>
            </a:endParaRPr>
          </a:p>
        </p:txBody>
      </p:sp>
      <p:sp>
        <p:nvSpPr>
          <p:cNvPr id="54" name="TextBox 52">
            <a:extLst>
              <a:ext uri="{FF2B5EF4-FFF2-40B4-BE49-F238E27FC236}">
                <a16:creationId xmlns:a16="http://schemas.microsoft.com/office/drawing/2014/main" id="{242DAAEE-C967-E9BC-E420-2D52B2C87B99}"/>
              </a:ext>
            </a:extLst>
          </p:cNvPr>
          <p:cNvSpPr txBox="1"/>
          <p:nvPr/>
        </p:nvSpPr>
        <p:spPr>
          <a:xfrm>
            <a:off x="3689637" y="4137508"/>
            <a:ext cx="2562890" cy="369332"/>
          </a:xfrm>
          <a:prstGeom prst="rect">
            <a:avLst/>
          </a:prstGeom>
          <a:noFill/>
        </p:spPr>
        <p:txBody>
          <a:bodyPr wrap="square">
            <a:spAutoFit/>
          </a:bodyPr>
          <a:lstStyle>
            <a:defPPr>
              <a:defRPr lang="en-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i="0" dirty="0">
                <a:solidFill>
                  <a:schemeClr val="accent6">
                    <a:lumMod val="50000"/>
                  </a:schemeClr>
                </a:solidFill>
                <a:effectLst/>
                <a:latin typeface="Calisto MT" panose="02040603050505030304" pitchFamily="18" charset="77"/>
              </a:rPr>
              <a:t>Time zone difference</a:t>
            </a:r>
            <a:endParaRPr lang="en-US" dirty="0">
              <a:solidFill>
                <a:schemeClr val="accent6">
                  <a:lumMod val="50000"/>
                </a:schemeClr>
              </a:solidFill>
              <a:latin typeface="Calisto MT" panose="02040603050505030304" pitchFamily="18" charset="77"/>
            </a:endParaRPr>
          </a:p>
        </p:txBody>
      </p:sp>
      <p:sp>
        <p:nvSpPr>
          <p:cNvPr id="55" name="TextBox 54">
            <a:extLst>
              <a:ext uri="{FF2B5EF4-FFF2-40B4-BE49-F238E27FC236}">
                <a16:creationId xmlns:a16="http://schemas.microsoft.com/office/drawing/2014/main" id="{C1A2D205-530D-B0E7-B445-669D33CDCF5D}"/>
              </a:ext>
            </a:extLst>
          </p:cNvPr>
          <p:cNvSpPr txBox="1"/>
          <p:nvPr/>
        </p:nvSpPr>
        <p:spPr>
          <a:xfrm>
            <a:off x="904697" y="4137508"/>
            <a:ext cx="2645878" cy="369332"/>
          </a:xfrm>
          <a:prstGeom prst="rect">
            <a:avLst/>
          </a:prstGeom>
          <a:noFill/>
        </p:spPr>
        <p:txBody>
          <a:bodyPr wrap="square">
            <a:spAutoFit/>
          </a:bodyPr>
          <a:lstStyle>
            <a:defPPr>
              <a:defRPr lang="en-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i="0" dirty="0">
                <a:solidFill>
                  <a:srgbClr val="374151"/>
                </a:solidFill>
                <a:effectLst/>
                <a:latin typeface="Calisto MT" panose="02040603050505030304" pitchFamily="18" charset="77"/>
              </a:rPr>
              <a:t>Outdated ERP system</a:t>
            </a:r>
          </a:p>
        </p:txBody>
      </p:sp>
      <p:sp>
        <p:nvSpPr>
          <p:cNvPr id="56" name="TextBox 55">
            <a:extLst>
              <a:ext uri="{FF2B5EF4-FFF2-40B4-BE49-F238E27FC236}">
                <a16:creationId xmlns:a16="http://schemas.microsoft.com/office/drawing/2014/main" id="{B7D36826-006D-74BC-F9FE-320C1F267B57}"/>
              </a:ext>
            </a:extLst>
          </p:cNvPr>
          <p:cNvSpPr txBox="1"/>
          <p:nvPr/>
        </p:nvSpPr>
        <p:spPr>
          <a:xfrm>
            <a:off x="844506" y="3761693"/>
            <a:ext cx="2978035" cy="369332"/>
          </a:xfrm>
          <a:prstGeom prst="rect">
            <a:avLst/>
          </a:prstGeom>
          <a:noFill/>
        </p:spPr>
        <p:txBody>
          <a:bodyPr wrap="square">
            <a:spAutoFit/>
          </a:bodyPr>
          <a:lstStyle>
            <a:defPPr>
              <a:defRPr lang="en-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i="0" dirty="0">
                <a:solidFill>
                  <a:schemeClr val="accent6">
                    <a:lumMod val="50000"/>
                  </a:schemeClr>
                </a:solidFill>
                <a:effectLst/>
                <a:latin typeface="Calisto MT" panose="02040603050505030304" pitchFamily="18" charset="77"/>
              </a:rPr>
              <a:t>No visibility of bottlenecks</a:t>
            </a:r>
          </a:p>
        </p:txBody>
      </p:sp>
      <p:sp>
        <p:nvSpPr>
          <p:cNvPr id="57" name="TextBox 57">
            <a:extLst>
              <a:ext uri="{FF2B5EF4-FFF2-40B4-BE49-F238E27FC236}">
                <a16:creationId xmlns:a16="http://schemas.microsoft.com/office/drawing/2014/main" id="{10E20BFD-CC21-D4C1-AFD8-0F87E5AC529D}"/>
              </a:ext>
            </a:extLst>
          </p:cNvPr>
          <p:cNvSpPr txBox="1"/>
          <p:nvPr/>
        </p:nvSpPr>
        <p:spPr>
          <a:xfrm>
            <a:off x="5790087" y="4467496"/>
            <a:ext cx="3274728" cy="369332"/>
          </a:xfrm>
          <a:prstGeom prst="rect">
            <a:avLst/>
          </a:prstGeom>
          <a:noFill/>
        </p:spPr>
        <p:txBody>
          <a:bodyPr wrap="square">
            <a:spAutoFit/>
          </a:bodyPr>
          <a:lstStyle>
            <a:defPPr>
              <a:defRPr lang="en-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solidFill>
                  <a:schemeClr val="accent6">
                    <a:lumMod val="50000"/>
                  </a:schemeClr>
                </a:solidFill>
                <a:latin typeface="Calisto MT" panose="02040603050505030304" pitchFamily="18" charset="77"/>
              </a:rPr>
              <a:t>Sequential Processing</a:t>
            </a:r>
            <a:endParaRPr lang="en-US" i="0" dirty="0">
              <a:solidFill>
                <a:schemeClr val="accent6">
                  <a:lumMod val="50000"/>
                </a:schemeClr>
              </a:solidFill>
              <a:effectLst/>
              <a:latin typeface="Calisto MT" panose="02040603050505030304" pitchFamily="18" charset="77"/>
            </a:endParaRPr>
          </a:p>
        </p:txBody>
      </p:sp>
      <p:sp>
        <p:nvSpPr>
          <p:cNvPr id="58" name="TextBox 58">
            <a:extLst>
              <a:ext uri="{FF2B5EF4-FFF2-40B4-BE49-F238E27FC236}">
                <a16:creationId xmlns:a16="http://schemas.microsoft.com/office/drawing/2014/main" id="{8140CD37-B916-8B27-F585-A1F6B27A5A4E}"/>
              </a:ext>
            </a:extLst>
          </p:cNvPr>
          <p:cNvSpPr txBox="1"/>
          <p:nvPr/>
        </p:nvSpPr>
        <p:spPr>
          <a:xfrm>
            <a:off x="6479226" y="4093351"/>
            <a:ext cx="3274728" cy="369332"/>
          </a:xfrm>
          <a:prstGeom prst="rect">
            <a:avLst/>
          </a:prstGeom>
          <a:noFill/>
        </p:spPr>
        <p:txBody>
          <a:bodyPr wrap="square">
            <a:spAutoFit/>
          </a:bodyPr>
          <a:lstStyle>
            <a:defPPr>
              <a:defRPr lang="en-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i="0" dirty="0">
                <a:solidFill>
                  <a:srgbClr val="374151"/>
                </a:solidFill>
                <a:effectLst/>
                <a:latin typeface="Calisto MT" panose="02040603050505030304" pitchFamily="18" charset="77"/>
              </a:rPr>
              <a:t>Lack of Agile</a:t>
            </a:r>
          </a:p>
        </p:txBody>
      </p:sp>
      <p:sp>
        <p:nvSpPr>
          <p:cNvPr id="59" name="TextBox 59">
            <a:extLst>
              <a:ext uri="{FF2B5EF4-FFF2-40B4-BE49-F238E27FC236}">
                <a16:creationId xmlns:a16="http://schemas.microsoft.com/office/drawing/2014/main" id="{BD16B0A4-3EE8-5EDB-B22D-761F4D09DBE2}"/>
              </a:ext>
            </a:extLst>
          </p:cNvPr>
          <p:cNvSpPr txBox="1"/>
          <p:nvPr/>
        </p:nvSpPr>
        <p:spPr>
          <a:xfrm>
            <a:off x="6472483" y="3719108"/>
            <a:ext cx="3274728" cy="369332"/>
          </a:xfrm>
          <a:prstGeom prst="rect">
            <a:avLst/>
          </a:prstGeom>
          <a:noFill/>
        </p:spPr>
        <p:txBody>
          <a:bodyPr wrap="square">
            <a:spAutoFit/>
          </a:bodyPr>
          <a:lstStyle>
            <a:defPPr>
              <a:defRPr lang="en-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i="0" dirty="0">
                <a:solidFill>
                  <a:srgbClr val="374151"/>
                </a:solidFill>
                <a:effectLst/>
                <a:latin typeface="Calisto MT" panose="02040603050505030304" pitchFamily="18" charset="77"/>
              </a:rPr>
              <a:t>Excessive Handovers</a:t>
            </a:r>
          </a:p>
        </p:txBody>
      </p:sp>
      <p:sp>
        <p:nvSpPr>
          <p:cNvPr id="4" name="TextBox 3">
            <a:extLst>
              <a:ext uri="{FF2B5EF4-FFF2-40B4-BE49-F238E27FC236}">
                <a16:creationId xmlns:a16="http://schemas.microsoft.com/office/drawing/2014/main" id="{5F26DA6D-3B3A-F0F4-299B-87616074ADF0}"/>
              </a:ext>
            </a:extLst>
          </p:cNvPr>
          <p:cNvSpPr txBox="1"/>
          <p:nvPr/>
        </p:nvSpPr>
        <p:spPr>
          <a:xfrm>
            <a:off x="844506" y="4451428"/>
            <a:ext cx="2242660" cy="369332"/>
          </a:xfrm>
          <a:prstGeom prst="rect">
            <a:avLst/>
          </a:prstGeom>
          <a:noFill/>
        </p:spPr>
        <p:txBody>
          <a:bodyPr wrap="square">
            <a:spAutoFit/>
          </a:bodyPr>
          <a:lstStyle>
            <a:defPPr>
              <a:defRPr lang="en-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i="0" dirty="0">
                <a:solidFill>
                  <a:schemeClr val="accent6">
                    <a:lumMod val="50000"/>
                  </a:schemeClr>
                </a:solidFill>
                <a:effectLst/>
                <a:latin typeface="Calisto MT" panose="02040603050505030304" pitchFamily="18" charset="77"/>
              </a:rPr>
              <a:t>Lack </a:t>
            </a:r>
            <a:r>
              <a:rPr lang="en-US" dirty="0">
                <a:solidFill>
                  <a:schemeClr val="accent6">
                    <a:lumMod val="50000"/>
                  </a:schemeClr>
                </a:solidFill>
                <a:latin typeface="Calisto MT" panose="02040603050505030304" pitchFamily="18" charset="77"/>
              </a:rPr>
              <a:t>of</a:t>
            </a:r>
            <a:r>
              <a:rPr lang="en-US" i="0" dirty="0">
                <a:solidFill>
                  <a:schemeClr val="accent6">
                    <a:lumMod val="50000"/>
                  </a:schemeClr>
                </a:solidFill>
                <a:effectLst/>
                <a:latin typeface="Calisto MT" panose="02040603050505030304" pitchFamily="18" charset="77"/>
              </a:rPr>
              <a:t> automation</a:t>
            </a:r>
          </a:p>
        </p:txBody>
      </p:sp>
      <p:sp>
        <p:nvSpPr>
          <p:cNvPr id="6" name="TextBox 52">
            <a:extLst>
              <a:ext uri="{FF2B5EF4-FFF2-40B4-BE49-F238E27FC236}">
                <a16:creationId xmlns:a16="http://schemas.microsoft.com/office/drawing/2014/main" id="{E1F475FB-B8C0-611E-2567-D98681FB78B0}"/>
              </a:ext>
            </a:extLst>
          </p:cNvPr>
          <p:cNvSpPr txBox="1"/>
          <p:nvPr/>
        </p:nvSpPr>
        <p:spPr>
          <a:xfrm>
            <a:off x="4265260" y="4527579"/>
            <a:ext cx="2562890" cy="369332"/>
          </a:xfrm>
          <a:prstGeom prst="rect">
            <a:avLst/>
          </a:prstGeom>
          <a:noFill/>
        </p:spPr>
        <p:txBody>
          <a:bodyPr wrap="square">
            <a:spAutoFit/>
          </a:bodyPr>
          <a:lstStyle>
            <a:defPPr>
              <a:defRPr lang="en-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i="0" dirty="0">
                <a:solidFill>
                  <a:schemeClr val="accent6">
                    <a:lumMod val="50000"/>
                  </a:schemeClr>
                </a:solidFill>
                <a:effectLst/>
                <a:latin typeface="Calisto MT" panose="02040603050505030304" pitchFamily="18" charset="77"/>
              </a:rPr>
              <a:t>No KPIs</a:t>
            </a:r>
            <a:endParaRPr lang="en-US" dirty="0">
              <a:solidFill>
                <a:schemeClr val="accent6">
                  <a:lumMod val="50000"/>
                </a:schemeClr>
              </a:solidFill>
              <a:latin typeface="Calisto MT" panose="02040603050505030304" pitchFamily="18" charset="77"/>
            </a:endParaRPr>
          </a:p>
        </p:txBody>
      </p:sp>
    </p:spTree>
    <p:extLst>
      <p:ext uri="{BB962C8B-B14F-4D97-AF65-F5344CB8AC3E}">
        <p14:creationId xmlns:p14="http://schemas.microsoft.com/office/powerpoint/2010/main" val="35359470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nodeType="clickEffect">
                                  <p:stCondLst>
                                    <p:cond delay="0"/>
                                  </p:stCondLst>
                                  <p:childTnLst>
                                    <p:set>
                                      <p:cBhvr>
                                        <p:cTn id="6" dur="1" fill="hold">
                                          <p:stCondLst>
                                            <p:cond delay="0"/>
                                          </p:stCondLst>
                                        </p:cTn>
                                        <p:tgtEl>
                                          <p:spTgt spid="48">
                                            <p:txEl>
                                              <p:pRg st="0" end="0"/>
                                            </p:txEl>
                                          </p:spTgt>
                                        </p:tgtEl>
                                        <p:attrNameLst>
                                          <p:attrName>style.visibility</p:attrName>
                                        </p:attrNameLst>
                                      </p:cBhvr>
                                      <p:to>
                                        <p:strVal val="visible"/>
                                      </p:to>
                                    </p:set>
                                    <p:animEffect transition="in" filter="wheel(1)">
                                      <p:cBhvr>
                                        <p:cTn id="7" dur="2000"/>
                                        <p:tgtEl>
                                          <p:spTgt spid="48">
                                            <p:txEl>
                                              <p:pRg st="0" end="0"/>
                                            </p:txEl>
                                          </p:spTgt>
                                        </p:tgtEl>
                                      </p:cBhvr>
                                    </p:animEffect>
                                  </p:childTnLst>
                                </p:cTn>
                              </p:par>
                              <p:par>
                                <p:cTn id="8" presetID="21" presetClass="entr" presetSubtype="1" fill="hold" nodeType="withEffect">
                                  <p:stCondLst>
                                    <p:cond delay="0"/>
                                  </p:stCondLst>
                                  <p:childTnLst>
                                    <p:set>
                                      <p:cBhvr>
                                        <p:cTn id="9" dur="1" fill="hold">
                                          <p:stCondLst>
                                            <p:cond delay="0"/>
                                          </p:stCondLst>
                                        </p:cTn>
                                        <p:tgtEl>
                                          <p:spTgt spid="48">
                                            <p:txEl>
                                              <p:pRg st="1" end="1"/>
                                            </p:txEl>
                                          </p:spTgt>
                                        </p:tgtEl>
                                        <p:attrNameLst>
                                          <p:attrName>style.visibility</p:attrName>
                                        </p:attrNameLst>
                                      </p:cBhvr>
                                      <p:to>
                                        <p:strVal val="visible"/>
                                      </p:to>
                                    </p:set>
                                    <p:animEffect transition="in" filter="wheel(1)">
                                      <p:cBhvr>
                                        <p:cTn id="10" dur="2000"/>
                                        <p:tgtEl>
                                          <p:spTgt spid="48">
                                            <p:txEl>
                                              <p:pRg st="1" end="1"/>
                                            </p:txEl>
                                          </p:spTgt>
                                        </p:tgtEl>
                                      </p:cBhvr>
                                    </p:animEffect>
                                  </p:childTnLst>
                                </p:cTn>
                              </p:par>
                              <p:par>
                                <p:cTn id="11" presetID="21" presetClass="entr" presetSubtype="1" fill="hold" nodeType="withEffect">
                                  <p:stCondLst>
                                    <p:cond delay="0"/>
                                  </p:stCondLst>
                                  <p:childTnLst>
                                    <p:set>
                                      <p:cBhvr>
                                        <p:cTn id="12" dur="1" fill="hold">
                                          <p:stCondLst>
                                            <p:cond delay="0"/>
                                          </p:stCondLst>
                                        </p:cTn>
                                        <p:tgtEl>
                                          <p:spTgt spid="48">
                                            <p:txEl>
                                              <p:pRg st="2" end="2"/>
                                            </p:txEl>
                                          </p:spTgt>
                                        </p:tgtEl>
                                        <p:attrNameLst>
                                          <p:attrName>style.visibility</p:attrName>
                                        </p:attrNameLst>
                                      </p:cBhvr>
                                      <p:to>
                                        <p:strVal val="visible"/>
                                      </p:to>
                                    </p:set>
                                    <p:animEffect transition="in" filter="wheel(1)">
                                      <p:cBhvr>
                                        <p:cTn id="13" dur="2000"/>
                                        <p:tgtEl>
                                          <p:spTgt spid="48">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351"/>
        <p:cNvGrpSpPr/>
        <p:nvPr/>
      </p:nvGrpSpPr>
      <p:grpSpPr>
        <a:xfrm>
          <a:off x="0" y="0"/>
          <a:ext cx="0" cy="0"/>
          <a:chOff x="0" y="0"/>
          <a:chExt cx="0" cy="0"/>
        </a:xfrm>
      </p:grpSpPr>
      <p:sp>
        <p:nvSpPr>
          <p:cNvPr id="352" name="Google Shape;352;p47"/>
          <p:cNvSpPr txBox="1"/>
          <p:nvPr/>
        </p:nvSpPr>
        <p:spPr>
          <a:xfrm>
            <a:off x="524849" y="130743"/>
            <a:ext cx="11142300" cy="697321"/>
          </a:xfrm>
          <a:prstGeom prst="rect">
            <a:avLst/>
          </a:prstGeom>
          <a:noFill/>
          <a:ln>
            <a:noFill/>
          </a:ln>
        </p:spPr>
        <p:txBody>
          <a:bodyPr spcFirstLastPara="1" wrap="square" lIns="121900" tIns="121900" rIns="121900" bIns="121900" anchor="ctr" anchorCtr="0">
            <a:noAutofit/>
          </a:bodyPr>
          <a:lstStyle/>
          <a:p>
            <a:pPr>
              <a:buClr>
                <a:schemeClr val="dk1"/>
              </a:buClr>
              <a:buSzPts val="3800"/>
            </a:pPr>
            <a:r>
              <a:rPr lang="en" sz="2800" b="1" dirty="0" smtClean="0">
                <a:solidFill>
                  <a:srgbClr val="00341B"/>
                </a:solidFill>
                <a:latin typeface="Arial"/>
                <a:ea typeface="Arial"/>
                <a:cs typeface="Arial"/>
                <a:sym typeface="Arial"/>
              </a:rPr>
              <a:t>FMEA (Failure Modes and Effect Analysis)</a:t>
            </a:r>
            <a:endParaRPr sz="2800" b="1" dirty="0">
              <a:solidFill>
                <a:srgbClr val="00341B"/>
              </a:solidFill>
              <a:latin typeface="Arial"/>
              <a:ea typeface="Arial"/>
              <a:cs typeface="Arial"/>
              <a:sym typeface="Arial"/>
            </a:endParaRPr>
          </a:p>
        </p:txBody>
      </p:sp>
      <p:graphicFrame>
        <p:nvGraphicFramePr>
          <p:cNvPr id="353" name="Google Shape;353;p47"/>
          <p:cNvGraphicFramePr/>
          <p:nvPr>
            <p:extLst>
              <p:ext uri="{D42A27DB-BD31-4B8C-83A1-F6EECF244321}">
                <p14:modId xmlns:p14="http://schemas.microsoft.com/office/powerpoint/2010/main" val="857700654"/>
              </p:ext>
            </p:extLst>
          </p:nvPr>
        </p:nvGraphicFramePr>
        <p:xfrm>
          <a:off x="130417" y="838201"/>
          <a:ext cx="11909185" cy="6220160"/>
        </p:xfrm>
        <a:graphic>
          <a:graphicData uri="http://schemas.openxmlformats.org/drawingml/2006/table">
            <a:tbl>
              <a:tblPr>
                <a:noFill/>
              </a:tblPr>
              <a:tblGrid>
                <a:gridCol w="790541">
                  <a:extLst>
                    <a:ext uri="{9D8B030D-6E8A-4147-A177-3AD203B41FA5}">
                      <a16:colId xmlns:a16="http://schemas.microsoft.com/office/drawing/2014/main" val="20000"/>
                    </a:ext>
                  </a:extLst>
                </a:gridCol>
                <a:gridCol w="2191954">
                  <a:extLst>
                    <a:ext uri="{9D8B030D-6E8A-4147-A177-3AD203B41FA5}">
                      <a16:colId xmlns:a16="http://schemas.microsoft.com/office/drawing/2014/main" val="20001"/>
                    </a:ext>
                  </a:extLst>
                </a:gridCol>
                <a:gridCol w="1540424">
                  <a:extLst>
                    <a:ext uri="{9D8B030D-6E8A-4147-A177-3AD203B41FA5}">
                      <a16:colId xmlns:a16="http://schemas.microsoft.com/office/drawing/2014/main" val="20002"/>
                    </a:ext>
                  </a:extLst>
                </a:gridCol>
                <a:gridCol w="323403">
                  <a:extLst>
                    <a:ext uri="{9D8B030D-6E8A-4147-A177-3AD203B41FA5}">
                      <a16:colId xmlns:a16="http://schemas.microsoft.com/office/drawing/2014/main" val="20003"/>
                    </a:ext>
                  </a:extLst>
                </a:gridCol>
                <a:gridCol w="1385343">
                  <a:extLst>
                    <a:ext uri="{9D8B030D-6E8A-4147-A177-3AD203B41FA5}">
                      <a16:colId xmlns:a16="http://schemas.microsoft.com/office/drawing/2014/main" val="20004"/>
                    </a:ext>
                  </a:extLst>
                </a:gridCol>
                <a:gridCol w="395270">
                  <a:extLst>
                    <a:ext uri="{9D8B030D-6E8A-4147-A177-3AD203B41FA5}">
                      <a16:colId xmlns:a16="http://schemas.microsoft.com/office/drawing/2014/main" val="20005"/>
                    </a:ext>
                  </a:extLst>
                </a:gridCol>
                <a:gridCol w="2191954">
                  <a:extLst>
                    <a:ext uri="{9D8B030D-6E8A-4147-A177-3AD203B41FA5}">
                      <a16:colId xmlns:a16="http://schemas.microsoft.com/office/drawing/2014/main" val="20006"/>
                    </a:ext>
                  </a:extLst>
                </a:gridCol>
                <a:gridCol w="359337">
                  <a:extLst>
                    <a:ext uri="{9D8B030D-6E8A-4147-A177-3AD203B41FA5}">
                      <a16:colId xmlns:a16="http://schemas.microsoft.com/office/drawing/2014/main" val="20007"/>
                    </a:ext>
                  </a:extLst>
                </a:gridCol>
                <a:gridCol w="574939">
                  <a:extLst>
                    <a:ext uri="{9D8B030D-6E8A-4147-A177-3AD203B41FA5}">
                      <a16:colId xmlns:a16="http://schemas.microsoft.com/office/drawing/2014/main" val="20008"/>
                    </a:ext>
                  </a:extLst>
                </a:gridCol>
                <a:gridCol w="2156020">
                  <a:extLst>
                    <a:ext uri="{9D8B030D-6E8A-4147-A177-3AD203B41FA5}">
                      <a16:colId xmlns:a16="http://schemas.microsoft.com/office/drawing/2014/main" val="20009"/>
                    </a:ext>
                  </a:extLst>
                </a:gridCol>
              </a:tblGrid>
              <a:tr h="353918">
                <a:tc>
                  <a:txBody>
                    <a:bodyPr/>
                    <a:lstStyle/>
                    <a:p>
                      <a:pPr marL="0" marR="0" lvl="0" indent="0" algn="ctr" rtl="0">
                        <a:spcBef>
                          <a:spcPts val="0"/>
                        </a:spcBef>
                        <a:spcAft>
                          <a:spcPts val="0"/>
                        </a:spcAft>
                        <a:buNone/>
                      </a:pPr>
                      <a:r>
                        <a:rPr lang="en" sz="1200" b="0" u="none" strike="noStrike" dirty="0">
                          <a:solidFill>
                            <a:schemeClr val="lt2"/>
                          </a:solidFill>
                          <a:latin typeface="Lustria"/>
                          <a:ea typeface="Lustria"/>
                          <a:cs typeface="Lustria"/>
                          <a:sym typeface="Lustria"/>
                        </a:rPr>
                        <a:t>Process</a:t>
                      </a:r>
                      <a:endParaRPr sz="1200" b="0" i="0" u="none" strike="noStrike" dirty="0">
                        <a:solidFill>
                          <a:schemeClr val="lt2"/>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12700" cap="flat" cmpd="sng">
                      <a:solidFill>
                        <a:srgbClr val="7F7F7F"/>
                      </a:solidFill>
                      <a:prstDash val="solid"/>
                      <a:round/>
                      <a:headEnd type="none" w="sm" len="sm"/>
                      <a:tailEnd type="none" w="sm" len="sm"/>
                    </a:lnB>
                    <a:solidFill>
                      <a:srgbClr val="00341B"/>
                    </a:solidFill>
                  </a:tcPr>
                </a:tc>
                <a:tc>
                  <a:txBody>
                    <a:bodyPr/>
                    <a:lstStyle/>
                    <a:p>
                      <a:pPr marL="0" marR="0" lvl="0" indent="0" algn="ctr" rtl="0">
                        <a:spcBef>
                          <a:spcPts val="0"/>
                        </a:spcBef>
                        <a:spcAft>
                          <a:spcPts val="0"/>
                        </a:spcAft>
                        <a:buNone/>
                      </a:pPr>
                      <a:r>
                        <a:rPr lang="en" sz="1200" b="0" u="none" strike="noStrike">
                          <a:solidFill>
                            <a:schemeClr val="lt2"/>
                          </a:solidFill>
                          <a:latin typeface="Lustria"/>
                          <a:ea typeface="Lustria"/>
                          <a:cs typeface="Lustria"/>
                          <a:sym typeface="Lustria"/>
                        </a:rPr>
                        <a:t>Potential Failure Mode</a:t>
                      </a:r>
                      <a:endParaRPr sz="1200" b="0" i="0" u="none" strike="noStrike">
                        <a:solidFill>
                          <a:schemeClr val="lt2"/>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38100" cap="flat" cmpd="sng">
                      <a:solidFill>
                        <a:srgbClr val="393939"/>
                      </a:solidFill>
                      <a:prstDash val="solid"/>
                      <a:round/>
                      <a:headEnd type="none" w="sm" len="sm"/>
                      <a:tailEnd type="none" w="sm" len="sm"/>
                    </a:lnB>
                    <a:solidFill>
                      <a:srgbClr val="00341B"/>
                    </a:solidFill>
                  </a:tcPr>
                </a:tc>
                <a:tc>
                  <a:txBody>
                    <a:bodyPr/>
                    <a:lstStyle/>
                    <a:p>
                      <a:pPr marL="0" marR="0" lvl="0" indent="0" algn="ctr" rtl="0">
                        <a:spcBef>
                          <a:spcPts val="0"/>
                        </a:spcBef>
                        <a:spcAft>
                          <a:spcPts val="0"/>
                        </a:spcAft>
                        <a:buNone/>
                      </a:pPr>
                      <a:r>
                        <a:rPr lang="en" sz="1200" b="0" u="none" strike="noStrike">
                          <a:solidFill>
                            <a:schemeClr val="lt2"/>
                          </a:solidFill>
                          <a:latin typeface="Lustria"/>
                          <a:ea typeface="Lustria"/>
                          <a:cs typeface="Lustria"/>
                          <a:sym typeface="Lustria"/>
                        </a:rPr>
                        <a:t>Potential Failure Effects</a:t>
                      </a:r>
                      <a:endParaRPr sz="1200" b="0" i="0" u="none" strike="noStrike">
                        <a:solidFill>
                          <a:schemeClr val="lt2"/>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38100" cap="flat" cmpd="sng">
                      <a:solidFill>
                        <a:srgbClr val="393939"/>
                      </a:solidFill>
                      <a:prstDash val="solid"/>
                      <a:round/>
                      <a:headEnd type="none" w="sm" len="sm"/>
                      <a:tailEnd type="none" w="sm" len="sm"/>
                    </a:lnB>
                    <a:solidFill>
                      <a:srgbClr val="00341B"/>
                    </a:solidFill>
                  </a:tcPr>
                </a:tc>
                <a:tc>
                  <a:txBody>
                    <a:bodyPr/>
                    <a:lstStyle/>
                    <a:p>
                      <a:pPr marL="0" marR="0" lvl="0" indent="0" algn="ctr" rtl="0">
                        <a:spcBef>
                          <a:spcPts val="0"/>
                        </a:spcBef>
                        <a:spcAft>
                          <a:spcPts val="0"/>
                        </a:spcAft>
                        <a:buNone/>
                      </a:pPr>
                      <a:r>
                        <a:rPr lang="en" sz="1200" b="0" u="none" strike="noStrike">
                          <a:solidFill>
                            <a:schemeClr val="lt2"/>
                          </a:solidFill>
                          <a:latin typeface="Lustria"/>
                          <a:ea typeface="Lustria"/>
                          <a:cs typeface="Lustria"/>
                          <a:sym typeface="Lustria"/>
                        </a:rPr>
                        <a:t>SEV</a:t>
                      </a:r>
                      <a:endParaRPr sz="1200" b="0" i="0" u="none" strike="noStrike">
                        <a:solidFill>
                          <a:schemeClr val="lt2"/>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38100" cap="flat" cmpd="sng">
                      <a:solidFill>
                        <a:srgbClr val="393939"/>
                      </a:solidFill>
                      <a:prstDash val="solid"/>
                      <a:round/>
                      <a:headEnd type="none" w="sm" len="sm"/>
                      <a:tailEnd type="none" w="sm" len="sm"/>
                    </a:lnB>
                    <a:solidFill>
                      <a:srgbClr val="00341B"/>
                    </a:solidFill>
                  </a:tcPr>
                </a:tc>
                <a:tc>
                  <a:txBody>
                    <a:bodyPr/>
                    <a:lstStyle/>
                    <a:p>
                      <a:pPr marL="0" marR="0" lvl="0" indent="0" algn="ctr" rtl="0">
                        <a:spcBef>
                          <a:spcPts val="0"/>
                        </a:spcBef>
                        <a:spcAft>
                          <a:spcPts val="0"/>
                        </a:spcAft>
                        <a:buNone/>
                      </a:pPr>
                      <a:r>
                        <a:rPr lang="en" sz="1200" b="0" u="none" strike="noStrike" dirty="0">
                          <a:solidFill>
                            <a:schemeClr val="lt2"/>
                          </a:solidFill>
                          <a:latin typeface="Lustria"/>
                          <a:ea typeface="Lustria"/>
                          <a:cs typeface="Lustria"/>
                          <a:sym typeface="Lustria"/>
                        </a:rPr>
                        <a:t>Potential </a:t>
                      </a:r>
                      <a:r>
                        <a:rPr lang="en" sz="1200" b="0" u="none" strike="noStrike" dirty="0" smtClean="0">
                          <a:solidFill>
                            <a:schemeClr val="lt2"/>
                          </a:solidFill>
                          <a:latin typeface="Lustria"/>
                          <a:ea typeface="Lustria"/>
                          <a:cs typeface="Lustria"/>
                          <a:sym typeface="Lustria"/>
                        </a:rPr>
                        <a:t>Causes</a:t>
                      </a:r>
                      <a:endParaRPr sz="1200" b="0" i="0" u="none" strike="noStrike" dirty="0">
                        <a:solidFill>
                          <a:schemeClr val="lt2"/>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38100" cap="flat" cmpd="sng">
                      <a:solidFill>
                        <a:srgbClr val="393939"/>
                      </a:solidFill>
                      <a:prstDash val="solid"/>
                      <a:round/>
                      <a:headEnd type="none" w="sm" len="sm"/>
                      <a:tailEnd type="none" w="sm" len="sm"/>
                    </a:lnB>
                    <a:solidFill>
                      <a:srgbClr val="00341B"/>
                    </a:solidFill>
                  </a:tcPr>
                </a:tc>
                <a:tc>
                  <a:txBody>
                    <a:bodyPr/>
                    <a:lstStyle/>
                    <a:p>
                      <a:pPr marL="0" marR="0" lvl="0" indent="0" algn="ctr" rtl="0">
                        <a:spcBef>
                          <a:spcPts val="0"/>
                        </a:spcBef>
                        <a:spcAft>
                          <a:spcPts val="0"/>
                        </a:spcAft>
                        <a:buNone/>
                      </a:pPr>
                      <a:r>
                        <a:rPr lang="en" sz="1200" b="0" u="none" strike="noStrike">
                          <a:solidFill>
                            <a:schemeClr val="lt2"/>
                          </a:solidFill>
                          <a:latin typeface="Lustria"/>
                          <a:ea typeface="Lustria"/>
                          <a:cs typeface="Lustria"/>
                          <a:sym typeface="Lustria"/>
                        </a:rPr>
                        <a:t>OCC</a:t>
                      </a:r>
                      <a:endParaRPr sz="1200" b="0" i="0" u="none" strike="noStrike">
                        <a:solidFill>
                          <a:schemeClr val="lt2"/>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38100" cap="flat" cmpd="sng">
                      <a:solidFill>
                        <a:srgbClr val="393939"/>
                      </a:solidFill>
                      <a:prstDash val="solid"/>
                      <a:round/>
                      <a:headEnd type="none" w="sm" len="sm"/>
                      <a:tailEnd type="none" w="sm" len="sm"/>
                    </a:lnB>
                    <a:solidFill>
                      <a:srgbClr val="00341B"/>
                    </a:solidFill>
                  </a:tcPr>
                </a:tc>
                <a:tc>
                  <a:txBody>
                    <a:bodyPr/>
                    <a:lstStyle/>
                    <a:p>
                      <a:pPr marL="0" marR="0" lvl="0" indent="0" algn="ctr" rtl="0">
                        <a:spcBef>
                          <a:spcPts val="0"/>
                        </a:spcBef>
                        <a:spcAft>
                          <a:spcPts val="0"/>
                        </a:spcAft>
                        <a:buNone/>
                      </a:pPr>
                      <a:r>
                        <a:rPr lang="en" sz="1200" b="0" u="none" strike="noStrike">
                          <a:solidFill>
                            <a:schemeClr val="lt2"/>
                          </a:solidFill>
                          <a:latin typeface="Lustria"/>
                          <a:ea typeface="Lustria"/>
                          <a:cs typeface="Lustria"/>
                          <a:sym typeface="Lustria"/>
                        </a:rPr>
                        <a:t>Current Controls</a:t>
                      </a:r>
                      <a:endParaRPr sz="1200" b="0" i="0" u="none" strike="noStrike">
                        <a:solidFill>
                          <a:schemeClr val="lt2"/>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38100" cap="flat" cmpd="sng">
                      <a:solidFill>
                        <a:srgbClr val="393939"/>
                      </a:solidFill>
                      <a:prstDash val="solid"/>
                      <a:round/>
                      <a:headEnd type="none" w="sm" len="sm"/>
                      <a:tailEnd type="none" w="sm" len="sm"/>
                    </a:lnB>
                    <a:solidFill>
                      <a:srgbClr val="00341B"/>
                    </a:solidFill>
                  </a:tcPr>
                </a:tc>
                <a:tc>
                  <a:txBody>
                    <a:bodyPr/>
                    <a:lstStyle/>
                    <a:p>
                      <a:pPr marL="0" marR="0" lvl="0" indent="0" algn="ctr" rtl="0">
                        <a:spcBef>
                          <a:spcPts val="0"/>
                        </a:spcBef>
                        <a:spcAft>
                          <a:spcPts val="0"/>
                        </a:spcAft>
                        <a:buNone/>
                      </a:pPr>
                      <a:r>
                        <a:rPr lang="en" sz="1200" b="0" u="none" strike="noStrike">
                          <a:solidFill>
                            <a:schemeClr val="lt2"/>
                          </a:solidFill>
                          <a:latin typeface="Lustria"/>
                          <a:ea typeface="Lustria"/>
                          <a:cs typeface="Lustria"/>
                          <a:sym typeface="Lustria"/>
                        </a:rPr>
                        <a:t>DET</a:t>
                      </a:r>
                      <a:endParaRPr sz="1200" b="0" i="0" u="none" strike="noStrike">
                        <a:solidFill>
                          <a:schemeClr val="lt2"/>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38100" cap="flat" cmpd="sng">
                      <a:solidFill>
                        <a:srgbClr val="393939"/>
                      </a:solidFill>
                      <a:prstDash val="solid"/>
                      <a:round/>
                      <a:headEnd type="none" w="sm" len="sm"/>
                      <a:tailEnd type="none" w="sm" len="sm"/>
                    </a:lnB>
                    <a:solidFill>
                      <a:srgbClr val="00341B"/>
                    </a:solidFill>
                  </a:tcPr>
                </a:tc>
                <a:tc>
                  <a:txBody>
                    <a:bodyPr/>
                    <a:lstStyle/>
                    <a:p>
                      <a:pPr marL="0" marR="0" lvl="0" indent="0" algn="ctr" rtl="0">
                        <a:spcBef>
                          <a:spcPts val="0"/>
                        </a:spcBef>
                        <a:spcAft>
                          <a:spcPts val="0"/>
                        </a:spcAft>
                        <a:buNone/>
                      </a:pPr>
                      <a:r>
                        <a:rPr lang="en" sz="1200" b="0" u="none" strike="noStrike">
                          <a:solidFill>
                            <a:schemeClr val="lt2"/>
                          </a:solidFill>
                          <a:latin typeface="Lustria"/>
                          <a:ea typeface="Lustria"/>
                          <a:cs typeface="Lustria"/>
                          <a:sym typeface="Lustria"/>
                        </a:rPr>
                        <a:t>RPN</a:t>
                      </a:r>
                      <a:endParaRPr sz="1200" b="0" i="0" u="none" strike="noStrike">
                        <a:solidFill>
                          <a:schemeClr val="lt2"/>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38100" cap="flat" cmpd="sng">
                      <a:solidFill>
                        <a:srgbClr val="393939"/>
                      </a:solidFill>
                      <a:prstDash val="solid"/>
                      <a:round/>
                      <a:headEnd type="none" w="sm" len="sm"/>
                      <a:tailEnd type="none" w="sm" len="sm"/>
                    </a:lnB>
                    <a:solidFill>
                      <a:srgbClr val="00341B"/>
                    </a:solidFill>
                  </a:tcPr>
                </a:tc>
                <a:tc>
                  <a:txBody>
                    <a:bodyPr/>
                    <a:lstStyle/>
                    <a:p>
                      <a:pPr marL="0" marR="0" lvl="0" indent="0" algn="ctr" rtl="0">
                        <a:spcBef>
                          <a:spcPts val="0"/>
                        </a:spcBef>
                        <a:spcAft>
                          <a:spcPts val="0"/>
                        </a:spcAft>
                        <a:buNone/>
                      </a:pPr>
                      <a:r>
                        <a:rPr lang="en" sz="1200" b="0" u="none" strike="noStrike">
                          <a:solidFill>
                            <a:schemeClr val="lt2"/>
                          </a:solidFill>
                          <a:latin typeface="Lustria"/>
                          <a:ea typeface="Lustria"/>
                          <a:cs typeface="Lustria"/>
                          <a:sym typeface="Lustria"/>
                        </a:rPr>
                        <a:t>Action Recommended</a:t>
                      </a:r>
                      <a:endParaRPr sz="1200" b="0" i="0" u="none" strike="noStrike">
                        <a:solidFill>
                          <a:schemeClr val="lt2"/>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38100" cap="flat" cmpd="sng">
                      <a:solidFill>
                        <a:srgbClr val="393939"/>
                      </a:solidFill>
                      <a:prstDash val="solid"/>
                      <a:round/>
                      <a:headEnd type="none" w="sm" len="sm"/>
                      <a:tailEnd type="none" w="sm" len="sm"/>
                    </a:lnB>
                    <a:solidFill>
                      <a:srgbClr val="00341B"/>
                    </a:solidFill>
                  </a:tcPr>
                </a:tc>
                <a:extLst>
                  <a:ext uri="{0D108BD9-81ED-4DB2-BD59-A6C34878D82A}">
                    <a16:rowId xmlns:a16="http://schemas.microsoft.com/office/drawing/2014/main" val="10000"/>
                  </a:ext>
                </a:extLst>
              </a:tr>
              <a:tr h="478076">
                <a:tc rowSpan="12">
                  <a:txBody>
                    <a:bodyPr/>
                    <a:lstStyle/>
                    <a:p>
                      <a:pPr marL="0" marR="0" lvl="0" indent="0" algn="ctr" rtl="0">
                        <a:spcBef>
                          <a:spcPts val="0"/>
                        </a:spcBef>
                        <a:spcAft>
                          <a:spcPts val="0"/>
                        </a:spcAft>
                        <a:buNone/>
                      </a:pPr>
                      <a:r>
                        <a:rPr lang="en" sz="1200" u="none" strike="noStrike" dirty="0">
                          <a:latin typeface="Lustria"/>
                          <a:ea typeface="Lustria"/>
                          <a:cs typeface="Lustria"/>
                          <a:sym typeface="Lustria"/>
                        </a:rPr>
                        <a:t>Cycle</a:t>
                      </a:r>
                      <a:endParaRPr sz="1500" dirty="0"/>
                    </a:p>
                    <a:p>
                      <a:pPr marL="0" marR="0" lvl="0" indent="0" algn="ctr" rtl="0">
                        <a:spcBef>
                          <a:spcPts val="0"/>
                        </a:spcBef>
                        <a:spcAft>
                          <a:spcPts val="0"/>
                        </a:spcAft>
                        <a:buNone/>
                      </a:pPr>
                      <a:r>
                        <a:rPr lang="en" sz="1200" u="none" strike="noStrike" dirty="0">
                          <a:latin typeface="Lustria"/>
                          <a:ea typeface="Lustria"/>
                          <a:cs typeface="Lustria"/>
                          <a:sym typeface="Lustria"/>
                        </a:rPr>
                        <a:t>Time</a:t>
                      </a:r>
                      <a:endParaRPr sz="1200" b="0" i="0" u="none" strike="noStrike" dirty="0">
                        <a:solidFill>
                          <a:srgbClr val="000000"/>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38100" cap="flat" cmpd="sng">
                      <a:solidFill>
                        <a:srgbClr val="393939"/>
                      </a:solidFill>
                      <a:prstDash val="solid"/>
                      <a:round/>
                      <a:headEnd type="none" w="sm" len="sm"/>
                      <a:tailEnd type="none" w="sm" len="sm"/>
                    </a:lnR>
                    <a:lnT w="12700" cap="flat" cmpd="sng">
                      <a:solidFill>
                        <a:srgbClr val="7F7F7F"/>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IN" sz="1200" b="0" i="0" u="none" strike="noStrike" dirty="0">
                          <a:solidFill>
                            <a:schemeClr val="tx1"/>
                          </a:solidFill>
                          <a:latin typeface="Lustria"/>
                          <a:ea typeface="Lustria"/>
                          <a:cs typeface="Lustria"/>
                          <a:sym typeface="Lustria"/>
                        </a:rPr>
                        <a:t>The trader gave false rather that incomplete information.</a:t>
                      </a:r>
                      <a:endParaRPr sz="1200" b="0" i="0" u="none" strike="noStrike" dirty="0">
                        <a:solidFill>
                          <a:schemeClr val="tx1"/>
                        </a:solidFill>
                        <a:latin typeface="Lustria"/>
                        <a:ea typeface="Lustria"/>
                        <a:cs typeface="Lustria"/>
                        <a:sym typeface="Lustria"/>
                      </a:endParaRPr>
                    </a:p>
                  </a:txBody>
                  <a:tcPr marL="6067" marR="6067" marT="6067" marB="0" anchor="ctr">
                    <a:lnL w="38100" cap="flat" cmpd="sng">
                      <a:solidFill>
                        <a:srgbClr val="393939"/>
                      </a:solidFill>
                      <a:prstDash val="solid"/>
                      <a:round/>
                      <a:headEnd type="none" w="sm" len="sm"/>
                      <a:tailEnd type="none" w="sm" len="sm"/>
                    </a:lnL>
                    <a:lnR w="12700" cap="flat" cmpd="sng">
                      <a:solidFill>
                        <a:srgbClr val="7F7F7F"/>
                      </a:solidFill>
                      <a:prstDash val="solid"/>
                      <a:round/>
                      <a:headEnd type="none" w="sm" len="sm"/>
                      <a:tailEnd type="none" w="sm" len="sm"/>
                    </a:lnR>
                    <a:lnT w="38100" cap="flat" cmpd="sng">
                      <a:solidFill>
                        <a:srgbClr val="393939"/>
                      </a:solidFill>
                      <a:prstDash val="solid"/>
                      <a:round/>
                      <a:headEnd type="none" w="sm" len="sm"/>
                      <a:tailEnd type="none" w="sm" len="sm"/>
                    </a:lnT>
                    <a:lnB w="38100" cap="flat" cmpd="sng">
                      <a:solidFill>
                        <a:srgbClr val="393939"/>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dirty="0">
                          <a:latin typeface="Lustria"/>
                          <a:ea typeface="Lustria"/>
                          <a:cs typeface="Lustria"/>
                          <a:sym typeface="Lustria"/>
                        </a:rPr>
                        <a:t>Incorrect data, dissatisfaction</a:t>
                      </a:r>
                      <a:endParaRPr sz="1200" b="0" i="0" u="none" strike="noStrike" dirty="0">
                        <a:solidFill>
                          <a:srgbClr val="374151"/>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38100" cap="flat" cmpd="sng">
                      <a:solidFill>
                        <a:srgbClr val="393939"/>
                      </a:solidFill>
                      <a:prstDash val="solid"/>
                      <a:round/>
                      <a:headEnd type="none" w="sm" len="sm"/>
                      <a:tailEnd type="none" w="sm" len="sm"/>
                    </a:lnT>
                    <a:lnB w="38100" cap="flat" cmpd="sng">
                      <a:solidFill>
                        <a:srgbClr val="393939"/>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7</a:t>
                      </a:r>
                      <a:endParaRPr sz="1200" b="0" i="0" u="none" strike="noStrike">
                        <a:solidFill>
                          <a:srgbClr val="000000"/>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38100" cap="flat" cmpd="sng">
                      <a:solidFill>
                        <a:srgbClr val="393939"/>
                      </a:solidFill>
                      <a:prstDash val="solid"/>
                      <a:round/>
                      <a:headEnd type="none" w="sm" len="sm"/>
                      <a:tailEnd type="none" w="sm" len="sm"/>
                    </a:lnT>
                    <a:lnB w="38100" cap="flat" cmpd="sng">
                      <a:solidFill>
                        <a:srgbClr val="393939"/>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Seller's data error</a:t>
                      </a:r>
                      <a:endParaRPr sz="1200" b="0" i="0" u="none" strike="noStrike">
                        <a:solidFill>
                          <a:srgbClr val="374151"/>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38100" cap="flat" cmpd="sng">
                      <a:solidFill>
                        <a:srgbClr val="393939"/>
                      </a:solidFill>
                      <a:prstDash val="solid"/>
                      <a:round/>
                      <a:headEnd type="none" w="sm" len="sm"/>
                      <a:tailEnd type="none" w="sm" len="sm"/>
                    </a:lnT>
                    <a:lnB w="38100" cap="flat" cmpd="sng">
                      <a:solidFill>
                        <a:srgbClr val="393939"/>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6</a:t>
                      </a:r>
                      <a:endParaRPr sz="1200" b="0" i="0" u="none" strike="noStrike">
                        <a:solidFill>
                          <a:srgbClr val="000000"/>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38100" cap="flat" cmpd="sng">
                      <a:solidFill>
                        <a:srgbClr val="393939"/>
                      </a:solidFill>
                      <a:prstDash val="solid"/>
                      <a:round/>
                      <a:headEnd type="none" w="sm" len="sm"/>
                      <a:tailEnd type="none" w="sm" len="sm"/>
                    </a:lnT>
                    <a:lnB w="38100" cap="flat" cmpd="sng">
                      <a:solidFill>
                        <a:srgbClr val="393939"/>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Validate seller-submitted data</a:t>
                      </a:r>
                      <a:endParaRPr sz="1200" b="0" i="0" u="none" strike="noStrike">
                        <a:solidFill>
                          <a:srgbClr val="374151"/>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38100" cap="flat" cmpd="sng">
                      <a:solidFill>
                        <a:srgbClr val="393939"/>
                      </a:solidFill>
                      <a:prstDash val="solid"/>
                      <a:round/>
                      <a:headEnd type="none" w="sm" len="sm"/>
                      <a:tailEnd type="none" w="sm" len="sm"/>
                    </a:lnT>
                    <a:lnB w="38100" cap="flat" cmpd="sng">
                      <a:solidFill>
                        <a:srgbClr val="393939"/>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8</a:t>
                      </a:r>
                      <a:endParaRPr sz="1200" b="0" i="0" u="none" strike="noStrike">
                        <a:solidFill>
                          <a:srgbClr val="000000"/>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38100" cap="flat" cmpd="sng">
                      <a:solidFill>
                        <a:srgbClr val="393939"/>
                      </a:solidFill>
                      <a:prstDash val="solid"/>
                      <a:round/>
                      <a:headEnd type="none" w="sm" len="sm"/>
                      <a:tailEnd type="none" w="sm" len="sm"/>
                    </a:lnT>
                    <a:lnB w="38100" cap="flat" cmpd="sng">
                      <a:solidFill>
                        <a:srgbClr val="393939"/>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336</a:t>
                      </a:r>
                      <a:endParaRPr sz="1200" b="0" i="0" u="none" strike="noStrike">
                        <a:solidFill>
                          <a:srgbClr val="000000"/>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38100" cap="flat" cmpd="sng">
                      <a:solidFill>
                        <a:srgbClr val="393939"/>
                      </a:solidFill>
                      <a:prstDash val="solid"/>
                      <a:round/>
                      <a:headEnd type="none" w="sm" len="sm"/>
                      <a:tailEnd type="none" w="sm" len="sm"/>
                    </a:lnT>
                    <a:lnB w="38100" cap="flat" cmpd="sng">
                      <a:solidFill>
                        <a:srgbClr val="393939"/>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Default &amp; template settings</a:t>
                      </a:r>
                      <a:endParaRPr sz="1200" b="0" i="0" u="none" strike="noStrike">
                        <a:solidFill>
                          <a:srgbClr val="374151"/>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38100" cap="flat" cmpd="sng">
                      <a:solidFill>
                        <a:srgbClr val="393939"/>
                      </a:solidFill>
                      <a:prstDash val="solid"/>
                      <a:round/>
                      <a:headEnd type="none" w="sm" len="sm"/>
                      <a:tailEnd type="none" w="sm" len="sm"/>
                    </a:lnR>
                    <a:lnT w="38100" cap="flat" cmpd="sng">
                      <a:solidFill>
                        <a:srgbClr val="393939"/>
                      </a:solidFill>
                      <a:prstDash val="solid"/>
                      <a:round/>
                      <a:headEnd type="none" w="sm" len="sm"/>
                      <a:tailEnd type="none" w="sm" len="sm"/>
                    </a:lnT>
                    <a:lnB w="38100" cap="flat" cmpd="sng">
                      <a:solidFill>
                        <a:srgbClr val="393939"/>
                      </a:solidFill>
                      <a:prstDash val="solid"/>
                      <a:round/>
                      <a:headEnd type="none" w="sm" len="sm"/>
                      <a:tailEnd type="none" w="sm" len="sm"/>
                    </a:lnB>
                    <a:solidFill>
                      <a:srgbClr val="F2F2F2"/>
                    </a:solidFill>
                  </a:tcPr>
                </a:tc>
                <a:extLst>
                  <a:ext uri="{0D108BD9-81ED-4DB2-BD59-A6C34878D82A}">
                    <a16:rowId xmlns:a16="http://schemas.microsoft.com/office/drawing/2014/main" val="10001"/>
                  </a:ext>
                </a:extLst>
              </a:tr>
              <a:tr h="876134">
                <a:tc vMerge="1">
                  <a:txBody>
                    <a:bodyPr/>
                    <a:lstStyle/>
                    <a:p>
                      <a:endParaRPr lang="en-US"/>
                    </a:p>
                  </a:txBody>
                  <a:tcPr/>
                </a:tc>
                <a:tc>
                  <a:txBody>
                    <a:bodyPr/>
                    <a:lstStyle/>
                    <a:p>
                      <a:pPr algn="ctr"/>
                      <a:r>
                        <a:rPr lang="en-IN" sz="1200" b="0" i="0" kern="1200" dirty="0" smtClean="0">
                          <a:solidFill>
                            <a:schemeClr val="tx1"/>
                          </a:solidFill>
                          <a:effectLst/>
                          <a:latin typeface="Lustria"/>
                          <a:ea typeface="+mn-ea"/>
                          <a:cs typeface="+mn-cs"/>
                        </a:rPr>
                        <a:t>The </a:t>
                      </a:r>
                      <a:r>
                        <a:rPr lang="en-IN" sz="1200" b="0" i="0" kern="1200" dirty="0">
                          <a:solidFill>
                            <a:schemeClr val="tx1"/>
                          </a:solidFill>
                          <a:effectLst/>
                          <a:latin typeface="Lustria"/>
                          <a:ea typeface="+mn-ea"/>
                          <a:cs typeface="+mn-cs"/>
                        </a:rPr>
                        <a:t>request has been sent to the incorrect BSS, causing delays.</a:t>
                      </a:r>
                    </a:p>
                    <a:p>
                      <a:pPr algn="ctr"/>
                      <a:r>
                        <a:rPr lang="en-IN" sz="1200" dirty="0">
                          <a:solidFill>
                            <a:schemeClr val="tx1"/>
                          </a:solidFill>
                          <a:latin typeface="Lustria"/>
                        </a:rPr>
                        <a:t/>
                      </a:r>
                      <a:br>
                        <a:rPr lang="en-IN" sz="1200" dirty="0">
                          <a:solidFill>
                            <a:schemeClr val="tx1"/>
                          </a:solidFill>
                          <a:latin typeface="Lustria"/>
                        </a:rPr>
                      </a:br>
                      <a:endParaRPr lang="en-IN" sz="1200" b="0" i="0" u="none" strike="noStrike" dirty="0">
                        <a:solidFill>
                          <a:schemeClr val="tx1"/>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38100" cap="flat" cmpd="sng">
                      <a:solidFill>
                        <a:srgbClr val="393939"/>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dirty="0">
                          <a:latin typeface="Lustria"/>
                          <a:ea typeface="Lustria"/>
                          <a:cs typeface="Lustria"/>
                          <a:sym typeface="Lustria"/>
                        </a:rPr>
                        <a:t>Routing error, process delays</a:t>
                      </a:r>
                      <a:endParaRPr sz="1200" b="0" i="0" u="none" strike="noStrike" dirty="0">
                        <a:solidFill>
                          <a:srgbClr val="374151"/>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38100" cap="flat" cmpd="sng">
                      <a:solidFill>
                        <a:srgbClr val="393939"/>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dirty="0">
                          <a:latin typeface="Lustria"/>
                          <a:ea typeface="Lustria"/>
                          <a:cs typeface="Lustria"/>
                          <a:sym typeface="Lustria"/>
                        </a:rPr>
                        <a:t>6</a:t>
                      </a:r>
                      <a:endParaRPr sz="1200" b="0" i="0" u="none" strike="noStrike" dirty="0">
                        <a:solidFill>
                          <a:srgbClr val="000000"/>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38100" cap="flat" cmpd="sng">
                      <a:solidFill>
                        <a:srgbClr val="393939"/>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dirty="0">
                          <a:latin typeface="Lustria"/>
                          <a:ea typeface="Lustria"/>
                          <a:cs typeface="Lustria"/>
                          <a:sym typeface="Lustria"/>
                        </a:rPr>
                        <a:t>Routing miscommunication</a:t>
                      </a:r>
                      <a:endParaRPr sz="1200" b="0" i="0" u="none" strike="noStrike" dirty="0">
                        <a:solidFill>
                          <a:srgbClr val="374151"/>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38100" cap="flat" cmpd="sng">
                      <a:solidFill>
                        <a:srgbClr val="393939"/>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5</a:t>
                      </a:r>
                      <a:endParaRPr sz="1200" b="0" i="0" u="none" strike="noStrike">
                        <a:solidFill>
                          <a:srgbClr val="000000"/>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38100" cap="flat" cmpd="sng">
                      <a:solidFill>
                        <a:srgbClr val="393939"/>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Clear request routing communication</a:t>
                      </a:r>
                      <a:endParaRPr sz="1200" b="0" i="0" u="none" strike="noStrike">
                        <a:solidFill>
                          <a:srgbClr val="374151"/>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38100" cap="flat" cmpd="sng">
                      <a:solidFill>
                        <a:srgbClr val="393939"/>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7</a:t>
                      </a:r>
                      <a:endParaRPr sz="1200" b="0" i="0" u="none" strike="noStrike">
                        <a:solidFill>
                          <a:srgbClr val="000000"/>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38100" cap="flat" cmpd="sng">
                      <a:solidFill>
                        <a:srgbClr val="393939"/>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210</a:t>
                      </a:r>
                      <a:endParaRPr sz="1200" b="0" i="0" u="none" strike="noStrike">
                        <a:solidFill>
                          <a:srgbClr val="000000"/>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38100" cap="flat" cmpd="sng">
                      <a:solidFill>
                        <a:srgbClr val="393939"/>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Implement clear routing guidelines and verification steps</a:t>
                      </a:r>
                      <a:endParaRPr sz="1200" b="0" i="0" u="none" strike="noStrike">
                        <a:solidFill>
                          <a:srgbClr val="374151"/>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38100" cap="flat" cmpd="sng">
                      <a:solidFill>
                        <a:srgbClr val="393939"/>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extLst>
                  <a:ext uri="{0D108BD9-81ED-4DB2-BD59-A6C34878D82A}">
                    <a16:rowId xmlns:a16="http://schemas.microsoft.com/office/drawing/2014/main" val="10002"/>
                  </a:ext>
                </a:extLst>
              </a:tr>
              <a:tr h="353918">
                <a:tc vMerge="1">
                  <a:txBody>
                    <a:bodyPr/>
                    <a:lstStyle/>
                    <a:p>
                      <a:endParaRPr lang="en-US"/>
                    </a:p>
                  </a:txBody>
                  <a:tcPr/>
                </a:tc>
                <a:tc>
                  <a:txBody>
                    <a:bodyPr/>
                    <a:lstStyle/>
                    <a:p>
                      <a:pPr marL="0" marR="0" lvl="0" indent="0" algn="ctr" rtl="0">
                        <a:spcBef>
                          <a:spcPts val="0"/>
                        </a:spcBef>
                        <a:spcAft>
                          <a:spcPts val="0"/>
                        </a:spcAft>
                        <a:buNone/>
                      </a:pPr>
                      <a:r>
                        <a:rPr lang="en" sz="1200" u="none" strike="noStrike" dirty="0">
                          <a:latin typeface="Lustria"/>
                          <a:ea typeface="Lustria"/>
                          <a:cs typeface="Lustria"/>
                          <a:sym typeface="Lustria"/>
                        </a:rPr>
                        <a:t>Missing customer information in the request.</a:t>
                      </a:r>
                      <a:endParaRPr sz="1200" b="0" i="0" u="none" strike="noStrike" dirty="0">
                        <a:solidFill>
                          <a:srgbClr val="374151"/>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38100" cap="flat" cmpd="sng">
                      <a:solidFill>
                        <a:srgbClr val="393939"/>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Missing data, processing delays</a:t>
                      </a:r>
                      <a:endParaRPr sz="1200" b="0" i="0" u="none" strike="noStrike">
                        <a:solidFill>
                          <a:srgbClr val="374151"/>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38100" cap="flat" cmpd="sng">
                      <a:solidFill>
                        <a:srgbClr val="393939"/>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5</a:t>
                      </a:r>
                      <a:endParaRPr sz="1200" b="0" i="0" u="none" strike="noStrike">
                        <a:solidFill>
                          <a:srgbClr val="000000"/>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38100" cap="flat" cmpd="sng">
                      <a:solidFill>
                        <a:srgbClr val="393939"/>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dirty="0">
                          <a:latin typeface="Lustria"/>
                          <a:ea typeface="Lustria"/>
                          <a:cs typeface="Lustria"/>
                          <a:sym typeface="Lustria"/>
                        </a:rPr>
                        <a:t>Incomplete request submission</a:t>
                      </a:r>
                      <a:endParaRPr sz="1200" b="0" i="0" u="none" strike="noStrike" dirty="0">
                        <a:solidFill>
                          <a:srgbClr val="374151"/>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38100" cap="flat" cmpd="sng">
                      <a:solidFill>
                        <a:srgbClr val="393939"/>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6</a:t>
                      </a:r>
                      <a:endParaRPr sz="1200" b="0" i="0" u="none" strike="noStrike">
                        <a:solidFill>
                          <a:srgbClr val="000000"/>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38100" cap="flat" cmpd="sng">
                      <a:solidFill>
                        <a:srgbClr val="393939"/>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Mandatory ERP system fields</a:t>
                      </a:r>
                      <a:endParaRPr sz="1200" b="0" i="0" u="none" strike="noStrike">
                        <a:solidFill>
                          <a:srgbClr val="374151"/>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38100" cap="flat" cmpd="sng">
                      <a:solidFill>
                        <a:srgbClr val="393939"/>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8</a:t>
                      </a:r>
                      <a:endParaRPr sz="1200" b="0" i="0" u="none" strike="noStrike">
                        <a:solidFill>
                          <a:srgbClr val="000000"/>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38100" cap="flat" cmpd="sng">
                      <a:solidFill>
                        <a:srgbClr val="393939"/>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240</a:t>
                      </a:r>
                      <a:endParaRPr sz="1200" b="0" i="0" u="none" strike="noStrike">
                        <a:solidFill>
                          <a:srgbClr val="000000"/>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38100" cap="flat" cmpd="sng">
                      <a:solidFill>
                        <a:srgbClr val="393939"/>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Automate ERP system with mandatory fields</a:t>
                      </a:r>
                      <a:endParaRPr sz="1200" b="0" i="0" u="none" strike="noStrike">
                        <a:solidFill>
                          <a:srgbClr val="374151"/>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38100" cap="flat" cmpd="sng">
                      <a:solidFill>
                        <a:srgbClr val="393939"/>
                      </a:solidFill>
                      <a:prstDash val="solid"/>
                      <a:round/>
                      <a:headEnd type="none" w="sm" len="sm"/>
                      <a:tailEnd type="none" w="sm" len="sm"/>
                    </a:lnB>
                    <a:solidFill>
                      <a:srgbClr val="F2F2F2"/>
                    </a:solidFill>
                  </a:tcPr>
                </a:tc>
                <a:extLst>
                  <a:ext uri="{0D108BD9-81ED-4DB2-BD59-A6C34878D82A}">
                    <a16:rowId xmlns:a16="http://schemas.microsoft.com/office/drawing/2014/main" val="10003"/>
                  </a:ext>
                </a:extLst>
              </a:tr>
              <a:tr h="527990">
                <a:tc vMerge="1">
                  <a:txBody>
                    <a:bodyPr/>
                    <a:lstStyle/>
                    <a:p>
                      <a:endParaRPr lang="en-US"/>
                    </a:p>
                  </a:txBody>
                  <a:tcPr/>
                </a:tc>
                <a:tc>
                  <a:txBody>
                    <a:bodyPr/>
                    <a:lstStyle/>
                    <a:p>
                      <a:pPr marL="0" marR="0" lvl="0" indent="0" algn="ctr" rtl="0">
                        <a:spcBef>
                          <a:spcPts val="0"/>
                        </a:spcBef>
                        <a:spcAft>
                          <a:spcPts val="0"/>
                        </a:spcAft>
                        <a:buNone/>
                      </a:pPr>
                      <a:r>
                        <a:rPr lang="en" sz="1200" u="none" strike="noStrike" dirty="0">
                          <a:latin typeface="Lustria"/>
                          <a:ea typeface="Lustria"/>
                          <a:cs typeface="Lustria"/>
                          <a:sym typeface="Lustria"/>
                        </a:rPr>
                        <a:t>Delayed response from the Seller to provide required information.</a:t>
                      </a:r>
                      <a:endParaRPr sz="1200" b="0" i="0" u="none" strike="noStrike" dirty="0">
                        <a:solidFill>
                          <a:srgbClr val="374151"/>
                        </a:solidFill>
                        <a:latin typeface="Lustria"/>
                        <a:ea typeface="Lustria"/>
                        <a:cs typeface="Lustria"/>
                        <a:sym typeface="Lustria"/>
                      </a:endParaRPr>
                    </a:p>
                  </a:txBody>
                  <a:tcPr marL="6067" marR="6067" marT="6067" marB="0" anchor="ctr">
                    <a:lnL w="38100" cap="flat" cmpd="sng">
                      <a:solidFill>
                        <a:srgbClr val="393939"/>
                      </a:solidFill>
                      <a:prstDash val="solid"/>
                      <a:round/>
                      <a:headEnd type="none" w="sm" len="sm"/>
                      <a:tailEnd type="none" w="sm" len="sm"/>
                    </a:lnL>
                    <a:lnR w="12700" cap="flat" cmpd="sng">
                      <a:solidFill>
                        <a:srgbClr val="7F7F7F"/>
                      </a:solidFill>
                      <a:prstDash val="solid"/>
                      <a:round/>
                      <a:headEnd type="none" w="sm" len="sm"/>
                      <a:tailEnd type="none" w="sm" len="sm"/>
                    </a:lnR>
                    <a:lnT w="38100" cap="flat" cmpd="sng">
                      <a:solidFill>
                        <a:srgbClr val="393939"/>
                      </a:solidFill>
                      <a:prstDash val="solid"/>
                      <a:round/>
                      <a:headEnd type="none" w="sm" len="sm"/>
                      <a:tailEnd type="none" w="sm" len="sm"/>
                    </a:lnT>
                    <a:lnB w="38100" cap="flat" cmpd="sng">
                      <a:solidFill>
                        <a:srgbClr val="393939"/>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dirty="0">
                          <a:latin typeface="Lustria"/>
                          <a:ea typeface="Lustria"/>
                          <a:cs typeface="Lustria"/>
                          <a:sym typeface="Lustria"/>
                        </a:rPr>
                        <a:t>Seller delay, extended process</a:t>
                      </a:r>
                      <a:endParaRPr sz="1200" b="0" i="0" u="none" strike="noStrike" dirty="0">
                        <a:solidFill>
                          <a:srgbClr val="374151"/>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38100" cap="flat" cmpd="sng">
                      <a:solidFill>
                        <a:srgbClr val="393939"/>
                      </a:solidFill>
                      <a:prstDash val="solid"/>
                      <a:round/>
                      <a:headEnd type="none" w="sm" len="sm"/>
                      <a:tailEnd type="none" w="sm" len="sm"/>
                    </a:lnT>
                    <a:lnB w="38100" cap="flat" cmpd="sng">
                      <a:solidFill>
                        <a:srgbClr val="393939"/>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7</a:t>
                      </a:r>
                      <a:endParaRPr sz="1200" b="0" i="0" u="none" strike="noStrike">
                        <a:solidFill>
                          <a:srgbClr val="000000"/>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38100" cap="flat" cmpd="sng">
                      <a:solidFill>
                        <a:srgbClr val="393939"/>
                      </a:solidFill>
                      <a:prstDash val="solid"/>
                      <a:round/>
                      <a:headEnd type="none" w="sm" len="sm"/>
                      <a:tailEnd type="none" w="sm" len="sm"/>
                    </a:lnT>
                    <a:lnB w="38100" cap="flat" cmpd="sng">
                      <a:solidFill>
                        <a:srgbClr val="393939"/>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dirty="0">
                          <a:latin typeface="Lustria"/>
                          <a:ea typeface="Lustria"/>
                          <a:cs typeface="Lustria"/>
                          <a:sym typeface="Lustria"/>
                        </a:rPr>
                        <a:t>Seller response delay</a:t>
                      </a:r>
                      <a:endParaRPr sz="1200" b="0" i="0" u="none" strike="noStrike" dirty="0">
                        <a:solidFill>
                          <a:srgbClr val="374151"/>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38100" cap="flat" cmpd="sng">
                      <a:solidFill>
                        <a:srgbClr val="393939"/>
                      </a:solidFill>
                      <a:prstDash val="solid"/>
                      <a:round/>
                      <a:headEnd type="none" w="sm" len="sm"/>
                      <a:tailEnd type="none" w="sm" len="sm"/>
                    </a:lnT>
                    <a:lnB w="38100" cap="flat" cmpd="sng">
                      <a:solidFill>
                        <a:srgbClr val="393939"/>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dirty="0">
                          <a:latin typeface="Lustria"/>
                          <a:ea typeface="Lustria"/>
                          <a:cs typeface="Lustria"/>
                          <a:sym typeface="Lustria"/>
                        </a:rPr>
                        <a:t>6</a:t>
                      </a:r>
                      <a:endParaRPr sz="1200" b="0" i="0" u="none" strike="noStrike" dirty="0">
                        <a:solidFill>
                          <a:srgbClr val="000000"/>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38100" cap="flat" cmpd="sng">
                      <a:solidFill>
                        <a:srgbClr val="393939"/>
                      </a:solidFill>
                      <a:prstDash val="solid"/>
                      <a:round/>
                      <a:headEnd type="none" w="sm" len="sm"/>
                      <a:tailEnd type="none" w="sm" len="sm"/>
                    </a:lnT>
                    <a:lnB w="38100" cap="flat" cmpd="sng">
                      <a:solidFill>
                        <a:srgbClr val="393939"/>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dirty="0">
                          <a:latin typeface="Lustria"/>
                          <a:ea typeface="Lustria"/>
                          <a:cs typeface="Lustria"/>
                          <a:sym typeface="Lustria"/>
                        </a:rPr>
                        <a:t>Monitor seller response time</a:t>
                      </a:r>
                      <a:endParaRPr sz="1200" b="0" i="0" u="none" strike="noStrike" dirty="0">
                        <a:solidFill>
                          <a:srgbClr val="374151"/>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38100" cap="flat" cmpd="sng">
                      <a:solidFill>
                        <a:srgbClr val="393939"/>
                      </a:solidFill>
                      <a:prstDash val="solid"/>
                      <a:round/>
                      <a:headEnd type="none" w="sm" len="sm"/>
                      <a:tailEnd type="none" w="sm" len="sm"/>
                    </a:lnT>
                    <a:lnB w="38100" cap="flat" cmpd="sng">
                      <a:solidFill>
                        <a:srgbClr val="393939"/>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7</a:t>
                      </a:r>
                      <a:endParaRPr sz="1200" b="0" i="0" u="none" strike="noStrike">
                        <a:solidFill>
                          <a:srgbClr val="000000"/>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38100" cap="flat" cmpd="sng">
                      <a:solidFill>
                        <a:srgbClr val="393939"/>
                      </a:solidFill>
                      <a:prstDash val="solid"/>
                      <a:round/>
                      <a:headEnd type="none" w="sm" len="sm"/>
                      <a:tailEnd type="none" w="sm" len="sm"/>
                    </a:lnT>
                    <a:lnB w="38100" cap="flat" cmpd="sng">
                      <a:solidFill>
                        <a:srgbClr val="393939"/>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294</a:t>
                      </a:r>
                      <a:endParaRPr sz="1200" b="0" i="0" u="none" strike="noStrike">
                        <a:solidFill>
                          <a:srgbClr val="000000"/>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38100" cap="flat" cmpd="sng">
                      <a:solidFill>
                        <a:srgbClr val="393939"/>
                      </a:solidFill>
                      <a:prstDash val="solid"/>
                      <a:round/>
                      <a:headEnd type="none" w="sm" len="sm"/>
                      <a:tailEnd type="none" w="sm" len="sm"/>
                    </a:lnT>
                    <a:lnB w="38100" cap="flat" cmpd="sng">
                      <a:solidFill>
                        <a:srgbClr val="393939"/>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Set seller response time expectations and track compliance</a:t>
                      </a:r>
                      <a:endParaRPr sz="1200" b="0" i="0" u="none" strike="noStrike">
                        <a:solidFill>
                          <a:srgbClr val="374151"/>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38100" cap="flat" cmpd="sng">
                      <a:solidFill>
                        <a:srgbClr val="393939"/>
                      </a:solidFill>
                      <a:prstDash val="solid"/>
                      <a:round/>
                      <a:headEnd type="none" w="sm" len="sm"/>
                      <a:tailEnd type="none" w="sm" len="sm"/>
                    </a:lnR>
                    <a:lnT w="38100" cap="flat" cmpd="sng">
                      <a:solidFill>
                        <a:srgbClr val="393939"/>
                      </a:solidFill>
                      <a:prstDash val="solid"/>
                      <a:round/>
                      <a:headEnd type="none" w="sm" len="sm"/>
                      <a:tailEnd type="none" w="sm" len="sm"/>
                    </a:lnT>
                    <a:lnB w="38100" cap="flat" cmpd="sng">
                      <a:solidFill>
                        <a:srgbClr val="393939"/>
                      </a:solidFill>
                      <a:prstDash val="solid"/>
                      <a:round/>
                      <a:headEnd type="none" w="sm" len="sm"/>
                      <a:tailEnd type="none" w="sm" len="sm"/>
                    </a:lnB>
                    <a:solidFill>
                      <a:srgbClr val="F2F2F2"/>
                    </a:solidFill>
                  </a:tcPr>
                </a:tc>
                <a:extLst>
                  <a:ext uri="{0D108BD9-81ED-4DB2-BD59-A6C34878D82A}">
                    <a16:rowId xmlns:a16="http://schemas.microsoft.com/office/drawing/2014/main" val="10004"/>
                  </a:ext>
                </a:extLst>
              </a:tr>
              <a:tr h="527990">
                <a:tc vMerge="1">
                  <a:txBody>
                    <a:bodyPr/>
                    <a:lstStyle/>
                    <a:p>
                      <a:endParaRPr lang="en-US"/>
                    </a:p>
                  </a:txBody>
                  <a:tcPr/>
                </a:tc>
                <a:tc>
                  <a:txBody>
                    <a:bodyPr/>
                    <a:lstStyle/>
                    <a:p>
                      <a:pPr marL="0" marR="0" lvl="0" indent="0" algn="ctr" rtl="0">
                        <a:spcBef>
                          <a:spcPts val="0"/>
                        </a:spcBef>
                        <a:spcAft>
                          <a:spcPts val="0"/>
                        </a:spcAft>
                        <a:buNone/>
                      </a:pPr>
                      <a:r>
                        <a:rPr lang="en" sz="1200" u="none" strike="noStrike" dirty="0">
                          <a:latin typeface="Lustria"/>
                          <a:ea typeface="Lustria"/>
                          <a:cs typeface="Lustria"/>
                          <a:sym typeface="Lustria"/>
                        </a:rPr>
                        <a:t>Errors in the technical specification generated by the Product Design team.</a:t>
                      </a:r>
                      <a:endParaRPr sz="1200" b="0" i="0" u="none" strike="noStrike" dirty="0">
                        <a:solidFill>
                          <a:srgbClr val="374151"/>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38100" cap="flat" cmpd="sng">
                      <a:solidFill>
                        <a:srgbClr val="393939"/>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Spec errors, customer dissatisfaction</a:t>
                      </a:r>
                      <a:endParaRPr sz="1200" b="0" i="0" u="none" strike="noStrike">
                        <a:solidFill>
                          <a:srgbClr val="374151"/>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38100" cap="flat" cmpd="sng">
                      <a:solidFill>
                        <a:srgbClr val="393939"/>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6</a:t>
                      </a:r>
                      <a:endParaRPr sz="1200" b="0" i="0" u="none" strike="noStrike">
                        <a:solidFill>
                          <a:srgbClr val="000000"/>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38100" cap="flat" cmpd="sng">
                      <a:solidFill>
                        <a:srgbClr val="393939"/>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Design team oversight</a:t>
                      </a:r>
                      <a:endParaRPr sz="1200" b="0" i="0" u="none" strike="noStrike">
                        <a:solidFill>
                          <a:srgbClr val="374151"/>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38100" cap="flat" cmpd="sng">
                      <a:solidFill>
                        <a:srgbClr val="393939"/>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4</a:t>
                      </a:r>
                      <a:endParaRPr sz="1200" b="0" i="0" u="none" strike="noStrike">
                        <a:solidFill>
                          <a:srgbClr val="000000"/>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38100" cap="flat" cmpd="sng">
                      <a:solidFill>
                        <a:srgbClr val="393939"/>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dirty="0">
                          <a:latin typeface="Lustria"/>
                          <a:ea typeface="Lustria"/>
                          <a:cs typeface="Lustria"/>
                          <a:sym typeface="Lustria"/>
                        </a:rPr>
                        <a:t>BSS review of technical specs</a:t>
                      </a:r>
                      <a:endParaRPr sz="1200" b="0" i="0" u="none" strike="noStrike" dirty="0">
                        <a:solidFill>
                          <a:srgbClr val="374151"/>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38100" cap="flat" cmpd="sng">
                      <a:solidFill>
                        <a:srgbClr val="393939"/>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7</a:t>
                      </a:r>
                      <a:endParaRPr sz="1200" b="0" i="0" u="none" strike="noStrike">
                        <a:solidFill>
                          <a:srgbClr val="000000"/>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38100" cap="flat" cmpd="sng">
                      <a:solidFill>
                        <a:srgbClr val="393939"/>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168</a:t>
                      </a:r>
                      <a:endParaRPr sz="1200" b="0" i="0" u="none" strike="noStrike">
                        <a:solidFill>
                          <a:srgbClr val="000000"/>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38100" cap="flat" cmpd="sng">
                      <a:solidFill>
                        <a:srgbClr val="393939"/>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Improve review process for technical specs</a:t>
                      </a:r>
                      <a:endParaRPr sz="1200" b="0" i="0" u="none" strike="noStrike">
                        <a:solidFill>
                          <a:srgbClr val="374151"/>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38100" cap="flat" cmpd="sng">
                      <a:solidFill>
                        <a:srgbClr val="393939"/>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extLst>
                  <a:ext uri="{0D108BD9-81ED-4DB2-BD59-A6C34878D82A}">
                    <a16:rowId xmlns:a16="http://schemas.microsoft.com/office/drawing/2014/main" val="10005"/>
                  </a:ext>
                </a:extLst>
              </a:tr>
              <a:tr h="527990">
                <a:tc vMerge="1">
                  <a:txBody>
                    <a:bodyPr/>
                    <a:lstStyle/>
                    <a:p>
                      <a:endParaRPr lang="en-US"/>
                    </a:p>
                  </a:txBody>
                  <a:tcPr/>
                </a:tc>
                <a:tc>
                  <a:txBody>
                    <a:bodyPr/>
                    <a:lstStyle/>
                    <a:p>
                      <a:pPr marL="0" marR="0" lvl="0" indent="0" algn="ctr" rtl="0">
                        <a:spcBef>
                          <a:spcPts val="0"/>
                        </a:spcBef>
                        <a:spcAft>
                          <a:spcPts val="0"/>
                        </a:spcAft>
                        <a:buNone/>
                      </a:pPr>
                      <a:r>
                        <a:rPr lang="en" sz="1200" u="none" strike="noStrike" dirty="0">
                          <a:latin typeface="Lustria"/>
                          <a:ea typeface="Lustria"/>
                          <a:cs typeface="Lustria"/>
                          <a:sym typeface="Lustria"/>
                        </a:rPr>
                        <a:t>Configuration changes requested by the Seller after approval.</a:t>
                      </a:r>
                      <a:endParaRPr sz="1200" b="0" i="0" u="none" strike="noStrike" dirty="0">
                        <a:solidFill>
                          <a:srgbClr val="374151"/>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38100" cap="flat" cmpd="sng">
                      <a:solidFill>
                        <a:srgbClr val="393939"/>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Change requests, rework</a:t>
                      </a:r>
                      <a:endParaRPr sz="1200" b="0" i="0" u="none" strike="noStrike">
                        <a:solidFill>
                          <a:srgbClr val="374151"/>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38100" cap="flat" cmpd="sng">
                      <a:solidFill>
                        <a:srgbClr val="393939"/>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5</a:t>
                      </a:r>
                      <a:endParaRPr sz="1200" b="0" i="0" u="none" strike="noStrike">
                        <a:solidFill>
                          <a:srgbClr val="000000"/>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38100" cap="flat" cmpd="sng">
                      <a:solidFill>
                        <a:srgbClr val="393939"/>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Seller's change requests</a:t>
                      </a:r>
                      <a:endParaRPr sz="1200" b="0" i="0" u="none" strike="noStrike">
                        <a:solidFill>
                          <a:srgbClr val="374151"/>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38100" cap="flat" cmpd="sng">
                      <a:solidFill>
                        <a:srgbClr val="393939"/>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5</a:t>
                      </a:r>
                      <a:endParaRPr sz="1200" b="0" i="0" u="none" strike="noStrike">
                        <a:solidFill>
                          <a:srgbClr val="000000"/>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38100" cap="flat" cmpd="sng">
                      <a:solidFill>
                        <a:srgbClr val="393939"/>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dirty="0">
                          <a:latin typeface="Lustria"/>
                          <a:ea typeface="Lustria"/>
                          <a:cs typeface="Lustria"/>
                          <a:sym typeface="Lustria"/>
                        </a:rPr>
                        <a:t>Defined change request process</a:t>
                      </a:r>
                      <a:endParaRPr sz="1200" b="0" i="0" u="none" strike="noStrike" dirty="0">
                        <a:solidFill>
                          <a:srgbClr val="374151"/>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38100" cap="flat" cmpd="sng">
                      <a:solidFill>
                        <a:srgbClr val="393939"/>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6</a:t>
                      </a:r>
                      <a:endParaRPr sz="1200" b="0" i="0" u="none" strike="noStrike">
                        <a:solidFill>
                          <a:srgbClr val="000000"/>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38100" cap="flat" cmpd="sng">
                      <a:solidFill>
                        <a:srgbClr val="393939"/>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150</a:t>
                      </a:r>
                      <a:endParaRPr sz="1200" b="0" i="0" u="none" strike="noStrike">
                        <a:solidFill>
                          <a:srgbClr val="000000"/>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38100" cap="flat" cmpd="sng">
                      <a:solidFill>
                        <a:srgbClr val="393939"/>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Standardize change request handling procedures</a:t>
                      </a:r>
                      <a:endParaRPr sz="1200" b="0" i="0" u="none" strike="noStrike">
                        <a:solidFill>
                          <a:srgbClr val="374151"/>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38100" cap="flat" cmpd="sng">
                      <a:solidFill>
                        <a:srgbClr val="393939"/>
                      </a:solidFill>
                      <a:prstDash val="solid"/>
                      <a:round/>
                      <a:headEnd type="none" w="sm" len="sm"/>
                      <a:tailEnd type="none" w="sm" len="sm"/>
                    </a:lnB>
                    <a:solidFill>
                      <a:srgbClr val="F2F2F2"/>
                    </a:solidFill>
                  </a:tcPr>
                </a:tc>
                <a:extLst>
                  <a:ext uri="{0D108BD9-81ED-4DB2-BD59-A6C34878D82A}">
                    <a16:rowId xmlns:a16="http://schemas.microsoft.com/office/drawing/2014/main" val="10006"/>
                  </a:ext>
                </a:extLst>
              </a:tr>
              <a:tr h="353918">
                <a:tc vMerge="1">
                  <a:txBody>
                    <a:bodyPr/>
                    <a:lstStyle/>
                    <a:p>
                      <a:endParaRPr lang="en-US"/>
                    </a:p>
                  </a:txBody>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Brand Manager delays in approving the pricing proposal.</a:t>
                      </a:r>
                      <a:endParaRPr sz="1200" b="0" i="0" u="none" strike="noStrike">
                        <a:solidFill>
                          <a:srgbClr val="374151"/>
                        </a:solidFill>
                        <a:latin typeface="Lustria"/>
                        <a:ea typeface="Lustria"/>
                        <a:cs typeface="Lustria"/>
                        <a:sym typeface="Lustria"/>
                      </a:endParaRPr>
                    </a:p>
                  </a:txBody>
                  <a:tcPr marL="6067" marR="6067" marT="6067" marB="0" anchor="ctr">
                    <a:lnL w="38100" cap="flat" cmpd="sng">
                      <a:solidFill>
                        <a:srgbClr val="393939"/>
                      </a:solidFill>
                      <a:prstDash val="solid"/>
                      <a:round/>
                      <a:headEnd type="none" w="sm" len="sm"/>
                      <a:tailEnd type="none" w="sm" len="sm"/>
                    </a:lnL>
                    <a:lnR w="12700" cap="flat" cmpd="sng">
                      <a:solidFill>
                        <a:srgbClr val="7F7F7F"/>
                      </a:solidFill>
                      <a:prstDash val="solid"/>
                      <a:round/>
                      <a:headEnd type="none" w="sm" len="sm"/>
                      <a:tailEnd type="none" w="sm" len="sm"/>
                    </a:lnR>
                    <a:lnT w="38100" cap="flat" cmpd="sng">
                      <a:solidFill>
                        <a:srgbClr val="393939"/>
                      </a:solidFill>
                      <a:prstDash val="solid"/>
                      <a:round/>
                      <a:headEnd type="none" w="sm" len="sm"/>
                      <a:tailEnd type="none" w="sm" len="sm"/>
                    </a:lnT>
                    <a:lnB w="38100" cap="flat" cmpd="sng">
                      <a:solidFill>
                        <a:srgbClr val="393939"/>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Pricing approval delay</a:t>
                      </a:r>
                      <a:endParaRPr sz="1200" b="0" i="0" u="none" strike="noStrike">
                        <a:solidFill>
                          <a:srgbClr val="374151"/>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38100" cap="flat" cmpd="sng">
                      <a:solidFill>
                        <a:srgbClr val="393939"/>
                      </a:solidFill>
                      <a:prstDash val="solid"/>
                      <a:round/>
                      <a:headEnd type="none" w="sm" len="sm"/>
                      <a:tailEnd type="none" w="sm" len="sm"/>
                    </a:lnT>
                    <a:lnB w="38100" cap="flat" cmpd="sng">
                      <a:solidFill>
                        <a:srgbClr val="393939"/>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7</a:t>
                      </a:r>
                      <a:endParaRPr sz="1200" b="0" i="0" u="none" strike="noStrike">
                        <a:solidFill>
                          <a:srgbClr val="000000"/>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38100" cap="flat" cmpd="sng">
                      <a:solidFill>
                        <a:srgbClr val="393939"/>
                      </a:solidFill>
                      <a:prstDash val="solid"/>
                      <a:round/>
                      <a:headEnd type="none" w="sm" len="sm"/>
                      <a:tailEnd type="none" w="sm" len="sm"/>
                    </a:lnT>
                    <a:lnB w="38100" cap="flat" cmpd="sng">
                      <a:solidFill>
                        <a:srgbClr val="393939"/>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Manager approval delay</a:t>
                      </a:r>
                      <a:endParaRPr sz="1200" b="0" i="0" u="none" strike="noStrike">
                        <a:solidFill>
                          <a:srgbClr val="374151"/>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38100" cap="flat" cmpd="sng">
                      <a:solidFill>
                        <a:srgbClr val="393939"/>
                      </a:solidFill>
                      <a:prstDash val="solid"/>
                      <a:round/>
                      <a:headEnd type="none" w="sm" len="sm"/>
                      <a:tailEnd type="none" w="sm" len="sm"/>
                    </a:lnT>
                    <a:lnB w="38100" cap="flat" cmpd="sng">
                      <a:solidFill>
                        <a:srgbClr val="393939"/>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6</a:t>
                      </a:r>
                      <a:endParaRPr sz="1200" b="0" i="0" u="none" strike="noStrike">
                        <a:solidFill>
                          <a:srgbClr val="000000"/>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38100" cap="flat" cmpd="sng">
                      <a:solidFill>
                        <a:srgbClr val="393939"/>
                      </a:solidFill>
                      <a:prstDash val="solid"/>
                      <a:round/>
                      <a:headEnd type="none" w="sm" len="sm"/>
                      <a:tailEnd type="none" w="sm" len="sm"/>
                    </a:lnT>
                    <a:lnB w="38100" cap="flat" cmpd="sng">
                      <a:solidFill>
                        <a:srgbClr val="393939"/>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dirty="0">
                          <a:latin typeface="Lustria"/>
                          <a:ea typeface="Lustria"/>
                          <a:cs typeface="Lustria"/>
                          <a:sym typeface="Lustria"/>
                        </a:rPr>
                        <a:t>Timely pricing proposal approval</a:t>
                      </a:r>
                      <a:endParaRPr sz="1200" b="0" i="0" u="none" strike="noStrike" dirty="0">
                        <a:solidFill>
                          <a:srgbClr val="374151"/>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38100" cap="flat" cmpd="sng">
                      <a:solidFill>
                        <a:srgbClr val="393939"/>
                      </a:solidFill>
                      <a:prstDash val="solid"/>
                      <a:round/>
                      <a:headEnd type="none" w="sm" len="sm"/>
                      <a:tailEnd type="none" w="sm" len="sm"/>
                    </a:lnT>
                    <a:lnB w="38100" cap="flat" cmpd="sng">
                      <a:solidFill>
                        <a:srgbClr val="393939"/>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7</a:t>
                      </a:r>
                      <a:endParaRPr sz="1200" b="0" i="0" u="none" strike="noStrike">
                        <a:solidFill>
                          <a:srgbClr val="000000"/>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38100" cap="flat" cmpd="sng">
                      <a:solidFill>
                        <a:srgbClr val="393939"/>
                      </a:solidFill>
                      <a:prstDash val="solid"/>
                      <a:round/>
                      <a:headEnd type="none" w="sm" len="sm"/>
                      <a:tailEnd type="none" w="sm" len="sm"/>
                    </a:lnT>
                    <a:lnB w="38100" cap="flat" cmpd="sng">
                      <a:solidFill>
                        <a:srgbClr val="393939"/>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294</a:t>
                      </a:r>
                      <a:endParaRPr sz="1200" b="0" i="0" u="none" strike="noStrike">
                        <a:solidFill>
                          <a:srgbClr val="000000"/>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38100" cap="flat" cmpd="sng">
                      <a:solidFill>
                        <a:srgbClr val="393939"/>
                      </a:solidFill>
                      <a:prstDash val="solid"/>
                      <a:round/>
                      <a:headEnd type="none" w="sm" len="sm"/>
                      <a:tailEnd type="none" w="sm" len="sm"/>
                    </a:lnT>
                    <a:lnB w="38100" cap="flat" cmpd="sng">
                      <a:solidFill>
                        <a:srgbClr val="393939"/>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Define and enforce approval timelines</a:t>
                      </a:r>
                      <a:endParaRPr sz="1200" b="0" i="0" u="none" strike="noStrike">
                        <a:solidFill>
                          <a:srgbClr val="374151"/>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38100" cap="flat" cmpd="sng">
                      <a:solidFill>
                        <a:srgbClr val="393939"/>
                      </a:solidFill>
                      <a:prstDash val="solid"/>
                      <a:round/>
                      <a:headEnd type="none" w="sm" len="sm"/>
                      <a:tailEnd type="none" w="sm" len="sm"/>
                    </a:lnR>
                    <a:lnT w="38100" cap="flat" cmpd="sng">
                      <a:solidFill>
                        <a:srgbClr val="393939"/>
                      </a:solidFill>
                      <a:prstDash val="solid"/>
                      <a:round/>
                      <a:headEnd type="none" w="sm" len="sm"/>
                      <a:tailEnd type="none" w="sm" len="sm"/>
                    </a:lnT>
                    <a:lnB w="38100" cap="flat" cmpd="sng">
                      <a:solidFill>
                        <a:srgbClr val="393939"/>
                      </a:solidFill>
                      <a:prstDash val="solid"/>
                      <a:round/>
                      <a:headEnd type="none" w="sm" len="sm"/>
                      <a:tailEnd type="none" w="sm" len="sm"/>
                    </a:lnB>
                    <a:solidFill>
                      <a:srgbClr val="F2F2F2"/>
                    </a:solidFill>
                  </a:tcPr>
                </a:tc>
                <a:extLst>
                  <a:ext uri="{0D108BD9-81ED-4DB2-BD59-A6C34878D82A}">
                    <a16:rowId xmlns:a16="http://schemas.microsoft.com/office/drawing/2014/main" val="10007"/>
                  </a:ext>
                </a:extLst>
              </a:tr>
              <a:tr h="353918">
                <a:tc vMerge="1">
                  <a:txBody>
                    <a:bodyPr/>
                    <a:lstStyle/>
                    <a:p>
                      <a:endParaRPr lang="en-US"/>
                    </a:p>
                  </a:txBody>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Incorrect terms and conditions in the final proposal document.</a:t>
                      </a:r>
                      <a:endParaRPr sz="1200" b="0" i="0" u="none" strike="noStrike">
                        <a:solidFill>
                          <a:srgbClr val="374151"/>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38100" cap="flat" cmpd="sng">
                      <a:solidFill>
                        <a:srgbClr val="393939"/>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Legal issues, dissatisfaction</a:t>
                      </a:r>
                      <a:endParaRPr sz="1200" b="0" i="0" u="none" strike="noStrike">
                        <a:solidFill>
                          <a:srgbClr val="374151"/>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38100" cap="flat" cmpd="sng">
                      <a:solidFill>
                        <a:srgbClr val="393939"/>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6</a:t>
                      </a:r>
                      <a:endParaRPr sz="1200" b="0" i="0" u="none" strike="noStrike">
                        <a:solidFill>
                          <a:srgbClr val="000000"/>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38100" cap="flat" cmpd="sng">
                      <a:solidFill>
                        <a:srgbClr val="393939"/>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Document creation error</a:t>
                      </a:r>
                      <a:endParaRPr sz="1200" b="0" i="0" u="none" strike="noStrike">
                        <a:solidFill>
                          <a:srgbClr val="374151"/>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38100" cap="flat" cmpd="sng">
                      <a:solidFill>
                        <a:srgbClr val="393939"/>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5</a:t>
                      </a:r>
                      <a:endParaRPr sz="1200" b="0" i="0" u="none" strike="noStrike">
                        <a:solidFill>
                          <a:srgbClr val="000000"/>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38100" cap="flat" cmpd="sng">
                      <a:solidFill>
                        <a:srgbClr val="393939"/>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dirty="0">
                          <a:latin typeface="Lustria"/>
                          <a:ea typeface="Lustria"/>
                          <a:cs typeface="Lustria"/>
                          <a:sym typeface="Lustria"/>
                        </a:rPr>
                        <a:t>Document review by Proposal Manager</a:t>
                      </a:r>
                      <a:endParaRPr sz="1200" b="0" i="0" u="none" strike="noStrike" dirty="0">
                        <a:solidFill>
                          <a:srgbClr val="374151"/>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38100" cap="flat" cmpd="sng">
                      <a:solidFill>
                        <a:srgbClr val="393939"/>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7</a:t>
                      </a:r>
                      <a:endParaRPr sz="1200" b="0" i="0" u="none" strike="noStrike">
                        <a:solidFill>
                          <a:srgbClr val="000000"/>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38100" cap="flat" cmpd="sng">
                      <a:solidFill>
                        <a:srgbClr val="393939"/>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210</a:t>
                      </a:r>
                      <a:endParaRPr sz="1200" b="0" i="0" u="none" strike="noStrike">
                        <a:solidFill>
                          <a:srgbClr val="000000"/>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38100" cap="flat" cmpd="sng">
                      <a:solidFill>
                        <a:srgbClr val="393939"/>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Enhance document review and validation procedures</a:t>
                      </a:r>
                      <a:endParaRPr sz="1200" b="0" i="0" u="none" strike="noStrike">
                        <a:solidFill>
                          <a:srgbClr val="374151"/>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38100" cap="flat" cmpd="sng">
                      <a:solidFill>
                        <a:srgbClr val="393939"/>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extLst>
                  <a:ext uri="{0D108BD9-81ED-4DB2-BD59-A6C34878D82A}">
                    <a16:rowId xmlns:a16="http://schemas.microsoft.com/office/drawing/2014/main" val="10008"/>
                  </a:ext>
                </a:extLst>
              </a:tr>
              <a:tr h="353918">
                <a:tc vMerge="1">
                  <a:txBody>
                    <a:bodyPr/>
                    <a:lstStyle/>
                    <a:p>
                      <a:endParaRPr lang="en-US"/>
                    </a:p>
                  </a:txBody>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Proposal Support Manager overlooks errors in the proposal.</a:t>
                      </a:r>
                      <a:endParaRPr sz="1200" b="0" i="0" u="none" strike="noStrike">
                        <a:solidFill>
                          <a:srgbClr val="374151"/>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Oversight, errors</a:t>
                      </a:r>
                      <a:endParaRPr sz="1200" b="0" i="0" u="none" strike="noStrike">
                        <a:solidFill>
                          <a:srgbClr val="374151"/>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5</a:t>
                      </a:r>
                      <a:endParaRPr sz="1200" b="0" i="0" u="none" strike="noStrike">
                        <a:solidFill>
                          <a:srgbClr val="000000"/>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Manager oversight</a:t>
                      </a:r>
                      <a:endParaRPr sz="1200" b="0" i="0" u="none" strike="noStrike">
                        <a:solidFill>
                          <a:srgbClr val="374151"/>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5</a:t>
                      </a:r>
                      <a:endParaRPr sz="1200" b="0" i="0" u="none" strike="noStrike">
                        <a:solidFill>
                          <a:srgbClr val="000000"/>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dirty="0">
                          <a:latin typeface="Lustria"/>
                          <a:ea typeface="Lustria"/>
                          <a:cs typeface="Lustria"/>
                          <a:sym typeface="Lustria"/>
                        </a:rPr>
                        <a:t>Regular audits and quality checks</a:t>
                      </a:r>
                      <a:endParaRPr sz="1200" b="0" i="0" u="none" strike="noStrike" dirty="0">
                        <a:solidFill>
                          <a:srgbClr val="374151"/>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6</a:t>
                      </a:r>
                      <a:endParaRPr sz="1200" b="0" i="0" u="none" strike="noStrike">
                        <a:solidFill>
                          <a:srgbClr val="000000"/>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150</a:t>
                      </a:r>
                      <a:endParaRPr sz="1200" b="0" i="0" u="none" strike="noStrike">
                        <a:solidFill>
                          <a:srgbClr val="000000"/>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Conduct regular quality audits and feedback</a:t>
                      </a:r>
                      <a:endParaRPr sz="1200" b="0" i="0" u="none" strike="noStrike">
                        <a:solidFill>
                          <a:srgbClr val="374151"/>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extLst>
                  <a:ext uri="{0D108BD9-81ED-4DB2-BD59-A6C34878D82A}">
                    <a16:rowId xmlns:a16="http://schemas.microsoft.com/office/drawing/2014/main" val="10009"/>
                  </a:ext>
                </a:extLst>
              </a:tr>
              <a:tr h="353918">
                <a:tc vMerge="1">
                  <a:txBody>
                    <a:bodyPr/>
                    <a:lstStyle/>
                    <a:p>
                      <a:endParaRPr lang="en-US"/>
                    </a:p>
                  </a:txBody>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Proposal submission to the Seller gets delayed.</a:t>
                      </a:r>
                      <a:endParaRPr sz="1200" b="0" i="0" u="none" strike="noStrike">
                        <a:solidFill>
                          <a:srgbClr val="374151"/>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Proposal delay, missed opportunities</a:t>
                      </a:r>
                      <a:endParaRPr sz="1200" b="0" i="0" u="none" strike="noStrike">
                        <a:solidFill>
                          <a:srgbClr val="374151"/>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6</a:t>
                      </a:r>
                      <a:endParaRPr sz="1200" b="0" i="0" u="none" strike="noStrike">
                        <a:solidFill>
                          <a:srgbClr val="000000"/>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Submission process delays</a:t>
                      </a:r>
                      <a:endParaRPr sz="1200" b="0" i="0" u="none" strike="noStrike">
                        <a:solidFill>
                          <a:srgbClr val="374151"/>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5</a:t>
                      </a:r>
                      <a:endParaRPr sz="1200" b="0" i="0" u="none" strike="noStrike">
                        <a:solidFill>
                          <a:srgbClr val="000000"/>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Adhere to submission deadlines</a:t>
                      </a:r>
                      <a:endParaRPr sz="1200" b="0" i="0" u="none" strike="noStrike">
                        <a:solidFill>
                          <a:srgbClr val="374151"/>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dirty="0">
                          <a:latin typeface="Lustria"/>
                          <a:ea typeface="Lustria"/>
                          <a:cs typeface="Lustria"/>
                          <a:sym typeface="Lustria"/>
                        </a:rPr>
                        <a:t>7</a:t>
                      </a:r>
                      <a:endParaRPr sz="1200" b="0" i="0" u="none" strike="noStrike" dirty="0">
                        <a:solidFill>
                          <a:srgbClr val="000000"/>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dirty="0">
                          <a:latin typeface="Lustria"/>
                          <a:ea typeface="Lustria"/>
                          <a:cs typeface="Lustria"/>
                          <a:sym typeface="Lustria"/>
                        </a:rPr>
                        <a:t>210</a:t>
                      </a:r>
                      <a:endParaRPr sz="1200" b="0" i="0" u="none" strike="noStrike" dirty="0">
                        <a:solidFill>
                          <a:srgbClr val="000000"/>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dirty="0">
                          <a:latin typeface="Lustria"/>
                          <a:ea typeface="Lustria"/>
                          <a:cs typeface="Lustria"/>
                          <a:sym typeface="Lustria"/>
                        </a:rPr>
                        <a:t>Implement strict submission deadlines and monitoring</a:t>
                      </a:r>
                      <a:endParaRPr sz="1200" b="0" i="0" u="none" strike="noStrike" dirty="0">
                        <a:solidFill>
                          <a:srgbClr val="374151"/>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extLst>
                  <a:ext uri="{0D108BD9-81ED-4DB2-BD59-A6C34878D82A}">
                    <a16:rowId xmlns:a16="http://schemas.microsoft.com/office/drawing/2014/main" val="10010"/>
                  </a:ext>
                </a:extLst>
              </a:tr>
              <a:tr h="353918">
                <a:tc vMerge="1">
                  <a:txBody>
                    <a:bodyPr/>
                    <a:lstStyle/>
                    <a:p>
                      <a:endParaRPr lang="en-US"/>
                    </a:p>
                  </a:txBody>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Bid Support Specialist lacks experience or expertise.</a:t>
                      </a:r>
                      <a:endParaRPr sz="1200" b="0" i="0" u="none" strike="noStrike">
                        <a:solidFill>
                          <a:srgbClr val="374151"/>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Expertise lacking, errors</a:t>
                      </a:r>
                      <a:endParaRPr sz="1200" b="0" i="0" u="none" strike="noStrike">
                        <a:solidFill>
                          <a:srgbClr val="374151"/>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5</a:t>
                      </a:r>
                      <a:endParaRPr sz="1200" b="0" i="0" u="none" strike="noStrike">
                        <a:solidFill>
                          <a:srgbClr val="000000"/>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Inadequate BSS training</a:t>
                      </a:r>
                      <a:endParaRPr sz="1200" b="0" i="0" u="none" strike="noStrike">
                        <a:solidFill>
                          <a:srgbClr val="374151"/>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5</a:t>
                      </a:r>
                      <a:endParaRPr sz="1200" b="0" i="0" u="none" strike="noStrike">
                        <a:solidFill>
                          <a:srgbClr val="000000"/>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Ongoing BSS training and development</a:t>
                      </a:r>
                      <a:endParaRPr sz="1200" b="0" i="0" u="none" strike="noStrike">
                        <a:solidFill>
                          <a:srgbClr val="374151"/>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6</a:t>
                      </a:r>
                      <a:endParaRPr sz="1200" b="0" i="0" u="none" strike="noStrike">
                        <a:solidFill>
                          <a:srgbClr val="000000"/>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150</a:t>
                      </a:r>
                      <a:endParaRPr sz="1200" b="0" i="0" u="none" strike="noStrike">
                        <a:solidFill>
                          <a:srgbClr val="000000"/>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dirty="0">
                          <a:latin typeface="Lustria"/>
                          <a:ea typeface="Lustria"/>
                          <a:cs typeface="Lustria"/>
                          <a:sym typeface="Lustria"/>
                        </a:rPr>
                        <a:t>Provide ongoing BSS training and skill development</a:t>
                      </a:r>
                      <a:endParaRPr sz="1200" b="0" i="0" u="none" strike="noStrike" dirty="0">
                        <a:solidFill>
                          <a:srgbClr val="374151"/>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extLst>
                  <a:ext uri="{0D108BD9-81ED-4DB2-BD59-A6C34878D82A}">
                    <a16:rowId xmlns:a16="http://schemas.microsoft.com/office/drawing/2014/main" val="10011"/>
                  </a:ext>
                </a:extLst>
              </a:tr>
              <a:tr h="527990">
                <a:tc vMerge="1">
                  <a:txBody>
                    <a:bodyPr/>
                    <a:lstStyle/>
                    <a:p>
                      <a:endParaRPr lang="en-US"/>
                    </a:p>
                  </a:txBody>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Communication breakdown between the Seller and BSS during the process.</a:t>
                      </a:r>
                      <a:endParaRPr sz="1200" b="0" i="0" u="none" strike="noStrike">
                        <a:solidFill>
                          <a:srgbClr val="374151"/>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dirty="0">
                          <a:latin typeface="Lustria"/>
                          <a:ea typeface="Lustria"/>
                          <a:cs typeface="Lustria"/>
                          <a:sym typeface="Lustria"/>
                        </a:rPr>
                        <a:t>Communication issues, delays</a:t>
                      </a:r>
                      <a:endParaRPr sz="1200" b="0" i="0" u="none" strike="noStrike" dirty="0">
                        <a:solidFill>
                          <a:srgbClr val="374151"/>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6</a:t>
                      </a:r>
                      <a:endParaRPr sz="1200" b="0" i="0" u="none" strike="noStrike">
                        <a:solidFill>
                          <a:srgbClr val="000000"/>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Poor communication practices</a:t>
                      </a:r>
                      <a:endParaRPr sz="1200" b="0" i="0" u="none" strike="noStrike">
                        <a:solidFill>
                          <a:srgbClr val="374151"/>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6</a:t>
                      </a:r>
                      <a:endParaRPr sz="1200" b="0" i="0" u="none" strike="noStrike">
                        <a:solidFill>
                          <a:srgbClr val="000000"/>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Establish clear communication protocols</a:t>
                      </a:r>
                      <a:endParaRPr sz="1200" b="0" i="0" u="none" strike="noStrike">
                        <a:solidFill>
                          <a:srgbClr val="374151"/>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7</a:t>
                      </a:r>
                      <a:endParaRPr sz="1200" b="0" i="0" u="none" strike="noStrike">
                        <a:solidFill>
                          <a:srgbClr val="000000"/>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a:latin typeface="Lustria"/>
                          <a:ea typeface="Lustria"/>
                          <a:cs typeface="Lustria"/>
                          <a:sym typeface="Lustria"/>
                        </a:rPr>
                        <a:t>252</a:t>
                      </a:r>
                      <a:endParaRPr sz="1200" b="0" i="0" u="none" strike="noStrike">
                        <a:solidFill>
                          <a:srgbClr val="000000"/>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tc>
                  <a:txBody>
                    <a:bodyPr/>
                    <a:lstStyle/>
                    <a:p>
                      <a:pPr marL="0" marR="0" lvl="0" indent="0" algn="ctr" rtl="0">
                        <a:spcBef>
                          <a:spcPts val="0"/>
                        </a:spcBef>
                        <a:spcAft>
                          <a:spcPts val="0"/>
                        </a:spcAft>
                        <a:buNone/>
                      </a:pPr>
                      <a:r>
                        <a:rPr lang="en" sz="1200" u="none" strike="noStrike" dirty="0">
                          <a:latin typeface="Lustria"/>
                          <a:ea typeface="Lustria"/>
                          <a:cs typeface="Lustria"/>
                          <a:sym typeface="Lustria"/>
                        </a:rPr>
                        <a:t>Establish and enforce clear communication protocols</a:t>
                      </a:r>
                      <a:endParaRPr sz="1200" b="0" i="0" u="none" strike="noStrike" dirty="0">
                        <a:solidFill>
                          <a:srgbClr val="374151"/>
                        </a:solidFill>
                        <a:latin typeface="Lustria"/>
                        <a:ea typeface="Lustria"/>
                        <a:cs typeface="Lustria"/>
                        <a:sym typeface="Lustria"/>
                      </a:endParaRPr>
                    </a:p>
                  </a:txBody>
                  <a:tcPr marL="6067" marR="6067" marT="6067" marB="0"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extLst>
                  <a:ext uri="{0D108BD9-81ED-4DB2-BD59-A6C34878D82A}">
                    <a16:rowId xmlns:a16="http://schemas.microsoft.com/office/drawing/2014/main" val="10012"/>
                  </a:ext>
                </a:extLst>
              </a:tr>
            </a:tbl>
          </a:graphicData>
        </a:graphic>
      </p:graphicFrame>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F397F7-E04B-0410-A21F-8880038727F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80CFDF8-351C-8D38-830F-26B62538F16A}"/>
              </a:ext>
            </a:extLst>
          </p:cNvPr>
          <p:cNvSpPr>
            <a:spLocks noGrp="1"/>
          </p:cNvSpPr>
          <p:nvPr>
            <p:ph type="title"/>
          </p:nvPr>
        </p:nvSpPr>
        <p:spPr/>
        <p:txBody>
          <a:bodyPr/>
          <a:lstStyle/>
          <a:p>
            <a:r>
              <a:rPr lang="en-US" sz="2800" dirty="0" smtClean="0">
                <a:solidFill>
                  <a:schemeClr val="accent1">
                    <a:lumMod val="50000"/>
                  </a:schemeClr>
                </a:solidFill>
              </a:rPr>
              <a:t>VA/NVA Time Distribution by Process Step</a:t>
            </a:r>
            <a:endParaRPr lang="en-US" sz="2800" dirty="0">
              <a:solidFill>
                <a:schemeClr val="accent1">
                  <a:lumMod val="50000"/>
                </a:schemeClr>
              </a:solidFill>
            </a:endParaRPr>
          </a:p>
        </p:txBody>
      </p:sp>
      <p:cxnSp>
        <p:nvCxnSpPr>
          <p:cNvPr id="6" name="Straight Connector 5">
            <a:extLst>
              <a:ext uri="{FF2B5EF4-FFF2-40B4-BE49-F238E27FC236}">
                <a16:creationId xmlns:a16="http://schemas.microsoft.com/office/drawing/2014/main" id="{2D9B7B45-D106-6D64-AA0B-3138F89977B1}"/>
              </a:ext>
            </a:extLst>
          </p:cNvPr>
          <p:cNvCxnSpPr/>
          <p:nvPr/>
        </p:nvCxnSpPr>
        <p:spPr>
          <a:xfrm>
            <a:off x="1600200" y="6629400"/>
            <a:ext cx="8892208" cy="0"/>
          </a:xfrm>
          <a:prstGeom prst="line">
            <a:avLst/>
          </a:prstGeom>
          <a:ln w="38100"/>
        </p:spPr>
        <p:style>
          <a:lnRef idx="3">
            <a:schemeClr val="accent5"/>
          </a:lnRef>
          <a:fillRef idx="0">
            <a:schemeClr val="accent5"/>
          </a:fillRef>
          <a:effectRef idx="2">
            <a:schemeClr val="accent5"/>
          </a:effectRef>
          <a:fontRef idx="minor">
            <a:schemeClr val="tx1"/>
          </a:fontRef>
        </p:style>
      </p:cxnSp>
      <p:graphicFrame>
        <p:nvGraphicFramePr>
          <p:cNvPr id="5" name="Table 4">
            <a:extLst>
              <a:ext uri="{FF2B5EF4-FFF2-40B4-BE49-F238E27FC236}">
                <a16:creationId xmlns:a16="http://schemas.microsoft.com/office/drawing/2014/main" id="{08FD29E1-2BD0-585D-3832-5100CE618FD6}"/>
              </a:ext>
            </a:extLst>
          </p:cNvPr>
          <p:cNvGraphicFramePr>
            <a:graphicFrameLocks noGrp="1"/>
          </p:cNvGraphicFramePr>
          <p:nvPr>
            <p:extLst>
              <p:ext uri="{D42A27DB-BD31-4B8C-83A1-F6EECF244321}">
                <p14:modId xmlns:p14="http://schemas.microsoft.com/office/powerpoint/2010/main" val="764672040"/>
              </p:ext>
            </p:extLst>
          </p:nvPr>
        </p:nvGraphicFramePr>
        <p:xfrm>
          <a:off x="554736" y="1176480"/>
          <a:ext cx="11103864" cy="4983912"/>
        </p:xfrm>
        <a:graphic>
          <a:graphicData uri="http://schemas.openxmlformats.org/drawingml/2006/table">
            <a:tbl>
              <a:tblPr firstRow="1" bandRow="1">
                <a:tableStyleId>{5C22544A-7EE6-4342-B048-85BDC9FD1C3A}</a:tableStyleId>
              </a:tblPr>
              <a:tblGrid>
                <a:gridCol w="3483864">
                  <a:extLst>
                    <a:ext uri="{9D8B030D-6E8A-4147-A177-3AD203B41FA5}">
                      <a16:colId xmlns:a16="http://schemas.microsoft.com/office/drawing/2014/main" val="1501501632"/>
                    </a:ext>
                  </a:extLst>
                </a:gridCol>
                <a:gridCol w="2819400">
                  <a:extLst>
                    <a:ext uri="{9D8B030D-6E8A-4147-A177-3AD203B41FA5}">
                      <a16:colId xmlns:a16="http://schemas.microsoft.com/office/drawing/2014/main" val="1691065684"/>
                    </a:ext>
                  </a:extLst>
                </a:gridCol>
                <a:gridCol w="2438400">
                  <a:extLst>
                    <a:ext uri="{9D8B030D-6E8A-4147-A177-3AD203B41FA5}">
                      <a16:colId xmlns:a16="http://schemas.microsoft.com/office/drawing/2014/main" val="869592967"/>
                    </a:ext>
                  </a:extLst>
                </a:gridCol>
                <a:gridCol w="2362200">
                  <a:extLst>
                    <a:ext uri="{9D8B030D-6E8A-4147-A177-3AD203B41FA5}">
                      <a16:colId xmlns:a16="http://schemas.microsoft.com/office/drawing/2014/main" val="3342024457"/>
                    </a:ext>
                  </a:extLst>
                </a:gridCol>
              </a:tblGrid>
              <a:tr h="4351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t>Step Name</a:t>
                      </a:r>
                    </a:p>
                  </a:txBody>
                  <a:tcPr anchor="ctr"/>
                </a:tc>
                <a:tc>
                  <a:txBody>
                    <a:bodyPr/>
                    <a:lstStyle/>
                    <a:p>
                      <a:pPr algn="ctr"/>
                      <a:r>
                        <a:rPr lang="en-US" dirty="0"/>
                        <a:t>VA/NVA</a:t>
                      </a:r>
                    </a:p>
                  </a:txBody>
                  <a:tcPr anchor="ctr"/>
                </a:tc>
                <a:tc>
                  <a:txBody>
                    <a:bodyPr/>
                    <a:lstStyle/>
                    <a:p>
                      <a:pPr algn="ctr"/>
                      <a:r>
                        <a:rPr lang="en-US" dirty="0"/>
                        <a:t>Time Taken</a:t>
                      </a:r>
                    </a:p>
                  </a:txBody>
                  <a:tcPr anchor="ctr"/>
                </a:tc>
                <a:tc>
                  <a:txBody>
                    <a:bodyPr/>
                    <a:lstStyle/>
                    <a:p>
                      <a:pPr algn="ctr"/>
                      <a:r>
                        <a:rPr lang="en-US" dirty="0"/>
                        <a:t>Percent </a:t>
                      </a:r>
                    </a:p>
                  </a:txBody>
                  <a:tcPr anchor="ctr"/>
                </a:tc>
                <a:extLst>
                  <a:ext uri="{0D108BD9-81ED-4DB2-BD59-A6C34878D82A}">
                    <a16:rowId xmlns:a16="http://schemas.microsoft.com/office/drawing/2014/main" val="1992296396"/>
                  </a:ext>
                </a:extLst>
              </a:tr>
              <a:tr h="751164">
                <a:tc>
                  <a:txBody>
                    <a:bodyPr/>
                    <a:lstStyle/>
                    <a:p>
                      <a:pPr algn="ctr"/>
                      <a:r>
                        <a:rPr lang="en-IN" sz="1200" dirty="0"/>
                        <a:t>Seller identifies opportunity (STS1)</a:t>
                      </a:r>
                    </a:p>
                  </a:txBody>
                  <a:tcPr anchor="ctr"/>
                </a:tc>
                <a:tc>
                  <a:txBody>
                    <a:bodyPr/>
                    <a:lstStyle/>
                    <a:p>
                      <a:pPr algn="ctr"/>
                      <a:r>
                        <a:rPr lang="en-IN" sz="1200" dirty="0"/>
                        <a:t>VA</a:t>
                      </a:r>
                      <a:endParaRPr lang="en-US" sz="1200" dirty="0"/>
                    </a:p>
                  </a:txBody>
                  <a:tcPr anchor="ctr"/>
                </a:tc>
                <a:tc>
                  <a:txBody>
                    <a:bodyPr/>
                    <a:lstStyle/>
                    <a:p>
                      <a:pPr algn="ctr"/>
                      <a:r>
                        <a:rPr lang="en-IN" sz="1200" dirty="0"/>
                        <a:t>1.2 days</a:t>
                      </a:r>
                    </a:p>
                  </a:txBody>
                  <a:tcPr anchor="ctr"/>
                </a:tc>
                <a:tc>
                  <a:txBody>
                    <a:bodyPr/>
                    <a:lstStyle/>
                    <a:p>
                      <a:pPr algn="ctr"/>
                      <a:r>
                        <a:rPr lang="en-IN" sz="1200" dirty="0"/>
                        <a:t>10%</a:t>
                      </a:r>
                    </a:p>
                  </a:txBody>
                  <a:tcPr anchor="ctr"/>
                </a:tc>
                <a:extLst>
                  <a:ext uri="{0D108BD9-81ED-4DB2-BD59-A6C34878D82A}">
                    <a16:rowId xmlns:a16="http://schemas.microsoft.com/office/drawing/2014/main" val="2546932266"/>
                  </a:ext>
                </a:extLst>
              </a:tr>
              <a:tr h="751164">
                <a:tc>
                  <a:txBody>
                    <a:bodyPr/>
                    <a:lstStyle/>
                    <a:p>
                      <a:pPr algn="ctr"/>
                      <a:r>
                        <a:rPr lang="en-IN" sz="1200" dirty="0"/>
                        <a:t>Request accessed by BSS (ZQT2)</a:t>
                      </a:r>
                    </a:p>
                  </a:txBody>
                  <a:tcPr anchor="ctr"/>
                </a:tc>
                <a:tc>
                  <a:txBody>
                    <a:bodyPr/>
                    <a:lstStyle/>
                    <a:p>
                      <a:pPr algn="ctr"/>
                      <a:r>
                        <a:rPr lang="en-US" sz="1200" dirty="0"/>
                        <a:t>NVA</a:t>
                      </a:r>
                    </a:p>
                  </a:txBody>
                  <a:tcPr anchor="ctr"/>
                </a:tc>
                <a:tc>
                  <a:txBody>
                    <a:bodyPr/>
                    <a:lstStyle/>
                    <a:p>
                      <a:pPr algn="ctr"/>
                      <a:r>
                        <a:rPr lang="en-IN" sz="1200" dirty="0"/>
                        <a:t>2.3 days</a:t>
                      </a:r>
                    </a:p>
                  </a:txBody>
                  <a:tcPr anchor="ctr"/>
                </a:tc>
                <a:tc>
                  <a:txBody>
                    <a:bodyPr/>
                    <a:lstStyle/>
                    <a:p>
                      <a:pPr algn="ctr"/>
                      <a:r>
                        <a:rPr lang="en-IN" sz="1200" dirty="0"/>
                        <a:t>19%</a:t>
                      </a:r>
                    </a:p>
                  </a:txBody>
                  <a:tcPr anchor="ctr"/>
                </a:tc>
                <a:extLst>
                  <a:ext uri="{0D108BD9-81ED-4DB2-BD59-A6C34878D82A}">
                    <a16:rowId xmlns:a16="http://schemas.microsoft.com/office/drawing/2014/main" val="984046123"/>
                  </a:ext>
                </a:extLst>
              </a:tr>
              <a:tr h="435198">
                <a:tc>
                  <a:txBody>
                    <a:bodyPr/>
                    <a:lstStyle/>
                    <a:p>
                      <a:pPr algn="ctr"/>
                      <a:r>
                        <a:rPr lang="en-IN" sz="1200" dirty="0"/>
                        <a:t>BSS checks information (ZQT3)</a:t>
                      </a:r>
                    </a:p>
                  </a:txBody>
                  <a:tcPr anchor="ctr"/>
                </a:tc>
                <a:tc>
                  <a:txBody>
                    <a:bodyPr/>
                    <a:lstStyle/>
                    <a:p>
                      <a:pPr algn="ctr"/>
                      <a:r>
                        <a:rPr lang="en-US" sz="1200" dirty="0"/>
                        <a:t>NVA</a:t>
                      </a:r>
                    </a:p>
                  </a:txBody>
                  <a:tcPr anchor="ctr"/>
                </a:tc>
                <a:tc>
                  <a:txBody>
                    <a:bodyPr/>
                    <a:lstStyle/>
                    <a:p>
                      <a:pPr algn="ctr"/>
                      <a:r>
                        <a:rPr lang="en-IN" sz="1200" dirty="0"/>
                        <a:t>1.5 days</a:t>
                      </a:r>
                    </a:p>
                  </a:txBody>
                  <a:tcPr anchor="ctr"/>
                </a:tc>
                <a:tc>
                  <a:txBody>
                    <a:bodyPr/>
                    <a:lstStyle/>
                    <a:p>
                      <a:pPr algn="ctr"/>
                      <a:r>
                        <a:rPr lang="en-IN" sz="1200" dirty="0"/>
                        <a:t>12%</a:t>
                      </a:r>
                    </a:p>
                  </a:txBody>
                  <a:tcPr anchor="ctr"/>
                </a:tc>
                <a:extLst>
                  <a:ext uri="{0D108BD9-81ED-4DB2-BD59-A6C34878D82A}">
                    <a16:rowId xmlns:a16="http://schemas.microsoft.com/office/drawing/2014/main" val="1387976290"/>
                  </a:ext>
                </a:extLst>
              </a:tr>
              <a:tr h="435198">
                <a:tc>
                  <a:txBody>
                    <a:bodyPr/>
                    <a:lstStyle/>
                    <a:p>
                      <a:pPr algn="ctr"/>
                      <a:r>
                        <a:rPr lang="en-IN" sz="1200" dirty="0"/>
                        <a:t>BSS reviews with Proposal Manager (ZQT4)</a:t>
                      </a:r>
                    </a:p>
                  </a:txBody>
                  <a:tcPr anchor="ctr"/>
                </a:tc>
                <a:tc>
                  <a:txBody>
                    <a:bodyPr/>
                    <a:lstStyle/>
                    <a:p>
                      <a:pPr algn="ctr"/>
                      <a:r>
                        <a:rPr lang="en-US" sz="1200" dirty="0"/>
                        <a:t>VA</a:t>
                      </a:r>
                    </a:p>
                  </a:txBody>
                  <a:tcPr anchor="ctr"/>
                </a:tc>
                <a:tc>
                  <a:txBody>
                    <a:bodyPr/>
                    <a:lstStyle/>
                    <a:p>
                      <a:pPr algn="ctr"/>
                      <a:r>
                        <a:rPr lang="en-IN" sz="1200" dirty="0"/>
                        <a:t>1.0 days</a:t>
                      </a:r>
                    </a:p>
                  </a:txBody>
                  <a:tcPr anchor="ctr"/>
                </a:tc>
                <a:tc>
                  <a:txBody>
                    <a:bodyPr/>
                    <a:lstStyle/>
                    <a:p>
                      <a:pPr algn="ctr"/>
                      <a:r>
                        <a:rPr lang="en-IN" sz="1200" dirty="0"/>
                        <a:t>8%</a:t>
                      </a:r>
                    </a:p>
                  </a:txBody>
                  <a:tcPr anchor="ctr"/>
                </a:tc>
                <a:extLst>
                  <a:ext uri="{0D108BD9-81ED-4DB2-BD59-A6C34878D82A}">
                    <a16:rowId xmlns:a16="http://schemas.microsoft.com/office/drawing/2014/main" val="1382118156"/>
                  </a:ext>
                </a:extLst>
              </a:tr>
              <a:tr h="435198">
                <a:tc>
                  <a:txBody>
                    <a:bodyPr/>
                    <a:lstStyle/>
                    <a:p>
                      <a:pPr algn="ctr"/>
                      <a:r>
                        <a:rPr lang="en-IN" sz="1200" dirty="0"/>
                        <a:t>Configuration by Product Design (ZQT5)</a:t>
                      </a:r>
                    </a:p>
                  </a:txBody>
                  <a:tcPr anchor="ctr"/>
                </a:tc>
                <a:tc>
                  <a:txBody>
                    <a:bodyPr/>
                    <a:lstStyle/>
                    <a:p>
                      <a:pPr algn="ctr"/>
                      <a:r>
                        <a:rPr lang="en-US" sz="1200" dirty="0"/>
                        <a:t>VA</a:t>
                      </a:r>
                    </a:p>
                  </a:txBody>
                  <a:tcPr anchor="ctr"/>
                </a:tc>
                <a:tc>
                  <a:txBody>
                    <a:bodyPr/>
                    <a:lstStyle/>
                    <a:p>
                      <a:pPr algn="ctr"/>
                      <a:r>
                        <a:rPr lang="en-IN" sz="1200" dirty="0"/>
                        <a:t>3.2 days</a:t>
                      </a:r>
                    </a:p>
                  </a:txBody>
                  <a:tcPr anchor="ctr"/>
                </a:tc>
                <a:tc>
                  <a:txBody>
                    <a:bodyPr/>
                    <a:lstStyle/>
                    <a:p>
                      <a:pPr algn="ctr"/>
                      <a:r>
                        <a:rPr lang="en-IN" sz="1200" dirty="0"/>
                        <a:t>27%</a:t>
                      </a:r>
                    </a:p>
                  </a:txBody>
                  <a:tcPr anchor="ctr"/>
                </a:tc>
                <a:extLst>
                  <a:ext uri="{0D108BD9-81ED-4DB2-BD59-A6C34878D82A}">
                    <a16:rowId xmlns:a16="http://schemas.microsoft.com/office/drawing/2014/main" val="4042763851"/>
                  </a:ext>
                </a:extLst>
              </a:tr>
              <a:tr h="435198">
                <a:tc>
                  <a:txBody>
                    <a:bodyPr/>
                    <a:lstStyle/>
                    <a:p>
                      <a:pPr algn="ctr"/>
                      <a:r>
                        <a:rPr lang="en-IN" sz="1200" dirty="0"/>
                        <a:t>Configuration reviewed by BSS (ZQT6)</a:t>
                      </a:r>
                    </a:p>
                  </a:txBody>
                  <a:tcPr anchor="ctr"/>
                </a:tc>
                <a:tc>
                  <a:txBody>
                    <a:bodyPr/>
                    <a:lstStyle/>
                    <a:p>
                      <a:pPr algn="ctr"/>
                      <a:r>
                        <a:rPr lang="en-US" sz="1200" dirty="0"/>
                        <a:t>NVA</a:t>
                      </a:r>
                    </a:p>
                  </a:txBody>
                  <a:tcPr anchor="ctr"/>
                </a:tc>
                <a:tc>
                  <a:txBody>
                    <a:bodyPr/>
                    <a:lstStyle/>
                    <a:p>
                      <a:pPr algn="ctr"/>
                      <a:r>
                        <a:rPr lang="en-IN" sz="1200" dirty="0"/>
                        <a:t>1.8 days</a:t>
                      </a:r>
                    </a:p>
                  </a:txBody>
                  <a:tcPr anchor="ctr"/>
                </a:tc>
                <a:tc>
                  <a:txBody>
                    <a:bodyPr/>
                    <a:lstStyle/>
                    <a:p>
                      <a:pPr algn="ctr"/>
                      <a:r>
                        <a:rPr lang="en-IN" sz="1200" dirty="0"/>
                        <a:t>15%</a:t>
                      </a:r>
                    </a:p>
                  </a:txBody>
                  <a:tcPr anchor="ctr"/>
                </a:tc>
                <a:extLst>
                  <a:ext uri="{0D108BD9-81ED-4DB2-BD59-A6C34878D82A}">
                    <a16:rowId xmlns:a16="http://schemas.microsoft.com/office/drawing/2014/main" val="959200532"/>
                  </a:ext>
                </a:extLst>
              </a:tr>
              <a:tr h="435198">
                <a:tc>
                  <a:txBody>
                    <a:bodyPr/>
                    <a:lstStyle/>
                    <a:p>
                      <a:pPr algn="ctr"/>
                      <a:r>
                        <a:rPr lang="en-IN" sz="1200" dirty="0"/>
                        <a:t>Seller approves configuration (ZQT7)</a:t>
                      </a:r>
                    </a:p>
                  </a:txBody>
                  <a:tcPr anchor="ctr"/>
                </a:tc>
                <a:tc>
                  <a:txBody>
                    <a:bodyPr/>
                    <a:lstStyle/>
                    <a:p>
                      <a:pPr algn="ctr"/>
                      <a:r>
                        <a:rPr lang="en-US" sz="1200" dirty="0"/>
                        <a:t>VA</a:t>
                      </a:r>
                    </a:p>
                  </a:txBody>
                  <a:tcPr anchor="ctr"/>
                </a:tc>
                <a:tc>
                  <a:txBody>
                    <a:bodyPr/>
                    <a:lstStyle/>
                    <a:p>
                      <a:pPr algn="ctr"/>
                      <a:r>
                        <a:rPr lang="en-IN" sz="1200" dirty="0"/>
                        <a:t>0.8 days</a:t>
                      </a:r>
                    </a:p>
                  </a:txBody>
                  <a:tcPr anchor="ctr"/>
                </a:tc>
                <a:tc>
                  <a:txBody>
                    <a:bodyPr/>
                    <a:lstStyle/>
                    <a:p>
                      <a:pPr algn="ctr"/>
                      <a:r>
                        <a:rPr lang="en-IN" sz="1200" dirty="0"/>
                        <a:t>7%</a:t>
                      </a:r>
                    </a:p>
                  </a:txBody>
                  <a:tcPr anchor="ctr"/>
                </a:tc>
                <a:extLst>
                  <a:ext uri="{0D108BD9-81ED-4DB2-BD59-A6C34878D82A}">
                    <a16:rowId xmlns:a16="http://schemas.microsoft.com/office/drawing/2014/main" val="2704070152"/>
                  </a:ext>
                </a:extLst>
              </a:tr>
              <a:tr h="435198">
                <a:tc>
                  <a:txBody>
                    <a:bodyPr/>
                    <a:lstStyle/>
                    <a:p>
                      <a:pPr algn="ctr"/>
                      <a:r>
                        <a:rPr lang="en-IN" sz="1200" dirty="0"/>
                        <a:t>Pricing reviewed and approved (ZQT8)</a:t>
                      </a:r>
                    </a:p>
                  </a:txBody>
                  <a:tcPr anchor="ctr"/>
                </a:tc>
                <a:tc>
                  <a:txBody>
                    <a:bodyPr/>
                    <a:lstStyle/>
                    <a:p>
                      <a:pPr algn="ctr"/>
                      <a:r>
                        <a:rPr lang="en-US" sz="1200" dirty="0"/>
                        <a:t>NVA</a:t>
                      </a:r>
                    </a:p>
                  </a:txBody>
                  <a:tcPr anchor="ctr"/>
                </a:tc>
                <a:tc>
                  <a:txBody>
                    <a:bodyPr/>
                    <a:lstStyle/>
                    <a:p>
                      <a:pPr algn="ctr"/>
                      <a:r>
                        <a:rPr lang="en-IN" sz="1200" dirty="0"/>
                        <a:t>2.0 days</a:t>
                      </a:r>
                    </a:p>
                  </a:txBody>
                  <a:tcPr anchor="ctr"/>
                </a:tc>
                <a:tc>
                  <a:txBody>
                    <a:bodyPr/>
                    <a:lstStyle/>
                    <a:p>
                      <a:pPr algn="ctr"/>
                      <a:r>
                        <a:rPr lang="en-IN" sz="1200" dirty="0"/>
                        <a:t>17%</a:t>
                      </a:r>
                    </a:p>
                  </a:txBody>
                  <a:tcPr anchor="ctr"/>
                </a:tc>
                <a:extLst>
                  <a:ext uri="{0D108BD9-81ED-4DB2-BD59-A6C34878D82A}">
                    <a16:rowId xmlns:a16="http://schemas.microsoft.com/office/drawing/2014/main" val="1294258397"/>
                  </a:ext>
                </a:extLst>
              </a:tr>
              <a:tr h="435198">
                <a:tc>
                  <a:txBody>
                    <a:bodyPr/>
                    <a:lstStyle/>
                    <a:p>
                      <a:pPr algn="ctr"/>
                      <a:r>
                        <a:rPr lang="en-IN" sz="1200" dirty="0"/>
                        <a:t>Final proposal reviewed and submitted (STSX)</a:t>
                      </a:r>
                    </a:p>
                  </a:txBody>
                  <a:tcPr anchor="ctr"/>
                </a:tc>
                <a:tc>
                  <a:txBody>
                    <a:bodyPr/>
                    <a:lstStyle/>
                    <a:p>
                      <a:pPr algn="ctr"/>
                      <a:r>
                        <a:rPr lang="en-US" sz="1200" dirty="0"/>
                        <a:t>VA</a:t>
                      </a:r>
                    </a:p>
                  </a:txBody>
                  <a:tcPr anchor="ctr"/>
                </a:tc>
                <a:tc>
                  <a:txBody>
                    <a:bodyPr/>
                    <a:lstStyle/>
                    <a:p>
                      <a:pPr algn="ctr"/>
                      <a:r>
                        <a:rPr lang="en-IN" sz="1200" dirty="0"/>
                        <a:t>0.5 days</a:t>
                      </a:r>
                    </a:p>
                  </a:txBody>
                  <a:tcPr anchor="ctr"/>
                </a:tc>
                <a:tc>
                  <a:txBody>
                    <a:bodyPr/>
                    <a:lstStyle/>
                    <a:p>
                      <a:pPr algn="ctr"/>
                      <a:r>
                        <a:rPr lang="en-IN" sz="1200" dirty="0"/>
                        <a:t>4%</a:t>
                      </a:r>
                    </a:p>
                  </a:txBody>
                  <a:tcPr anchor="ctr"/>
                </a:tc>
                <a:extLst>
                  <a:ext uri="{0D108BD9-81ED-4DB2-BD59-A6C34878D82A}">
                    <a16:rowId xmlns:a16="http://schemas.microsoft.com/office/drawing/2014/main" val="46999076"/>
                  </a:ext>
                </a:extLst>
              </a:tr>
            </a:tbl>
          </a:graphicData>
        </a:graphic>
      </p:graphicFrame>
      <p:sp>
        <p:nvSpPr>
          <p:cNvPr id="3" name="Slide Number Placeholder 2"/>
          <p:cNvSpPr>
            <a:spLocks noGrp="1"/>
          </p:cNvSpPr>
          <p:nvPr>
            <p:ph type="sldNum" sz="quarter" idx="12"/>
          </p:nvPr>
        </p:nvSpPr>
        <p:spPr>
          <a:xfrm>
            <a:off x="11648768" y="6415934"/>
            <a:ext cx="533400" cy="365125"/>
          </a:xfrm>
        </p:spPr>
        <p:txBody>
          <a:bodyPr/>
          <a:lstStyle/>
          <a:p>
            <a:fld id="{B4792231-69F4-4F9D-9049-A1DDF7DEBE79}" type="slidenum">
              <a:rPr lang="en-US" smtClean="0"/>
              <a:t>19</a:t>
            </a:fld>
            <a:endParaRPr lang="en-US" dirty="0"/>
          </a:p>
        </p:txBody>
      </p:sp>
    </p:spTree>
    <p:extLst>
      <p:ext uri="{BB962C8B-B14F-4D97-AF65-F5344CB8AC3E}">
        <p14:creationId xmlns:p14="http://schemas.microsoft.com/office/powerpoint/2010/main" val="58652796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648DFD-E7E6-2623-FEDD-DDDE4655F55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7DF5272-622B-94F8-9E4E-40E9559F6FB2}"/>
              </a:ext>
            </a:extLst>
          </p:cNvPr>
          <p:cNvSpPr>
            <a:spLocks noGrp="1"/>
          </p:cNvSpPr>
          <p:nvPr>
            <p:ph type="title"/>
          </p:nvPr>
        </p:nvSpPr>
        <p:spPr>
          <a:xfrm>
            <a:off x="533400" y="116277"/>
            <a:ext cx="10591800" cy="731520"/>
          </a:xfrm>
        </p:spPr>
        <p:txBody>
          <a:bodyPr/>
          <a:lstStyle/>
          <a:p>
            <a:r>
              <a:rPr lang="en-US" sz="2800" dirty="0">
                <a:solidFill>
                  <a:schemeClr val="accent1">
                    <a:lumMod val="50000"/>
                  </a:schemeClr>
                </a:solidFill>
              </a:rPr>
              <a:t>Table of Content</a:t>
            </a:r>
          </a:p>
        </p:txBody>
      </p:sp>
      <p:cxnSp>
        <p:nvCxnSpPr>
          <p:cNvPr id="6" name="Straight Connector 5">
            <a:extLst>
              <a:ext uri="{FF2B5EF4-FFF2-40B4-BE49-F238E27FC236}">
                <a16:creationId xmlns:a16="http://schemas.microsoft.com/office/drawing/2014/main" id="{889397B6-DF0E-80D2-A344-7F00577BAA68}"/>
              </a:ext>
            </a:extLst>
          </p:cNvPr>
          <p:cNvCxnSpPr/>
          <p:nvPr/>
        </p:nvCxnSpPr>
        <p:spPr>
          <a:xfrm>
            <a:off x="1600200" y="6553200"/>
            <a:ext cx="8892208" cy="0"/>
          </a:xfrm>
          <a:prstGeom prst="line">
            <a:avLst/>
          </a:prstGeom>
          <a:ln w="38100"/>
        </p:spPr>
        <p:style>
          <a:lnRef idx="3">
            <a:schemeClr val="accent5"/>
          </a:lnRef>
          <a:fillRef idx="0">
            <a:schemeClr val="accent5"/>
          </a:fillRef>
          <a:effectRef idx="2">
            <a:schemeClr val="accent5"/>
          </a:effectRef>
          <a:fontRef idx="minor">
            <a:schemeClr val="tx1"/>
          </a:fontRef>
        </p:style>
      </p:cxnSp>
      <p:graphicFrame>
        <p:nvGraphicFramePr>
          <p:cNvPr id="3" name="Table 2">
            <a:extLst>
              <a:ext uri="{FF2B5EF4-FFF2-40B4-BE49-F238E27FC236}">
                <a16:creationId xmlns:a16="http://schemas.microsoft.com/office/drawing/2014/main" id="{52282DE9-9738-79B7-FE43-67266196E153}"/>
              </a:ext>
            </a:extLst>
          </p:cNvPr>
          <p:cNvGraphicFramePr>
            <a:graphicFrameLocks noGrp="1"/>
          </p:cNvGraphicFramePr>
          <p:nvPr>
            <p:extLst>
              <p:ext uri="{D42A27DB-BD31-4B8C-83A1-F6EECF244321}">
                <p14:modId xmlns:p14="http://schemas.microsoft.com/office/powerpoint/2010/main" val="3758013752"/>
              </p:ext>
            </p:extLst>
          </p:nvPr>
        </p:nvGraphicFramePr>
        <p:xfrm>
          <a:off x="685800" y="1295400"/>
          <a:ext cx="4343400" cy="4362593"/>
        </p:xfrm>
        <a:graphic>
          <a:graphicData uri="http://schemas.openxmlformats.org/drawingml/2006/table">
            <a:tbl>
              <a:tblPr firstRow="1" bandRow="1">
                <a:tableStyleId>{5C22544A-7EE6-4342-B048-85BDC9FD1C3A}</a:tableStyleId>
              </a:tblPr>
              <a:tblGrid>
                <a:gridCol w="4343400">
                  <a:extLst>
                    <a:ext uri="{9D8B030D-6E8A-4147-A177-3AD203B41FA5}">
                      <a16:colId xmlns:a16="http://schemas.microsoft.com/office/drawing/2014/main" val="1339312777"/>
                    </a:ext>
                  </a:extLst>
                </a:gridCol>
              </a:tblGrid>
              <a:tr h="728733">
                <a:tc>
                  <a:txBody>
                    <a:bodyPr/>
                    <a:lstStyle/>
                    <a:p>
                      <a:r>
                        <a:rPr lang="en-US" b="0" dirty="0">
                          <a:solidFill>
                            <a:schemeClr val="accent2">
                              <a:lumMod val="50000"/>
                            </a:schemeClr>
                          </a:solidFill>
                        </a:rPr>
                        <a:t>Company Overview and Situation</a:t>
                      </a:r>
                    </a:p>
                  </a:txBody>
                  <a:tcPr>
                    <a:solidFill>
                      <a:schemeClr val="bg1">
                        <a:lumMod val="95000"/>
                      </a:schemeClr>
                    </a:solidFill>
                  </a:tcPr>
                </a:tc>
                <a:extLst>
                  <a:ext uri="{0D108BD9-81ED-4DB2-BD59-A6C34878D82A}">
                    <a16:rowId xmlns:a16="http://schemas.microsoft.com/office/drawing/2014/main" val="2336565408"/>
                  </a:ext>
                </a:extLst>
              </a:tr>
              <a:tr h="726772">
                <a:tc>
                  <a:txBody>
                    <a:bodyPr/>
                    <a:lstStyle/>
                    <a:p>
                      <a:r>
                        <a:rPr lang="en-US" b="0" dirty="0">
                          <a:solidFill>
                            <a:schemeClr val="accent2">
                              <a:lumMod val="50000"/>
                            </a:schemeClr>
                          </a:solidFill>
                        </a:rPr>
                        <a:t>Project Charter</a:t>
                      </a:r>
                    </a:p>
                  </a:txBody>
                  <a:tcPr>
                    <a:solidFill>
                      <a:schemeClr val="bg1">
                        <a:lumMod val="95000"/>
                      </a:schemeClr>
                    </a:solidFill>
                  </a:tcPr>
                </a:tc>
                <a:extLst>
                  <a:ext uri="{0D108BD9-81ED-4DB2-BD59-A6C34878D82A}">
                    <a16:rowId xmlns:a16="http://schemas.microsoft.com/office/drawing/2014/main" val="11288662"/>
                  </a:ext>
                </a:extLst>
              </a:tr>
              <a:tr h="726772">
                <a:tc>
                  <a:txBody>
                    <a:bodyPr/>
                    <a:lstStyle/>
                    <a:p>
                      <a:r>
                        <a:rPr lang="en-US" b="0" dirty="0">
                          <a:solidFill>
                            <a:schemeClr val="accent2">
                              <a:lumMod val="50000"/>
                            </a:schemeClr>
                          </a:solidFill>
                        </a:rPr>
                        <a:t>Process Map</a:t>
                      </a:r>
                    </a:p>
                  </a:txBody>
                  <a:tcPr>
                    <a:solidFill>
                      <a:schemeClr val="bg1">
                        <a:lumMod val="95000"/>
                      </a:schemeClr>
                    </a:solidFill>
                  </a:tcPr>
                </a:tc>
                <a:extLst>
                  <a:ext uri="{0D108BD9-81ED-4DB2-BD59-A6C34878D82A}">
                    <a16:rowId xmlns:a16="http://schemas.microsoft.com/office/drawing/2014/main" val="226091422"/>
                  </a:ext>
                </a:extLst>
              </a:tr>
              <a:tr h="726772">
                <a:tc>
                  <a:txBody>
                    <a:bodyPr/>
                    <a:lstStyle/>
                    <a:p>
                      <a:r>
                        <a:rPr lang="en-US" b="0" dirty="0">
                          <a:solidFill>
                            <a:schemeClr val="accent2">
                              <a:lumMod val="50000"/>
                            </a:schemeClr>
                          </a:solidFill>
                        </a:rPr>
                        <a:t>Quantitative Analysis</a:t>
                      </a:r>
                    </a:p>
                  </a:txBody>
                  <a:tcPr>
                    <a:solidFill>
                      <a:schemeClr val="bg1">
                        <a:lumMod val="95000"/>
                      </a:schemeClr>
                    </a:solidFill>
                  </a:tcPr>
                </a:tc>
                <a:extLst>
                  <a:ext uri="{0D108BD9-81ED-4DB2-BD59-A6C34878D82A}">
                    <a16:rowId xmlns:a16="http://schemas.microsoft.com/office/drawing/2014/main" val="1644488860"/>
                  </a:ext>
                </a:extLst>
              </a:tr>
              <a:tr h="726772">
                <a:tc>
                  <a:txBody>
                    <a:bodyPr/>
                    <a:lstStyle/>
                    <a:p>
                      <a:r>
                        <a:rPr lang="en-US" b="0" dirty="0">
                          <a:solidFill>
                            <a:schemeClr val="accent2">
                              <a:lumMod val="50000"/>
                            </a:schemeClr>
                          </a:solidFill>
                        </a:rPr>
                        <a:t>Qualitative Analysis</a:t>
                      </a:r>
                    </a:p>
                  </a:txBody>
                  <a:tcPr>
                    <a:solidFill>
                      <a:schemeClr val="bg1">
                        <a:lumMod val="95000"/>
                      </a:schemeClr>
                    </a:solidFill>
                  </a:tcPr>
                </a:tc>
                <a:extLst>
                  <a:ext uri="{0D108BD9-81ED-4DB2-BD59-A6C34878D82A}">
                    <a16:rowId xmlns:a16="http://schemas.microsoft.com/office/drawing/2014/main" val="1790853836"/>
                  </a:ext>
                </a:extLst>
              </a:tr>
              <a:tr h="726772">
                <a:tc>
                  <a:txBody>
                    <a:bodyPr/>
                    <a:lstStyle/>
                    <a:p>
                      <a:r>
                        <a:rPr lang="en-US" b="0" dirty="0">
                          <a:solidFill>
                            <a:schemeClr val="accent2">
                              <a:lumMod val="50000"/>
                            </a:schemeClr>
                          </a:solidFill>
                        </a:rPr>
                        <a:t>Recommendations</a:t>
                      </a:r>
                    </a:p>
                  </a:txBody>
                  <a:tcPr>
                    <a:solidFill>
                      <a:schemeClr val="bg1">
                        <a:lumMod val="95000"/>
                      </a:schemeClr>
                    </a:solidFill>
                  </a:tcPr>
                </a:tc>
                <a:extLst>
                  <a:ext uri="{0D108BD9-81ED-4DB2-BD59-A6C34878D82A}">
                    <a16:rowId xmlns:a16="http://schemas.microsoft.com/office/drawing/2014/main" val="3675690533"/>
                  </a:ext>
                </a:extLst>
              </a:tr>
            </a:tbl>
          </a:graphicData>
        </a:graphic>
      </p:graphicFrame>
      <p:sp>
        <p:nvSpPr>
          <p:cNvPr id="4" name="Slide Number Placeholder 3"/>
          <p:cNvSpPr>
            <a:spLocks noGrp="1"/>
          </p:cNvSpPr>
          <p:nvPr>
            <p:ph type="sldNum" sz="quarter" idx="12"/>
          </p:nvPr>
        </p:nvSpPr>
        <p:spPr>
          <a:xfrm>
            <a:off x="11690555" y="6370637"/>
            <a:ext cx="533400" cy="365125"/>
          </a:xfrm>
        </p:spPr>
        <p:txBody>
          <a:bodyPr/>
          <a:lstStyle/>
          <a:p>
            <a:fld id="{B4792231-69F4-4F9D-9049-A1DDF7DEBE79}" type="slidenum">
              <a:rPr lang="en-US" smtClean="0"/>
              <a:t>2</a:t>
            </a:fld>
            <a:endParaRPr lang="en-US" dirty="0" smtClean="0"/>
          </a:p>
          <a:p>
            <a:endParaRPr lang="en-US" dirty="0"/>
          </a:p>
        </p:txBody>
      </p:sp>
    </p:spTree>
    <p:extLst>
      <p:ext uri="{BB962C8B-B14F-4D97-AF65-F5344CB8AC3E}">
        <p14:creationId xmlns:p14="http://schemas.microsoft.com/office/powerpoint/2010/main" val="1106559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0E0466-3029-FBCE-4C85-7AAFFB91792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F759018-B021-C214-48DD-51A81F027D19}"/>
              </a:ext>
            </a:extLst>
          </p:cNvPr>
          <p:cNvSpPr>
            <a:spLocks noGrp="1"/>
          </p:cNvSpPr>
          <p:nvPr>
            <p:ph type="title"/>
          </p:nvPr>
        </p:nvSpPr>
        <p:spPr>
          <a:xfrm>
            <a:off x="533400" y="211511"/>
            <a:ext cx="10160065" cy="731520"/>
          </a:xfrm>
        </p:spPr>
        <p:txBody>
          <a:bodyPr/>
          <a:lstStyle/>
          <a:p>
            <a:r>
              <a:rPr lang="en-US" sz="2800" dirty="0" smtClean="0">
                <a:solidFill>
                  <a:schemeClr val="accent1">
                    <a:lumMod val="50000"/>
                  </a:schemeClr>
                </a:solidFill>
              </a:rPr>
              <a:t>Predicting Modelling &amp; Sentiment Analysis for Proposal Cycle Time Optimization</a:t>
            </a:r>
            <a:endParaRPr lang="en-US" sz="2800" dirty="0">
              <a:solidFill>
                <a:schemeClr val="accent1">
                  <a:lumMod val="50000"/>
                </a:schemeClr>
              </a:solidFill>
            </a:endParaRPr>
          </a:p>
        </p:txBody>
      </p:sp>
      <p:cxnSp>
        <p:nvCxnSpPr>
          <p:cNvPr id="6" name="Straight Connector 5">
            <a:extLst>
              <a:ext uri="{FF2B5EF4-FFF2-40B4-BE49-F238E27FC236}">
                <a16:creationId xmlns:a16="http://schemas.microsoft.com/office/drawing/2014/main" id="{61E4E72E-F0D6-73E3-1501-5D720A91F0DC}"/>
              </a:ext>
            </a:extLst>
          </p:cNvPr>
          <p:cNvCxnSpPr/>
          <p:nvPr/>
        </p:nvCxnSpPr>
        <p:spPr>
          <a:xfrm>
            <a:off x="1600200" y="6553200"/>
            <a:ext cx="8892208" cy="0"/>
          </a:xfrm>
          <a:prstGeom prst="line">
            <a:avLst/>
          </a:prstGeom>
          <a:ln w="38100"/>
        </p:spPr>
        <p:style>
          <a:lnRef idx="3">
            <a:schemeClr val="accent5"/>
          </a:lnRef>
          <a:fillRef idx="0">
            <a:schemeClr val="accent5"/>
          </a:fillRef>
          <a:effectRef idx="2">
            <a:schemeClr val="accent5"/>
          </a:effectRef>
          <a:fontRef idx="minor">
            <a:schemeClr val="tx1"/>
          </a:fontRef>
        </p:style>
      </p:cxnSp>
      <p:sp>
        <p:nvSpPr>
          <p:cNvPr id="3" name="Rectangle 2">
            <a:extLst>
              <a:ext uri="{FF2B5EF4-FFF2-40B4-BE49-F238E27FC236}">
                <a16:creationId xmlns:a16="http://schemas.microsoft.com/office/drawing/2014/main" id="{2C68040F-1048-1DBB-C066-2BBC2FB2AB49}"/>
              </a:ext>
            </a:extLst>
          </p:cNvPr>
          <p:cNvSpPr/>
          <p:nvPr/>
        </p:nvSpPr>
        <p:spPr>
          <a:xfrm>
            <a:off x="3962400" y="3894655"/>
            <a:ext cx="7367622" cy="213359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algn="just">
              <a:lnSpc>
                <a:spcPct val="107000"/>
              </a:lnSpc>
              <a:spcBef>
                <a:spcPts val="0"/>
              </a:spcBef>
              <a:spcAft>
                <a:spcPts val="800"/>
              </a:spcAft>
            </a:pPr>
            <a:endParaRPr lang="en-US" sz="1800" dirty="0">
              <a:solidFill>
                <a:schemeClr val="tx1">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solidFill>
                <a:schemeClr val="tx1">
                  <a:lumMod val="75000"/>
                  <a:lumOff val="25000"/>
                </a:schemeClr>
              </a:solidFill>
            </a:endParaRPr>
          </a:p>
        </p:txBody>
      </p:sp>
      <p:sp>
        <p:nvSpPr>
          <p:cNvPr id="7" name="Rectangle 6">
            <a:extLst>
              <a:ext uri="{FF2B5EF4-FFF2-40B4-BE49-F238E27FC236}">
                <a16:creationId xmlns:a16="http://schemas.microsoft.com/office/drawing/2014/main" id="{DE516A2C-1E9F-0C42-1E36-8C20257F966F}"/>
              </a:ext>
            </a:extLst>
          </p:cNvPr>
          <p:cNvSpPr/>
          <p:nvPr/>
        </p:nvSpPr>
        <p:spPr>
          <a:xfrm>
            <a:off x="1066800" y="1228131"/>
            <a:ext cx="9753600" cy="243839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bg1"/>
                </a:solidFill>
              </a:rPr>
              <a:t>Predicting Proposal Cycle Time:</a:t>
            </a:r>
          </a:p>
          <a:p>
            <a:pPr algn="ctr">
              <a:spcBef>
                <a:spcPts val="300"/>
              </a:spcBef>
              <a:spcAft>
                <a:spcPts val="300"/>
              </a:spcAft>
            </a:pPr>
            <a:r>
              <a:rPr lang="en-US" sz="1400" dirty="0">
                <a:solidFill>
                  <a:schemeClr val="bg1"/>
                </a:solidFill>
              </a:rPr>
              <a:t>Various perceptible features, like vendor experience, bidding sophistication, categories of feedback, and time stamps of every phase in the process phase, such as delivery time, offer sufficient information to develop a prediction model. Regression models, in some instances regression section experts called linear regression or random forest, would assist in setting important factors that raise the values of cycle time. In fact, other feature engineering measures (like isolating day-of-week or brand effects) might help improve prediction accuracy. Further, clustering techniques and SMOTE could help combat class imbalance issues during the anticipation of delays beyond the given SLA threshold. </a:t>
            </a:r>
          </a:p>
          <a:p>
            <a:pPr algn="ctr">
              <a:spcBef>
                <a:spcPts val="300"/>
              </a:spcBef>
              <a:spcAft>
                <a:spcPts val="300"/>
              </a:spcAft>
            </a:pPr>
            <a:endParaRPr lang="en-US" sz="1600" dirty="0" err="1">
              <a:solidFill>
                <a:schemeClr val="bg1"/>
              </a:solidFill>
            </a:endParaRPr>
          </a:p>
        </p:txBody>
      </p:sp>
      <p:sp>
        <p:nvSpPr>
          <p:cNvPr id="8" name="Rectangle 7">
            <a:extLst>
              <a:ext uri="{FF2B5EF4-FFF2-40B4-BE49-F238E27FC236}">
                <a16:creationId xmlns:a16="http://schemas.microsoft.com/office/drawing/2014/main" id="{6B26478A-3DA2-5045-447D-B94A926773B2}"/>
              </a:ext>
            </a:extLst>
          </p:cNvPr>
          <p:cNvSpPr/>
          <p:nvPr/>
        </p:nvSpPr>
        <p:spPr>
          <a:xfrm>
            <a:off x="1084006" y="3879865"/>
            <a:ext cx="9753600" cy="243839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algn="ctr">
              <a:lnSpc>
                <a:spcPct val="107000"/>
              </a:lnSpc>
              <a:spcAft>
                <a:spcPts val="800"/>
              </a:spcAft>
            </a:pPr>
            <a:r>
              <a:rPr lang="en-US" sz="1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Text analytics and Seller Sentiments: </a:t>
            </a:r>
          </a:p>
          <a:p>
            <a:pPr algn="ctr">
              <a:spcBef>
                <a:spcPts val="300"/>
              </a:spcBef>
              <a:spcAft>
                <a:spcPts val="300"/>
              </a:spcAft>
            </a:pPr>
            <a:r>
              <a:rPr lang="en-US" sz="1400" dirty="0">
                <a:solidFill>
                  <a:schemeClr val="bg1"/>
                </a:solidFill>
              </a:rPr>
              <a:t>The feedback provided by sellers and BSS for each transaction is summarized. Comment on how you believe Jeff could use the open-text data to extract major, insightful points about seller and BSS attitudes. You do not have to perform the analysis, but you can describe methods to extract knowledge from text-based data. </a:t>
            </a:r>
          </a:p>
          <a:p>
            <a:pPr algn="ctr">
              <a:spcBef>
                <a:spcPts val="300"/>
              </a:spcBef>
              <a:spcAft>
                <a:spcPts val="300"/>
              </a:spcAft>
            </a:pPr>
            <a:endParaRPr lang="en-US" sz="1600" dirty="0" err="1">
              <a:solidFill>
                <a:schemeClr val="bg1"/>
              </a:solidFill>
            </a:endParaRPr>
          </a:p>
        </p:txBody>
      </p:sp>
      <p:sp>
        <p:nvSpPr>
          <p:cNvPr id="4" name="Slide Number Placeholder 3"/>
          <p:cNvSpPr>
            <a:spLocks noGrp="1"/>
          </p:cNvSpPr>
          <p:nvPr>
            <p:ph type="sldNum" sz="quarter" idx="12"/>
          </p:nvPr>
        </p:nvSpPr>
        <p:spPr>
          <a:xfrm>
            <a:off x="11717594" y="6318264"/>
            <a:ext cx="457200" cy="365125"/>
          </a:xfrm>
        </p:spPr>
        <p:txBody>
          <a:bodyPr/>
          <a:lstStyle/>
          <a:p>
            <a:fld id="{B4792231-69F4-4F9D-9049-A1DDF7DEBE79}" type="slidenum">
              <a:rPr lang="en-US" smtClean="0"/>
              <a:t>20</a:t>
            </a:fld>
            <a:endParaRPr lang="en-US" dirty="0"/>
          </a:p>
        </p:txBody>
      </p:sp>
    </p:spTree>
    <p:extLst>
      <p:ext uri="{BB962C8B-B14F-4D97-AF65-F5344CB8AC3E}">
        <p14:creationId xmlns:p14="http://schemas.microsoft.com/office/powerpoint/2010/main" val="199560818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090425-9FF2-F245-FFD7-C161E3A834A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BD47F81-9E43-3674-1E14-569AA55F9174}"/>
              </a:ext>
            </a:extLst>
          </p:cNvPr>
          <p:cNvSpPr>
            <a:spLocks noGrp="1"/>
          </p:cNvSpPr>
          <p:nvPr>
            <p:ph type="title"/>
          </p:nvPr>
        </p:nvSpPr>
        <p:spPr>
          <a:xfrm>
            <a:off x="0" y="0"/>
            <a:ext cx="12192000" cy="6858000"/>
          </a:xfrm>
          <a:solidFill>
            <a:schemeClr val="accent1">
              <a:lumMod val="75000"/>
            </a:schemeClr>
          </a:solidFill>
        </p:spPr>
        <p:txBody>
          <a:bodyPr/>
          <a:lstStyle/>
          <a:p>
            <a:r>
              <a:rPr lang="en-US" dirty="0"/>
              <a:t/>
            </a:r>
            <a:br>
              <a:rPr lang="en-US" dirty="0"/>
            </a:br>
            <a:r>
              <a:rPr lang="en-US" dirty="0"/>
              <a:t/>
            </a:r>
            <a:br>
              <a:rPr lang="en-US" dirty="0"/>
            </a:br>
            <a:r>
              <a:rPr lang="en-US" dirty="0"/>
              <a:t/>
            </a:r>
            <a:br>
              <a:rPr lang="en-US" dirty="0"/>
            </a:br>
            <a:r>
              <a:rPr lang="en-US" dirty="0"/>
              <a:t/>
            </a:r>
            <a:br>
              <a:rPr lang="en-US" dirty="0"/>
            </a:br>
            <a:r>
              <a:rPr lang="en-US" dirty="0"/>
              <a:t/>
            </a:r>
            <a:br>
              <a:rPr lang="en-US" dirty="0"/>
            </a:br>
            <a:r>
              <a:rPr lang="en-US" dirty="0"/>
              <a:t/>
            </a:r>
            <a:br>
              <a:rPr lang="en-US" dirty="0"/>
            </a:br>
            <a:r>
              <a:rPr lang="en-US" dirty="0"/>
              <a:t/>
            </a:r>
            <a:br>
              <a:rPr lang="en-US" dirty="0"/>
            </a:br>
            <a:endParaRPr lang="en-US" dirty="0"/>
          </a:p>
        </p:txBody>
      </p:sp>
      <p:sp>
        <p:nvSpPr>
          <p:cNvPr id="4" name="Slide Number Placeholder 3">
            <a:extLst>
              <a:ext uri="{FF2B5EF4-FFF2-40B4-BE49-F238E27FC236}">
                <a16:creationId xmlns:a16="http://schemas.microsoft.com/office/drawing/2014/main" id="{1B506CCB-6F26-C320-784C-112AE128C196}"/>
              </a:ext>
            </a:extLst>
          </p:cNvPr>
          <p:cNvSpPr>
            <a:spLocks noGrp="1"/>
          </p:cNvSpPr>
          <p:nvPr>
            <p:ph type="sldNum" sz="quarter" idx="12"/>
          </p:nvPr>
        </p:nvSpPr>
        <p:spPr>
          <a:xfrm>
            <a:off x="3886200" y="2819400"/>
            <a:ext cx="5715000" cy="762000"/>
          </a:xfrm>
        </p:spPr>
        <p:txBody>
          <a:bodyPr/>
          <a:lstStyle/>
          <a:p>
            <a:r>
              <a:rPr lang="en-US" sz="4000" b="1" dirty="0">
                <a:solidFill>
                  <a:schemeClr val="bg1"/>
                </a:solidFill>
              </a:rPr>
              <a:t>Recommendations</a:t>
            </a:r>
          </a:p>
        </p:txBody>
      </p:sp>
    </p:spTree>
    <p:extLst>
      <p:ext uri="{BB962C8B-B14F-4D97-AF65-F5344CB8AC3E}">
        <p14:creationId xmlns:p14="http://schemas.microsoft.com/office/powerpoint/2010/main" val="268699876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CD555B-1656-CE2B-A4D2-028AA450B37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1BFFB8C-4B84-874B-F100-F0D5D2828DB1}"/>
              </a:ext>
            </a:extLst>
          </p:cNvPr>
          <p:cNvSpPr>
            <a:spLocks noGrp="1"/>
          </p:cNvSpPr>
          <p:nvPr>
            <p:ph type="title"/>
          </p:nvPr>
        </p:nvSpPr>
        <p:spPr>
          <a:xfrm>
            <a:off x="533400" y="198106"/>
            <a:ext cx="10160065" cy="731520"/>
          </a:xfrm>
        </p:spPr>
        <p:txBody>
          <a:bodyPr/>
          <a:lstStyle/>
          <a:p>
            <a:r>
              <a:rPr lang="en-US" sz="2800" dirty="0">
                <a:solidFill>
                  <a:schemeClr val="accent1">
                    <a:lumMod val="50000"/>
                  </a:schemeClr>
                </a:solidFill>
              </a:rPr>
              <a:t>Optimizing Gentech's Proposal Creation Process: Strategic Recommendations Using McKinsey's 7S Framework </a:t>
            </a:r>
          </a:p>
        </p:txBody>
      </p:sp>
      <p:cxnSp>
        <p:nvCxnSpPr>
          <p:cNvPr id="6" name="Straight Connector 5">
            <a:extLst>
              <a:ext uri="{FF2B5EF4-FFF2-40B4-BE49-F238E27FC236}">
                <a16:creationId xmlns:a16="http://schemas.microsoft.com/office/drawing/2014/main" id="{3736870D-1CB0-D229-85BD-BF7A134D6977}"/>
              </a:ext>
            </a:extLst>
          </p:cNvPr>
          <p:cNvCxnSpPr/>
          <p:nvPr/>
        </p:nvCxnSpPr>
        <p:spPr>
          <a:xfrm>
            <a:off x="1600200" y="6553200"/>
            <a:ext cx="8892208" cy="0"/>
          </a:xfrm>
          <a:prstGeom prst="line">
            <a:avLst/>
          </a:prstGeom>
          <a:ln w="38100"/>
        </p:spPr>
        <p:style>
          <a:lnRef idx="3">
            <a:schemeClr val="accent5"/>
          </a:lnRef>
          <a:fillRef idx="0">
            <a:schemeClr val="accent5"/>
          </a:fillRef>
          <a:effectRef idx="2">
            <a:schemeClr val="accent5"/>
          </a:effectRef>
          <a:fontRef idx="minor">
            <a:schemeClr val="tx1"/>
          </a:fontRef>
        </p:style>
      </p:cxnSp>
      <p:graphicFrame>
        <p:nvGraphicFramePr>
          <p:cNvPr id="5" name="Table 4">
            <a:extLst>
              <a:ext uri="{FF2B5EF4-FFF2-40B4-BE49-F238E27FC236}">
                <a16:creationId xmlns:a16="http://schemas.microsoft.com/office/drawing/2014/main" id="{A1869EE8-701E-702B-AE83-BE648AD9CA07}"/>
              </a:ext>
            </a:extLst>
          </p:cNvPr>
          <p:cNvGraphicFramePr>
            <a:graphicFrameLocks noGrp="1"/>
          </p:cNvGraphicFramePr>
          <p:nvPr>
            <p:extLst>
              <p:ext uri="{D42A27DB-BD31-4B8C-83A1-F6EECF244321}">
                <p14:modId xmlns:p14="http://schemas.microsoft.com/office/powerpoint/2010/main" val="344760591"/>
              </p:ext>
            </p:extLst>
          </p:nvPr>
        </p:nvGraphicFramePr>
        <p:xfrm>
          <a:off x="533399" y="1042022"/>
          <a:ext cx="11125201" cy="5130177"/>
        </p:xfrm>
        <a:graphic>
          <a:graphicData uri="http://schemas.openxmlformats.org/drawingml/2006/table">
            <a:tbl>
              <a:tblPr firstRow="1" bandRow="1">
                <a:tableStyleId>{5C22544A-7EE6-4342-B048-85BDC9FD1C3A}</a:tableStyleId>
              </a:tblPr>
              <a:tblGrid>
                <a:gridCol w="1329289">
                  <a:extLst>
                    <a:ext uri="{9D8B030D-6E8A-4147-A177-3AD203B41FA5}">
                      <a16:colId xmlns:a16="http://schemas.microsoft.com/office/drawing/2014/main" val="3960333301"/>
                    </a:ext>
                  </a:extLst>
                </a:gridCol>
                <a:gridCol w="2467119">
                  <a:extLst>
                    <a:ext uri="{9D8B030D-6E8A-4147-A177-3AD203B41FA5}">
                      <a16:colId xmlns:a16="http://schemas.microsoft.com/office/drawing/2014/main" val="1095466347"/>
                    </a:ext>
                  </a:extLst>
                </a:gridCol>
                <a:gridCol w="2902492">
                  <a:extLst>
                    <a:ext uri="{9D8B030D-6E8A-4147-A177-3AD203B41FA5}">
                      <a16:colId xmlns:a16="http://schemas.microsoft.com/office/drawing/2014/main" val="998597639"/>
                    </a:ext>
                  </a:extLst>
                </a:gridCol>
                <a:gridCol w="4426301">
                  <a:extLst>
                    <a:ext uri="{9D8B030D-6E8A-4147-A177-3AD203B41FA5}">
                      <a16:colId xmlns:a16="http://schemas.microsoft.com/office/drawing/2014/main" val="2380221408"/>
                    </a:ext>
                  </a:extLst>
                </a:gridCol>
              </a:tblGrid>
              <a:tr h="651331">
                <a:tc>
                  <a:txBody>
                    <a:bodyPr/>
                    <a:lstStyle/>
                    <a:p>
                      <a:pPr algn="ctr"/>
                      <a:r>
                        <a:rPr lang="en-US" sz="1800"/>
                        <a:t>7S Element</a:t>
                      </a:r>
                      <a:endParaRPr lang="en-US" sz="1800" dirty="0"/>
                    </a:p>
                  </a:txBody>
                  <a:tcPr anchor="ctr"/>
                </a:tc>
                <a:tc>
                  <a:txBody>
                    <a:bodyPr/>
                    <a:lstStyle/>
                    <a:p>
                      <a:pPr algn="ctr"/>
                      <a:r>
                        <a:rPr lang="en-US" sz="1800" dirty="0"/>
                        <a:t>Issue</a:t>
                      </a:r>
                    </a:p>
                  </a:txBody>
                  <a:tcPr anchor="ctr"/>
                </a:tc>
                <a:tc>
                  <a:txBody>
                    <a:bodyPr/>
                    <a:lstStyle/>
                    <a:p>
                      <a:pPr algn="ctr"/>
                      <a:r>
                        <a:rPr lang="en-US" sz="1800" dirty="0"/>
                        <a:t>Recommendation</a:t>
                      </a:r>
                    </a:p>
                  </a:txBody>
                  <a:tcPr anchor="ctr"/>
                </a:tc>
                <a:tc>
                  <a:txBody>
                    <a:bodyPr/>
                    <a:lstStyle/>
                    <a:p>
                      <a:pPr algn="ctr"/>
                      <a:r>
                        <a:rPr lang="en-US" sz="1800" dirty="0"/>
                        <a:t>Action Plan</a:t>
                      </a:r>
                    </a:p>
                  </a:txBody>
                  <a:tcPr anchor="ctr"/>
                </a:tc>
                <a:extLst>
                  <a:ext uri="{0D108BD9-81ED-4DB2-BD59-A6C34878D82A}">
                    <a16:rowId xmlns:a16="http://schemas.microsoft.com/office/drawing/2014/main" val="3289246024"/>
                  </a:ext>
                </a:extLst>
              </a:tr>
              <a:tr h="1811491">
                <a:tc>
                  <a:txBody>
                    <a:bodyPr/>
                    <a:lstStyle/>
                    <a:p>
                      <a:pPr algn="ctr"/>
                      <a:r>
                        <a:rPr lang="en-US" sz="1800" b="1"/>
                        <a:t>Strategy</a:t>
                      </a:r>
                      <a:endParaRPr lang="en-US" sz="1800" b="1" dirty="0"/>
                    </a:p>
                  </a:txBody>
                  <a:tcPr anchor="ctr">
                    <a:solidFill>
                      <a:schemeClr val="bg1">
                        <a:lumMod val="95000"/>
                      </a:schemeClr>
                    </a:solidFill>
                  </a:tcPr>
                </a:tc>
                <a:tc>
                  <a:txBody>
                    <a:bodyPr/>
                    <a:lstStyle/>
                    <a:p>
                      <a:pPr marL="285750" indent="-285750" algn="ctr">
                        <a:buFont typeface="Arial" panose="020B0604020202020204" pitchFamily="34" charset="0"/>
                        <a:buChar char="•"/>
                      </a:pPr>
                      <a:r>
                        <a:rPr lang="en-US" sz="1600" dirty="0"/>
                        <a:t>High cycle times due to complex and redundant processes.</a:t>
                      </a:r>
                    </a:p>
                    <a:p>
                      <a:pPr marL="285750" indent="-285750" algn="ctr">
                        <a:buFont typeface="Arial" panose="020B0604020202020204" pitchFamily="34" charset="0"/>
                        <a:buChar char="•"/>
                      </a:pPr>
                      <a:r>
                        <a:rPr lang="en-US" sz="1600" dirty="0"/>
                        <a:t>Manual tasks slow down the proposal process</a:t>
                      </a:r>
                    </a:p>
                  </a:txBody>
                  <a:tcPr anchor="ctr">
                    <a:solidFill>
                      <a:schemeClr val="bg1">
                        <a:lumMod val="95000"/>
                      </a:schemeClr>
                    </a:solidFill>
                  </a:tcPr>
                </a:tc>
                <a:tc>
                  <a:txBody>
                    <a:bodyPr/>
                    <a:lstStyle/>
                    <a:p>
                      <a:pPr marL="285750" indent="-285750" algn="ctr">
                        <a:buFont typeface="Arial" panose="020B0604020202020204" pitchFamily="34" charset="0"/>
                        <a:buChar char="•"/>
                      </a:pPr>
                      <a:r>
                        <a:rPr lang="en-US" sz="1600" dirty="0"/>
                        <a:t>Invest in </a:t>
                      </a:r>
                      <a:r>
                        <a:rPr lang="en-US" sz="1600" b="1" dirty="0"/>
                        <a:t>automation and AI-driven tools</a:t>
                      </a:r>
                    </a:p>
                    <a:p>
                      <a:pPr marL="285750" indent="-285750" algn="ctr">
                        <a:buFont typeface="Arial" panose="020B0604020202020204" pitchFamily="34" charset="0"/>
                        <a:buChar char="•"/>
                      </a:pPr>
                      <a:r>
                        <a:rPr lang="en-US" sz="1600" dirty="0"/>
                        <a:t>Implement a </a:t>
                      </a:r>
                      <a:r>
                        <a:rPr lang="en-US" sz="1600" b="1" dirty="0"/>
                        <a:t>tiered proposal process</a:t>
                      </a:r>
                      <a:endParaRPr lang="en-US" sz="1600" dirty="0"/>
                    </a:p>
                  </a:txBody>
                  <a:tcPr anchor="ctr">
                    <a:solidFill>
                      <a:schemeClr val="bg1">
                        <a:lumMod val="95000"/>
                      </a:schemeClr>
                    </a:solidFill>
                  </a:tcPr>
                </a:tc>
                <a:tc>
                  <a:txBody>
                    <a:bodyPr/>
                    <a:lstStyle/>
                    <a:p>
                      <a:pPr marL="285750" indent="-285750" algn="ctr">
                        <a:buFont typeface="Arial" panose="020B0604020202020204" pitchFamily="34" charset="0"/>
                        <a:buChar char="•"/>
                      </a:pPr>
                      <a:r>
                        <a:rPr lang="en-US" sz="1600" dirty="0"/>
                        <a:t>Create fast-track processes for critical bids</a:t>
                      </a:r>
                    </a:p>
                    <a:p>
                      <a:pPr marL="285750" indent="-285750" algn="ctr">
                        <a:buFont typeface="Arial" panose="020B0604020202020204" pitchFamily="34" charset="0"/>
                        <a:buChar char="•"/>
                      </a:pPr>
                      <a:r>
                        <a:rPr lang="en-US" sz="1600" dirty="0"/>
                        <a:t>Deploy </a:t>
                      </a:r>
                      <a:r>
                        <a:rPr lang="en-US" sz="1600" b="1" dirty="0"/>
                        <a:t>RPA (Robotic Process Automation</a:t>
                      </a:r>
                      <a:r>
                        <a:rPr lang="en-US" sz="1600" dirty="0"/>
                        <a:t>) for repetitive tasks, reducing manual workload.</a:t>
                      </a:r>
                    </a:p>
                    <a:p>
                      <a:pPr marL="285750" indent="-285750" algn="ctr">
                        <a:buFont typeface="Arial" panose="020B0604020202020204" pitchFamily="34" charset="0"/>
                        <a:buChar char="•"/>
                      </a:pPr>
                      <a:r>
                        <a:rPr lang="en-US" sz="1600" dirty="0"/>
                        <a:t>Implement </a:t>
                      </a:r>
                      <a:r>
                        <a:rPr lang="en-US" sz="1600" b="1" dirty="0"/>
                        <a:t>self service portal </a:t>
                      </a:r>
                      <a:r>
                        <a:rPr lang="en-US" sz="1600" dirty="0"/>
                        <a:t>for bids below 30,000</a:t>
                      </a:r>
                    </a:p>
                  </a:txBody>
                  <a:tcPr anchor="ctr">
                    <a:solidFill>
                      <a:schemeClr val="bg1">
                        <a:lumMod val="95000"/>
                      </a:schemeClr>
                    </a:solidFill>
                  </a:tcPr>
                </a:tc>
                <a:extLst>
                  <a:ext uri="{0D108BD9-81ED-4DB2-BD59-A6C34878D82A}">
                    <a16:rowId xmlns:a16="http://schemas.microsoft.com/office/drawing/2014/main" val="2355063736"/>
                  </a:ext>
                </a:extLst>
              </a:tr>
              <a:tr h="1581804">
                <a:tc>
                  <a:txBody>
                    <a:bodyPr/>
                    <a:lstStyle/>
                    <a:p>
                      <a:pPr algn="ctr"/>
                      <a:r>
                        <a:rPr lang="en-US" sz="1800" b="1" dirty="0"/>
                        <a:t>Structure</a:t>
                      </a:r>
                    </a:p>
                  </a:txBody>
                  <a:tcPr anchor="ctr">
                    <a:noFill/>
                  </a:tcPr>
                </a:tc>
                <a:tc>
                  <a:txBody>
                    <a:bodyPr/>
                    <a:lstStyle/>
                    <a:p>
                      <a:pPr marL="285750" indent="-285750" algn="ctr" defTabSz="914400" rtl="0" eaLnBrk="1" latinLnBrk="0" hangingPunct="1">
                        <a:buFont typeface="Arial" panose="020B0604020202020204" pitchFamily="34" charset="0"/>
                        <a:buChar char="•"/>
                      </a:pPr>
                      <a:r>
                        <a:rPr lang="en-US" sz="1600" kern="1200" dirty="0">
                          <a:solidFill>
                            <a:schemeClr val="dk1"/>
                          </a:solidFill>
                          <a:latin typeface="+mn-lt"/>
                          <a:ea typeface="+mn-ea"/>
                          <a:cs typeface="+mn-cs"/>
                        </a:rPr>
                        <a:t>Excessive hand-offs</a:t>
                      </a:r>
                    </a:p>
                    <a:p>
                      <a:pPr marL="285750" indent="-285750" algn="ctr" defTabSz="914400" rtl="0" eaLnBrk="1" latinLnBrk="0" hangingPunct="1">
                        <a:buFont typeface="Arial" panose="020B0604020202020204" pitchFamily="34" charset="0"/>
                        <a:buChar char="•"/>
                      </a:pPr>
                      <a:r>
                        <a:rPr lang="en-US" sz="1600" kern="1200" dirty="0">
                          <a:solidFill>
                            <a:schemeClr val="dk1"/>
                          </a:solidFill>
                          <a:latin typeface="+mn-lt"/>
                          <a:ea typeface="+mn-ea"/>
                          <a:cs typeface="+mn-cs"/>
                        </a:rPr>
                        <a:t>Inconsistent practices - across geographies</a:t>
                      </a:r>
                    </a:p>
                    <a:p>
                      <a:pPr marL="285750" indent="-285750" algn="ctr" defTabSz="914400" rtl="0" eaLnBrk="1" latinLnBrk="0" hangingPunct="1">
                        <a:buFont typeface="Arial" panose="020B0604020202020204" pitchFamily="34" charset="0"/>
                        <a:buChar char="•"/>
                      </a:pPr>
                      <a:r>
                        <a:rPr lang="en-US" sz="1600" kern="1200" dirty="0">
                          <a:solidFill>
                            <a:schemeClr val="dk1"/>
                          </a:solidFill>
                          <a:latin typeface="+mn-lt"/>
                          <a:ea typeface="+mn-ea"/>
                          <a:cs typeface="+mn-cs"/>
                        </a:rPr>
                        <a:t>Limited visibility into process bottlenecks.</a:t>
                      </a:r>
                    </a:p>
                  </a:txBody>
                  <a:tcPr anchor="ctr">
                    <a:noFill/>
                  </a:tcPr>
                </a:tc>
                <a:tc>
                  <a:txBody>
                    <a:bodyPr/>
                    <a:lstStyle/>
                    <a:p>
                      <a:pPr marL="285750" indent="-285750" algn="ctr" defTabSz="914400" rtl="0" eaLnBrk="1" latinLnBrk="0" hangingPunct="1">
                        <a:buFont typeface="Arial" panose="020B0604020202020204" pitchFamily="34" charset="0"/>
                        <a:buChar char="•"/>
                      </a:pPr>
                      <a:r>
                        <a:rPr lang="en-US" sz="1600" b="1" kern="1200" dirty="0">
                          <a:solidFill>
                            <a:schemeClr val="dk1"/>
                          </a:solidFill>
                          <a:latin typeface="+mn-lt"/>
                          <a:ea typeface="+mn-ea"/>
                          <a:cs typeface="+mn-cs"/>
                        </a:rPr>
                        <a:t>Restructure BSS teams to dedicate </a:t>
                      </a:r>
                      <a:r>
                        <a:rPr lang="en-US" sz="1600" kern="1200" dirty="0">
                          <a:solidFill>
                            <a:schemeClr val="dk1"/>
                          </a:solidFill>
                          <a:latin typeface="+mn-lt"/>
                          <a:ea typeface="+mn-ea"/>
                          <a:cs typeface="+mn-cs"/>
                        </a:rPr>
                        <a:t>account managers</a:t>
                      </a:r>
                    </a:p>
                    <a:p>
                      <a:pPr marL="285750" indent="-285750" algn="ctr" defTabSz="914400" rtl="0" eaLnBrk="1" latinLnBrk="0" hangingPunct="1">
                        <a:buFont typeface="Arial" panose="020B0604020202020204" pitchFamily="34" charset="0"/>
                        <a:buChar char="•"/>
                      </a:pPr>
                      <a:r>
                        <a:rPr lang="en-US" sz="1600" kern="1200" dirty="0">
                          <a:solidFill>
                            <a:schemeClr val="dk1"/>
                          </a:solidFill>
                          <a:latin typeface="+mn-lt"/>
                          <a:ea typeface="+mn-ea"/>
                          <a:cs typeface="+mn-cs"/>
                        </a:rPr>
                        <a:t>Establish standard operating procedures (SOPs)</a:t>
                      </a:r>
                    </a:p>
                  </a:txBody>
                  <a:tcPr anchor="ctr">
                    <a:noFill/>
                  </a:tcPr>
                </a:tc>
                <a:tc>
                  <a:txBody>
                    <a:bodyPr/>
                    <a:lstStyle/>
                    <a:p>
                      <a:pPr marL="285750" indent="-285750" algn="ctr" defTabSz="914400" rtl="0" eaLnBrk="1" latinLnBrk="0" hangingPunct="1">
                        <a:buFont typeface="Arial" panose="020B0604020202020204" pitchFamily="34" charset="0"/>
                        <a:buChar char="•"/>
                      </a:pPr>
                      <a:r>
                        <a:rPr lang="en-US" sz="1600" kern="1200" dirty="0">
                          <a:solidFill>
                            <a:schemeClr val="dk1"/>
                          </a:solidFill>
                          <a:latin typeface="+mn-lt"/>
                          <a:ea typeface="+mn-ea"/>
                          <a:cs typeface="+mn-cs"/>
                        </a:rPr>
                        <a:t>Pilot </a:t>
                      </a:r>
                      <a:r>
                        <a:rPr lang="en-US" sz="1600" b="1" kern="1200" dirty="0">
                          <a:solidFill>
                            <a:schemeClr val="dk1"/>
                          </a:solidFill>
                          <a:latin typeface="+mn-lt"/>
                          <a:ea typeface="+mn-ea"/>
                          <a:cs typeface="+mn-cs"/>
                        </a:rPr>
                        <a:t>an account-based BSS structure </a:t>
                      </a:r>
                      <a:r>
                        <a:rPr lang="en-US" sz="1600" kern="1200" dirty="0">
                          <a:solidFill>
                            <a:schemeClr val="dk1"/>
                          </a:solidFill>
                          <a:latin typeface="+mn-lt"/>
                          <a:ea typeface="+mn-ea"/>
                          <a:cs typeface="+mn-cs"/>
                        </a:rPr>
                        <a:t>for key clients.</a:t>
                      </a:r>
                    </a:p>
                    <a:p>
                      <a:pPr marL="285750" indent="-285750" algn="ctr" defTabSz="914400" rtl="0" eaLnBrk="1" latinLnBrk="0" hangingPunct="1">
                        <a:buFont typeface="Arial" panose="020B0604020202020204" pitchFamily="34" charset="0"/>
                        <a:buChar char="•"/>
                      </a:pPr>
                      <a:r>
                        <a:rPr lang="en-US" sz="1600" kern="1200" dirty="0">
                          <a:solidFill>
                            <a:schemeClr val="dk1"/>
                          </a:solidFill>
                          <a:latin typeface="+mn-lt"/>
                          <a:ea typeface="+mn-ea"/>
                          <a:cs typeface="+mn-cs"/>
                        </a:rPr>
                        <a:t>Create </a:t>
                      </a:r>
                      <a:r>
                        <a:rPr lang="en-US" sz="1600" b="1" kern="1200" dirty="0">
                          <a:solidFill>
                            <a:schemeClr val="dk1"/>
                          </a:solidFill>
                          <a:latin typeface="+mn-lt"/>
                          <a:ea typeface="+mn-ea"/>
                          <a:cs typeface="+mn-cs"/>
                        </a:rPr>
                        <a:t>SOPs and templates</a:t>
                      </a:r>
                      <a:r>
                        <a:rPr lang="en-US" sz="1600" kern="1200" dirty="0">
                          <a:solidFill>
                            <a:schemeClr val="dk1"/>
                          </a:solidFill>
                          <a:latin typeface="+mn-lt"/>
                          <a:ea typeface="+mn-ea"/>
                          <a:cs typeface="+mn-cs"/>
                        </a:rPr>
                        <a:t>,</a:t>
                      </a:r>
                    </a:p>
                    <a:p>
                      <a:pPr marL="285750" indent="-285750" algn="ctr" defTabSz="914400" rtl="0" eaLnBrk="1" latinLnBrk="0" hangingPunct="1">
                        <a:buFont typeface="Arial" panose="020B0604020202020204" pitchFamily="34" charset="0"/>
                        <a:buChar char="•"/>
                      </a:pPr>
                      <a:r>
                        <a:rPr lang="en-US" sz="1600" kern="1200" dirty="0">
                          <a:solidFill>
                            <a:schemeClr val="dk1"/>
                          </a:solidFill>
                          <a:latin typeface="+mn-lt"/>
                          <a:ea typeface="+mn-ea"/>
                          <a:cs typeface="+mn-cs"/>
                        </a:rPr>
                        <a:t>Deploy </a:t>
                      </a:r>
                      <a:r>
                        <a:rPr lang="en-US" sz="1600" b="1" kern="1200" dirty="0">
                          <a:solidFill>
                            <a:schemeClr val="dk1"/>
                          </a:solidFill>
                          <a:latin typeface="+mn-lt"/>
                          <a:ea typeface="+mn-ea"/>
                          <a:cs typeface="+mn-cs"/>
                        </a:rPr>
                        <a:t>dashboard tools</a:t>
                      </a:r>
                    </a:p>
                  </a:txBody>
                  <a:tcPr anchor="ctr">
                    <a:noFill/>
                  </a:tcPr>
                </a:tc>
                <a:extLst>
                  <a:ext uri="{0D108BD9-81ED-4DB2-BD59-A6C34878D82A}">
                    <a16:rowId xmlns:a16="http://schemas.microsoft.com/office/drawing/2014/main" val="2983843100"/>
                  </a:ext>
                </a:extLst>
              </a:tr>
              <a:tr h="1085551">
                <a:tc>
                  <a:txBody>
                    <a:bodyPr/>
                    <a:lstStyle/>
                    <a:p>
                      <a:pPr algn="ctr"/>
                      <a:r>
                        <a:rPr lang="en-US" sz="1800" b="1" dirty="0"/>
                        <a:t>Systems</a:t>
                      </a:r>
                    </a:p>
                  </a:txBody>
                  <a:tcPr anchor="ctr">
                    <a:solidFill>
                      <a:srgbClr val="F2F2F2"/>
                    </a:solidFill>
                  </a:tcPr>
                </a:tc>
                <a:tc>
                  <a:txBody>
                    <a:bodyPr/>
                    <a:lstStyle/>
                    <a:p>
                      <a:pPr marL="285750" indent="-285750" algn="ctr" defTabSz="914400" rtl="0" eaLnBrk="1" latinLnBrk="0" hangingPunct="1">
                        <a:buFont typeface="Arial" panose="020B0604020202020204" pitchFamily="34" charset="0"/>
                        <a:buChar char="•"/>
                      </a:pPr>
                      <a:r>
                        <a:rPr lang="en-US" sz="1600" kern="1200" dirty="0">
                          <a:solidFill>
                            <a:schemeClr val="dk1"/>
                          </a:solidFill>
                          <a:latin typeface="+mn-lt"/>
                          <a:ea typeface="+mn-ea"/>
                          <a:cs typeface="+mn-cs"/>
                        </a:rPr>
                        <a:t>Lack of Modern ERP</a:t>
                      </a:r>
                    </a:p>
                  </a:txBody>
                  <a:tcPr anchor="ctr">
                    <a:solidFill>
                      <a:srgbClr val="F2F2F2"/>
                    </a:solidFill>
                  </a:tcPr>
                </a:tc>
                <a:tc>
                  <a:txBody>
                    <a:bodyPr/>
                    <a:lstStyle/>
                    <a:p>
                      <a:pPr marL="285750" indent="-285750" algn="ctr" defTabSz="914400" rtl="0" eaLnBrk="1" latinLnBrk="0" hangingPunct="1">
                        <a:buFont typeface="Arial" panose="020B0604020202020204" pitchFamily="34" charset="0"/>
                        <a:buChar char="•"/>
                      </a:pPr>
                      <a:r>
                        <a:rPr lang="en-US" sz="1600" kern="1200" dirty="0">
                          <a:solidFill>
                            <a:schemeClr val="dk1"/>
                          </a:solidFill>
                          <a:latin typeface="+mn-lt"/>
                          <a:ea typeface="+mn-ea"/>
                          <a:cs typeface="+mn-cs"/>
                        </a:rPr>
                        <a:t>Introduce workflow automation software and ERP</a:t>
                      </a:r>
                    </a:p>
                  </a:txBody>
                  <a:tcPr anchor="ctr">
                    <a:solidFill>
                      <a:srgbClr val="F2F2F2"/>
                    </a:solidFill>
                  </a:tcPr>
                </a:tc>
                <a:tc>
                  <a:txBody>
                    <a:bodyPr/>
                    <a:lstStyle/>
                    <a:p>
                      <a:pPr marL="285750" indent="-285750" algn="ctr" defTabSz="914400" rtl="0" eaLnBrk="1" latinLnBrk="0" hangingPunct="1">
                        <a:buFont typeface="Arial" panose="020B0604020202020204" pitchFamily="34" charset="0"/>
                        <a:buChar char="•"/>
                      </a:pPr>
                      <a:r>
                        <a:rPr lang="en-US" sz="1600" kern="1200" dirty="0">
                          <a:solidFill>
                            <a:schemeClr val="dk1"/>
                          </a:solidFill>
                          <a:latin typeface="+mn-lt"/>
                          <a:ea typeface="+mn-ea"/>
                          <a:cs typeface="+mn-cs"/>
                        </a:rPr>
                        <a:t>Use </a:t>
                      </a:r>
                      <a:r>
                        <a:rPr lang="en-US" sz="1600" b="1" kern="1200" dirty="0">
                          <a:solidFill>
                            <a:schemeClr val="dk1"/>
                          </a:solidFill>
                          <a:latin typeface="+mn-lt"/>
                          <a:ea typeface="+mn-ea"/>
                          <a:cs typeface="+mn-cs"/>
                        </a:rPr>
                        <a:t>automation software to handle repetitive verification </a:t>
                      </a:r>
                      <a:r>
                        <a:rPr lang="en-US" sz="1600" kern="1200" dirty="0">
                          <a:solidFill>
                            <a:schemeClr val="dk1"/>
                          </a:solidFill>
                          <a:latin typeface="+mn-lt"/>
                          <a:ea typeface="+mn-ea"/>
                          <a:cs typeface="+mn-cs"/>
                        </a:rPr>
                        <a:t>and approval tasks.</a:t>
                      </a:r>
                    </a:p>
                    <a:p>
                      <a:pPr marL="285750" indent="-285750" algn="ctr" defTabSz="914400" rtl="0" eaLnBrk="1" latinLnBrk="0" hangingPunct="1">
                        <a:buFont typeface="Arial" panose="020B0604020202020204" pitchFamily="34" charset="0"/>
                        <a:buChar char="•"/>
                      </a:pPr>
                      <a:r>
                        <a:rPr lang="en-US" sz="1600" kern="1200" dirty="0">
                          <a:solidFill>
                            <a:schemeClr val="dk1"/>
                          </a:solidFill>
                          <a:latin typeface="+mn-lt"/>
                          <a:ea typeface="+mn-ea"/>
                          <a:cs typeface="+mn-cs"/>
                        </a:rPr>
                        <a:t>Establish an auto-prioritization system for complex proposals.</a:t>
                      </a:r>
                    </a:p>
                  </a:txBody>
                  <a:tcPr anchor="ctr">
                    <a:solidFill>
                      <a:srgbClr val="F2F2F2"/>
                    </a:solidFill>
                  </a:tcPr>
                </a:tc>
                <a:extLst>
                  <a:ext uri="{0D108BD9-81ED-4DB2-BD59-A6C34878D82A}">
                    <a16:rowId xmlns:a16="http://schemas.microsoft.com/office/drawing/2014/main" val="3134662600"/>
                  </a:ext>
                </a:extLst>
              </a:tr>
            </a:tbl>
          </a:graphicData>
        </a:graphic>
      </p:graphicFrame>
      <p:sp>
        <p:nvSpPr>
          <p:cNvPr id="3" name="Slide Number Placeholder 2"/>
          <p:cNvSpPr>
            <a:spLocks noGrp="1"/>
          </p:cNvSpPr>
          <p:nvPr>
            <p:ph type="sldNum" sz="quarter" idx="12"/>
          </p:nvPr>
        </p:nvSpPr>
        <p:spPr>
          <a:xfrm>
            <a:off x="11707761" y="6370637"/>
            <a:ext cx="457200" cy="365125"/>
          </a:xfrm>
        </p:spPr>
        <p:txBody>
          <a:bodyPr/>
          <a:lstStyle/>
          <a:p>
            <a:fld id="{B4792231-69F4-4F9D-9049-A1DDF7DEBE79}" type="slidenum">
              <a:rPr lang="en-US" smtClean="0"/>
              <a:t>22</a:t>
            </a:fld>
            <a:endParaRPr lang="en-US"/>
          </a:p>
        </p:txBody>
      </p:sp>
    </p:spTree>
    <p:extLst>
      <p:ext uri="{BB962C8B-B14F-4D97-AF65-F5344CB8AC3E}">
        <p14:creationId xmlns:p14="http://schemas.microsoft.com/office/powerpoint/2010/main" val="84039539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01D02A-B312-CF6D-B0C2-162FE2D35C1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E3AD034-AA86-75F9-68B5-A065B669FA1D}"/>
              </a:ext>
            </a:extLst>
          </p:cNvPr>
          <p:cNvSpPr>
            <a:spLocks noGrp="1"/>
          </p:cNvSpPr>
          <p:nvPr>
            <p:ph type="title"/>
          </p:nvPr>
        </p:nvSpPr>
        <p:spPr>
          <a:xfrm>
            <a:off x="533400" y="198106"/>
            <a:ext cx="10160065" cy="731520"/>
          </a:xfrm>
        </p:spPr>
        <p:txBody>
          <a:bodyPr/>
          <a:lstStyle/>
          <a:p>
            <a:r>
              <a:rPr lang="en-US" sz="2800" dirty="0">
                <a:solidFill>
                  <a:schemeClr val="accent1">
                    <a:lumMod val="50000"/>
                  </a:schemeClr>
                </a:solidFill>
              </a:rPr>
              <a:t>Optimizing Gentech's Proposal Creation Process: Strategic Recommendations Using McKinsey's 7S Framework </a:t>
            </a:r>
          </a:p>
        </p:txBody>
      </p:sp>
      <p:cxnSp>
        <p:nvCxnSpPr>
          <p:cNvPr id="6" name="Straight Connector 5">
            <a:extLst>
              <a:ext uri="{FF2B5EF4-FFF2-40B4-BE49-F238E27FC236}">
                <a16:creationId xmlns:a16="http://schemas.microsoft.com/office/drawing/2014/main" id="{06695667-4EFD-9C70-0152-4559ACAC6E9D}"/>
              </a:ext>
            </a:extLst>
          </p:cNvPr>
          <p:cNvCxnSpPr/>
          <p:nvPr/>
        </p:nvCxnSpPr>
        <p:spPr>
          <a:xfrm>
            <a:off x="1600200" y="6553200"/>
            <a:ext cx="8892208" cy="0"/>
          </a:xfrm>
          <a:prstGeom prst="line">
            <a:avLst/>
          </a:prstGeom>
          <a:ln w="38100"/>
        </p:spPr>
        <p:style>
          <a:lnRef idx="3">
            <a:schemeClr val="accent5"/>
          </a:lnRef>
          <a:fillRef idx="0">
            <a:schemeClr val="accent5"/>
          </a:fillRef>
          <a:effectRef idx="2">
            <a:schemeClr val="accent5"/>
          </a:effectRef>
          <a:fontRef idx="minor">
            <a:schemeClr val="tx1"/>
          </a:fontRef>
        </p:style>
      </p:cxnSp>
      <p:graphicFrame>
        <p:nvGraphicFramePr>
          <p:cNvPr id="5" name="Table 4">
            <a:extLst>
              <a:ext uri="{FF2B5EF4-FFF2-40B4-BE49-F238E27FC236}">
                <a16:creationId xmlns:a16="http://schemas.microsoft.com/office/drawing/2014/main" id="{48993205-14FD-F51B-D399-3FD34B4E3B35}"/>
              </a:ext>
            </a:extLst>
          </p:cNvPr>
          <p:cNvGraphicFramePr>
            <a:graphicFrameLocks noGrp="1"/>
          </p:cNvGraphicFramePr>
          <p:nvPr>
            <p:extLst>
              <p:ext uri="{D42A27DB-BD31-4B8C-83A1-F6EECF244321}">
                <p14:modId xmlns:p14="http://schemas.microsoft.com/office/powerpoint/2010/main" val="1576455203"/>
              </p:ext>
            </p:extLst>
          </p:nvPr>
        </p:nvGraphicFramePr>
        <p:xfrm>
          <a:off x="533400" y="1028333"/>
          <a:ext cx="11125200" cy="5454278"/>
        </p:xfrm>
        <a:graphic>
          <a:graphicData uri="http://schemas.openxmlformats.org/drawingml/2006/table">
            <a:tbl>
              <a:tblPr firstRow="1" bandRow="1">
                <a:tableStyleId>{5C22544A-7EE6-4342-B048-85BDC9FD1C3A}</a:tableStyleId>
              </a:tblPr>
              <a:tblGrid>
                <a:gridCol w="1567421">
                  <a:extLst>
                    <a:ext uri="{9D8B030D-6E8A-4147-A177-3AD203B41FA5}">
                      <a16:colId xmlns:a16="http://schemas.microsoft.com/office/drawing/2014/main" val="3960333301"/>
                    </a:ext>
                  </a:extLst>
                </a:gridCol>
                <a:gridCol w="2793813">
                  <a:extLst>
                    <a:ext uri="{9D8B030D-6E8A-4147-A177-3AD203B41FA5}">
                      <a16:colId xmlns:a16="http://schemas.microsoft.com/office/drawing/2014/main" val="1095466347"/>
                    </a:ext>
                  </a:extLst>
                </a:gridCol>
                <a:gridCol w="3315058">
                  <a:extLst>
                    <a:ext uri="{9D8B030D-6E8A-4147-A177-3AD203B41FA5}">
                      <a16:colId xmlns:a16="http://schemas.microsoft.com/office/drawing/2014/main" val="998597639"/>
                    </a:ext>
                  </a:extLst>
                </a:gridCol>
                <a:gridCol w="3448908">
                  <a:extLst>
                    <a:ext uri="{9D8B030D-6E8A-4147-A177-3AD203B41FA5}">
                      <a16:colId xmlns:a16="http://schemas.microsoft.com/office/drawing/2014/main" val="2380221408"/>
                    </a:ext>
                  </a:extLst>
                </a:gridCol>
              </a:tblGrid>
              <a:tr h="360150">
                <a:tc>
                  <a:txBody>
                    <a:bodyPr/>
                    <a:lstStyle/>
                    <a:p>
                      <a:pPr marL="0" algn="ctr" defTabSz="914400" rtl="0" eaLnBrk="1" latinLnBrk="0" hangingPunct="1"/>
                      <a:r>
                        <a:rPr lang="en-US" sz="1800" b="1" kern="1200">
                          <a:solidFill>
                            <a:schemeClr val="lt1"/>
                          </a:solidFill>
                          <a:latin typeface="+mn-lt"/>
                          <a:ea typeface="+mn-ea"/>
                          <a:cs typeface="+mn-cs"/>
                        </a:rPr>
                        <a:t>7S Element</a:t>
                      </a:r>
                      <a:endParaRPr lang="en-US" sz="1800" b="1" kern="1200" dirty="0">
                        <a:solidFill>
                          <a:schemeClr val="lt1"/>
                        </a:solidFill>
                        <a:latin typeface="+mn-lt"/>
                        <a:ea typeface="+mn-ea"/>
                        <a:cs typeface="+mn-cs"/>
                      </a:endParaRPr>
                    </a:p>
                  </a:txBody>
                  <a:tcPr anchor="ctr"/>
                </a:tc>
                <a:tc>
                  <a:txBody>
                    <a:bodyPr/>
                    <a:lstStyle/>
                    <a:p>
                      <a:pPr marL="0" algn="ctr" defTabSz="914400" rtl="0" eaLnBrk="1" latinLnBrk="0" hangingPunct="1"/>
                      <a:r>
                        <a:rPr lang="en-US" sz="1800" b="1" kern="1200" dirty="0">
                          <a:solidFill>
                            <a:schemeClr val="lt1"/>
                          </a:solidFill>
                          <a:latin typeface="+mn-lt"/>
                          <a:ea typeface="+mn-ea"/>
                          <a:cs typeface="+mn-cs"/>
                        </a:rPr>
                        <a:t>Issue</a:t>
                      </a:r>
                    </a:p>
                  </a:txBody>
                  <a:tcPr anchor="ctr"/>
                </a:tc>
                <a:tc>
                  <a:txBody>
                    <a:bodyPr/>
                    <a:lstStyle/>
                    <a:p>
                      <a:pPr marL="0" algn="ctr" defTabSz="914400" rtl="0" eaLnBrk="1" latinLnBrk="0" hangingPunct="1"/>
                      <a:r>
                        <a:rPr lang="en-US" sz="1800" b="1" kern="1200" dirty="0">
                          <a:solidFill>
                            <a:schemeClr val="lt1"/>
                          </a:solidFill>
                          <a:latin typeface="+mn-lt"/>
                          <a:ea typeface="+mn-ea"/>
                          <a:cs typeface="+mn-cs"/>
                        </a:rPr>
                        <a:t>Recommendation</a:t>
                      </a:r>
                    </a:p>
                  </a:txBody>
                  <a:tcPr anchor="ctr"/>
                </a:tc>
                <a:tc>
                  <a:txBody>
                    <a:bodyPr/>
                    <a:lstStyle/>
                    <a:p>
                      <a:pPr marL="0" algn="ctr" defTabSz="914400" rtl="0" eaLnBrk="1" latinLnBrk="0" hangingPunct="1"/>
                      <a:r>
                        <a:rPr lang="en-US" sz="1800" b="1" kern="1200" dirty="0">
                          <a:solidFill>
                            <a:schemeClr val="lt1"/>
                          </a:solidFill>
                          <a:latin typeface="+mn-lt"/>
                          <a:ea typeface="+mn-ea"/>
                          <a:cs typeface="+mn-cs"/>
                        </a:rPr>
                        <a:t>Action Plan</a:t>
                      </a:r>
                    </a:p>
                  </a:txBody>
                  <a:tcPr anchor="ctr"/>
                </a:tc>
                <a:extLst>
                  <a:ext uri="{0D108BD9-81ED-4DB2-BD59-A6C34878D82A}">
                    <a16:rowId xmlns:a16="http://schemas.microsoft.com/office/drawing/2014/main" val="3289246024"/>
                  </a:ext>
                </a:extLst>
              </a:tr>
              <a:tr h="1892939">
                <a:tc>
                  <a:txBody>
                    <a:bodyPr/>
                    <a:lstStyle/>
                    <a:p>
                      <a:pPr algn="ctr"/>
                      <a:r>
                        <a:rPr lang="en-US" sz="1600" b="1" dirty="0"/>
                        <a:t>Shared Values</a:t>
                      </a:r>
                    </a:p>
                  </a:txBody>
                  <a:tcPr anchor="ctr">
                    <a:solidFill>
                      <a:srgbClr val="F2F2F2"/>
                    </a:solidFill>
                  </a:tcPr>
                </a:tc>
                <a:tc>
                  <a:txBody>
                    <a:bodyPr/>
                    <a:lstStyle/>
                    <a:p>
                      <a:pPr marL="285750" indent="-285750" algn="ctr">
                        <a:buFont typeface="Arial" panose="020B0604020202020204" pitchFamily="34" charset="0"/>
                        <a:buChar char="•"/>
                      </a:pPr>
                      <a:r>
                        <a:rPr lang="en-US" sz="1600" dirty="0"/>
                        <a:t>Culture focused on cost reduction rather than client satisfaction and speed</a:t>
                      </a:r>
                    </a:p>
                  </a:txBody>
                  <a:tcPr anchor="ctr">
                    <a:solidFill>
                      <a:srgbClr val="F2F2F2"/>
                    </a:solidFill>
                  </a:tcPr>
                </a:tc>
                <a:tc>
                  <a:txBody>
                    <a:bodyPr/>
                    <a:lstStyle/>
                    <a:p>
                      <a:pPr marL="285750" indent="-285750" algn="ctr">
                        <a:buFont typeface="Arial" panose="020B0604020202020204" pitchFamily="34" charset="0"/>
                        <a:buChar char="•"/>
                      </a:pPr>
                      <a:r>
                        <a:rPr lang="en-US" sz="1600" dirty="0"/>
                        <a:t>Shift focus toward a </a:t>
                      </a:r>
                      <a:r>
                        <a:rPr lang="en-US" sz="1600" b="1" dirty="0"/>
                        <a:t>client-centric, efficiency-focused culture</a:t>
                      </a:r>
                      <a:r>
                        <a:rPr lang="en-US" sz="1600" dirty="0"/>
                        <a:t> with clear efficiency goals.</a:t>
                      </a:r>
                    </a:p>
                  </a:txBody>
                  <a:tcPr anchor="ctr">
                    <a:solidFill>
                      <a:srgbClr val="F2F2F2"/>
                    </a:solidFill>
                  </a:tcPr>
                </a:tc>
                <a:tc>
                  <a:txBody>
                    <a:bodyPr/>
                    <a:lstStyle/>
                    <a:p>
                      <a:pPr marL="285750" indent="-285750" algn="ctr">
                        <a:buFont typeface="Arial" panose="020B0604020202020204" pitchFamily="34" charset="0"/>
                        <a:buChar char="•"/>
                      </a:pPr>
                      <a:r>
                        <a:rPr lang="en-US" sz="1600" dirty="0"/>
                        <a:t>Communicate the strategic importance of cycle time reduction.</a:t>
                      </a:r>
                    </a:p>
                    <a:p>
                      <a:pPr marL="285750" indent="-285750" algn="ctr">
                        <a:buFont typeface="Arial" panose="020B0604020202020204" pitchFamily="34" charset="0"/>
                        <a:buChar char="•"/>
                      </a:pPr>
                      <a:r>
                        <a:rPr lang="en-US" sz="1600" dirty="0"/>
                        <a:t>Reward efficiency and client satisfaction in the performance review and compensation structure.</a:t>
                      </a:r>
                    </a:p>
                  </a:txBody>
                  <a:tcPr anchor="ctr">
                    <a:solidFill>
                      <a:srgbClr val="F2F2F2"/>
                    </a:solidFill>
                  </a:tcPr>
                </a:tc>
                <a:extLst>
                  <a:ext uri="{0D108BD9-81ED-4DB2-BD59-A6C34878D82A}">
                    <a16:rowId xmlns:a16="http://schemas.microsoft.com/office/drawing/2014/main" val="2355063736"/>
                  </a:ext>
                </a:extLst>
              </a:tr>
              <a:tr h="1118555">
                <a:tc>
                  <a:txBody>
                    <a:bodyPr/>
                    <a:lstStyle/>
                    <a:p>
                      <a:pPr algn="ctr"/>
                      <a:r>
                        <a:rPr lang="en-US" sz="1600" b="1" dirty="0"/>
                        <a:t>Style</a:t>
                      </a:r>
                    </a:p>
                  </a:txBody>
                  <a:tcPr anchor="ctr">
                    <a:noFill/>
                  </a:tcPr>
                </a:tc>
                <a:tc>
                  <a:txBody>
                    <a:bodyPr/>
                    <a:lstStyle/>
                    <a:p>
                      <a:pPr marL="285750" indent="-285750" algn="ctr">
                        <a:buFont typeface="Arial" panose="020B0604020202020204" pitchFamily="34" charset="0"/>
                        <a:buChar char="•"/>
                      </a:pPr>
                      <a:r>
                        <a:rPr lang="en-US" sz="1600" dirty="0"/>
                        <a:t>Leadership focused on cost control rather than agility and speed.</a:t>
                      </a:r>
                    </a:p>
                  </a:txBody>
                  <a:tcPr anchor="ctr">
                    <a:noFill/>
                  </a:tcPr>
                </a:tc>
                <a:tc>
                  <a:txBody>
                    <a:bodyPr/>
                    <a:lstStyle/>
                    <a:p>
                      <a:pPr marL="285750" indent="-285750" algn="ctr">
                        <a:buFont typeface="Arial" panose="020B0604020202020204" pitchFamily="34" charset="0"/>
                        <a:buChar char="•"/>
                      </a:pPr>
                      <a:r>
                        <a:rPr lang="en-US" sz="1600" dirty="0"/>
                        <a:t>Encourage leaders to adopt an </a:t>
                      </a:r>
                      <a:r>
                        <a:rPr lang="en-US" sz="1600" b="1" dirty="0"/>
                        <a:t>agile mindset</a:t>
                      </a:r>
                      <a:endParaRPr lang="en-US" sz="1600" dirty="0"/>
                    </a:p>
                  </a:txBody>
                  <a:tcPr anchor="ctr">
                    <a:noFill/>
                  </a:tcPr>
                </a:tc>
                <a:tc>
                  <a:txBody>
                    <a:bodyPr/>
                    <a:lstStyle/>
                    <a:p>
                      <a:pPr marL="285750" indent="-285750" algn="ctr">
                        <a:buFont typeface="Arial" panose="020B0604020202020204" pitchFamily="34" charset="0"/>
                        <a:buChar char="•"/>
                      </a:pPr>
                      <a:r>
                        <a:rPr lang="en-US" sz="1600" dirty="0"/>
                        <a:t>Provide agile leadership training.</a:t>
                      </a:r>
                    </a:p>
                  </a:txBody>
                  <a:tcPr anchor="ctr">
                    <a:noFill/>
                  </a:tcPr>
                </a:tc>
                <a:extLst>
                  <a:ext uri="{0D108BD9-81ED-4DB2-BD59-A6C34878D82A}">
                    <a16:rowId xmlns:a16="http://schemas.microsoft.com/office/drawing/2014/main" val="2983843100"/>
                  </a:ext>
                </a:extLst>
              </a:tr>
              <a:tr h="1118555">
                <a:tc>
                  <a:txBody>
                    <a:bodyPr/>
                    <a:lstStyle/>
                    <a:p>
                      <a:pPr algn="ctr"/>
                      <a:r>
                        <a:rPr lang="en-US" sz="1600" b="1" dirty="0"/>
                        <a:t>Staff</a:t>
                      </a:r>
                    </a:p>
                  </a:txBody>
                  <a:tcPr anchor="ctr">
                    <a:solidFill>
                      <a:srgbClr val="F2F2F2"/>
                    </a:solidFill>
                  </a:tcPr>
                </a:tc>
                <a:tc>
                  <a:txBody>
                    <a:bodyPr/>
                    <a:lstStyle/>
                    <a:p>
                      <a:pPr marL="285750" indent="-285750" algn="ctr">
                        <a:buFont typeface="Arial" panose="020B0604020202020204" pitchFamily="34" charset="0"/>
                        <a:buChar char="•"/>
                      </a:pPr>
                      <a:r>
                        <a:rPr lang="en-US" sz="1600" dirty="0"/>
                        <a:t>BSS teams have varying skill levels</a:t>
                      </a:r>
                    </a:p>
                  </a:txBody>
                  <a:tcPr anchor="ctr">
                    <a:solidFill>
                      <a:srgbClr val="F2F2F2"/>
                    </a:solidFill>
                  </a:tcPr>
                </a:tc>
                <a:tc>
                  <a:txBody>
                    <a:bodyPr/>
                    <a:lstStyle/>
                    <a:p>
                      <a:pPr marL="285750" indent="-285750" algn="ctr">
                        <a:buFont typeface="Arial" panose="020B0604020202020204" pitchFamily="34" charset="0"/>
                        <a:buChar char="•"/>
                      </a:pPr>
                      <a:r>
                        <a:rPr lang="en-US" sz="1600" b="1" dirty="0"/>
                        <a:t>Create specialized roles</a:t>
                      </a:r>
                      <a:r>
                        <a:rPr lang="en-US" sz="1600" dirty="0"/>
                        <a:t> within BSS for high-value bids</a:t>
                      </a:r>
                      <a:br>
                        <a:rPr lang="en-US" sz="1600" dirty="0"/>
                      </a:br>
                      <a:endParaRPr lang="en-US" sz="1600" dirty="0"/>
                    </a:p>
                  </a:txBody>
                  <a:tcPr anchor="ctr">
                    <a:solidFill>
                      <a:srgbClr val="F2F2F2"/>
                    </a:solidFill>
                  </a:tcPr>
                </a:tc>
                <a:tc>
                  <a:txBody>
                    <a:bodyPr/>
                    <a:lstStyle/>
                    <a:p>
                      <a:pPr marL="285750" indent="-285750" algn="ctr">
                        <a:buFont typeface="Arial" panose="020B0604020202020204" pitchFamily="34" charset="0"/>
                        <a:buChar char="•"/>
                      </a:pPr>
                      <a:r>
                        <a:rPr lang="en-US" sz="1600" dirty="0"/>
                        <a:t>Implement training programs</a:t>
                      </a:r>
                      <a:br>
                        <a:rPr lang="en-US" sz="1600" dirty="0"/>
                      </a:br>
                      <a:r>
                        <a:rPr lang="en-US" sz="1600" dirty="0"/>
                        <a:t>Develop a mentorship program pairing</a:t>
                      </a:r>
                    </a:p>
                  </a:txBody>
                  <a:tcPr anchor="ctr">
                    <a:solidFill>
                      <a:srgbClr val="F2F2F2"/>
                    </a:solidFill>
                  </a:tcPr>
                </a:tc>
                <a:extLst>
                  <a:ext uri="{0D108BD9-81ED-4DB2-BD59-A6C34878D82A}">
                    <a16:rowId xmlns:a16="http://schemas.microsoft.com/office/drawing/2014/main" val="3134662600"/>
                  </a:ext>
                </a:extLst>
              </a:tr>
              <a:tr h="95846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b="1" dirty="0"/>
                    </a:p>
                    <a:p>
                      <a:pPr algn="ctr"/>
                      <a:r>
                        <a:rPr lang="en-US" sz="1600" b="1" dirty="0"/>
                        <a:t>Skills</a:t>
                      </a:r>
                    </a:p>
                  </a:txBody>
                  <a:tcPr anchor="ctr">
                    <a:noFill/>
                  </a:tcPr>
                </a:tc>
                <a:tc>
                  <a:txBody>
                    <a:bodyPr/>
                    <a:lstStyle/>
                    <a:p>
                      <a:pPr marL="285750" indent="-285750" algn="ctr">
                        <a:buFont typeface="Arial" panose="020B0604020202020204" pitchFamily="34" charset="0"/>
                        <a:buChar char="•"/>
                      </a:pPr>
                      <a:r>
                        <a:rPr lang="en-US" sz="1600" dirty="0"/>
                        <a:t>Inconsistent skill levels</a:t>
                      </a:r>
                    </a:p>
                  </a:txBody>
                  <a:tcPr anchor="ctr">
                    <a:noFill/>
                  </a:tcPr>
                </a:tc>
                <a:tc>
                  <a:txBody>
                    <a:bodyPr/>
                    <a:lstStyle/>
                    <a:p>
                      <a:pPr marL="285750" indent="-285750" algn="ctr">
                        <a:buFont typeface="Arial" panose="020B0604020202020204" pitchFamily="34" charset="0"/>
                        <a:buChar char="•"/>
                      </a:pPr>
                      <a:r>
                        <a:rPr lang="en-US" sz="1600" dirty="0"/>
                        <a:t>Conduct a </a:t>
                      </a:r>
                      <a:r>
                        <a:rPr lang="en-US" sz="1600" b="1" dirty="0"/>
                        <a:t>skills assessment</a:t>
                      </a:r>
                      <a:r>
                        <a:rPr lang="en-US" sz="1600" dirty="0"/>
                        <a:t> and provide targeted training</a:t>
                      </a:r>
                    </a:p>
                  </a:txBody>
                  <a:tcPr anchor="ctr">
                    <a:noFill/>
                  </a:tcPr>
                </a:tc>
                <a:tc>
                  <a:txBody>
                    <a:bodyPr/>
                    <a:lstStyle/>
                    <a:p>
                      <a:pPr marL="285750" indent="-285750" algn="ctr">
                        <a:buFont typeface="Arial" panose="020B0604020202020204" pitchFamily="34" charset="0"/>
                        <a:buChar char="•"/>
                      </a:pPr>
                      <a:r>
                        <a:rPr lang="en-US" sz="1600" dirty="0"/>
                        <a:t>Quarterly skills assessments.</a:t>
                      </a:r>
                    </a:p>
                    <a:p>
                      <a:pPr marL="285750" indent="-285750" algn="ctr">
                        <a:buFont typeface="Arial" panose="020B0604020202020204" pitchFamily="34" charset="0"/>
                        <a:buChar char="•"/>
                      </a:pPr>
                      <a:r>
                        <a:rPr lang="en-US" sz="1600" dirty="0"/>
                        <a:t>Offer workshops on advanced configurations.</a:t>
                      </a:r>
                    </a:p>
                  </a:txBody>
                  <a:tcPr anchor="ctr">
                    <a:noFill/>
                  </a:tcPr>
                </a:tc>
                <a:extLst>
                  <a:ext uri="{0D108BD9-81ED-4DB2-BD59-A6C34878D82A}">
                    <a16:rowId xmlns:a16="http://schemas.microsoft.com/office/drawing/2014/main" val="1299421373"/>
                  </a:ext>
                </a:extLst>
              </a:tr>
            </a:tbl>
          </a:graphicData>
        </a:graphic>
      </p:graphicFrame>
      <p:sp>
        <p:nvSpPr>
          <p:cNvPr id="3" name="Slide Number Placeholder 2"/>
          <p:cNvSpPr>
            <a:spLocks noGrp="1"/>
          </p:cNvSpPr>
          <p:nvPr>
            <p:ph type="sldNum" sz="quarter" idx="12"/>
          </p:nvPr>
        </p:nvSpPr>
        <p:spPr>
          <a:xfrm>
            <a:off x="11658600" y="6300048"/>
            <a:ext cx="457200" cy="365125"/>
          </a:xfrm>
        </p:spPr>
        <p:txBody>
          <a:bodyPr/>
          <a:lstStyle/>
          <a:p>
            <a:fld id="{B4792231-69F4-4F9D-9049-A1DDF7DEBE79}" type="slidenum">
              <a:rPr lang="en-US" smtClean="0"/>
              <a:t>23</a:t>
            </a:fld>
            <a:endParaRPr lang="en-US" dirty="0"/>
          </a:p>
        </p:txBody>
      </p:sp>
    </p:spTree>
    <p:extLst>
      <p:ext uri="{BB962C8B-B14F-4D97-AF65-F5344CB8AC3E}">
        <p14:creationId xmlns:p14="http://schemas.microsoft.com/office/powerpoint/2010/main" val="173654218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B3E4FC-B161-22F8-7522-536EBB6A316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30A1EFB-85FD-FC96-E939-F0C26F04B2D7}"/>
              </a:ext>
            </a:extLst>
          </p:cNvPr>
          <p:cNvSpPr>
            <a:spLocks noGrp="1"/>
          </p:cNvSpPr>
          <p:nvPr>
            <p:ph type="title"/>
          </p:nvPr>
        </p:nvSpPr>
        <p:spPr/>
        <p:txBody>
          <a:bodyPr/>
          <a:lstStyle/>
          <a:p>
            <a:r>
              <a:rPr lang="en-US" sz="2800" dirty="0">
                <a:solidFill>
                  <a:schemeClr val="accent1">
                    <a:lumMod val="50000"/>
                  </a:schemeClr>
                </a:solidFill>
              </a:rPr>
              <a:t>Roadmap to 50% Reduction in Bid Processing Time</a:t>
            </a:r>
          </a:p>
        </p:txBody>
      </p:sp>
      <p:cxnSp>
        <p:nvCxnSpPr>
          <p:cNvPr id="6" name="Straight Connector 5">
            <a:extLst>
              <a:ext uri="{FF2B5EF4-FFF2-40B4-BE49-F238E27FC236}">
                <a16:creationId xmlns:a16="http://schemas.microsoft.com/office/drawing/2014/main" id="{8C819A77-9DA7-8324-93C9-098A0B57B6C5}"/>
              </a:ext>
            </a:extLst>
          </p:cNvPr>
          <p:cNvCxnSpPr/>
          <p:nvPr/>
        </p:nvCxnSpPr>
        <p:spPr>
          <a:xfrm>
            <a:off x="1981200" y="6553200"/>
            <a:ext cx="8892208" cy="0"/>
          </a:xfrm>
          <a:prstGeom prst="line">
            <a:avLst/>
          </a:prstGeom>
          <a:ln w="38100"/>
        </p:spPr>
        <p:style>
          <a:lnRef idx="3">
            <a:schemeClr val="accent5"/>
          </a:lnRef>
          <a:fillRef idx="0">
            <a:schemeClr val="accent5"/>
          </a:fillRef>
          <a:effectRef idx="2">
            <a:schemeClr val="accent5"/>
          </a:effectRef>
          <a:fontRef idx="minor">
            <a:schemeClr val="tx1"/>
          </a:fontRef>
        </p:style>
      </p:cxnSp>
      <p:pic>
        <p:nvPicPr>
          <p:cNvPr id="26" name="Picture 25"/>
          <p:cNvPicPr>
            <a:picLocks noChangeAspect="1"/>
          </p:cNvPicPr>
          <p:nvPr/>
        </p:nvPicPr>
        <p:blipFill>
          <a:blip r:embed="rId2"/>
          <a:stretch>
            <a:fillRect/>
          </a:stretch>
        </p:blipFill>
        <p:spPr>
          <a:xfrm>
            <a:off x="591607" y="1143000"/>
            <a:ext cx="9412013" cy="4067743"/>
          </a:xfrm>
          <a:prstGeom prst="rect">
            <a:avLst/>
          </a:prstGeom>
        </p:spPr>
      </p:pic>
      <p:sp>
        <p:nvSpPr>
          <p:cNvPr id="3" name="TextBox 2"/>
          <p:cNvSpPr txBox="1"/>
          <p:nvPr/>
        </p:nvSpPr>
        <p:spPr>
          <a:xfrm>
            <a:off x="1753526" y="5247614"/>
            <a:ext cx="838200" cy="1190057"/>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300" b="1" dirty="0" smtClean="0"/>
              <a:t>Self Service Portals for Sellers</a:t>
            </a:r>
            <a:endParaRPr lang="en-IN" sz="1300" b="1" dirty="0" smtClean="0"/>
          </a:p>
        </p:txBody>
      </p:sp>
      <p:sp>
        <p:nvSpPr>
          <p:cNvPr id="4" name="TextBox 3"/>
          <p:cNvSpPr txBox="1"/>
          <p:nvPr/>
        </p:nvSpPr>
        <p:spPr>
          <a:xfrm>
            <a:off x="2748559" y="5247614"/>
            <a:ext cx="1066800" cy="1066800"/>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300" b="1" dirty="0" smtClean="0"/>
              <a:t>Knowledge Management</a:t>
            </a:r>
            <a:endParaRPr lang="en-IN" sz="1300" b="1" dirty="0" smtClean="0"/>
          </a:p>
        </p:txBody>
      </p:sp>
      <p:sp>
        <p:nvSpPr>
          <p:cNvPr id="5" name="TextBox 4"/>
          <p:cNvSpPr txBox="1"/>
          <p:nvPr/>
        </p:nvSpPr>
        <p:spPr>
          <a:xfrm>
            <a:off x="3973119" y="5247614"/>
            <a:ext cx="685800" cy="961457"/>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300" b="1" dirty="0" smtClean="0"/>
              <a:t>Smart BSS Pairing</a:t>
            </a:r>
            <a:endParaRPr lang="en-IN" sz="1300" b="1" dirty="0" smtClean="0"/>
          </a:p>
        </p:txBody>
      </p:sp>
      <p:sp>
        <p:nvSpPr>
          <p:cNvPr id="9" name="TextBox 8"/>
          <p:cNvSpPr txBox="1"/>
          <p:nvPr/>
        </p:nvSpPr>
        <p:spPr>
          <a:xfrm>
            <a:off x="4929697" y="5247614"/>
            <a:ext cx="762000" cy="809057"/>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300" b="1" dirty="0" smtClean="0"/>
              <a:t>Agile Process</a:t>
            </a:r>
            <a:endParaRPr lang="en-IN" sz="1300" b="1" dirty="0" smtClean="0"/>
          </a:p>
        </p:txBody>
      </p:sp>
      <p:sp>
        <p:nvSpPr>
          <p:cNvPr id="12" name="TextBox 11"/>
          <p:cNvSpPr txBox="1"/>
          <p:nvPr/>
        </p:nvSpPr>
        <p:spPr>
          <a:xfrm>
            <a:off x="6019799" y="5250072"/>
            <a:ext cx="925110" cy="1266257"/>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300" b="1" dirty="0" smtClean="0"/>
              <a:t>Long Term Contracts with Clients Instead of Single Bids</a:t>
            </a:r>
            <a:endParaRPr lang="en-IN" sz="1300" b="1" dirty="0" smtClean="0"/>
          </a:p>
        </p:txBody>
      </p:sp>
      <p:sp>
        <p:nvSpPr>
          <p:cNvPr id="27" name="TextBox 26"/>
          <p:cNvSpPr txBox="1"/>
          <p:nvPr/>
        </p:nvSpPr>
        <p:spPr>
          <a:xfrm>
            <a:off x="7195237" y="5289401"/>
            <a:ext cx="685800" cy="1190057"/>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300" b="1" dirty="0" smtClean="0"/>
              <a:t>New ERP</a:t>
            </a:r>
            <a:endParaRPr lang="en-IN" sz="1300" b="1" dirty="0" smtClean="0"/>
          </a:p>
        </p:txBody>
      </p:sp>
      <p:sp>
        <p:nvSpPr>
          <p:cNvPr id="28" name="TextBox 27"/>
          <p:cNvSpPr txBox="1"/>
          <p:nvPr/>
        </p:nvSpPr>
        <p:spPr>
          <a:xfrm>
            <a:off x="8131365" y="5296467"/>
            <a:ext cx="976248" cy="923357"/>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300" b="1" dirty="0" smtClean="0"/>
              <a:t>Staff Training</a:t>
            </a:r>
            <a:endParaRPr lang="en-IN" sz="1300" b="1" dirty="0" smtClean="0"/>
          </a:p>
        </p:txBody>
      </p:sp>
      <p:sp>
        <p:nvSpPr>
          <p:cNvPr id="29" name="TextBox 28"/>
          <p:cNvSpPr txBox="1"/>
          <p:nvPr/>
        </p:nvSpPr>
        <p:spPr>
          <a:xfrm>
            <a:off x="9220200" y="5344093"/>
            <a:ext cx="685800" cy="828107"/>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300" b="1" dirty="0" smtClean="0"/>
              <a:t>Total</a:t>
            </a:r>
            <a:endParaRPr lang="en-IN" sz="1300" b="1" dirty="0" smtClean="0"/>
          </a:p>
        </p:txBody>
      </p:sp>
      <p:sp>
        <p:nvSpPr>
          <p:cNvPr id="30" name="Slide Number Placeholder 29"/>
          <p:cNvSpPr>
            <a:spLocks noGrp="1"/>
          </p:cNvSpPr>
          <p:nvPr>
            <p:ph type="sldNum" sz="quarter" idx="12"/>
          </p:nvPr>
        </p:nvSpPr>
        <p:spPr>
          <a:xfrm>
            <a:off x="11697929" y="6370637"/>
            <a:ext cx="497013" cy="365125"/>
          </a:xfrm>
        </p:spPr>
        <p:txBody>
          <a:bodyPr/>
          <a:lstStyle/>
          <a:p>
            <a:fld id="{B4792231-69F4-4F9D-9049-A1DDF7DEBE79}" type="slidenum">
              <a:rPr lang="en-US" smtClean="0"/>
              <a:t>24</a:t>
            </a:fld>
            <a:endParaRPr lang="en-US" dirty="0"/>
          </a:p>
        </p:txBody>
      </p:sp>
    </p:spTree>
    <p:extLst>
      <p:ext uri="{BB962C8B-B14F-4D97-AF65-F5344CB8AC3E}">
        <p14:creationId xmlns:p14="http://schemas.microsoft.com/office/powerpoint/2010/main" val="427843614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806AC-BC9B-B258-05D8-D4F196E88041}"/>
              </a:ext>
            </a:extLst>
          </p:cNvPr>
          <p:cNvSpPr>
            <a:spLocks noGrp="1"/>
          </p:cNvSpPr>
          <p:nvPr>
            <p:ph type="title"/>
          </p:nvPr>
        </p:nvSpPr>
        <p:spPr>
          <a:xfrm>
            <a:off x="533400" y="152400"/>
            <a:ext cx="10160065" cy="731520"/>
          </a:xfrm>
        </p:spPr>
        <p:txBody>
          <a:bodyPr/>
          <a:lstStyle/>
          <a:p>
            <a:r>
              <a:rPr lang="en-US" sz="2800" dirty="0" smtClean="0">
                <a:solidFill>
                  <a:schemeClr val="accent1">
                    <a:lumMod val="50000"/>
                  </a:schemeClr>
                </a:solidFill>
              </a:rPr>
              <a:t>Control Plan for Gentech</a:t>
            </a:r>
            <a:endParaRPr lang="en-US" sz="2800" dirty="0">
              <a:solidFill>
                <a:schemeClr val="accent1">
                  <a:lumMod val="50000"/>
                </a:schemeClr>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2444951687"/>
              </p:ext>
            </p:extLst>
          </p:nvPr>
        </p:nvGraphicFramePr>
        <p:xfrm>
          <a:off x="533400" y="1143000"/>
          <a:ext cx="10591800" cy="5188070"/>
        </p:xfrm>
        <a:graphic>
          <a:graphicData uri="http://schemas.openxmlformats.org/drawingml/2006/table">
            <a:tbl>
              <a:tblPr firstRow="1" bandRow="1">
                <a:tableStyleId>{5A111915-BE36-4E01-A7E5-04B1672EAD32}</a:tableStyleId>
              </a:tblPr>
              <a:tblGrid>
                <a:gridCol w="3276600">
                  <a:extLst>
                    <a:ext uri="{9D8B030D-6E8A-4147-A177-3AD203B41FA5}">
                      <a16:colId xmlns:a16="http://schemas.microsoft.com/office/drawing/2014/main" val="2246497251"/>
                    </a:ext>
                  </a:extLst>
                </a:gridCol>
                <a:gridCol w="3784600">
                  <a:extLst>
                    <a:ext uri="{9D8B030D-6E8A-4147-A177-3AD203B41FA5}">
                      <a16:colId xmlns:a16="http://schemas.microsoft.com/office/drawing/2014/main" val="3352145162"/>
                    </a:ext>
                  </a:extLst>
                </a:gridCol>
                <a:gridCol w="3530600">
                  <a:extLst>
                    <a:ext uri="{9D8B030D-6E8A-4147-A177-3AD203B41FA5}">
                      <a16:colId xmlns:a16="http://schemas.microsoft.com/office/drawing/2014/main" val="1336437815"/>
                    </a:ext>
                  </a:extLst>
                </a:gridCol>
              </a:tblGrid>
              <a:tr h="359290">
                <a:tc>
                  <a:txBody>
                    <a:bodyPr/>
                    <a:lstStyle/>
                    <a:p>
                      <a:pPr algn="ctr"/>
                      <a:r>
                        <a:rPr lang="en-US" dirty="0" smtClean="0"/>
                        <a:t>Control Element</a:t>
                      </a:r>
                      <a:endParaRPr lang="en-IN" dirty="0">
                        <a:solidFill>
                          <a:schemeClr val="accent1">
                            <a:lumMod val="50000"/>
                          </a:schemeClr>
                        </a:solidFill>
                      </a:endParaRPr>
                    </a:p>
                  </a:txBody>
                  <a:tcPr anchor="ctr"/>
                </a:tc>
                <a:tc>
                  <a:txBody>
                    <a:bodyPr/>
                    <a:lstStyle/>
                    <a:p>
                      <a:pPr algn="ctr"/>
                      <a:r>
                        <a:rPr lang="en-US" dirty="0" smtClean="0"/>
                        <a:t>Description</a:t>
                      </a:r>
                      <a:endParaRPr lang="en-IN" dirty="0">
                        <a:solidFill>
                          <a:schemeClr val="accent1">
                            <a:lumMod val="50000"/>
                          </a:schemeClr>
                        </a:solidFill>
                      </a:endParaRPr>
                    </a:p>
                  </a:txBody>
                  <a:tcPr anchor="ctr"/>
                </a:tc>
                <a:tc>
                  <a:txBody>
                    <a:bodyPr/>
                    <a:lstStyle/>
                    <a:p>
                      <a:pPr algn="ctr"/>
                      <a:r>
                        <a:rPr lang="en-US" dirty="0" smtClean="0"/>
                        <a:t>Expected Outcome</a:t>
                      </a:r>
                      <a:endParaRPr lang="en-IN" dirty="0">
                        <a:solidFill>
                          <a:schemeClr val="accent1">
                            <a:lumMod val="50000"/>
                          </a:schemeClr>
                        </a:solidFill>
                      </a:endParaRPr>
                    </a:p>
                  </a:txBody>
                  <a:tcPr anchor="ctr"/>
                </a:tc>
                <a:extLst>
                  <a:ext uri="{0D108BD9-81ED-4DB2-BD59-A6C34878D82A}">
                    <a16:rowId xmlns:a16="http://schemas.microsoft.com/office/drawing/2014/main" val="1345618879"/>
                  </a:ext>
                </a:extLst>
              </a:tr>
              <a:tr h="1437161">
                <a:tc>
                  <a:txBody>
                    <a:bodyPr/>
                    <a:lstStyle/>
                    <a:p>
                      <a:pPr algn="ctr"/>
                      <a:r>
                        <a:rPr lang="en-US" sz="1600" dirty="0" smtClean="0"/>
                        <a:t>Training for BSS/Staff</a:t>
                      </a:r>
                      <a:endParaRPr lang="en-IN" sz="1600" dirty="0"/>
                    </a:p>
                  </a:txBody>
                  <a:tcPr anchor="ctr"/>
                </a:tc>
                <a:tc>
                  <a:txBody>
                    <a:bodyPr/>
                    <a:lstStyle/>
                    <a:p>
                      <a:pPr marL="285750" indent="-285750" algn="ctr">
                        <a:buFont typeface="Arial" panose="020B0604020202020204" pitchFamily="34" charset="0"/>
                        <a:buChar char="•"/>
                      </a:pPr>
                      <a:r>
                        <a:rPr lang="en-US" sz="1600" dirty="0" smtClean="0"/>
                        <a:t>Continuous Investment in Training</a:t>
                      </a:r>
                    </a:p>
                    <a:p>
                      <a:pPr marL="285750" indent="-285750" algn="ctr">
                        <a:buFont typeface="Arial" panose="020B0604020202020204" pitchFamily="34" charset="0"/>
                        <a:buChar char="•"/>
                      </a:pPr>
                      <a:r>
                        <a:rPr lang="en-US" sz="1600" dirty="0" smtClean="0"/>
                        <a:t>Proficiency in AI and ERP Tools</a:t>
                      </a:r>
                    </a:p>
                    <a:p>
                      <a:pPr marL="285750" indent="-285750" algn="ctr">
                        <a:buFont typeface="Arial" panose="020B0604020202020204" pitchFamily="34" charset="0"/>
                        <a:buChar char="•"/>
                      </a:pPr>
                      <a:r>
                        <a:rPr lang="en-US" sz="1600" dirty="0" smtClean="0"/>
                        <a:t>Regular Skills Assessment</a:t>
                      </a:r>
                      <a:endParaRPr lang="en-IN" sz="1600" dirty="0"/>
                    </a:p>
                  </a:txBody>
                  <a:tcPr anchor="ctr"/>
                </a:tc>
                <a:tc>
                  <a:txBody>
                    <a:bodyPr/>
                    <a:lstStyle/>
                    <a:p>
                      <a:pPr marL="285750" indent="-285750" algn="ctr">
                        <a:buFont typeface="Wingdings" panose="05000000000000000000" pitchFamily="2" charset="2"/>
                        <a:buChar char="§"/>
                      </a:pPr>
                      <a:r>
                        <a:rPr lang="en-US" sz="1600" dirty="0" smtClean="0"/>
                        <a:t>Increased Proficiency in using new tools, improved</a:t>
                      </a:r>
                      <a:r>
                        <a:rPr lang="en-US" sz="1600" baseline="0" dirty="0" smtClean="0"/>
                        <a:t> efficiency and reduced cycle time.</a:t>
                      </a:r>
                      <a:endParaRPr lang="en-IN" sz="1600" dirty="0"/>
                    </a:p>
                  </a:txBody>
                  <a:tcPr anchor="ctr"/>
                </a:tc>
                <a:extLst>
                  <a:ext uri="{0D108BD9-81ED-4DB2-BD59-A6C34878D82A}">
                    <a16:rowId xmlns:a16="http://schemas.microsoft.com/office/drawing/2014/main" val="3366976034"/>
                  </a:ext>
                </a:extLst>
              </a:tr>
              <a:tr h="1003007">
                <a:tc>
                  <a:txBody>
                    <a:bodyPr/>
                    <a:lstStyle/>
                    <a:p>
                      <a:pPr algn="ctr"/>
                      <a:r>
                        <a:rPr lang="en-US" sz="1600" dirty="0" smtClean="0"/>
                        <a:t>Escalation Protocols</a:t>
                      </a:r>
                      <a:endParaRPr lang="en-IN" sz="1600" dirty="0"/>
                    </a:p>
                  </a:txBody>
                  <a:tcPr anchor="ctr"/>
                </a:tc>
                <a:tc>
                  <a:txBody>
                    <a:bodyPr/>
                    <a:lstStyle/>
                    <a:p>
                      <a:pPr marL="285750" indent="-285750" algn="ctr">
                        <a:buFont typeface="Arial" panose="020B0604020202020204" pitchFamily="34" charset="0"/>
                        <a:buChar char="•"/>
                      </a:pPr>
                      <a:r>
                        <a:rPr lang="en-US" sz="1600" dirty="0" smtClean="0"/>
                        <a:t>Develop clear escalation protocols to address issues</a:t>
                      </a:r>
                      <a:endParaRPr lang="en-IN" sz="1600" dirty="0"/>
                    </a:p>
                  </a:txBody>
                  <a:tcPr anchor="ctr"/>
                </a:tc>
                <a:tc>
                  <a:txBody>
                    <a:bodyPr/>
                    <a:lstStyle/>
                    <a:p>
                      <a:pPr marL="285750" indent="-285750" algn="ctr">
                        <a:buFont typeface="Wingdings" panose="05000000000000000000" pitchFamily="2" charset="2"/>
                        <a:buChar char="§"/>
                      </a:pPr>
                      <a:r>
                        <a:rPr lang="en-US" sz="1600" dirty="0" smtClean="0"/>
                        <a:t>Timely</a:t>
                      </a:r>
                      <a:r>
                        <a:rPr lang="en-US" sz="1600" baseline="0" dirty="0" smtClean="0"/>
                        <a:t> resolution of issues, ensuring minimal impact on cycle time and process flow.</a:t>
                      </a:r>
                      <a:endParaRPr lang="en-IN" sz="1600" dirty="0"/>
                    </a:p>
                  </a:txBody>
                  <a:tcPr anchor="ctr"/>
                </a:tc>
                <a:extLst>
                  <a:ext uri="{0D108BD9-81ED-4DB2-BD59-A6C34878D82A}">
                    <a16:rowId xmlns:a16="http://schemas.microsoft.com/office/drawing/2014/main" val="1147039668"/>
                  </a:ext>
                </a:extLst>
              </a:tr>
              <a:tr h="1191071">
                <a:tc>
                  <a:txBody>
                    <a:bodyPr/>
                    <a:lstStyle/>
                    <a:p>
                      <a:pPr algn="ctr"/>
                      <a:r>
                        <a:rPr lang="en-US" sz="1600" dirty="0" smtClean="0"/>
                        <a:t>Dedicated Improvement Team</a:t>
                      </a:r>
                      <a:endParaRPr lang="en-IN" sz="1600" dirty="0"/>
                    </a:p>
                  </a:txBody>
                  <a:tcPr anchor="ctr"/>
                </a:tc>
                <a:tc>
                  <a:txBody>
                    <a:bodyPr/>
                    <a:lstStyle/>
                    <a:p>
                      <a:pPr marL="285750" indent="-285750" algn="ctr">
                        <a:buFont typeface="Arial" panose="020B0604020202020204" pitchFamily="34" charset="0"/>
                        <a:buChar char="•"/>
                      </a:pPr>
                      <a:r>
                        <a:rPr lang="en-US" sz="1600" dirty="0" smtClean="0"/>
                        <a:t>Establish a team focused</a:t>
                      </a:r>
                      <a:r>
                        <a:rPr lang="en-US" sz="1600" baseline="0" dirty="0" smtClean="0"/>
                        <a:t> on ongoing process improvement and data analysis</a:t>
                      </a:r>
                      <a:endParaRPr lang="en-IN" sz="1600" dirty="0"/>
                    </a:p>
                  </a:txBody>
                  <a:tcPr anchor="ctr"/>
                </a:tc>
                <a:tc>
                  <a:txBody>
                    <a:bodyPr/>
                    <a:lstStyle/>
                    <a:p>
                      <a:pPr marL="285750" indent="-285750" algn="ctr">
                        <a:buFont typeface="Wingdings" panose="05000000000000000000" pitchFamily="2" charset="2"/>
                        <a:buChar char="§"/>
                      </a:pPr>
                      <a:r>
                        <a:rPr lang="en-US" sz="1600" dirty="0" smtClean="0"/>
                        <a:t>Continuous identification of improvement opportunities, keeping the process aligned with strategic goals.</a:t>
                      </a:r>
                      <a:endParaRPr lang="en-IN" sz="1600" dirty="0"/>
                    </a:p>
                  </a:txBody>
                  <a:tcPr anchor="ctr"/>
                </a:tc>
                <a:extLst>
                  <a:ext uri="{0D108BD9-81ED-4DB2-BD59-A6C34878D82A}">
                    <a16:rowId xmlns:a16="http://schemas.microsoft.com/office/drawing/2014/main" val="1655928743"/>
                  </a:ext>
                </a:extLst>
              </a:tr>
              <a:tr h="1191071">
                <a:tc>
                  <a:txBody>
                    <a:bodyPr/>
                    <a:lstStyle/>
                    <a:p>
                      <a:pPr algn="ctr"/>
                      <a:r>
                        <a:rPr lang="en-US" sz="1600" dirty="0" smtClean="0"/>
                        <a:t>Periodic Reviews</a:t>
                      </a:r>
                      <a:endParaRPr lang="en-IN" sz="1600" dirty="0"/>
                    </a:p>
                  </a:txBody>
                  <a:tcPr anchor="ctr"/>
                </a:tc>
                <a:tc>
                  <a:txBody>
                    <a:bodyPr/>
                    <a:lstStyle/>
                    <a:p>
                      <a:pPr marL="285750" indent="-285750" algn="ctr">
                        <a:buFont typeface="Arial" panose="020B0604020202020204" pitchFamily="34" charset="0"/>
                        <a:buChar char="•"/>
                      </a:pPr>
                      <a:r>
                        <a:rPr lang="en-US" sz="1600" dirty="0" smtClean="0"/>
                        <a:t>Schedule regular reviews at the management level</a:t>
                      </a:r>
                      <a:endParaRPr lang="en-IN" sz="1600" dirty="0"/>
                    </a:p>
                  </a:txBody>
                  <a:tcPr anchor="ctr"/>
                </a:tc>
                <a:tc>
                  <a:txBody>
                    <a:bodyPr/>
                    <a:lstStyle/>
                    <a:p>
                      <a:pPr marL="285750" indent="-285750" algn="ctr">
                        <a:buFont typeface="Wingdings" panose="05000000000000000000" pitchFamily="2" charset="2"/>
                        <a:buChar char="§"/>
                      </a:pPr>
                      <a:r>
                        <a:rPr lang="en-US" sz="1600" dirty="0" smtClean="0"/>
                        <a:t>Assurance that improvements are aligned with company goals, fostering a culture of continuous improvement.</a:t>
                      </a:r>
                      <a:endParaRPr lang="en-IN" sz="1600" dirty="0"/>
                    </a:p>
                  </a:txBody>
                  <a:tcPr anchor="ctr"/>
                </a:tc>
                <a:extLst>
                  <a:ext uri="{0D108BD9-81ED-4DB2-BD59-A6C34878D82A}">
                    <a16:rowId xmlns:a16="http://schemas.microsoft.com/office/drawing/2014/main" val="2668070578"/>
                  </a:ext>
                </a:extLst>
              </a:tr>
            </a:tbl>
          </a:graphicData>
        </a:graphic>
      </p:graphicFrame>
      <p:sp>
        <p:nvSpPr>
          <p:cNvPr id="5" name="Slide Number Placeholder 4"/>
          <p:cNvSpPr>
            <a:spLocks noGrp="1"/>
          </p:cNvSpPr>
          <p:nvPr>
            <p:ph type="sldNum" sz="quarter" idx="12"/>
          </p:nvPr>
        </p:nvSpPr>
        <p:spPr>
          <a:xfrm>
            <a:off x="11582400" y="6331070"/>
            <a:ext cx="457200" cy="365125"/>
          </a:xfrm>
        </p:spPr>
        <p:txBody>
          <a:bodyPr/>
          <a:lstStyle/>
          <a:p>
            <a:fld id="{B4792231-69F4-4F9D-9049-A1DDF7DEBE79}" type="slidenum">
              <a:rPr lang="en-US" smtClean="0"/>
              <a:t>25</a:t>
            </a:fld>
            <a:endParaRPr lang="en-US" dirty="0"/>
          </a:p>
        </p:txBody>
      </p:sp>
    </p:spTree>
    <p:extLst>
      <p:ext uri="{BB962C8B-B14F-4D97-AF65-F5344CB8AC3E}">
        <p14:creationId xmlns:p14="http://schemas.microsoft.com/office/powerpoint/2010/main" val="193785476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81600" y="2895600"/>
            <a:ext cx="2362200" cy="731520"/>
          </a:xfrm>
        </p:spPr>
        <p:txBody>
          <a:bodyPr/>
          <a:lstStyle/>
          <a:p>
            <a:r>
              <a:rPr lang="en-US" sz="2700" dirty="0" smtClean="0">
                <a:solidFill>
                  <a:schemeClr val="accent2">
                    <a:lumMod val="50000"/>
                  </a:schemeClr>
                </a:solidFill>
              </a:rPr>
              <a:t>Thank You!</a:t>
            </a:r>
            <a:endParaRPr lang="en-IN" sz="2700" dirty="0">
              <a:solidFill>
                <a:schemeClr val="accent2">
                  <a:lumMod val="50000"/>
                </a:schemeClr>
              </a:solidFill>
            </a:endParaRPr>
          </a:p>
        </p:txBody>
      </p:sp>
      <p:sp>
        <p:nvSpPr>
          <p:cNvPr id="5" name="Slide Number Placeholder 4"/>
          <p:cNvSpPr>
            <a:spLocks noGrp="1"/>
          </p:cNvSpPr>
          <p:nvPr>
            <p:ph type="sldNum" sz="quarter" idx="12"/>
          </p:nvPr>
        </p:nvSpPr>
        <p:spPr>
          <a:xfrm>
            <a:off x="11658600" y="6324600"/>
            <a:ext cx="457200" cy="365125"/>
          </a:xfrm>
        </p:spPr>
        <p:txBody>
          <a:bodyPr/>
          <a:lstStyle/>
          <a:p>
            <a:fld id="{B4792231-69F4-4F9D-9049-A1DDF7DEBE79}" type="slidenum">
              <a:rPr lang="en-US" smtClean="0"/>
              <a:t>26</a:t>
            </a:fld>
            <a:endParaRPr lang="en-US" dirty="0"/>
          </a:p>
        </p:txBody>
      </p:sp>
    </p:spTree>
    <p:extLst>
      <p:ext uri="{BB962C8B-B14F-4D97-AF65-F5344CB8AC3E}">
        <p14:creationId xmlns:p14="http://schemas.microsoft.com/office/powerpoint/2010/main" val="42357811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90"/>
        <p:cNvGrpSpPr/>
        <p:nvPr/>
      </p:nvGrpSpPr>
      <p:grpSpPr>
        <a:xfrm>
          <a:off x="0" y="0"/>
          <a:ext cx="0" cy="0"/>
          <a:chOff x="0" y="0"/>
          <a:chExt cx="0" cy="0"/>
        </a:xfrm>
      </p:grpSpPr>
      <p:sp>
        <p:nvSpPr>
          <p:cNvPr id="191" name="Google Shape;191;p34"/>
          <p:cNvSpPr txBox="1">
            <a:spLocks noGrp="1"/>
          </p:cNvSpPr>
          <p:nvPr>
            <p:ph type="title"/>
          </p:nvPr>
        </p:nvSpPr>
        <p:spPr>
          <a:xfrm>
            <a:off x="547703" y="180612"/>
            <a:ext cx="10160000" cy="731600"/>
          </a:xfrm>
          <a:prstGeom prst="rect">
            <a:avLst/>
          </a:prstGeom>
          <a:noFill/>
          <a:ln>
            <a:noFill/>
          </a:ln>
        </p:spPr>
        <p:txBody>
          <a:bodyPr spcFirstLastPara="1" vert="horz" wrap="square" lIns="0" tIns="0" rIns="0" bIns="0" rtlCol="0" anchor="b" anchorCtr="0">
            <a:noAutofit/>
          </a:bodyPr>
          <a:lstStyle/>
          <a:p>
            <a:pPr>
              <a:spcBef>
                <a:spcPts val="0"/>
              </a:spcBef>
              <a:buClr>
                <a:srgbClr val="00341B"/>
              </a:buClr>
              <a:buSzPts val="2100"/>
            </a:pPr>
            <a:r>
              <a:rPr lang="en" sz="2800" dirty="0">
                <a:solidFill>
                  <a:srgbClr val="00341B"/>
                </a:solidFill>
              </a:rPr>
              <a:t>Company Overview and Situation</a:t>
            </a:r>
            <a:endParaRPr dirty="0"/>
          </a:p>
        </p:txBody>
      </p:sp>
      <p:cxnSp>
        <p:nvCxnSpPr>
          <p:cNvPr id="192" name="Google Shape;192;p34"/>
          <p:cNvCxnSpPr/>
          <p:nvPr/>
        </p:nvCxnSpPr>
        <p:spPr>
          <a:xfrm>
            <a:off x="1600200" y="6553200"/>
            <a:ext cx="8892208" cy="0"/>
          </a:xfrm>
          <a:prstGeom prst="straightConnector1">
            <a:avLst/>
          </a:prstGeom>
          <a:noFill/>
          <a:ln w="38100" cap="flat" cmpd="sng">
            <a:solidFill>
              <a:srgbClr val="00550B">
                <a:alpha val="49803"/>
              </a:srgbClr>
            </a:solidFill>
            <a:prstDash val="solid"/>
            <a:round/>
            <a:headEnd type="none" w="sm" len="sm"/>
            <a:tailEnd type="none" w="sm" len="sm"/>
          </a:ln>
        </p:spPr>
      </p:cxnSp>
      <p:grpSp>
        <p:nvGrpSpPr>
          <p:cNvPr id="4" name="World Map">
            <a:extLst>
              <a:ext uri="{FF2B5EF4-FFF2-40B4-BE49-F238E27FC236}">
                <a16:creationId xmlns:a16="http://schemas.microsoft.com/office/drawing/2014/main" id="{ED2299C8-82DC-CD48-1573-558F05A37AA3}"/>
              </a:ext>
            </a:extLst>
          </p:cNvPr>
          <p:cNvGrpSpPr/>
          <p:nvPr/>
        </p:nvGrpSpPr>
        <p:grpSpPr>
          <a:xfrm>
            <a:off x="-28030" y="1374812"/>
            <a:ext cx="8343900" cy="4732722"/>
            <a:chOff x="399011" y="834814"/>
            <a:chExt cx="8342794" cy="4070611"/>
          </a:xfrm>
          <a:solidFill>
            <a:schemeClr val="bg1">
              <a:lumMod val="95000"/>
            </a:schemeClr>
          </a:solidFill>
        </p:grpSpPr>
        <p:sp>
          <p:nvSpPr>
            <p:cNvPr id="5" name="Zimbabwe" descr="© INSCALE GmbH, 05.05.2010&#10;http://www.presentationload.com/">
              <a:extLst>
                <a:ext uri="{FF2B5EF4-FFF2-40B4-BE49-F238E27FC236}">
                  <a16:creationId xmlns:a16="http://schemas.microsoft.com/office/drawing/2014/main" id="{EAC90242-C501-3004-6150-11E7FBD3040C}"/>
                </a:ext>
              </a:extLst>
            </p:cNvPr>
            <p:cNvSpPr>
              <a:spLocks/>
            </p:cNvSpPr>
            <p:nvPr/>
          </p:nvSpPr>
          <p:spPr bwMode="gray">
            <a:xfrm>
              <a:off x="4909872" y="3695804"/>
              <a:ext cx="209015" cy="209016"/>
            </a:xfrm>
            <a:custGeom>
              <a:avLst/>
              <a:gdLst>
                <a:gd name="T0" fmla="*/ 2147483647 w 552"/>
                <a:gd name="T1" fmla="*/ 2147483647 h 552"/>
                <a:gd name="T2" fmla="*/ 2147483647 w 552"/>
                <a:gd name="T3" fmla="*/ 2147483647 h 552"/>
                <a:gd name="T4" fmla="*/ 2147483647 w 552"/>
                <a:gd name="T5" fmla="*/ 2147483647 h 552"/>
                <a:gd name="T6" fmla="*/ 2147483647 w 552"/>
                <a:gd name="T7" fmla="*/ 2147483647 h 552"/>
                <a:gd name="T8" fmla="*/ 2147483647 w 552"/>
                <a:gd name="T9" fmla="*/ 2147483647 h 552"/>
                <a:gd name="T10" fmla="*/ 2147483647 w 552"/>
                <a:gd name="T11" fmla="*/ 2147483647 h 552"/>
                <a:gd name="T12" fmla="*/ 2147483647 w 552"/>
                <a:gd name="T13" fmla="*/ 2147483647 h 552"/>
                <a:gd name="T14" fmla="*/ 2147483647 w 552"/>
                <a:gd name="T15" fmla="*/ 2147483647 h 552"/>
                <a:gd name="T16" fmla="*/ 2147483647 w 552"/>
                <a:gd name="T17" fmla="*/ 2147483647 h 552"/>
                <a:gd name="T18" fmla="*/ 2147483647 w 552"/>
                <a:gd name="T19" fmla="*/ 2147483647 h 552"/>
                <a:gd name="T20" fmla="*/ 2147483647 w 552"/>
                <a:gd name="T21" fmla="*/ 2147483647 h 552"/>
                <a:gd name="T22" fmla="*/ 2147483647 w 552"/>
                <a:gd name="T23" fmla="*/ 2147483647 h 552"/>
                <a:gd name="T24" fmla="*/ 2147483647 w 552"/>
                <a:gd name="T25" fmla="*/ 2147483647 h 552"/>
                <a:gd name="T26" fmla="*/ 2147483647 w 552"/>
                <a:gd name="T27" fmla="*/ 2147483647 h 552"/>
                <a:gd name="T28" fmla="*/ 2147483647 w 552"/>
                <a:gd name="T29" fmla="*/ 2147483647 h 552"/>
                <a:gd name="T30" fmla="*/ 2147483647 w 552"/>
                <a:gd name="T31" fmla="*/ 2147483647 h 552"/>
                <a:gd name="T32" fmla="*/ 2147483647 w 552"/>
                <a:gd name="T33" fmla="*/ 2147483647 h 552"/>
                <a:gd name="T34" fmla="*/ 2147483647 w 552"/>
                <a:gd name="T35" fmla="*/ 2147483647 h 552"/>
                <a:gd name="T36" fmla="*/ 2147483647 w 552"/>
                <a:gd name="T37" fmla="*/ 2147483647 h 552"/>
                <a:gd name="T38" fmla="*/ 2147483647 w 552"/>
                <a:gd name="T39" fmla="*/ 2147483647 h 552"/>
                <a:gd name="T40" fmla="*/ 2147483647 w 552"/>
                <a:gd name="T41" fmla="*/ 2147483647 h 552"/>
                <a:gd name="T42" fmla="*/ 2147483647 w 552"/>
                <a:gd name="T43" fmla="*/ 2147483647 h 552"/>
                <a:gd name="T44" fmla="*/ 2147483647 w 552"/>
                <a:gd name="T45" fmla="*/ 2147483647 h 552"/>
                <a:gd name="T46" fmla="*/ 2147483647 w 552"/>
                <a:gd name="T47" fmla="*/ 2147483647 h 552"/>
                <a:gd name="T48" fmla="*/ 2147483647 w 552"/>
                <a:gd name="T49" fmla="*/ 2147483647 h 552"/>
                <a:gd name="T50" fmla="*/ 2147483647 w 552"/>
                <a:gd name="T51" fmla="*/ 2147483647 h 552"/>
                <a:gd name="T52" fmla="*/ 2147483647 w 552"/>
                <a:gd name="T53" fmla="*/ 2147483647 h 552"/>
                <a:gd name="T54" fmla="*/ 2147483647 w 552"/>
                <a:gd name="T55" fmla="*/ 2147483647 h 552"/>
                <a:gd name="T56" fmla="*/ 2147483647 w 552"/>
                <a:gd name="T57" fmla="*/ 2147483647 h 552"/>
                <a:gd name="T58" fmla="*/ 2147483647 w 552"/>
                <a:gd name="T59" fmla="*/ 2147483647 h 552"/>
                <a:gd name="T60" fmla="*/ 2147483647 w 552"/>
                <a:gd name="T61" fmla="*/ 2147483647 h 552"/>
                <a:gd name="T62" fmla="*/ 2147483647 w 552"/>
                <a:gd name="T63" fmla="*/ 2147483647 h 552"/>
                <a:gd name="T64" fmla="*/ 2147483647 w 552"/>
                <a:gd name="T65" fmla="*/ 2147483647 h 552"/>
                <a:gd name="T66" fmla="*/ 2147483647 w 552"/>
                <a:gd name="T67" fmla="*/ 2147483647 h 552"/>
                <a:gd name="T68" fmla="*/ 2147483647 w 552"/>
                <a:gd name="T69" fmla="*/ 2147483647 h 552"/>
                <a:gd name="T70" fmla="*/ 2147483647 w 552"/>
                <a:gd name="T71" fmla="*/ 2147483647 h 552"/>
                <a:gd name="T72" fmla="*/ 2147483647 w 552"/>
                <a:gd name="T73" fmla="*/ 2147483647 h 552"/>
                <a:gd name="T74" fmla="*/ 2147483647 w 552"/>
                <a:gd name="T75" fmla="*/ 0 h 552"/>
                <a:gd name="T76" fmla="*/ 2147483647 w 552"/>
                <a:gd name="T77" fmla="*/ 2147483647 h 552"/>
                <a:gd name="T78" fmla="*/ 2147483647 w 552"/>
                <a:gd name="T79" fmla="*/ 2147483647 h 552"/>
                <a:gd name="T80" fmla="*/ 2147483647 w 552"/>
                <a:gd name="T81" fmla="*/ 2147483647 h 552"/>
                <a:gd name="T82" fmla="*/ 2147483647 w 552"/>
                <a:gd name="T83" fmla="*/ 2147483647 h 552"/>
                <a:gd name="T84" fmla="*/ 2147483647 w 552"/>
                <a:gd name="T85" fmla="*/ 2147483647 h 552"/>
                <a:gd name="T86" fmla="*/ 2147483647 w 552"/>
                <a:gd name="T87" fmla="*/ 2147483647 h 552"/>
                <a:gd name="T88" fmla="*/ 2147483647 w 552"/>
                <a:gd name="T89" fmla="*/ 2147483647 h 552"/>
                <a:gd name="T90" fmla="*/ 2147483647 w 552"/>
                <a:gd name="T91" fmla="*/ 2147483647 h 552"/>
                <a:gd name="T92" fmla="*/ 2147483647 w 552"/>
                <a:gd name="T93" fmla="*/ 2147483647 h 552"/>
                <a:gd name="T94" fmla="*/ 2147483647 w 552"/>
                <a:gd name="T95" fmla="*/ 2147483647 h 552"/>
                <a:gd name="T96" fmla="*/ 2147483647 w 552"/>
                <a:gd name="T97" fmla="*/ 2147483647 h 552"/>
                <a:gd name="T98" fmla="*/ 2147483647 w 552"/>
                <a:gd name="T99" fmla="*/ 2147483647 h 552"/>
                <a:gd name="T100" fmla="*/ 2147483647 w 552"/>
                <a:gd name="T101" fmla="*/ 2147483647 h 552"/>
                <a:gd name="T102" fmla="*/ 2147483647 w 552"/>
                <a:gd name="T103" fmla="*/ 2147483647 h 55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52"/>
                <a:gd name="T157" fmla="*/ 0 h 552"/>
                <a:gd name="T158" fmla="*/ 552 w 552"/>
                <a:gd name="T159" fmla="*/ 552 h 55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52" h="552">
                  <a:moveTo>
                    <a:pt x="18" y="204"/>
                  </a:moveTo>
                  <a:lnTo>
                    <a:pt x="18" y="234"/>
                  </a:lnTo>
                  <a:lnTo>
                    <a:pt x="30" y="234"/>
                  </a:lnTo>
                  <a:lnTo>
                    <a:pt x="36" y="240"/>
                  </a:lnTo>
                  <a:lnTo>
                    <a:pt x="48" y="264"/>
                  </a:lnTo>
                  <a:lnTo>
                    <a:pt x="54" y="270"/>
                  </a:lnTo>
                  <a:lnTo>
                    <a:pt x="54" y="294"/>
                  </a:lnTo>
                  <a:lnTo>
                    <a:pt x="72" y="330"/>
                  </a:lnTo>
                  <a:lnTo>
                    <a:pt x="84" y="336"/>
                  </a:lnTo>
                  <a:lnTo>
                    <a:pt x="102" y="354"/>
                  </a:lnTo>
                  <a:lnTo>
                    <a:pt x="132" y="354"/>
                  </a:lnTo>
                  <a:lnTo>
                    <a:pt x="138" y="360"/>
                  </a:lnTo>
                  <a:lnTo>
                    <a:pt x="138" y="390"/>
                  </a:lnTo>
                  <a:lnTo>
                    <a:pt x="168" y="390"/>
                  </a:lnTo>
                  <a:lnTo>
                    <a:pt x="174" y="414"/>
                  </a:lnTo>
                  <a:lnTo>
                    <a:pt x="168" y="420"/>
                  </a:lnTo>
                  <a:lnTo>
                    <a:pt x="168" y="450"/>
                  </a:lnTo>
                  <a:lnTo>
                    <a:pt x="186" y="450"/>
                  </a:lnTo>
                  <a:lnTo>
                    <a:pt x="186" y="480"/>
                  </a:lnTo>
                  <a:lnTo>
                    <a:pt x="198" y="480"/>
                  </a:lnTo>
                  <a:lnTo>
                    <a:pt x="216" y="486"/>
                  </a:lnTo>
                  <a:lnTo>
                    <a:pt x="228" y="486"/>
                  </a:lnTo>
                  <a:lnTo>
                    <a:pt x="246" y="492"/>
                  </a:lnTo>
                  <a:lnTo>
                    <a:pt x="264" y="510"/>
                  </a:lnTo>
                  <a:lnTo>
                    <a:pt x="270" y="522"/>
                  </a:lnTo>
                  <a:lnTo>
                    <a:pt x="270" y="528"/>
                  </a:lnTo>
                  <a:lnTo>
                    <a:pt x="252" y="528"/>
                  </a:lnTo>
                  <a:lnTo>
                    <a:pt x="312" y="528"/>
                  </a:lnTo>
                  <a:lnTo>
                    <a:pt x="324" y="534"/>
                  </a:lnTo>
                  <a:lnTo>
                    <a:pt x="330" y="534"/>
                  </a:lnTo>
                  <a:lnTo>
                    <a:pt x="342" y="540"/>
                  </a:lnTo>
                  <a:lnTo>
                    <a:pt x="402" y="540"/>
                  </a:lnTo>
                  <a:lnTo>
                    <a:pt x="420" y="552"/>
                  </a:lnTo>
                  <a:lnTo>
                    <a:pt x="486" y="468"/>
                  </a:lnTo>
                  <a:lnTo>
                    <a:pt x="504" y="462"/>
                  </a:lnTo>
                  <a:lnTo>
                    <a:pt x="492" y="444"/>
                  </a:lnTo>
                  <a:lnTo>
                    <a:pt x="504" y="432"/>
                  </a:lnTo>
                  <a:lnTo>
                    <a:pt x="504" y="402"/>
                  </a:lnTo>
                  <a:lnTo>
                    <a:pt x="516" y="396"/>
                  </a:lnTo>
                  <a:lnTo>
                    <a:pt x="528" y="384"/>
                  </a:lnTo>
                  <a:lnTo>
                    <a:pt x="528" y="372"/>
                  </a:lnTo>
                  <a:lnTo>
                    <a:pt x="540" y="360"/>
                  </a:lnTo>
                  <a:lnTo>
                    <a:pt x="546" y="348"/>
                  </a:lnTo>
                  <a:lnTo>
                    <a:pt x="546" y="342"/>
                  </a:lnTo>
                  <a:lnTo>
                    <a:pt x="522" y="318"/>
                  </a:lnTo>
                  <a:lnTo>
                    <a:pt x="522" y="306"/>
                  </a:lnTo>
                  <a:lnTo>
                    <a:pt x="540" y="288"/>
                  </a:lnTo>
                  <a:lnTo>
                    <a:pt x="522" y="264"/>
                  </a:lnTo>
                  <a:lnTo>
                    <a:pt x="540" y="252"/>
                  </a:lnTo>
                  <a:lnTo>
                    <a:pt x="540" y="240"/>
                  </a:lnTo>
                  <a:lnTo>
                    <a:pt x="546" y="240"/>
                  </a:lnTo>
                  <a:lnTo>
                    <a:pt x="546" y="234"/>
                  </a:lnTo>
                  <a:lnTo>
                    <a:pt x="552" y="228"/>
                  </a:lnTo>
                  <a:lnTo>
                    <a:pt x="552" y="216"/>
                  </a:lnTo>
                  <a:lnTo>
                    <a:pt x="540" y="192"/>
                  </a:lnTo>
                  <a:lnTo>
                    <a:pt x="540" y="180"/>
                  </a:lnTo>
                  <a:lnTo>
                    <a:pt x="546" y="174"/>
                  </a:lnTo>
                  <a:lnTo>
                    <a:pt x="546" y="168"/>
                  </a:lnTo>
                  <a:lnTo>
                    <a:pt x="552" y="162"/>
                  </a:lnTo>
                  <a:lnTo>
                    <a:pt x="540" y="150"/>
                  </a:lnTo>
                  <a:lnTo>
                    <a:pt x="552" y="138"/>
                  </a:lnTo>
                  <a:lnTo>
                    <a:pt x="540" y="120"/>
                  </a:lnTo>
                  <a:lnTo>
                    <a:pt x="546" y="114"/>
                  </a:lnTo>
                  <a:lnTo>
                    <a:pt x="552" y="102"/>
                  </a:lnTo>
                  <a:lnTo>
                    <a:pt x="552" y="96"/>
                  </a:lnTo>
                  <a:lnTo>
                    <a:pt x="540" y="84"/>
                  </a:lnTo>
                  <a:lnTo>
                    <a:pt x="528" y="84"/>
                  </a:lnTo>
                  <a:lnTo>
                    <a:pt x="510" y="66"/>
                  </a:lnTo>
                  <a:lnTo>
                    <a:pt x="498" y="66"/>
                  </a:lnTo>
                  <a:lnTo>
                    <a:pt x="486" y="72"/>
                  </a:lnTo>
                  <a:lnTo>
                    <a:pt x="480" y="72"/>
                  </a:lnTo>
                  <a:lnTo>
                    <a:pt x="462" y="48"/>
                  </a:lnTo>
                  <a:lnTo>
                    <a:pt x="444" y="48"/>
                  </a:lnTo>
                  <a:lnTo>
                    <a:pt x="432" y="30"/>
                  </a:lnTo>
                  <a:lnTo>
                    <a:pt x="372" y="30"/>
                  </a:lnTo>
                  <a:lnTo>
                    <a:pt x="366" y="0"/>
                  </a:lnTo>
                  <a:lnTo>
                    <a:pt x="330" y="0"/>
                  </a:lnTo>
                  <a:lnTo>
                    <a:pt x="294" y="12"/>
                  </a:lnTo>
                  <a:lnTo>
                    <a:pt x="282" y="24"/>
                  </a:lnTo>
                  <a:lnTo>
                    <a:pt x="258" y="36"/>
                  </a:lnTo>
                  <a:lnTo>
                    <a:pt x="258" y="72"/>
                  </a:lnTo>
                  <a:lnTo>
                    <a:pt x="252" y="78"/>
                  </a:lnTo>
                  <a:lnTo>
                    <a:pt x="240" y="78"/>
                  </a:lnTo>
                  <a:lnTo>
                    <a:pt x="228" y="84"/>
                  </a:lnTo>
                  <a:lnTo>
                    <a:pt x="210" y="90"/>
                  </a:lnTo>
                  <a:lnTo>
                    <a:pt x="198" y="96"/>
                  </a:lnTo>
                  <a:lnTo>
                    <a:pt x="192" y="102"/>
                  </a:lnTo>
                  <a:lnTo>
                    <a:pt x="180" y="126"/>
                  </a:lnTo>
                  <a:lnTo>
                    <a:pt x="174" y="132"/>
                  </a:lnTo>
                  <a:lnTo>
                    <a:pt x="174" y="138"/>
                  </a:lnTo>
                  <a:lnTo>
                    <a:pt x="168" y="144"/>
                  </a:lnTo>
                  <a:lnTo>
                    <a:pt x="162" y="156"/>
                  </a:lnTo>
                  <a:lnTo>
                    <a:pt x="132" y="186"/>
                  </a:lnTo>
                  <a:lnTo>
                    <a:pt x="108" y="198"/>
                  </a:lnTo>
                  <a:lnTo>
                    <a:pt x="90" y="198"/>
                  </a:lnTo>
                  <a:lnTo>
                    <a:pt x="90" y="192"/>
                  </a:lnTo>
                  <a:lnTo>
                    <a:pt x="78" y="180"/>
                  </a:lnTo>
                  <a:lnTo>
                    <a:pt x="66" y="180"/>
                  </a:lnTo>
                  <a:lnTo>
                    <a:pt x="66" y="192"/>
                  </a:lnTo>
                  <a:lnTo>
                    <a:pt x="54" y="192"/>
                  </a:lnTo>
                  <a:lnTo>
                    <a:pt x="42" y="180"/>
                  </a:lnTo>
                  <a:lnTo>
                    <a:pt x="42" y="174"/>
                  </a:lnTo>
                  <a:lnTo>
                    <a:pt x="0" y="174"/>
                  </a:lnTo>
                  <a:lnTo>
                    <a:pt x="6" y="192"/>
                  </a:lnTo>
                  <a:lnTo>
                    <a:pt x="18" y="204"/>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6" name="Zambia" descr="© INSCALE GmbH, 05.05.2010&#10;http://www.presentationload.com/">
              <a:extLst>
                <a:ext uri="{FF2B5EF4-FFF2-40B4-BE49-F238E27FC236}">
                  <a16:creationId xmlns:a16="http://schemas.microsoft.com/office/drawing/2014/main" id="{724A95FB-7438-7F5F-48B4-6A93D6487385}"/>
                </a:ext>
              </a:extLst>
            </p:cNvPr>
            <p:cNvSpPr>
              <a:spLocks/>
            </p:cNvSpPr>
            <p:nvPr/>
          </p:nvSpPr>
          <p:spPr bwMode="gray">
            <a:xfrm>
              <a:off x="4825375" y="3467518"/>
              <a:ext cx="315746" cy="302405"/>
            </a:xfrm>
            <a:custGeom>
              <a:avLst/>
              <a:gdLst>
                <a:gd name="T0" fmla="*/ 2147483647 w 834"/>
                <a:gd name="T1" fmla="*/ 2147483647 h 798"/>
                <a:gd name="T2" fmla="*/ 2147483647 w 834"/>
                <a:gd name="T3" fmla="*/ 2147483647 h 798"/>
                <a:gd name="T4" fmla="*/ 2147483647 w 834"/>
                <a:gd name="T5" fmla="*/ 2147483647 h 798"/>
                <a:gd name="T6" fmla="*/ 2147483647 w 834"/>
                <a:gd name="T7" fmla="*/ 2147483647 h 798"/>
                <a:gd name="T8" fmla="*/ 2147483647 w 834"/>
                <a:gd name="T9" fmla="*/ 2147483647 h 798"/>
                <a:gd name="T10" fmla="*/ 2147483647 w 834"/>
                <a:gd name="T11" fmla="*/ 2147483647 h 798"/>
                <a:gd name="T12" fmla="*/ 2147483647 w 834"/>
                <a:gd name="T13" fmla="*/ 2147483647 h 798"/>
                <a:gd name="T14" fmla="*/ 2147483647 w 834"/>
                <a:gd name="T15" fmla="*/ 2147483647 h 798"/>
                <a:gd name="T16" fmla="*/ 2147483647 w 834"/>
                <a:gd name="T17" fmla="*/ 2147483647 h 798"/>
                <a:gd name="T18" fmla="*/ 2147483647 w 834"/>
                <a:gd name="T19" fmla="*/ 2147483647 h 798"/>
                <a:gd name="T20" fmla="*/ 2147483647 w 834"/>
                <a:gd name="T21" fmla="*/ 2147483647 h 798"/>
                <a:gd name="T22" fmla="*/ 2147483647 w 834"/>
                <a:gd name="T23" fmla="*/ 2147483647 h 798"/>
                <a:gd name="T24" fmla="*/ 2147483647 w 834"/>
                <a:gd name="T25" fmla="*/ 2147483647 h 798"/>
                <a:gd name="T26" fmla="*/ 2147483647 w 834"/>
                <a:gd name="T27" fmla="*/ 2147483647 h 798"/>
                <a:gd name="T28" fmla="*/ 2147483647 w 834"/>
                <a:gd name="T29" fmla="*/ 2147483647 h 798"/>
                <a:gd name="T30" fmla="*/ 2147483647 w 834"/>
                <a:gd name="T31" fmla="*/ 2147483647 h 798"/>
                <a:gd name="T32" fmla="*/ 2147483647 w 834"/>
                <a:gd name="T33" fmla="*/ 2147483647 h 798"/>
                <a:gd name="T34" fmla="*/ 2147483647 w 834"/>
                <a:gd name="T35" fmla="*/ 2147483647 h 798"/>
                <a:gd name="T36" fmla="*/ 2147483647 w 834"/>
                <a:gd name="T37" fmla="*/ 2147483647 h 798"/>
                <a:gd name="T38" fmla="*/ 2147483647 w 834"/>
                <a:gd name="T39" fmla="*/ 2147483647 h 798"/>
                <a:gd name="T40" fmla="*/ 2147483647 w 834"/>
                <a:gd name="T41" fmla="*/ 2147483647 h 798"/>
                <a:gd name="T42" fmla="*/ 2147483647 w 834"/>
                <a:gd name="T43" fmla="*/ 2147483647 h 798"/>
                <a:gd name="T44" fmla="*/ 2147483647 w 834"/>
                <a:gd name="T45" fmla="*/ 2147483647 h 798"/>
                <a:gd name="T46" fmla="*/ 2147483647 w 834"/>
                <a:gd name="T47" fmla="*/ 2147483647 h 798"/>
                <a:gd name="T48" fmla="*/ 2147483647 w 834"/>
                <a:gd name="T49" fmla="*/ 2147483647 h 798"/>
                <a:gd name="T50" fmla="*/ 2147483647 w 834"/>
                <a:gd name="T51" fmla="*/ 2147483647 h 798"/>
                <a:gd name="T52" fmla="*/ 2147483647 w 834"/>
                <a:gd name="T53" fmla="*/ 2147483647 h 798"/>
                <a:gd name="T54" fmla="*/ 2147483647 w 834"/>
                <a:gd name="T55" fmla="*/ 2147483647 h 798"/>
                <a:gd name="T56" fmla="*/ 2147483647 w 834"/>
                <a:gd name="T57" fmla="*/ 2147483647 h 798"/>
                <a:gd name="T58" fmla="*/ 2147483647 w 834"/>
                <a:gd name="T59" fmla="*/ 2147483647 h 798"/>
                <a:gd name="T60" fmla="*/ 2147483647 w 834"/>
                <a:gd name="T61" fmla="*/ 2147483647 h 798"/>
                <a:gd name="T62" fmla="*/ 2147483647 w 834"/>
                <a:gd name="T63" fmla="*/ 2147483647 h 798"/>
                <a:gd name="T64" fmla="*/ 2147483647 w 834"/>
                <a:gd name="T65" fmla="*/ 2147483647 h 798"/>
                <a:gd name="T66" fmla="*/ 2147483647 w 834"/>
                <a:gd name="T67" fmla="*/ 2147483647 h 798"/>
                <a:gd name="T68" fmla="*/ 2147483647 w 834"/>
                <a:gd name="T69" fmla="*/ 2147483647 h 798"/>
                <a:gd name="T70" fmla="*/ 2147483647 w 834"/>
                <a:gd name="T71" fmla="*/ 2147483647 h 798"/>
                <a:gd name="T72" fmla="*/ 2147483647 w 834"/>
                <a:gd name="T73" fmla="*/ 2147483647 h 798"/>
                <a:gd name="T74" fmla="*/ 2147483647 w 834"/>
                <a:gd name="T75" fmla="*/ 2147483647 h 798"/>
                <a:gd name="T76" fmla="*/ 2147483647 w 834"/>
                <a:gd name="T77" fmla="*/ 2147483647 h 798"/>
                <a:gd name="T78" fmla="*/ 2147483647 w 834"/>
                <a:gd name="T79" fmla="*/ 2147483647 h 798"/>
                <a:gd name="T80" fmla="*/ 2147483647 w 834"/>
                <a:gd name="T81" fmla="*/ 2147483647 h 798"/>
                <a:gd name="T82" fmla="*/ 2147483647 w 834"/>
                <a:gd name="T83" fmla="*/ 2147483647 h 798"/>
                <a:gd name="T84" fmla="*/ 2147483647 w 834"/>
                <a:gd name="T85" fmla="*/ 2147483647 h 798"/>
                <a:gd name="T86" fmla="*/ 2147483647 w 834"/>
                <a:gd name="T87" fmla="*/ 2147483647 h 798"/>
                <a:gd name="T88" fmla="*/ 2147483647 w 834"/>
                <a:gd name="T89" fmla="*/ 2147483647 h 798"/>
                <a:gd name="T90" fmla="*/ 2147483647 w 834"/>
                <a:gd name="T91" fmla="*/ 2147483647 h 798"/>
                <a:gd name="T92" fmla="*/ 2147483647 w 834"/>
                <a:gd name="T93" fmla="*/ 2147483647 h 798"/>
                <a:gd name="T94" fmla="*/ 2147483647 w 834"/>
                <a:gd name="T95" fmla="*/ 2147483647 h 798"/>
                <a:gd name="T96" fmla="*/ 2147483647 w 834"/>
                <a:gd name="T97" fmla="*/ 2147483647 h 798"/>
                <a:gd name="T98" fmla="*/ 2147483647 w 834"/>
                <a:gd name="T99" fmla="*/ 2147483647 h 798"/>
                <a:gd name="T100" fmla="*/ 2147483647 w 834"/>
                <a:gd name="T101" fmla="*/ 2147483647 h 798"/>
                <a:gd name="T102" fmla="*/ 2147483647 w 834"/>
                <a:gd name="T103" fmla="*/ 2147483647 h 79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34"/>
                <a:gd name="T157" fmla="*/ 0 h 798"/>
                <a:gd name="T158" fmla="*/ 834 w 834"/>
                <a:gd name="T159" fmla="*/ 798 h 79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34" h="798">
                  <a:moveTo>
                    <a:pt x="822" y="186"/>
                  </a:moveTo>
                  <a:lnTo>
                    <a:pt x="822" y="162"/>
                  </a:lnTo>
                  <a:lnTo>
                    <a:pt x="816" y="168"/>
                  </a:lnTo>
                  <a:lnTo>
                    <a:pt x="810" y="168"/>
                  </a:lnTo>
                  <a:lnTo>
                    <a:pt x="810" y="126"/>
                  </a:lnTo>
                  <a:lnTo>
                    <a:pt x="798" y="114"/>
                  </a:lnTo>
                  <a:lnTo>
                    <a:pt x="786" y="114"/>
                  </a:lnTo>
                  <a:lnTo>
                    <a:pt x="786" y="102"/>
                  </a:lnTo>
                  <a:lnTo>
                    <a:pt x="768" y="90"/>
                  </a:lnTo>
                  <a:lnTo>
                    <a:pt x="750" y="90"/>
                  </a:lnTo>
                  <a:lnTo>
                    <a:pt x="750" y="72"/>
                  </a:lnTo>
                  <a:lnTo>
                    <a:pt x="738" y="78"/>
                  </a:lnTo>
                  <a:lnTo>
                    <a:pt x="726" y="78"/>
                  </a:lnTo>
                  <a:lnTo>
                    <a:pt x="708" y="60"/>
                  </a:lnTo>
                  <a:lnTo>
                    <a:pt x="690" y="60"/>
                  </a:lnTo>
                  <a:lnTo>
                    <a:pt x="684" y="54"/>
                  </a:lnTo>
                  <a:lnTo>
                    <a:pt x="684" y="36"/>
                  </a:lnTo>
                  <a:lnTo>
                    <a:pt x="672" y="42"/>
                  </a:lnTo>
                  <a:lnTo>
                    <a:pt x="654" y="42"/>
                  </a:lnTo>
                  <a:lnTo>
                    <a:pt x="648" y="54"/>
                  </a:lnTo>
                  <a:lnTo>
                    <a:pt x="642" y="60"/>
                  </a:lnTo>
                  <a:lnTo>
                    <a:pt x="636" y="60"/>
                  </a:lnTo>
                  <a:lnTo>
                    <a:pt x="624" y="48"/>
                  </a:lnTo>
                  <a:lnTo>
                    <a:pt x="624" y="36"/>
                  </a:lnTo>
                  <a:lnTo>
                    <a:pt x="618" y="30"/>
                  </a:lnTo>
                  <a:lnTo>
                    <a:pt x="606" y="30"/>
                  </a:lnTo>
                  <a:lnTo>
                    <a:pt x="600" y="24"/>
                  </a:lnTo>
                  <a:lnTo>
                    <a:pt x="594" y="24"/>
                  </a:lnTo>
                  <a:lnTo>
                    <a:pt x="594" y="6"/>
                  </a:lnTo>
                  <a:lnTo>
                    <a:pt x="600" y="0"/>
                  </a:lnTo>
                  <a:lnTo>
                    <a:pt x="576" y="12"/>
                  </a:lnTo>
                  <a:lnTo>
                    <a:pt x="558" y="12"/>
                  </a:lnTo>
                  <a:lnTo>
                    <a:pt x="546" y="18"/>
                  </a:lnTo>
                  <a:lnTo>
                    <a:pt x="528" y="18"/>
                  </a:lnTo>
                  <a:lnTo>
                    <a:pt x="510" y="24"/>
                  </a:lnTo>
                  <a:lnTo>
                    <a:pt x="498" y="24"/>
                  </a:lnTo>
                  <a:lnTo>
                    <a:pt x="498" y="54"/>
                  </a:lnTo>
                  <a:lnTo>
                    <a:pt x="480" y="72"/>
                  </a:lnTo>
                  <a:lnTo>
                    <a:pt x="468" y="78"/>
                  </a:lnTo>
                  <a:lnTo>
                    <a:pt x="462" y="84"/>
                  </a:lnTo>
                  <a:lnTo>
                    <a:pt x="456" y="84"/>
                  </a:lnTo>
                  <a:lnTo>
                    <a:pt x="468" y="96"/>
                  </a:lnTo>
                  <a:lnTo>
                    <a:pt x="468" y="102"/>
                  </a:lnTo>
                  <a:lnTo>
                    <a:pt x="474" y="108"/>
                  </a:lnTo>
                  <a:lnTo>
                    <a:pt x="474" y="114"/>
                  </a:lnTo>
                  <a:lnTo>
                    <a:pt x="480" y="120"/>
                  </a:lnTo>
                  <a:lnTo>
                    <a:pt x="480" y="144"/>
                  </a:lnTo>
                  <a:lnTo>
                    <a:pt x="486" y="162"/>
                  </a:lnTo>
                  <a:lnTo>
                    <a:pt x="486" y="216"/>
                  </a:lnTo>
                  <a:lnTo>
                    <a:pt x="474" y="228"/>
                  </a:lnTo>
                  <a:lnTo>
                    <a:pt x="468" y="240"/>
                  </a:lnTo>
                  <a:lnTo>
                    <a:pt x="462" y="258"/>
                  </a:lnTo>
                  <a:lnTo>
                    <a:pt x="456" y="270"/>
                  </a:lnTo>
                  <a:lnTo>
                    <a:pt x="456" y="294"/>
                  </a:lnTo>
                  <a:lnTo>
                    <a:pt x="468" y="306"/>
                  </a:lnTo>
                  <a:lnTo>
                    <a:pt x="474" y="306"/>
                  </a:lnTo>
                  <a:lnTo>
                    <a:pt x="474" y="312"/>
                  </a:lnTo>
                  <a:lnTo>
                    <a:pt x="480" y="312"/>
                  </a:lnTo>
                  <a:lnTo>
                    <a:pt x="510" y="342"/>
                  </a:lnTo>
                  <a:lnTo>
                    <a:pt x="522" y="348"/>
                  </a:lnTo>
                  <a:lnTo>
                    <a:pt x="528" y="348"/>
                  </a:lnTo>
                  <a:lnTo>
                    <a:pt x="534" y="342"/>
                  </a:lnTo>
                  <a:lnTo>
                    <a:pt x="534" y="324"/>
                  </a:lnTo>
                  <a:lnTo>
                    <a:pt x="558" y="324"/>
                  </a:lnTo>
                  <a:lnTo>
                    <a:pt x="558" y="372"/>
                  </a:lnTo>
                  <a:lnTo>
                    <a:pt x="552" y="408"/>
                  </a:lnTo>
                  <a:lnTo>
                    <a:pt x="546" y="426"/>
                  </a:lnTo>
                  <a:lnTo>
                    <a:pt x="540" y="426"/>
                  </a:lnTo>
                  <a:lnTo>
                    <a:pt x="540" y="420"/>
                  </a:lnTo>
                  <a:lnTo>
                    <a:pt x="534" y="408"/>
                  </a:lnTo>
                  <a:lnTo>
                    <a:pt x="516" y="420"/>
                  </a:lnTo>
                  <a:lnTo>
                    <a:pt x="498" y="420"/>
                  </a:lnTo>
                  <a:lnTo>
                    <a:pt x="498" y="408"/>
                  </a:lnTo>
                  <a:lnTo>
                    <a:pt x="492" y="396"/>
                  </a:lnTo>
                  <a:lnTo>
                    <a:pt x="492" y="384"/>
                  </a:lnTo>
                  <a:lnTo>
                    <a:pt x="480" y="372"/>
                  </a:lnTo>
                  <a:lnTo>
                    <a:pt x="468" y="372"/>
                  </a:lnTo>
                  <a:lnTo>
                    <a:pt x="462" y="360"/>
                  </a:lnTo>
                  <a:lnTo>
                    <a:pt x="462" y="354"/>
                  </a:lnTo>
                  <a:lnTo>
                    <a:pt x="456" y="342"/>
                  </a:lnTo>
                  <a:lnTo>
                    <a:pt x="450" y="336"/>
                  </a:lnTo>
                  <a:lnTo>
                    <a:pt x="444" y="336"/>
                  </a:lnTo>
                  <a:lnTo>
                    <a:pt x="438" y="342"/>
                  </a:lnTo>
                  <a:lnTo>
                    <a:pt x="426" y="342"/>
                  </a:lnTo>
                  <a:lnTo>
                    <a:pt x="426" y="330"/>
                  </a:lnTo>
                  <a:lnTo>
                    <a:pt x="420" y="324"/>
                  </a:lnTo>
                  <a:lnTo>
                    <a:pt x="390" y="324"/>
                  </a:lnTo>
                  <a:lnTo>
                    <a:pt x="390" y="312"/>
                  </a:lnTo>
                  <a:lnTo>
                    <a:pt x="396" y="312"/>
                  </a:lnTo>
                  <a:lnTo>
                    <a:pt x="396" y="300"/>
                  </a:lnTo>
                  <a:lnTo>
                    <a:pt x="384" y="300"/>
                  </a:lnTo>
                  <a:lnTo>
                    <a:pt x="378" y="294"/>
                  </a:lnTo>
                  <a:lnTo>
                    <a:pt x="378" y="282"/>
                  </a:lnTo>
                  <a:lnTo>
                    <a:pt x="366" y="270"/>
                  </a:lnTo>
                  <a:lnTo>
                    <a:pt x="360" y="270"/>
                  </a:lnTo>
                  <a:lnTo>
                    <a:pt x="354" y="276"/>
                  </a:lnTo>
                  <a:lnTo>
                    <a:pt x="354" y="294"/>
                  </a:lnTo>
                  <a:lnTo>
                    <a:pt x="348" y="300"/>
                  </a:lnTo>
                  <a:lnTo>
                    <a:pt x="348" y="306"/>
                  </a:lnTo>
                  <a:lnTo>
                    <a:pt x="330" y="306"/>
                  </a:lnTo>
                  <a:lnTo>
                    <a:pt x="300" y="300"/>
                  </a:lnTo>
                  <a:lnTo>
                    <a:pt x="264" y="294"/>
                  </a:lnTo>
                  <a:lnTo>
                    <a:pt x="246" y="282"/>
                  </a:lnTo>
                  <a:lnTo>
                    <a:pt x="240" y="276"/>
                  </a:lnTo>
                  <a:lnTo>
                    <a:pt x="234" y="264"/>
                  </a:lnTo>
                  <a:lnTo>
                    <a:pt x="234" y="246"/>
                  </a:lnTo>
                  <a:lnTo>
                    <a:pt x="192" y="252"/>
                  </a:lnTo>
                  <a:lnTo>
                    <a:pt x="198" y="258"/>
                  </a:lnTo>
                  <a:lnTo>
                    <a:pt x="198" y="264"/>
                  </a:lnTo>
                  <a:lnTo>
                    <a:pt x="180" y="264"/>
                  </a:lnTo>
                  <a:lnTo>
                    <a:pt x="174" y="258"/>
                  </a:lnTo>
                  <a:lnTo>
                    <a:pt x="174" y="228"/>
                  </a:lnTo>
                  <a:lnTo>
                    <a:pt x="156" y="228"/>
                  </a:lnTo>
                  <a:lnTo>
                    <a:pt x="150" y="216"/>
                  </a:lnTo>
                  <a:lnTo>
                    <a:pt x="144" y="234"/>
                  </a:lnTo>
                  <a:lnTo>
                    <a:pt x="144" y="240"/>
                  </a:lnTo>
                  <a:lnTo>
                    <a:pt x="156" y="252"/>
                  </a:lnTo>
                  <a:lnTo>
                    <a:pt x="156" y="270"/>
                  </a:lnTo>
                  <a:lnTo>
                    <a:pt x="150" y="276"/>
                  </a:lnTo>
                  <a:lnTo>
                    <a:pt x="144" y="276"/>
                  </a:lnTo>
                  <a:lnTo>
                    <a:pt x="144" y="330"/>
                  </a:lnTo>
                  <a:lnTo>
                    <a:pt x="156" y="342"/>
                  </a:lnTo>
                  <a:lnTo>
                    <a:pt x="138" y="348"/>
                  </a:lnTo>
                  <a:lnTo>
                    <a:pt x="138" y="354"/>
                  </a:lnTo>
                  <a:lnTo>
                    <a:pt x="144" y="360"/>
                  </a:lnTo>
                  <a:lnTo>
                    <a:pt x="144" y="384"/>
                  </a:lnTo>
                  <a:lnTo>
                    <a:pt x="132" y="396"/>
                  </a:lnTo>
                  <a:lnTo>
                    <a:pt x="126" y="396"/>
                  </a:lnTo>
                  <a:lnTo>
                    <a:pt x="0" y="390"/>
                  </a:lnTo>
                  <a:lnTo>
                    <a:pt x="0" y="642"/>
                  </a:lnTo>
                  <a:lnTo>
                    <a:pt x="6" y="654"/>
                  </a:lnTo>
                  <a:lnTo>
                    <a:pt x="6" y="672"/>
                  </a:lnTo>
                  <a:lnTo>
                    <a:pt x="96" y="762"/>
                  </a:lnTo>
                  <a:lnTo>
                    <a:pt x="114" y="768"/>
                  </a:lnTo>
                  <a:lnTo>
                    <a:pt x="138" y="756"/>
                  </a:lnTo>
                  <a:lnTo>
                    <a:pt x="144" y="756"/>
                  </a:lnTo>
                  <a:lnTo>
                    <a:pt x="150" y="750"/>
                  </a:lnTo>
                  <a:lnTo>
                    <a:pt x="168" y="750"/>
                  </a:lnTo>
                  <a:lnTo>
                    <a:pt x="174" y="756"/>
                  </a:lnTo>
                  <a:lnTo>
                    <a:pt x="174" y="762"/>
                  </a:lnTo>
                  <a:lnTo>
                    <a:pt x="204" y="756"/>
                  </a:lnTo>
                  <a:lnTo>
                    <a:pt x="222" y="774"/>
                  </a:lnTo>
                  <a:lnTo>
                    <a:pt x="264" y="774"/>
                  </a:lnTo>
                  <a:lnTo>
                    <a:pt x="264" y="780"/>
                  </a:lnTo>
                  <a:lnTo>
                    <a:pt x="276" y="792"/>
                  </a:lnTo>
                  <a:lnTo>
                    <a:pt x="288" y="792"/>
                  </a:lnTo>
                  <a:lnTo>
                    <a:pt x="288" y="780"/>
                  </a:lnTo>
                  <a:lnTo>
                    <a:pt x="300" y="780"/>
                  </a:lnTo>
                  <a:lnTo>
                    <a:pt x="312" y="792"/>
                  </a:lnTo>
                  <a:lnTo>
                    <a:pt x="312" y="798"/>
                  </a:lnTo>
                  <a:lnTo>
                    <a:pt x="330" y="798"/>
                  </a:lnTo>
                  <a:lnTo>
                    <a:pt x="354" y="786"/>
                  </a:lnTo>
                  <a:lnTo>
                    <a:pt x="384" y="756"/>
                  </a:lnTo>
                  <a:lnTo>
                    <a:pt x="390" y="744"/>
                  </a:lnTo>
                  <a:lnTo>
                    <a:pt x="396" y="738"/>
                  </a:lnTo>
                  <a:lnTo>
                    <a:pt x="396" y="732"/>
                  </a:lnTo>
                  <a:lnTo>
                    <a:pt x="402" y="726"/>
                  </a:lnTo>
                  <a:lnTo>
                    <a:pt x="414" y="702"/>
                  </a:lnTo>
                  <a:lnTo>
                    <a:pt x="420" y="696"/>
                  </a:lnTo>
                  <a:lnTo>
                    <a:pt x="432" y="690"/>
                  </a:lnTo>
                  <a:lnTo>
                    <a:pt x="450" y="684"/>
                  </a:lnTo>
                  <a:lnTo>
                    <a:pt x="462" y="678"/>
                  </a:lnTo>
                  <a:lnTo>
                    <a:pt x="474" y="678"/>
                  </a:lnTo>
                  <a:lnTo>
                    <a:pt x="480" y="672"/>
                  </a:lnTo>
                  <a:lnTo>
                    <a:pt x="480" y="636"/>
                  </a:lnTo>
                  <a:lnTo>
                    <a:pt x="504" y="624"/>
                  </a:lnTo>
                  <a:lnTo>
                    <a:pt x="516" y="612"/>
                  </a:lnTo>
                  <a:lnTo>
                    <a:pt x="552" y="600"/>
                  </a:lnTo>
                  <a:lnTo>
                    <a:pt x="588" y="600"/>
                  </a:lnTo>
                  <a:lnTo>
                    <a:pt x="588" y="576"/>
                  </a:lnTo>
                  <a:lnTo>
                    <a:pt x="570" y="558"/>
                  </a:lnTo>
                  <a:lnTo>
                    <a:pt x="582" y="546"/>
                  </a:lnTo>
                  <a:lnTo>
                    <a:pt x="612" y="546"/>
                  </a:lnTo>
                  <a:lnTo>
                    <a:pt x="630" y="528"/>
                  </a:lnTo>
                  <a:lnTo>
                    <a:pt x="642" y="528"/>
                  </a:lnTo>
                  <a:lnTo>
                    <a:pt x="654" y="522"/>
                  </a:lnTo>
                  <a:lnTo>
                    <a:pt x="672" y="522"/>
                  </a:lnTo>
                  <a:lnTo>
                    <a:pt x="690" y="516"/>
                  </a:lnTo>
                  <a:lnTo>
                    <a:pt x="702" y="510"/>
                  </a:lnTo>
                  <a:lnTo>
                    <a:pt x="708" y="510"/>
                  </a:lnTo>
                  <a:lnTo>
                    <a:pt x="732" y="498"/>
                  </a:lnTo>
                  <a:lnTo>
                    <a:pt x="750" y="486"/>
                  </a:lnTo>
                  <a:lnTo>
                    <a:pt x="762" y="480"/>
                  </a:lnTo>
                  <a:lnTo>
                    <a:pt x="780" y="474"/>
                  </a:lnTo>
                  <a:lnTo>
                    <a:pt x="786" y="468"/>
                  </a:lnTo>
                  <a:lnTo>
                    <a:pt x="792" y="468"/>
                  </a:lnTo>
                  <a:lnTo>
                    <a:pt x="780" y="462"/>
                  </a:lnTo>
                  <a:lnTo>
                    <a:pt x="768" y="450"/>
                  </a:lnTo>
                  <a:lnTo>
                    <a:pt x="756" y="444"/>
                  </a:lnTo>
                  <a:lnTo>
                    <a:pt x="756" y="438"/>
                  </a:lnTo>
                  <a:lnTo>
                    <a:pt x="762" y="432"/>
                  </a:lnTo>
                  <a:lnTo>
                    <a:pt x="768" y="420"/>
                  </a:lnTo>
                  <a:lnTo>
                    <a:pt x="774" y="414"/>
                  </a:lnTo>
                  <a:lnTo>
                    <a:pt x="780" y="402"/>
                  </a:lnTo>
                  <a:lnTo>
                    <a:pt x="774" y="366"/>
                  </a:lnTo>
                  <a:lnTo>
                    <a:pt x="780" y="366"/>
                  </a:lnTo>
                  <a:lnTo>
                    <a:pt x="786" y="360"/>
                  </a:lnTo>
                  <a:lnTo>
                    <a:pt x="798" y="354"/>
                  </a:lnTo>
                  <a:lnTo>
                    <a:pt x="816" y="336"/>
                  </a:lnTo>
                  <a:lnTo>
                    <a:pt x="816" y="330"/>
                  </a:lnTo>
                  <a:lnTo>
                    <a:pt x="804" y="330"/>
                  </a:lnTo>
                  <a:lnTo>
                    <a:pt x="804" y="258"/>
                  </a:lnTo>
                  <a:lnTo>
                    <a:pt x="810" y="240"/>
                  </a:lnTo>
                  <a:lnTo>
                    <a:pt x="798" y="234"/>
                  </a:lnTo>
                  <a:lnTo>
                    <a:pt x="798" y="216"/>
                  </a:lnTo>
                  <a:lnTo>
                    <a:pt x="804" y="216"/>
                  </a:lnTo>
                  <a:lnTo>
                    <a:pt x="810" y="210"/>
                  </a:lnTo>
                  <a:lnTo>
                    <a:pt x="834" y="198"/>
                  </a:lnTo>
                  <a:lnTo>
                    <a:pt x="834" y="186"/>
                  </a:lnTo>
                  <a:lnTo>
                    <a:pt x="822" y="186"/>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7" name="Yemen" descr="© INSCALE GmbH, 05.05.2010&#10;http://www.presentationload.com/">
              <a:extLst>
                <a:ext uri="{FF2B5EF4-FFF2-40B4-BE49-F238E27FC236}">
                  <a16:creationId xmlns:a16="http://schemas.microsoft.com/office/drawing/2014/main" id="{285ED3AE-CB21-6DF8-77F8-5FDBD8C92C16}"/>
                </a:ext>
              </a:extLst>
            </p:cNvPr>
            <p:cNvSpPr>
              <a:spLocks/>
            </p:cNvSpPr>
            <p:nvPr/>
          </p:nvSpPr>
          <p:spPr bwMode="gray">
            <a:xfrm>
              <a:off x="5375336" y="2637386"/>
              <a:ext cx="277203" cy="189744"/>
            </a:xfrm>
            <a:custGeom>
              <a:avLst/>
              <a:gdLst>
                <a:gd name="T0" fmla="*/ 2147483647 w 732"/>
                <a:gd name="T1" fmla="*/ 2147483647 h 498"/>
                <a:gd name="T2" fmla="*/ 2147483647 w 732"/>
                <a:gd name="T3" fmla="*/ 2147483647 h 498"/>
                <a:gd name="T4" fmla="*/ 2147483647 w 732"/>
                <a:gd name="T5" fmla="*/ 2147483647 h 498"/>
                <a:gd name="T6" fmla="*/ 2147483647 w 732"/>
                <a:gd name="T7" fmla="*/ 2147483647 h 498"/>
                <a:gd name="T8" fmla="*/ 2147483647 w 732"/>
                <a:gd name="T9" fmla="*/ 2147483647 h 498"/>
                <a:gd name="T10" fmla="*/ 2147483647 w 732"/>
                <a:gd name="T11" fmla="*/ 2147483647 h 498"/>
                <a:gd name="T12" fmla="*/ 2147483647 w 732"/>
                <a:gd name="T13" fmla="*/ 2147483647 h 498"/>
                <a:gd name="T14" fmla="*/ 2147483647 w 732"/>
                <a:gd name="T15" fmla="*/ 2147483647 h 498"/>
                <a:gd name="T16" fmla="*/ 2147483647 w 732"/>
                <a:gd name="T17" fmla="*/ 2147483647 h 498"/>
                <a:gd name="T18" fmla="*/ 2147483647 w 732"/>
                <a:gd name="T19" fmla="*/ 2147483647 h 498"/>
                <a:gd name="T20" fmla="*/ 2147483647 w 732"/>
                <a:gd name="T21" fmla="*/ 2147483647 h 498"/>
                <a:gd name="T22" fmla="*/ 2147483647 w 732"/>
                <a:gd name="T23" fmla="*/ 2147483647 h 498"/>
                <a:gd name="T24" fmla="*/ 2147483647 w 732"/>
                <a:gd name="T25" fmla="*/ 2147483647 h 498"/>
                <a:gd name="T26" fmla="*/ 2147483647 w 732"/>
                <a:gd name="T27" fmla="*/ 2147483647 h 498"/>
                <a:gd name="T28" fmla="*/ 2147483647 w 732"/>
                <a:gd name="T29" fmla="*/ 2147483647 h 498"/>
                <a:gd name="T30" fmla="*/ 0 w 732"/>
                <a:gd name="T31" fmla="*/ 2147483647 h 498"/>
                <a:gd name="T32" fmla="*/ 2147483647 w 732"/>
                <a:gd name="T33" fmla="*/ 2147483647 h 498"/>
                <a:gd name="T34" fmla="*/ 2147483647 w 732"/>
                <a:gd name="T35" fmla="*/ 2147483647 h 498"/>
                <a:gd name="T36" fmla="*/ 2147483647 w 732"/>
                <a:gd name="T37" fmla="*/ 2147483647 h 498"/>
                <a:gd name="T38" fmla="*/ 2147483647 w 732"/>
                <a:gd name="T39" fmla="*/ 2147483647 h 498"/>
                <a:gd name="T40" fmla="*/ 2147483647 w 732"/>
                <a:gd name="T41" fmla="*/ 2147483647 h 498"/>
                <a:gd name="T42" fmla="*/ 2147483647 w 732"/>
                <a:gd name="T43" fmla="*/ 2147483647 h 498"/>
                <a:gd name="T44" fmla="*/ 2147483647 w 732"/>
                <a:gd name="T45" fmla="*/ 2147483647 h 498"/>
                <a:gd name="T46" fmla="*/ 2147483647 w 732"/>
                <a:gd name="T47" fmla="*/ 2147483647 h 498"/>
                <a:gd name="T48" fmla="*/ 2147483647 w 732"/>
                <a:gd name="T49" fmla="*/ 2147483647 h 498"/>
                <a:gd name="T50" fmla="*/ 2147483647 w 732"/>
                <a:gd name="T51" fmla="*/ 2147483647 h 498"/>
                <a:gd name="T52" fmla="*/ 2147483647 w 732"/>
                <a:gd name="T53" fmla="*/ 2147483647 h 498"/>
                <a:gd name="T54" fmla="*/ 2147483647 w 732"/>
                <a:gd name="T55" fmla="*/ 2147483647 h 498"/>
                <a:gd name="T56" fmla="*/ 2147483647 w 732"/>
                <a:gd name="T57" fmla="*/ 2147483647 h 498"/>
                <a:gd name="T58" fmla="*/ 2147483647 w 732"/>
                <a:gd name="T59" fmla="*/ 2147483647 h 498"/>
                <a:gd name="T60" fmla="*/ 2147483647 w 732"/>
                <a:gd name="T61" fmla="*/ 2147483647 h 498"/>
                <a:gd name="T62" fmla="*/ 2147483647 w 732"/>
                <a:gd name="T63" fmla="*/ 2147483647 h 498"/>
                <a:gd name="T64" fmla="*/ 2147483647 w 732"/>
                <a:gd name="T65" fmla="*/ 2147483647 h 498"/>
                <a:gd name="T66" fmla="*/ 2147483647 w 732"/>
                <a:gd name="T67" fmla="*/ 2147483647 h 498"/>
                <a:gd name="T68" fmla="*/ 2147483647 w 732"/>
                <a:gd name="T69" fmla="*/ 2147483647 h 498"/>
                <a:gd name="T70" fmla="*/ 2147483647 w 732"/>
                <a:gd name="T71" fmla="*/ 2147483647 h 498"/>
                <a:gd name="T72" fmla="*/ 2147483647 w 732"/>
                <a:gd name="T73" fmla="*/ 2147483647 h 498"/>
                <a:gd name="T74" fmla="*/ 2147483647 w 732"/>
                <a:gd name="T75" fmla="*/ 2147483647 h 498"/>
                <a:gd name="T76" fmla="*/ 2147483647 w 732"/>
                <a:gd name="T77" fmla="*/ 0 h 498"/>
                <a:gd name="T78" fmla="*/ 2147483647 w 732"/>
                <a:gd name="T79" fmla="*/ 2147483647 h 498"/>
                <a:gd name="T80" fmla="*/ 2147483647 w 732"/>
                <a:gd name="T81" fmla="*/ 2147483647 h 4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32"/>
                <a:gd name="T124" fmla="*/ 0 h 498"/>
                <a:gd name="T125" fmla="*/ 732 w 732"/>
                <a:gd name="T126" fmla="*/ 498 h 4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32" h="498">
                  <a:moveTo>
                    <a:pt x="468" y="24"/>
                  </a:moveTo>
                  <a:lnTo>
                    <a:pt x="450" y="30"/>
                  </a:lnTo>
                  <a:lnTo>
                    <a:pt x="420" y="36"/>
                  </a:lnTo>
                  <a:lnTo>
                    <a:pt x="390" y="54"/>
                  </a:lnTo>
                  <a:lnTo>
                    <a:pt x="372" y="72"/>
                  </a:lnTo>
                  <a:lnTo>
                    <a:pt x="366" y="84"/>
                  </a:lnTo>
                  <a:lnTo>
                    <a:pt x="354" y="96"/>
                  </a:lnTo>
                  <a:lnTo>
                    <a:pt x="348" y="108"/>
                  </a:lnTo>
                  <a:lnTo>
                    <a:pt x="342" y="114"/>
                  </a:lnTo>
                  <a:lnTo>
                    <a:pt x="336" y="126"/>
                  </a:lnTo>
                  <a:lnTo>
                    <a:pt x="336" y="144"/>
                  </a:lnTo>
                  <a:lnTo>
                    <a:pt x="330" y="150"/>
                  </a:lnTo>
                  <a:lnTo>
                    <a:pt x="324" y="162"/>
                  </a:lnTo>
                  <a:lnTo>
                    <a:pt x="312" y="162"/>
                  </a:lnTo>
                  <a:lnTo>
                    <a:pt x="300" y="156"/>
                  </a:lnTo>
                  <a:lnTo>
                    <a:pt x="294" y="144"/>
                  </a:lnTo>
                  <a:lnTo>
                    <a:pt x="288" y="138"/>
                  </a:lnTo>
                  <a:lnTo>
                    <a:pt x="210" y="138"/>
                  </a:lnTo>
                  <a:lnTo>
                    <a:pt x="204" y="132"/>
                  </a:lnTo>
                  <a:lnTo>
                    <a:pt x="192" y="126"/>
                  </a:lnTo>
                  <a:lnTo>
                    <a:pt x="102" y="126"/>
                  </a:lnTo>
                  <a:lnTo>
                    <a:pt x="96" y="132"/>
                  </a:lnTo>
                  <a:lnTo>
                    <a:pt x="72" y="138"/>
                  </a:lnTo>
                  <a:lnTo>
                    <a:pt x="54" y="120"/>
                  </a:lnTo>
                  <a:lnTo>
                    <a:pt x="48" y="120"/>
                  </a:lnTo>
                  <a:lnTo>
                    <a:pt x="42" y="126"/>
                  </a:lnTo>
                  <a:lnTo>
                    <a:pt x="36" y="138"/>
                  </a:lnTo>
                  <a:lnTo>
                    <a:pt x="36" y="186"/>
                  </a:lnTo>
                  <a:lnTo>
                    <a:pt x="30" y="192"/>
                  </a:lnTo>
                  <a:lnTo>
                    <a:pt x="24" y="204"/>
                  </a:lnTo>
                  <a:lnTo>
                    <a:pt x="12" y="216"/>
                  </a:lnTo>
                  <a:lnTo>
                    <a:pt x="0" y="252"/>
                  </a:lnTo>
                  <a:lnTo>
                    <a:pt x="0" y="258"/>
                  </a:lnTo>
                  <a:lnTo>
                    <a:pt x="18" y="276"/>
                  </a:lnTo>
                  <a:lnTo>
                    <a:pt x="24" y="288"/>
                  </a:lnTo>
                  <a:lnTo>
                    <a:pt x="36" y="294"/>
                  </a:lnTo>
                  <a:lnTo>
                    <a:pt x="24" y="408"/>
                  </a:lnTo>
                  <a:lnTo>
                    <a:pt x="54" y="444"/>
                  </a:lnTo>
                  <a:lnTo>
                    <a:pt x="54" y="456"/>
                  </a:lnTo>
                  <a:lnTo>
                    <a:pt x="60" y="468"/>
                  </a:lnTo>
                  <a:lnTo>
                    <a:pt x="78" y="486"/>
                  </a:lnTo>
                  <a:lnTo>
                    <a:pt x="90" y="492"/>
                  </a:lnTo>
                  <a:lnTo>
                    <a:pt x="114" y="498"/>
                  </a:lnTo>
                  <a:lnTo>
                    <a:pt x="132" y="498"/>
                  </a:lnTo>
                  <a:lnTo>
                    <a:pt x="150" y="492"/>
                  </a:lnTo>
                  <a:lnTo>
                    <a:pt x="162" y="486"/>
                  </a:lnTo>
                  <a:lnTo>
                    <a:pt x="168" y="480"/>
                  </a:lnTo>
                  <a:lnTo>
                    <a:pt x="186" y="444"/>
                  </a:lnTo>
                  <a:lnTo>
                    <a:pt x="198" y="432"/>
                  </a:lnTo>
                  <a:lnTo>
                    <a:pt x="210" y="432"/>
                  </a:lnTo>
                  <a:lnTo>
                    <a:pt x="228" y="438"/>
                  </a:lnTo>
                  <a:lnTo>
                    <a:pt x="270" y="438"/>
                  </a:lnTo>
                  <a:lnTo>
                    <a:pt x="324" y="432"/>
                  </a:lnTo>
                  <a:lnTo>
                    <a:pt x="366" y="426"/>
                  </a:lnTo>
                  <a:lnTo>
                    <a:pt x="390" y="414"/>
                  </a:lnTo>
                  <a:lnTo>
                    <a:pt x="402" y="402"/>
                  </a:lnTo>
                  <a:lnTo>
                    <a:pt x="414" y="384"/>
                  </a:lnTo>
                  <a:lnTo>
                    <a:pt x="426" y="372"/>
                  </a:lnTo>
                  <a:lnTo>
                    <a:pt x="450" y="360"/>
                  </a:lnTo>
                  <a:lnTo>
                    <a:pt x="462" y="348"/>
                  </a:lnTo>
                  <a:lnTo>
                    <a:pt x="474" y="342"/>
                  </a:lnTo>
                  <a:lnTo>
                    <a:pt x="486" y="330"/>
                  </a:lnTo>
                  <a:lnTo>
                    <a:pt x="504" y="324"/>
                  </a:lnTo>
                  <a:lnTo>
                    <a:pt x="528" y="312"/>
                  </a:lnTo>
                  <a:lnTo>
                    <a:pt x="546" y="306"/>
                  </a:lnTo>
                  <a:lnTo>
                    <a:pt x="558" y="294"/>
                  </a:lnTo>
                  <a:lnTo>
                    <a:pt x="594" y="276"/>
                  </a:lnTo>
                  <a:lnTo>
                    <a:pt x="666" y="276"/>
                  </a:lnTo>
                  <a:lnTo>
                    <a:pt x="666" y="270"/>
                  </a:lnTo>
                  <a:lnTo>
                    <a:pt x="672" y="264"/>
                  </a:lnTo>
                  <a:lnTo>
                    <a:pt x="684" y="240"/>
                  </a:lnTo>
                  <a:lnTo>
                    <a:pt x="690" y="222"/>
                  </a:lnTo>
                  <a:lnTo>
                    <a:pt x="702" y="210"/>
                  </a:lnTo>
                  <a:lnTo>
                    <a:pt x="708" y="198"/>
                  </a:lnTo>
                  <a:lnTo>
                    <a:pt x="720" y="192"/>
                  </a:lnTo>
                  <a:lnTo>
                    <a:pt x="720" y="186"/>
                  </a:lnTo>
                  <a:lnTo>
                    <a:pt x="732" y="186"/>
                  </a:lnTo>
                  <a:lnTo>
                    <a:pt x="648" y="0"/>
                  </a:lnTo>
                  <a:lnTo>
                    <a:pt x="630" y="0"/>
                  </a:lnTo>
                  <a:lnTo>
                    <a:pt x="588" y="6"/>
                  </a:lnTo>
                  <a:lnTo>
                    <a:pt x="540" y="18"/>
                  </a:lnTo>
                  <a:lnTo>
                    <a:pt x="492" y="24"/>
                  </a:lnTo>
                  <a:lnTo>
                    <a:pt x="468" y="24"/>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8" name="Western Sahara" descr="© INSCALE GmbH, 05.05.2010&#10;http://www.presentationload.com/">
              <a:extLst>
                <a:ext uri="{FF2B5EF4-FFF2-40B4-BE49-F238E27FC236}">
                  <a16:creationId xmlns:a16="http://schemas.microsoft.com/office/drawing/2014/main" id="{FB5458B2-DE05-974D-45BC-F833BBA841F8}"/>
                </a:ext>
              </a:extLst>
            </p:cNvPr>
            <p:cNvSpPr>
              <a:spLocks/>
            </p:cNvSpPr>
            <p:nvPr/>
          </p:nvSpPr>
          <p:spPr bwMode="gray">
            <a:xfrm>
              <a:off x="3790679" y="2373523"/>
              <a:ext cx="226803" cy="194192"/>
            </a:xfrm>
            <a:custGeom>
              <a:avLst/>
              <a:gdLst>
                <a:gd name="T0" fmla="*/ 2147483647 w 600"/>
                <a:gd name="T1" fmla="*/ 0 h 510"/>
                <a:gd name="T2" fmla="*/ 2147483647 w 600"/>
                <a:gd name="T3" fmla="*/ 0 h 510"/>
                <a:gd name="T4" fmla="*/ 2147483647 w 600"/>
                <a:gd name="T5" fmla="*/ 2147483647 h 510"/>
                <a:gd name="T6" fmla="*/ 2147483647 w 600"/>
                <a:gd name="T7" fmla="*/ 2147483647 h 510"/>
                <a:gd name="T8" fmla="*/ 2147483647 w 600"/>
                <a:gd name="T9" fmla="*/ 2147483647 h 510"/>
                <a:gd name="T10" fmla="*/ 2147483647 w 600"/>
                <a:gd name="T11" fmla="*/ 2147483647 h 510"/>
                <a:gd name="T12" fmla="*/ 2147483647 w 600"/>
                <a:gd name="T13" fmla="*/ 2147483647 h 510"/>
                <a:gd name="T14" fmla="*/ 2147483647 w 600"/>
                <a:gd name="T15" fmla="*/ 2147483647 h 510"/>
                <a:gd name="T16" fmla="*/ 2147483647 w 600"/>
                <a:gd name="T17" fmla="*/ 2147483647 h 510"/>
                <a:gd name="T18" fmla="*/ 2147483647 w 600"/>
                <a:gd name="T19" fmla="*/ 2147483647 h 510"/>
                <a:gd name="T20" fmla="*/ 2147483647 w 600"/>
                <a:gd name="T21" fmla="*/ 2147483647 h 510"/>
                <a:gd name="T22" fmla="*/ 2147483647 w 600"/>
                <a:gd name="T23" fmla="*/ 2147483647 h 510"/>
                <a:gd name="T24" fmla="*/ 2147483647 w 600"/>
                <a:gd name="T25" fmla="*/ 2147483647 h 510"/>
                <a:gd name="T26" fmla="*/ 2147483647 w 600"/>
                <a:gd name="T27" fmla="*/ 2147483647 h 510"/>
                <a:gd name="T28" fmla="*/ 2147483647 w 600"/>
                <a:gd name="T29" fmla="*/ 2147483647 h 510"/>
                <a:gd name="T30" fmla="*/ 2147483647 w 600"/>
                <a:gd name="T31" fmla="*/ 2147483647 h 510"/>
                <a:gd name="T32" fmla="*/ 2147483647 w 600"/>
                <a:gd name="T33" fmla="*/ 2147483647 h 510"/>
                <a:gd name="T34" fmla="*/ 2147483647 w 600"/>
                <a:gd name="T35" fmla="*/ 2147483647 h 510"/>
                <a:gd name="T36" fmla="*/ 2147483647 w 600"/>
                <a:gd name="T37" fmla="*/ 2147483647 h 510"/>
                <a:gd name="T38" fmla="*/ 2147483647 w 600"/>
                <a:gd name="T39" fmla="*/ 2147483647 h 510"/>
                <a:gd name="T40" fmla="*/ 2147483647 w 600"/>
                <a:gd name="T41" fmla="*/ 2147483647 h 510"/>
                <a:gd name="T42" fmla="*/ 2147483647 w 600"/>
                <a:gd name="T43" fmla="*/ 2147483647 h 510"/>
                <a:gd name="T44" fmla="*/ 2147483647 w 600"/>
                <a:gd name="T45" fmla="*/ 2147483647 h 510"/>
                <a:gd name="T46" fmla="*/ 2147483647 w 600"/>
                <a:gd name="T47" fmla="*/ 2147483647 h 510"/>
                <a:gd name="T48" fmla="*/ 2147483647 w 600"/>
                <a:gd name="T49" fmla="*/ 2147483647 h 510"/>
                <a:gd name="T50" fmla="*/ 2147483647 w 600"/>
                <a:gd name="T51" fmla="*/ 2147483647 h 510"/>
                <a:gd name="T52" fmla="*/ 2147483647 w 600"/>
                <a:gd name="T53" fmla="*/ 2147483647 h 510"/>
                <a:gd name="T54" fmla="*/ 2147483647 w 600"/>
                <a:gd name="T55" fmla="*/ 2147483647 h 510"/>
                <a:gd name="T56" fmla="*/ 2147483647 w 600"/>
                <a:gd name="T57" fmla="*/ 2147483647 h 510"/>
                <a:gd name="T58" fmla="*/ 2147483647 w 600"/>
                <a:gd name="T59" fmla="*/ 2147483647 h 510"/>
                <a:gd name="T60" fmla="*/ 2147483647 w 600"/>
                <a:gd name="T61" fmla="*/ 2147483647 h 510"/>
                <a:gd name="T62" fmla="*/ 2147483647 w 600"/>
                <a:gd name="T63" fmla="*/ 2147483647 h 510"/>
                <a:gd name="T64" fmla="*/ 2147483647 w 600"/>
                <a:gd name="T65" fmla="*/ 2147483647 h 510"/>
                <a:gd name="T66" fmla="*/ 2147483647 w 600"/>
                <a:gd name="T67" fmla="*/ 2147483647 h 510"/>
                <a:gd name="T68" fmla="*/ 2147483647 w 600"/>
                <a:gd name="T69" fmla="*/ 2147483647 h 510"/>
                <a:gd name="T70" fmla="*/ 2147483647 w 600"/>
                <a:gd name="T71" fmla="*/ 2147483647 h 510"/>
                <a:gd name="T72" fmla="*/ 2147483647 w 600"/>
                <a:gd name="T73" fmla="*/ 2147483647 h 510"/>
                <a:gd name="T74" fmla="*/ 2147483647 w 600"/>
                <a:gd name="T75" fmla="*/ 2147483647 h 510"/>
                <a:gd name="T76" fmla="*/ 2147483647 w 600"/>
                <a:gd name="T77" fmla="*/ 2147483647 h 510"/>
                <a:gd name="T78" fmla="*/ 0 w 600"/>
                <a:gd name="T79" fmla="*/ 2147483647 h 510"/>
                <a:gd name="T80" fmla="*/ 0 w 600"/>
                <a:gd name="T81" fmla="*/ 2147483647 h 510"/>
                <a:gd name="T82" fmla="*/ 2147483647 w 600"/>
                <a:gd name="T83" fmla="*/ 2147483647 h 510"/>
                <a:gd name="T84" fmla="*/ 2147483647 w 600"/>
                <a:gd name="T85" fmla="*/ 2147483647 h 510"/>
                <a:gd name="T86" fmla="*/ 2147483647 w 600"/>
                <a:gd name="T87" fmla="*/ 2147483647 h 510"/>
                <a:gd name="T88" fmla="*/ 2147483647 w 600"/>
                <a:gd name="T89" fmla="*/ 2147483647 h 510"/>
                <a:gd name="T90" fmla="*/ 2147483647 w 600"/>
                <a:gd name="T91" fmla="*/ 2147483647 h 510"/>
                <a:gd name="T92" fmla="*/ 2147483647 w 600"/>
                <a:gd name="T93" fmla="*/ 2147483647 h 510"/>
                <a:gd name="T94" fmla="*/ 2147483647 w 600"/>
                <a:gd name="T95" fmla="*/ 2147483647 h 510"/>
                <a:gd name="T96" fmla="*/ 2147483647 w 600"/>
                <a:gd name="T97" fmla="*/ 2147483647 h 510"/>
                <a:gd name="T98" fmla="*/ 2147483647 w 600"/>
                <a:gd name="T99" fmla="*/ 2147483647 h 510"/>
                <a:gd name="T100" fmla="*/ 2147483647 w 600"/>
                <a:gd name="T101" fmla="*/ 2147483647 h 510"/>
                <a:gd name="T102" fmla="*/ 2147483647 w 600"/>
                <a:gd name="T103" fmla="*/ 2147483647 h 510"/>
                <a:gd name="T104" fmla="*/ 2147483647 w 600"/>
                <a:gd name="T105" fmla="*/ 2147483647 h 510"/>
                <a:gd name="T106" fmla="*/ 2147483647 w 600"/>
                <a:gd name="T107" fmla="*/ 2147483647 h 510"/>
                <a:gd name="T108" fmla="*/ 2147483647 w 600"/>
                <a:gd name="T109" fmla="*/ 2147483647 h 510"/>
                <a:gd name="T110" fmla="*/ 2147483647 w 600"/>
                <a:gd name="T111" fmla="*/ 2147483647 h 510"/>
                <a:gd name="T112" fmla="*/ 2147483647 w 600"/>
                <a:gd name="T113" fmla="*/ 0 h 510"/>
                <a:gd name="T114" fmla="*/ 2147483647 w 600"/>
                <a:gd name="T115" fmla="*/ 0 h 51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00"/>
                <a:gd name="T175" fmla="*/ 0 h 510"/>
                <a:gd name="T176" fmla="*/ 600 w 600"/>
                <a:gd name="T177" fmla="*/ 510 h 51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00" h="510">
                  <a:moveTo>
                    <a:pt x="546" y="0"/>
                  </a:moveTo>
                  <a:lnTo>
                    <a:pt x="288" y="0"/>
                  </a:lnTo>
                  <a:lnTo>
                    <a:pt x="282" y="6"/>
                  </a:lnTo>
                  <a:lnTo>
                    <a:pt x="270" y="30"/>
                  </a:lnTo>
                  <a:lnTo>
                    <a:pt x="270" y="42"/>
                  </a:lnTo>
                  <a:lnTo>
                    <a:pt x="264" y="54"/>
                  </a:lnTo>
                  <a:lnTo>
                    <a:pt x="264" y="66"/>
                  </a:lnTo>
                  <a:lnTo>
                    <a:pt x="234" y="96"/>
                  </a:lnTo>
                  <a:lnTo>
                    <a:pt x="198" y="96"/>
                  </a:lnTo>
                  <a:lnTo>
                    <a:pt x="186" y="108"/>
                  </a:lnTo>
                  <a:lnTo>
                    <a:pt x="186" y="144"/>
                  </a:lnTo>
                  <a:lnTo>
                    <a:pt x="156" y="174"/>
                  </a:lnTo>
                  <a:lnTo>
                    <a:pt x="156" y="186"/>
                  </a:lnTo>
                  <a:lnTo>
                    <a:pt x="168" y="210"/>
                  </a:lnTo>
                  <a:lnTo>
                    <a:pt x="168" y="222"/>
                  </a:lnTo>
                  <a:lnTo>
                    <a:pt x="156" y="246"/>
                  </a:lnTo>
                  <a:lnTo>
                    <a:pt x="144" y="252"/>
                  </a:lnTo>
                  <a:lnTo>
                    <a:pt x="138" y="252"/>
                  </a:lnTo>
                  <a:lnTo>
                    <a:pt x="132" y="258"/>
                  </a:lnTo>
                  <a:lnTo>
                    <a:pt x="126" y="270"/>
                  </a:lnTo>
                  <a:lnTo>
                    <a:pt x="114" y="282"/>
                  </a:lnTo>
                  <a:lnTo>
                    <a:pt x="102" y="288"/>
                  </a:lnTo>
                  <a:lnTo>
                    <a:pt x="96" y="294"/>
                  </a:lnTo>
                  <a:lnTo>
                    <a:pt x="84" y="300"/>
                  </a:lnTo>
                  <a:lnTo>
                    <a:pt x="78" y="306"/>
                  </a:lnTo>
                  <a:lnTo>
                    <a:pt x="78" y="318"/>
                  </a:lnTo>
                  <a:lnTo>
                    <a:pt x="90" y="324"/>
                  </a:lnTo>
                  <a:lnTo>
                    <a:pt x="78" y="330"/>
                  </a:lnTo>
                  <a:lnTo>
                    <a:pt x="60" y="366"/>
                  </a:lnTo>
                  <a:lnTo>
                    <a:pt x="60" y="384"/>
                  </a:lnTo>
                  <a:lnTo>
                    <a:pt x="48" y="384"/>
                  </a:lnTo>
                  <a:lnTo>
                    <a:pt x="48" y="390"/>
                  </a:lnTo>
                  <a:lnTo>
                    <a:pt x="54" y="396"/>
                  </a:lnTo>
                  <a:lnTo>
                    <a:pt x="54" y="408"/>
                  </a:lnTo>
                  <a:lnTo>
                    <a:pt x="48" y="420"/>
                  </a:lnTo>
                  <a:lnTo>
                    <a:pt x="36" y="426"/>
                  </a:lnTo>
                  <a:lnTo>
                    <a:pt x="24" y="426"/>
                  </a:lnTo>
                  <a:lnTo>
                    <a:pt x="18" y="432"/>
                  </a:lnTo>
                  <a:lnTo>
                    <a:pt x="6" y="456"/>
                  </a:lnTo>
                  <a:lnTo>
                    <a:pt x="0" y="462"/>
                  </a:lnTo>
                  <a:lnTo>
                    <a:pt x="0" y="510"/>
                  </a:lnTo>
                  <a:lnTo>
                    <a:pt x="276" y="510"/>
                  </a:lnTo>
                  <a:lnTo>
                    <a:pt x="282" y="408"/>
                  </a:lnTo>
                  <a:lnTo>
                    <a:pt x="276" y="396"/>
                  </a:lnTo>
                  <a:lnTo>
                    <a:pt x="276" y="378"/>
                  </a:lnTo>
                  <a:lnTo>
                    <a:pt x="282" y="366"/>
                  </a:lnTo>
                  <a:lnTo>
                    <a:pt x="306" y="354"/>
                  </a:lnTo>
                  <a:lnTo>
                    <a:pt x="336" y="354"/>
                  </a:lnTo>
                  <a:lnTo>
                    <a:pt x="348" y="348"/>
                  </a:lnTo>
                  <a:lnTo>
                    <a:pt x="354" y="342"/>
                  </a:lnTo>
                  <a:lnTo>
                    <a:pt x="354" y="150"/>
                  </a:lnTo>
                  <a:lnTo>
                    <a:pt x="366" y="144"/>
                  </a:lnTo>
                  <a:lnTo>
                    <a:pt x="366" y="132"/>
                  </a:lnTo>
                  <a:lnTo>
                    <a:pt x="588" y="126"/>
                  </a:lnTo>
                  <a:lnTo>
                    <a:pt x="588" y="90"/>
                  </a:lnTo>
                  <a:lnTo>
                    <a:pt x="594" y="84"/>
                  </a:lnTo>
                  <a:lnTo>
                    <a:pt x="600" y="0"/>
                  </a:lnTo>
                  <a:lnTo>
                    <a:pt x="546" y="0"/>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9" name="West Bank" descr="© INSCALE GmbH, 05.05.2010&#10;http://www.presentationload.com/">
              <a:extLst>
                <a:ext uri="{FF2B5EF4-FFF2-40B4-BE49-F238E27FC236}">
                  <a16:creationId xmlns:a16="http://schemas.microsoft.com/office/drawing/2014/main" id="{0AF64693-4D0B-F7DD-3EB4-D157E413A408}"/>
                </a:ext>
              </a:extLst>
            </p:cNvPr>
            <p:cNvSpPr>
              <a:spLocks/>
            </p:cNvSpPr>
            <p:nvPr/>
          </p:nvSpPr>
          <p:spPr bwMode="gray">
            <a:xfrm>
              <a:off x="5148532" y="2226767"/>
              <a:ext cx="16307" cy="35577"/>
            </a:xfrm>
            <a:custGeom>
              <a:avLst/>
              <a:gdLst>
                <a:gd name="T0" fmla="*/ 2147483647 w 42"/>
                <a:gd name="T1" fmla="*/ 2147483647 h 96"/>
                <a:gd name="T2" fmla="*/ 2147483647 w 42"/>
                <a:gd name="T3" fmla="*/ 2147483647 h 96"/>
                <a:gd name="T4" fmla="*/ 2147483647 w 42"/>
                <a:gd name="T5" fmla="*/ 2147483647 h 96"/>
                <a:gd name="T6" fmla="*/ 2147483647 w 42"/>
                <a:gd name="T7" fmla="*/ 0 h 96"/>
                <a:gd name="T8" fmla="*/ 2147483647 w 42"/>
                <a:gd name="T9" fmla="*/ 0 h 96"/>
                <a:gd name="T10" fmla="*/ 0 w 42"/>
                <a:gd name="T11" fmla="*/ 2147483647 h 96"/>
                <a:gd name="T12" fmla="*/ 0 w 42"/>
                <a:gd name="T13" fmla="*/ 2147483647 h 96"/>
                <a:gd name="T14" fmla="*/ 2147483647 w 42"/>
                <a:gd name="T15" fmla="*/ 2147483647 h 96"/>
                <a:gd name="T16" fmla="*/ 2147483647 w 42"/>
                <a:gd name="T17" fmla="*/ 2147483647 h 96"/>
                <a:gd name="T18" fmla="*/ 2147483647 w 42"/>
                <a:gd name="T19" fmla="*/ 2147483647 h 96"/>
                <a:gd name="T20" fmla="*/ 2147483647 w 42"/>
                <a:gd name="T21" fmla="*/ 2147483647 h 96"/>
                <a:gd name="T22" fmla="*/ 2147483647 w 42"/>
                <a:gd name="T23" fmla="*/ 2147483647 h 9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2"/>
                <a:gd name="T37" fmla="*/ 0 h 96"/>
                <a:gd name="T38" fmla="*/ 42 w 42"/>
                <a:gd name="T39" fmla="*/ 96 h 9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2" h="96">
                  <a:moveTo>
                    <a:pt x="24" y="78"/>
                  </a:moveTo>
                  <a:lnTo>
                    <a:pt x="30" y="84"/>
                  </a:lnTo>
                  <a:lnTo>
                    <a:pt x="42" y="72"/>
                  </a:lnTo>
                  <a:lnTo>
                    <a:pt x="36" y="0"/>
                  </a:lnTo>
                  <a:lnTo>
                    <a:pt x="18" y="0"/>
                  </a:lnTo>
                  <a:lnTo>
                    <a:pt x="0" y="18"/>
                  </a:lnTo>
                  <a:lnTo>
                    <a:pt x="0" y="90"/>
                  </a:lnTo>
                  <a:lnTo>
                    <a:pt x="6" y="96"/>
                  </a:lnTo>
                  <a:lnTo>
                    <a:pt x="12" y="90"/>
                  </a:lnTo>
                  <a:lnTo>
                    <a:pt x="18" y="90"/>
                  </a:lnTo>
                  <a:lnTo>
                    <a:pt x="18" y="84"/>
                  </a:lnTo>
                  <a:lnTo>
                    <a:pt x="24" y="78"/>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0" name="Uzbekistan" descr="© INSCALE GmbH, 05.05.2010&#10;http://www.presentationload.com/">
              <a:extLst>
                <a:ext uri="{FF2B5EF4-FFF2-40B4-BE49-F238E27FC236}">
                  <a16:creationId xmlns:a16="http://schemas.microsoft.com/office/drawing/2014/main" id="{C96418BD-D1DF-E7E8-9373-8F40FC9E7145}"/>
                </a:ext>
              </a:extLst>
            </p:cNvPr>
            <p:cNvSpPr>
              <a:spLocks/>
            </p:cNvSpPr>
            <p:nvPr/>
          </p:nvSpPr>
          <p:spPr bwMode="gray">
            <a:xfrm>
              <a:off x="5618445" y="1830973"/>
              <a:ext cx="449160" cy="252004"/>
            </a:xfrm>
            <a:custGeom>
              <a:avLst/>
              <a:gdLst>
                <a:gd name="T0" fmla="*/ 2147483647 w 1182"/>
                <a:gd name="T1" fmla="*/ 2147483647 h 666"/>
                <a:gd name="T2" fmla="*/ 2147483647 w 1182"/>
                <a:gd name="T3" fmla="*/ 2147483647 h 666"/>
                <a:gd name="T4" fmla="*/ 2147483647 w 1182"/>
                <a:gd name="T5" fmla="*/ 2147483647 h 666"/>
                <a:gd name="T6" fmla="*/ 2147483647 w 1182"/>
                <a:gd name="T7" fmla="*/ 2147483647 h 666"/>
                <a:gd name="T8" fmla="*/ 2147483647 w 1182"/>
                <a:gd name="T9" fmla="*/ 2147483647 h 666"/>
                <a:gd name="T10" fmla="*/ 2147483647 w 1182"/>
                <a:gd name="T11" fmla="*/ 2147483647 h 666"/>
                <a:gd name="T12" fmla="*/ 2147483647 w 1182"/>
                <a:gd name="T13" fmla="*/ 2147483647 h 666"/>
                <a:gd name="T14" fmla="*/ 2147483647 w 1182"/>
                <a:gd name="T15" fmla="*/ 2147483647 h 666"/>
                <a:gd name="T16" fmla="*/ 2147483647 w 1182"/>
                <a:gd name="T17" fmla="*/ 2147483647 h 666"/>
                <a:gd name="T18" fmla="*/ 2147483647 w 1182"/>
                <a:gd name="T19" fmla="*/ 2147483647 h 666"/>
                <a:gd name="T20" fmla="*/ 2147483647 w 1182"/>
                <a:gd name="T21" fmla="*/ 2147483647 h 666"/>
                <a:gd name="T22" fmla="*/ 2147483647 w 1182"/>
                <a:gd name="T23" fmla="*/ 2147483647 h 666"/>
                <a:gd name="T24" fmla="*/ 2147483647 w 1182"/>
                <a:gd name="T25" fmla="*/ 2147483647 h 666"/>
                <a:gd name="T26" fmla="*/ 2147483647 w 1182"/>
                <a:gd name="T27" fmla="*/ 2147483647 h 666"/>
                <a:gd name="T28" fmla="*/ 2147483647 w 1182"/>
                <a:gd name="T29" fmla="*/ 2147483647 h 666"/>
                <a:gd name="T30" fmla="*/ 2147483647 w 1182"/>
                <a:gd name="T31" fmla="*/ 2147483647 h 666"/>
                <a:gd name="T32" fmla="*/ 2147483647 w 1182"/>
                <a:gd name="T33" fmla="*/ 2147483647 h 666"/>
                <a:gd name="T34" fmla="*/ 2147483647 w 1182"/>
                <a:gd name="T35" fmla="*/ 2147483647 h 666"/>
                <a:gd name="T36" fmla="*/ 2147483647 w 1182"/>
                <a:gd name="T37" fmla="*/ 2147483647 h 666"/>
                <a:gd name="T38" fmla="*/ 2147483647 w 1182"/>
                <a:gd name="T39" fmla="*/ 2147483647 h 666"/>
                <a:gd name="T40" fmla="*/ 2147483647 w 1182"/>
                <a:gd name="T41" fmla="*/ 2147483647 h 666"/>
                <a:gd name="T42" fmla="*/ 2147483647 w 1182"/>
                <a:gd name="T43" fmla="*/ 2147483647 h 666"/>
                <a:gd name="T44" fmla="*/ 2147483647 w 1182"/>
                <a:gd name="T45" fmla="*/ 2147483647 h 666"/>
                <a:gd name="T46" fmla="*/ 2147483647 w 1182"/>
                <a:gd name="T47" fmla="*/ 2147483647 h 666"/>
                <a:gd name="T48" fmla="*/ 2147483647 w 1182"/>
                <a:gd name="T49" fmla="*/ 2147483647 h 666"/>
                <a:gd name="T50" fmla="*/ 2147483647 w 1182"/>
                <a:gd name="T51" fmla="*/ 2147483647 h 666"/>
                <a:gd name="T52" fmla="*/ 2147483647 w 1182"/>
                <a:gd name="T53" fmla="*/ 2147483647 h 666"/>
                <a:gd name="T54" fmla="*/ 2147483647 w 1182"/>
                <a:gd name="T55" fmla="*/ 2147483647 h 666"/>
                <a:gd name="T56" fmla="*/ 2147483647 w 1182"/>
                <a:gd name="T57" fmla="*/ 2147483647 h 666"/>
                <a:gd name="T58" fmla="*/ 2147483647 w 1182"/>
                <a:gd name="T59" fmla="*/ 2147483647 h 666"/>
                <a:gd name="T60" fmla="*/ 2147483647 w 1182"/>
                <a:gd name="T61" fmla="*/ 2147483647 h 666"/>
                <a:gd name="T62" fmla="*/ 2147483647 w 1182"/>
                <a:gd name="T63" fmla="*/ 2147483647 h 666"/>
                <a:gd name="T64" fmla="*/ 2147483647 w 1182"/>
                <a:gd name="T65" fmla="*/ 2147483647 h 666"/>
                <a:gd name="T66" fmla="*/ 2147483647 w 1182"/>
                <a:gd name="T67" fmla="*/ 2147483647 h 666"/>
                <a:gd name="T68" fmla="*/ 2147483647 w 1182"/>
                <a:gd name="T69" fmla="*/ 2147483647 h 666"/>
                <a:gd name="T70" fmla="*/ 2147483647 w 1182"/>
                <a:gd name="T71" fmla="*/ 2147483647 h 666"/>
                <a:gd name="T72" fmla="*/ 2147483647 w 1182"/>
                <a:gd name="T73" fmla="*/ 2147483647 h 666"/>
                <a:gd name="T74" fmla="*/ 2147483647 w 1182"/>
                <a:gd name="T75" fmla="*/ 2147483647 h 666"/>
                <a:gd name="T76" fmla="*/ 2147483647 w 1182"/>
                <a:gd name="T77" fmla="*/ 2147483647 h 666"/>
                <a:gd name="T78" fmla="*/ 2147483647 w 1182"/>
                <a:gd name="T79" fmla="*/ 2147483647 h 666"/>
                <a:gd name="T80" fmla="*/ 2147483647 w 1182"/>
                <a:gd name="T81" fmla="*/ 2147483647 h 666"/>
                <a:gd name="T82" fmla="*/ 2147483647 w 1182"/>
                <a:gd name="T83" fmla="*/ 2147483647 h 666"/>
                <a:gd name="T84" fmla="*/ 2147483647 w 1182"/>
                <a:gd name="T85" fmla="*/ 2147483647 h 666"/>
                <a:gd name="T86" fmla="*/ 2147483647 w 1182"/>
                <a:gd name="T87" fmla="*/ 2147483647 h 666"/>
                <a:gd name="T88" fmla="*/ 2147483647 w 1182"/>
                <a:gd name="T89" fmla="*/ 2147483647 h 666"/>
                <a:gd name="T90" fmla="*/ 2147483647 w 1182"/>
                <a:gd name="T91" fmla="*/ 2147483647 h 666"/>
                <a:gd name="T92" fmla="*/ 2147483647 w 1182"/>
                <a:gd name="T93" fmla="*/ 2147483647 h 666"/>
                <a:gd name="T94" fmla="*/ 2147483647 w 1182"/>
                <a:gd name="T95" fmla="*/ 2147483647 h 666"/>
                <a:gd name="T96" fmla="*/ 2147483647 w 1182"/>
                <a:gd name="T97" fmla="*/ 2147483647 h 666"/>
                <a:gd name="T98" fmla="*/ 2147483647 w 1182"/>
                <a:gd name="T99" fmla="*/ 2147483647 h 666"/>
                <a:gd name="T100" fmla="*/ 2147483647 w 1182"/>
                <a:gd name="T101" fmla="*/ 2147483647 h 666"/>
                <a:gd name="T102" fmla="*/ 2147483647 w 1182"/>
                <a:gd name="T103" fmla="*/ 2147483647 h 666"/>
                <a:gd name="T104" fmla="*/ 2147483647 w 1182"/>
                <a:gd name="T105" fmla="*/ 2147483647 h 666"/>
                <a:gd name="T106" fmla="*/ 2147483647 w 1182"/>
                <a:gd name="T107" fmla="*/ 2147483647 h 666"/>
                <a:gd name="T108" fmla="*/ 2147483647 w 1182"/>
                <a:gd name="T109" fmla="*/ 2147483647 h 666"/>
                <a:gd name="T110" fmla="*/ 2147483647 w 1182"/>
                <a:gd name="T111" fmla="*/ 2147483647 h 666"/>
                <a:gd name="T112" fmla="*/ 2147483647 w 1182"/>
                <a:gd name="T113" fmla="*/ 2147483647 h 666"/>
                <a:gd name="T114" fmla="*/ 2147483647 w 1182"/>
                <a:gd name="T115" fmla="*/ 2147483647 h 66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82"/>
                <a:gd name="T175" fmla="*/ 0 h 666"/>
                <a:gd name="T176" fmla="*/ 1182 w 1182"/>
                <a:gd name="T177" fmla="*/ 666 h 66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82" h="666">
                  <a:moveTo>
                    <a:pt x="1152" y="372"/>
                  </a:moveTo>
                  <a:lnTo>
                    <a:pt x="1146" y="360"/>
                  </a:lnTo>
                  <a:lnTo>
                    <a:pt x="1122" y="360"/>
                  </a:lnTo>
                  <a:lnTo>
                    <a:pt x="1116" y="342"/>
                  </a:lnTo>
                  <a:lnTo>
                    <a:pt x="1098" y="342"/>
                  </a:lnTo>
                  <a:lnTo>
                    <a:pt x="1080" y="318"/>
                  </a:lnTo>
                  <a:lnTo>
                    <a:pt x="1080" y="330"/>
                  </a:lnTo>
                  <a:lnTo>
                    <a:pt x="1068" y="330"/>
                  </a:lnTo>
                  <a:lnTo>
                    <a:pt x="1068" y="342"/>
                  </a:lnTo>
                  <a:lnTo>
                    <a:pt x="1032" y="342"/>
                  </a:lnTo>
                  <a:lnTo>
                    <a:pt x="1020" y="330"/>
                  </a:lnTo>
                  <a:lnTo>
                    <a:pt x="990" y="318"/>
                  </a:lnTo>
                  <a:lnTo>
                    <a:pt x="1038" y="270"/>
                  </a:lnTo>
                  <a:lnTo>
                    <a:pt x="1038" y="264"/>
                  </a:lnTo>
                  <a:lnTo>
                    <a:pt x="1032" y="264"/>
                  </a:lnTo>
                  <a:lnTo>
                    <a:pt x="1032" y="258"/>
                  </a:lnTo>
                  <a:lnTo>
                    <a:pt x="1002" y="276"/>
                  </a:lnTo>
                  <a:lnTo>
                    <a:pt x="978" y="276"/>
                  </a:lnTo>
                  <a:lnTo>
                    <a:pt x="966" y="300"/>
                  </a:lnTo>
                  <a:lnTo>
                    <a:pt x="960" y="300"/>
                  </a:lnTo>
                  <a:lnTo>
                    <a:pt x="954" y="306"/>
                  </a:lnTo>
                  <a:lnTo>
                    <a:pt x="942" y="306"/>
                  </a:lnTo>
                  <a:lnTo>
                    <a:pt x="930" y="312"/>
                  </a:lnTo>
                  <a:lnTo>
                    <a:pt x="918" y="324"/>
                  </a:lnTo>
                  <a:lnTo>
                    <a:pt x="918" y="342"/>
                  </a:lnTo>
                  <a:lnTo>
                    <a:pt x="912" y="342"/>
                  </a:lnTo>
                  <a:lnTo>
                    <a:pt x="906" y="348"/>
                  </a:lnTo>
                  <a:lnTo>
                    <a:pt x="894" y="354"/>
                  </a:lnTo>
                  <a:lnTo>
                    <a:pt x="882" y="366"/>
                  </a:lnTo>
                  <a:lnTo>
                    <a:pt x="882" y="378"/>
                  </a:lnTo>
                  <a:lnTo>
                    <a:pt x="888" y="384"/>
                  </a:lnTo>
                  <a:lnTo>
                    <a:pt x="888" y="396"/>
                  </a:lnTo>
                  <a:lnTo>
                    <a:pt x="882" y="390"/>
                  </a:lnTo>
                  <a:lnTo>
                    <a:pt x="870" y="390"/>
                  </a:lnTo>
                  <a:lnTo>
                    <a:pt x="858" y="384"/>
                  </a:lnTo>
                  <a:lnTo>
                    <a:pt x="852" y="384"/>
                  </a:lnTo>
                  <a:lnTo>
                    <a:pt x="852" y="372"/>
                  </a:lnTo>
                  <a:lnTo>
                    <a:pt x="858" y="366"/>
                  </a:lnTo>
                  <a:lnTo>
                    <a:pt x="858" y="348"/>
                  </a:lnTo>
                  <a:lnTo>
                    <a:pt x="840" y="342"/>
                  </a:lnTo>
                  <a:lnTo>
                    <a:pt x="762" y="342"/>
                  </a:lnTo>
                  <a:lnTo>
                    <a:pt x="732" y="282"/>
                  </a:lnTo>
                  <a:lnTo>
                    <a:pt x="726" y="276"/>
                  </a:lnTo>
                  <a:lnTo>
                    <a:pt x="714" y="276"/>
                  </a:lnTo>
                  <a:lnTo>
                    <a:pt x="708" y="282"/>
                  </a:lnTo>
                  <a:lnTo>
                    <a:pt x="702" y="282"/>
                  </a:lnTo>
                  <a:lnTo>
                    <a:pt x="696" y="276"/>
                  </a:lnTo>
                  <a:lnTo>
                    <a:pt x="696" y="234"/>
                  </a:lnTo>
                  <a:lnTo>
                    <a:pt x="690" y="216"/>
                  </a:lnTo>
                  <a:lnTo>
                    <a:pt x="690" y="204"/>
                  </a:lnTo>
                  <a:lnTo>
                    <a:pt x="660" y="204"/>
                  </a:lnTo>
                  <a:lnTo>
                    <a:pt x="654" y="192"/>
                  </a:lnTo>
                  <a:lnTo>
                    <a:pt x="642" y="186"/>
                  </a:lnTo>
                  <a:lnTo>
                    <a:pt x="636" y="168"/>
                  </a:lnTo>
                  <a:lnTo>
                    <a:pt x="618" y="150"/>
                  </a:lnTo>
                  <a:lnTo>
                    <a:pt x="612" y="138"/>
                  </a:lnTo>
                  <a:lnTo>
                    <a:pt x="600" y="138"/>
                  </a:lnTo>
                  <a:lnTo>
                    <a:pt x="576" y="150"/>
                  </a:lnTo>
                  <a:lnTo>
                    <a:pt x="570" y="156"/>
                  </a:lnTo>
                  <a:lnTo>
                    <a:pt x="552" y="156"/>
                  </a:lnTo>
                  <a:lnTo>
                    <a:pt x="534" y="150"/>
                  </a:lnTo>
                  <a:lnTo>
                    <a:pt x="474" y="150"/>
                  </a:lnTo>
                  <a:lnTo>
                    <a:pt x="456" y="156"/>
                  </a:lnTo>
                  <a:lnTo>
                    <a:pt x="420" y="156"/>
                  </a:lnTo>
                  <a:lnTo>
                    <a:pt x="414" y="162"/>
                  </a:lnTo>
                  <a:lnTo>
                    <a:pt x="408" y="162"/>
                  </a:lnTo>
                  <a:lnTo>
                    <a:pt x="330" y="90"/>
                  </a:lnTo>
                  <a:lnTo>
                    <a:pt x="264" y="54"/>
                  </a:lnTo>
                  <a:lnTo>
                    <a:pt x="270" y="66"/>
                  </a:lnTo>
                  <a:lnTo>
                    <a:pt x="270" y="90"/>
                  </a:lnTo>
                  <a:lnTo>
                    <a:pt x="264" y="102"/>
                  </a:lnTo>
                  <a:lnTo>
                    <a:pt x="258" y="108"/>
                  </a:lnTo>
                  <a:lnTo>
                    <a:pt x="240" y="108"/>
                  </a:lnTo>
                  <a:lnTo>
                    <a:pt x="228" y="102"/>
                  </a:lnTo>
                  <a:lnTo>
                    <a:pt x="222" y="96"/>
                  </a:lnTo>
                  <a:lnTo>
                    <a:pt x="222" y="78"/>
                  </a:lnTo>
                  <a:lnTo>
                    <a:pt x="210" y="54"/>
                  </a:lnTo>
                  <a:lnTo>
                    <a:pt x="216" y="36"/>
                  </a:lnTo>
                  <a:lnTo>
                    <a:pt x="162" y="12"/>
                  </a:lnTo>
                  <a:lnTo>
                    <a:pt x="156" y="30"/>
                  </a:lnTo>
                  <a:lnTo>
                    <a:pt x="168" y="36"/>
                  </a:lnTo>
                  <a:lnTo>
                    <a:pt x="174" y="48"/>
                  </a:lnTo>
                  <a:lnTo>
                    <a:pt x="174" y="72"/>
                  </a:lnTo>
                  <a:lnTo>
                    <a:pt x="168" y="78"/>
                  </a:lnTo>
                  <a:lnTo>
                    <a:pt x="156" y="84"/>
                  </a:lnTo>
                  <a:lnTo>
                    <a:pt x="150" y="84"/>
                  </a:lnTo>
                  <a:lnTo>
                    <a:pt x="144" y="78"/>
                  </a:lnTo>
                  <a:lnTo>
                    <a:pt x="144" y="60"/>
                  </a:lnTo>
                  <a:lnTo>
                    <a:pt x="132" y="48"/>
                  </a:lnTo>
                  <a:lnTo>
                    <a:pt x="132" y="42"/>
                  </a:lnTo>
                  <a:lnTo>
                    <a:pt x="144" y="30"/>
                  </a:lnTo>
                  <a:lnTo>
                    <a:pt x="150" y="6"/>
                  </a:lnTo>
                  <a:lnTo>
                    <a:pt x="144" y="0"/>
                  </a:lnTo>
                  <a:lnTo>
                    <a:pt x="0" y="42"/>
                  </a:lnTo>
                  <a:lnTo>
                    <a:pt x="48" y="324"/>
                  </a:lnTo>
                  <a:lnTo>
                    <a:pt x="60" y="324"/>
                  </a:lnTo>
                  <a:lnTo>
                    <a:pt x="72" y="336"/>
                  </a:lnTo>
                  <a:lnTo>
                    <a:pt x="138" y="336"/>
                  </a:lnTo>
                  <a:lnTo>
                    <a:pt x="132" y="324"/>
                  </a:lnTo>
                  <a:lnTo>
                    <a:pt x="120" y="318"/>
                  </a:lnTo>
                  <a:lnTo>
                    <a:pt x="114" y="300"/>
                  </a:lnTo>
                  <a:lnTo>
                    <a:pt x="114" y="288"/>
                  </a:lnTo>
                  <a:lnTo>
                    <a:pt x="132" y="270"/>
                  </a:lnTo>
                  <a:lnTo>
                    <a:pt x="144" y="264"/>
                  </a:lnTo>
                  <a:lnTo>
                    <a:pt x="156" y="264"/>
                  </a:lnTo>
                  <a:lnTo>
                    <a:pt x="162" y="258"/>
                  </a:lnTo>
                  <a:lnTo>
                    <a:pt x="168" y="258"/>
                  </a:lnTo>
                  <a:lnTo>
                    <a:pt x="168" y="246"/>
                  </a:lnTo>
                  <a:lnTo>
                    <a:pt x="174" y="240"/>
                  </a:lnTo>
                  <a:lnTo>
                    <a:pt x="180" y="240"/>
                  </a:lnTo>
                  <a:lnTo>
                    <a:pt x="186" y="246"/>
                  </a:lnTo>
                  <a:lnTo>
                    <a:pt x="198" y="246"/>
                  </a:lnTo>
                  <a:lnTo>
                    <a:pt x="204" y="252"/>
                  </a:lnTo>
                  <a:lnTo>
                    <a:pt x="174" y="222"/>
                  </a:lnTo>
                  <a:lnTo>
                    <a:pt x="204" y="228"/>
                  </a:lnTo>
                  <a:lnTo>
                    <a:pt x="210" y="216"/>
                  </a:lnTo>
                  <a:lnTo>
                    <a:pt x="228" y="240"/>
                  </a:lnTo>
                  <a:lnTo>
                    <a:pt x="252" y="240"/>
                  </a:lnTo>
                  <a:lnTo>
                    <a:pt x="252" y="252"/>
                  </a:lnTo>
                  <a:lnTo>
                    <a:pt x="264" y="258"/>
                  </a:lnTo>
                  <a:lnTo>
                    <a:pt x="300" y="258"/>
                  </a:lnTo>
                  <a:lnTo>
                    <a:pt x="306" y="264"/>
                  </a:lnTo>
                  <a:lnTo>
                    <a:pt x="312" y="276"/>
                  </a:lnTo>
                  <a:lnTo>
                    <a:pt x="312" y="288"/>
                  </a:lnTo>
                  <a:lnTo>
                    <a:pt x="324" y="294"/>
                  </a:lnTo>
                  <a:lnTo>
                    <a:pt x="312" y="306"/>
                  </a:lnTo>
                  <a:lnTo>
                    <a:pt x="312" y="318"/>
                  </a:lnTo>
                  <a:lnTo>
                    <a:pt x="330" y="336"/>
                  </a:lnTo>
                  <a:lnTo>
                    <a:pt x="360" y="336"/>
                  </a:lnTo>
                  <a:lnTo>
                    <a:pt x="414" y="342"/>
                  </a:lnTo>
                  <a:lnTo>
                    <a:pt x="414" y="336"/>
                  </a:lnTo>
                  <a:lnTo>
                    <a:pt x="450" y="354"/>
                  </a:lnTo>
                  <a:lnTo>
                    <a:pt x="468" y="384"/>
                  </a:lnTo>
                  <a:lnTo>
                    <a:pt x="486" y="402"/>
                  </a:lnTo>
                  <a:lnTo>
                    <a:pt x="486" y="408"/>
                  </a:lnTo>
                  <a:lnTo>
                    <a:pt x="492" y="414"/>
                  </a:lnTo>
                  <a:lnTo>
                    <a:pt x="510" y="450"/>
                  </a:lnTo>
                  <a:lnTo>
                    <a:pt x="522" y="462"/>
                  </a:lnTo>
                  <a:lnTo>
                    <a:pt x="534" y="468"/>
                  </a:lnTo>
                  <a:lnTo>
                    <a:pt x="552" y="468"/>
                  </a:lnTo>
                  <a:lnTo>
                    <a:pt x="564" y="474"/>
                  </a:lnTo>
                  <a:lnTo>
                    <a:pt x="570" y="474"/>
                  </a:lnTo>
                  <a:lnTo>
                    <a:pt x="582" y="486"/>
                  </a:lnTo>
                  <a:lnTo>
                    <a:pt x="588" y="498"/>
                  </a:lnTo>
                  <a:lnTo>
                    <a:pt x="594" y="504"/>
                  </a:lnTo>
                  <a:lnTo>
                    <a:pt x="624" y="522"/>
                  </a:lnTo>
                  <a:lnTo>
                    <a:pt x="648" y="522"/>
                  </a:lnTo>
                  <a:lnTo>
                    <a:pt x="666" y="534"/>
                  </a:lnTo>
                  <a:lnTo>
                    <a:pt x="690" y="546"/>
                  </a:lnTo>
                  <a:lnTo>
                    <a:pt x="696" y="552"/>
                  </a:lnTo>
                  <a:lnTo>
                    <a:pt x="708" y="558"/>
                  </a:lnTo>
                  <a:lnTo>
                    <a:pt x="720" y="570"/>
                  </a:lnTo>
                  <a:lnTo>
                    <a:pt x="732" y="570"/>
                  </a:lnTo>
                  <a:lnTo>
                    <a:pt x="744" y="582"/>
                  </a:lnTo>
                  <a:lnTo>
                    <a:pt x="750" y="582"/>
                  </a:lnTo>
                  <a:lnTo>
                    <a:pt x="774" y="576"/>
                  </a:lnTo>
                  <a:lnTo>
                    <a:pt x="822" y="606"/>
                  </a:lnTo>
                  <a:lnTo>
                    <a:pt x="816" y="612"/>
                  </a:lnTo>
                  <a:lnTo>
                    <a:pt x="816" y="630"/>
                  </a:lnTo>
                  <a:lnTo>
                    <a:pt x="828" y="642"/>
                  </a:lnTo>
                  <a:lnTo>
                    <a:pt x="828" y="654"/>
                  </a:lnTo>
                  <a:lnTo>
                    <a:pt x="840" y="654"/>
                  </a:lnTo>
                  <a:lnTo>
                    <a:pt x="852" y="642"/>
                  </a:lnTo>
                  <a:lnTo>
                    <a:pt x="870" y="666"/>
                  </a:lnTo>
                  <a:lnTo>
                    <a:pt x="882" y="660"/>
                  </a:lnTo>
                  <a:lnTo>
                    <a:pt x="894" y="660"/>
                  </a:lnTo>
                  <a:lnTo>
                    <a:pt x="900" y="666"/>
                  </a:lnTo>
                  <a:lnTo>
                    <a:pt x="906" y="666"/>
                  </a:lnTo>
                  <a:lnTo>
                    <a:pt x="900" y="666"/>
                  </a:lnTo>
                  <a:lnTo>
                    <a:pt x="900" y="642"/>
                  </a:lnTo>
                  <a:lnTo>
                    <a:pt x="906" y="636"/>
                  </a:lnTo>
                  <a:lnTo>
                    <a:pt x="912" y="624"/>
                  </a:lnTo>
                  <a:lnTo>
                    <a:pt x="924" y="618"/>
                  </a:lnTo>
                  <a:lnTo>
                    <a:pt x="930" y="606"/>
                  </a:lnTo>
                  <a:lnTo>
                    <a:pt x="930" y="588"/>
                  </a:lnTo>
                  <a:lnTo>
                    <a:pt x="918" y="576"/>
                  </a:lnTo>
                  <a:lnTo>
                    <a:pt x="906" y="570"/>
                  </a:lnTo>
                  <a:lnTo>
                    <a:pt x="900" y="564"/>
                  </a:lnTo>
                  <a:lnTo>
                    <a:pt x="900" y="546"/>
                  </a:lnTo>
                  <a:lnTo>
                    <a:pt x="906" y="540"/>
                  </a:lnTo>
                  <a:lnTo>
                    <a:pt x="906" y="534"/>
                  </a:lnTo>
                  <a:lnTo>
                    <a:pt x="894" y="522"/>
                  </a:lnTo>
                  <a:lnTo>
                    <a:pt x="882" y="522"/>
                  </a:lnTo>
                  <a:lnTo>
                    <a:pt x="876" y="516"/>
                  </a:lnTo>
                  <a:lnTo>
                    <a:pt x="870" y="516"/>
                  </a:lnTo>
                  <a:lnTo>
                    <a:pt x="858" y="504"/>
                  </a:lnTo>
                  <a:lnTo>
                    <a:pt x="840" y="504"/>
                  </a:lnTo>
                  <a:lnTo>
                    <a:pt x="840" y="486"/>
                  </a:lnTo>
                  <a:lnTo>
                    <a:pt x="846" y="480"/>
                  </a:lnTo>
                  <a:lnTo>
                    <a:pt x="894" y="480"/>
                  </a:lnTo>
                  <a:lnTo>
                    <a:pt x="918" y="468"/>
                  </a:lnTo>
                  <a:lnTo>
                    <a:pt x="918" y="456"/>
                  </a:lnTo>
                  <a:lnTo>
                    <a:pt x="912" y="456"/>
                  </a:lnTo>
                  <a:lnTo>
                    <a:pt x="930" y="444"/>
                  </a:lnTo>
                  <a:lnTo>
                    <a:pt x="906" y="420"/>
                  </a:lnTo>
                  <a:lnTo>
                    <a:pt x="948" y="420"/>
                  </a:lnTo>
                  <a:lnTo>
                    <a:pt x="948" y="414"/>
                  </a:lnTo>
                  <a:lnTo>
                    <a:pt x="936" y="402"/>
                  </a:lnTo>
                  <a:lnTo>
                    <a:pt x="936" y="390"/>
                  </a:lnTo>
                  <a:lnTo>
                    <a:pt x="942" y="384"/>
                  </a:lnTo>
                  <a:lnTo>
                    <a:pt x="942" y="372"/>
                  </a:lnTo>
                  <a:lnTo>
                    <a:pt x="954" y="372"/>
                  </a:lnTo>
                  <a:lnTo>
                    <a:pt x="972" y="390"/>
                  </a:lnTo>
                  <a:lnTo>
                    <a:pt x="978" y="390"/>
                  </a:lnTo>
                  <a:lnTo>
                    <a:pt x="984" y="378"/>
                  </a:lnTo>
                  <a:lnTo>
                    <a:pt x="996" y="372"/>
                  </a:lnTo>
                  <a:lnTo>
                    <a:pt x="1002" y="360"/>
                  </a:lnTo>
                  <a:lnTo>
                    <a:pt x="1020" y="360"/>
                  </a:lnTo>
                  <a:lnTo>
                    <a:pt x="1032" y="366"/>
                  </a:lnTo>
                  <a:lnTo>
                    <a:pt x="1038" y="372"/>
                  </a:lnTo>
                  <a:lnTo>
                    <a:pt x="1014" y="408"/>
                  </a:lnTo>
                  <a:lnTo>
                    <a:pt x="1026" y="408"/>
                  </a:lnTo>
                  <a:lnTo>
                    <a:pt x="1032" y="414"/>
                  </a:lnTo>
                  <a:lnTo>
                    <a:pt x="1044" y="414"/>
                  </a:lnTo>
                  <a:lnTo>
                    <a:pt x="1050" y="420"/>
                  </a:lnTo>
                  <a:lnTo>
                    <a:pt x="1056" y="420"/>
                  </a:lnTo>
                  <a:lnTo>
                    <a:pt x="1068" y="414"/>
                  </a:lnTo>
                  <a:lnTo>
                    <a:pt x="1086" y="414"/>
                  </a:lnTo>
                  <a:lnTo>
                    <a:pt x="1092" y="420"/>
                  </a:lnTo>
                  <a:lnTo>
                    <a:pt x="1098" y="420"/>
                  </a:lnTo>
                  <a:lnTo>
                    <a:pt x="1104" y="426"/>
                  </a:lnTo>
                  <a:lnTo>
                    <a:pt x="1110" y="426"/>
                  </a:lnTo>
                  <a:lnTo>
                    <a:pt x="1128" y="408"/>
                  </a:lnTo>
                  <a:lnTo>
                    <a:pt x="1146" y="402"/>
                  </a:lnTo>
                  <a:lnTo>
                    <a:pt x="1146" y="396"/>
                  </a:lnTo>
                  <a:lnTo>
                    <a:pt x="1158" y="396"/>
                  </a:lnTo>
                  <a:lnTo>
                    <a:pt x="1170" y="390"/>
                  </a:lnTo>
                  <a:lnTo>
                    <a:pt x="1182" y="378"/>
                  </a:lnTo>
                  <a:lnTo>
                    <a:pt x="1182" y="366"/>
                  </a:lnTo>
                  <a:lnTo>
                    <a:pt x="1170" y="366"/>
                  </a:lnTo>
                  <a:lnTo>
                    <a:pt x="1158" y="372"/>
                  </a:lnTo>
                  <a:lnTo>
                    <a:pt x="1152" y="372"/>
                  </a:lnTo>
                  <a:close/>
                </a:path>
              </a:pathLst>
            </a:custGeom>
            <a:grp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1" name="Vietnam" descr="© INSCALE GmbH, 05.05.2010&#10;http://www.presentationload.com/">
              <a:extLst>
                <a:ext uri="{FF2B5EF4-FFF2-40B4-BE49-F238E27FC236}">
                  <a16:creationId xmlns:a16="http://schemas.microsoft.com/office/drawing/2014/main" id="{23954E01-743C-9917-3E66-C00029A7E17C}"/>
                </a:ext>
              </a:extLst>
            </p:cNvPr>
            <p:cNvSpPr>
              <a:spLocks/>
            </p:cNvSpPr>
            <p:nvPr/>
          </p:nvSpPr>
          <p:spPr bwMode="gray">
            <a:xfrm>
              <a:off x="6940722" y="2503972"/>
              <a:ext cx="229767" cy="452126"/>
            </a:xfrm>
            <a:custGeom>
              <a:avLst/>
              <a:gdLst>
                <a:gd name="T0" fmla="*/ 2147483647 w 606"/>
                <a:gd name="T1" fmla="*/ 2147483647 h 1194"/>
                <a:gd name="T2" fmla="*/ 2147483647 w 606"/>
                <a:gd name="T3" fmla="*/ 2147483647 h 1194"/>
                <a:gd name="T4" fmla="*/ 2147483647 w 606"/>
                <a:gd name="T5" fmla="*/ 2147483647 h 1194"/>
                <a:gd name="T6" fmla="*/ 2147483647 w 606"/>
                <a:gd name="T7" fmla="*/ 2147483647 h 1194"/>
                <a:gd name="T8" fmla="*/ 2147483647 w 606"/>
                <a:gd name="T9" fmla="*/ 2147483647 h 1194"/>
                <a:gd name="T10" fmla="*/ 2147483647 w 606"/>
                <a:gd name="T11" fmla="*/ 2147483647 h 1194"/>
                <a:gd name="T12" fmla="*/ 2147483647 w 606"/>
                <a:gd name="T13" fmla="*/ 2147483647 h 1194"/>
                <a:gd name="T14" fmla="*/ 2147483647 w 606"/>
                <a:gd name="T15" fmla="*/ 2147483647 h 1194"/>
                <a:gd name="T16" fmla="*/ 2147483647 w 606"/>
                <a:gd name="T17" fmla="*/ 2147483647 h 1194"/>
                <a:gd name="T18" fmla="*/ 2147483647 w 606"/>
                <a:gd name="T19" fmla="*/ 2147483647 h 1194"/>
                <a:gd name="T20" fmla="*/ 2147483647 w 606"/>
                <a:gd name="T21" fmla="*/ 2147483647 h 1194"/>
                <a:gd name="T22" fmla="*/ 2147483647 w 606"/>
                <a:gd name="T23" fmla="*/ 2147483647 h 1194"/>
                <a:gd name="T24" fmla="*/ 2147483647 w 606"/>
                <a:gd name="T25" fmla="*/ 2147483647 h 1194"/>
                <a:gd name="T26" fmla="*/ 2147483647 w 606"/>
                <a:gd name="T27" fmla="*/ 2147483647 h 1194"/>
                <a:gd name="T28" fmla="*/ 2147483647 w 606"/>
                <a:gd name="T29" fmla="*/ 2147483647 h 1194"/>
                <a:gd name="T30" fmla="*/ 2147483647 w 606"/>
                <a:gd name="T31" fmla="*/ 2147483647 h 1194"/>
                <a:gd name="T32" fmla="*/ 2147483647 w 606"/>
                <a:gd name="T33" fmla="*/ 2147483647 h 1194"/>
                <a:gd name="T34" fmla="*/ 2147483647 w 606"/>
                <a:gd name="T35" fmla="*/ 2147483647 h 1194"/>
                <a:gd name="T36" fmla="*/ 2147483647 w 606"/>
                <a:gd name="T37" fmla="*/ 2147483647 h 1194"/>
                <a:gd name="T38" fmla="*/ 2147483647 w 606"/>
                <a:gd name="T39" fmla="*/ 2147483647 h 1194"/>
                <a:gd name="T40" fmla="*/ 2147483647 w 606"/>
                <a:gd name="T41" fmla="*/ 2147483647 h 1194"/>
                <a:gd name="T42" fmla="*/ 2147483647 w 606"/>
                <a:gd name="T43" fmla="*/ 2147483647 h 1194"/>
                <a:gd name="T44" fmla="*/ 2147483647 w 606"/>
                <a:gd name="T45" fmla="*/ 2147483647 h 1194"/>
                <a:gd name="T46" fmla="*/ 2147483647 w 606"/>
                <a:gd name="T47" fmla="*/ 2147483647 h 1194"/>
                <a:gd name="T48" fmla="*/ 2147483647 w 606"/>
                <a:gd name="T49" fmla="*/ 2147483647 h 1194"/>
                <a:gd name="T50" fmla="*/ 2147483647 w 606"/>
                <a:gd name="T51" fmla="*/ 2147483647 h 1194"/>
                <a:gd name="T52" fmla="*/ 2147483647 w 606"/>
                <a:gd name="T53" fmla="*/ 2147483647 h 1194"/>
                <a:gd name="T54" fmla="*/ 2147483647 w 606"/>
                <a:gd name="T55" fmla="*/ 2147483647 h 1194"/>
                <a:gd name="T56" fmla="*/ 2147483647 w 606"/>
                <a:gd name="T57" fmla="*/ 2147483647 h 1194"/>
                <a:gd name="T58" fmla="*/ 2147483647 w 606"/>
                <a:gd name="T59" fmla="*/ 2147483647 h 1194"/>
                <a:gd name="T60" fmla="*/ 2147483647 w 606"/>
                <a:gd name="T61" fmla="*/ 2147483647 h 1194"/>
                <a:gd name="T62" fmla="*/ 2147483647 w 606"/>
                <a:gd name="T63" fmla="*/ 2147483647 h 1194"/>
                <a:gd name="T64" fmla="*/ 2147483647 w 606"/>
                <a:gd name="T65" fmla="*/ 2147483647 h 1194"/>
                <a:gd name="T66" fmla="*/ 2147483647 w 606"/>
                <a:gd name="T67" fmla="*/ 2147483647 h 1194"/>
                <a:gd name="T68" fmla="*/ 2147483647 w 606"/>
                <a:gd name="T69" fmla="*/ 2147483647 h 1194"/>
                <a:gd name="T70" fmla="*/ 2147483647 w 606"/>
                <a:gd name="T71" fmla="*/ 2147483647 h 1194"/>
                <a:gd name="T72" fmla="*/ 2147483647 w 606"/>
                <a:gd name="T73" fmla="*/ 2147483647 h 1194"/>
                <a:gd name="T74" fmla="*/ 2147483647 w 606"/>
                <a:gd name="T75" fmla="*/ 2147483647 h 1194"/>
                <a:gd name="T76" fmla="*/ 2147483647 w 606"/>
                <a:gd name="T77" fmla="*/ 2147483647 h 1194"/>
                <a:gd name="T78" fmla="*/ 2147483647 w 606"/>
                <a:gd name="T79" fmla="*/ 2147483647 h 1194"/>
                <a:gd name="T80" fmla="*/ 2147483647 w 606"/>
                <a:gd name="T81" fmla="*/ 2147483647 h 1194"/>
                <a:gd name="T82" fmla="*/ 2147483647 w 606"/>
                <a:gd name="T83" fmla="*/ 2147483647 h 1194"/>
                <a:gd name="T84" fmla="*/ 2147483647 w 606"/>
                <a:gd name="T85" fmla="*/ 2147483647 h 1194"/>
                <a:gd name="T86" fmla="*/ 2147483647 w 606"/>
                <a:gd name="T87" fmla="*/ 2147483647 h 1194"/>
                <a:gd name="T88" fmla="*/ 2147483647 w 606"/>
                <a:gd name="T89" fmla="*/ 2147483647 h 1194"/>
                <a:gd name="T90" fmla="*/ 2147483647 w 606"/>
                <a:gd name="T91" fmla="*/ 2147483647 h 1194"/>
                <a:gd name="T92" fmla="*/ 2147483647 w 606"/>
                <a:gd name="T93" fmla="*/ 2147483647 h 1194"/>
                <a:gd name="T94" fmla="*/ 2147483647 w 606"/>
                <a:gd name="T95" fmla="*/ 2147483647 h 1194"/>
                <a:gd name="T96" fmla="*/ 2147483647 w 606"/>
                <a:gd name="T97" fmla="*/ 2147483647 h 1194"/>
                <a:gd name="T98" fmla="*/ 2147483647 w 606"/>
                <a:gd name="T99" fmla="*/ 2147483647 h 1194"/>
                <a:gd name="T100" fmla="*/ 2147483647 w 606"/>
                <a:gd name="T101" fmla="*/ 2147483647 h 1194"/>
                <a:gd name="T102" fmla="*/ 2147483647 w 606"/>
                <a:gd name="T103" fmla="*/ 2147483647 h 1194"/>
                <a:gd name="T104" fmla="*/ 2147483647 w 606"/>
                <a:gd name="T105" fmla="*/ 2147483647 h 1194"/>
                <a:gd name="T106" fmla="*/ 2147483647 w 606"/>
                <a:gd name="T107" fmla="*/ 2147483647 h 1194"/>
                <a:gd name="T108" fmla="*/ 2147483647 w 606"/>
                <a:gd name="T109" fmla="*/ 2147483647 h 1194"/>
                <a:gd name="T110" fmla="*/ 2147483647 w 606"/>
                <a:gd name="T111" fmla="*/ 2147483647 h 1194"/>
                <a:gd name="T112" fmla="*/ 2147483647 w 606"/>
                <a:gd name="T113" fmla="*/ 2147483647 h 1194"/>
                <a:gd name="T114" fmla="*/ 2147483647 w 606"/>
                <a:gd name="T115" fmla="*/ 2147483647 h 1194"/>
                <a:gd name="T116" fmla="*/ 2147483647 w 606"/>
                <a:gd name="T117" fmla="*/ 2147483647 h 1194"/>
                <a:gd name="T118" fmla="*/ 2147483647 w 606"/>
                <a:gd name="T119" fmla="*/ 2147483647 h 1194"/>
                <a:gd name="T120" fmla="*/ 2147483647 w 606"/>
                <a:gd name="T121" fmla="*/ 2147483647 h 1194"/>
                <a:gd name="T122" fmla="*/ 2147483647 w 606"/>
                <a:gd name="T123" fmla="*/ 2147483647 h 11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06"/>
                <a:gd name="T187" fmla="*/ 0 h 1194"/>
                <a:gd name="T188" fmla="*/ 606 w 606"/>
                <a:gd name="T189" fmla="*/ 1194 h 11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06" h="1194">
                  <a:moveTo>
                    <a:pt x="6" y="48"/>
                  </a:moveTo>
                  <a:lnTo>
                    <a:pt x="0" y="60"/>
                  </a:lnTo>
                  <a:lnTo>
                    <a:pt x="0" y="72"/>
                  </a:lnTo>
                  <a:lnTo>
                    <a:pt x="12" y="96"/>
                  </a:lnTo>
                  <a:lnTo>
                    <a:pt x="18" y="102"/>
                  </a:lnTo>
                  <a:lnTo>
                    <a:pt x="24" y="114"/>
                  </a:lnTo>
                  <a:lnTo>
                    <a:pt x="36" y="120"/>
                  </a:lnTo>
                  <a:lnTo>
                    <a:pt x="42" y="132"/>
                  </a:lnTo>
                  <a:lnTo>
                    <a:pt x="48" y="126"/>
                  </a:lnTo>
                  <a:lnTo>
                    <a:pt x="54" y="126"/>
                  </a:lnTo>
                  <a:lnTo>
                    <a:pt x="54" y="156"/>
                  </a:lnTo>
                  <a:lnTo>
                    <a:pt x="66" y="180"/>
                  </a:lnTo>
                  <a:lnTo>
                    <a:pt x="84" y="198"/>
                  </a:lnTo>
                  <a:lnTo>
                    <a:pt x="90" y="210"/>
                  </a:lnTo>
                  <a:lnTo>
                    <a:pt x="108" y="210"/>
                  </a:lnTo>
                  <a:lnTo>
                    <a:pt x="108" y="216"/>
                  </a:lnTo>
                  <a:lnTo>
                    <a:pt x="120" y="228"/>
                  </a:lnTo>
                  <a:lnTo>
                    <a:pt x="126" y="222"/>
                  </a:lnTo>
                  <a:lnTo>
                    <a:pt x="132" y="210"/>
                  </a:lnTo>
                  <a:lnTo>
                    <a:pt x="132" y="204"/>
                  </a:lnTo>
                  <a:lnTo>
                    <a:pt x="138" y="192"/>
                  </a:lnTo>
                  <a:lnTo>
                    <a:pt x="150" y="192"/>
                  </a:lnTo>
                  <a:lnTo>
                    <a:pt x="162" y="198"/>
                  </a:lnTo>
                  <a:lnTo>
                    <a:pt x="186" y="222"/>
                  </a:lnTo>
                  <a:lnTo>
                    <a:pt x="180" y="222"/>
                  </a:lnTo>
                  <a:lnTo>
                    <a:pt x="174" y="228"/>
                  </a:lnTo>
                  <a:lnTo>
                    <a:pt x="174" y="234"/>
                  </a:lnTo>
                  <a:lnTo>
                    <a:pt x="198" y="246"/>
                  </a:lnTo>
                  <a:lnTo>
                    <a:pt x="216" y="252"/>
                  </a:lnTo>
                  <a:lnTo>
                    <a:pt x="228" y="258"/>
                  </a:lnTo>
                  <a:lnTo>
                    <a:pt x="228" y="270"/>
                  </a:lnTo>
                  <a:lnTo>
                    <a:pt x="222" y="282"/>
                  </a:lnTo>
                  <a:lnTo>
                    <a:pt x="210" y="288"/>
                  </a:lnTo>
                  <a:lnTo>
                    <a:pt x="204" y="300"/>
                  </a:lnTo>
                  <a:lnTo>
                    <a:pt x="198" y="306"/>
                  </a:lnTo>
                  <a:lnTo>
                    <a:pt x="180" y="306"/>
                  </a:lnTo>
                  <a:lnTo>
                    <a:pt x="174" y="300"/>
                  </a:lnTo>
                  <a:lnTo>
                    <a:pt x="150" y="300"/>
                  </a:lnTo>
                  <a:lnTo>
                    <a:pt x="156" y="306"/>
                  </a:lnTo>
                  <a:lnTo>
                    <a:pt x="156" y="324"/>
                  </a:lnTo>
                  <a:lnTo>
                    <a:pt x="168" y="330"/>
                  </a:lnTo>
                  <a:lnTo>
                    <a:pt x="174" y="336"/>
                  </a:lnTo>
                  <a:lnTo>
                    <a:pt x="210" y="354"/>
                  </a:lnTo>
                  <a:lnTo>
                    <a:pt x="222" y="366"/>
                  </a:lnTo>
                  <a:lnTo>
                    <a:pt x="234" y="372"/>
                  </a:lnTo>
                  <a:lnTo>
                    <a:pt x="240" y="378"/>
                  </a:lnTo>
                  <a:lnTo>
                    <a:pt x="252" y="378"/>
                  </a:lnTo>
                  <a:lnTo>
                    <a:pt x="252" y="408"/>
                  </a:lnTo>
                  <a:lnTo>
                    <a:pt x="258" y="414"/>
                  </a:lnTo>
                  <a:lnTo>
                    <a:pt x="270" y="414"/>
                  </a:lnTo>
                  <a:lnTo>
                    <a:pt x="282" y="420"/>
                  </a:lnTo>
                  <a:lnTo>
                    <a:pt x="288" y="426"/>
                  </a:lnTo>
                  <a:lnTo>
                    <a:pt x="294" y="426"/>
                  </a:lnTo>
                  <a:lnTo>
                    <a:pt x="294" y="450"/>
                  </a:lnTo>
                  <a:lnTo>
                    <a:pt x="306" y="474"/>
                  </a:lnTo>
                  <a:lnTo>
                    <a:pt x="324" y="486"/>
                  </a:lnTo>
                  <a:lnTo>
                    <a:pt x="342" y="504"/>
                  </a:lnTo>
                  <a:lnTo>
                    <a:pt x="348" y="522"/>
                  </a:lnTo>
                  <a:lnTo>
                    <a:pt x="366" y="522"/>
                  </a:lnTo>
                  <a:lnTo>
                    <a:pt x="366" y="528"/>
                  </a:lnTo>
                  <a:lnTo>
                    <a:pt x="372" y="534"/>
                  </a:lnTo>
                  <a:lnTo>
                    <a:pt x="384" y="558"/>
                  </a:lnTo>
                  <a:lnTo>
                    <a:pt x="396" y="570"/>
                  </a:lnTo>
                  <a:lnTo>
                    <a:pt x="408" y="570"/>
                  </a:lnTo>
                  <a:lnTo>
                    <a:pt x="414" y="576"/>
                  </a:lnTo>
                  <a:lnTo>
                    <a:pt x="426" y="582"/>
                  </a:lnTo>
                  <a:lnTo>
                    <a:pt x="432" y="588"/>
                  </a:lnTo>
                  <a:lnTo>
                    <a:pt x="432" y="600"/>
                  </a:lnTo>
                  <a:lnTo>
                    <a:pt x="426" y="606"/>
                  </a:lnTo>
                  <a:lnTo>
                    <a:pt x="420" y="606"/>
                  </a:lnTo>
                  <a:lnTo>
                    <a:pt x="414" y="612"/>
                  </a:lnTo>
                  <a:lnTo>
                    <a:pt x="408" y="612"/>
                  </a:lnTo>
                  <a:lnTo>
                    <a:pt x="432" y="636"/>
                  </a:lnTo>
                  <a:lnTo>
                    <a:pt x="456" y="648"/>
                  </a:lnTo>
                  <a:lnTo>
                    <a:pt x="462" y="654"/>
                  </a:lnTo>
                  <a:lnTo>
                    <a:pt x="468" y="654"/>
                  </a:lnTo>
                  <a:lnTo>
                    <a:pt x="450" y="690"/>
                  </a:lnTo>
                  <a:lnTo>
                    <a:pt x="456" y="690"/>
                  </a:lnTo>
                  <a:lnTo>
                    <a:pt x="468" y="702"/>
                  </a:lnTo>
                  <a:lnTo>
                    <a:pt x="468" y="708"/>
                  </a:lnTo>
                  <a:lnTo>
                    <a:pt x="456" y="720"/>
                  </a:lnTo>
                  <a:lnTo>
                    <a:pt x="450" y="720"/>
                  </a:lnTo>
                  <a:lnTo>
                    <a:pt x="450" y="762"/>
                  </a:lnTo>
                  <a:lnTo>
                    <a:pt x="456" y="762"/>
                  </a:lnTo>
                  <a:lnTo>
                    <a:pt x="468" y="774"/>
                  </a:lnTo>
                  <a:lnTo>
                    <a:pt x="480" y="798"/>
                  </a:lnTo>
                  <a:lnTo>
                    <a:pt x="480" y="804"/>
                  </a:lnTo>
                  <a:lnTo>
                    <a:pt x="468" y="816"/>
                  </a:lnTo>
                  <a:lnTo>
                    <a:pt x="462" y="816"/>
                  </a:lnTo>
                  <a:lnTo>
                    <a:pt x="462" y="828"/>
                  </a:lnTo>
                  <a:lnTo>
                    <a:pt x="468" y="834"/>
                  </a:lnTo>
                  <a:lnTo>
                    <a:pt x="468" y="864"/>
                  </a:lnTo>
                  <a:lnTo>
                    <a:pt x="474" y="870"/>
                  </a:lnTo>
                  <a:lnTo>
                    <a:pt x="474" y="900"/>
                  </a:lnTo>
                  <a:lnTo>
                    <a:pt x="462" y="894"/>
                  </a:lnTo>
                  <a:lnTo>
                    <a:pt x="444" y="894"/>
                  </a:lnTo>
                  <a:lnTo>
                    <a:pt x="438" y="900"/>
                  </a:lnTo>
                  <a:lnTo>
                    <a:pt x="438" y="918"/>
                  </a:lnTo>
                  <a:lnTo>
                    <a:pt x="408" y="918"/>
                  </a:lnTo>
                  <a:lnTo>
                    <a:pt x="408" y="942"/>
                  </a:lnTo>
                  <a:lnTo>
                    <a:pt x="366" y="942"/>
                  </a:lnTo>
                  <a:lnTo>
                    <a:pt x="366" y="966"/>
                  </a:lnTo>
                  <a:lnTo>
                    <a:pt x="378" y="990"/>
                  </a:lnTo>
                  <a:lnTo>
                    <a:pt x="396" y="1008"/>
                  </a:lnTo>
                  <a:lnTo>
                    <a:pt x="396" y="1020"/>
                  </a:lnTo>
                  <a:lnTo>
                    <a:pt x="390" y="1014"/>
                  </a:lnTo>
                  <a:lnTo>
                    <a:pt x="378" y="1008"/>
                  </a:lnTo>
                  <a:lnTo>
                    <a:pt x="372" y="1002"/>
                  </a:lnTo>
                  <a:lnTo>
                    <a:pt x="360" y="996"/>
                  </a:lnTo>
                  <a:lnTo>
                    <a:pt x="348" y="996"/>
                  </a:lnTo>
                  <a:lnTo>
                    <a:pt x="342" y="1002"/>
                  </a:lnTo>
                  <a:lnTo>
                    <a:pt x="342" y="1008"/>
                  </a:lnTo>
                  <a:lnTo>
                    <a:pt x="306" y="1008"/>
                  </a:lnTo>
                  <a:lnTo>
                    <a:pt x="312" y="1014"/>
                  </a:lnTo>
                  <a:lnTo>
                    <a:pt x="318" y="1014"/>
                  </a:lnTo>
                  <a:lnTo>
                    <a:pt x="324" y="1020"/>
                  </a:lnTo>
                  <a:lnTo>
                    <a:pt x="324" y="1026"/>
                  </a:lnTo>
                  <a:lnTo>
                    <a:pt x="312" y="1032"/>
                  </a:lnTo>
                  <a:lnTo>
                    <a:pt x="294" y="1032"/>
                  </a:lnTo>
                  <a:lnTo>
                    <a:pt x="276" y="1038"/>
                  </a:lnTo>
                  <a:lnTo>
                    <a:pt x="270" y="1050"/>
                  </a:lnTo>
                  <a:lnTo>
                    <a:pt x="270" y="1056"/>
                  </a:lnTo>
                  <a:lnTo>
                    <a:pt x="288" y="1074"/>
                  </a:lnTo>
                  <a:lnTo>
                    <a:pt x="300" y="1080"/>
                  </a:lnTo>
                  <a:lnTo>
                    <a:pt x="306" y="1086"/>
                  </a:lnTo>
                  <a:lnTo>
                    <a:pt x="312" y="1086"/>
                  </a:lnTo>
                  <a:lnTo>
                    <a:pt x="294" y="1104"/>
                  </a:lnTo>
                  <a:lnTo>
                    <a:pt x="294" y="1110"/>
                  </a:lnTo>
                  <a:lnTo>
                    <a:pt x="300" y="1116"/>
                  </a:lnTo>
                  <a:lnTo>
                    <a:pt x="300" y="1128"/>
                  </a:lnTo>
                  <a:lnTo>
                    <a:pt x="306" y="1140"/>
                  </a:lnTo>
                  <a:lnTo>
                    <a:pt x="306" y="1152"/>
                  </a:lnTo>
                  <a:lnTo>
                    <a:pt x="312" y="1158"/>
                  </a:lnTo>
                  <a:lnTo>
                    <a:pt x="294" y="1176"/>
                  </a:lnTo>
                  <a:lnTo>
                    <a:pt x="294" y="1188"/>
                  </a:lnTo>
                  <a:lnTo>
                    <a:pt x="306" y="1194"/>
                  </a:lnTo>
                  <a:lnTo>
                    <a:pt x="318" y="1194"/>
                  </a:lnTo>
                  <a:lnTo>
                    <a:pt x="330" y="1188"/>
                  </a:lnTo>
                  <a:lnTo>
                    <a:pt x="354" y="1164"/>
                  </a:lnTo>
                  <a:lnTo>
                    <a:pt x="366" y="1158"/>
                  </a:lnTo>
                  <a:lnTo>
                    <a:pt x="378" y="1158"/>
                  </a:lnTo>
                  <a:lnTo>
                    <a:pt x="384" y="1134"/>
                  </a:lnTo>
                  <a:lnTo>
                    <a:pt x="384" y="1110"/>
                  </a:lnTo>
                  <a:lnTo>
                    <a:pt x="396" y="1110"/>
                  </a:lnTo>
                  <a:lnTo>
                    <a:pt x="402" y="1116"/>
                  </a:lnTo>
                  <a:lnTo>
                    <a:pt x="414" y="1116"/>
                  </a:lnTo>
                  <a:lnTo>
                    <a:pt x="426" y="1104"/>
                  </a:lnTo>
                  <a:lnTo>
                    <a:pt x="426" y="1092"/>
                  </a:lnTo>
                  <a:lnTo>
                    <a:pt x="420" y="1086"/>
                  </a:lnTo>
                  <a:lnTo>
                    <a:pt x="414" y="1074"/>
                  </a:lnTo>
                  <a:lnTo>
                    <a:pt x="408" y="1068"/>
                  </a:lnTo>
                  <a:lnTo>
                    <a:pt x="408" y="1062"/>
                  </a:lnTo>
                  <a:lnTo>
                    <a:pt x="414" y="1056"/>
                  </a:lnTo>
                  <a:lnTo>
                    <a:pt x="426" y="1056"/>
                  </a:lnTo>
                  <a:lnTo>
                    <a:pt x="438" y="1050"/>
                  </a:lnTo>
                  <a:lnTo>
                    <a:pt x="444" y="1044"/>
                  </a:lnTo>
                  <a:lnTo>
                    <a:pt x="450" y="1044"/>
                  </a:lnTo>
                  <a:lnTo>
                    <a:pt x="456" y="1050"/>
                  </a:lnTo>
                  <a:lnTo>
                    <a:pt x="468" y="1050"/>
                  </a:lnTo>
                  <a:lnTo>
                    <a:pt x="480" y="1044"/>
                  </a:lnTo>
                  <a:lnTo>
                    <a:pt x="498" y="1038"/>
                  </a:lnTo>
                  <a:lnTo>
                    <a:pt x="546" y="1014"/>
                  </a:lnTo>
                  <a:lnTo>
                    <a:pt x="582" y="978"/>
                  </a:lnTo>
                  <a:lnTo>
                    <a:pt x="588" y="960"/>
                  </a:lnTo>
                  <a:lnTo>
                    <a:pt x="594" y="936"/>
                  </a:lnTo>
                  <a:lnTo>
                    <a:pt x="606" y="876"/>
                  </a:lnTo>
                  <a:lnTo>
                    <a:pt x="606" y="846"/>
                  </a:lnTo>
                  <a:lnTo>
                    <a:pt x="600" y="834"/>
                  </a:lnTo>
                  <a:lnTo>
                    <a:pt x="576" y="810"/>
                  </a:lnTo>
                  <a:lnTo>
                    <a:pt x="594" y="804"/>
                  </a:lnTo>
                  <a:lnTo>
                    <a:pt x="594" y="774"/>
                  </a:lnTo>
                  <a:lnTo>
                    <a:pt x="588" y="756"/>
                  </a:lnTo>
                  <a:lnTo>
                    <a:pt x="588" y="744"/>
                  </a:lnTo>
                  <a:lnTo>
                    <a:pt x="570" y="708"/>
                  </a:lnTo>
                  <a:lnTo>
                    <a:pt x="564" y="690"/>
                  </a:lnTo>
                  <a:lnTo>
                    <a:pt x="558" y="684"/>
                  </a:lnTo>
                  <a:lnTo>
                    <a:pt x="552" y="672"/>
                  </a:lnTo>
                  <a:lnTo>
                    <a:pt x="558" y="666"/>
                  </a:lnTo>
                  <a:lnTo>
                    <a:pt x="558" y="642"/>
                  </a:lnTo>
                  <a:lnTo>
                    <a:pt x="522" y="606"/>
                  </a:lnTo>
                  <a:lnTo>
                    <a:pt x="486" y="576"/>
                  </a:lnTo>
                  <a:lnTo>
                    <a:pt x="456" y="552"/>
                  </a:lnTo>
                  <a:lnTo>
                    <a:pt x="432" y="534"/>
                  </a:lnTo>
                  <a:lnTo>
                    <a:pt x="420" y="528"/>
                  </a:lnTo>
                  <a:lnTo>
                    <a:pt x="402" y="516"/>
                  </a:lnTo>
                  <a:lnTo>
                    <a:pt x="390" y="510"/>
                  </a:lnTo>
                  <a:lnTo>
                    <a:pt x="384" y="504"/>
                  </a:lnTo>
                  <a:lnTo>
                    <a:pt x="384" y="468"/>
                  </a:lnTo>
                  <a:lnTo>
                    <a:pt x="336" y="420"/>
                  </a:lnTo>
                  <a:lnTo>
                    <a:pt x="306" y="384"/>
                  </a:lnTo>
                  <a:lnTo>
                    <a:pt x="288" y="354"/>
                  </a:lnTo>
                  <a:lnTo>
                    <a:pt x="282" y="336"/>
                  </a:lnTo>
                  <a:lnTo>
                    <a:pt x="282" y="318"/>
                  </a:lnTo>
                  <a:lnTo>
                    <a:pt x="276" y="306"/>
                  </a:lnTo>
                  <a:lnTo>
                    <a:pt x="276" y="282"/>
                  </a:lnTo>
                  <a:lnTo>
                    <a:pt x="282" y="276"/>
                  </a:lnTo>
                  <a:lnTo>
                    <a:pt x="294" y="252"/>
                  </a:lnTo>
                  <a:lnTo>
                    <a:pt x="294" y="240"/>
                  </a:lnTo>
                  <a:lnTo>
                    <a:pt x="300" y="240"/>
                  </a:lnTo>
                  <a:lnTo>
                    <a:pt x="312" y="228"/>
                  </a:lnTo>
                  <a:lnTo>
                    <a:pt x="324" y="222"/>
                  </a:lnTo>
                  <a:lnTo>
                    <a:pt x="336" y="210"/>
                  </a:lnTo>
                  <a:lnTo>
                    <a:pt x="336" y="204"/>
                  </a:lnTo>
                  <a:lnTo>
                    <a:pt x="342" y="198"/>
                  </a:lnTo>
                  <a:lnTo>
                    <a:pt x="372" y="198"/>
                  </a:lnTo>
                  <a:lnTo>
                    <a:pt x="384" y="186"/>
                  </a:lnTo>
                  <a:lnTo>
                    <a:pt x="390" y="174"/>
                  </a:lnTo>
                  <a:lnTo>
                    <a:pt x="390" y="156"/>
                  </a:lnTo>
                  <a:lnTo>
                    <a:pt x="396" y="144"/>
                  </a:lnTo>
                  <a:lnTo>
                    <a:pt x="390" y="144"/>
                  </a:lnTo>
                  <a:lnTo>
                    <a:pt x="384" y="138"/>
                  </a:lnTo>
                  <a:lnTo>
                    <a:pt x="354" y="138"/>
                  </a:lnTo>
                  <a:lnTo>
                    <a:pt x="342" y="132"/>
                  </a:lnTo>
                  <a:lnTo>
                    <a:pt x="336" y="120"/>
                  </a:lnTo>
                  <a:lnTo>
                    <a:pt x="330" y="114"/>
                  </a:lnTo>
                  <a:lnTo>
                    <a:pt x="312" y="114"/>
                  </a:lnTo>
                  <a:lnTo>
                    <a:pt x="312" y="96"/>
                  </a:lnTo>
                  <a:lnTo>
                    <a:pt x="300" y="90"/>
                  </a:lnTo>
                  <a:lnTo>
                    <a:pt x="294" y="72"/>
                  </a:lnTo>
                  <a:lnTo>
                    <a:pt x="312" y="54"/>
                  </a:lnTo>
                  <a:lnTo>
                    <a:pt x="312" y="48"/>
                  </a:lnTo>
                  <a:lnTo>
                    <a:pt x="306" y="42"/>
                  </a:lnTo>
                  <a:lnTo>
                    <a:pt x="276" y="42"/>
                  </a:lnTo>
                  <a:lnTo>
                    <a:pt x="264" y="30"/>
                  </a:lnTo>
                  <a:lnTo>
                    <a:pt x="234" y="36"/>
                  </a:lnTo>
                  <a:lnTo>
                    <a:pt x="204" y="0"/>
                  </a:lnTo>
                  <a:lnTo>
                    <a:pt x="198" y="0"/>
                  </a:lnTo>
                  <a:lnTo>
                    <a:pt x="192" y="6"/>
                  </a:lnTo>
                  <a:lnTo>
                    <a:pt x="180" y="12"/>
                  </a:lnTo>
                  <a:lnTo>
                    <a:pt x="174" y="18"/>
                  </a:lnTo>
                  <a:lnTo>
                    <a:pt x="174" y="30"/>
                  </a:lnTo>
                  <a:lnTo>
                    <a:pt x="168" y="42"/>
                  </a:lnTo>
                  <a:lnTo>
                    <a:pt x="168" y="48"/>
                  </a:lnTo>
                  <a:lnTo>
                    <a:pt x="150" y="48"/>
                  </a:lnTo>
                  <a:lnTo>
                    <a:pt x="144" y="54"/>
                  </a:lnTo>
                  <a:lnTo>
                    <a:pt x="138" y="48"/>
                  </a:lnTo>
                  <a:lnTo>
                    <a:pt x="120" y="48"/>
                  </a:lnTo>
                  <a:lnTo>
                    <a:pt x="132" y="60"/>
                  </a:lnTo>
                  <a:lnTo>
                    <a:pt x="132" y="72"/>
                  </a:lnTo>
                  <a:lnTo>
                    <a:pt x="114" y="72"/>
                  </a:lnTo>
                  <a:lnTo>
                    <a:pt x="108" y="66"/>
                  </a:lnTo>
                  <a:lnTo>
                    <a:pt x="96" y="48"/>
                  </a:lnTo>
                  <a:lnTo>
                    <a:pt x="90" y="48"/>
                  </a:lnTo>
                  <a:lnTo>
                    <a:pt x="90" y="66"/>
                  </a:lnTo>
                  <a:lnTo>
                    <a:pt x="72" y="48"/>
                  </a:lnTo>
                  <a:lnTo>
                    <a:pt x="66" y="54"/>
                  </a:lnTo>
                  <a:lnTo>
                    <a:pt x="60" y="66"/>
                  </a:lnTo>
                  <a:lnTo>
                    <a:pt x="54" y="72"/>
                  </a:lnTo>
                  <a:lnTo>
                    <a:pt x="42" y="72"/>
                  </a:lnTo>
                  <a:lnTo>
                    <a:pt x="18" y="48"/>
                  </a:lnTo>
                  <a:lnTo>
                    <a:pt x="6" y="48"/>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2" name="Venezuela" descr="© INSCALE GmbH, 05.05.2010&#10;http://www.presentationload.com/">
              <a:extLst>
                <a:ext uri="{FF2B5EF4-FFF2-40B4-BE49-F238E27FC236}">
                  <a16:creationId xmlns:a16="http://schemas.microsoft.com/office/drawing/2014/main" id="{50F673E0-C829-DF9B-6F66-31745FD660C6}"/>
                </a:ext>
              </a:extLst>
            </p:cNvPr>
            <p:cNvSpPr>
              <a:spLocks noEditPoints="1"/>
            </p:cNvSpPr>
            <p:nvPr/>
          </p:nvSpPr>
          <p:spPr bwMode="gray">
            <a:xfrm>
              <a:off x="2263836" y="2846402"/>
              <a:ext cx="361698" cy="352806"/>
            </a:xfrm>
            <a:custGeom>
              <a:avLst/>
              <a:gdLst>
                <a:gd name="T0" fmla="*/ 2147483647 w 954"/>
                <a:gd name="T1" fmla="*/ 2147483647 h 930"/>
                <a:gd name="T2" fmla="*/ 2147483647 w 954"/>
                <a:gd name="T3" fmla="*/ 2147483647 h 930"/>
                <a:gd name="T4" fmla="*/ 2147483647 w 954"/>
                <a:gd name="T5" fmla="*/ 2147483647 h 930"/>
                <a:gd name="T6" fmla="*/ 2147483647 w 954"/>
                <a:gd name="T7" fmla="*/ 2147483647 h 930"/>
                <a:gd name="T8" fmla="*/ 2147483647 w 954"/>
                <a:gd name="T9" fmla="*/ 2147483647 h 930"/>
                <a:gd name="T10" fmla="*/ 2147483647 w 954"/>
                <a:gd name="T11" fmla="*/ 2147483647 h 930"/>
                <a:gd name="T12" fmla="*/ 2147483647 w 954"/>
                <a:gd name="T13" fmla="*/ 2147483647 h 930"/>
                <a:gd name="T14" fmla="*/ 2147483647 w 954"/>
                <a:gd name="T15" fmla="*/ 2147483647 h 930"/>
                <a:gd name="T16" fmla="*/ 2147483647 w 954"/>
                <a:gd name="T17" fmla="*/ 2147483647 h 930"/>
                <a:gd name="T18" fmla="*/ 2147483647 w 954"/>
                <a:gd name="T19" fmla="*/ 2147483647 h 930"/>
                <a:gd name="T20" fmla="*/ 2147483647 w 954"/>
                <a:gd name="T21" fmla="*/ 2147483647 h 930"/>
                <a:gd name="T22" fmla="*/ 2147483647 w 954"/>
                <a:gd name="T23" fmla="*/ 2147483647 h 930"/>
                <a:gd name="T24" fmla="*/ 2147483647 w 954"/>
                <a:gd name="T25" fmla="*/ 2147483647 h 930"/>
                <a:gd name="T26" fmla="*/ 2147483647 w 954"/>
                <a:gd name="T27" fmla="*/ 2147483647 h 930"/>
                <a:gd name="T28" fmla="*/ 2147483647 w 954"/>
                <a:gd name="T29" fmla="*/ 2147483647 h 930"/>
                <a:gd name="T30" fmla="*/ 2147483647 w 954"/>
                <a:gd name="T31" fmla="*/ 2147483647 h 930"/>
                <a:gd name="T32" fmla="*/ 2147483647 w 954"/>
                <a:gd name="T33" fmla="*/ 2147483647 h 930"/>
                <a:gd name="T34" fmla="*/ 2147483647 w 954"/>
                <a:gd name="T35" fmla="*/ 2147483647 h 930"/>
                <a:gd name="T36" fmla="*/ 2147483647 w 954"/>
                <a:gd name="T37" fmla="*/ 2147483647 h 930"/>
                <a:gd name="T38" fmla="*/ 2147483647 w 954"/>
                <a:gd name="T39" fmla="*/ 2147483647 h 930"/>
                <a:gd name="T40" fmla="*/ 2147483647 w 954"/>
                <a:gd name="T41" fmla="*/ 2147483647 h 930"/>
                <a:gd name="T42" fmla="*/ 2147483647 w 954"/>
                <a:gd name="T43" fmla="*/ 2147483647 h 930"/>
                <a:gd name="T44" fmla="*/ 2147483647 w 954"/>
                <a:gd name="T45" fmla="*/ 2147483647 h 930"/>
                <a:gd name="T46" fmla="*/ 2147483647 w 954"/>
                <a:gd name="T47" fmla="*/ 2147483647 h 930"/>
                <a:gd name="T48" fmla="*/ 2147483647 w 954"/>
                <a:gd name="T49" fmla="*/ 2147483647 h 930"/>
                <a:gd name="T50" fmla="*/ 0 w 954"/>
                <a:gd name="T51" fmla="*/ 2147483647 h 930"/>
                <a:gd name="T52" fmla="*/ 2147483647 w 954"/>
                <a:gd name="T53" fmla="*/ 2147483647 h 930"/>
                <a:gd name="T54" fmla="*/ 2147483647 w 954"/>
                <a:gd name="T55" fmla="*/ 2147483647 h 930"/>
                <a:gd name="T56" fmla="*/ 2147483647 w 954"/>
                <a:gd name="T57" fmla="*/ 2147483647 h 930"/>
                <a:gd name="T58" fmla="*/ 2147483647 w 954"/>
                <a:gd name="T59" fmla="*/ 2147483647 h 930"/>
                <a:gd name="T60" fmla="*/ 2147483647 w 954"/>
                <a:gd name="T61" fmla="*/ 2147483647 h 930"/>
                <a:gd name="T62" fmla="*/ 2147483647 w 954"/>
                <a:gd name="T63" fmla="*/ 2147483647 h 930"/>
                <a:gd name="T64" fmla="*/ 2147483647 w 954"/>
                <a:gd name="T65" fmla="*/ 2147483647 h 930"/>
                <a:gd name="T66" fmla="*/ 2147483647 w 954"/>
                <a:gd name="T67" fmla="*/ 2147483647 h 930"/>
                <a:gd name="T68" fmla="*/ 2147483647 w 954"/>
                <a:gd name="T69" fmla="*/ 2147483647 h 930"/>
                <a:gd name="T70" fmla="*/ 2147483647 w 954"/>
                <a:gd name="T71" fmla="*/ 2147483647 h 930"/>
                <a:gd name="T72" fmla="*/ 2147483647 w 954"/>
                <a:gd name="T73" fmla="*/ 2147483647 h 930"/>
                <a:gd name="T74" fmla="*/ 2147483647 w 954"/>
                <a:gd name="T75" fmla="*/ 2147483647 h 930"/>
                <a:gd name="T76" fmla="*/ 2147483647 w 954"/>
                <a:gd name="T77" fmla="*/ 2147483647 h 930"/>
                <a:gd name="T78" fmla="*/ 2147483647 w 954"/>
                <a:gd name="T79" fmla="*/ 2147483647 h 930"/>
                <a:gd name="T80" fmla="*/ 2147483647 w 954"/>
                <a:gd name="T81" fmla="*/ 2147483647 h 930"/>
                <a:gd name="T82" fmla="*/ 2147483647 w 954"/>
                <a:gd name="T83" fmla="*/ 2147483647 h 930"/>
                <a:gd name="T84" fmla="*/ 2147483647 w 954"/>
                <a:gd name="T85" fmla="*/ 2147483647 h 930"/>
                <a:gd name="T86" fmla="*/ 2147483647 w 954"/>
                <a:gd name="T87" fmla="*/ 2147483647 h 930"/>
                <a:gd name="T88" fmla="*/ 2147483647 w 954"/>
                <a:gd name="T89" fmla="*/ 2147483647 h 930"/>
                <a:gd name="T90" fmla="*/ 2147483647 w 954"/>
                <a:gd name="T91" fmla="*/ 2147483647 h 930"/>
                <a:gd name="T92" fmla="*/ 2147483647 w 954"/>
                <a:gd name="T93" fmla="*/ 2147483647 h 930"/>
                <a:gd name="T94" fmla="*/ 2147483647 w 954"/>
                <a:gd name="T95" fmla="*/ 2147483647 h 930"/>
                <a:gd name="T96" fmla="*/ 2147483647 w 954"/>
                <a:gd name="T97" fmla="*/ 2147483647 h 930"/>
                <a:gd name="T98" fmla="*/ 2147483647 w 954"/>
                <a:gd name="T99" fmla="*/ 2147483647 h 930"/>
                <a:gd name="T100" fmla="*/ 2147483647 w 954"/>
                <a:gd name="T101" fmla="*/ 2147483647 h 930"/>
                <a:gd name="T102" fmla="*/ 2147483647 w 954"/>
                <a:gd name="T103" fmla="*/ 2147483647 h 930"/>
                <a:gd name="T104" fmla="*/ 2147483647 w 954"/>
                <a:gd name="T105" fmla="*/ 2147483647 h 930"/>
                <a:gd name="T106" fmla="*/ 2147483647 w 954"/>
                <a:gd name="T107" fmla="*/ 2147483647 h 930"/>
                <a:gd name="T108" fmla="*/ 2147483647 w 954"/>
                <a:gd name="T109" fmla="*/ 2147483647 h 930"/>
                <a:gd name="T110" fmla="*/ 2147483647 w 954"/>
                <a:gd name="T111" fmla="*/ 2147483647 h 930"/>
                <a:gd name="T112" fmla="*/ 2147483647 w 954"/>
                <a:gd name="T113" fmla="*/ 2147483647 h 930"/>
                <a:gd name="T114" fmla="*/ 2147483647 w 954"/>
                <a:gd name="T115" fmla="*/ 2147483647 h 930"/>
                <a:gd name="T116" fmla="*/ 2147483647 w 954"/>
                <a:gd name="T117" fmla="*/ 2147483647 h 930"/>
                <a:gd name="T118" fmla="*/ 2147483647 w 954"/>
                <a:gd name="T119" fmla="*/ 2147483647 h 93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54"/>
                <a:gd name="T181" fmla="*/ 0 h 930"/>
                <a:gd name="T182" fmla="*/ 954 w 954"/>
                <a:gd name="T183" fmla="*/ 930 h 93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54" h="930">
                  <a:moveTo>
                    <a:pt x="264" y="42"/>
                  </a:moveTo>
                  <a:lnTo>
                    <a:pt x="264" y="12"/>
                  </a:lnTo>
                  <a:lnTo>
                    <a:pt x="252" y="0"/>
                  </a:lnTo>
                  <a:lnTo>
                    <a:pt x="234" y="0"/>
                  </a:lnTo>
                  <a:lnTo>
                    <a:pt x="228" y="6"/>
                  </a:lnTo>
                  <a:lnTo>
                    <a:pt x="228" y="18"/>
                  </a:lnTo>
                  <a:lnTo>
                    <a:pt x="234" y="24"/>
                  </a:lnTo>
                  <a:lnTo>
                    <a:pt x="234" y="36"/>
                  </a:lnTo>
                  <a:lnTo>
                    <a:pt x="240" y="42"/>
                  </a:lnTo>
                  <a:lnTo>
                    <a:pt x="264" y="42"/>
                  </a:lnTo>
                  <a:close/>
                  <a:moveTo>
                    <a:pt x="936" y="276"/>
                  </a:moveTo>
                  <a:lnTo>
                    <a:pt x="930" y="276"/>
                  </a:lnTo>
                  <a:lnTo>
                    <a:pt x="924" y="282"/>
                  </a:lnTo>
                  <a:lnTo>
                    <a:pt x="912" y="288"/>
                  </a:lnTo>
                  <a:lnTo>
                    <a:pt x="906" y="294"/>
                  </a:lnTo>
                  <a:lnTo>
                    <a:pt x="900" y="288"/>
                  </a:lnTo>
                  <a:lnTo>
                    <a:pt x="888" y="288"/>
                  </a:lnTo>
                  <a:lnTo>
                    <a:pt x="882" y="282"/>
                  </a:lnTo>
                  <a:lnTo>
                    <a:pt x="876" y="282"/>
                  </a:lnTo>
                  <a:lnTo>
                    <a:pt x="852" y="306"/>
                  </a:lnTo>
                  <a:lnTo>
                    <a:pt x="822" y="282"/>
                  </a:lnTo>
                  <a:lnTo>
                    <a:pt x="846" y="282"/>
                  </a:lnTo>
                  <a:lnTo>
                    <a:pt x="858" y="276"/>
                  </a:lnTo>
                  <a:lnTo>
                    <a:pt x="864" y="276"/>
                  </a:lnTo>
                  <a:lnTo>
                    <a:pt x="870" y="264"/>
                  </a:lnTo>
                  <a:lnTo>
                    <a:pt x="870" y="246"/>
                  </a:lnTo>
                  <a:lnTo>
                    <a:pt x="882" y="234"/>
                  </a:lnTo>
                  <a:lnTo>
                    <a:pt x="888" y="222"/>
                  </a:lnTo>
                  <a:lnTo>
                    <a:pt x="876" y="210"/>
                  </a:lnTo>
                  <a:lnTo>
                    <a:pt x="846" y="210"/>
                  </a:lnTo>
                  <a:lnTo>
                    <a:pt x="846" y="204"/>
                  </a:lnTo>
                  <a:lnTo>
                    <a:pt x="840" y="198"/>
                  </a:lnTo>
                  <a:lnTo>
                    <a:pt x="840" y="192"/>
                  </a:lnTo>
                  <a:lnTo>
                    <a:pt x="834" y="186"/>
                  </a:lnTo>
                  <a:lnTo>
                    <a:pt x="828" y="186"/>
                  </a:lnTo>
                  <a:lnTo>
                    <a:pt x="822" y="192"/>
                  </a:lnTo>
                  <a:lnTo>
                    <a:pt x="822" y="210"/>
                  </a:lnTo>
                  <a:lnTo>
                    <a:pt x="816" y="198"/>
                  </a:lnTo>
                  <a:lnTo>
                    <a:pt x="816" y="180"/>
                  </a:lnTo>
                  <a:lnTo>
                    <a:pt x="792" y="180"/>
                  </a:lnTo>
                  <a:lnTo>
                    <a:pt x="786" y="210"/>
                  </a:lnTo>
                  <a:lnTo>
                    <a:pt x="780" y="204"/>
                  </a:lnTo>
                  <a:lnTo>
                    <a:pt x="774" y="192"/>
                  </a:lnTo>
                  <a:lnTo>
                    <a:pt x="774" y="186"/>
                  </a:lnTo>
                  <a:lnTo>
                    <a:pt x="768" y="180"/>
                  </a:lnTo>
                  <a:lnTo>
                    <a:pt x="768" y="156"/>
                  </a:lnTo>
                  <a:lnTo>
                    <a:pt x="738" y="168"/>
                  </a:lnTo>
                  <a:lnTo>
                    <a:pt x="744" y="162"/>
                  </a:lnTo>
                  <a:lnTo>
                    <a:pt x="756" y="156"/>
                  </a:lnTo>
                  <a:lnTo>
                    <a:pt x="762" y="156"/>
                  </a:lnTo>
                  <a:lnTo>
                    <a:pt x="762" y="144"/>
                  </a:lnTo>
                  <a:lnTo>
                    <a:pt x="750" y="138"/>
                  </a:lnTo>
                  <a:lnTo>
                    <a:pt x="744" y="138"/>
                  </a:lnTo>
                  <a:lnTo>
                    <a:pt x="744" y="132"/>
                  </a:lnTo>
                  <a:lnTo>
                    <a:pt x="750" y="132"/>
                  </a:lnTo>
                  <a:lnTo>
                    <a:pt x="762" y="126"/>
                  </a:lnTo>
                  <a:lnTo>
                    <a:pt x="774" y="126"/>
                  </a:lnTo>
                  <a:lnTo>
                    <a:pt x="792" y="120"/>
                  </a:lnTo>
                  <a:lnTo>
                    <a:pt x="804" y="120"/>
                  </a:lnTo>
                  <a:lnTo>
                    <a:pt x="810" y="114"/>
                  </a:lnTo>
                  <a:lnTo>
                    <a:pt x="726" y="114"/>
                  </a:lnTo>
                  <a:lnTo>
                    <a:pt x="690" y="120"/>
                  </a:lnTo>
                  <a:lnTo>
                    <a:pt x="678" y="120"/>
                  </a:lnTo>
                  <a:lnTo>
                    <a:pt x="690" y="132"/>
                  </a:lnTo>
                  <a:lnTo>
                    <a:pt x="678" y="132"/>
                  </a:lnTo>
                  <a:lnTo>
                    <a:pt x="666" y="138"/>
                  </a:lnTo>
                  <a:lnTo>
                    <a:pt x="654" y="138"/>
                  </a:lnTo>
                  <a:lnTo>
                    <a:pt x="642" y="144"/>
                  </a:lnTo>
                  <a:lnTo>
                    <a:pt x="636" y="144"/>
                  </a:lnTo>
                  <a:lnTo>
                    <a:pt x="624" y="150"/>
                  </a:lnTo>
                  <a:lnTo>
                    <a:pt x="606" y="168"/>
                  </a:lnTo>
                  <a:lnTo>
                    <a:pt x="594" y="174"/>
                  </a:lnTo>
                  <a:lnTo>
                    <a:pt x="576" y="174"/>
                  </a:lnTo>
                  <a:lnTo>
                    <a:pt x="564" y="162"/>
                  </a:lnTo>
                  <a:lnTo>
                    <a:pt x="546" y="156"/>
                  </a:lnTo>
                  <a:lnTo>
                    <a:pt x="534" y="144"/>
                  </a:lnTo>
                  <a:lnTo>
                    <a:pt x="522" y="138"/>
                  </a:lnTo>
                  <a:lnTo>
                    <a:pt x="510" y="126"/>
                  </a:lnTo>
                  <a:lnTo>
                    <a:pt x="492" y="126"/>
                  </a:lnTo>
                  <a:lnTo>
                    <a:pt x="450" y="132"/>
                  </a:lnTo>
                  <a:lnTo>
                    <a:pt x="372" y="132"/>
                  </a:lnTo>
                  <a:lnTo>
                    <a:pt x="360" y="120"/>
                  </a:lnTo>
                  <a:lnTo>
                    <a:pt x="354" y="108"/>
                  </a:lnTo>
                  <a:lnTo>
                    <a:pt x="354" y="84"/>
                  </a:lnTo>
                  <a:lnTo>
                    <a:pt x="348" y="72"/>
                  </a:lnTo>
                  <a:lnTo>
                    <a:pt x="336" y="60"/>
                  </a:lnTo>
                  <a:lnTo>
                    <a:pt x="324" y="54"/>
                  </a:lnTo>
                  <a:lnTo>
                    <a:pt x="276" y="54"/>
                  </a:lnTo>
                  <a:lnTo>
                    <a:pt x="240" y="60"/>
                  </a:lnTo>
                  <a:lnTo>
                    <a:pt x="222" y="72"/>
                  </a:lnTo>
                  <a:lnTo>
                    <a:pt x="210" y="78"/>
                  </a:lnTo>
                  <a:lnTo>
                    <a:pt x="204" y="78"/>
                  </a:lnTo>
                  <a:lnTo>
                    <a:pt x="180" y="90"/>
                  </a:lnTo>
                  <a:lnTo>
                    <a:pt x="162" y="96"/>
                  </a:lnTo>
                  <a:lnTo>
                    <a:pt x="144" y="108"/>
                  </a:lnTo>
                  <a:lnTo>
                    <a:pt x="138" y="120"/>
                  </a:lnTo>
                  <a:lnTo>
                    <a:pt x="138" y="144"/>
                  </a:lnTo>
                  <a:lnTo>
                    <a:pt x="150" y="168"/>
                  </a:lnTo>
                  <a:lnTo>
                    <a:pt x="156" y="186"/>
                  </a:lnTo>
                  <a:lnTo>
                    <a:pt x="162" y="198"/>
                  </a:lnTo>
                  <a:lnTo>
                    <a:pt x="156" y="210"/>
                  </a:lnTo>
                  <a:lnTo>
                    <a:pt x="150" y="228"/>
                  </a:lnTo>
                  <a:lnTo>
                    <a:pt x="138" y="234"/>
                  </a:lnTo>
                  <a:lnTo>
                    <a:pt x="132" y="246"/>
                  </a:lnTo>
                  <a:lnTo>
                    <a:pt x="126" y="252"/>
                  </a:lnTo>
                  <a:lnTo>
                    <a:pt x="120" y="252"/>
                  </a:lnTo>
                  <a:lnTo>
                    <a:pt x="126" y="222"/>
                  </a:lnTo>
                  <a:lnTo>
                    <a:pt x="114" y="222"/>
                  </a:lnTo>
                  <a:lnTo>
                    <a:pt x="108" y="216"/>
                  </a:lnTo>
                  <a:lnTo>
                    <a:pt x="96" y="210"/>
                  </a:lnTo>
                  <a:lnTo>
                    <a:pt x="90" y="204"/>
                  </a:lnTo>
                  <a:lnTo>
                    <a:pt x="84" y="192"/>
                  </a:lnTo>
                  <a:lnTo>
                    <a:pt x="96" y="168"/>
                  </a:lnTo>
                  <a:lnTo>
                    <a:pt x="108" y="156"/>
                  </a:lnTo>
                  <a:lnTo>
                    <a:pt x="120" y="132"/>
                  </a:lnTo>
                  <a:lnTo>
                    <a:pt x="120" y="78"/>
                  </a:lnTo>
                  <a:lnTo>
                    <a:pt x="114" y="66"/>
                  </a:lnTo>
                  <a:lnTo>
                    <a:pt x="114" y="54"/>
                  </a:lnTo>
                  <a:lnTo>
                    <a:pt x="108" y="48"/>
                  </a:lnTo>
                  <a:lnTo>
                    <a:pt x="108" y="54"/>
                  </a:lnTo>
                  <a:lnTo>
                    <a:pt x="102" y="66"/>
                  </a:lnTo>
                  <a:lnTo>
                    <a:pt x="90" y="78"/>
                  </a:lnTo>
                  <a:lnTo>
                    <a:pt x="72" y="84"/>
                  </a:lnTo>
                  <a:lnTo>
                    <a:pt x="48" y="108"/>
                  </a:lnTo>
                  <a:lnTo>
                    <a:pt x="36" y="144"/>
                  </a:lnTo>
                  <a:lnTo>
                    <a:pt x="36" y="162"/>
                  </a:lnTo>
                  <a:lnTo>
                    <a:pt x="30" y="168"/>
                  </a:lnTo>
                  <a:lnTo>
                    <a:pt x="30" y="192"/>
                  </a:lnTo>
                  <a:lnTo>
                    <a:pt x="6" y="216"/>
                  </a:lnTo>
                  <a:lnTo>
                    <a:pt x="0" y="228"/>
                  </a:lnTo>
                  <a:lnTo>
                    <a:pt x="0" y="240"/>
                  </a:lnTo>
                  <a:lnTo>
                    <a:pt x="6" y="246"/>
                  </a:lnTo>
                  <a:lnTo>
                    <a:pt x="6" y="240"/>
                  </a:lnTo>
                  <a:lnTo>
                    <a:pt x="18" y="228"/>
                  </a:lnTo>
                  <a:lnTo>
                    <a:pt x="24" y="228"/>
                  </a:lnTo>
                  <a:lnTo>
                    <a:pt x="36" y="240"/>
                  </a:lnTo>
                  <a:lnTo>
                    <a:pt x="42" y="252"/>
                  </a:lnTo>
                  <a:lnTo>
                    <a:pt x="42" y="288"/>
                  </a:lnTo>
                  <a:lnTo>
                    <a:pt x="48" y="294"/>
                  </a:lnTo>
                  <a:lnTo>
                    <a:pt x="60" y="300"/>
                  </a:lnTo>
                  <a:lnTo>
                    <a:pt x="66" y="306"/>
                  </a:lnTo>
                  <a:lnTo>
                    <a:pt x="66" y="318"/>
                  </a:lnTo>
                  <a:lnTo>
                    <a:pt x="54" y="342"/>
                  </a:lnTo>
                  <a:lnTo>
                    <a:pt x="54" y="384"/>
                  </a:lnTo>
                  <a:lnTo>
                    <a:pt x="66" y="384"/>
                  </a:lnTo>
                  <a:lnTo>
                    <a:pt x="66" y="396"/>
                  </a:lnTo>
                  <a:lnTo>
                    <a:pt x="72" y="408"/>
                  </a:lnTo>
                  <a:lnTo>
                    <a:pt x="78" y="414"/>
                  </a:lnTo>
                  <a:lnTo>
                    <a:pt x="102" y="414"/>
                  </a:lnTo>
                  <a:lnTo>
                    <a:pt x="108" y="408"/>
                  </a:lnTo>
                  <a:lnTo>
                    <a:pt x="120" y="408"/>
                  </a:lnTo>
                  <a:lnTo>
                    <a:pt x="132" y="414"/>
                  </a:lnTo>
                  <a:lnTo>
                    <a:pt x="138" y="414"/>
                  </a:lnTo>
                  <a:lnTo>
                    <a:pt x="150" y="420"/>
                  </a:lnTo>
                  <a:lnTo>
                    <a:pt x="162" y="420"/>
                  </a:lnTo>
                  <a:lnTo>
                    <a:pt x="168" y="414"/>
                  </a:lnTo>
                  <a:lnTo>
                    <a:pt x="168" y="408"/>
                  </a:lnTo>
                  <a:lnTo>
                    <a:pt x="180" y="408"/>
                  </a:lnTo>
                  <a:lnTo>
                    <a:pt x="186" y="414"/>
                  </a:lnTo>
                  <a:lnTo>
                    <a:pt x="198" y="420"/>
                  </a:lnTo>
                  <a:lnTo>
                    <a:pt x="222" y="420"/>
                  </a:lnTo>
                  <a:lnTo>
                    <a:pt x="222" y="426"/>
                  </a:lnTo>
                  <a:lnTo>
                    <a:pt x="228" y="432"/>
                  </a:lnTo>
                  <a:lnTo>
                    <a:pt x="234" y="444"/>
                  </a:lnTo>
                  <a:lnTo>
                    <a:pt x="240" y="462"/>
                  </a:lnTo>
                  <a:lnTo>
                    <a:pt x="264" y="486"/>
                  </a:lnTo>
                  <a:lnTo>
                    <a:pt x="288" y="486"/>
                  </a:lnTo>
                  <a:lnTo>
                    <a:pt x="288" y="480"/>
                  </a:lnTo>
                  <a:lnTo>
                    <a:pt x="306" y="480"/>
                  </a:lnTo>
                  <a:lnTo>
                    <a:pt x="312" y="486"/>
                  </a:lnTo>
                  <a:lnTo>
                    <a:pt x="336" y="486"/>
                  </a:lnTo>
                  <a:lnTo>
                    <a:pt x="342" y="480"/>
                  </a:lnTo>
                  <a:lnTo>
                    <a:pt x="366" y="486"/>
                  </a:lnTo>
                  <a:lnTo>
                    <a:pt x="372" y="480"/>
                  </a:lnTo>
                  <a:lnTo>
                    <a:pt x="384" y="474"/>
                  </a:lnTo>
                  <a:lnTo>
                    <a:pt x="402" y="474"/>
                  </a:lnTo>
                  <a:lnTo>
                    <a:pt x="408" y="480"/>
                  </a:lnTo>
                  <a:lnTo>
                    <a:pt x="408" y="492"/>
                  </a:lnTo>
                  <a:lnTo>
                    <a:pt x="390" y="510"/>
                  </a:lnTo>
                  <a:lnTo>
                    <a:pt x="390" y="534"/>
                  </a:lnTo>
                  <a:lnTo>
                    <a:pt x="384" y="540"/>
                  </a:lnTo>
                  <a:lnTo>
                    <a:pt x="378" y="540"/>
                  </a:lnTo>
                  <a:lnTo>
                    <a:pt x="366" y="552"/>
                  </a:lnTo>
                  <a:lnTo>
                    <a:pt x="366" y="576"/>
                  </a:lnTo>
                  <a:lnTo>
                    <a:pt x="372" y="588"/>
                  </a:lnTo>
                  <a:lnTo>
                    <a:pt x="372" y="618"/>
                  </a:lnTo>
                  <a:lnTo>
                    <a:pt x="366" y="630"/>
                  </a:lnTo>
                  <a:lnTo>
                    <a:pt x="366" y="642"/>
                  </a:lnTo>
                  <a:lnTo>
                    <a:pt x="372" y="648"/>
                  </a:lnTo>
                  <a:lnTo>
                    <a:pt x="384" y="648"/>
                  </a:lnTo>
                  <a:lnTo>
                    <a:pt x="384" y="672"/>
                  </a:lnTo>
                  <a:lnTo>
                    <a:pt x="390" y="684"/>
                  </a:lnTo>
                  <a:lnTo>
                    <a:pt x="402" y="690"/>
                  </a:lnTo>
                  <a:lnTo>
                    <a:pt x="408" y="702"/>
                  </a:lnTo>
                  <a:lnTo>
                    <a:pt x="408" y="708"/>
                  </a:lnTo>
                  <a:lnTo>
                    <a:pt x="402" y="720"/>
                  </a:lnTo>
                  <a:lnTo>
                    <a:pt x="372" y="750"/>
                  </a:lnTo>
                  <a:lnTo>
                    <a:pt x="366" y="750"/>
                  </a:lnTo>
                  <a:lnTo>
                    <a:pt x="390" y="762"/>
                  </a:lnTo>
                  <a:lnTo>
                    <a:pt x="402" y="774"/>
                  </a:lnTo>
                  <a:lnTo>
                    <a:pt x="414" y="774"/>
                  </a:lnTo>
                  <a:lnTo>
                    <a:pt x="414" y="798"/>
                  </a:lnTo>
                  <a:lnTo>
                    <a:pt x="420" y="804"/>
                  </a:lnTo>
                  <a:lnTo>
                    <a:pt x="420" y="822"/>
                  </a:lnTo>
                  <a:lnTo>
                    <a:pt x="426" y="828"/>
                  </a:lnTo>
                  <a:lnTo>
                    <a:pt x="426" y="846"/>
                  </a:lnTo>
                  <a:lnTo>
                    <a:pt x="432" y="858"/>
                  </a:lnTo>
                  <a:lnTo>
                    <a:pt x="432" y="876"/>
                  </a:lnTo>
                  <a:lnTo>
                    <a:pt x="444" y="888"/>
                  </a:lnTo>
                  <a:lnTo>
                    <a:pt x="450" y="900"/>
                  </a:lnTo>
                  <a:lnTo>
                    <a:pt x="450" y="906"/>
                  </a:lnTo>
                  <a:lnTo>
                    <a:pt x="462" y="918"/>
                  </a:lnTo>
                  <a:lnTo>
                    <a:pt x="468" y="918"/>
                  </a:lnTo>
                  <a:lnTo>
                    <a:pt x="480" y="924"/>
                  </a:lnTo>
                  <a:lnTo>
                    <a:pt x="486" y="924"/>
                  </a:lnTo>
                  <a:lnTo>
                    <a:pt x="498" y="918"/>
                  </a:lnTo>
                  <a:lnTo>
                    <a:pt x="504" y="912"/>
                  </a:lnTo>
                  <a:lnTo>
                    <a:pt x="516" y="906"/>
                  </a:lnTo>
                  <a:lnTo>
                    <a:pt x="522" y="900"/>
                  </a:lnTo>
                  <a:lnTo>
                    <a:pt x="528" y="906"/>
                  </a:lnTo>
                  <a:lnTo>
                    <a:pt x="528" y="930"/>
                  </a:lnTo>
                  <a:lnTo>
                    <a:pt x="534" y="930"/>
                  </a:lnTo>
                  <a:lnTo>
                    <a:pt x="546" y="918"/>
                  </a:lnTo>
                  <a:lnTo>
                    <a:pt x="558" y="894"/>
                  </a:lnTo>
                  <a:lnTo>
                    <a:pt x="570" y="882"/>
                  </a:lnTo>
                  <a:lnTo>
                    <a:pt x="588" y="882"/>
                  </a:lnTo>
                  <a:lnTo>
                    <a:pt x="594" y="876"/>
                  </a:lnTo>
                  <a:lnTo>
                    <a:pt x="630" y="858"/>
                  </a:lnTo>
                  <a:lnTo>
                    <a:pt x="636" y="846"/>
                  </a:lnTo>
                  <a:lnTo>
                    <a:pt x="636" y="816"/>
                  </a:lnTo>
                  <a:lnTo>
                    <a:pt x="678" y="816"/>
                  </a:lnTo>
                  <a:lnTo>
                    <a:pt x="684" y="810"/>
                  </a:lnTo>
                  <a:lnTo>
                    <a:pt x="690" y="798"/>
                  </a:lnTo>
                  <a:lnTo>
                    <a:pt x="690" y="792"/>
                  </a:lnTo>
                  <a:lnTo>
                    <a:pt x="684" y="786"/>
                  </a:lnTo>
                  <a:lnTo>
                    <a:pt x="636" y="780"/>
                  </a:lnTo>
                  <a:lnTo>
                    <a:pt x="636" y="750"/>
                  </a:lnTo>
                  <a:lnTo>
                    <a:pt x="630" y="738"/>
                  </a:lnTo>
                  <a:lnTo>
                    <a:pt x="618" y="726"/>
                  </a:lnTo>
                  <a:lnTo>
                    <a:pt x="624" y="720"/>
                  </a:lnTo>
                  <a:lnTo>
                    <a:pt x="624" y="690"/>
                  </a:lnTo>
                  <a:lnTo>
                    <a:pt x="618" y="684"/>
                  </a:lnTo>
                  <a:lnTo>
                    <a:pt x="606" y="678"/>
                  </a:lnTo>
                  <a:lnTo>
                    <a:pt x="588" y="660"/>
                  </a:lnTo>
                  <a:lnTo>
                    <a:pt x="588" y="630"/>
                  </a:lnTo>
                  <a:lnTo>
                    <a:pt x="594" y="636"/>
                  </a:lnTo>
                  <a:lnTo>
                    <a:pt x="594" y="642"/>
                  </a:lnTo>
                  <a:lnTo>
                    <a:pt x="636" y="642"/>
                  </a:lnTo>
                  <a:lnTo>
                    <a:pt x="642" y="648"/>
                  </a:lnTo>
                  <a:lnTo>
                    <a:pt x="642" y="666"/>
                  </a:lnTo>
                  <a:lnTo>
                    <a:pt x="654" y="666"/>
                  </a:lnTo>
                  <a:lnTo>
                    <a:pt x="666" y="660"/>
                  </a:lnTo>
                  <a:lnTo>
                    <a:pt x="678" y="666"/>
                  </a:lnTo>
                  <a:lnTo>
                    <a:pt x="684" y="660"/>
                  </a:lnTo>
                  <a:lnTo>
                    <a:pt x="696" y="660"/>
                  </a:lnTo>
                  <a:lnTo>
                    <a:pt x="702" y="666"/>
                  </a:lnTo>
                  <a:lnTo>
                    <a:pt x="708" y="678"/>
                  </a:lnTo>
                  <a:lnTo>
                    <a:pt x="720" y="690"/>
                  </a:lnTo>
                  <a:lnTo>
                    <a:pt x="732" y="696"/>
                  </a:lnTo>
                  <a:lnTo>
                    <a:pt x="738" y="690"/>
                  </a:lnTo>
                  <a:lnTo>
                    <a:pt x="738" y="672"/>
                  </a:lnTo>
                  <a:lnTo>
                    <a:pt x="744" y="660"/>
                  </a:lnTo>
                  <a:lnTo>
                    <a:pt x="744" y="648"/>
                  </a:lnTo>
                  <a:lnTo>
                    <a:pt x="750" y="642"/>
                  </a:lnTo>
                  <a:lnTo>
                    <a:pt x="768" y="642"/>
                  </a:lnTo>
                  <a:lnTo>
                    <a:pt x="774" y="648"/>
                  </a:lnTo>
                  <a:lnTo>
                    <a:pt x="792" y="648"/>
                  </a:lnTo>
                  <a:lnTo>
                    <a:pt x="804" y="642"/>
                  </a:lnTo>
                  <a:lnTo>
                    <a:pt x="828" y="618"/>
                  </a:lnTo>
                  <a:lnTo>
                    <a:pt x="840" y="612"/>
                  </a:lnTo>
                  <a:lnTo>
                    <a:pt x="864" y="612"/>
                  </a:lnTo>
                  <a:lnTo>
                    <a:pt x="864" y="600"/>
                  </a:lnTo>
                  <a:lnTo>
                    <a:pt x="876" y="600"/>
                  </a:lnTo>
                  <a:lnTo>
                    <a:pt x="882" y="594"/>
                  </a:lnTo>
                  <a:lnTo>
                    <a:pt x="882" y="558"/>
                  </a:lnTo>
                  <a:lnTo>
                    <a:pt x="846" y="522"/>
                  </a:lnTo>
                  <a:lnTo>
                    <a:pt x="840" y="510"/>
                  </a:lnTo>
                  <a:lnTo>
                    <a:pt x="834" y="504"/>
                  </a:lnTo>
                  <a:lnTo>
                    <a:pt x="834" y="492"/>
                  </a:lnTo>
                  <a:lnTo>
                    <a:pt x="846" y="486"/>
                  </a:lnTo>
                  <a:lnTo>
                    <a:pt x="852" y="486"/>
                  </a:lnTo>
                  <a:lnTo>
                    <a:pt x="864" y="480"/>
                  </a:lnTo>
                  <a:lnTo>
                    <a:pt x="864" y="462"/>
                  </a:lnTo>
                  <a:lnTo>
                    <a:pt x="846" y="444"/>
                  </a:lnTo>
                  <a:lnTo>
                    <a:pt x="846" y="438"/>
                  </a:lnTo>
                  <a:lnTo>
                    <a:pt x="876" y="438"/>
                  </a:lnTo>
                  <a:lnTo>
                    <a:pt x="888" y="432"/>
                  </a:lnTo>
                  <a:lnTo>
                    <a:pt x="900" y="432"/>
                  </a:lnTo>
                  <a:lnTo>
                    <a:pt x="912" y="426"/>
                  </a:lnTo>
                  <a:lnTo>
                    <a:pt x="918" y="420"/>
                  </a:lnTo>
                  <a:lnTo>
                    <a:pt x="918" y="402"/>
                  </a:lnTo>
                  <a:lnTo>
                    <a:pt x="894" y="402"/>
                  </a:lnTo>
                  <a:lnTo>
                    <a:pt x="894" y="360"/>
                  </a:lnTo>
                  <a:lnTo>
                    <a:pt x="906" y="348"/>
                  </a:lnTo>
                  <a:lnTo>
                    <a:pt x="918" y="348"/>
                  </a:lnTo>
                  <a:lnTo>
                    <a:pt x="924" y="342"/>
                  </a:lnTo>
                  <a:lnTo>
                    <a:pt x="930" y="342"/>
                  </a:lnTo>
                  <a:lnTo>
                    <a:pt x="936" y="336"/>
                  </a:lnTo>
                  <a:lnTo>
                    <a:pt x="954" y="300"/>
                  </a:lnTo>
                  <a:lnTo>
                    <a:pt x="948" y="294"/>
                  </a:lnTo>
                  <a:lnTo>
                    <a:pt x="942" y="282"/>
                  </a:lnTo>
                  <a:lnTo>
                    <a:pt x="936" y="276"/>
                  </a:lnTo>
                  <a:close/>
                </a:path>
              </a:pathLst>
            </a:custGeom>
            <a:solidFill>
              <a:srgbClr val="FFFF0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3" name="USA (Alaska)" descr="© INSCALE GmbH, 05.05.2010&#10;http://www.presentationload.com/">
              <a:extLst>
                <a:ext uri="{FF2B5EF4-FFF2-40B4-BE49-F238E27FC236}">
                  <a16:creationId xmlns:a16="http://schemas.microsoft.com/office/drawing/2014/main" id="{66D5D2F3-B27F-D4DD-8031-C3493397DAA6}"/>
                </a:ext>
              </a:extLst>
            </p:cNvPr>
            <p:cNvSpPr>
              <a:spLocks noEditPoints="1"/>
            </p:cNvSpPr>
            <p:nvPr/>
          </p:nvSpPr>
          <p:spPr bwMode="gray">
            <a:xfrm>
              <a:off x="399011" y="1107572"/>
              <a:ext cx="1165144" cy="504009"/>
            </a:xfrm>
            <a:custGeom>
              <a:avLst/>
              <a:gdLst>
                <a:gd name="T0" fmla="*/ 2147483647 w 3072"/>
                <a:gd name="T1" fmla="*/ 2147483647 h 1332"/>
                <a:gd name="T2" fmla="*/ 2147483647 w 3072"/>
                <a:gd name="T3" fmla="*/ 2147483647 h 1332"/>
                <a:gd name="T4" fmla="*/ 2147483647 w 3072"/>
                <a:gd name="T5" fmla="*/ 2147483647 h 1332"/>
                <a:gd name="T6" fmla="*/ 2147483647 w 3072"/>
                <a:gd name="T7" fmla="*/ 2147483647 h 1332"/>
                <a:gd name="T8" fmla="*/ 2147483647 w 3072"/>
                <a:gd name="T9" fmla="*/ 2147483647 h 1332"/>
                <a:gd name="T10" fmla="*/ 2147483647 w 3072"/>
                <a:gd name="T11" fmla="*/ 2147483647 h 1332"/>
                <a:gd name="T12" fmla="*/ 2147483647 w 3072"/>
                <a:gd name="T13" fmla="*/ 2147483647 h 1332"/>
                <a:gd name="T14" fmla="*/ 2147483647 w 3072"/>
                <a:gd name="T15" fmla="*/ 2147483647 h 1332"/>
                <a:gd name="T16" fmla="*/ 2147483647 w 3072"/>
                <a:gd name="T17" fmla="*/ 2147483647 h 1332"/>
                <a:gd name="T18" fmla="*/ 2147483647 w 3072"/>
                <a:gd name="T19" fmla="*/ 2147483647 h 1332"/>
                <a:gd name="T20" fmla="*/ 2147483647 w 3072"/>
                <a:gd name="T21" fmla="*/ 2147483647 h 1332"/>
                <a:gd name="T22" fmla="*/ 2147483647 w 3072"/>
                <a:gd name="T23" fmla="*/ 0 h 1332"/>
                <a:gd name="T24" fmla="*/ 2147483647 w 3072"/>
                <a:gd name="T25" fmla="*/ 2147483647 h 1332"/>
                <a:gd name="T26" fmla="*/ 2147483647 w 3072"/>
                <a:gd name="T27" fmla="*/ 2147483647 h 1332"/>
                <a:gd name="T28" fmla="*/ 2147483647 w 3072"/>
                <a:gd name="T29" fmla="*/ 2147483647 h 1332"/>
                <a:gd name="T30" fmla="*/ 2147483647 w 3072"/>
                <a:gd name="T31" fmla="*/ 2147483647 h 1332"/>
                <a:gd name="T32" fmla="*/ 2147483647 w 3072"/>
                <a:gd name="T33" fmla="*/ 2147483647 h 1332"/>
                <a:gd name="T34" fmla="*/ 2147483647 w 3072"/>
                <a:gd name="T35" fmla="*/ 2147483647 h 1332"/>
                <a:gd name="T36" fmla="*/ 2147483647 w 3072"/>
                <a:gd name="T37" fmla="*/ 2147483647 h 1332"/>
                <a:gd name="T38" fmla="*/ 2147483647 w 3072"/>
                <a:gd name="T39" fmla="*/ 2147483647 h 1332"/>
                <a:gd name="T40" fmla="*/ 2147483647 w 3072"/>
                <a:gd name="T41" fmla="*/ 2147483647 h 1332"/>
                <a:gd name="T42" fmla="*/ 2147483647 w 3072"/>
                <a:gd name="T43" fmla="*/ 2147483647 h 1332"/>
                <a:gd name="T44" fmla="*/ 2147483647 w 3072"/>
                <a:gd name="T45" fmla="*/ 2147483647 h 1332"/>
                <a:gd name="T46" fmla="*/ 2147483647 w 3072"/>
                <a:gd name="T47" fmla="*/ 2147483647 h 1332"/>
                <a:gd name="T48" fmla="*/ 2147483647 w 3072"/>
                <a:gd name="T49" fmla="*/ 2147483647 h 1332"/>
                <a:gd name="T50" fmla="*/ 2147483647 w 3072"/>
                <a:gd name="T51" fmla="*/ 2147483647 h 1332"/>
                <a:gd name="T52" fmla="*/ 2147483647 w 3072"/>
                <a:gd name="T53" fmla="*/ 2147483647 h 1332"/>
                <a:gd name="T54" fmla="*/ 2147483647 w 3072"/>
                <a:gd name="T55" fmla="*/ 2147483647 h 1332"/>
                <a:gd name="T56" fmla="*/ 2147483647 w 3072"/>
                <a:gd name="T57" fmla="*/ 2147483647 h 1332"/>
                <a:gd name="T58" fmla="*/ 2147483647 w 3072"/>
                <a:gd name="T59" fmla="*/ 2147483647 h 1332"/>
                <a:gd name="T60" fmla="*/ 2147483647 w 3072"/>
                <a:gd name="T61" fmla="*/ 2147483647 h 1332"/>
                <a:gd name="T62" fmla="*/ 2147483647 w 3072"/>
                <a:gd name="T63" fmla="*/ 2147483647 h 1332"/>
                <a:gd name="T64" fmla="*/ 2147483647 w 3072"/>
                <a:gd name="T65" fmla="*/ 2147483647 h 1332"/>
                <a:gd name="T66" fmla="*/ 2147483647 w 3072"/>
                <a:gd name="T67" fmla="*/ 2147483647 h 1332"/>
                <a:gd name="T68" fmla="*/ 2147483647 w 3072"/>
                <a:gd name="T69" fmla="*/ 2147483647 h 1332"/>
                <a:gd name="T70" fmla="*/ 2147483647 w 3072"/>
                <a:gd name="T71" fmla="*/ 2147483647 h 1332"/>
                <a:gd name="T72" fmla="*/ 2147483647 w 3072"/>
                <a:gd name="T73" fmla="*/ 2147483647 h 1332"/>
                <a:gd name="T74" fmla="*/ 2147483647 w 3072"/>
                <a:gd name="T75" fmla="*/ 2147483647 h 1332"/>
                <a:gd name="T76" fmla="*/ 2147483647 w 3072"/>
                <a:gd name="T77" fmla="*/ 2147483647 h 1332"/>
                <a:gd name="T78" fmla="*/ 2147483647 w 3072"/>
                <a:gd name="T79" fmla="*/ 2147483647 h 1332"/>
                <a:gd name="T80" fmla="*/ 2147483647 w 3072"/>
                <a:gd name="T81" fmla="*/ 2147483647 h 1332"/>
                <a:gd name="T82" fmla="*/ 2147483647 w 3072"/>
                <a:gd name="T83" fmla="*/ 2147483647 h 1332"/>
                <a:gd name="T84" fmla="*/ 2147483647 w 3072"/>
                <a:gd name="T85" fmla="*/ 2147483647 h 1332"/>
                <a:gd name="T86" fmla="*/ 2147483647 w 3072"/>
                <a:gd name="T87" fmla="*/ 2147483647 h 1332"/>
                <a:gd name="T88" fmla="*/ 2147483647 w 3072"/>
                <a:gd name="T89" fmla="*/ 2147483647 h 1332"/>
                <a:gd name="T90" fmla="*/ 2147483647 w 3072"/>
                <a:gd name="T91" fmla="*/ 2147483647 h 1332"/>
                <a:gd name="T92" fmla="*/ 2147483647 w 3072"/>
                <a:gd name="T93" fmla="*/ 2147483647 h 1332"/>
                <a:gd name="T94" fmla="*/ 2147483647 w 3072"/>
                <a:gd name="T95" fmla="*/ 2147483647 h 1332"/>
                <a:gd name="T96" fmla="*/ 2147483647 w 3072"/>
                <a:gd name="T97" fmla="*/ 2147483647 h 1332"/>
                <a:gd name="T98" fmla="*/ 2147483647 w 3072"/>
                <a:gd name="T99" fmla="*/ 2147483647 h 1332"/>
                <a:gd name="T100" fmla="*/ 2147483647 w 3072"/>
                <a:gd name="T101" fmla="*/ 2147483647 h 1332"/>
                <a:gd name="T102" fmla="*/ 2147483647 w 3072"/>
                <a:gd name="T103" fmla="*/ 2147483647 h 1332"/>
                <a:gd name="T104" fmla="*/ 2147483647 w 3072"/>
                <a:gd name="T105" fmla="*/ 2147483647 h 1332"/>
                <a:gd name="T106" fmla="*/ 2147483647 w 3072"/>
                <a:gd name="T107" fmla="*/ 2147483647 h 1332"/>
                <a:gd name="T108" fmla="*/ 2147483647 w 3072"/>
                <a:gd name="T109" fmla="*/ 2147483647 h 1332"/>
                <a:gd name="T110" fmla="*/ 2147483647 w 3072"/>
                <a:gd name="T111" fmla="*/ 2147483647 h 1332"/>
                <a:gd name="T112" fmla="*/ 2147483647 w 3072"/>
                <a:gd name="T113" fmla="*/ 2147483647 h 1332"/>
                <a:gd name="T114" fmla="*/ 2147483647 w 3072"/>
                <a:gd name="T115" fmla="*/ 2147483647 h 1332"/>
                <a:gd name="T116" fmla="*/ 2147483647 w 3072"/>
                <a:gd name="T117" fmla="*/ 2147483647 h 1332"/>
                <a:gd name="T118" fmla="*/ 2147483647 w 3072"/>
                <a:gd name="T119" fmla="*/ 2147483647 h 1332"/>
                <a:gd name="T120" fmla="*/ 2147483647 w 3072"/>
                <a:gd name="T121" fmla="*/ 2147483647 h 133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072"/>
                <a:gd name="T184" fmla="*/ 0 h 1332"/>
                <a:gd name="T185" fmla="*/ 3072 w 3072"/>
                <a:gd name="T186" fmla="*/ 1332 h 133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072" h="1332">
                  <a:moveTo>
                    <a:pt x="2454" y="930"/>
                  </a:moveTo>
                  <a:lnTo>
                    <a:pt x="2418" y="966"/>
                  </a:lnTo>
                  <a:lnTo>
                    <a:pt x="2400" y="1002"/>
                  </a:lnTo>
                  <a:lnTo>
                    <a:pt x="2412" y="1002"/>
                  </a:lnTo>
                  <a:lnTo>
                    <a:pt x="2448" y="984"/>
                  </a:lnTo>
                  <a:lnTo>
                    <a:pt x="2460" y="972"/>
                  </a:lnTo>
                  <a:lnTo>
                    <a:pt x="2460" y="954"/>
                  </a:lnTo>
                  <a:lnTo>
                    <a:pt x="2472" y="942"/>
                  </a:lnTo>
                  <a:lnTo>
                    <a:pt x="2460" y="930"/>
                  </a:lnTo>
                  <a:lnTo>
                    <a:pt x="2454" y="930"/>
                  </a:lnTo>
                  <a:close/>
                  <a:moveTo>
                    <a:pt x="2400" y="930"/>
                  </a:moveTo>
                  <a:lnTo>
                    <a:pt x="2388" y="930"/>
                  </a:lnTo>
                  <a:lnTo>
                    <a:pt x="2376" y="936"/>
                  </a:lnTo>
                  <a:lnTo>
                    <a:pt x="2364" y="948"/>
                  </a:lnTo>
                  <a:lnTo>
                    <a:pt x="2364" y="954"/>
                  </a:lnTo>
                  <a:lnTo>
                    <a:pt x="2370" y="966"/>
                  </a:lnTo>
                  <a:lnTo>
                    <a:pt x="2376" y="972"/>
                  </a:lnTo>
                  <a:lnTo>
                    <a:pt x="2406" y="972"/>
                  </a:lnTo>
                  <a:lnTo>
                    <a:pt x="2412" y="960"/>
                  </a:lnTo>
                  <a:lnTo>
                    <a:pt x="2418" y="954"/>
                  </a:lnTo>
                  <a:lnTo>
                    <a:pt x="2418" y="942"/>
                  </a:lnTo>
                  <a:lnTo>
                    <a:pt x="2406" y="936"/>
                  </a:lnTo>
                  <a:lnTo>
                    <a:pt x="2400" y="930"/>
                  </a:lnTo>
                  <a:close/>
                  <a:moveTo>
                    <a:pt x="2316" y="1188"/>
                  </a:moveTo>
                  <a:lnTo>
                    <a:pt x="2328" y="1188"/>
                  </a:lnTo>
                  <a:lnTo>
                    <a:pt x="2340" y="1152"/>
                  </a:lnTo>
                  <a:lnTo>
                    <a:pt x="2322" y="1158"/>
                  </a:lnTo>
                  <a:lnTo>
                    <a:pt x="2316" y="1188"/>
                  </a:lnTo>
                  <a:close/>
                  <a:moveTo>
                    <a:pt x="2388" y="1074"/>
                  </a:moveTo>
                  <a:lnTo>
                    <a:pt x="2370" y="1086"/>
                  </a:lnTo>
                  <a:lnTo>
                    <a:pt x="2382" y="1098"/>
                  </a:lnTo>
                  <a:lnTo>
                    <a:pt x="2388" y="1098"/>
                  </a:lnTo>
                  <a:lnTo>
                    <a:pt x="2382" y="1104"/>
                  </a:lnTo>
                  <a:lnTo>
                    <a:pt x="2376" y="1104"/>
                  </a:lnTo>
                  <a:lnTo>
                    <a:pt x="2364" y="1116"/>
                  </a:lnTo>
                  <a:lnTo>
                    <a:pt x="2358" y="1116"/>
                  </a:lnTo>
                  <a:lnTo>
                    <a:pt x="2352" y="1122"/>
                  </a:lnTo>
                  <a:lnTo>
                    <a:pt x="2352" y="1152"/>
                  </a:lnTo>
                  <a:lnTo>
                    <a:pt x="2358" y="1164"/>
                  </a:lnTo>
                  <a:lnTo>
                    <a:pt x="2358" y="1188"/>
                  </a:lnTo>
                  <a:lnTo>
                    <a:pt x="2370" y="1182"/>
                  </a:lnTo>
                  <a:lnTo>
                    <a:pt x="2376" y="1170"/>
                  </a:lnTo>
                  <a:lnTo>
                    <a:pt x="2388" y="1164"/>
                  </a:lnTo>
                  <a:lnTo>
                    <a:pt x="2394" y="1158"/>
                  </a:lnTo>
                  <a:lnTo>
                    <a:pt x="2394" y="1146"/>
                  </a:lnTo>
                  <a:lnTo>
                    <a:pt x="2382" y="1134"/>
                  </a:lnTo>
                  <a:lnTo>
                    <a:pt x="2394" y="1134"/>
                  </a:lnTo>
                  <a:lnTo>
                    <a:pt x="2412" y="1116"/>
                  </a:lnTo>
                  <a:lnTo>
                    <a:pt x="2412" y="1098"/>
                  </a:lnTo>
                  <a:lnTo>
                    <a:pt x="2388" y="1074"/>
                  </a:lnTo>
                  <a:close/>
                  <a:moveTo>
                    <a:pt x="2562" y="1080"/>
                  </a:moveTo>
                  <a:lnTo>
                    <a:pt x="2550" y="1080"/>
                  </a:lnTo>
                  <a:lnTo>
                    <a:pt x="2550" y="1074"/>
                  </a:lnTo>
                  <a:lnTo>
                    <a:pt x="2544" y="1068"/>
                  </a:lnTo>
                  <a:lnTo>
                    <a:pt x="2538" y="1068"/>
                  </a:lnTo>
                  <a:lnTo>
                    <a:pt x="2532" y="1062"/>
                  </a:lnTo>
                  <a:lnTo>
                    <a:pt x="2520" y="1056"/>
                  </a:lnTo>
                  <a:lnTo>
                    <a:pt x="2514" y="1050"/>
                  </a:lnTo>
                  <a:lnTo>
                    <a:pt x="2514" y="1044"/>
                  </a:lnTo>
                  <a:lnTo>
                    <a:pt x="2520" y="1032"/>
                  </a:lnTo>
                  <a:lnTo>
                    <a:pt x="2520" y="1020"/>
                  </a:lnTo>
                  <a:lnTo>
                    <a:pt x="2526" y="1008"/>
                  </a:lnTo>
                  <a:lnTo>
                    <a:pt x="2532" y="1002"/>
                  </a:lnTo>
                  <a:lnTo>
                    <a:pt x="2532" y="960"/>
                  </a:lnTo>
                  <a:lnTo>
                    <a:pt x="2550" y="924"/>
                  </a:lnTo>
                  <a:lnTo>
                    <a:pt x="2550" y="906"/>
                  </a:lnTo>
                  <a:lnTo>
                    <a:pt x="2544" y="894"/>
                  </a:lnTo>
                  <a:lnTo>
                    <a:pt x="2526" y="876"/>
                  </a:lnTo>
                  <a:lnTo>
                    <a:pt x="2538" y="864"/>
                  </a:lnTo>
                  <a:lnTo>
                    <a:pt x="2538" y="834"/>
                  </a:lnTo>
                  <a:lnTo>
                    <a:pt x="2544" y="828"/>
                  </a:lnTo>
                  <a:lnTo>
                    <a:pt x="2550" y="828"/>
                  </a:lnTo>
                  <a:lnTo>
                    <a:pt x="2556" y="822"/>
                  </a:lnTo>
                  <a:lnTo>
                    <a:pt x="2550" y="816"/>
                  </a:lnTo>
                  <a:lnTo>
                    <a:pt x="2532" y="810"/>
                  </a:lnTo>
                  <a:lnTo>
                    <a:pt x="2520" y="810"/>
                  </a:lnTo>
                  <a:lnTo>
                    <a:pt x="2502" y="816"/>
                  </a:lnTo>
                  <a:lnTo>
                    <a:pt x="2490" y="816"/>
                  </a:lnTo>
                  <a:lnTo>
                    <a:pt x="2484" y="822"/>
                  </a:lnTo>
                  <a:lnTo>
                    <a:pt x="2478" y="822"/>
                  </a:lnTo>
                  <a:lnTo>
                    <a:pt x="2478" y="834"/>
                  </a:lnTo>
                  <a:lnTo>
                    <a:pt x="2460" y="834"/>
                  </a:lnTo>
                  <a:lnTo>
                    <a:pt x="2454" y="840"/>
                  </a:lnTo>
                  <a:lnTo>
                    <a:pt x="2442" y="846"/>
                  </a:lnTo>
                  <a:lnTo>
                    <a:pt x="2430" y="846"/>
                  </a:lnTo>
                  <a:lnTo>
                    <a:pt x="2418" y="852"/>
                  </a:lnTo>
                  <a:lnTo>
                    <a:pt x="2406" y="852"/>
                  </a:lnTo>
                  <a:lnTo>
                    <a:pt x="2400" y="858"/>
                  </a:lnTo>
                  <a:lnTo>
                    <a:pt x="2394" y="858"/>
                  </a:lnTo>
                  <a:lnTo>
                    <a:pt x="2388" y="864"/>
                  </a:lnTo>
                  <a:lnTo>
                    <a:pt x="2376" y="870"/>
                  </a:lnTo>
                  <a:lnTo>
                    <a:pt x="2370" y="876"/>
                  </a:lnTo>
                  <a:lnTo>
                    <a:pt x="2364" y="876"/>
                  </a:lnTo>
                  <a:lnTo>
                    <a:pt x="2364" y="864"/>
                  </a:lnTo>
                  <a:lnTo>
                    <a:pt x="2382" y="846"/>
                  </a:lnTo>
                  <a:lnTo>
                    <a:pt x="2376" y="840"/>
                  </a:lnTo>
                  <a:lnTo>
                    <a:pt x="2364" y="834"/>
                  </a:lnTo>
                  <a:lnTo>
                    <a:pt x="2358" y="828"/>
                  </a:lnTo>
                  <a:lnTo>
                    <a:pt x="2358" y="810"/>
                  </a:lnTo>
                  <a:lnTo>
                    <a:pt x="2352" y="798"/>
                  </a:lnTo>
                  <a:lnTo>
                    <a:pt x="2352" y="792"/>
                  </a:lnTo>
                  <a:lnTo>
                    <a:pt x="2376" y="768"/>
                  </a:lnTo>
                  <a:lnTo>
                    <a:pt x="2340" y="768"/>
                  </a:lnTo>
                  <a:lnTo>
                    <a:pt x="2328" y="780"/>
                  </a:lnTo>
                  <a:lnTo>
                    <a:pt x="2274" y="780"/>
                  </a:lnTo>
                  <a:lnTo>
                    <a:pt x="2274" y="768"/>
                  </a:lnTo>
                  <a:lnTo>
                    <a:pt x="2280" y="756"/>
                  </a:lnTo>
                  <a:lnTo>
                    <a:pt x="2292" y="750"/>
                  </a:lnTo>
                  <a:lnTo>
                    <a:pt x="2298" y="744"/>
                  </a:lnTo>
                  <a:lnTo>
                    <a:pt x="3072" y="108"/>
                  </a:lnTo>
                  <a:lnTo>
                    <a:pt x="3054" y="108"/>
                  </a:lnTo>
                  <a:lnTo>
                    <a:pt x="3054" y="102"/>
                  </a:lnTo>
                  <a:lnTo>
                    <a:pt x="3048" y="90"/>
                  </a:lnTo>
                  <a:lnTo>
                    <a:pt x="3036" y="84"/>
                  </a:lnTo>
                  <a:lnTo>
                    <a:pt x="3030" y="78"/>
                  </a:lnTo>
                  <a:lnTo>
                    <a:pt x="3012" y="78"/>
                  </a:lnTo>
                  <a:lnTo>
                    <a:pt x="2988" y="84"/>
                  </a:lnTo>
                  <a:lnTo>
                    <a:pt x="2964" y="84"/>
                  </a:lnTo>
                  <a:lnTo>
                    <a:pt x="2928" y="96"/>
                  </a:lnTo>
                  <a:lnTo>
                    <a:pt x="2916" y="96"/>
                  </a:lnTo>
                  <a:lnTo>
                    <a:pt x="2892" y="84"/>
                  </a:lnTo>
                  <a:lnTo>
                    <a:pt x="2886" y="78"/>
                  </a:lnTo>
                  <a:lnTo>
                    <a:pt x="2874" y="72"/>
                  </a:lnTo>
                  <a:lnTo>
                    <a:pt x="2784" y="72"/>
                  </a:lnTo>
                  <a:lnTo>
                    <a:pt x="2772" y="66"/>
                  </a:lnTo>
                  <a:lnTo>
                    <a:pt x="2766" y="60"/>
                  </a:lnTo>
                  <a:lnTo>
                    <a:pt x="2748" y="60"/>
                  </a:lnTo>
                  <a:lnTo>
                    <a:pt x="2736" y="54"/>
                  </a:lnTo>
                  <a:lnTo>
                    <a:pt x="2598" y="54"/>
                  </a:lnTo>
                  <a:lnTo>
                    <a:pt x="2598" y="42"/>
                  </a:lnTo>
                  <a:lnTo>
                    <a:pt x="2604" y="36"/>
                  </a:lnTo>
                  <a:lnTo>
                    <a:pt x="2592" y="36"/>
                  </a:lnTo>
                  <a:lnTo>
                    <a:pt x="2574" y="30"/>
                  </a:lnTo>
                  <a:lnTo>
                    <a:pt x="2562" y="30"/>
                  </a:lnTo>
                  <a:lnTo>
                    <a:pt x="2550" y="24"/>
                  </a:lnTo>
                  <a:lnTo>
                    <a:pt x="2532" y="24"/>
                  </a:lnTo>
                  <a:lnTo>
                    <a:pt x="2520" y="30"/>
                  </a:lnTo>
                  <a:lnTo>
                    <a:pt x="2496" y="30"/>
                  </a:lnTo>
                  <a:lnTo>
                    <a:pt x="2490" y="36"/>
                  </a:lnTo>
                  <a:lnTo>
                    <a:pt x="2484" y="36"/>
                  </a:lnTo>
                  <a:lnTo>
                    <a:pt x="2514" y="0"/>
                  </a:lnTo>
                  <a:lnTo>
                    <a:pt x="2430" y="36"/>
                  </a:lnTo>
                  <a:lnTo>
                    <a:pt x="2460" y="0"/>
                  </a:lnTo>
                  <a:lnTo>
                    <a:pt x="2430" y="0"/>
                  </a:lnTo>
                  <a:lnTo>
                    <a:pt x="2418" y="6"/>
                  </a:lnTo>
                  <a:lnTo>
                    <a:pt x="2412" y="12"/>
                  </a:lnTo>
                  <a:lnTo>
                    <a:pt x="2358" y="30"/>
                  </a:lnTo>
                  <a:lnTo>
                    <a:pt x="2232" y="30"/>
                  </a:lnTo>
                  <a:lnTo>
                    <a:pt x="2214" y="36"/>
                  </a:lnTo>
                  <a:lnTo>
                    <a:pt x="2208" y="42"/>
                  </a:lnTo>
                  <a:lnTo>
                    <a:pt x="2184" y="54"/>
                  </a:lnTo>
                  <a:lnTo>
                    <a:pt x="2172" y="54"/>
                  </a:lnTo>
                  <a:lnTo>
                    <a:pt x="2166" y="60"/>
                  </a:lnTo>
                  <a:lnTo>
                    <a:pt x="2046" y="60"/>
                  </a:lnTo>
                  <a:lnTo>
                    <a:pt x="2004" y="72"/>
                  </a:lnTo>
                  <a:lnTo>
                    <a:pt x="1956" y="102"/>
                  </a:lnTo>
                  <a:lnTo>
                    <a:pt x="1902" y="132"/>
                  </a:lnTo>
                  <a:lnTo>
                    <a:pt x="1854" y="144"/>
                  </a:lnTo>
                  <a:lnTo>
                    <a:pt x="1758" y="156"/>
                  </a:lnTo>
                  <a:lnTo>
                    <a:pt x="1722" y="162"/>
                  </a:lnTo>
                  <a:lnTo>
                    <a:pt x="1704" y="162"/>
                  </a:lnTo>
                  <a:lnTo>
                    <a:pt x="1698" y="168"/>
                  </a:lnTo>
                  <a:lnTo>
                    <a:pt x="1644" y="186"/>
                  </a:lnTo>
                  <a:lnTo>
                    <a:pt x="1632" y="192"/>
                  </a:lnTo>
                  <a:lnTo>
                    <a:pt x="1620" y="192"/>
                  </a:lnTo>
                  <a:lnTo>
                    <a:pt x="1620" y="198"/>
                  </a:lnTo>
                  <a:lnTo>
                    <a:pt x="1626" y="204"/>
                  </a:lnTo>
                  <a:lnTo>
                    <a:pt x="1638" y="210"/>
                  </a:lnTo>
                  <a:lnTo>
                    <a:pt x="1650" y="222"/>
                  </a:lnTo>
                  <a:lnTo>
                    <a:pt x="1656" y="222"/>
                  </a:lnTo>
                  <a:lnTo>
                    <a:pt x="1662" y="234"/>
                  </a:lnTo>
                  <a:lnTo>
                    <a:pt x="1662" y="240"/>
                  </a:lnTo>
                  <a:lnTo>
                    <a:pt x="1668" y="252"/>
                  </a:lnTo>
                  <a:lnTo>
                    <a:pt x="1668" y="264"/>
                  </a:lnTo>
                  <a:lnTo>
                    <a:pt x="1662" y="264"/>
                  </a:lnTo>
                  <a:lnTo>
                    <a:pt x="1650" y="270"/>
                  </a:lnTo>
                  <a:lnTo>
                    <a:pt x="1644" y="282"/>
                  </a:lnTo>
                  <a:lnTo>
                    <a:pt x="1734" y="282"/>
                  </a:lnTo>
                  <a:lnTo>
                    <a:pt x="1704" y="318"/>
                  </a:lnTo>
                  <a:lnTo>
                    <a:pt x="1770" y="318"/>
                  </a:lnTo>
                  <a:lnTo>
                    <a:pt x="1764" y="336"/>
                  </a:lnTo>
                  <a:lnTo>
                    <a:pt x="1710" y="336"/>
                  </a:lnTo>
                  <a:lnTo>
                    <a:pt x="1698" y="348"/>
                  </a:lnTo>
                  <a:lnTo>
                    <a:pt x="1632" y="348"/>
                  </a:lnTo>
                  <a:lnTo>
                    <a:pt x="1614" y="354"/>
                  </a:lnTo>
                  <a:lnTo>
                    <a:pt x="1560" y="354"/>
                  </a:lnTo>
                  <a:lnTo>
                    <a:pt x="1554" y="348"/>
                  </a:lnTo>
                  <a:lnTo>
                    <a:pt x="1548" y="348"/>
                  </a:lnTo>
                  <a:lnTo>
                    <a:pt x="1554" y="342"/>
                  </a:lnTo>
                  <a:lnTo>
                    <a:pt x="1560" y="342"/>
                  </a:lnTo>
                  <a:lnTo>
                    <a:pt x="1572" y="330"/>
                  </a:lnTo>
                  <a:lnTo>
                    <a:pt x="1566" y="324"/>
                  </a:lnTo>
                  <a:lnTo>
                    <a:pt x="1458" y="324"/>
                  </a:lnTo>
                  <a:lnTo>
                    <a:pt x="1452" y="330"/>
                  </a:lnTo>
                  <a:lnTo>
                    <a:pt x="1452" y="348"/>
                  </a:lnTo>
                  <a:lnTo>
                    <a:pt x="1434" y="348"/>
                  </a:lnTo>
                  <a:lnTo>
                    <a:pt x="1422" y="354"/>
                  </a:lnTo>
                  <a:lnTo>
                    <a:pt x="1404" y="354"/>
                  </a:lnTo>
                  <a:lnTo>
                    <a:pt x="1386" y="360"/>
                  </a:lnTo>
                  <a:lnTo>
                    <a:pt x="1338" y="360"/>
                  </a:lnTo>
                  <a:lnTo>
                    <a:pt x="1308" y="366"/>
                  </a:lnTo>
                  <a:lnTo>
                    <a:pt x="1254" y="384"/>
                  </a:lnTo>
                  <a:lnTo>
                    <a:pt x="1254" y="390"/>
                  </a:lnTo>
                  <a:lnTo>
                    <a:pt x="1272" y="396"/>
                  </a:lnTo>
                  <a:lnTo>
                    <a:pt x="1284" y="402"/>
                  </a:lnTo>
                  <a:lnTo>
                    <a:pt x="1314" y="402"/>
                  </a:lnTo>
                  <a:lnTo>
                    <a:pt x="1272" y="420"/>
                  </a:lnTo>
                  <a:lnTo>
                    <a:pt x="1260" y="462"/>
                  </a:lnTo>
                  <a:lnTo>
                    <a:pt x="1272" y="462"/>
                  </a:lnTo>
                  <a:lnTo>
                    <a:pt x="1290" y="468"/>
                  </a:lnTo>
                  <a:lnTo>
                    <a:pt x="1338" y="468"/>
                  </a:lnTo>
                  <a:lnTo>
                    <a:pt x="1350" y="462"/>
                  </a:lnTo>
                  <a:lnTo>
                    <a:pt x="1362" y="462"/>
                  </a:lnTo>
                  <a:lnTo>
                    <a:pt x="1410" y="474"/>
                  </a:lnTo>
                  <a:lnTo>
                    <a:pt x="1422" y="456"/>
                  </a:lnTo>
                  <a:lnTo>
                    <a:pt x="1434" y="474"/>
                  </a:lnTo>
                  <a:lnTo>
                    <a:pt x="1446" y="468"/>
                  </a:lnTo>
                  <a:lnTo>
                    <a:pt x="1452" y="462"/>
                  </a:lnTo>
                  <a:lnTo>
                    <a:pt x="1476" y="450"/>
                  </a:lnTo>
                  <a:lnTo>
                    <a:pt x="1482" y="444"/>
                  </a:lnTo>
                  <a:lnTo>
                    <a:pt x="1494" y="444"/>
                  </a:lnTo>
                  <a:lnTo>
                    <a:pt x="1506" y="450"/>
                  </a:lnTo>
                  <a:lnTo>
                    <a:pt x="1524" y="450"/>
                  </a:lnTo>
                  <a:lnTo>
                    <a:pt x="1536" y="444"/>
                  </a:lnTo>
                  <a:lnTo>
                    <a:pt x="1542" y="438"/>
                  </a:lnTo>
                  <a:lnTo>
                    <a:pt x="1554" y="432"/>
                  </a:lnTo>
                  <a:lnTo>
                    <a:pt x="1560" y="432"/>
                  </a:lnTo>
                  <a:lnTo>
                    <a:pt x="1566" y="426"/>
                  </a:lnTo>
                  <a:lnTo>
                    <a:pt x="1566" y="450"/>
                  </a:lnTo>
                  <a:lnTo>
                    <a:pt x="1560" y="462"/>
                  </a:lnTo>
                  <a:lnTo>
                    <a:pt x="1554" y="468"/>
                  </a:lnTo>
                  <a:lnTo>
                    <a:pt x="1500" y="468"/>
                  </a:lnTo>
                  <a:lnTo>
                    <a:pt x="1506" y="498"/>
                  </a:lnTo>
                  <a:lnTo>
                    <a:pt x="1494" y="504"/>
                  </a:lnTo>
                  <a:lnTo>
                    <a:pt x="1488" y="516"/>
                  </a:lnTo>
                  <a:lnTo>
                    <a:pt x="1476" y="522"/>
                  </a:lnTo>
                  <a:lnTo>
                    <a:pt x="1464" y="534"/>
                  </a:lnTo>
                  <a:lnTo>
                    <a:pt x="1446" y="540"/>
                  </a:lnTo>
                  <a:lnTo>
                    <a:pt x="1380" y="540"/>
                  </a:lnTo>
                  <a:lnTo>
                    <a:pt x="1362" y="522"/>
                  </a:lnTo>
                  <a:lnTo>
                    <a:pt x="1344" y="534"/>
                  </a:lnTo>
                  <a:lnTo>
                    <a:pt x="1344" y="546"/>
                  </a:lnTo>
                  <a:lnTo>
                    <a:pt x="1338" y="546"/>
                  </a:lnTo>
                  <a:lnTo>
                    <a:pt x="1332" y="552"/>
                  </a:lnTo>
                  <a:lnTo>
                    <a:pt x="1320" y="558"/>
                  </a:lnTo>
                  <a:lnTo>
                    <a:pt x="1302" y="564"/>
                  </a:lnTo>
                  <a:lnTo>
                    <a:pt x="1290" y="570"/>
                  </a:lnTo>
                  <a:lnTo>
                    <a:pt x="1266" y="570"/>
                  </a:lnTo>
                  <a:lnTo>
                    <a:pt x="1242" y="558"/>
                  </a:lnTo>
                  <a:lnTo>
                    <a:pt x="1236" y="558"/>
                  </a:lnTo>
                  <a:lnTo>
                    <a:pt x="1140" y="606"/>
                  </a:lnTo>
                  <a:lnTo>
                    <a:pt x="1122" y="624"/>
                  </a:lnTo>
                  <a:lnTo>
                    <a:pt x="1116" y="606"/>
                  </a:lnTo>
                  <a:lnTo>
                    <a:pt x="1080" y="624"/>
                  </a:lnTo>
                  <a:lnTo>
                    <a:pt x="1068" y="624"/>
                  </a:lnTo>
                  <a:lnTo>
                    <a:pt x="1044" y="636"/>
                  </a:lnTo>
                  <a:lnTo>
                    <a:pt x="1020" y="660"/>
                  </a:lnTo>
                  <a:lnTo>
                    <a:pt x="990" y="648"/>
                  </a:lnTo>
                  <a:lnTo>
                    <a:pt x="990" y="672"/>
                  </a:lnTo>
                  <a:lnTo>
                    <a:pt x="984" y="666"/>
                  </a:lnTo>
                  <a:lnTo>
                    <a:pt x="972" y="666"/>
                  </a:lnTo>
                  <a:lnTo>
                    <a:pt x="966" y="672"/>
                  </a:lnTo>
                  <a:lnTo>
                    <a:pt x="966" y="690"/>
                  </a:lnTo>
                  <a:lnTo>
                    <a:pt x="954" y="708"/>
                  </a:lnTo>
                  <a:lnTo>
                    <a:pt x="1014" y="684"/>
                  </a:lnTo>
                  <a:lnTo>
                    <a:pt x="990" y="702"/>
                  </a:lnTo>
                  <a:lnTo>
                    <a:pt x="990" y="714"/>
                  </a:lnTo>
                  <a:lnTo>
                    <a:pt x="972" y="726"/>
                  </a:lnTo>
                  <a:lnTo>
                    <a:pt x="1026" y="726"/>
                  </a:lnTo>
                  <a:lnTo>
                    <a:pt x="1032" y="732"/>
                  </a:lnTo>
                  <a:lnTo>
                    <a:pt x="1032" y="738"/>
                  </a:lnTo>
                  <a:lnTo>
                    <a:pt x="1020" y="744"/>
                  </a:lnTo>
                  <a:lnTo>
                    <a:pt x="984" y="744"/>
                  </a:lnTo>
                  <a:lnTo>
                    <a:pt x="960" y="750"/>
                  </a:lnTo>
                  <a:lnTo>
                    <a:pt x="972" y="738"/>
                  </a:lnTo>
                  <a:lnTo>
                    <a:pt x="960" y="732"/>
                  </a:lnTo>
                  <a:lnTo>
                    <a:pt x="954" y="732"/>
                  </a:lnTo>
                  <a:lnTo>
                    <a:pt x="948" y="738"/>
                  </a:lnTo>
                  <a:lnTo>
                    <a:pt x="936" y="744"/>
                  </a:lnTo>
                  <a:lnTo>
                    <a:pt x="930" y="750"/>
                  </a:lnTo>
                  <a:lnTo>
                    <a:pt x="924" y="750"/>
                  </a:lnTo>
                  <a:lnTo>
                    <a:pt x="918" y="756"/>
                  </a:lnTo>
                  <a:lnTo>
                    <a:pt x="924" y="756"/>
                  </a:lnTo>
                  <a:lnTo>
                    <a:pt x="930" y="762"/>
                  </a:lnTo>
                  <a:lnTo>
                    <a:pt x="930" y="768"/>
                  </a:lnTo>
                  <a:lnTo>
                    <a:pt x="924" y="774"/>
                  </a:lnTo>
                  <a:lnTo>
                    <a:pt x="924" y="780"/>
                  </a:lnTo>
                  <a:lnTo>
                    <a:pt x="918" y="792"/>
                  </a:lnTo>
                  <a:lnTo>
                    <a:pt x="918" y="804"/>
                  </a:lnTo>
                  <a:lnTo>
                    <a:pt x="990" y="804"/>
                  </a:lnTo>
                  <a:lnTo>
                    <a:pt x="1038" y="774"/>
                  </a:lnTo>
                  <a:lnTo>
                    <a:pt x="1104" y="750"/>
                  </a:lnTo>
                  <a:lnTo>
                    <a:pt x="1098" y="750"/>
                  </a:lnTo>
                  <a:lnTo>
                    <a:pt x="1092" y="756"/>
                  </a:lnTo>
                  <a:lnTo>
                    <a:pt x="1080" y="762"/>
                  </a:lnTo>
                  <a:lnTo>
                    <a:pt x="1062" y="768"/>
                  </a:lnTo>
                  <a:lnTo>
                    <a:pt x="1050" y="780"/>
                  </a:lnTo>
                  <a:lnTo>
                    <a:pt x="1038" y="786"/>
                  </a:lnTo>
                  <a:lnTo>
                    <a:pt x="1026" y="798"/>
                  </a:lnTo>
                  <a:lnTo>
                    <a:pt x="1026" y="816"/>
                  </a:lnTo>
                  <a:lnTo>
                    <a:pt x="1020" y="828"/>
                  </a:lnTo>
                  <a:lnTo>
                    <a:pt x="990" y="828"/>
                  </a:lnTo>
                  <a:lnTo>
                    <a:pt x="978" y="834"/>
                  </a:lnTo>
                  <a:lnTo>
                    <a:pt x="972" y="852"/>
                  </a:lnTo>
                  <a:lnTo>
                    <a:pt x="966" y="864"/>
                  </a:lnTo>
                  <a:lnTo>
                    <a:pt x="954" y="870"/>
                  </a:lnTo>
                  <a:lnTo>
                    <a:pt x="942" y="882"/>
                  </a:lnTo>
                  <a:lnTo>
                    <a:pt x="930" y="888"/>
                  </a:lnTo>
                  <a:lnTo>
                    <a:pt x="924" y="894"/>
                  </a:lnTo>
                  <a:lnTo>
                    <a:pt x="978" y="888"/>
                  </a:lnTo>
                  <a:lnTo>
                    <a:pt x="972" y="906"/>
                  </a:lnTo>
                  <a:lnTo>
                    <a:pt x="978" y="894"/>
                  </a:lnTo>
                  <a:lnTo>
                    <a:pt x="990" y="888"/>
                  </a:lnTo>
                  <a:lnTo>
                    <a:pt x="1002" y="876"/>
                  </a:lnTo>
                  <a:lnTo>
                    <a:pt x="1026" y="864"/>
                  </a:lnTo>
                  <a:lnTo>
                    <a:pt x="1038" y="864"/>
                  </a:lnTo>
                  <a:lnTo>
                    <a:pt x="1050" y="870"/>
                  </a:lnTo>
                  <a:lnTo>
                    <a:pt x="1056" y="870"/>
                  </a:lnTo>
                  <a:lnTo>
                    <a:pt x="1056" y="876"/>
                  </a:lnTo>
                  <a:lnTo>
                    <a:pt x="1050" y="876"/>
                  </a:lnTo>
                  <a:lnTo>
                    <a:pt x="1074" y="870"/>
                  </a:lnTo>
                  <a:lnTo>
                    <a:pt x="1068" y="876"/>
                  </a:lnTo>
                  <a:lnTo>
                    <a:pt x="1068" y="906"/>
                  </a:lnTo>
                  <a:lnTo>
                    <a:pt x="1074" y="912"/>
                  </a:lnTo>
                  <a:lnTo>
                    <a:pt x="1092" y="912"/>
                  </a:lnTo>
                  <a:lnTo>
                    <a:pt x="1098" y="900"/>
                  </a:lnTo>
                  <a:lnTo>
                    <a:pt x="1110" y="894"/>
                  </a:lnTo>
                  <a:lnTo>
                    <a:pt x="1116" y="888"/>
                  </a:lnTo>
                  <a:lnTo>
                    <a:pt x="1122" y="876"/>
                  </a:lnTo>
                  <a:lnTo>
                    <a:pt x="1164" y="858"/>
                  </a:lnTo>
                  <a:lnTo>
                    <a:pt x="1176" y="870"/>
                  </a:lnTo>
                  <a:lnTo>
                    <a:pt x="1146" y="870"/>
                  </a:lnTo>
                  <a:lnTo>
                    <a:pt x="1140" y="876"/>
                  </a:lnTo>
                  <a:lnTo>
                    <a:pt x="1140" y="882"/>
                  </a:lnTo>
                  <a:lnTo>
                    <a:pt x="1134" y="888"/>
                  </a:lnTo>
                  <a:lnTo>
                    <a:pt x="1134" y="894"/>
                  </a:lnTo>
                  <a:lnTo>
                    <a:pt x="1152" y="894"/>
                  </a:lnTo>
                  <a:lnTo>
                    <a:pt x="1164" y="888"/>
                  </a:lnTo>
                  <a:lnTo>
                    <a:pt x="1182" y="888"/>
                  </a:lnTo>
                  <a:lnTo>
                    <a:pt x="1200" y="882"/>
                  </a:lnTo>
                  <a:lnTo>
                    <a:pt x="1218" y="882"/>
                  </a:lnTo>
                  <a:lnTo>
                    <a:pt x="1224" y="876"/>
                  </a:lnTo>
                  <a:lnTo>
                    <a:pt x="1230" y="876"/>
                  </a:lnTo>
                  <a:lnTo>
                    <a:pt x="1272" y="858"/>
                  </a:lnTo>
                  <a:lnTo>
                    <a:pt x="1224" y="882"/>
                  </a:lnTo>
                  <a:lnTo>
                    <a:pt x="1224" y="894"/>
                  </a:lnTo>
                  <a:lnTo>
                    <a:pt x="1212" y="894"/>
                  </a:lnTo>
                  <a:lnTo>
                    <a:pt x="1200" y="900"/>
                  </a:lnTo>
                  <a:lnTo>
                    <a:pt x="1188" y="900"/>
                  </a:lnTo>
                  <a:lnTo>
                    <a:pt x="1176" y="906"/>
                  </a:lnTo>
                  <a:lnTo>
                    <a:pt x="1170" y="912"/>
                  </a:lnTo>
                  <a:lnTo>
                    <a:pt x="1158" y="918"/>
                  </a:lnTo>
                  <a:lnTo>
                    <a:pt x="1152" y="930"/>
                  </a:lnTo>
                  <a:lnTo>
                    <a:pt x="1122" y="930"/>
                  </a:lnTo>
                  <a:lnTo>
                    <a:pt x="1086" y="960"/>
                  </a:lnTo>
                  <a:lnTo>
                    <a:pt x="1086" y="978"/>
                  </a:lnTo>
                  <a:lnTo>
                    <a:pt x="1038" y="978"/>
                  </a:lnTo>
                  <a:lnTo>
                    <a:pt x="1032" y="984"/>
                  </a:lnTo>
                  <a:lnTo>
                    <a:pt x="1020" y="984"/>
                  </a:lnTo>
                  <a:lnTo>
                    <a:pt x="1002" y="990"/>
                  </a:lnTo>
                  <a:lnTo>
                    <a:pt x="990" y="996"/>
                  </a:lnTo>
                  <a:lnTo>
                    <a:pt x="978" y="996"/>
                  </a:lnTo>
                  <a:lnTo>
                    <a:pt x="966" y="1008"/>
                  </a:lnTo>
                  <a:lnTo>
                    <a:pt x="966" y="1020"/>
                  </a:lnTo>
                  <a:lnTo>
                    <a:pt x="960" y="1026"/>
                  </a:lnTo>
                  <a:lnTo>
                    <a:pt x="960" y="1038"/>
                  </a:lnTo>
                  <a:lnTo>
                    <a:pt x="876" y="1038"/>
                  </a:lnTo>
                  <a:lnTo>
                    <a:pt x="858" y="1044"/>
                  </a:lnTo>
                  <a:lnTo>
                    <a:pt x="828" y="1062"/>
                  </a:lnTo>
                  <a:lnTo>
                    <a:pt x="804" y="1080"/>
                  </a:lnTo>
                  <a:lnTo>
                    <a:pt x="780" y="1092"/>
                  </a:lnTo>
                  <a:lnTo>
                    <a:pt x="774" y="1098"/>
                  </a:lnTo>
                  <a:lnTo>
                    <a:pt x="750" y="1104"/>
                  </a:lnTo>
                  <a:lnTo>
                    <a:pt x="738" y="1122"/>
                  </a:lnTo>
                  <a:lnTo>
                    <a:pt x="732" y="1104"/>
                  </a:lnTo>
                  <a:lnTo>
                    <a:pt x="672" y="1104"/>
                  </a:lnTo>
                  <a:lnTo>
                    <a:pt x="648" y="1116"/>
                  </a:lnTo>
                  <a:lnTo>
                    <a:pt x="630" y="1122"/>
                  </a:lnTo>
                  <a:lnTo>
                    <a:pt x="624" y="1128"/>
                  </a:lnTo>
                  <a:lnTo>
                    <a:pt x="606" y="1128"/>
                  </a:lnTo>
                  <a:lnTo>
                    <a:pt x="606" y="1140"/>
                  </a:lnTo>
                  <a:lnTo>
                    <a:pt x="576" y="1146"/>
                  </a:lnTo>
                  <a:lnTo>
                    <a:pt x="564" y="1152"/>
                  </a:lnTo>
                  <a:lnTo>
                    <a:pt x="540" y="1152"/>
                  </a:lnTo>
                  <a:lnTo>
                    <a:pt x="516" y="1170"/>
                  </a:lnTo>
                  <a:lnTo>
                    <a:pt x="522" y="1182"/>
                  </a:lnTo>
                  <a:lnTo>
                    <a:pt x="540" y="1164"/>
                  </a:lnTo>
                  <a:lnTo>
                    <a:pt x="558" y="1176"/>
                  </a:lnTo>
                  <a:lnTo>
                    <a:pt x="582" y="1158"/>
                  </a:lnTo>
                  <a:lnTo>
                    <a:pt x="582" y="1170"/>
                  </a:lnTo>
                  <a:lnTo>
                    <a:pt x="594" y="1170"/>
                  </a:lnTo>
                  <a:lnTo>
                    <a:pt x="606" y="1164"/>
                  </a:lnTo>
                  <a:lnTo>
                    <a:pt x="618" y="1164"/>
                  </a:lnTo>
                  <a:lnTo>
                    <a:pt x="642" y="1140"/>
                  </a:lnTo>
                  <a:lnTo>
                    <a:pt x="654" y="1134"/>
                  </a:lnTo>
                  <a:lnTo>
                    <a:pt x="666" y="1122"/>
                  </a:lnTo>
                  <a:lnTo>
                    <a:pt x="684" y="1122"/>
                  </a:lnTo>
                  <a:lnTo>
                    <a:pt x="684" y="1134"/>
                  </a:lnTo>
                  <a:lnTo>
                    <a:pt x="690" y="1140"/>
                  </a:lnTo>
                  <a:lnTo>
                    <a:pt x="708" y="1140"/>
                  </a:lnTo>
                  <a:lnTo>
                    <a:pt x="732" y="1128"/>
                  </a:lnTo>
                  <a:lnTo>
                    <a:pt x="744" y="1128"/>
                  </a:lnTo>
                  <a:lnTo>
                    <a:pt x="756" y="1122"/>
                  </a:lnTo>
                  <a:lnTo>
                    <a:pt x="762" y="1116"/>
                  </a:lnTo>
                  <a:lnTo>
                    <a:pt x="768" y="1116"/>
                  </a:lnTo>
                  <a:lnTo>
                    <a:pt x="804" y="1128"/>
                  </a:lnTo>
                  <a:lnTo>
                    <a:pt x="822" y="1110"/>
                  </a:lnTo>
                  <a:lnTo>
                    <a:pt x="834" y="1110"/>
                  </a:lnTo>
                  <a:lnTo>
                    <a:pt x="852" y="1104"/>
                  </a:lnTo>
                  <a:lnTo>
                    <a:pt x="870" y="1104"/>
                  </a:lnTo>
                  <a:lnTo>
                    <a:pt x="894" y="1092"/>
                  </a:lnTo>
                  <a:lnTo>
                    <a:pt x="918" y="1068"/>
                  </a:lnTo>
                  <a:lnTo>
                    <a:pt x="942" y="1056"/>
                  </a:lnTo>
                  <a:lnTo>
                    <a:pt x="972" y="1056"/>
                  </a:lnTo>
                  <a:lnTo>
                    <a:pt x="978" y="1044"/>
                  </a:lnTo>
                  <a:lnTo>
                    <a:pt x="1014" y="1044"/>
                  </a:lnTo>
                  <a:lnTo>
                    <a:pt x="1026" y="1038"/>
                  </a:lnTo>
                  <a:lnTo>
                    <a:pt x="1032" y="1038"/>
                  </a:lnTo>
                  <a:lnTo>
                    <a:pt x="1038" y="1032"/>
                  </a:lnTo>
                  <a:lnTo>
                    <a:pt x="1050" y="1032"/>
                  </a:lnTo>
                  <a:lnTo>
                    <a:pt x="1086" y="1020"/>
                  </a:lnTo>
                  <a:lnTo>
                    <a:pt x="1110" y="1008"/>
                  </a:lnTo>
                  <a:lnTo>
                    <a:pt x="1122" y="996"/>
                  </a:lnTo>
                  <a:lnTo>
                    <a:pt x="1134" y="990"/>
                  </a:lnTo>
                  <a:lnTo>
                    <a:pt x="1140" y="984"/>
                  </a:lnTo>
                  <a:lnTo>
                    <a:pt x="1206" y="972"/>
                  </a:lnTo>
                  <a:lnTo>
                    <a:pt x="1260" y="942"/>
                  </a:lnTo>
                  <a:lnTo>
                    <a:pt x="1296" y="942"/>
                  </a:lnTo>
                  <a:lnTo>
                    <a:pt x="1314" y="936"/>
                  </a:lnTo>
                  <a:lnTo>
                    <a:pt x="1326" y="936"/>
                  </a:lnTo>
                  <a:lnTo>
                    <a:pt x="1338" y="930"/>
                  </a:lnTo>
                  <a:lnTo>
                    <a:pt x="1368" y="900"/>
                  </a:lnTo>
                  <a:lnTo>
                    <a:pt x="1380" y="900"/>
                  </a:lnTo>
                  <a:lnTo>
                    <a:pt x="1404" y="888"/>
                  </a:lnTo>
                  <a:lnTo>
                    <a:pt x="1416" y="888"/>
                  </a:lnTo>
                  <a:lnTo>
                    <a:pt x="1428" y="882"/>
                  </a:lnTo>
                  <a:lnTo>
                    <a:pt x="1434" y="876"/>
                  </a:lnTo>
                  <a:lnTo>
                    <a:pt x="1434" y="864"/>
                  </a:lnTo>
                  <a:lnTo>
                    <a:pt x="1422" y="864"/>
                  </a:lnTo>
                  <a:lnTo>
                    <a:pt x="1428" y="858"/>
                  </a:lnTo>
                  <a:lnTo>
                    <a:pt x="1452" y="846"/>
                  </a:lnTo>
                  <a:lnTo>
                    <a:pt x="1458" y="840"/>
                  </a:lnTo>
                  <a:lnTo>
                    <a:pt x="1470" y="834"/>
                  </a:lnTo>
                  <a:lnTo>
                    <a:pt x="1476" y="828"/>
                  </a:lnTo>
                  <a:lnTo>
                    <a:pt x="1488" y="828"/>
                  </a:lnTo>
                  <a:lnTo>
                    <a:pt x="1500" y="822"/>
                  </a:lnTo>
                  <a:lnTo>
                    <a:pt x="1512" y="822"/>
                  </a:lnTo>
                  <a:lnTo>
                    <a:pt x="1518" y="816"/>
                  </a:lnTo>
                  <a:lnTo>
                    <a:pt x="1524" y="816"/>
                  </a:lnTo>
                  <a:lnTo>
                    <a:pt x="1596" y="786"/>
                  </a:lnTo>
                  <a:lnTo>
                    <a:pt x="1590" y="768"/>
                  </a:lnTo>
                  <a:lnTo>
                    <a:pt x="1602" y="768"/>
                  </a:lnTo>
                  <a:lnTo>
                    <a:pt x="1608" y="774"/>
                  </a:lnTo>
                  <a:lnTo>
                    <a:pt x="1626" y="774"/>
                  </a:lnTo>
                  <a:lnTo>
                    <a:pt x="1638" y="762"/>
                  </a:lnTo>
                  <a:lnTo>
                    <a:pt x="1650" y="762"/>
                  </a:lnTo>
                  <a:lnTo>
                    <a:pt x="1674" y="750"/>
                  </a:lnTo>
                  <a:lnTo>
                    <a:pt x="1680" y="744"/>
                  </a:lnTo>
                  <a:lnTo>
                    <a:pt x="1704" y="732"/>
                  </a:lnTo>
                  <a:lnTo>
                    <a:pt x="1740" y="720"/>
                  </a:lnTo>
                  <a:lnTo>
                    <a:pt x="1770" y="708"/>
                  </a:lnTo>
                  <a:lnTo>
                    <a:pt x="1794" y="702"/>
                  </a:lnTo>
                  <a:lnTo>
                    <a:pt x="1812" y="702"/>
                  </a:lnTo>
                  <a:lnTo>
                    <a:pt x="1818" y="708"/>
                  </a:lnTo>
                  <a:lnTo>
                    <a:pt x="1842" y="720"/>
                  </a:lnTo>
                  <a:lnTo>
                    <a:pt x="1848" y="726"/>
                  </a:lnTo>
                  <a:lnTo>
                    <a:pt x="1812" y="726"/>
                  </a:lnTo>
                  <a:lnTo>
                    <a:pt x="1794" y="714"/>
                  </a:lnTo>
                  <a:lnTo>
                    <a:pt x="1758" y="738"/>
                  </a:lnTo>
                  <a:lnTo>
                    <a:pt x="1728" y="738"/>
                  </a:lnTo>
                  <a:lnTo>
                    <a:pt x="1722" y="744"/>
                  </a:lnTo>
                  <a:lnTo>
                    <a:pt x="1710" y="750"/>
                  </a:lnTo>
                  <a:lnTo>
                    <a:pt x="1704" y="762"/>
                  </a:lnTo>
                  <a:lnTo>
                    <a:pt x="1692" y="768"/>
                  </a:lnTo>
                  <a:lnTo>
                    <a:pt x="1686" y="774"/>
                  </a:lnTo>
                  <a:lnTo>
                    <a:pt x="1680" y="774"/>
                  </a:lnTo>
                  <a:lnTo>
                    <a:pt x="1668" y="780"/>
                  </a:lnTo>
                  <a:lnTo>
                    <a:pt x="1656" y="780"/>
                  </a:lnTo>
                  <a:lnTo>
                    <a:pt x="1638" y="786"/>
                  </a:lnTo>
                  <a:lnTo>
                    <a:pt x="1614" y="798"/>
                  </a:lnTo>
                  <a:lnTo>
                    <a:pt x="1614" y="804"/>
                  </a:lnTo>
                  <a:lnTo>
                    <a:pt x="1620" y="810"/>
                  </a:lnTo>
                  <a:lnTo>
                    <a:pt x="1632" y="816"/>
                  </a:lnTo>
                  <a:lnTo>
                    <a:pt x="1650" y="816"/>
                  </a:lnTo>
                  <a:lnTo>
                    <a:pt x="1644" y="816"/>
                  </a:lnTo>
                  <a:lnTo>
                    <a:pt x="1638" y="822"/>
                  </a:lnTo>
                  <a:lnTo>
                    <a:pt x="1632" y="822"/>
                  </a:lnTo>
                  <a:lnTo>
                    <a:pt x="1620" y="828"/>
                  </a:lnTo>
                  <a:lnTo>
                    <a:pt x="1572" y="828"/>
                  </a:lnTo>
                  <a:lnTo>
                    <a:pt x="1566" y="834"/>
                  </a:lnTo>
                  <a:lnTo>
                    <a:pt x="1560" y="834"/>
                  </a:lnTo>
                  <a:lnTo>
                    <a:pt x="1560" y="846"/>
                  </a:lnTo>
                  <a:lnTo>
                    <a:pt x="1572" y="858"/>
                  </a:lnTo>
                  <a:lnTo>
                    <a:pt x="1584" y="858"/>
                  </a:lnTo>
                  <a:lnTo>
                    <a:pt x="1596" y="852"/>
                  </a:lnTo>
                  <a:lnTo>
                    <a:pt x="1638" y="834"/>
                  </a:lnTo>
                  <a:lnTo>
                    <a:pt x="1680" y="810"/>
                  </a:lnTo>
                  <a:lnTo>
                    <a:pt x="1722" y="798"/>
                  </a:lnTo>
                  <a:lnTo>
                    <a:pt x="1788" y="798"/>
                  </a:lnTo>
                  <a:lnTo>
                    <a:pt x="1818" y="792"/>
                  </a:lnTo>
                  <a:lnTo>
                    <a:pt x="1824" y="786"/>
                  </a:lnTo>
                  <a:lnTo>
                    <a:pt x="1848" y="774"/>
                  </a:lnTo>
                  <a:lnTo>
                    <a:pt x="1854" y="762"/>
                  </a:lnTo>
                  <a:lnTo>
                    <a:pt x="1866" y="756"/>
                  </a:lnTo>
                  <a:lnTo>
                    <a:pt x="1872" y="750"/>
                  </a:lnTo>
                  <a:lnTo>
                    <a:pt x="1866" y="738"/>
                  </a:lnTo>
                  <a:lnTo>
                    <a:pt x="1878" y="732"/>
                  </a:lnTo>
                  <a:lnTo>
                    <a:pt x="1908" y="720"/>
                  </a:lnTo>
                  <a:lnTo>
                    <a:pt x="1944" y="714"/>
                  </a:lnTo>
                  <a:lnTo>
                    <a:pt x="1962" y="708"/>
                  </a:lnTo>
                  <a:lnTo>
                    <a:pt x="1968" y="708"/>
                  </a:lnTo>
                  <a:lnTo>
                    <a:pt x="1980" y="720"/>
                  </a:lnTo>
                  <a:lnTo>
                    <a:pt x="1980" y="726"/>
                  </a:lnTo>
                  <a:lnTo>
                    <a:pt x="2046" y="702"/>
                  </a:lnTo>
                  <a:lnTo>
                    <a:pt x="2004" y="738"/>
                  </a:lnTo>
                  <a:lnTo>
                    <a:pt x="2022" y="744"/>
                  </a:lnTo>
                  <a:lnTo>
                    <a:pt x="2022" y="762"/>
                  </a:lnTo>
                  <a:lnTo>
                    <a:pt x="2028" y="762"/>
                  </a:lnTo>
                  <a:lnTo>
                    <a:pt x="2034" y="756"/>
                  </a:lnTo>
                  <a:lnTo>
                    <a:pt x="2094" y="726"/>
                  </a:lnTo>
                  <a:lnTo>
                    <a:pt x="2082" y="732"/>
                  </a:lnTo>
                  <a:lnTo>
                    <a:pt x="2076" y="744"/>
                  </a:lnTo>
                  <a:lnTo>
                    <a:pt x="2064" y="750"/>
                  </a:lnTo>
                  <a:lnTo>
                    <a:pt x="2058" y="762"/>
                  </a:lnTo>
                  <a:lnTo>
                    <a:pt x="2046" y="774"/>
                  </a:lnTo>
                  <a:lnTo>
                    <a:pt x="2052" y="780"/>
                  </a:lnTo>
                  <a:lnTo>
                    <a:pt x="2064" y="780"/>
                  </a:lnTo>
                  <a:lnTo>
                    <a:pt x="2076" y="786"/>
                  </a:lnTo>
                  <a:lnTo>
                    <a:pt x="2106" y="786"/>
                  </a:lnTo>
                  <a:lnTo>
                    <a:pt x="2208" y="798"/>
                  </a:lnTo>
                  <a:lnTo>
                    <a:pt x="2238" y="780"/>
                  </a:lnTo>
                  <a:lnTo>
                    <a:pt x="2232" y="786"/>
                  </a:lnTo>
                  <a:lnTo>
                    <a:pt x="2232" y="810"/>
                  </a:lnTo>
                  <a:lnTo>
                    <a:pt x="2298" y="810"/>
                  </a:lnTo>
                  <a:lnTo>
                    <a:pt x="2334" y="804"/>
                  </a:lnTo>
                  <a:lnTo>
                    <a:pt x="2328" y="804"/>
                  </a:lnTo>
                  <a:lnTo>
                    <a:pt x="2322" y="810"/>
                  </a:lnTo>
                  <a:lnTo>
                    <a:pt x="2310" y="810"/>
                  </a:lnTo>
                  <a:lnTo>
                    <a:pt x="2286" y="822"/>
                  </a:lnTo>
                  <a:lnTo>
                    <a:pt x="2280" y="828"/>
                  </a:lnTo>
                  <a:lnTo>
                    <a:pt x="2280" y="834"/>
                  </a:lnTo>
                  <a:lnTo>
                    <a:pt x="2292" y="846"/>
                  </a:lnTo>
                  <a:lnTo>
                    <a:pt x="2304" y="852"/>
                  </a:lnTo>
                  <a:lnTo>
                    <a:pt x="2310" y="858"/>
                  </a:lnTo>
                  <a:lnTo>
                    <a:pt x="2310" y="882"/>
                  </a:lnTo>
                  <a:lnTo>
                    <a:pt x="2316" y="888"/>
                  </a:lnTo>
                  <a:lnTo>
                    <a:pt x="2316" y="900"/>
                  </a:lnTo>
                  <a:lnTo>
                    <a:pt x="2322" y="912"/>
                  </a:lnTo>
                  <a:lnTo>
                    <a:pt x="2358" y="912"/>
                  </a:lnTo>
                  <a:lnTo>
                    <a:pt x="2370" y="906"/>
                  </a:lnTo>
                  <a:lnTo>
                    <a:pt x="2388" y="906"/>
                  </a:lnTo>
                  <a:lnTo>
                    <a:pt x="2382" y="876"/>
                  </a:lnTo>
                  <a:lnTo>
                    <a:pt x="2400" y="870"/>
                  </a:lnTo>
                  <a:lnTo>
                    <a:pt x="2412" y="888"/>
                  </a:lnTo>
                  <a:lnTo>
                    <a:pt x="2442" y="876"/>
                  </a:lnTo>
                  <a:lnTo>
                    <a:pt x="2430" y="888"/>
                  </a:lnTo>
                  <a:lnTo>
                    <a:pt x="2430" y="900"/>
                  </a:lnTo>
                  <a:lnTo>
                    <a:pt x="2424" y="906"/>
                  </a:lnTo>
                  <a:lnTo>
                    <a:pt x="2424" y="912"/>
                  </a:lnTo>
                  <a:lnTo>
                    <a:pt x="2430" y="918"/>
                  </a:lnTo>
                  <a:lnTo>
                    <a:pt x="2436" y="918"/>
                  </a:lnTo>
                  <a:lnTo>
                    <a:pt x="2448" y="912"/>
                  </a:lnTo>
                  <a:lnTo>
                    <a:pt x="2454" y="906"/>
                  </a:lnTo>
                  <a:lnTo>
                    <a:pt x="2460" y="894"/>
                  </a:lnTo>
                  <a:lnTo>
                    <a:pt x="2466" y="888"/>
                  </a:lnTo>
                  <a:lnTo>
                    <a:pt x="2472" y="876"/>
                  </a:lnTo>
                  <a:lnTo>
                    <a:pt x="2502" y="834"/>
                  </a:lnTo>
                  <a:lnTo>
                    <a:pt x="2478" y="900"/>
                  </a:lnTo>
                  <a:lnTo>
                    <a:pt x="2484" y="924"/>
                  </a:lnTo>
                  <a:lnTo>
                    <a:pt x="2520" y="912"/>
                  </a:lnTo>
                  <a:lnTo>
                    <a:pt x="2496" y="936"/>
                  </a:lnTo>
                  <a:lnTo>
                    <a:pt x="2520" y="954"/>
                  </a:lnTo>
                  <a:lnTo>
                    <a:pt x="2502" y="954"/>
                  </a:lnTo>
                  <a:lnTo>
                    <a:pt x="2502" y="972"/>
                  </a:lnTo>
                  <a:lnTo>
                    <a:pt x="2472" y="990"/>
                  </a:lnTo>
                  <a:lnTo>
                    <a:pt x="2454" y="1002"/>
                  </a:lnTo>
                  <a:lnTo>
                    <a:pt x="2484" y="1020"/>
                  </a:lnTo>
                  <a:lnTo>
                    <a:pt x="2478" y="1050"/>
                  </a:lnTo>
                  <a:lnTo>
                    <a:pt x="2460" y="1068"/>
                  </a:lnTo>
                  <a:lnTo>
                    <a:pt x="2478" y="1080"/>
                  </a:lnTo>
                  <a:lnTo>
                    <a:pt x="2460" y="1098"/>
                  </a:lnTo>
                  <a:lnTo>
                    <a:pt x="2490" y="1098"/>
                  </a:lnTo>
                  <a:lnTo>
                    <a:pt x="2526" y="1086"/>
                  </a:lnTo>
                  <a:lnTo>
                    <a:pt x="2496" y="1122"/>
                  </a:lnTo>
                  <a:lnTo>
                    <a:pt x="2478" y="1140"/>
                  </a:lnTo>
                  <a:lnTo>
                    <a:pt x="2502" y="1146"/>
                  </a:lnTo>
                  <a:lnTo>
                    <a:pt x="2454" y="1164"/>
                  </a:lnTo>
                  <a:lnTo>
                    <a:pt x="2436" y="1176"/>
                  </a:lnTo>
                  <a:lnTo>
                    <a:pt x="2454" y="1188"/>
                  </a:lnTo>
                  <a:lnTo>
                    <a:pt x="2454" y="1200"/>
                  </a:lnTo>
                  <a:lnTo>
                    <a:pt x="2472" y="1188"/>
                  </a:lnTo>
                  <a:lnTo>
                    <a:pt x="2490" y="1182"/>
                  </a:lnTo>
                  <a:lnTo>
                    <a:pt x="2502" y="1170"/>
                  </a:lnTo>
                  <a:lnTo>
                    <a:pt x="2514" y="1164"/>
                  </a:lnTo>
                  <a:lnTo>
                    <a:pt x="2532" y="1146"/>
                  </a:lnTo>
                  <a:lnTo>
                    <a:pt x="2538" y="1134"/>
                  </a:lnTo>
                  <a:lnTo>
                    <a:pt x="2538" y="1122"/>
                  </a:lnTo>
                  <a:lnTo>
                    <a:pt x="2550" y="1116"/>
                  </a:lnTo>
                  <a:lnTo>
                    <a:pt x="2562" y="1104"/>
                  </a:lnTo>
                  <a:lnTo>
                    <a:pt x="2574" y="1098"/>
                  </a:lnTo>
                  <a:lnTo>
                    <a:pt x="2574" y="1086"/>
                  </a:lnTo>
                  <a:lnTo>
                    <a:pt x="2568" y="1080"/>
                  </a:lnTo>
                  <a:lnTo>
                    <a:pt x="2562" y="1080"/>
                  </a:lnTo>
                  <a:close/>
                  <a:moveTo>
                    <a:pt x="2394" y="1056"/>
                  </a:moveTo>
                  <a:lnTo>
                    <a:pt x="2400" y="1062"/>
                  </a:lnTo>
                  <a:lnTo>
                    <a:pt x="2418" y="1062"/>
                  </a:lnTo>
                  <a:lnTo>
                    <a:pt x="2436" y="1044"/>
                  </a:lnTo>
                  <a:lnTo>
                    <a:pt x="2460" y="1038"/>
                  </a:lnTo>
                  <a:lnTo>
                    <a:pt x="2454" y="1020"/>
                  </a:lnTo>
                  <a:lnTo>
                    <a:pt x="2430" y="1020"/>
                  </a:lnTo>
                  <a:lnTo>
                    <a:pt x="2418" y="1026"/>
                  </a:lnTo>
                  <a:lnTo>
                    <a:pt x="2412" y="1032"/>
                  </a:lnTo>
                  <a:lnTo>
                    <a:pt x="2406" y="1044"/>
                  </a:lnTo>
                  <a:lnTo>
                    <a:pt x="2394" y="1050"/>
                  </a:lnTo>
                  <a:lnTo>
                    <a:pt x="2394" y="1056"/>
                  </a:lnTo>
                  <a:close/>
                  <a:moveTo>
                    <a:pt x="2376" y="984"/>
                  </a:moveTo>
                  <a:lnTo>
                    <a:pt x="2358" y="984"/>
                  </a:lnTo>
                  <a:lnTo>
                    <a:pt x="2346" y="990"/>
                  </a:lnTo>
                  <a:lnTo>
                    <a:pt x="2334" y="1002"/>
                  </a:lnTo>
                  <a:lnTo>
                    <a:pt x="2334" y="1014"/>
                  </a:lnTo>
                  <a:lnTo>
                    <a:pt x="2322" y="1026"/>
                  </a:lnTo>
                  <a:lnTo>
                    <a:pt x="2322" y="1044"/>
                  </a:lnTo>
                  <a:lnTo>
                    <a:pt x="2310" y="1056"/>
                  </a:lnTo>
                  <a:lnTo>
                    <a:pt x="2310" y="1074"/>
                  </a:lnTo>
                  <a:lnTo>
                    <a:pt x="2316" y="1080"/>
                  </a:lnTo>
                  <a:lnTo>
                    <a:pt x="2322" y="1074"/>
                  </a:lnTo>
                  <a:lnTo>
                    <a:pt x="2328" y="1062"/>
                  </a:lnTo>
                  <a:lnTo>
                    <a:pt x="2340" y="1050"/>
                  </a:lnTo>
                  <a:lnTo>
                    <a:pt x="2352" y="1044"/>
                  </a:lnTo>
                  <a:lnTo>
                    <a:pt x="2376" y="1020"/>
                  </a:lnTo>
                  <a:lnTo>
                    <a:pt x="2382" y="1008"/>
                  </a:lnTo>
                  <a:lnTo>
                    <a:pt x="2382" y="990"/>
                  </a:lnTo>
                  <a:lnTo>
                    <a:pt x="2376" y="984"/>
                  </a:lnTo>
                  <a:close/>
                  <a:moveTo>
                    <a:pt x="786" y="810"/>
                  </a:moveTo>
                  <a:lnTo>
                    <a:pt x="798" y="810"/>
                  </a:lnTo>
                  <a:lnTo>
                    <a:pt x="834" y="798"/>
                  </a:lnTo>
                  <a:lnTo>
                    <a:pt x="858" y="786"/>
                  </a:lnTo>
                  <a:lnTo>
                    <a:pt x="864" y="780"/>
                  </a:lnTo>
                  <a:lnTo>
                    <a:pt x="870" y="780"/>
                  </a:lnTo>
                  <a:lnTo>
                    <a:pt x="864" y="774"/>
                  </a:lnTo>
                  <a:lnTo>
                    <a:pt x="828" y="762"/>
                  </a:lnTo>
                  <a:lnTo>
                    <a:pt x="810" y="762"/>
                  </a:lnTo>
                  <a:lnTo>
                    <a:pt x="798" y="768"/>
                  </a:lnTo>
                  <a:lnTo>
                    <a:pt x="792" y="774"/>
                  </a:lnTo>
                  <a:lnTo>
                    <a:pt x="786" y="768"/>
                  </a:lnTo>
                  <a:lnTo>
                    <a:pt x="774" y="768"/>
                  </a:lnTo>
                  <a:lnTo>
                    <a:pt x="768" y="774"/>
                  </a:lnTo>
                  <a:lnTo>
                    <a:pt x="768" y="804"/>
                  </a:lnTo>
                  <a:lnTo>
                    <a:pt x="774" y="810"/>
                  </a:lnTo>
                  <a:lnTo>
                    <a:pt x="786" y="810"/>
                  </a:lnTo>
                  <a:close/>
                  <a:moveTo>
                    <a:pt x="0" y="1332"/>
                  </a:moveTo>
                  <a:lnTo>
                    <a:pt x="60" y="1320"/>
                  </a:lnTo>
                  <a:lnTo>
                    <a:pt x="72" y="1302"/>
                  </a:lnTo>
                  <a:lnTo>
                    <a:pt x="132" y="1296"/>
                  </a:lnTo>
                  <a:lnTo>
                    <a:pt x="114" y="1272"/>
                  </a:lnTo>
                  <a:lnTo>
                    <a:pt x="0" y="1332"/>
                  </a:lnTo>
                  <a:close/>
                  <a:moveTo>
                    <a:pt x="1362" y="954"/>
                  </a:moveTo>
                  <a:lnTo>
                    <a:pt x="1350" y="954"/>
                  </a:lnTo>
                  <a:lnTo>
                    <a:pt x="1338" y="960"/>
                  </a:lnTo>
                  <a:lnTo>
                    <a:pt x="1332" y="954"/>
                  </a:lnTo>
                  <a:lnTo>
                    <a:pt x="1314" y="954"/>
                  </a:lnTo>
                  <a:lnTo>
                    <a:pt x="1314" y="978"/>
                  </a:lnTo>
                  <a:lnTo>
                    <a:pt x="1290" y="996"/>
                  </a:lnTo>
                  <a:lnTo>
                    <a:pt x="1290" y="972"/>
                  </a:lnTo>
                  <a:lnTo>
                    <a:pt x="1278" y="966"/>
                  </a:lnTo>
                  <a:lnTo>
                    <a:pt x="1272" y="966"/>
                  </a:lnTo>
                  <a:lnTo>
                    <a:pt x="1248" y="978"/>
                  </a:lnTo>
                  <a:lnTo>
                    <a:pt x="1242" y="978"/>
                  </a:lnTo>
                  <a:lnTo>
                    <a:pt x="1230" y="990"/>
                  </a:lnTo>
                  <a:lnTo>
                    <a:pt x="1224" y="1002"/>
                  </a:lnTo>
                  <a:lnTo>
                    <a:pt x="1218" y="1008"/>
                  </a:lnTo>
                  <a:lnTo>
                    <a:pt x="1218" y="1014"/>
                  </a:lnTo>
                  <a:lnTo>
                    <a:pt x="1224" y="1014"/>
                  </a:lnTo>
                  <a:lnTo>
                    <a:pt x="1230" y="1020"/>
                  </a:lnTo>
                  <a:lnTo>
                    <a:pt x="1278" y="1020"/>
                  </a:lnTo>
                  <a:lnTo>
                    <a:pt x="1296" y="1014"/>
                  </a:lnTo>
                  <a:lnTo>
                    <a:pt x="1308" y="1014"/>
                  </a:lnTo>
                  <a:lnTo>
                    <a:pt x="1320" y="1008"/>
                  </a:lnTo>
                  <a:lnTo>
                    <a:pt x="1320" y="996"/>
                  </a:lnTo>
                  <a:lnTo>
                    <a:pt x="1350" y="990"/>
                  </a:lnTo>
                  <a:lnTo>
                    <a:pt x="1350" y="984"/>
                  </a:lnTo>
                  <a:lnTo>
                    <a:pt x="1386" y="978"/>
                  </a:lnTo>
                  <a:lnTo>
                    <a:pt x="1398" y="954"/>
                  </a:lnTo>
                  <a:lnTo>
                    <a:pt x="1380" y="960"/>
                  </a:lnTo>
                  <a:lnTo>
                    <a:pt x="1374" y="954"/>
                  </a:lnTo>
                  <a:lnTo>
                    <a:pt x="1362" y="954"/>
                  </a:lnTo>
                  <a:close/>
                  <a:moveTo>
                    <a:pt x="162" y="1290"/>
                  </a:moveTo>
                  <a:lnTo>
                    <a:pt x="204" y="1290"/>
                  </a:lnTo>
                  <a:lnTo>
                    <a:pt x="240" y="1260"/>
                  </a:lnTo>
                  <a:lnTo>
                    <a:pt x="228" y="1242"/>
                  </a:lnTo>
                  <a:lnTo>
                    <a:pt x="162" y="1290"/>
                  </a:lnTo>
                  <a:close/>
                  <a:moveTo>
                    <a:pt x="2466" y="1140"/>
                  </a:moveTo>
                  <a:lnTo>
                    <a:pt x="2472" y="1128"/>
                  </a:lnTo>
                  <a:lnTo>
                    <a:pt x="2454" y="1110"/>
                  </a:lnTo>
                  <a:lnTo>
                    <a:pt x="2448" y="1110"/>
                  </a:lnTo>
                  <a:lnTo>
                    <a:pt x="2436" y="1122"/>
                  </a:lnTo>
                  <a:lnTo>
                    <a:pt x="2430" y="1134"/>
                  </a:lnTo>
                  <a:lnTo>
                    <a:pt x="2424" y="1152"/>
                  </a:lnTo>
                  <a:lnTo>
                    <a:pt x="2418" y="1164"/>
                  </a:lnTo>
                  <a:lnTo>
                    <a:pt x="2418" y="1176"/>
                  </a:lnTo>
                  <a:lnTo>
                    <a:pt x="2436" y="1158"/>
                  </a:lnTo>
                  <a:lnTo>
                    <a:pt x="2454" y="1158"/>
                  </a:lnTo>
                  <a:lnTo>
                    <a:pt x="2460" y="1152"/>
                  </a:lnTo>
                  <a:lnTo>
                    <a:pt x="2466" y="1140"/>
                  </a:lnTo>
                  <a:close/>
                  <a:moveTo>
                    <a:pt x="1428" y="912"/>
                  </a:moveTo>
                  <a:lnTo>
                    <a:pt x="1404" y="924"/>
                  </a:lnTo>
                  <a:lnTo>
                    <a:pt x="1386" y="942"/>
                  </a:lnTo>
                  <a:lnTo>
                    <a:pt x="1386" y="948"/>
                  </a:lnTo>
                  <a:lnTo>
                    <a:pt x="1398" y="954"/>
                  </a:lnTo>
                  <a:lnTo>
                    <a:pt x="1410" y="954"/>
                  </a:lnTo>
                  <a:lnTo>
                    <a:pt x="1422" y="948"/>
                  </a:lnTo>
                  <a:lnTo>
                    <a:pt x="1428" y="948"/>
                  </a:lnTo>
                  <a:lnTo>
                    <a:pt x="1440" y="942"/>
                  </a:lnTo>
                  <a:lnTo>
                    <a:pt x="1446" y="930"/>
                  </a:lnTo>
                  <a:lnTo>
                    <a:pt x="1470" y="930"/>
                  </a:lnTo>
                  <a:lnTo>
                    <a:pt x="1470" y="924"/>
                  </a:lnTo>
                  <a:lnTo>
                    <a:pt x="1458" y="912"/>
                  </a:lnTo>
                  <a:lnTo>
                    <a:pt x="1452" y="912"/>
                  </a:lnTo>
                  <a:lnTo>
                    <a:pt x="1440" y="906"/>
                  </a:lnTo>
                  <a:lnTo>
                    <a:pt x="1428" y="912"/>
                  </a:lnTo>
                  <a:close/>
                  <a:moveTo>
                    <a:pt x="498" y="1164"/>
                  </a:moveTo>
                  <a:lnTo>
                    <a:pt x="486" y="1164"/>
                  </a:lnTo>
                  <a:lnTo>
                    <a:pt x="474" y="1170"/>
                  </a:lnTo>
                  <a:lnTo>
                    <a:pt x="462" y="1170"/>
                  </a:lnTo>
                  <a:lnTo>
                    <a:pt x="450" y="1176"/>
                  </a:lnTo>
                  <a:lnTo>
                    <a:pt x="444" y="1182"/>
                  </a:lnTo>
                  <a:lnTo>
                    <a:pt x="432" y="1182"/>
                  </a:lnTo>
                  <a:lnTo>
                    <a:pt x="426" y="1188"/>
                  </a:lnTo>
                  <a:lnTo>
                    <a:pt x="414" y="1188"/>
                  </a:lnTo>
                  <a:lnTo>
                    <a:pt x="390" y="1200"/>
                  </a:lnTo>
                  <a:lnTo>
                    <a:pt x="384" y="1206"/>
                  </a:lnTo>
                  <a:lnTo>
                    <a:pt x="384" y="1218"/>
                  </a:lnTo>
                  <a:lnTo>
                    <a:pt x="402" y="1218"/>
                  </a:lnTo>
                  <a:lnTo>
                    <a:pt x="420" y="1212"/>
                  </a:lnTo>
                  <a:lnTo>
                    <a:pt x="432" y="1206"/>
                  </a:lnTo>
                  <a:lnTo>
                    <a:pt x="504" y="1206"/>
                  </a:lnTo>
                  <a:lnTo>
                    <a:pt x="510" y="1200"/>
                  </a:lnTo>
                  <a:lnTo>
                    <a:pt x="510" y="1176"/>
                  </a:lnTo>
                  <a:lnTo>
                    <a:pt x="498" y="1164"/>
                  </a:lnTo>
                  <a:close/>
                  <a:moveTo>
                    <a:pt x="330" y="1242"/>
                  </a:moveTo>
                  <a:lnTo>
                    <a:pt x="330" y="1224"/>
                  </a:lnTo>
                  <a:lnTo>
                    <a:pt x="276" y="1242"/>
                  </a:lnTo>
                  <a:lnTo>
                    <a:pt x="330" y="1242"/>
                  </a:lnTo>
                  <a:close/>
                </a:path>
              </a:pathLst>
            </a:custGeom>
            <a:solidFill>
              <a:srgbClr val="0070C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4" name="USA" descr="© INSCALE GmbH, 05.05.2010&#10;http://www.presentationload.com/">
              <a:extLst>
                <a:ext uri="{FF2B5EF4-FFF2-40B4-BE49-F238E27FC236}">
                  <a16:creationId xmlns:a16="http://schemas.microsoft.com/office/drawing/2014/main" id="{CB21A45F-A695-1816-2E2B-EFC2F9B8CB00}"/>
                </a:ext>
              </a:extLst>
            </p:cNvPr>
            <p:cNvSpPr>
              <a:spLocks noEditPoints="1"/>
            </p:cNvSpPr>
            <p:nvPr/>
          </p:nvSpPr>
          <p:spPr bwMode="gray">
            <a:xfrm>
              <a:off x="1160950" y="1713865"/>
              <a:ext cx="1485337" cy="736743"/>
            </a:xfrm>
            <a:custGeom>
              <a:avLst/>
              <a:gdLst>
                <a:gd name="T0" fmla="*/ 2147483647 w 3918"/>
                <a:gd name="T1" fmla="*/ 2147483647 h 1944"/>
                <a:gd name="T2" fmla="*/ 2147483647 w 3918"/>
                <a:gd name="T3" fmla="*/ 2147483647 h 1944"/>
                <a:gd name="T4" fmla="*/ 2147483647 w 3918"/>
                <a:gd name="T5" fmla="*/ 2147483647 h 1944"/>
                <a:gd name="T6" fmla="*/ 2147483647 w 3918"/>
                <a:gd name="T7" fmla="*/ 2147483647 h 1944"/>
                <a:gd name="T8" fmla="*/ 2147483647 w 3918"/>
                <a:gd name="T9" fmla="*/ 2147483647 h 1944"/>
                <a:gd name="T10" fmla="*/ 2147483647 w 3918"/>
                <a:gd name="T11" fmla="*/ 2147483647 h 1944"/>
                <a:gd name="T12" fmla="*/ 2147483647 w 3918"/>
                <a:gd name="T13" fmla="*/ 2147483647 h 1944"/>
                <a:gd name="T14" fmla="*/ 2147483647 w 3918"/>
                <a:gd name="T15" fmla="*/ 2147483647 h 1944"/>
                <a:gd name="T16" fmla="*/ 2147483647 w 3918"/>
                <a:gd name="T17" fmla="*/ 2147483647 h 1944"/>
                <a:gd name="T18" fmla="*/ 2147483647 w 3918"/>
                <a:gd name="T19" fmla="*/ 2147483647 h 1944"/>
                <a:gd name="T20" fmla="*/ 2147483647 w 3918"/>
                <a:gd name="T21" fmla="*/ 2147483647 h 1944"/>
                <a:gd name="T22" fmla="*/ 2147483647 w 3918"/>
                <a:gd name="T23" fmla="*/ 2147483647 h 1944"/>
                <a:gd name="T24" fmla="*/ 2147483647 w 3918"/>
                <a:gd name="T25" fmla="*/ 2147483647 h 1944"/>
                <a:gd name="T26" fmla="*/ 2147483647 w 3918"/>
                <a:gd name="T27" fmla="*/ 2147483647 h 1944"/>
                <a:gd name="T28" fmla="*/ 2147483647 w 3918"/>
                <a:gd name="T29" fmla="*/ 2147483647 h 1944"/>
                <a:gd name="T30" fmla="*/ 2147483647 w 3918"/>
                <a:gd name="T31" fmla="*/ 2147483647 h 1944"/>
                <a:gd name="T32" fmla="*/ 2147483647 w 3918"/>
                <a:gd name="T33" fmla="*/ 2147483647 h 1944"/>
                <a:gd name="T34" fmla="*/ 2147483647 w 3918"/>
                <a:gd name="T35" fmla="*/ 2147483647 h 1944"/>
                <a:gd name="T36" fmla="*/ 2147483647 w 3918"/>
                <a:gd name="T37" fmla="*/ 2147483647 h 1944"/>
                <a:gd name="T38" fmla="*/ 2147483647 w 3918"/>
                <a:gd name="T39" fmla="*/ 2147483647 h 1944"/>
                <a:gd name="T40" fmla="*/ 2147483647 w 3918"/>
                <a:gd name="T41" fmla="*/ 2147483647 h 1944"/>
                <a:gd name="T42" fmla="*/ 2147483647 w 3918"/>
                <a:gd name="T43" fmla="*/ 2147483647 h 1944"/>
                <a:gd name="T44" fmla="*/ 2147483647 w 3918"/>
                <a:gd name="T45" fmla="*/ 2147483647 h 1944"/>
                <a:gd name="T46" fmla="*/ 2147483647 w 3918"/>
                <a:gd name="T47" fmla="*/ 2147483647 h 1944"/>
                <a:gd name="T48" fmla="*/ 2147483647 w 3918"/>
                <a:gd name="T49" fmla="*/ 2147483647 h 1944"/>
                <a:gd name="T50" fmla="*/ 2147483647 w 3918"/>
                <a:gd name="T51" fmla="*/ 2147483647 h 1944"/>
                <a:gd name="T52" fmla="*/ 2147483647 w 3918"/>
                <a:gd name="T53" fmla="*/ 2147483647 h 1944"/>
                <a:gd name="T54" fmla="*/ 2147483647 w 3918"/>
                <a:gd name="T55" fmla="*/ 2147483647 h 1944"/>
                <a:gd name="T56" fmla="*/ 2147483647 w 3918"/>
                <a:gd name="T57" fmla="*/ 2147483647 h 1944"/>
                <a:gd name="T58" fmla="*/ 2147483647 w 3918"/>
                <a:gd name="T59" fmla="*/ 2147483647 h 1944"/>
                <a:gd name="T60" fmla="*/ 2147483647 w 3918"/>
                <a:gd name="T61" fmla="*/ 2147483647 h 1944"/>
                <a:gd name="T62" fmla="*/ 2147483647 w 3918"/>
                <a:gd name="T63" fmla="*/ 2147483647 h 1944"/>
                <a:gd name="T64" fmla="*/ 2147483647 w 3918"/>
                <a:gd name="T65" fmla="*/ 2147483647 h 1944"/>
                <a:gd name="T66" fmla="*/ 2147483647 w 3918"/>
                <a:gd name="T67" fmla="*/ 2147483647 h 1944"/>
                <a:gd name="T68" fmla="*/ 2147483647 w 3918"/>
                <a:gd name="T69" fmla="*/ 2147483647 h 1944"/>
                <a:gd name="T70" fmla="*/ 2147483647 w 3918"/>
                <a:gd name="T71" fmla="*/ 2147483647 h 1944"/>
                <a:gd name="T72" fmla="*/ 2147483647 w 3918"/>
                <a:gd name="T73" fmla="*/ 2147483647 h 1944"/>
                <a:gd name="T74" fmla="*/ 2147483647 w 3918"/>
                <a:gd name="T75" fmla="*/ 2147483647 h 1944"/>
                <a:gd name="T76" fmla="*/ 2147483647 w 3918"/>
                <a:gd name="T77" fmla="*/ 2147483647 h 1944"/>
                <a:gd name="T78" fmla="*/ 2147483647 w 3918"/>
                <a:gd name="T79" fmla="*/ 2147483647 h 1944"/>
                <a:gd name="T80" fmla="*/ 2147483647 w 3918"/>
                <a:gd name="T81" fmla="*/ 2147483647 h 1944"/>
                <a:gd name="T82" fmla="*/ 2147483647 w 3918"/>
                <a:gd name="T83" fmla="*/ 2147483647 h 1944"/>
                <a:gd name="T84" fmla="*/ 2147483647 w 3918"/>
                <a:gd name="T85" fmla="*/ 2147483647 h 1944"/>
                <a:gd name="T86" fmla="*/ 2147483647 w 3918"/>
                <a:gd name="T87" fmla="*/ 2147483647 h 1944"/>
                <a:gd name="T88" fmla="*/ 2147483647 w 3918"/>
                <a:gd name="T89" fmla="*/ 2147483647 h 1944"/>
                <a:gd name="T90" fmla="*/ 2147483647 w 3918"/>
                <a:gd name="T91" fmla="*/ 2147483647 h 1944"/>
                <a:gd name="T92" fmla="*/ 2147483647 w 3918"/>
                <a:gd name="T93" fmla="*/ 2147483647 h 1944"/>
                <a:gd name="T94" fmla="*/ 2147483647 w 3918"/>
                <a:gd name="T95" fmla="*/ 2147483647 h 1944"/>
                <a:gd name="T96" fmla="*/ 2147483647 w 3918"/>
                <a:gd name="T97" fmla="*/ 2147483647 h 1944"/>
                <a:gd name="T98" fmla="*/ 2147483647 w 3918"/>
                <a:gd name="T99" fmla="*/ 2147483647 h 1944"/>
                <a:gd name="T100" fmla="*/ 2147483647 w 3918"/>
                <a:gd name="T101" fmla="*/ 2147483647 h 1944"/>
                <a:gd name="T102" fmla="*/ 2147483647 w 3918"/>
                <a:gd name="T103" fmla="*/ 2147483647 h 1944"/>
                <a:gd name="T104" fmla="*/ 2147483647 w 3918"/>
                <a:gd name="T105" fmla="*/ 2147483647 h 1944"/>
                <a:gd name="T106" fmla="*/ 2147483647 w 3918"/>
                <a:gd name="T107" fmla="*/ 2147483647 h 1944"/>
                <a:gd name="T108" fmla="*/ 2147483647 w 3918"/>
                <a:gd name="T109" fmla="*/ 2147483647 h 1944"/>
                <a:gd name="T110" fmla="*/ 2147483647 w 3918"/>
                <a:gd name="T111" fmla="*/ 2147483647 h 1944"/>
                <a:gd name="T112" fmla="*/ 2147483647 w 3918"/>
                <a:gd name="T113" fmla="*/ 2147483647 h 1944"/>
                <a:gd name="T114" fmla="*/ 2147483647 w 3918"/>
                <a:gd name="T115" fmla="*/ 2147483647 h 1944"/>
                <a:gd name="T116" fmla="*/ 2147483647 w 3918"/>
                <a:gd name="T117" fmla="*/ 2147483647 h 1944"/>
                <a:gd name="T118" fmla="*/ 2147483647 w 3918"/>
                <a:gd name="T119" fmla="*/ 2147483647 h 1944"/>
                <a:gd name="T120" fmla="*/ 2147483647 w 3918"/>
                <a:gd name="T121" fmla="*/ 2147483647 h 1944"/>
                <a:gd name="T122" fmla="*/ 2147483647 w 3918"/>
                <a:gd name="T123" fmla="*/ 2147483647 h 1944"/>
                <a:gd name="T124" fmla="*/ 2147483647 w 3918"/>
                <a:gd name="T125" fmla="*/ 2147483647 h 19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918"/>
                <a:gd name="T190" fmla="*/ 0 h 1944"/>
                <a:gd name="T191" fmla="*/ 3918 w 3918"/>
                <a:gd name="T192" fmla="*/ 1944 h 194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918" h="1944">
                  <a:moveTo>
                    <a:pt x="3858" y="168"/>
                  </a:moveTo>
                  <a:lnTo>
                    <a:pt x="3852" y="168"/>
                  </a:lnTo>
                  <a:lnTo>
                    <a:pt x="3846" y="162"/>
                  </a:lnTo>
                  <a:lnTo>
                    <a:pt x="3846" y="156"/>
                  </a:lnTo>
                  <a:lnTo>
                    <a:pt x="3840" y="150"/>
                  </a:lnTo>
                  <a:lnTo>
                    <a:pt x="3828" y="150"/>
                  </a:lnTo>
                  <a:lnTo>
                    <a:pt x="3804" y="174"/>
                  </a:lnTo>
                  <a:lnTo>
                    <a:pt x="3798" y="186"/>
                  </a:lnTo>
                  <a:lnTo>
                    <a:pt x="3756" y="210"/>
                  </a:lnTo>
                  <a:lnTo>
                    <a:pt x="3756" y="234"/>
                  </a:lnTo>
                  <a:lnTo>
                    <a:pt x="3744" y="246"/>
                  </a:lnTo>
                  <a:lnTo>
                    <a:pt x="3738" y="246"/>
                  </a:lnTo>
                  <a:lnTo>
                    <a:pt x="3726" y="258"/>
                  </a:lnTo>
                  <a:lnTo>
                    <a:pt x="3720" y="270"/>
                  </a:lnTo>
                  <a:lnTo>
                    <a:pt x="3720" y="294"/>
                  </a:lnTo>
                  <a:lnTo>
                    <a:pt x="3714" y="294"/>
                  </a:lnTo>
                  <a:lnTo>
                    <a:pt x="3708" y="288"/>
                  </a:lnTo>
                  <a:lnTo>
                    <a:pt x="3696" y="288"/>
                  </a:lnTo>
                  <a:lnTo>
                    <a:pt x="3690" y="294"/>
                  </a:lnTo>
                  <a:lnTo>
                    <a:pt x="3678" y="300"/>
                  </a:lnTo>
                  <a:lnTo>
                    <a:pt x="3666" y="312"/>
                  </a:lnTo>
                  <a:lnTo>
                    <a:pt x="3666" y="318"/>
                  </a:lnTo>
                  <a:lnTo>
                    <a:pt x="3660" y="318"/>
                  </a:lnTo>
                  <a:lnTo>
                    <a:pt x="3648" y="324"/>
                  </a:lnTo>
                  <a:lnTo>
                    <a:pt x="3630" y="324"/>
                  </a:lnTo>
                  <a:lnTo>
                    <a:pt x="3618" y="336"/>
                  </a:lnTo>
                  <a:lnTo>
                    <a:pt x="3618" y="342"/>
                  </a:lnTo>
                  <a:lnTo>
                    <a:pt x="3384" y="342"/>
                  </a:lnTo>
                  <a:lnTo>
                    <a:pt x="3372" y="354"/>
                  </a:lnTo>
                  <a:lnTo>
                    <a:pt x="3360" y="360"/>
                  </a:lnTo>
                  <a:lnTo>
                    <a:pt x="3336" y="384"/>
                  </a:lnTo>
                  <a:lnTo>
                    <a:pt x="3324" y="390"/>
                  </a:lnTo>
                  <a:lnTo>
                    <a:pt x="3312" y="402"/>
                  </a:lnTo>
                  <a:lnTo>
                    <a:pt x="3282" y="402"/>
                  </a:lnTo>
                  <a:lnTo>
                    <a:pt x="3282" y="408"/>
                  </a:lnTo>
                  <a:lnTo>
                    <a:pt x="3276" y="408"/>
                  </a:lnTo>
                  <a:lnTo>
                    <a:pt x="3282" y="414"/>
                  </a:lnTo>
                  <a:lnTo>
                    <a:pt x="3282" y="420"/>
                  </a:lnTo>
                  <a:lnTo>
                    <a:pt x="3288" y="426"/>
                  </a:lnTo>
                  <a:lnTo>
                    <a:pt x="3282" y="432"/>
                  </a:lnTo>
                  <a:lnTo>
                    <a:pt x="3282" y="438"/>
                  </a:lnTo>
                  <a:lnTo>
                    <a:pt x="3276" y="444"/>
                  </a:lnTo>
                  <a:lnTo>
                    <a:pt x="3270" y="456"/>
                  </a:lnTo>
                  <a:lnTo>
                    <a:pt x="3264" y="462"/>
                  </a:lnTo>
                  <a:lnTo>
                    <a:pt x="3264" y="468"/>
                  </a:lnTo>
                  <a:lnTo>
                    <a:pt x="3246" y="468"/>
                  </a:lnTo>
                  <a:lnTo>
                    <a:pt x="3246" y="474"/>
                  </a:lnTo>
                  <a:lnTo>
                    <a:pt x="3240" y="474"/>
                  </a:lnTo>
                  <a:lnTo>
                    <a:pt x="3228" y="480"/>
                  </a:lnTo>
                  <a:lnTo>
                    <a:pt x="3204" y="480"/>
                  </a:lnTo>
                  <a:lnTo>
                    <a:pt x="3198" y="474"/>
                  </a:lnTo>
                  <a:lnTo>
                    <a:pt x="3186" y="486"/>
                  </a:lnTo>
                  <a:lnTo>
                    <a:pt x="3162" y="486"/>
                  </a:lnTo>
                  <a:lnTo>
                    <a:pt x="3150" y="480"/>
                  </a:lnTo>
                  <a:lnTo>
                    <a:pt x="3144" y="474"/>
                  </a:lnTo>
                  <a:lnTo>
                    <a:pt x="3114" y="474"/>
                  </a:lnTo>
                  <a:lnTo>
                    <a:pt x="3096" y="486"/>
                  </a:lnTo>
                  <a:lnTo>
                    <a:pt x="3078" y="492"/>
                  </a:lnTo>
                  <a:lnTo>
                    <a:pt x="3072" y="492"/>
                  </a:lnTo>
                  <a:lnTo>
                    <a:pt x="3072" y="516"/>
                  </a:lnTo>
                  <a:lnTo>
                    <a:pt x="3066" y="522"/>
                  </a:lnTo>
                  <a:lnTo>
                    <a:pt x="3078" y="522"/>
                  </a:lnTo>
                  <a:lnTo>
                    <a:pt x="3066" y="528"/>
                  </a:lnTo>
                  <a:lnTo>
                    <a:pt x="3036" y="546"/>
                  </a:lnTo>
                  <a:lnTo>
                    <a:pt x="3000" y="564"/>
                  </a:lnTo>
                  <a:lnTo>
                    <a:pt x="2964" y="576"/>
                  </a:lnTo>
                  <a:lnTo>
                    <a:pt x="2946" y="588"/>
                  </a:lnTo>
                  <a:lnTo>
                    <a:pt x="2934" y="594"/>
                  </a:lnTo>
                  <a:lnTo>
                    <a:pt x="2928" y="594"/>
                  </a:lnTo>
                  <a:lnTo>
                    <a:pt x="2856" y="618"/>
                  </a:lnTo>
                  <a:lnTo>
                    <a:pt x="2850" y="624"/>
                  </a:lnTo>
                  <a:lnTo>
                    <a:pt x="2838" y="624"/>
                  </a:lnTo>
                  <a:lnTo>
                    <a:pt x="2826" y="630"/>
                  </a:lnTo>
                  <a:lnTo>
                    <a:pt x="2808" y="630"/>
                  </a:lnTo>
                  <a:lnTo>
                    <a:pt x="2802" y="636"/>
                  </a:lnTo>
                  <a:lnTo>
                    <a:pt x="2778" y="636"/>
                  </a:lnTo>
                  <a:lnTo>
                    <a:pt x="2772" y="630"/>
                  </a:lnTo>
                  <a:lnTo>
                    <a:pt x="2772" y="624"/>
                  </a:lnTo>
                  <a:lnTo>
                    <a:pt x="2760" y="624"/>
                  </a:lnTo>
                  <a:lnTo>
                    <a:pt x="2748" y="618"/>
                  </a:lnTo>
                  <a:lnTo>
                    <a:pt x="2736" y="606"/>
                  </a:lnTo>
                  <a:lnTo>
                    <a:pt x="2742" y="606"/>
                  </a:lnTo>
                  <a:lnTo>
                    <a:pt x="2748" y="600"/>
                  </a:lnTo>
                  <a:lnTo>
                    <a:pt x="2772" y="588"/>
                  </a:lnTo>
                  <a:lnTo>
                    <a:pt x="2772" y="582"/>
                  </a:lnTo>
                  <a:lnTo>
                    <a:pt x="2796" y="558"/>
                  </a:lnTo>
                  <a:lnTo>
                    <a:pt x="2832" y="540"/>
                  </a:lnTo>
                  <a:lnTo>
                    <a:pt x="2838" y="540"/>
                  </a:lnTo>
                  <a:lnTo>
                    <a:pt x="2844" y="534"/>
                  </a:lnTo>
                  <a:lnTo>
                    <a:pt x="2844" y="510"/>
                  </a:lnTo>
                  <a:lnTo>
                    <a:pt x="2850" y="504"/>
                  </a:lnTo>
                  <a:lnTo>
                    <a:pt x="2856" y="492"/>
                  </a:lnTo>
                  <a:lnTo>
                    <a:pt x="2850" y="486"/>
                  </a:lnTo>
                  <a:lnTo>
                    <a:pt x="2850" y="480"/>
                  </a:lnTo>
                  <a:lnTo>
                    <a:pt x="2856" y="468"/>
                  </a:lnTo>
                  <a:lnTo>
                    <a:pt x="2856" y="444"/>
                  </a:lnTo>
                  <a:lnTo>
                    <a:pt x="2862" y="432"/>
                  </a:lnTo>
                  <a:lnTo>
                    <a:pt x="2862" y="426"/>
                  </a:lnTo>
                  <a:lnTo>
                    <a:pt x="2856" y="420"/>
                  </a:lnTo>
                  <a:lnTo>
                    <a:pt x="2850" y="420"/>
                  </a:lnTo>
                  <a:lnTo>
                    <a:pt x="2844" y="426"/>
                  </a:lnTo>
                  <a:lnTo>
                    <a:pt x="2832" y="426"/>
                  </a:lnTo>
                  <a:lnTo>
                    <a:pt x="2814" y="444"/>
                  </a:lnTo>
                  <a:lnTo>
                    <a:pt x="2802" y="450"/>
                  </a:lnTo>
                  <a:lnTo>
                    <a:pt x="2796" y="456"/>
                  </a:lnTo>
                  <a:lnTo>
                    <a:pt x="2778" y="456"/>
                  </a:lnTo>
                  <a:lnTo>
                    <a:pt x="2772" y="450"/>
                  </a:lnTo>
                  <a:lnTo>
                    <a:pt x="2778" y="444"/>
                  </a:lnTo>
                  <a:lnTo>
                    <a:pt x="2784" y="432"/>
                  </a:lnTo>
                  <a:lnTo>
                    <a:pt x="2808" y="420"/>
                  </a:lnTo>
                  <a:lnTo>
                    <a:pt x="2826" y="402"/>
                  </a:lnTo>
                  <a:lnTo>
                    <a:pt x="2850" y="390"/>
                  </a:lnTo>
                  <a:lnTo>
                    <a:pt x="2856" y="384"/>
                  </a:lnTo>
                  <a:lnTo>
                    <a:pt x="2856" y="366"/>
                  </a:lnTo>
                  <a:lnTo>
                    <a:pt x="2850" y="360"/>
                  </a:lnTo>
                  <a:lnTo>
                    <a:pt x="2850" y="348"/>
                  </a:lnTo>
                  <a:lnTo>
                    <a:pt x="2856" y="348"/>
                  </a:lnTo>
                  <a:lnTo>
                    <a:pt x="2862" y="342"/>
                  </a:lnTo>
                  <a:lnTo>
                    <a:pt x="2868" y="330"/>
                  </a:lnTo>
                  <a:lnTo>
                    <a:pt x="2868" y="318"/>
                  </a:lnTo>
                  <a:lnTo>
                    <a:pt x="2862" y="312"/>
                  </a:lnTo>
                  <a:lnTo>
                    <a:pt x="2850" y="312"/>
                  </a:lnTo>
                  <a:lnTo>
                    <a:pt x="2838" y="306"/>
                  </a:lnTo>
                  <a:lnTo>
                    <a:pt x="2832" y="306"/>
                  </a:lnTo>
                  <a:lnTo>
                    <a:pt x="2826" y="294"/>
                  </a:lnTo>
                  <a:lnTo>
                    <a:pt x="2820" y="288"/>
                  </a:lnTo>
                  <a:lnTo>
                    <a:pt x="2820" y="282"/>
                  </a:lnTo>
                  <a:lnTo>
                    <a:pt x="2814" y="288"/>
                  </a:lnTo>
                  <a:lnTo>
                    <a:pt x="2808" y="288"/>
                  </a:lnTo>
                  <a:lnTo>
                    <a:pt x="2808" y="264"/>
                  </a:lnTo>
                  <a:lnTo>
                    <a:pt x="2844" y="270"/>
                  </a:lnTo>
                  <a:lnTo>
                    <a:pt x="2850" y="264"/>
                  </a:lnTo>
                  <a:lnTo>
                    <a:pt x="2850" y="246"/>
                  </a:lnTo>
                  <a:lnTo>
                    <a:pt x="2862" y="246"/>
                  </a:lnTo>
                  <a:lnTo>
                    <a:pt x="2868" y="228"/>
                  </a:lnTo>
                  <a:lnTo>
                    <a:pt x="2850" y="228"/>
                  </a:lnTo>
                  <a:lnTo>
                    <a:pt x="2844" y="240"/>
                  </a:lnTo>
                  <a:lnTo>
                    <a:pt x="2820" y="228"/>
                  </a:lnTo>
                  <a:lnTo>
                    <a:pt x="2820" y="210"/>
                  </a:lnTo>
                  <a:lnTo>
                    <a:pt x="2802" y="210"/>
                  </a:lnTo>
                  <a:lnTo>
                    <a:pt x="2790" y="216"/>
                  </a:lnTo>
                  <a:lnTo>
                    <a:pt x="2736" y="216"/>
                  </a:lnTo>
                  <a:lnTo>
                    <a:pt x="2724" y="222"/>
                  </a:lnTo>
                  <a:lnTo>
                    <a:pt x="2712" y="222"/>
                  </a:lnTo>
                  <a:lnTo>
                    <a:pt x="2700" y="228"/>
                  </a:lnTo>
                  <a:lnTo>
                    <a:pt x="2682" y="228"/>
                  </a:lnTo>
                  <a:lnTo>
                    <a:pt x="2658" y="216"/>
                  </a:lnTo>
                  <a:lnTo>
                    <a:pt x="2658" y="210"/>
                  </a:lnTo>
                  <a:lnTo>
                    <a:pt x="2652" y="204"/>
                  </a:lnTo>
                  <a:lnTo>
                    <a:pt x="2652" y="198"/>
                  </a:lnTo>
                  <a:lnTo>
                    <a:pt x="2646" y="192"/>
                  </a:lnTo>
                  <a:lnTo>
                    <a:pt x="2628" y="192"/>
                  </a:lnTo>
                  <a:lnTo>
                    <a:pt x="2622" y="198"/>
                  </a:lnTo>
                  <a:lnTo>
                    <a:pt x="2616" y="198"/>
                  </a:lnTo>
                  <a:lnTo>
                    <a:pt x="2610" y="192"/>
                  </a:lnTo>
                  <a:lnTo>
                    <a:pt x="2670" y="162"/>
                  </a:lnTo>
                  <a:lnTo>
                    <a:pt x="2658" y="150"/>
                  </a:lnTo>
                  <a:lnTo>
                    <a:pt x="2640" y="150"/>
                  </a:lnTo>
                  <a:lnTo>
                    <a:pt x="2628" y="162"/>
                  </a:lnTo>
                  <a:lnTo>
                    <a:pt x="2616" y="168"/>
                  </a:lnTo>
                  <a:lnTo>
                    <a:pt x="2610" y="174"/>
                  </a:lnTo>
                  <a:lnTo>
                    <a:pt x="2604" y="174"/>
                  </a:lnTo>
                  <a:lnTo>
                    <a:pt x="2580" y="186"/>
                  </a:lnTo>
                  <a:lnTo>
                    <a:pt x="2562" y="192"/>
                  </a:lnTo>
                  <a:lnTo>
                    <a:pt x="2538" y="204"/>
                  </a:lnTo>
                  <a:lnTo>
                    <a:pt x="2508" y="204"/>
                  </a:lnTo>
                  <a:lnTo>
                    <a:pt x="2496" y="216"/>
                  </a:lnTo>
                  <a:lnTo>
                    <a:pt x="2448" y="216"/>
                  </a:lnTo>
                  <a:lnTo>
                    <a:pt x="2448" y="210"/>
                  </a:lnTo>
                  <a:lnTo>
                    <a:pt x="2454" y="204"/>
                  </a:lnTo>
                  <a:lnTo>
                    <a:pt x="2460" y="204"/>
                  </a:lnTo>
                  <a:lnTo>
                    <a:pt x="2472" y="192"/>
                  </a:lnTo>
                  <a:lnTo>
                    <a:pt x="2460" y="192"/>
                  </a:lnTo>
                  <a:lnTo>
                    <a:pt x="2448" y="198"/>
                  </a:lnTo>
                  <a:lnTo>
                    <a:pt x="2412" y="198"/>
                  </a:lnTo>
                  <a:lnTo>
                    <a:pt x="2400" y="204"/>
                  </a:lnTo>
                  <a:lnTo>
                    <a:pt x="2394" y="210"/>
                  </a:lnTo>
                  <a:lnTo>
                    <a:pt x="2370" y="210"/>
                  </a:lnTo>
                  <a:lnTo>
                    <a:pt x="2370" y="198"/>
                  </a:lnTo>
                  <a:lnTo>
                    <a:pt x="2400" y="180"/>
                  </a:lnTo>
                  <a:lnTo>
                    <a:pt x="2442" y="168"/>
                  </a:lnTo>
                  <a:lnTo>
                    <a:pt x="2502" y="138"/>
                  </a:lnTo>
                  <a:lnTo>
                    <a:pt x="2520" y="126"/>
                  </a:lnTo>
                  <a:lnTo>
                    <a:pt x="2544" y="120"/>
                  </a:lnTo>
                  <a:lnTo>
                    <a:pt x="2574" y="114"/>
                  </a:lnTo>
                  <a:lnTo>
                    <a:pt x="2580" y="114"/>
                  </a:lnTo>
                  <a:lnTo>
                    <a:pt x="2592" y="108"/>
                  </a:lnTo>
                  <a:lnTo>
                    <a:pt x="2574" y="108"/>
                  </a:lnTo>
                  <a:lnTo>
                    <a:pt x="2562" y="102"/>
                  </a:lnTo>
                  <a:lnTo>
                    <a:pt x="2556" y="102"/>
                  </a:lnTo>
                  <a:lnTo>
                    <a:pt x="2556" y="96"/>
                  </a:lnTo>
                  <a:lnTo>
                    <a:pt x="2508" y="102"/>
                  </a:lnTo>
                  <a:lnTo>
                    <a:pt x="2508" y="84"/>
                  </a:lnTo>
                  <a:lnTo>
                    <a:pt x="2502" y="90"/>
                  </a:lnTo>
                  <a:lnTo>
                    <a:pt x="2490" y="96"/>
                  </a:lnTo>
                  <a:lnTo>
                    <a:pt x="2478" y="108"/>
                  </a:lnTo>
                  <a:lnTo>
                    <a:pt x="2466" y="108"/>
                  </a:lnTo>
                  <a:lnTo>
                    <a:pt x="2448" y="90"/>
                  </a:lnTo>
                  <a:lnTo>
                    <a:pt x="2418" y="90"/>
                  </a:lnTo>
                  <a:lnTo>
                    <a:pt x="2412" y="84"/>
                  </a:lnTo>
                  <a:lnTo>
                    <a:pt x="2412" y="78"/>
                  </a:lnTo>
                  <a:lnTo>
                    <a:pt x="2400" y="66"/>
                  </a:lnTo>
                  <a:lnTo>
                    <a:pt x="2388" y="60"/>
                  </a:lnTo>
                  <a:lnTo>
                    <a:pt x="2376" y="60"/>
                  </a:lnTo>
                  <a:lnTo>
                    <a:pt x="2364" y="72"/>
                  </a:lnTo>
                  <a:lnTo>
                    <a:pt x="2364" y="78"/>
                  </a:lnTo>
                  <a:lnTo>
                    <a:pt x="2352" y="78"/>
                  </a:lnTo>
                  <a:lnTo>
                    <a:pt x="2334" y="60"/>
                  </a:lnTo>
                  <a:lnTo>
                    <a:pt x="2322" y="60"/>
                  </a:lnTo>
                  <a:lnTo>
                    <a:pt x="2304" y="54"/>
                  </a:lnTo>
                  <a:lnTo>
                    <a:pt x="2292" y="48"/>
                  </a:lnTo>
                  <a:lnTo>
                    <a:pt x="2292" y="36"/>
                  </a:lnTo>
                  <a:lnTo>
                    <a:pt x="2298" y="24"/>
                  </a:lnTo>
                  <a:lnTo>
                    <a:pt x="2310" y="12"/>
                  </a:lnTo>
                  <a:lnTo>
                    <a:pt x="2298" y="0"/>
                  </a:lnTo>
                  <a:lnTo>
                    <a:pt x="2286" y="6"/>
                  </a:lnTo>
                  <a:lnTo>
                    <a:pt x="2280" y="12"/>
                  </a:lnTo>
                  <a:lnTo>
                    <a:pt x="2274" y="24"/>
                  </a:lnTo>
                  <a:lnTo>
                    <a:pt x="2274" y="30"/>
                  </a:lnTo>
                  <a:lnTo>
                    <a:pt x="2268" y="42"/>
                  </a:lnTo>
                  <a:lnTo>
                    <a:pt x="558" y="42"/>
                  </a:lnTo>
                  <a:lnTo>
                    <a:pt x="552" y="54"/>
                  </a:lnTo>
                  <a:lnTo>
                    <a:pt x="552" y="60"/>
                  </a:lnTo>
                  <a:lnTo>
                    <a:pt x="546" y="60"/>
                  </a:lnTo>
                  <a:lnTo>
                    <a:pt x="546" y="72"/>
                  </a:lnTo>
                  <a:lnTo>
                    <a:pt x="540" y="84"/>
                  </a:lnTo>
                  <a:lnTo>
                    <a:pt x="540" y="108"/>
                  </a:lnTo>
                  <a:lnTo>
                    <a:pt x="510" y="126"/>
                  </a:lnTo>
                  <a:lnTo>
                    <a:pt x="504" y="144"/>
                  </a:lnTo>
                  <a:lnTo>
                    <a:pt x="486" y="168"/>
                  </a:lnTo>
                  <a:lnTo>
                    <a:pt x="438" y="180"/>
                  </a:lnTo>
                  <a:lnTo>
                    <a:pt x="474" y="162"/>
                  </a:lnTo>
                  <a:lnTo>
                    <a:pt x="450" y="162"/>
                  </a:lnTo>
                  <a:lnTo>
                    <a:pt x="456" y="156"/>
                  </a:lnTo>
                  <a:lnTo>
                    <a:pt x="462" y="144"/>
                  </a:lnTo>
                  <a:lnTo>
                    <a:pt x="486" y="120"/>
                  </a:lnTo>
                  <a:lnTo>
                    <a:pt x="492" y="120"/>
                  </a:lnTo>
                  <a:lnTo>
                    <a:pt x="504" y="108"/>
                  </a:lnTo>
                  <a:lnTo>
                    <a:pt x="504" y="102"/>
                  </a:lnTo>
                  <a:lnTo>
                    <a:pt x="456" y="102"/>
                  </a:lnTo>
                  <a:lnTo>
                    <a:pt x="450" y="96"/>
                  </a:lnTo>
                  <a:lnTo>
                    <a:pt x="438" y="90"/>
                  </a:lnTo>
                  <a:lnTo>
                    <a:pt x="432" y="84"/>
                  </a:lnTo>
                  <a:lnTo>
                    <a:pt x="420" y="78"/>
                  </a:lnTo>
                  <a:lnTo>
                    <a:pt x="402" y="78"/>
                  </a:lnTo>
                  <a:lnTo>
                    <a:pt x="390" y="90"/>
                  </a:lnTo>
                  <a:lnTo>
                    <a:pt x="384" y="102"/>
                  </a:lnTo>
                  <a:lnTo>
                    <a:pt x="384" y="150"/>
                  </a:lnTo>
                  <a:lnTo>
                    <a:pt x="378" y="156"/>
                  </a:lnTo>
                  <a:lnTo>
                    <a:pt x="378" y="162"/>
                  </a:lnTo>
                  <a:lnTo>
                    <a:pt x="360" y="180"/>
                  </a:lnTo>
                  <a:lnTo>
                    <a:pt x="390" y="186"/>
                  </a:lnTo>
                  <a:lnTo>
                    <a:pt x="360" y="192"/>
                  </a:lnTo>
                  <a:lnTo>
                    <a:pt x="366" y="210"/>
                  </a:lnTo>
                  <a:lnTo>
                    <a:pt x="348" y="234"/>
                  </a:lnTo>
                  <a:lnTo>
                    <a:pt x="354" y="234"/>
                  </a:lnTo>
                  <a:lnTo>
                    <a:pt x="366" y="246"/>
                  </a:lnTo>
                  <a:lnTo>
                    <a:pt x="372" y="246"/>
                  </a:lnTo>
                  <a:lnTo>
                    <a:pt x="378" y="252"/>
                  </a:lnTo>
                  <a:lnTo>
                    <a:pt x="330" y="252"/>
                  </a:lnTo>
                  <a:lnTo>
                    <a:pt x="324" y="264"/>
                  </a:lnTo>
                  <a:lnTo>
                    <a:pt x="306" y="282"/>
                  </a:lnTo>
                  <a:lnTo>
                    <a:pt x="270" y="342"/>
                  </a:lnTo>
                  <a:lnTo>
                    <a:pt x="258" y="360"/>
                  </a:lnTo>
                  <a:lnTo>
                    <a:pt x="216" y="402"/>
                  </a:lnTo>
                  <a:lnTo>
                    <a:pt x="192" y="432"/>
                  </a:lnTo>
                  <a:lnTo>
                    <a:pt x="174" y="456"/>
                  </a:lnTo>
                  <a:lnTo>
                    <a:pt x="168" y="462"/>
                  </a:lnTo>
                  <a:lnTo>
                    <a:pt x="174" y="480"/>
                  </a:lnTo>
                  <a:lnTo>
                    <a:pt x="168" y="480"/>
                  </a:lnTo>
                  <a:lnTo>
                    <a:pt x="162" y="486"/>
                  </a:lnTo>
                  <a:lnTo>
                    <a:pt x="150" y="492"/>
                  </a:lnTo>
                  <a:lnTo>
                    <a:pt x="126" y="516"/>
                  </a:lnTo>
                  <a:lnTo>
                    <a:pt x="120" y="534"/>
                  </a:lnTo>
                  <a:lnTo>
                    <a:pt x="120" y="546"/>
                  </a:lnTo>
                  <a:lnTo>
                    <a:pt x="102" y="570"/>
                  </a:lnTo>
                  <a:lnTo>
                    <a:pt x="96" y="618"/>
                  </a:lnTo>
                  <a:lnTo>
                    <a:pt x="90" y="630"/>
                  </a:lnTo>
                  <a:lnTo>
                    <a:pt x="72" y="648"/>
                  </a:lnTo>
                  <a:lnTo>
                    <a:pt x="60" y="672"/>
                  </a:lnTo>
                  <a:lnTo>
                    <a:pt x="54" y="678"/>
                  </a:lnTo>
                  <a:lnTo>
                    <a:pt x="42" y="684"/>
                  </a:lnTo>
                  <a:lnTo>
                    <a:pt x="18" y="708"/>
                  </a:lnTo>
                  <a:lnTo>
                    <a:pt x="12" y="720"/>
                  </a:lnTo>
                  <a:lnTo>
                    <a:pt x="18" y="732"/>
                  </a:lnTo>
                  <a:lnTo>
                    <a:pt x="36" y="750"/>
                  </a:lnTo>
                  <a:lnTo>
                    <a:pt x="36" y="762"/>
                  </a:lnTo>
                  <a:lnTo>
                    <a:pt x="30" y="774"/>
                  </a:lnTo>
                  <a:lnTo>
                    <a:pt x="18" y="786"/>
                  </a:lnTo>
                  <a:lnTo>
                    <a:pt x="12" y="798"/>
                  </a:lnTo>
                  <a:lnTo>
                    <a:pt x="6" y="816"/>
                  </a:lnTo>
                  <a:lnTo>
                    <a:pt x="0" y="828"/>
                  </a:lnTo>
                  <a:lnTo>
                    <a:pt x="0" y="840"/>
                  </a:lnTo>
                  <a:lnTo>
                    <a:pt x="6" y="852"/>
                  </a:lnTo>
                  <a:lnTo>
                    <a:pt x="12" y="870"/>
                  </a:lnTo>
                  <a:lnTo>
                    <a:pt x="12" y="882"/>
                  </a:lnTo>
                  <a:lnTo>
                    <a:pt x="18" y="900"/>
                  </a:lnTo>
                  <a:lnTo>
                    <a:pt x="24" y="906"/>
                  </a:lnTo>
                  <a:lnTo>
                    <a:pt x="24" y="912"/>
                  </a:lnTo>
                  <a:lnTo>
                    <a:pt x="48" y="894"/>
                  </a:lnTo>
                  <a:lnTo>
                    <a:pt x="114" y="900"/>
                  </a:lnTo>
                  <a:lnTo>
                    <a:pt x="78" y="900"/>
                  </a:lnTo>
                  <a:lnTo>
                    <a:pt x="66" y="906"/>
                  </a:lnTo>
                  <a:lnTo>
                    <a:pt x="60" y="906"/>
                  </a:lnTo>
                  <a:lnTo>
                    <a:pt x="48" y="918"/>
                  </a:lnTo>
                  <a:lnTo>
                    <a:pt x="48" y="942"/>
                  </a:lnTo>
                  <a:lnTo>
                    <a:pt x="30" y="924"/>
                  </a:lnTo>
                  <a:lnTo>
                    <a:pt x="24" y="924"/>
                  </a:lnTo>
                  <a:lnTo>
                    <a:pt x="18" y="936"/>
                  </a:lnTo>
                  <a:lnTo>
                    <a:pt x="18" y="942"/>
                  </a:lnTo>
                  <a:lnTo>
                    <a:pt x="12" y="960"/>
                  </a:lnTo>
                  <a:lnTo>
                    <a:pt x="12" y="978"/>
                  </a:lnTo>
                  <a:lnTo>
                    <a:pt x="18" y="984"/>
                  </a:lnTo>
                  <a:lnTo>
                    <a:pt x="30" y="990"/>
                  </a:lnTo>
                  <a:lnTo>
                    <a:pt x="42" y="990"/>
                  </a:lnTo>
                  <a:lnTo>
                    <a:pt x="42" y="1002"/>
                  </a:lnTo>
                  <a:lnTo>
                    <a:pt x="36" y="1008"/>
                  </a:lnTo>
                  <a:lnTo>
                    <a:pt x="36" y="1014"/>
                  </a:lnTo>
                  <a:lnTo>
                    <a:pt x="18" y="1032"/>
                  </a:lnTo>
                  <a:lnTo>
                    <a:pt x="12" y="1044"/>
                  </a:lnTo>
                  <a:lnTo>
                    <a:pt x="12" y="1056"/>
                  </a:lnTo>
                  <a:lnTo>
                    <a:pt x="18" y="1068"/>
                  </a:lnTo>
                  <a:lnTo>
                    <a:pt x="24" y="1074"/>
                  </a:lnTo>
                  <a:lnTo>
                    <a:pt x="36" y="1098"/>
                  </a:lnTo>
                  <a:lnTo>
                    <a:pt x="42" y="1104"/>
                  </a:lnTo>
                  <a:lnTo>
                    <a:pt x="54" y="1128"/>
                  </a:lnTo>
                  <a:lnTo>
                    <a:pt x="60" y="1134"/>
                  </a:lnTo>
                  <a:lnTo>
                    <a:pt x="60" y="1146"/>
                  </a:lnTo>
                  <a:lnTo>
                    <a:pt x="54" y="1152"/>
                  </a:lnTo>
                  <a:lnTo>
                    <a:pt x="42" y="1176"/>
                  </a:lnTo>
                  <a:lnTo>
                    <a:pt x="36" y="1182"/>
                  </a:lnTo>
                  <a:lnTo>
                    <a:pt x="36" y="1188"/>
                  </a:lnTo>
                  <a:lnTo>
                    <a:pt x="42" y="1194"/>
                  </a:lnTo>
                  <a:lnTo>
                    <a:pt x="54" y="1194"/>
                  </a:lnTo>
                  <a:lnTo>
                    <a:pt x="72" y="1200"/>
                  </a:lnTo>
                  <a:lnTo>
                    <a:pt x="102" y="1200"/>
                  </a:lnTo>
                  <a:lnTo>
                    <a:pt x="102" y="1212"/>
                  </a:lnTo>
                  <a:lnTo>
                    <a:pt x="120" y="1230"/>
                  </a:lnTo>
                  <a:lnTo>
                    <a:pt x="132" y="1230"/>
                  </a:lnTo>
                  <a:lnTo>
                    <a:pt x="144" y="1224"/>
                  </a:lnTo>
                  <a:lnTo>
                    <a:pt x="150" y="1224"/>
                  </a:lnTo>
                  <a:lnTo>
                    <a:pt x="162" y="1218"/>
                  </a:lnTo>
                  <a:lnTo>
                    <a:pt x="168" y="1248"/>
                  </a:lnTo>
                  <a:lnTo>
                    <a:pt x="174" y="1248"/>
                  </a:lnTo>
                  <a:lnTo>
                    <a:pt x="180" y="1254"/>
                  </a:lnTo>
                  <a:lnTo>
                    <a:pt x="204" y="1266"/>
                  </a:lnTo>
                  <a:lnTo>
                    <a:pt x="216" y="1290"/>
                  </a:lnTo>
                  <a:lnTo>
                    <a:pt x="216" y="1314"/>
                  </a:lnTo>
                  <a:lnTo>
                    <a:pt x="210" y="1338"/>
                  </a:lnTo>
                  <a:lnTo>
                    <a:pt x="216" y="1344"/>
                  </a:lnTo>
                  <a:lnTo>
                    <a:pt x="360" y="1338"/>
                  </a:lnTo>
                  <a:lnTo>
                    <a:pt x="354" y="1344"/>
                  </a:lnTo>
                  <a:lnTo>
                    <a:pt x="354" y="1350"/>
                  </a:lnTo>
                  <a:lnTo>
                    <a:pt x="360" y="1350"/>
                  </a:lnTo>
                  <a:lnTo>
                    <a:pt x="570" y="1446"/>
                  </a:lnTo>
                  <a:lnTo>
                    <a:pt x="774" y="1446"/>
                  </a:lnTo>
                  <a:lnTo>
                    <a:pt x="774" y="1440"/>
                  </a:lnTo>
                  <a:lnTo>
                    <a:pt x="780" y="1428"/>
                  </a:lnTo>
                  <a:lnTo>
                    <a:pt x="780" y="1410"/>
                  </a:lnTo>
                  <a:lnTo>
                    <a:pt x="786" y="1404"/>
                  </a:lnTo>
                  <a:lnTo>
                    <a:pt x="900" y="1404"/>
                  </a:lnTo>
                  <a:lnTo>
                    <a:pt x="912" y="1416"/>
                  </a:lnTo>
                  <a:lnTo>
                    <a:pt x="912" y="1440"/>
                  </a:lnTo>
                  <a:lnTo>
                    <a:pt x="942" y="1452"/>
                  </a:lnTo>
                  <a:lnTo>
                    <a:pt x="948" y="1482"/>
                  </a:lnTo>
                  <a:lnTo>
                    <a:pt x="960" y="1482"/>
                  </a:lnTo>
                  <a:lnTo>
                    <a:pt x="972" y="1488"/>
                  </a:lnTo>
                  <a:lnTo>
                    <a:pt x="984" y="1500"/>
                  </a:lnTo>
                  <a:lnTo>
                    <a:pt x="990" y="1512"/>
                  </a:lnTo>
                  <a:lnTo>
                    <a:pt x="990" y="1554"/>
                  </a:lnTo>
                  <a:lnTo>
                    <a:pt x="984" y="1566"/>
                  </a:lnTo>
                  <a:lnTo>
                    <a:pt x="984" y="1578"/>
                  </a:lnTo>
                  <a:lnTo>
                    <a:pt x="1014" y="1608"/>
                  </a:lnTo>
                  <a:lnTo>
                    <a:pt x="1026" y="1614"/>
                  </a:lnTo>
                  <a:lnTo>
                    <a:pt x="1044" y="1626"/>
                  </a:lnTo>
                  <a:lnTo>
                    <a:pt x="1056" y="1626"/>
                  </a:lnTo>
                  <a:lnTo>
                    <a:pt x="1080" y="1614"/>
                  </a:lnTo>
                  <a:lnTo>
                    <a:pt x="1092" y="1602"/>
                  </a:lnTo>
                  <a:lnTo>
                    <a:pt x="1104" y="1578"/>
                  </a:lnTo>
                  <a:lnTo>
                    <a:pt x="1116" y="1566"/>
                  </a:lnTo>
                  <a:lnTo>
                    <a:pt x="1134" y="1566"/>
                  </a:lnTo>
                  <a:lnTo>
                    <a:pt x="1134" y="1560"/>
                  </a:lnTo>
                  <a:lnTo>
                    <a:pt x="1152" y="1566"/>
                  </a:lnTo>
                  <a:lnTo>
                    <a:pt x="1194" y="1566"/>
                  </a:lnTo>
                  <a:lnTo>
                    <a:pt x="1200" y="1578"/>
                  </a:lnTo>
                  <a:lnTo>
                    <a:pt x="1206" y="1584"/>
                  </a:lnTo>
                  <a:lnTo>
                    <a:pt x="1212" y="1596"/>
                  </a:lnTo>
                  <a:lnTo>
                    <a:pt x="1224" y="1608"/>
                  </a:lnTo>
                  <a:lnTo>
                    <a:pt x="1230" y="1620"/>
                  </a:lnTo>
                  <a:lnTo>
                    <a:pt x="1242" y="1632"/>
                  </a:lnTo>
                  <a:lnTo>
                    <a:pt x="1242" y="1656"/>
                  </a:lnTo>
                  <a:lnTo>
                    <a:pt x="1236" y="1668"/>
                  </a:lnTo>
                  <a:lnTo>
                    <a:pt x="1236" y="1680"/>
                  </a:lnTo>
                  <a:lnTo>
                    <a:pt x="1242" y="1692"/>
                  </a:lnTo>
                  <a:lnTo>
                    <a:pt x="1254" y="1698"/>
                  </a:lnTo>
                  <a:lnTo>
                    <a:pt x="1254" y="1722"/>
                  </a:lnTo>
                  <a:lnTo>
                    <a:pt x="1260" y="1728"/>
                  </a:lnTo>
                  <a:lnTo>
                    <a:pt x="1272" y="1734"/>
                  </a:lnTo>
                  <a:lnTo>
                    <a:pt x="1284" y="1746"/>
                  </a:lnTo>
                  <a:lnTo>
                    <a:pt x="1284" y="1752"/>
                  </a:lnTo>
                  <a:lnTo>
                    <a:pt x="1278" y="1758"/>
                  </a:lnTo>
                  <a:lnTo>
                    <a:pt x="1272" y="1758"/>
                  </a:lnTo>
                  <a:lnTo>
                    <a:pt x="1272" y="1794"/>
                  </a:lnTo>
                  <a:lnTo>
                    <a:pt x="1284" y="1806"/>
                  </a:lnTo>
                  <a:lnTo>
                    <a:pt x="1284" y="1836"/>
                  </a:lnTo>
                  <a:lnTo>
                    <a:pt x="1296" y="1848"/>
                  </a:lnTo>
                  <a:lnTo>
                    <a:pt x="1314" y="1854"/>
                  </a:lnTo>
                  <a:lnTo>
                    <a:pt x="1326" y="1854"/>
                  </a:lnTo>
                  <a:lnTo>
                    <a:pt x="1338" y="1866"/>
                  </a:lnTo>
                  <a:lnTo>
                    <a:pt x="1380" y="1866"/>
                  </a:lnTo>
                  <a:lnTo>
                    <a:pt x="1380" y="1872"/>
                  </a:lnTo>
                  <a:lnTo>
                    <a:pt x="1386" y="1884"/>
                  </a:lnTo>
                  <a:lnTo>
                    <a:pt x="1410" y="1884"/>
                  </a:lnTo>
                  <a:lnTo>
                    <a:pt x="1410" y="1878"/>
                  </a:lnTo>
                  <a:lnTo>
                    <a:pt x="1398" y="1806"/>
                  </a:lnTo>
                  <a:lnTo>
                    <a:pt x="1416" y="1788"/>
                  </a:lnTo>
                  <a:lnTo>
                    <a:pt x="1398" y="1776"/>
                  </a:lnTo>
                  <a:lnTo>
                    <a:pt x="1398" y="1758"/>
                  </a:lnTo>
                  <a:lnTo>
                    <a:pt x="1404" y="1764"/>
                  </a:lnTo>
                  <a:lnTo>
                    <a:pt x="1422" y="1764"/>
                  </a:lnTo>
                  <a:lnTo>
                    <a:pt x="1428" y="1758"/>
                  </a:lnTo>
                  <a:lnTo>
                    <a:pt x="1428" y="1728"/>
                  </a:lnTo>
                  <a:lnTo>
                    <a:pt x="1452" y="1722"/>
                  </a:lnTo>
                  <a:lnTo>
                    <a:pt x="1458" y="1698"/>
                  </a:lnTo>
                  <a:lnTo>
                    <a:pt x="1476" y="1704"/>
                  </a:lnTo>
                  <a:lnTo>
                    <a:pt x="1494" y="1692"/>
                  </a:lnTo>
                  <a:lnTo>
                    <a:pt x="1488" y="1668"/>
                  </a:lnTo>
                  <a:lnTo>
                    <a:pt x="1500" y="1680"/>
                  </a:lnTo>
                  <a:lnTo>
                    <a:pt x="1500" y="1668"/>
                  </a:lnTo>
                  <a:lnTo>
                    <a:pt x="1506" y="1656"/>
                  </a:lnTo>
                  <a:lnTo>
                    <a:pt x="1512" y="1650"/>
                  </a:lnTo>
                  <a:lnTo>
                    <a:pt x="1518" y="1650"/>
                  </a:lnTo>
                  <a:lnTo>
                    <a:pt x="1524" y="1656"/>
                  </a:lnTo>
                  <a:lnTo>
                    <a:pt x="1524" y="1668"/>
                  </a:lnTo>
                  <a:lnTo>
                    <a:pt x="1542" y="1668"/>
                  </a:lnTo>
                  <a:lnTo>
                    <a:pt x="1554" y="1662"/>
                  </a:lnTo>
                  <a:lnTo>
                    <a:pt x="1572" y="1656"/>
                  </a:lnTo>
                  <a:lnTo>
                    <a:pt x="1596" y="1644"/>
                  </a:lnTo>
                  <a:lnTo>
                    <a:pt x="1602" y="1638"/>
                  </a:lnTo>
                  <a:lnTo>
                    <a:pt x="1608" y="1626"/>
                  </a:lnTo>
                  <a:lnTo>
                    <a:pt x="1620" y="1620"/>
                  </a:lnTo>
                  <a:lnTo>
                    <a:pt x="1626" y="1608"/>
                  </a:lnTo>
                  <a:lnTo>
                    <a:pt x="1632" y="1602"/>
                  </a:lnTo>
                  <a:lnTo>
                    <a:pt x="1632" y="1590"/>
                  </a:lnTo>
                  <a:lnTo>
                    <a:pt x="1626" y="1584"/>
                  </a:lnTo>
                  <a:lnTo>
                    <a:pt x="1626" y="1566"/>
                  </a:lnTo>
                  <a:lnTo>
                    <a:pt x="1632" y="1566"/>
                  </a:lnTo>
                  <a:lnTo>
                    <a:pt x="1656" y="1578"/>
                  </a:lnTo>
                  <a:lnTo>
                    <a:pt x="1662" y="1584"/>
                  </a:lnTo>
                  <a:lnTo>
                    <a:pt x="1674" y="1590"/>
                  </a:lnTo>
                  <a:lnTo>
                    <a:pt x="1686" y="1590"/>
                  </a:lnTo>
                  <a:lnTo>
                    <a:pt x="1692" y="1584"/>
                  </a:lnTo>
                  <a:lnTo>
                    <a:pt x="1710" y="1548"/>
                  </a:lnTo>
                  <a:lnTo>
                    <a:pt x="1716" y="1548"/>
                  </a:lnTo>
                  <a:lnTo>
                    <a:pt x="1734" y="1566"/>
                  </a:lnTo>
                  <a:lnTo>
                    <a:pt x="1746" y="1566"/>
                  </a:lnTo>
                  <a:lnTo>
                    <a:pt x="1752" y="1560"/>
                  </a:lnTo>
                  <a:lnTo>
                    <a:pt x="1758" y="1548"/>
                  </a:lnTo>
                  <a:lnTo>
                    <a:pt x="1764" y="1542"/>
                  </a:lnTo>
                  <a:lnTo>
                    <a:pt x="1770" y="1554"/>
                  </a:lnTo>
                  <a:lnTo>
                    <a:pt x="1776" y="1560"/>
                  </a:lnTo>
                  <a:lnTo>
                    <a:pt x="1782" y="1572"/>
                  </a:lnTo>
                  <a:lnTo>
                    <a:pt x="1794" y="1578"/>
                  </a:lnTo>
                  <a:lnTo>
                    <a:pt x="1800" y="1584"/>
                  </a:lnTo>
                  <a:lnTo>
                    <a:pt x="1818" y="1584"/>
                  </a:lnTo>
                  <a:lnTo>
                    <a:pt x="1824" y="1578"/>
                  </a:lnTo>
                  <a:lnTo>
                    <a:pt x="1830" y="1566"/>
                  </a:lnTo>
                  <a:lnTo>
                    <a:pt x="1842" y="1554"/>
                  </a:lnTo>
                  <a:lnTo>
                    <a:pt x="1848" y="1554"/>
                  </a:lnTo>
                  <a:lnTo>
                    <a:pt x="1860" y="1560"/>
                  </a:lnTo>
                  <a:lnTo>
                    <a:pt x="1872" y="1572"/>
                  </a:lnTo>
                  <a:lnTo>
                    <a:pt x="1872" y="1584"/>
                  </a:lnTo>
                  <a:lnTo>
                    <a:pt x="1878" y="1596"/>
                  </a:lnTo>
                  <a:lnTo>
                    <a:pt x="1878" y="1614"/>
                  </a:lnTo>
                  <a:lnTo>
                    <a:pt x="1914" y="1614"/>
                  </a:lnTo>
                  <a:lnTo>
                    <a:pt x="1920" y="1620"/>
                  </a:lnTo>
                  <a:lnTo>
                    <a:pt x="1926" y="1620"/>
                  </a:lnTo>
                  <a:lnTo>
                    <a:pt x="1926" y="1608"/>
                  </a:lnTo>
                  <a:lnTo>
                    <a:pt x="1932" y="1602"/>
                  </a:lnTo>
                  <a:lnTo>
                    <a:pt x="1932" y="1608"/>
                  </a:lnTo>
                  <a:lnTo>
                    <a:pt x="1956" y="1632"/>
                  </a:lnTo>
                  <a:lnTo>
                    <a:pt x="1962" y="1626"/>
                  </a:lnTo>
                  <a:lnTo>
                    <a:pt x="1968" y="1614"/>
                  </a:lnTo>
                  <a:lnTo>
                    <a:pt x="1968" y="1596"/>
                  </a:lnTo>
                  <a:lnTo>
                    <a:pt x="1962" y="1584"/>
                  </a:lnTo>
                  <a:lnTo>
                    <a:pt x="1980" y="1590"/>
                  </a:lnTo>
                  <a:lnTo>
                    <a:pt x="1992" y="1608"/>
                  </a:lnTo>
                  <a:lnTo>
                    <a:pt x="2004" y="1614"/>
                  </a:lnTo>
                  <a:lnTo>
                    <a:pt x="2004" y="1626"/>
                  </a:lnTo>
                  <a:lnTo>
                    <a:pt x="2010" y="1626"/>
                  </a:lnTo>
                  <a:lnTo>
                    <a:pt x="2016" y="1632"/>
                  </a:lnTo>
                  <a:lnTo>
                    <a:pt x="2028" y="1632"/>
                  </a:lnTo>
                  <a:lnTo>
                    <a:pt x="2034" y="1626"/>
                  </a:lnTo>
                  <a:lnTo>
                    <a:pt x="2034" y="1620"/>
                  </a:lnTo>
                  <a:lnTo>
                    <a:pt x="2028" y="1608"/>
                  </a:lnTo>
                  <a:lnTo>
                    <a:pt x="2022" y="1602"/>
                  </a:lnTo>
                  <a:lnTo>
                    <a:pt x="2010" y="1596"/>
                  </a:lnTo>
                  <a:lnTo>
                    <a:pt x="2004" y="1590"/>
                  </a:lnTo>
                  <a:lnTo>
                    <a:pt x="1998" y="1578"/>
                  </a:lnTo>
                  <a:lnTo>
                    <a:pt x="2010" y="1578"/>
                  </a:lnTo>
                  <a:lnTo>
                    <a:pt x="2022" y="1566"/>
                  </a:lnTo>
                  <a:lnTo>
                    <a:pt x="2022" y="1554"/>
                  </a:lnTo>
                  <a:lnTo>
                    <a:pt x="2016" y="1548"/>
                  </a:lnTo>
                  <a:lnTo>
                    <a:pt x="1968" y="1548"/>
                  </a:lnTo>
                  <a:lnTo>
                    <a:pt x="1962" y="1542"/>
                  </a:lnTo>
                  <a:lnTo>
                    <a:pt x="1962" y="1530"/>
                  </a:lnTo>
                  <a:lnTo>
                    <a:pt x="1968" y="1524"/>
                  </a:lnTo>
                  <a:lnTo>
                    <a:pt x="1986" y="1524"/>
                  </a:lnTo>
                  <a:lnTo>
                    <a:pt x="1998" y="1530"/>
                  </a:lnTo>
                  <a:lnTo>
                    <a:pt x="2004" y="1530"/>
                  </a:lnTo>
                  <a:lnTo>
                    <a:pt x="2016" y="1536"/>
                  </a:lnTo>
                  <a:lnTo>
                    <a:pt x="2028" y="1536"/>
                  </a:lnTo>
                  <a:lnTo>
                    <a:pt x="2064" y="1518"/>
                  </a:lnTo>
                  <a:lnTo>
                    <a:pt x="2070" y="1512"/>
                  </a:lnTo>
                  <a:lnTo>
                    <a:pt x="2082" y="1512"/>
                  </a:lnTo>
                  <a:lnTo>
                    <a:pt x="2082" y="1518"/>
                  </a:lnTo>
                  <a:lnTo>
                    <a:pt x="2106" y="1518"/>
                  </a:lnTo>
                  <a:lnTo>
                    <a:pt x="2118" y="1512"/>
                  </a:lnTo>
                  <a:lnTo>
                    <a:pt x="2124" y="1512"/>
                  </a:lnTo>
                  <a:lnTo>
                    <a:pt x="2130" y="1506"/>
                  </a:lnTo>
                  <a:lnTo>
                    <a:pt x="2130" y="1500"/>
                  </a:lnTo>
                  <a:lnTo>
                    <a:pt x="2136" y="1488"/>
                  </a:lnTo>
                  <a:lnTo>
                    <a:pt x="2136" y="1482"/>
                  </a:lnTo>
                  <a:lnTo>
                    <a:pt x="2142" y="1482"/>
                  </a:lnTo>
                  <a:lnTo>
                    <a:pt x="2142" y="1488"/>
                  </a:lnTo>
                  <a:lnTo>
                    <a:pt x="2148" y="1500"/>
                  </a:lnTo>
                  <a:lnTo>
                    <a:pt x="2148" y="1524"/>
                  </a:lnTo>
                  <a:lnTo>
                    <a:pt x="2154" y="1524"/>
                  </a:lnTo>
                  <a:lnTo>
                    <a:pt x="2160" y="1518"/>
                  </a:lnTo>
                  <a:lnTo>
                    <a:pt x="2172" y="1512"/>
                  </a:lnTo>
                  <a:lnTo>
                    <a:pt x="2190" y="1512"/>
                  </a:lnTo>
                  <a:lnTo>
                    <a:pt x="2202" y="1506"/>
                  </a:lnTo>
                  <a:lnTo>
                    <a:pt x="2214" y="1506"/>
                  </a:lnTo>
                  <a:lnTo>
                    <a:pt x="2226" y="1512"/>
                  </a:lnTo>
                  <a:lnTo>
                    <a:pt x="2232" y="1524"/>
                  </a:lnTo>
                  <a:lnTo>
                    <a:pt x="2232" y="1506"/>
                  </a:lnTo>
                  <a:lnTo>
                    <a:pt x="2244" y="1506"/>
                  </a:lnTo>
                  <a:lnTo>
                    <a:pt x="2256" y="1518"/>
                  </a:lnTo>
                  <a:lnTo>
                    <a:pt x="2256" y="1530"/>
                  </a:lnTo>
                  <a:lnTo>
                    <a:pt x="2286" y="1524"/>
                  </a:lnTo>
                  <a:lnTo>
                    <a:pt x="2280" y="1536"/>
                  </a:lnTo>
                  <a:lnTo>
                    <a:pt x="2280" y="1548"/>
                  </a:lnTo>
                  <a:lnTo>
                    <a:pt x="2286" y="1554"/>
                  </a:lnTo>
                  <a:lnTo>
                    <a:pt x="2286" y="1566"/>
                  </a:lnTo>
                  <a:lnTo>
                    <a:pt x="2298" y="1578"/>
                  </a:lnTo>
                  <a:lnTo>
                    <a:pt x="2310" y="1578"/>
                  </a:lnTo>
                  <a:lnTo>
                    <a:pt x="2328" y="1572"/>
                  </a:lnTo>
                  <a:lnTo>
                    <a:pt x="2352" y="1548"/>
                  </a:lnTo>
                  <a:lnTo>
                    <a:pt x="2370" y="1542"/>
                  </a:lnTo>
                  <a:lnTo>
                    <a:pt x="2382" y="1542"/>
                  </a:lnTo>
                  <a:lnTo>
                    <a:pt x="2394" y="1548"/>
                  </a:lnTo>
                  <a:lnTo>
                    <a:pt x="2400" y="1554"/>
                  </a:lnTo>
                  <a:lnTo>
                    <a:pt x="2418" y="1590"/>
                  </a:lnTo>
                  <a:lnTo>
                    <a:pt x="2418" y="1602"/>
                  </a:lnTo>
                  <a:lnTo>
                    <a:pt x="2424" y="1608"/>
                  </a:lnTo>
                  <a:lnTo>
                    <a:pt x="2436" y="1614"/>
                  </a:lnTo>
                  <a:lnTo>
                    <a:pt x="2466" y="1614"/>
                  </a:lnTo>
                  <a:lnTo>
                    <a:pt x="2460" y="1656"/>
                  </a:lnTo>
                  <a:lnTo>
                    <a:pt x="2460" y="1662"/>
                  </a:lnTo>
                  <a:lnTo>
                    <a:pt x="2454" y="1668"/>
                  </a:lnTo>
                  <a:lnTo>
                    <a:pt x="2436" y="1704"/>
                  </a:lnTo>
                  <a:lnTo>
                    <a:pt x="2436" y="1710"/>
                  </a:lnTo>
                  <a:lnTo>
                    <a:pt x="2448" y="1722"/>
                  </a:lnTo>
                  <a:lnTo>
                    <a:pt x="2454" y="1722"/>
                  </a:lnTo>
                  <a:lnTo>
                    <a:pt x="2460" y="1734"/>
                  </a:lnTo>
                  <a:lnTo>
                    <a:pt x="2436" y="1758"/>
                  </a:lnTo>
                  <a:lnTo>
                    <a:pt x="2454" y="1806"/>
                  </a:lnTo>
                  <a:lnTo>
                    <a:pt x="2472" y="1788"/>
                  </a:lnTo>
                  <a:lnTo>
                    <a:pt x="2478" y="1788"/>
                  </a:lnTo>
                  <a:lnTo>
                    <a:pt x="2478" y="1794"/>
                  </a:lnTo>
                  <a:lnTo>
                    <a:pt x="2472" y="1800"/>
                  </a:lnTo>
                  <a:lnTo>
                    <a:pt x="2466" y="1812"/>
                  </a:lnTo>
                  <a:lnTo>
                    <a:pt x="2466" y="1818"/>
                  </a:lnTo>
                  <a:lnTo>
                    <a:pt x="2460" y="1830"/>
                  </a:lnTo>
                  <a:lnTo>
                    <a:pt x="2478" y="1830"/>
                  </a:lnTo>
                  <a:lnTo>
                    <a:pt x="2478" y="1878"/>
                  </a:lnTo>
                  <a:lnTo>
                    <a:pt x="2496" y="1878"/>
                  </a:lnTo>
                  <a:lnTo>
                    <a:pt x="2502" y="1884"/>
                  </a:lnTo>
                  <a:lnTo>
                    <a:pt x="2508" y="1884"/>
                  </a:lnTo>
                  <a:lnTo>
                    <a:pt x="2508" y="1896"/>
                  </a:lnTo>
                  <a:lnTo>
                    <a:pt x="2502" y="1908"/>
                  </a:lnTo>
                  <a:lnTo>
                    <a:pt x="2502" y="1920"/>
                  </a:lnTo>
                  <a:lnTo>
                    <a:pt x="2526" y="1944"/>
                  </a:lnTo>
                  <a:lnTo>
                    <a:pt x="2532" y="1944"/>
                  </a:lnTo>
                  <a:lnTo>
                    <a:pt x="2538" y="1938"/>
                  </a:lnTo>
                  <a:lnTo>
                    <a:pt x="2550" y="1932"/>
                  </a:lnTo>
                  <a:lnTo>
                    <a:pt x="2556" y="1932"/>
                  </a:lnTo>
                  <a:lnTo>
                    <a:pt x="2562" y="1926"/>
                  </a:lnTo>
                  <a:lnTo>
                    <a:pt x="2568" y="1914"/>
                  </a:lnTo>
                  <a:lnTo>
                    <a:pt x="2568" y="1896"/>
                  </a:lnTo>
                  <a:lnTo>
                    <a:pt x="2586" y="1896"/>
                  </a:lnTo>
                  <a:lnTo>
                    <a:pt x="2586" y="1872"/>
                  </a:lnTo>
                  <a:lnTo>
                    <a:pt x="2604" y="1836"/>
                  </a:lnTo>
                  <a:lnTo>
                    <a:pt x="2604" y="1818"/>
                  </a:lnTo>
                  <a:lnTo>
                    <a:pt x="2610" y="1806"/>
                  </a:lnTo>
                  <a:lnTo>
                    <a:pt x="2610" y="1794"/>
                  </a:lnTo>
                  <a:lnTo>
                    <a:pt x="2604" y="1782"/>
                  </a:lnTo>
                  <a:lnTo>
                    <a:pt x="2604" y="1770"/>
                  </a:lnTo>
                  <a:lnTo>
                    <a:pt x="2598" y="1752"/>
                  </a:lnTo>
                  <a:lnTo>
                    <a:pt x="2592" y="1740"/>
                  </a:lnTo>
                  <a:lnTo>
                    <a:pt x="2586" y="1722"/>
                  </a:lnTo>
                  <a:lnTo>
                    <a:pt x="2586" y="1704"/>
                  </a:lnTo>
                  <a:lnTo>
                    <a:pt x="2592" y="1686"/>
                  </a:lnTo>
                  <a:lnTo>
                    <a:pt x="2598" y="1674"/>
                  </a:lnTo>
                  <a:lnTo>
                    <a:pt x="2598" y="1644"/>
                  </a:lnTo>
                  <a:lnTo>
                    <a:pt x="2592" y="1626"/>
                  </a:lnTo>
                  <a:lnTo>
                    <a:pt x="2586" y="1614"/>
                  </a:lnTo>
                  <a:lnTo>
                    <a:pt x="2580" y="1596"/>
                  </a:lnTo>
                  <a:lnTo>
                    <a:pt x="2574" y="1584"/>
                  </a:lnTo>
                  <a:lnTo>
                    <a:pt x="2574" y="1518"/>
                  </a:lnTo>
                  <a:lnTo>
                    <a:pt x="2580" y="1488"/>
                  </a:lnTo>
                  <a:lnTo>
                    <a:pt x="2586" y="1470"/>
                  </a:lnTo>
                  <a:lnTo>
                    <a:pt x="2598" y="1452"/>
                  </a:lnTo>
                  <a:lnTo>
                    <a:pt x="2604" y="1440"/>
                  </a:lnTo>
                  <a:lnTo>
                    <a:pt x="2610" y="1422"/>
                  </a:lnTo>
                  <a:lnTo>
                    <a:pt x="2616" y="1416"/>
                  </a:lnTo>
                  <a:lnTo>
                    <a:pt x="2616" y="1410"/>
                  </a:lnTo>
                  <a:lnTo>
                    <a:pt x="2628" y="1398"/>
                  </a:lnTo>
                  <a:lnTo>
                    <a:pt x="2652" y="1380"/>
                  </a:lnTo>
                  <a:lnTo>
                    <a:pt x="2658" y="1356"/>
                  </a:lnTo>
                  <a:lnTo>
                    <a:pt x="2670" y="1368"/>
                  </a:lnTo>
                  <a:lnTo>
                    <a:pt x="2676" y="1344"/>
                  </a:lnTo>
                  <a:lnTo>
                    <a:pt x="2730" y="1344"/>
                  </a:lnTo>
                  <a:lnTo>
                    <a:pt x="2730" y="1314"/>
                  </a:lnTo>
                  <a:lnTo>
                    <a:pt x="2748" y="1320"/>
                  </a:lnTo>
                  <a:lnTo>
                    <a:pt x="2754" y="1308"/>
                  </a:lnTo>
                  <a:lnTo>
                    <a:pt x="2772" y="1308"/>
                  </a:lnTo>
                  <a:lnTo>
                    <a:pt x="2796" y="1278"/>
                  </a:lnTo>
                  <a:lnTo>
                    <a:pt x="2796" y="1272"/>
                  </a:lnTo>
                  <a:lnTo>
                    <a:pt x="2802" y="1266"/>
                  </a:lnTo>
                  <a:lnTo>
                    <a:pt x="2814" y="1242"/>
                  </a:lnTo>
                  <a:lnTo>
                    <a:pt x="2832" y="1236"/>
                  </a:lnTo>
                  <a:lnTo>
                    <a:pt x="2862" y="1236"/>
                  </a:lnTo>
                  <a:lnTo>
                    <a:pt x="2874" y="1242"/>
                  </a:lnTo>
                  <a:lnTo>
                    <a:pt x="2886" y="1242"/>
                  </a:lnTo>
                  <a:lnTo>
                    <a:pt x="2892" y="1236"/>
                  </a:lnTo>
                  <a:lnTo>
                    <a:pt x="2904" y="1212"/>
                  </a:lnTo>
                  <a:lnTo>
                    <a:pt x="2910" y="1206"/>
                  </a:lnTo>
                  <a:lnTo>
                    <a:pt x="2916" y="1194"/>
                  </a:lnTo>
                  <a:lnTo>
                    <a:pt x="2928" y="1200"/>
                  </a:lnTo>
                  <a:lnTo>
                    <a:pt x="2934" y="1176"/>
                  </a:lnTo>
                  <a:lnTo>
                    <a:pt x="3018" y="1170"/>
                  </a:lnTo>
                  <a:lnTo>
                    <a:pt x="3024" y="1146"/>
                  </a:lnTo>
                  <a:lnTo>
                    <a:pt x="2982" y="1152"/>
                  </a:lnTo>
                  <a:lnTo>
                    <a:pt x="2988" y="1146"/>
                  </a:lnTo>
                  <a:lnTo>
                    <a:pt x="3000" y="1140"/>
                  </a:lnTo>
                  <a:lnTo>
                    <a:pt x="3006" y="1140"/>
                  </a:lnTo>
                  <a:lnTo>
                    <a:pt x="3006" y="1134"/>
                  </a:lnTo>
                  <a:lnTo>
                    <a:pt x="3000" y="1128"/>
                  </a:lnTo>
                  <a:lnTo>
                    <a:pt x="2994" y="1116"/>
                  </a:lnTo>
                  <a:lnTo>
                    <a:pt x="2988" y="1110"/>
                  </a:lnTo>
                  <a:lnTo>
                    <a:pt x="3024" y="1104"/>
                  </a:lnTo>
                  <a:lnTo>
                    <a:pt x="3048" y="1116"/>
                  </a:lnTo>
                  <a:lnTo>
                    <a:pt x="3078" y="1080"/>
                  </a:lnTo>
                  <a:lnTo>
                    <a:pt x="3024" y="1074"/>
                  </a:lnTo>
                  <a:lnTo>
                    <a:pt x="3024" y="1050"/>
                  </a:lnTo>
                  <a:lnTo>
                    <a:pt x="3036" y="1062"/>
                  </a:lnTo>
                  <a:lnTo>
                    <a:pt x="3078" y="1050"/>
                  </a:lnTo>
                  <a:lnTo>
                    <a:pt x="3084" y="990"/>
                  </a:lnTo>
                  <a:lnTo>
                    <a:pt x="3054" y="1002"/>
                  </a:lnTo>
                  <a:lnTo>
                    <a:pt x="3048" y="972"/>
                  </a:lnTo>
                  <a:lnTo>
                    <a:pt x="3024" y="960"/>
                  </a:lnTo>
                  <a:lnTo>
                    <a:pt x="3072" y="978"/>
                  </a:lnTo>
                  <a:lnTo>
                    <a:pt x="3078" y="972"/>
                  </a:lnTo>
                  <a:lnTo>
                    <a:pt x="3060" y="954"/>
                  </a:lnTo>
                  <a:lnTo>
                    <a:pt x="3090" y="954"/>
                  </a:lnTo>
                  <a:lnTo>
                    <a:pt x="3084" y="948"/>
                  </a:lnTo>
                  <a:lnTo>
                    <a:pt x="3078" y="936"/>
                  </a:lnTo>
                  <a:lnTo>
                    <a:pt x="3060" y="918"/>
                  </a:lnTo>
                  <a:lnTo>
                    <a:pt x="3054" y="906"/>
                  </a:lnTo>
                  <a:lnTo>
                    <a:pt x="3054" y="894"/>
                  </a:lnTo>
                  <a:lnTo>
                    <a:pt x="3060" y="888"/>
                  </a:lnTo>
                  <a:lnTo>
                    <a:pt x="3042" y="870"/>
                  </a:lnTo>
                  <a:lnTo>
                    <a:pt x="3042" y="864"/>
                  </a:lnTo>
                  <a:lnTo>
                    <a:pt x="3048" y="864"/>
                  </a:lnTo>
                  <a:lnTo>
                    <a:pt x="3066" y="846"/>
                  </a:lnTo>
                  <a:lnTo>
                    <a:pt x="3072" y="846"/>
                  </a:lnTo>
                  <a:lnTo>
                    <a:pt x="3066" y="870"/>
                  </a:lnTo>
                  <a:lnTo>
                    <a:pt x="3096" y="894"/>
                  </a:lnTo>
                  <a:lnTo>
                    <a:pt x="3096" y="888"/>
                  </a:lnTo>
                  <a:lnTo>
                    <a:pt x="3102" y="882"/>
                  </a:lnTo>
                  <a:lnTo>
                    <a:pt x="3102" y="864"/>
                  </a:lnTo>
                  <a:lnTo>
                    <a:pt x="3108" y="852"/>
                  </a:lnTo>
                  <a:lnTo>
                    <a:pt x="3108" y="834"/>
                  </a:lnTo>
                  <a:lnTo>
                    <a:pt x="3114" y="822"/>
                  </a:lnTo>
                  <a:lnTo>
                    <a:pt x="3144" y="792"/>
                  </a:lnTo>
                  <a:lnTo>
                    <a:pt x="3156" y="786"/>
                  </a:lnTo>
                  <a:lnTo>
                    <a:pt x="3162" y="786"/>
                  </a:lnTo>
                  <a:lnTo>
                    <a:pt x="3162" y="792"/>
                  </a:lnTo>
                  <a:lnTo>
                    <a:pt x="3150" y="816"/>
                  </a:lnTo>
                  <a:lnTo>
                    <a:pt x="3132" y="834"/>
                  </a:lnTo>
                  <a:lnTo>
                    <a:pt x="3126" y="846"/>
                  </a:lnTo>
                  <a:lnTo>
                    <a:pt x="3120" y="882"/>
                  </a:lnTo>
                  <a:lnTo>
                    <a:pt x="3138" y="882"/>
                  </a:lnTo>
                  <a:lnTo>
                    <a:pt x="3138" y="894"/>
                  </a:lnTo>
                  <a:lnTo>
                    <a:pt x="3132" y="906"/>
                  </a:lnTo>
                  <a:lnTo>
                    <a:pt x="3132" y="918"/>
                  </a:lnTo>
                  <a:lnTo>
                    <a:pt x="3114" y="936"/>
                  </a:lnTo>
                  <a:lnTo>
                    <a:pt x="3102" y="960"/>
                  </a:lnTo>
                  <a:lnTo>
                    <a:pt x="3102" y="978"/>
                  </a:lnTo>
                  <a:lnTo>
                    <a:pt x="3126" y="954"/>
                  </a:lnTo>
                  <a:lnTo>
                    <a:pt x="3132" y="942"/>
                  </a:lnTo>
                  <a:lnTo>
                    <a:pt x="3144" y="930"/>
                  </a:lnTo>
                  <a:lnTo>
                    <a:pt x="3168" y="918"/>
                  </a:lnTo>
                  <a:lnTo>
                    <a:pt x="3180" y="906"/>
                  </a:lnTo>
                  <a:lnTo>
                    <a:pt x="3192" y="882"/>
                  </a:lnTo>
                  <a:lnTo>
                    <a:pt x="3192" y="798"/>
                  </a:lnTo>
                  <a:lnTo>
                    <a:pt x="3198" y="780"/>
                  </a:lnTo>
                  <a:lnTo>
                    <a:pt x="3198" y="768"/>
                  </a:lnTo>
                  <a:lnTo>
                    <a:pt x="3204" y="756"/>
                  </a:lnTo>
                  <a:lnTo>
                    <a:pt x="3210" y="756"/>
                  </a:lnTo>
                  <a:lnTo>
                    <a:pt x="3210" y="768"/>
                  </a:lnTo>
                  <a:lnTo>
                    <a:pt x="3204" y="780"/>
                  </a:lnTo>
                  <a:lnTo>
                    <a:pt x="3204" y="798"/>
                  </a:lnTo>
                  <a:lnTo>
                    <a:pt x="3210" y="798"/>
                  </a:lnTo>
                  <a:lnTo>
                    <a:pt x="3216" y="804"/>
                  </a:lnTo>
                  <a:lnTo>
                    <a:pt x="3216" y="840"/>
                  </a:lnTo>
                  <a:lnTo>
                    <a:pt x="3234" y="822"/>
                  </a:lnTo>
                  <a:lnTo>
                    <a:pt x="3240" y="810"/>
                  </a:lnTo>
                  <a:lnTo>
                    <a:pt x="3288" y="762"/>
                  </a:lnTo>
                  <a:lnTo>
                    <a:pt x="3300" y="756"/>
                  </a:lnTo>
                  <a:lnTo>
                    <a:pt x="3324" y="732"/>
                  </a:lnTo>
                  <a:lnTo>
                    <a:pt x="3324" y="726"/>
                  </a:lnTo>
                  <a:lnTo>
                    <a:pt x="3318" y="720"/>
                  </a:lnTo>
                  <a:lnTo>
                    <a:pt x="3312" y="720"/>
                  </a:lnTo>
                  <a:lnTo>
                    <a:pt x="3306" y="714"/>
                  </a:lnTo>
                  <a:lnTo>
                    <a:pt x="3306" y="702"/>
                  </a:lnTo>
                  <a:lnTo>
                    <a:pt x="3312" y="696"/>
                  </a:lnTo>
                  <a:lnTo>
                    <a:pt x="3324" y="696"/>
                  </a:lnTo>
                  <a:lnTo>
                    <a:pt x="3330" y="702"/>
                  </a:lnTo>
                  <a:lnTo>
                    <a:pt x="3360" y="702"/>
                  </a:lnTo>
                  <a:lnTo>
                    <a:pt x="3390" y="696"/>
                  </a:lnTo>
                  <a:lnTo>
                    <a:pt x="3450" y="672"/>
                  </a:lnTo>
                  <a:lnTo>
                    <a:pt x="3462" y="666"/>
                  </a:lnTo>
                  <a:lnTo>
                    <a:pt x="3444" y="660"/>
                  </a:lnTo>
                  <a:lnTo>
                    <a:pt x="3438" y="660"/>
                  </a:lnTo>
                  <a:lnTo>
                    <a:pt x="3432" y="666"/>
                  </a:lnTo>
                  <a:lnTo>
                    <a:pt x="3414" y="672"/>
                  </a:lnTo>
                  <a:lnTo>
                    <a:pt x="3402" y="672"/>
                  </a:lnTo>
                  <a:lnTo>
                    <a:pt x="3390" y="678"/>
                  </a:lnTo>
                  <a:lnTo>
                    <a:pt x="3372" y="678"/>
                  </a:lnTo>
                  <a:lnTo>
                    <a:pt x="3360" y="684"/>
                  </a:lnTo>
                  <a:lnTo>
                    <a:pt x="3348" y="684"/>
                  </a:lnTo>
                  <a:lnTo>
                    <a:pt x="3342" y="678"/>
                  </a:lnTo>
                  <a:lnTo>
                    <a:pt x="3342" y="672"/>
                  </a:lnTo>
                  <a:lnTo>
                    <a:pt x="3348" y="666"/>
                  </a:lnTo>
                  <a:lnTo>
                    <a:pt x="3354" y="654"/>
                  </a:lnTo>
                  <a:lnTo>
                    <a:pt x="3366" y="654"/>
                  </a:lnTo>
                  <a:lnTo>
                    <a:pt x="3378" y="648"/>
                  </a:lnTo>
                  <a:lnTo>
                    <a:pt x="3402" y="648"/>
                  </a:lnTo>
                  <a:lnTo>
                    <a:pt x="3492" y="642"/>
                  </a:lnTo>
                  <a:lnTo>
                    <a:pt x="3534" y="606"/>
                  </a:lnTo>
                  <a:lnTo>
                    <a:pt x="3546" y="618"/>
                  </a:lnTo>
                  <a:lnTo>
                    <a:pt x="3570" y="606"/>
                  </a:lnTo>
                  <a:lnTo>
                    <a:pt x="3570" y="642"/>
                  </a:lnTo>
                  <a:lnTo>
                    <a:pt x="3600" y="618"/>
                  </a:lnTo>
                  <a:lnTo>
                    <a:pt x="3624" y="612"/>
                  </a:lnTo>
                  <a:lnTo>
                    <a:pt x="3630" y="582"/>
                  </a:lnTo>
                  <a:lnTo>
                    <a:pt x="3618" y="570"/>
                  </a:lnTo>
                  <a:lnTo>
                    <a:pt x="3612" y="600"/>
                  </a:lnTo>
                  <a:lnTo>
                    <a:pt x="3588" y="600"/>
                  </a:lnTo>
                  <a:lnTo>
                    <a:pt x="3588" y="576"/>
                  </a:lnTo>
                  <a:lnTo>
                    <a:pt x="3570" y="552"/>
                  </a:lnTo>
                  <a:lnTo>
                    <a:pt x="3594" y="540"/>
                  </a:lnTo>
                  <a:lnTo>
                    <a:pt x="3600" y="504"/>
                  </a:lnTo>
                  <a:lnTo>
                    <a:pt x="3612" y="498"/>
                  </a:lnTo>
                  <a:lnTo>
                    <a:pt x="3618" y="486"/>
                  </a:lnTo>
                  <a:lnTo>
                    <a:pt x="3630" y="480"/>
                  </a:lnTo>
                  <a:lnTo>
                    <a:pt x="3636" y="474"/>
                  </a:lnTo>
                  <a:lnTo>
                    <a:pt x="3648" y="468"/>
                  </a:lnTo>
                  <a:lnTo>
                    <a:pt x="3654" y="456"/>
                  </a:lnTo>
                  <a:lnTo>
                    <a:pt x="3654" y="450"/>
                  </a:lnTo>
                  <a:lnTo>
                    <a:pt x="3660" y="444"/>
                  </a:lnTo>
                  <a:lnTo>
                    <a:pt x="3660" y="438"/>
                  </a:lnTo>
                  <a:lnTo>
                    <a:pt x="3690" y="444"/>
                  </a:lnTo>
                  <a:lnTo>
                    <a:pt x="3702" y="426"/>
                  </a:lnTo>
                  <a:lnTo>
                    <a:pt x="3708" y="432"/>
                  </a:lnTo>
                  <a:lnTo>
                    <a:pt x="3720" y="432"/>
                  </a:lnTo>
                  <a:lnTo>
                    <a:pt x="3726" y="426"/>
                  </a:lnTo>
                  <a:lnTo>
                    <a:pt x="3738" y="420"/>
                  </a:lnTo>
                  <a:lnTo>
                    <a:pt x="3744" y="408"/>
                  </a:lnTo>
                  <a:lnTo>
                    <a:pt x="3756" y="402"/>
                  </a:lnTo>
                  <a:lnTo>
                    <a:pt x="3774" y="384"/>
                  </a:lnTo>
                  <a:lnTo>
                    <a:pt x="3774" y="414"/>
                  </a:lnTo>
                  <a:lnTo>
                    <a:pt x="3786" y="408"/>
                  </a:lnTo>
                  <a:lnTo>
                    <a:pt x="3792" y="402"/>
                  </a:lnTo>
                  <a:lnTo>
                    <a:pt x="3828" y="384"/>
                  </a:lnTo>
                  <a:lnTo>
                    <a:pt x="3834" y="378"/>
                  </a:lnTo>
                  <a:lnTo>
                    <a:pt x="3846" y="378"/>
                  </a:lnTo>
                  <a:lnTo>
                    <a:pt x="3858" y="372"/>
                  </a:lnTo>
                  <a:lnTo>
                    <a:pt x="3876" y="372"/>
                  </a:lnTo>
                  <a:lnTo>
                    <a:pt x="3888" y="366"/>
                  </a:lnTo>
                  <a:lnTo>
                    <a:pt x="3900" y="366"/>
                  </a:lnTo>
                  <a:lnTo>
                    <a:pt x="3900" y="330"/>
                  </a:lnTo>
                  <a:lnTo>
                    <a:pt x="3876" y="330"/>
                  </a:lnTo>
                  <a:lnTo>
                    <a:pt x="3876" y="324"/>
                  </a:lnTo>
                  <a:lnTo>
                    <a:pt x="3882" y="312"/>
                  </a:lnTo>
                  <a:lnTo>
                    <a:pt x="3894" y="300"/>
                  </a:lnTo>
                  <a:lnTo>
                    <a:pt x="3888" y="294"/>
                  </a:lnTo>
                  <a:lnTo>
                    <a:pt x="3882" y="294"/>
                  </a:lnTo>
                  <a:lnTo>
                    <a:pt x="3876" y="288"/>
                  </a:lnTo>
                  <a:lnTo>
                    <a:pt x="3876" y="276"/>
                  </a:lnTo>
                  <a:lnTo>
                    <a:pt x="3888" y="252"/>
                  </a:lnTo>
                  <a:lnTo>
                    <a:pt x="3900" y="222"/>
                  </a:lnTo>
                  <a:lnTo>
                    <a:pt x="3912" y="198"/>
                  </a:lnTo>
                  <a:lnTo>
                    <a:pt x="3918" y="174"/>
                  </a:lnTo>
                  <a:lnTo>
                    <a:pt x="3918" y="168"/>
                  </a:lnTo>
                  <a:lnTo>
                    <a:pt x="3912" y="162"/>
                  </a:lnTo>
                  <a:lnTo>
                    <a:pt x="3876" y="162"/>
                  </a:lnTo>
                  <a:lnTo>
                    <a:pt x="3864" y="168"/>
                  </a:lnTo>
                  <a:lnTo>
                    <a:pt x="3858" y="168"/>
                  </a:lnTo>
                  <a:close/>
                  <a:moveTo>
                    <a:pt x="2718" y="366"/>
                  </a:moveTo>
                  <a:lnTo>
                    <a:pt x="2712" y="366"/>
                  </a:lnTo>
                  <a:lnTo>
                    <a:pt x="2712" y="354"/>
                  </a:lnTo>
                  <a:lnTo>
                    <a:pt x="2718" y="348"/>
                  </a:lnTo>
                  <a:lnTo>
                    <a:pt x="2718" y="336"/>
                  </a:lnTo>
                  <a:lnTo>
                    <a:pt x="2712" y="336"/>
                  </a:lnTo>
                  <a:lnTo>
                    <a:pt x="2700" y="342"/>
                  </a:lnTo>
                  <a:lnTo>
                    <a:pt x="2694" y="348"/>
                  </a:lnTo>
                  <a:lnTo>
                    <a:pt x="2682" y="354"/>
                  </a:lnTo>
                  <a:lnTo>
                    <a:pt x="2676" y="372"/>
                  </a:lnTo>
                  <a:lnTo>
                    <a:pt x="2664" y="366"/>
                  </a:lnTo>
                  <a:lnTo>
                    <a:pt x="2664" y="378"/>
                  </a:lnTo>
                  <a:lnTo>
                    <a:pt x="2652" y="402"/>
                  </a:lnTo>
                  <a:lnTo>
                    <a:pt x="2628" y="414"/>
                  </a:lnTo>
                  <a:lnTo>
                    <a:pt x="2628" y="426"/>
                  </a:lnTo>
                  <a:lnTo>
                    <a:pt x="2634" y="432"/>
                  </a:lnTo>
                  <a:lnTo>
                    <a:pt x="2628" y="432"/>
                  </a:lnTo>
                  <a:lnTo>
                    <a:pt x="2598" y="462"/>
                  </a:lnTo>
                  <a:lnTo>
                    <a:pt x="2598" y="468"/>
                  </a:lnTo>
                  <a:lnTo>
                    <a:pt x="2604" y="474"/>
                  </a:lnTo>
                  <a:lnTo>
                    <a:pt x="2610" y="474"/>
                  </a:lnTo>
                  <a:lnTo>
                    <a:pt x="2616" y="480"/>
                  </a:lnTo>
                  <a:lnTo>
                    <a:pt x="2616" y="492"/>
                  </a:lnTo>
                  <a:lnTo>
                    <a:pt x="2610" y="498"/>
                  </a:lnTo>
                  <a:lnTo>
                    <a:pt x="2604" y="498"/>
                  </a:lnTo>
                  <a:lnTo>
                    <a:pt x="2604" y="510"/>
                  </a:lnTo>
                  <a:lnTo>
                    <a:pt x="2592" y="534"/>
                  </a:lnTo>
                  <a:lnTo>
                    <a:pt x="2580" y="552"/>
                  </a:lnTo>
                  <a:lnTo>
                    <a:pt x="2550" y="582"/>
                  </a:lnTo>
                  <a:lnTo>
                    <a:pt x="2478" y="618"/>
                  </a:lnTo>
                  <a:lnTo>
                    <a:pt x="2484" y="588"/>
                  </a:lnTo>
                  <a:lnTo>
                    <a:pt x="2478" y="582"/>
                  </a:lnTo>
                  <a:lnTo>
                    <a:pt x="2478" y="576"/>
                  </a:lnTo>
                  <a:lnTo>
                    <a:pt x="2472" y="570"/>
                  </a:lnTo>
                  <a:lnTo>
                    <a:pt x="2472" y="564"/>
                  </a:lnTo>
                  <a:lnTo>
                    <a:pt x="2478" y="552"/>
                  </a:lnTo>
                  <a:lnTo>
                    <a:pt x="2496" y="534"/>
                  </a:lnTo>
                  <a:lnTo>
                    <a:pt x="2502" y="522"/>
                  </a:lnTo>
                  <a:lnTo>
                    <a:pt x="2502" y="516"/>
                  </a:lnTo>
                  <a:lnTo>
                    <a:pt x="2496" y="510"/>
                  </a:lnTo>
                  <a:lnTo>
                    <a:pt x="2496" y="492"/>
                  </a:lnTo>
                  <a:lnTo>
                    <a:pt x="2502" y="480"/>
                  </a:lnTo>
                  <a:lnTo>
                    <a:pt x="2508" y="474"/>
                  </a:lnTo>
                  <a:lnTo>
                    <a:pt x="2514" y="462"/>
                  </a:lnTo>
                  <a:lnTo>
                    <a:pt x="2526" y="456"/>
                  </a:lnTo>
                  <a:lnTo>
                    <a:pt x="2532" y="450"/>
                  </a:lnTo>
                  <a:lnTo>
                    <a:pt x="2532" y="432"/>
                  </a:lnTo>
                  <a:lnTo>
                    <a:pt x="2538" y="432"/>
                  </a:lnTo>
                  <a:lnTo>
                    <a:pt x="2622" y="348"/>
                  </a:lnTo>
                  <a:lnTo>
                    <a:pt x="2592" y="354"/>
                  </a:lnTo>
                  <a:lnTo>
                    <a:pt x="2580" y="360"/>
                  </a:lnTo>
                  <a:lnTo>
                    <a:pt x="2574" y="366"/>
                  </a:lnTo>
                  <a:lnTo>
                    <a:pt x="2562" y="372"/>
                  </a:lnTo>
                  <a:lnTo>
                    <a:pt x="2556" y="378"/>
                  </a:lnTo>
                  <a:lnTo>
                    <a:pt x="2550" y="378"/>
                  </a:lnTo>
                  <a:lnTo>
                    <a:pt x="2550" y="372"/>
                  </a:lnTo>
                  <a:lnTo>
                    <a:pt x="2556" y="366"/>
                  </a:lnTo>
                  <a:lnTo>
                    <a:pt x="2568" y="360"/>
                  </a:lnTo>
                  <a:lnTo>
                    <a:pt x="2592" y="336"/>
                  </a:lnTo>
                  <a:lnTo>
                    <a:pt x="2604" y="330"/>
                  </a:lnTo>
                  <a:lnTo>
                    <a:pt x="2658" y="276"/>
                  </a:lnTo>
                  <a:lnTo>
                    <a:pt x="2670" y="288"/>
                  </a:lnTo>
                  <a:lnTo>
                    <a:pt x="2682" y="276"/>
                  </a:lnTo>
                  <a:lnTo>
                    <a:pt x="2682" y="288"/>
                  </a:lnTo>
                  <a:lnTo>
                    <a:pt x="2694" y="288"/>
                  </a:lnTo>
                  <a:lnTo>
                    <a:pt x="2700" y="282"/>
                  </a:lnTo>
                  <a:lnTo>
                    <a:pt x="2700" y="270"/>
                  </a:lnTo>
                  <a:lnTo>
                    <a:pt x="2724" y="276"/>
                  </a:lnTo>
                  <a:lnTo>
                    <a:pt x="2736" y="270"/>
                  </a:lnTo>
                  <a:lnTo>
                    <a:pt x="2742" y="270"/>
                  </a:lnTo>
                  <a:lnTo>
                    <a:pt x="2754" y="264"/>
                  </a:lnTo>
                  <a:lnTo>
                    <a:pt x="2772" y="264"/>
                  </a:lnTo>
                  <a:lnTo>
                    <a:pt x="2784" y="270"/>
                  </a:lnTo>
                  <a:lnTo>
                    <a:pt x="2790" y="276"/>
                  </a:lnTo>
                  <a:lnTo>
                    <a:pt x="2796" y="288"/>
                  </a:lnTo>
                  <a:lnTo>
                    <a:pt x="2772" y="294"/>
                  </a:lnTo>
                  <a:lnTo>
                    <a:pt x="2772" y="318"/>
                  </a:lnTo>
                  <a:lnTo>
                    <a:pt x="2742" y="318"/>
                  </a:lnTo>
                  <a:lnTo>
                    <a:pt x="2736" y="324"/>
                  </a:lnTo>
                  <a:lnTo>
                    <a:pt x="2736" y="360"/>
                  </a:lnTo>
                  <a:lnTo>
                    <a:pt x="2730" y="366"/>
                  </a:lnTo>
                  <a:lnTo>
                    <a:pt x="2718" y="366"/>
                  </a:lnTo>
                  <a:close/>
                </a:path>
              </a:pathLst>
            </a:custGeom>
            <a:solidFill>
              <a:srgbClr val="0070C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5" name="Uruguay" descr="© INSCALE GmbH, 05.05.2010&#10;http://www.presentationload.com/">
              <a:extLst>
                <a:ext uri="{FF2B5EF4-FFF2-40B4-BE49-F238E27FC236}">
                  <a16:creationId xmlns:a16="http://schemas.microsoft.com/office/drawing/2014/main" id="{6FFE5121-7B00-DCCB-1E4E-9530FFBB6406}"/>
                </a:ext>
              </a:extLst>
            </p:cNvPr>
            <p:cNvSpPr>
              <a:spLocks/>
            </p:cNvSpPr>
            <p:nvPr/>
          </p:nvSpPr>
          <p:spPr bwMode="gray">
            <a:xfrm>
              <a:off x="2745607" y="4139036"/>
              <a:ext cx="139343" cy="145273"/>
            </a:xfrm>
            <a:custGeom>
              <a:avLst/>
              <a:gdLst>
                <a:gd name="T0" fmla="*/ 2147483647 w 366"/>
                <a:gd name="T1" fmla="*/ 2147483647 h 384"/>
                <a:gd name="T2" fmla="*/ 2147483647 w 366"/>
                <a:gd name="T3" fmla="*/ 2147483647 h 384"/>
                <a:gd name="T4" fmla="*/ 2147483647 w 366"/>
                <a:gd name="T5" fmla="*/ 2147483647 h 384"/>
                <a:gd name="T6" fmla="*/ 2147483647 w 366"/>
                <a:gd name="T7" fmla="*/ 2147483647 h 384"/>
                <a:gd name="T8" fmla="*/ 2147483647 w 366"/>
                <a:gd name="T9" fmla="*/ 2147483647 h 384"/>
                <a:gd name="T10" fmla="*/ 2147483647 w 366"/>
                <a:gd name="T11" fmla="*/ 2147483647 h 384"/>
                <a:gd name="T12" fmla="*/ 2147483647 w 366"/>
                <a:gd name="T13" fmla="*/ 2147483647 h 384"/>
                <a:gd name="T14" fmla="*/ 2147483647 w 366"/>
                <a:gd name="T15" fmla="*/ 2147483647 h 384"/>
                <a:gd name="T16" fmla="*/ 2147483647 w 366"/>
                <a:gd name="T17" fmla="*/ 2147483647 h 384"/>
                <a:gd name="T18" fmla="*/ 2147483647 w 366"/>
                <a:gd name="T19" fmla="*/ 2147483647 h 384"/>
                <a:gd name="T20" fmla="*/ 2147483647 w 366"/>
                <a:gd name="T21" fmla="*/ 2147483647 h 384"/>
                <a:gd name="T22" fmla="*/ 2147483647 w 366"/>
                <a:gd name="T23" fmla="*/ 2147483647 h 384"/>
                <a:gd name="T24" fmla="*/ 2147483647 w 366"/>
                <a:gd name="T25" fmla="*/ 2147483647 h 384"/>
                <a:gd name="T26" fmla="*/ 2147483647 w 366"/>
                <a:gd name="T27" fmla="*/ 2147483647 h 384"/>
                <a:gd name="T28" fmla="*/ 2147483647 w 366"/>
                <a:gd name="T29" fmla="*/ 2147483647 h 384"/>
                <a:gd name="T30" fmla="*/ 2147483647 w 366"/>
                <a:gd name="T31" fmla="*/ 2147483647 h 384"/>
                <a:gd name="T32" fmla="*/ 2147483647 w 366"/>
                <a:gd name="T33" fmla="*/ 2147483647 h 384"/>
                <a:gd name="T34" fmla="*/ 2147483647 w 366"/>
                <a:gd name="T35" fmla="*/ 2147483647 h 384"/>
                <a:gd name="T36" fmla="*/ 2147483647 w 366"/>
                <a:gd name="T37" fmla="*/ 2147483647 h 384"/>
                <a:gd name="T38" fmla="*/ 2147483647 w 366"/>
                <a:gd name="T39" fmla="*/ 2147483647 h 384"/>
                <a:gd name="T40" fmla="*/ 2147483647 w 366"/>
                <a:gd name="T41" fmla="*/ 2147483647 h 384"/>
                <a:gd name="T42" fmla="*/ 2147483647 w 366"/>
                <a:gd name="T43" fmla="*/ 2147483647 h 384"/>
                <a:gd name="T44" fmla="*/ 2147483647 w 366"/>
                <a:gd name="T45" fmla="*/ 0 h 384"/>
                <a:gd name="T46" fmla="*/ 2147483647 w 366"/>
                <a:gd name="T47" fmla="*/ 2147483647 h 384"/>
                <a:gd name="T48" fmla="*/ 2147483647 w 366"/>
                <a:gd name="T49" fmla="*/ 2147483647 h 384"/>
                <a:gd name="T50" fmla="*/ 0 w 366"/>
                <a:gd name="T51" fmla="*/ 2147483647 h 384"/>
                <a:gd name="T52" fmla="*/ 2147483647 w 366"/>
                <a:gd name="T53" fmla="*/ 2147483647 h 384"/>
                <a:gd name="T54" fmla="*/ 2147483647 w 366"/>
                <a:gd name="T55" fmla="*/ 2147483647 h 384"/>
                <a:gd name="T56" fmla="*/ 2147483647 w 366"/>
                <a:gd name="T57" fmla="*/ 2147483647 h 384"/>
                <a:gd name="T58" fmla="*/ 2147483647 w 366"/>
                <a:gd name="T59" fmla="*/ 2147483647 h 384"/>
                <a:gd name="T60" fmla="*/ 2147483647 w 366"/>
                <a:gd name="T61" fmla="*/ 2147483647 h 384"/>
                <a:gd name="T62" fmla="*/ 2147483647 w 366"/>
                <a:gd name="T63" fmla="*/ 2147483647 h 384"/>
                <a:gd name="T64" fmla="*/ 2147483647 w 366"/>
                <a:gd name="T65" fmla="*/ 2147483647 h 384"/>
                <a:gd name="T66" fmla="*/ 2147483647 w 366"/>
                <a:gd name="T67" fmla="*/ 2147483647 h 384"/>
                <a:gd name="T68" fmla="*/ 2147483647 w 366"/>
                <a:gd name="T69" fmla="*/ 2147483647 h 384"/>
                <a:gd name="T70" fmla="*/ 2147483647 w 366"/>
                <a:gd name="T71" fmla="*/ 2147483647 h 384"/>
                <a:gd name="T72" fmla="*/ 2147483647 w 366"/>
                <a:gd name="T73" fmla="*/ 2147483647 h 384"/>
                <a:gd name="T74" fmla="*/ 2147483647 w 366"/>
                <a:gd name="T75" fmla="*/ 2147483647 h 384"/>
                <a:gd name="T76" fmla="*/ 2147483647 w 366"/>
                <a:gd name="T77" fmla="*/ 2147483647 h 3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66"/>
                <a:gd name="T118" fmla="*/ 0 h 384"/>
                <a:gd name="T119" fmla="*/ 366 w 366"/>
                <a:gd name="T120" fmla="*/ 384 h 38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66" h="384">
                  <a:moveTo>
                    <a:pt x="138" y="372"/>
                  </a:moveTo>
                  <a:lnTo>
                    <a:pt x="174" y="372"/>
                  </a:lnTo>
                  <a:lnTo>
                    <a:pt x="198" y="378"/>
                  </a:lnTo>
                  <a:lnTo>
                    <a:pt x="228" y="378"/>
                  </a:lnTo>
                  <a:lnTo>
                    <a:pt x="288" y="384"/>
                  </a:lnTo>
                  <a:lnTo>
                    <a:pt x="330" y="366"/>
                  </a:lnTo>
                  <a:lnTo>
                    <a:pt x="342" y="354"/>
                  </a:lnTo>
                  <a:lnTo>
                    <a:pt x="360" y="300"/>
                  </a:lnTo>
                  <a:lnTo>
                    <a:pt x="366" y="294"/>
                  </a:lnTo>
                  <a:lnTo>
                    <a:pt x="348" y="294"/>
                  </a:lnTo>
                  <a:lnTo>
                    <a:pt x="348" y="264"/>
                  </a:lnTo>
                  <a:lnTo>
                    <a:pt x="342" y="264"/>
                  </a:lnTo>
                  <a:lnTo>
                    <a:pt x="342" y="240"/>
                  </a:lnTo>
                  <a:lnTo>
                    <a:pt x="348" y="234"/>
                  </a:lnTo>
                  <a:lnTo>
                    <a:pt x="360" y="210"/>
                  </a:lnTo>
                  <a:lnTo>
                    <a:pt x="360" y="198"/>
                  </a:lnTo>
                  <a:lnTo>
                    <a:pt x="354" y="198"/>
                  </a:lnTo>
                  <a:lnTo>
                    <a:pt x="342" y="192"/>
                  </a:lnTo>
                  <a:lnTo>
                    <a:pt x="336" y="192"/>
                  </a:lnTo>
                  <a:lnTo>
                    <a:pt x="318" y="174"/>
                  </a:lnTo>
                  <a:lnTo>
                    <a:pt x="312" y="162"/>
                  </a:lnTo>
                  <a:lnTo>
                    <a:pt x="306" y="156"/>
                  </a:lnTo>
                  <a:lnTo>
                    <a:pt x="300" y="144"/>
                  </a:lnTo>
                  <a:lnTo>
                    <a:pt x="288" y="144"/>
                  </a:lnTo>
                  <a:lnTo>
                    <a:pt x="270" y="138"/>
                  </a:lnTo>
                  <a:lnTo>
                    <a:pt x="258" y="132"/>
                  </a:lnTo>
                  <a:lnTo>
                    <a:pt x="252" y="126"/>
                  </a:lnTo>
                  <a:lnTo>
                    <a:pt x="252" y="114"/>
                  </a:lnTo>
                  <a:lnTo>
                    <a:pt x="246" y="114"/>
                  </a:lnTo>
                  <a:lnTo>
                    <a:pt x="228" y="96"/>
                  </a:lnTo>
                  <a:lnTo>
                    <a:pt x="210" y="96"/>
                  </a:lnTo>
                  <a:lnTo>
                    <a:pt x="192" y="78"/>
                  </a:lnTo>
                  <a:lnTo>
                    <a:pt x="186" y="66"/>
                  </a:lnTo>
                  <a:lnTo>
                    <a:pt x="174" y="60"/>
                  </a:lnTo>
                  <a:lnTo>
                    <a:pt x="168" y="60"/>
                  </a:lnTo>
                  <a:lnTo>
                    <a:pt x="156" y="72"/>
                  </a:lnTo>
                  <a:lnTo>
                    <a:pt x="156" y="78"/>
                  </a:lnTo>
                  <a:lnTo>
                    <a:pt x="144" y="78"/>
                  </a:lnTo>
                  <a:lnTo>
                    <a:pt x="144" y="66"/>
                  </a:lnTo>
                  <a:lnTo>
                    <a:pt x="132" y="54"/>
                  </a:lnTo>
                  <a:lnTo>
                    <a:pt x="126" y="42"/>
                  </a:lnTo>
                  <a:lnTo>
                    <a:pt x="120" y="36"/>
                  </a:lnTo>
                  <a:lnTo>
                    <a:pt x="108" y="30"/>
                  </a:lnTo>
                  <a:lnTo>
                    <a:pt x="102" y="18"/>
                  </a:lnTo>
                  <a:lnTo>
                    <a:pt x="78" y="6"/>
                  </a:lnTo>
                  <a:lnTo>
                    <a:pt x="72" y="0"/>
                  </a:lnTo>
                  <a:lnTo>
                    <a:pt x="60" y="0"/>
                  </a:lnTo>
                  <a:lnTo>
                    <a:pt x="48" y="6"/>
                  </a:lnTo>
                  <a:lnTo>
                    <a:pt x="42" y="12"/>
                  </a:lnTo>
                  <a:lnTo>
                    <a:pt x="18" y="12"/>
                  </a:lnTo>
                  <a:lnTo>
                    <a:pt x="0" y="30"/>
                  </a:lnTo>
                  <a:lnTo>
                    <a:pt x="0" y="36"/>
                  </a:lnTo>
                  <a:lnTo>
                    <a:pt x="24" y="60"/>
                  </a:lnTo>
                  <a:lnTo>
                    <a:pt x="30" y="60"/>
                  </a:lnTo>
                  <a:lnTo>
                    <a:pt x="6" y="72"/>
                  </a:lnTo>
                  <a:lnTo>
                    <a:pt x="6" y="108"/>
                  </a:lnTo>
                  <a:lnTo>
                    <a:pt x="30" y="126"/>
                  </a:lnTo>
                  <a:lnTo>
                    <a:pt x="12" y="126"/>
                  </a:lnTo>
                  <a:lnTo>
                    <a:pt x="0" y="138"/>
                  </a:lnTo>
                  <a:lnTo>
                    <a:pt x="6" y="144"/>
                  </a:lnTo>
                  <a:lnTo>
                    <a:pt x="12" y="156"/>
                  </a:lnTo>
                  <a:lnTo>
                    <a:pt x="24" y="168"/>
                  </a:lnTo>
                  <a:lnTo>
                    <a:pt x="12" y="186"/>
                  </a:lnTo>
                  <a:lnTo>
                    <a:pt x="18" y="192"/>
                  </a:lnTo>
                  <a:lnTo>
                    <a:pt x="24" y="204"/>
                  </a:lnTo>
                  <a:lnTo>
                    <a:pt x="36" y="210"/>
                  </a:lnTo>
                  <a:lnTo>
                    <a:pt x="42" y="222"/>
                  </a:lnTo>
                  <a:lnTo>
                    <a:pt x="42" y="228"/>
                  </a:lnTo>
                  <a:lnTo>
                    <a:pt x="36" y="228"/>
                  </a:lnTo>
                  <a:lnTo>
                    <a:pt x="30" y="234"/>
                  </a:lnTo>
                  <a:lnTo>
                    <a:pt x="6" y="234"/>
                  </a:lnTo>
                  <a:lnTo>
                    <a:pt x="6" y="282"/>
                  </a:lnTo>
                  <a:lnTo>
                    <a:pt x="36" y="318"/>
                  </a:lnTo>
                  <a:lnTo>
                    <a:pt x="42" y="318"/>
                  </a:lnTo>
                  <a:lnTo>
                    <a:pt x="54" y="324"/>
                  </a:lnTo>
                  <a:lnTo>
                    <a:pt x="78" y="348"/>
                  </a:lnTo>
                  <a:lnTo>
                    <a:pt x="90" y="354"/>
                  </a:lnTo>
                  <a:lnTo>
                    <a:pt x="126" y="354"/>
                  </a:lnTo>
                  <a:lnTo>
                    <a:pt x="138" y="372"/>
                  </a:lnTo>
                  <a:close/>
                </a:path>
              </a:pathLst>
            </a:custGeom>
            <a:grp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6" name="United Kingdom" descr="© INSCALE GmbH, 05.05.2010&#10;http://www.presentationload.com/">
              <a:extLst>
                <a:ext uri="{FF2B5EF4-FFF2-40B4-BE49-F238E27FC236}">
                  <a16:creationId xmlns:a16="http://schemas.microsoft.com/office/drawing/2014/main" id="{4D711D92-0D4C-AED1-63A1-C746146609D3}"/>
                </a:ext>
              </a:extLst>
            </p:cNvPr>
            <p:cNvSpPr>
              <a:spLocks noEditPoints="1"/>
            </p:cNvSpPr>
            <p:nvPr/>
          </p:nvSpPr>
          <p:spPr bwMode="gray">
            <a:xfrm>
              <a:off x="4094566" y="1386258"/>
              <a:ext cx="219391" cy="312783"/>
            </a:xfrm>
            <a:custGeom>
              <a:avLst/>
              <a:gdLst>
                <a:gd name="T0" fmla="*/ 2147483647 w 576"/>
                <a:gd name="T1" fmla="*/ 2147483647 h 822"/>
                <a:gd name="T2" fmla="*/ 2147483647 w 576"/>
                <a:gd name="T3" fmla="*/ 2147483647 h 822"/>
                <a:gd name="T4" fmla="*/ 2147483647 w 576"/>
                <a:gd name="T5" fmla="*/ 2147483647 h 822"/>
                <a:gd name="T6" fmla="*/ 2147483647 w 576"/>
                <a:gd name="T7" fmla="*/ 2147483647 h 822"/>
                <a:gd name="T8" fmla="*/ 2147483647 w 576"/>
                <a:gd name="T9" fmla="*/ 2147483647 h 822"/>
                <a:gd name="T10" fmla="*/ 2147483647 w 576"/>
                <a:gd name="T11" fmla="*/ 2147483647 h 822"/>
                <a:gd name="T12" fmla="*/ 2147483647 w 576"/>
                <a:gd name="T13" fmla="*/ 2147483647 h 822"/>
                <a:gd name="T14" fmla="*/ 2147483647 w 576"/>
                <a:gd name="T15" fmla="*/ 0 h 822"/>
                <a:gd name="T16" fmla="*/ 2147483647 w 576"/>
                <a:gd name="T17" fmla="*/ 0 h 822"/>
                <a:gd name="T18" fmla="*/ 2147483647 w 576"/>
                <a:gd name="T19" fmla="*/ 2147483647 h 822"/>
                <a:gd name="T20" fmla="*/ 2147483647 w 576"/>
                <a:gd name="T21" fmla="*/ 2147483647 h 822"/>
                <a:gd name="T22" fmla="*/ 2147483647 w 576"/>
                <a:gd name="T23" fmla="*/ 2147483647 h 822"/>
                <a:gd name="T24" fmla="*/ 2147483647 w 576"/>
                <a:gd name="T25" fmla="*/ 2147483647 h 822"/>
                <a:gd name="T26" fmla="*/ 2147483647 w 576"/>
                <a:gd name="T27" fmla="*/ 2147483647 h 822"/>
                <a:gd name="T28" fmla="*/ 2147483647 w 576"/>
                <a:gd name="T29" fmla="*/ 2147483647 h 822"/>
                <a:gd name="T30" fmla="*/ 2147483647 w 576"/>
                <a:gd name="T31" fmla="*/ 2147483647 h 822"/>
                <a:gd name="T32" fmla="*/ 2147483647 w 576"/>
                <a:gd name="T33" fmla="*/ 2147483647 h 822"/>
                <a:gd name="T34" fmla="*/ 2147483647 w 576"/>
                <a:gd name="T35" fmla="*/ 2147483647 h 822"/>
                <a:gd name="T36" fmla="*/ 2147483647 w 576"/>
                <a:gd name="T37" fmla="*/ 2147483647 h 822"/>
                <a:gd name="T38" fmla="*/ 2147483647 w 576"/>
                <a:gd name="T39" fmla="*/ 2147483647 h 822"/>
                <a:gd name="T40" fmla="*/ 2147483647 w 576"/>
                <a:gd name="T41" fmla="*/ 2147483647 h 822"/>
                <a:gd name="T42" fmla="*/ 2147483647 w 576"/>
                <a:gd name="T43" fmla="*/ 2147483647 h 822"/>
                <a:gd name="T44" fmla="*/ 2147483647 w 576"/>
                <a:gd name="T45" fmla="*/ 2147483647 h 822"/>
                <a:gd name="T46" fmla="*/ 2147483647 w 576"/>
                <a:gd name="T47" fmla="*/ 2147483647 h 822"/>
                <a:gd name="T48" fmla="*/ 2147483647 w 576"/>
                <a:gd name="T49" fmla="*/ 2147483647 h 822"/>
                <a:gd name="T50" fmla="*/ 2147483647 w 576"/>
                <a:gd name="T51" fmla="*/ 2147483647 h 822"/>
                <a:gd name="T52" fmla="*/ 2147483647 w 576"/>
                <a:gd name="T53" fmla="*/ 2147483647 h 822"/>
                <a:gd name="T54" fmla="*/ 2147483647 w 576"/>
                <a:gd name="T55" fmla="*/ 2147483647 h 822"/>
                <a:gd name="T56" fmla="*/ 2147483647 w 576"/>
                <a:gd name="T57" fmla="*/ 2147483647 h 822"/>
                <a:gd name="T58" fmla="*/ 2147483647 w 576"/>
                <a:gd name="T59" fmla="*/ 2147483647 h 822"/>
                <a:gd name="T60" fmla="*/ 2147483647 w 576"/>
                <a:gd name="T61" fmla="*/ 2147483647 h 822"/>
                <a:gd name="T62" fmla="*/ 2147483647 w 576"/>
                <a:gd name="T63" fmla="*/ 2147483647 h 822"/>
                <a:gd name="T64" fmla="*/ 2147483647 w 576"/>
                <a:gd name="T65" fmla="*/ 2147483647 h 822"/>
                <a:gd name="T66" fmla="*/ 2147483647 w 576"/>
                <a:gd name="T67" fmla="*/ 2147483647 h 822"/>
                <a:gd name="T68" fmla="*/ 2147483647 w 576"/>
                <a:gd name="T69" fmla="*/ 2147483647 h 822"/>
                <a:gd name="T70" fmla="*/ 2147483647 w 576"/>
                <a:gd name="T71" fmla="*/ 2147483647 h 822"/>
                <a:gd name="T72" fmla="*/ 2147483647 w 576"/>
                <a:gd name="T73" fmla="*/ 2147483647 h 822"/>
                <a:gd name="T74" fmla="*/ 2147483647 w 576"/>
                <a:gd name="T75" fmla="*/ 2147483647 h 822"/>
                <a:gd name="T76" fmla="*/ 2147483647 w 576"/>
                <a:gd name="T77" fmla="*/ 2147483647 h 822"/>
                <a:gd name="T78" fmla="*/ 2147483647 w 576"/>
                <a:gd name="T79" fmla="*/ 2147483647 h 822"/>
                <a:gd name="T80" fmla="*/ 2147483647 w 576"/>
                <a:gd name="T81" fmla="*/ 2147483647 h 822"/>
                <a:gd name="T82" fmla="*/ 2147483647 w 576"/>
                <a:gd name="T83" fmla="*/ 2147483647 h 822"/>
                <a:gd name="T84" fmla="*/ 2147483647 w 576"/>
                <a:gd name="T85" fmla="*/ 2147483647 h 822"/>
                <a:gd name="T86" fmla="*/ 2147483647 w 576"/>
                <a:gd name="T87" fmla="*/ 2147483647 h 822"/>
                <a:gd name="T88" fmla="*/ 2147483647 w 576"/>
                <a:gd name="T89" fmla="*/ 2147483647 h 822"/>
                <a:gd name="T90" fmla="*/ 2147483647 w 576"/>
                <a:gd name="T91" fmla="*/ 2147483647 h 822"/>
                <a:gd name="T92" fmla="*/ 2147483647 w 576"/>
                <a:gd name="T93" fmla="*/ 2147483647 h 822"/>
                <a:gd name="T94" fmla="*/ 2147483647 w 576"/>
                <a:gd name="T95" fmla="*/ 2147483647 h 822"/>
                <a:gd name="T96" fmla="*/ 2147483647 w 576"/>
                <a:gd name="T97" fmla="*/ 2147483647 h 822"/>
                <a:gd name="T98" fmla="*/ 2147483647 w 576"/>
                <a:gd name="T99" fmla="*/ 2147483647 h 822"/>
                <a:gd name="T100" fmla="*/ 2147483647 w 576"/>
                <a:gd name="T101" fmla="*/ 2147483647 h 822"/>
                <a:gd name="T102" fmla="*/ 2147483647 w 576"/>
                <a:gd name="T103" fmla="*/ 2147483647 h 822"/>
                <a:gd name="T104" fmla="*/ 2147483647 w 576"/>
                <a:gd name="T105" fmla="*/ 2147483647 h 822"/>
                <a:gd name="T106" fmla="*/ 2147483647 w 576"/>
                <a:gd name="T107" fmla="*/ 2147483647 h 822"/>
                <a:gd name="T108" fmla="*/ 2147483647 w 576"/>
                <a:gd name="T109" fmla="*/ 2147483647 h 822"/>
                <a:gd name="T110" fmla="*/ 2147483647 w 576"/>
                <a:gd name="T111" fmla="*/ 2147483647 h 822"/>
                <a:gd name="T112" fmla="*/ 2147483647 w 576"/>
                <a:gd name="T113" fmla="*/ 2147483647 h 822"/>
                <a:gd name="T114" fmla="*/ 2147483647 w 576"/>
                <a:gd name="T115" fmla="*/ 2147483647 h 822"/>
                <a:gd name="T116" fmla="*/ 2147483647 w 576"/>
                <a:gd name="T117" fmla="*/ 2147483647 h 822"/>
                <a:gd name="T118" fmla="*/ 2147483647 w 576"/>
                <a:gd name="T119" fmla="*/ 2147483647 h 822"/>
                <a:gd name="T120" fmla="*/ 2147483647 w 576"/>
                <a:gd name="T121" fmla="*/ 2147483647 h 822"/>
                <a:gd name="T122" fmla="*/ 2147483647 w 576"/>
                <a:gd name="T123" fmla="*/ 2147483647 h 82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76"/>
                <a:gd name="T187" fmla="*/ 0 h 822"/>
                <a:gd name="T188" fmla="*/ 576 w 576"/>
                <a:gd name="T189" fmla="*/ 822 h 82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76" h="822">
                  <a:moveTo>
                    <a:pt x="162" y="378"/>
                  </a:moveTo>
                  <a:lnTo>
                    <a:pt x="156" y="378"/>
                  </a:lnTo>
                  <a:lnTo>
                    <a:pt x="150" y="384"/>
                  </a:lnTo>
                  <a:lnTo>
                    <a:pt x="150" y="396"/>
                  </a:lnTo>
                  <a:lnTo>
                    <a:pt x="144" y="414"/>
                  </a:lnTo>
                  <a:lnTo>
                    <a:pt x="156" y="402"/>
                  </a:lnTo>
                  <a:lnTo>
                    <a:pt x="162" y="390"/>
                  </a:lnTo>
                  <a:lnTo>
                    <a:pt x="162" y="378"/>
                  </a:lnTo>
                  <a:close/>
                  <a:moveTo>
                    <a:pt x="132" y="312"/>
                  </a:moveTo>
                  <a:lnTo>
                    <a:pt x="126" y="312"/>
                  </a:lnTo>
                  <a:lnTo>
                    <a:pt x="126" y="336"/>
                  </a:lnTo>
                  <a:lnTo>
                    <a:pt x="132" y="336"/>
                  </a:lnTo>
                  <a:lnTo>
                    <a:pt x="138" y="330"/>
                  </a:lnTo>
                  <a:lnTo>
                    <a:pt x="150" y="330"/>
                  </a:lnTo>
                  <a:lnTo>
                    <a:pt x="144" y="318"/>
                  </a:lnTo>
                  <a:lnTo>
                    <a:pt x="138" y="312"/>
                  </a:lnTo>
                  <a:lnTo>
                    <a:pt x="132" y="312"/>
                  </a:lnTo>
                  <a:close/>
                  <a:moveTo>
                    <a:pt x="114" y="390"/>
                  </a:moveTo>
                  <a:lnTo>
                    <a:pt x="126" y="390"/>
                  </a:lnTo>
                  <a:lnTo>
                    <a:pt x="138" y="384"/>
                  </a:lnTo>
                  <a:lnTo>
                    <a:pt x="138" y="372"/>
                  </a:lnTo>
                  <a:lnTo>
                    <a:pt x="132" y="366"/>
                  </a:lnTo>
                  <a:lnTo>
                    <a:pt x="120" y="366"/>
                  </a:lnTo>
                  <a:lnTo>
                    <a:pt x="114" y="372"/>
                  </a:lnTo>
                  <a:lnTo>
                    <a:pt x="108" y="384"/>
                  </a:lnTo>
                  <a:lnTo>
                    <a:pt x="108" y="390"/>
                  </a:lnTo>
                  <a:lnTo>
                    <a:pt x="114" y="390"/>
                  </a:lnTo>
                  <a:close/>
                  <a:moveTo>
                    <a:pt x="330" y="120"/>
                  </a:moveTo>
                  <a:lnTo>
                    <a:pt x="324" y="120"/>
                  </a:lnTo>
                  <a:lnTo>
                    <a:pt x="318" y="126"/>
                  </a:lnTo>
                  <a:lnTo>
                    <a:pt x="318" y="138"/>
                  </a:lnTo>
                  <a:lnTo>
                    <a:pt x="330" y="138"/>
                  </a:lnTo>
                  <a:lnTo>
                    <a:pt x="336" y="126"/>
                  </a:lnTo>
                  <a:lnTo>
                    <a:pt x="330" y="120"/>
                  </a:lnTo>
                  <a:close/>
                  <a:moveTo>
                    <a:pt x="138" y="258"/>
                  </a:moveTo>
                  <a:lnTo>
                    <a:pt x="138" y="234"/>
                  </a:lnTo>
                  <a:lnTo>
                    <a:pt x="126" y="234"/>
                  </a:lnTo>
                  <a:lnTo>
                    <a:pt x="120" y="240"/>
                  </a:lnTo>
                  <a:lnTo>
                    <a:pt x="120" y="246"/>
                  </a:lnTo>
                  <a:lnTo>
                    <a:pt x="126" y="252"/>
                  </a:lnTo>
                  <a:lnTo>
                    <a:pt x="108" y="252"/>
                  </a:lnTo>
                  <a:lnTo>
                    <a:pt x="108" y="258"/>
                  </a:lnTo>
                  <a:lnTo>
                    <a:pt x="114" y="264"/>
                  </a:lnTo>
                  <a:lnTo>
                    <a:pt x="120" y="264"/>
                  </a:lnTo>
                  <a:lnTo>
                    <a:pt x="126" y="270"/>
                  </a:lnTo>
                  <a:lnTo>
                    <a:pt x="150" y="270"/>
                  </a:lnTo>
                  <a:lnTo>
                    <a:pt x="138" y="258"/>
                  </a:lnTo>
                  <a:close/>
                  <a:moveTo>
                    <a:pt x="474" y="0"/>
                  </a:moveTo>
                  <a:lnTo>
                    <a:pt x="468" y="0"/>
                  </a:lnTo>
                  <a:lnTo>
                    <a:pt x="456" y="12"/>
                  </a:lnTo>
                  <a:lnTo>
                    <a:pt x="474" y="12"/>
                  </a:lnTo>
                  <a:lnTo>
                    <a:pt x="474" y="6"/>
                  </a:lnTo>
                  <a:lnTo>
                    <a:pt x="480" y="0"/>
                  </a:lnTo>
                  <a:lnTo>
                    <a:pt x="474" y="0"/>
                  </a:lnTo>
                  <a:close/>
                  <a:moveTo>
                    <a:pt x="432" y="48"/>
                  </a:moveTo>
                  <a:lnTo>
                    <a:pt x="432" y="66"/>
                  </a:lnTo>
                  <a:lnTo>
                    <a:pt x="438" y="66"/>
                  </a:lnTo>
                  <a:lnTo>
                    <a:pt x="444" y="60"/>
                  </a:lnTo>
                  <a:lnTo>
                    <a:pt x="450" y="48"/>
                  </a:lnTo>
                  <a:lnTo>
                    <a:pt x="450" y="24"/>
                  </a:lnTo>
                  <a:lnTo>
                    <a:pt x="438" y="12"/>
                  </a:lnTo>
                  <a:lnTo>
                    <a:pt x="432" y="24"/>
                  </a:lnTo>
                  <a:lnTo>
                    <a:pt x="426" y="30"/>
                  </a:lnTo>
                  <a:lnTo>
                    <a:pt x="420" y="30"/>
                  </a:lnTo>
                  <a:lnTo>
                    <a:pt x="420" y="42"/>
                  </a:lnTo>
                  <a:lnTo>
                    <a:pt x="426" y="42"/>
                  </a:lnTo>
                  <a:lnTo>
                    <a:pt x="432" y="48"/>
                  </a:lnTo>
                  <a:close/>
                  <a:moveTo>
                    <a:pt x="342" y="138"/>
                  </a:moveTo>
                  <a:lnTo>
                    <a:pt x="342" y="150"/>
                  </a:lnTo>
                  <a:lnTo>
                    <a:pt x="354" y="138"/>
                  </a:lnTo>
                  <a:lnTo>
                    <a:pt x="342" y="138"/>
                  </a:lnTo>
                  <a:close/>
                  <a:moveTo>
                    <a:pt x="192" y="402"/>
                  </a:moveTo>
                  <a:lnTo>
                    <a:pt x="192" y="390"/>
                  </a:lnTo>
                  <a:lnTo>
                    <a:pt x="186" y="384"/>
                  </a:lnTo>
                  <a:lnTo>
                    <a:pt x="186" y="378"/>
                  </a:lnTo>
                  <a:lnTo>
                    <a:pt x="174" y="390"/>
                  </a:lnTo>
                  <a:lnTo>
                    <a:pt x="174" y="396"/>
                  </a:lnTo>
                  <a:lnTo>
                    <a:pt x="180" y="402"/>
                  </a:lnTo>
                  <a:lnTo>
                    <a:pt x="192" y="402"/>
                  </a:lnTo>
                  <a:close/>
                  <a:moveTo>
                    <a:pt x="504" y="588"/>
                  </a:moveTo>
                  <a:lnTo>
                    <a:pt x="498" y="594"/>
                  </a:lnTo>
                  <a:lnTo>
                    <a:pt x="498" y="600"/>
                  </a:lnTo>
                  <a:lnTo>
                    <a:pt x="480" y="600"/>
                  </a:lnTo>
                  <a:lnTo>
                    <a:pt x="480" y="588"/>
                  </a:lnTo>
                  <a:lnTo>
                    <a:pt x="486" y="576"/>
                  </a:lnTo>
                  <a:lnTo>
                    <a:pt x="498" y="564"/>
                  </a:lnTo>
                  <a:lnTo>
                    <a:pt x="492" y="558"/>
                  </a:lnTo>
                  <a:lnTo>
                    <a:pt x="456" y="540"/>
                  </a:lnTo>
                  <a:lnTo>
                    <a:pt x="450" y="540"/>
                  </a:lnTo>
                  <a:lnTo>
                    <a:pt x="444" y="534"/>
                  </a:lnTo>
                  <a:lnTo>
                    <a:pt x="450" y="534"/>
                  </a:lnTo>
                  <a:lnTo>
                    <a:pt x="456" y="528"/>
                  </a:lnTo>
                  <a:lnTo>
                    <a:pt x="480" y="528"/>
                  </a:lnTo>
                  <a:lnTo>
                    <a:pt x="468" y="516"/>
                  </a:lnTo>
                  <a:lnTo>
                    <a:pt x="468" y="510"/>
                  </a:lnTo>
                  <a:lnTo>
                    <a:pt x="456" y="498"/>
                  </a:lnTo>
                  <a:lnTo>
                    <a:pt x="450" y="486"/>
                  </a:lnTo>
                  <a:lnTo>
                    <a:pt x="432" y="468"/>
                  </a:lnTo>
                  <a:lnTo>
                    <a:pt x="420" y="468"/>
                  </a:lnTo>
                  <a:lnTo>
                    <a:pt x="414" y="456"/>
                  </a:lnTo>
                  <a:lnTo>
                    <a:pt x="402" y="450"/>
                  </a:lnTo>
                  <a:lnTo>
                    <a:pt x="390" y="438"/>
                  </a:lnTo>
                  <a:lnTo>
                    <a:pt x="390" y="414"/>
                  </a:lnTo>
                  <a:lnTo>
                    <a:pt x="396" y="402"/>
                  </a:lnTo>
                  <a:lnTo>
                    <a:pt x="396" y="390"/>
                  </a:lnTo>
                  <a:lnTo>
                    <a:pt x="384" y="390"/>
                  </a:lnTo>
                  <a:lnTo>
                    <a:pt x="378" y="384"/>
                  </a:lnTo>
                  <a:lnTo>
                    <a:pt x="372" y="372"/>
                  </a:lnTo>
                  <a:lnTo>
                    <a:pt x="360" y="360"/>
                  </a:lnTo>
                  <a:lnTo>
                    <a:pt x="342" y="354"/>
                  </a:lnTo>
                  <a:lnTo>
                    <a:pt x="324" y="354"/>
                  </a:lnTo>
                  <a:lnTo>
                    <a:pt x="306" y="360"/>
                  </a:lnTo>
                  <a:lnTo>
                    <a:pt x="294" y="366"/>
                  </a:lnTo>
                  <a:lnTo>
                    <a:pt x="288" y="366"/>
                  </a:lnTo>
                  <a:lnTo>
                    <a:pt x="270" y="348"/>
                  </a:lnTo>
                  <a:lnTo>
                    <a:pt x="282" y="348"/>
                  </a:lnTo>
                  <a:lnTo>
                    <a:pt x="294" y="354"/>
                  </a:lnTo>
                  <a:lnTo>
                    <a:pt x="306" y="354"/>
                  </a:lnTo>
                  <a:lnTo>
                    <a:pt x="330" y="342"/>
                  </a:lnTo>
                  <a:lnTo>
                    <a:pt x="336" y="336"/>
                  </a:lnTo>
                  <a:lnTo>
                    <a:pt x="330" y="336"/>
                  </a:lnTo>
                  <a:lnTo>
                    <a:pt x="324" y="330"/>
                  </a:lnTo>
                  <a:lnTo>
                    <a:pt x="306" y="330"/>
                  </a:lnTo>
                  <a:lnTo>
                    <a:pt x="330" y="324"/>
                  </a:lnTo>
                  <a:lnTo>
                    <a:pt x="336" y="318"/>
                  </a:lnTo>
                  <a:lnTo>
                    <a:pt x="348" y="312"/>
                  </a:lnTo>
                  <a:lnTo>
                    <a:pt x="360" y="300"/>
                  </a:lnTo>
                  <a:lnTo>
                    <a:pt x="360" y="288"/>
                  </a:lnTo>
                  <a:lnTo>
                    <a:pt x="366" y="276"/>
                  </a:lnTo>
                  <a:lnTo>
                    <a:pt x="372" y="270"/>
                  </a:lnTo>
                  <a:lnTo>
                    <a:pt x="378" y="258"/>
                  </a:lnTo>
                  <a:lnTo>
                    <a:pt x="384" y="252"/>
                  </a:lnTo>
                  <a:lnTo>
                    <a:pt x="396" y="246"/>
                  </a:lnTo>
                  <a:lnTo>
                    <a:pt x="402" y="246"/>
                  </a:lnTo>
                  <a:lnTo>
                    <a:pt x="402" y="240"/>
                  </a:lnTo>
                  <a:lnTo>
                    <a:pt x="396" y="234"/>
                  </a:lnTo>
                  <a:lnTo>
                    <a:pt x="318" y="234"/>
                  </a:lnTo>
                  <a:lnTo>
                    <a:pt x="318" y="228"/>
                  </a:lnTo>
                  <a:lnTo>
                    <a:pt x="288" y="228"/>
                  </a:lnTo>
                  <a:lnTo>
                    <a:pt x="276" y="234"/>
                  </a:lnTo>
                  <a:lnTo>
                    <a:pt x="264" y="234"/>
                  </a:lnTo>
                  <a:lnTo>
                    <a:pt x="258" y="240"/>
                  </a:lnTo>
                  <a:lnTo>
                    <a:pt x="252" y="240"/>
                  </a:lnTo>
                  <a:lnTo>
                    <a:pt x="264" y="228"/>
                  </a:lnTo>
                  <a:lnTo>
                    <a:pt x="252" y="216"/>
                  </a:lnTo>
                  <a:lnTo>
                    <a:pt x="270" y="210"/>
                  </a:lnTo>
                  <a:lnTo>
                    <a:pt x="300" y="192"/>
                  </a:lnTo>
                  <a:lnTo>
                    <a:pt x="312" y="186"/>
                  </a:lnTo>
                  <a:lnTo>
                    <a:pt x="324" y="162"/>
                  </a:lnTo>
                  <a:lnTo>
                    <a:pt x="318" y="156"/>
                  </a:lnTo>
                  <a:lnTo>
                    <a:pt x="288" y="156"/>
                  </a:lnTo>
                  <a:lnTo>
                    <a:pt x="276" y="162"/>
                  </a:lnTo>
                  <a:lnTo>
                    <a:pt x="258" y="168"/>
                  </a:lnTo>
                  <a:lnTo>
                    <a:pt x="240" y="168"/>
                  </a:lnTo>
                  <a:lnTo>
                    <a:pt x="228" y="162"/>
                  </a:lnTo>
                  <a:lnTo>
                    <a:pt x="216" y="162"/>
                  </a:lnTo>
                  <a:lnTo>
                    <a:pt x="210" y="168"/>
                  </a:lnTo>
                  <a:lnTo>
                    <a:pt x="210" y="174"/>
                  </a:lnTo>
                  <a:lnTo>
                    <a:pt x="216" y="180"/>
                  </a:lnTo>
                  <a:lnTo>
                    <a:pt x="204" y="180"/>
                  </a:lnTo>
                  <a:lnTo>
                    <a:pt x="192" y="192"/>
                  </a:lnTo>
                  <a:lnTo>
                    <a:pt x="192" y="210"/>
                  </a:lnTo>
                  <a:lnTo>
                    <a:pt x="198" y="216"/>
                  </a:lnTo>
                  <a:lnTo>
                    <a:pt x="156" y="222"/>
                  </a:lnTo>
                  <a:lnTo>
                    <a:pt x="156" y="234"/>
                  </a:lnTo>
                  <a:lnTo>
                    <a:pt x="168" y="240"/>
                  </a:lnTo>
                  <a:lnTo>
                    <a:pt x="180" y="264"/>
                  </a:lnTo>
                  <a:lnTo>
                    <a:pt x="162" y="282"/>
                  </a:lnTo>
                  <a:lnTo>
                    <a:pt x="162" y="294"/>
                  </a:lnTo>
                  <a:lnTo>
                    <a:pt x="144" y="300"/>
                  </a:lnTo>
                  <a:lnTo>
                    <a:pt x="156" y="312"/>
                  </a:lnTo>
                  <a:lnTo>
                    <a:pt x="168" y="312"/>
                  </a:lnTo>
                  <a:lnTo>
                    <a:pt x="180" y="306"/>
                  </a:lnTo>
                  <a:lnTo>
                    <a:pt x="186" y="300"/>
                  </a:lnTo>
                  <a:lnTo>
                    <a:pt x="186" y="318"/>
                  </a:lnTo>
                  <a:lnTo>
                    <a:pt x="180" y="318"/>
                  </a:lnTo>
                  <a:lnTo>
                    <a:pt x="168" y="330"/>
                  </a:lnTo>
                  <a:lnTo>
                    <a:pt x="156" y="336"/>
                  </a:lnTo>
                  <a:lnTo>
                    <a:pt x="156" y="360"/>
                  </a:lnTo>
                  <a:lnTo>
                    <a:pt x="162" y="372"/>
                  </a:lnTo>
                  <a:lnTo>
                    <a:pt x="168" y="366"/>
                  </a:lnTo>
                  <a:lnTo>
                    <a:pt x="198" y="366"/>
                  </a:lnTo>
                  <a:lnTo>
                    <a:pt x="210" y="360"/>
                  </a:lnTo>
                  <a:lnTo>
                    <a:pt x="216" y="354"/>
                  </a:lnTo>
                  <a:lnTo>
                    <a:pt x="198" y="372"/>
                  </a:lnTo>
                  <a:lnTo>
                    <a:pt x="210" y="402"/>
                  </a:lnTo>
                  <a:lnTo>
                    <a:pt x="204" y="408"/>
                  </a:lnTo>
                  <a:lnTo>
                    <a:pt x="198" y="420"/>
                  </a:lnTo>
                  <a:lnTo>
                    <a:pt x="186" y="426"/>
                  </a:lnTo>
                  <a:lnTo>
                    <a:pt x="180" y="438"/>
                  </a:lnTo>
                  <a:lnTo>
                    <a:pt x="180" y="450"/>
                  </a:lnTo>
                  <a:lnTo>
                    <a:pt x="186" y="456"/>
                  </a:lnTo>
                  <a:lnTo>
                    <a:pt x="204" y="456"/>
                  </a:lnTo>
                  <a:lnTo>
                    <a:pt x="216" y="450"/>
                  </a:lnTo>
                  <a:lnTo>
                    <a:pt x="240" y="450"/>
                  </a:lnTo>
                  <a:lnTo>
                    <a:pt x="252" y="444"/>
                  </a:lnTo>
                  <a:lnTo>
                    <a:pt x="258" y="438"/>
                  </a:lnTo>
                  <a:lnTo>
                    <a:pt x="270" y="432"/>
                  </a:lnTo>
                  <a:lnTo>
                    <a:pt x="300" y="438"/>
                  </a:lnTo>
                  <a:lnTo>
                    <a:pt x="288" y="444"/>
                  </a:lnTo>
                  <a:lnTo>
                    <a:pt x="264" y="468"/>
                  </a:lnTo>
                  <a:lnTo>
                    <a:pt x="264" y="474"/>
                  </a:lnTo>
                  <a:lnTo>
                    <a:pt x="282" y="492"/>
                  </a:lnTo>
                  <a:lnTo>
                    <a:pt x="294" y="492"/>
                  </a:lnTo>
                  <a:lnTo>
                    <a:pt x="300" y="498"/>
                  </a:lnTo>
                  <a:lnTo>
                    <a:pt x="306" y="498"/>
                  </a:lnTo>
                  <a:lnTo>
                    <a:pt x="312" y="516"/>
                  </a:lnTo>
                  <a:lnTo>
                    <a:pt x="294" y="534"/>
                  </a:lnTo>
                  <a:lnTo>
                    <a:pt x="294" y="564"/>
                  </a:lnTo>
                  <a:lnTo>
                    <a:pt x="222" y="564"/>
                  </a:lnTo>
                  <a:lnTo>
                    <a:pt x="216" y="558"/>
                  </a:lnTo>
                  <a:lnTo>
                    <a:pt x="198" y="558"/>
                  </a:lnTo>
                  <a:lnTo>
                    <a:pt x="192" y="564"/>
                  </a:lnTo>
                  <a:lnTo>
                    <a:pt x="210" y="582"/>
                  </a:lnTo>
                  <a:lnTo>
                    <a:pt x="186" y="600"/>
                  </a:lnTo>
                  <a:lnTo>
                    <a:pt x="228" y="594"/>
                  </a:lnTo>
                  <a:lnTo>
                    <a:pt x="228" y="618"/>
                  </a:lnTo>
                  <a:lnTo>
                    <a:pt x="216" y="642"/>
                  </a:lnTo>
                  <a:lnTo>
                    <a:pt x="210" y="648"/>
                  </a:lnTo>
                  <a:lnTo>
                    <a:pt x="198" y="654"/>
                  </a:lnTo>
                  <a:lnTo>
                    <a:pt x="180" y="660"/>
                  </a:lnTo>
                  <a:lnTo>
                    <a:pt x="168" y="666"/>
                  </a:lnTo>
                  <a:lnTo>
                    <a:pt x="162" y="666"/>
                  </a:lnTo>
                  <a:lnTo>
                    <a:pt x="162" y="690"/>
                  </a:lnTo>
                  <a:lnTo>
                    <a:pt x="168" y="696"/>
                  </a:lnTo>
                  <a:lnTo>
                    <a:pt x="174" y="696"/>
                  </a:lnTo>
                  <a:lnTo>
                    <a:pt x="180" y="690"/>
                  </a:lnTo>
                  <a:lnTo>
                    <a:pt x="192" y="684"/>
                  </a:lnTo>
                  <a:lnTo>
                    <a:pt x="198" y="678"/>
                  </a:lnTo>
                  <a:lnTo>
                    <a:pt x="204" y="684"/>
                  </a:lnTo>
                  <a:lnTo>
                    <a:pt x="204" y="690"/>
                  </a:lnTo>
                  <a:lnTo>
                    <a:pt x="210" y="696"/>
                  </a:lnTo>
                  <a:lnTo>
                    <a:pt x="234" y="696"/>
                  </a:lnTo>
                  <a:lnTo>
                    <a:pt x="240" y="702"/>
                  </a:lnTo>
                  <a:lnTo>
                    <a:pt x="252" y="708"/>
                  </a:lnTo>
                  <a:lnTo>
                    <a:pt x="258" y="708"/>
                  </a:lnTo>
                  <a:lnTo>
                    <a:pt x="276" y="702"/>
                  </a:lnTo>
                  <a:lnTo>
                    <a:pt x="288" y="696"/>
                  </a:lnTo>
                  <a:lnTo>
                    <a:pt x="294" y="690"/>
                  </a:lnTo>
                  <a:lnTo>
                    <a:pt x="318" y="690"/>
                  </a:lnTo>
                  <a:lnTo>
                    <a:pt x="312" y="696"/>
                  </a:lnTo>
                  <a:lnTo>
                    <a:pt x="300" y="702"/>
                  </a:lnTo>
                  <a:lnTo>
                    <a:pt x="294" y="714"/>
                  </a:lnTo>
                  <a:lnTo>
                    <a:pt x="282" y="720"/>
                  </a:lnTo>
                  <a:lnTo>
                    <a:pt x="276" y="726"/>
                  </a:lnTo>
                  <a:lnTo>
                    <a:pt x="210" y="726"/>
                  </a:lnTo>
                  <a:lnTo>
                    <a:pt x="210" y="738"/>
                  </a:lnTo>
                  <a:lnTo>
                    <a:pt x="198" y="738"/>
                  </a:lnTo>
                  <a:lnTo>
                    <a:pt x="186" y="744"/>
                  </a:lnTo>
                  <a:lnTo>
                    <a:pt x="180" y="750"/>
                  </a:lnTo>
                  <a:lnTo>
                    <a:pt x="180" y="768"/>
                  </a:lnTo>
                  <a:lnTo>
                    <a:pt x="174" y="774"/>
                  </a:lnTo>
                  <a:lnTo>
                    <a:pt x="144" y="774"/>
                  </a:lnTo>
                  <a:lnTo>
                    <a:pt x="144" y="780"/>
                  </a:lnTo>
                  <a:lnTo>
                    <a:pt x="138" y="786"/>
                  </a:lnTo>
                  <a:lnTo>
                    <a:pt x="138" y="792"/>
                  </a:lnTo>
                  <a:lnTo>
                    <a:pt x="126" y="804"/>
                  </a:lnTo>
                  <a:lnTo>
                    <a:pt x="114" y="810"/>
                  </a:lnTo>
                  <a:lnTo>
                    <a:pt x="108" y="810"/>
                  </a:lnTo>
                  <a:lnTo>
                    <a:pt x="108" y="816"/>
                  </a:lnTo>
                  <a:lnTo>
                    <a:pt x="114" y="816"/>
                  </a:lnTo>
                  <a:lnTo>
                    <a:pt x="120" y="822"/>
                  </a:lnTo>
                  <a:lnTo>
                    <a:pt x="150" y="822"/>
                  </a:lnTo>
                  <a:lnTo>
                    <a:pt x="156" y="810"/>
                  </a:lnTo>
                  <a:lnTo>
                    <a:pt x="174" y="792"/>
                  </a:lnTo>
                  <a:lnTo>
                    <a:pt x="210" y="792"/>
                  </a:lnTo>
                  <a:lnTo>
                    <a:pt x="216" y="798"/>
                  </a:lnTo>
                  <a:lnTo>
                    <a:pt x="228" y="804"/>
                  </a:lnTo>
                  <a:lnTo>
                    <a:pt x="240" y="804"/>
                  </a:lnTo>
                  <a:lnTo>
                    <a:pt x="246" y="792"/>
                  </a:lnTo>
                  <a:lnTo>
                    <a:pt x="252" y="786"/>
                  </a:lnTo>
                  <a:lnTo>
                    <a:pt x="258" y="774"/>
                  </a:lnTo>
                  <a:lnTo>
                    <a:pt x="270" y="762"/>
                  </a:lnTo>
                  <a:lnTo>
                    <a:pt x="288" y="762"/>
                  </a:lnTo>
                  <a:lnTo>
                    <a:pt x="300" y="774"/>
                  </a:lnTo>
                  <a:lnTo>
                    <a:pt x="330" y="774"/>
                  </a:lnTo>
                  <a:lnTo>
                    <a:pt x="354" y="762"/>
                  </a:lnTo>
                  <a:lnTo>
                    <a:pt x="360" y="762"/>
                  </a:lnTo>
                  <a:lnTo>
                    <a:pt x="366" y="768"/>
                  </a:lnTo>
                  <a:lnTo>
                    <a:pt x="378" y="768"/>
                  </a:lnTo>
                  <a:lnTo>
                    <a:pt x="390" y="774"/>
                  </a:lnTo>
                  <a:lnTo>
                    <a:pt x="396" y="774"/>
                  </a:lnTo>
                  <a:lnTo>
                    <a:pt x="396" y="768"/>
                  </a:lnTo>
                  <a:lnTo>
                    <a:pt x="390" y="762"/>
                  </a:lnTo>
                  <a:lnTo>
                    <a:pt x="390" y="750"/>
                  </a:lnTo>
                  <a:lnTo>
                    <a:pt x="396" y="750"/>
                  </a:lnTo>
                  <a:lnTo>
                    <a:pt x="408" y="756"/>
                  </a:lnTo>
                  <a:lnTo>
                    <a:pt x="414" y="762"/>
                  </a:lnTo>
                  <a:lnTo>
                    <a:pt x="426" y="756"/>
                  </a:lnTo>
                  <a:lnTo>
                    <a:pt x="498" y="756"/>
                  </a:lnTo>
                  <a:lnTo>
                    <a:pt x="522" y="750"/>
                  </a:lnTo>
                  <a:lnTo>
                    <a:pt x="534" y="744"/>
                  </a:lnTo>
                  <a:lnTo>
                    <a:pt x="540" y="732"/>
                  </a:lnTo>
                  <a:lnTo>
                    <a:pt x="546" y="726"/>
                  </a:lnTo>
                  <a:lnTo>
                    <a:pt x="552" y="714"/>
                  </a:lnTo>
                  <a:lnTo>
                    <a:pt x="498" y="708"/>
                  </a:lnTo>
                  <a:lnTo>
                    <a:pt x="522" y="702"/>
                  </a:lnTo>
                  <a:lnTo>
                    <a:pt x="516" y="684"/>
                  </a:lnTo>
                  <a:lnTo>
                    <a:pt x="528" y="672"/>
                  </a:lnTo>
                  <a:lnTo>
                    <a:pt x="540" y="666"/>
                  </a:lnTo>
                  <a:lnTo>
                    <a:pt x="546" y="666"/>
                  </a:lnTo>
                  <a:lnTo>
                    <a:pt x="558" y="660"/>
                  </a:lnTo>
                  <a:lnTo>
                    <a:pt x="564" y="654"/>
                  </a:lnTo>
                  <a:lnTo>
                    <a:pt x="576" y="618"/>
                  </a:lnTo>
                  <a:lnTo>
                    <a:pt x="570" y="606"/>
                  </a:lnTo>
                  <a:lnTo>
                    <a:pt x="564" y="600"/>
                  </a:lnTo>
                  <a:lnTo>
                    <a:pt x="552" y="594"/>
                  </a:lnTo>
                  <a:lnTo>
                    <a:pt x="540" y="594"/>
                  </a:lnTo>
                  <a:lnTo>
                    <a:pt x="528" y="588"/>
                  </a:lnTo>
                  <a:lnTo>
                    <a:pt x="504" y="588"/>
                  </a:lnTo>
                  <a:close/>
                  <a:moveTo>
                    <a:pt x="222" y="486"/>
                  </a:moveTo>
                  <a:lnTo>
                    <a:pt x="216" y="480"/>
                  </a:lnTo>
                  <a:lnTo>
                    <a:pt x="204" y="480"/>
                  </a:lnTo>
                  <a:lnTo>
                    <a:pt x="204" y="486"/>
                  </a:lnTo>
                  <a:lnTo>
                    <a:pt x="198" y="498"/>
                  </a:lnTo>
                  <a:lnTo>
                    <a:pt x="192" y="504"/>
                  </a:lnTo>
                  <a:lnTo>
                    <a:pt x="210" y="504"/>
                  </a:lnTo>
                  <a:lnTo>
                    <a:pt x="222" y="492"/>
                  </a:lnTo>
                  <a:lnTo>
                    <a:pt x="222" y="486"/>
                  </a:lnTo>
                  <a:close/>
                  <a:moveTo>
                    <a:pt x="126" y="504"/>
                  </a:moveTo>
                  <a:lnTo>
                    <a:pt x="132" y="498"/>
                  </a:lnTo>
                  <a:lnTo>
                    <a:pt x="132" y="492"/>
                  </a:lnTo>
                  <a:lnTo>
                    <a:pt x="144" y="492"/>
                  </a:lnTo>
                  <a:lnTo>
                    <a:pt x="150" y="480"/>
                  </a:lnTo>
                  <a:lnTo>
                    <a:pt x="156" y="474"/>
                  </a:lnTo>
                  <a:lnTo>
                    <a:pt x="156" y="462"/>
                  </a:lnTo>
                  <a:lnTo>
                    <a:pt x="138" y="444"/>
                  </a:lnTo>
                  <a:lnTo>
                    <a:pt x="138" y="432"/>
                  </a:lnTo>
                  <a:lnTo>
                    <a:pt x="132" y="438"/>
                  </a:lnTo>
                  <a:lnTo>
                    <a:pt x="126" y="426"/>
                  </a:lnTo>
                  <a:lnTo>
                    <a:pt x="120" y="420"/>
                  </a:lnTo>
                  <a:lnTo>
                    <a:pt x="78" y="420"/>
                  </a:lnTo>
                  <a:lnTo>
                    <a:pt x="72" y="426"/>
                  </a:lnTo>
                  <a:lnTo>
                    <a:pt x="30" y="450"/>
                  </a:lnTo>
                  <a:lnTo>
                    <a:pt x="30" y="462"/>
                  </a:lnTo>
                  <a:lnTo>
                    <a:pt x="24" y="462"/>
                  </a:lnTo>
                  <a:lnTo>
                    <a:pt x="18" y="468"/>
                  </a:lnTo>
                  <a:lnTo>
                    <a:pt x="12" y="468"/>
                  </a:lnTo>
                  <a:lnTo>
                    <a:pt x="0" y="480"/>
                  </a:lnTo>
                  <a:lnTo>
                    <a:pt x="6" y="486"/>
                  </a:lnTo>
                  <a:lnTo>
                    <a:pt x="30" y="498"/>
                  </a:lnTo>
                  <a:lnTo>
                    <a:pt x="42" y="498"/>
                  </a:lnTo>
                  <a:lnTo>
                    <a:pt x="66" y="474"/>
                  </a:lnTo>
                  <a:lnTo>
                    <a:pt x="84" y="498"/>
                  </a:lnTo>
                  <a:lnTo>
                    <a:pt x="120" y="504"/>
                  </a:lnTo>
                  <a:lnTo>
                    <a:pt x="126" y="504"/>
                  </a:lnTo>
                  <a:close/>
                  <a:moveTo>
                    <a:pt x="78" y="228"/>
                  </a:moveTo>
                  <a:lnTo>
                    <a:pt x="72" y="228"/>
                  </a:lnTo>
                  <a:lnTo>
                    <a:pt x="66" y="234"/>
                  </a:lnTo>
                  <a:lnTo>
                    <a:pt x="66" y="240"/>
                  </a:lnTo>
                  <a:lnTo>
                    <a:pt x="84" y="240"/>
                  </a:lnTo>
                  <a:lnTo>
                    <a:pt x="84" y="228"/>
                  </a:lnTo>
                  <a:lnTo>
                    <a:pt x="78" y="228"/>
                  </a:lnTo>
                  <a:close/>
                  <a:moveTo>
                    <a:pt x="108" y="210"/>
                  </a:moveTo>
                  <a:lnTo>
                    <a:pt x="126" y="210"/>
                  </a:lnTo>
                  <a:lnTo>
                    <a:pt x="132" y="204"/>
                  </a:lnTo>
                  <a:lnTo>
                    <a:pt x="132" y="198"/>
                  </a:lnTo>
                  <a:lnTo>
                    <a:pt x="138" y="186"/>
                  </a:lnTo>
                  <a:lnTo>
                    <a:pt x="150" y="174"/>
                  </a:lnTo>
                  <a:lnTo>
                    <a:pt x="150" y="168"/>
                  </a:lnTo>
                  <a:lnTo>
                    <a:pt x="138" y="174"/>
                  </a:lnTo>
                  <a:lnTo>
                    <a:pt x="132" y="174"/>
                  </a:lnTo>
                  <a:lnTo>
                    <a:pt x="114" y="192"/>
                  </a:lnTo>
                  <a:lnTo>
                    <a:pt x="108" y="186"/>
                  </a:lnTo>
                  <a:lnTo>
                    <a:pt x="96" y="186"/>
                  </a:lnTo>
                  <a:lnTo>
                    <a:pt x="90" y="192"/>
                  </a:lnTo>
                  <a:lnTo>
                    <a:pt x="90" y="210"/>
                  </a:lnTo>
                  <a:lnTo>
                    <a:pt x="96" y="216"/>
                  </a:lnTo>
                  <a:lnTo>
                    <a:pt x="96" y="228"/>
                  </a:lnTo>
                  <a:lnTo>
                    <a:pt x="108" y="210"/>
                  </a:lnTo>
                  <a:close/>
                  <a:moveTo>
                    <a:pt x="72" y="252"/>
                  </a:moveTo>
                  <a:lnTo>
                    <a:pt x="60" y="282"/>
                  </a:lnTo>
                  <a:lnTo>
                    <a:pt x="78" y="258"/>
                  </a:lnTo>
                  <a:lnTo>
                    <a:pt x="72" y="252"/>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7" name="United Arab Emirates" descr="© INSCALE GmbH, 05.05.2010&#10;http://www.presentationload.com/">
              <a:extLst>
                <a:ext uri="{FF2B5EF4-FFF2-40B4-BE49-F238E27FC236}">
                  <a16:creationId xmlns:a16="http://schemas.microsoft.com/office/drawing/2014/main" id="{6E3C361B-93D4-3C3F-85B1-3569EA9127FC}"/>
                </a:ext>
              </a:extLst>
            </p:cNvPr>
            <p:cNvSpPr>
              <a:spLocks/>
            </p:cNvSpPr>
            <p:nvPr/>
          </p:nvSpPr>
          <p:spPr bwMode="gray">
            <a:xfrm>
              <a:off x="5599173" y="2407618"/>
              <a:ext cx="127484" cy="121556"/>
            </a:xfrm>
            <a:custGeom>
              <a:avLst/>
              <a:gdLst>
                <a:gd name="T0" fmla="*/ 2147483647 w 336"/>
                <a:gd name="T1" fmla="*/ 2147483647 h 318"/>
                <a:gd name="T2" fmla="*/ 2147483647 w 336"/>
                <a:gd name="T3" fmla="*/ 2147483647 h 318"/>
                <a:gd name="T4" fmla="*/ 2147483647 w 336"/>
                <a:gd name="T5" fmla="*/ 2147483647 h 318"/>
                <a:gd name="T6" fmla="*/ 2147483647 w 336"/>
                <a:gd name="T7" fmla="*/ 2147483647 h 318"/>
                <a:gd name="T8" fmla="*/ 2147483647 w 336"/>
                <a:gd name="T9" fmla="*/ 2147483647 h 318"/>
                <a:gd name="T10" fmla="*/ 2147483647 w 336"/>
                <a:gd name="T11" fmla="*/ 0 h 318"/>
                <a:gd name="T12" fmla="*/ 2147483647 w 336"/>
                <a:gd name="T13" fmla="*/ 2147483647 h 318"/>
                <a:gd name="T14" fmla="*/ 2147483647 w 336"/>
                <a:gd name="T15" fmla="*/ 2147483647 h 318"/>
                <a:gd name="T16" fmla="*/ 2147483647 w 336"/>
                <a:gd name="T17" fmla="*/ 2147483647 h 318"/>
                <a:gd name="T18" fmla="*/ 2147483647 w 336"/>
                <a:gd name="T19" fmla="*/ 2147483647 h 318"/>
                <a:gd name="T20" fmla="*/ 2147483647 w 336"/>
                <a:gd name="T21" fmla="*/ 2147483647 h 318"/>
                <a:gd name="T22" fmla="*/ 2147483647 w 336"/>
                <a:gd name="T23" fmla="*/ 2147483647 h 318"/>
                <a:gd name="T24" fmla="*/ 2147483647 w 336"/>
                <a:gd name="T25" fmla="*/ 2147483647 h 318"/>
                <a:gd name="T26" fmla="*/ 2147483647 w 336"/>
                <a:gd name="T27" fmla="*/ 2147483647 h 318"/>
                <a:gd name="T28" fmla="*/ 2147483647 w 336"/>
                <a:gd name="T29" fmla="*/ 2147483647 h 318"/>
                <a:gd name="T30" fmla="*/ 2147483647 w 336"/>
                <a:gd name="T31" fmla="*/ 2147483647 h 318"/>
                <a:gd name="T32" fmla="*/ 2147483647 w 336"/>
                <a:gd name="T33" fmla="*/ 2147483647 h 318"/>
                <a:gd name="T34" fmla="*/ 2147483647 w 336"/>
                <a:gd name="T35" fmla="*/ 2147483647 h 318"/>
                <a:gd name="T36" fmla="*/ 0 w 336"/>
                <a:gd name="T37" fmla="*/ 2147483647 h 318"/>
                <a:gd name="T38" fmla="*/ 2147483647 w 336"/>
                <a:gd name="T39" fmla="*/ 2147483647 h 318"/>
                <a:gd name="T40" fmla="*/ 2147483647 w 336"/>
                <a:gd name="T41" fmla="*/ 2147483647 h 318"/>
                <a:gd name="T42" fmla="*/ 2147483647 w 336"/>
                <a:gd name="T43" fmla="*/ 2147483647 h 318"/>
                <a:gd name="T44" fmla="*/ 2147483647 w 336"/>
                <a:gd name="T45" fmla="*/ 2147483647 h 318"/>
                <a:gd name="T46" fmla="*/ 2147483647 w 336"/>
                <a:gd name="T47" fmla="*/ 2147483647 h 318"/>
                <a:gd name="T48" fmla="*/ 2147483647 w 336"/>
                <a:gd name="T49" fmla="*/ 2147483647 h 318"/>
                <a:gd name="T50" fmla="*/ 2147483647 w 336"/>
                <a:gd name="T51" fmla="*/ 2147483647 h 318"/>
                <a:gd name="T52" fmla="*/ 2147483647 w 336"/>
                <a:gd name="T53" fmla="*/ 2147483647 h 318"/>
                <a:gd name="T54" fmla="*/ 2147483647 w 336"/>
                <a:gd name="T55" fmla="*/ 2147483647 h 318"/>
                <a:gd name="T56" fmla="*/ 2147483647 w 336"/>
                <a:gd name="T57" fmla="*/ 2147483647 h 318"/>
                <a:gd name="T58" fmla="*/ 2147483647 w 336"/>
                <a:gd name="T59" fmla="*/ 2147483647 h 318"/>
                <a:gd name="T60" fmla="*/ 2147483647 w 336"/>
                <a:gd name="T61" fmla="*/ 2147483647 h 318"/>
                <a:gd name="T62" fmla="*/ 2147483647 w 336"/>
                <a:gd name="T63" fmla="*/ 2147483647 h 318"/>
                <a:gd name="T64" fmla="*/ 2147483647 w 336"/>
                <a:gd name="T65" fmla="*/ 2147483647 h 318"/>
                <a:gd name="T66" fmla="*/ 2147483647 w 336"/>
                <a:gd name="T67" fmla="*/ 2147483647 h 318"/>
                <a:gd name="T68" fmla="*/ 2147483647 w 336"/>
                <a:gd name="T69" fmla="*/ 2147483647 h 31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6"/>
                <a:gd name="T106" fmla="*/ 0 h 318"/>
                <a:gd name="T107" fmla="*/ 336 w 336"/>
                <a:gd name="T108" fmla="*/ 318 h 31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6" h="318">
                  <a:moveTo>
                    <a:pt x="300" y="120"/>
                  </a:moveTo>
                  <a:lnTo>
                    <a:pt x="306" y="120"/>
                  </a:lnTo>
                  <a:lnTo>
                    <a:pt x="306" y="126"/>
                  </a:lnTo>
                  <a:lnTo>
                    <a:pt x="312" y="138"/>
                  </a:lnTo>
                  <a:lnTo>
                    <a:pt x="336" y="132"/>
                  </a:lnTo>
                  <a:lnTo>
                    <a:pt x="330" y="120"/>
                  </a:lnTo>
                  <a:lnTo>
                    <a:pt x="324" y="102"/>
                  </a:lnTo>
                  <a:lnTo>
                    <a:pt x="324" y="60"/>
                  </a:lnTo>
                  <a:lnTo>
                    <a:pt x="330" y="42"/>
                  </a:lnTo>
                  <a:lnTo>
                    <a:pt x="330" y="6"/>
                  </a:lnTo>
                  <a:lnTo>
                    <a:pt x="324" y="0"/>
                  </a:lnTo>
                  <a:lnTo>
                    <a:pt x="318" y="0"/>
                  </a:lnTo>
                  <a:lnTo>
                    <a:pt x="312" y="6"/>
                  </a:lnTo>
                  <a:lnTo>
                    <a:pt x="306" y="18"/>
                  </a:lnTo>
                  <a:lnTo>
                    <a:pt x="300" y="36"/>
                  </a:lnTo>
                  <a:lnTo>
                    <a:pt x="288" y="60"/>
                  </a:lnTo>
                  <a:lnTo>
                    <a:pt x="282" y="66"/>
                  </a:lnTo>
                  <a:lnTo>
                    <a:pt x="282" y="72"/>
                  </a:lnTo>
                  <a:lnTo>
                    <a:pt x="276" y="72"/>
                  </a:lnTo>
                  <a:lnTo>
                    <a:pt x="264" y="78"/>
                  </a:lnTo>
                  <a:lnTo>
                    <a:pt x="234" y="108"/>
                  </a:lnTo>
                  <a:lnTo>
                    <a:pt x="228" y="120"/>
                  </a:lnTo>
                  <a:lnTo>
                    <a:pt x="216" y="132"/>
                  </a:lnTo>
                  <a:lnTo>
                    <a:pt x="204" y="138"/>
                  </a:lnTo>
                  <a:lnTo>
                    <a:pt x="198" y="150"/>
                  </a:lnTo>
                  <a:lnTo>
                    <a:pt x="198" y="168"/>
                  </a:lnTo>
                  <a:lnTo>
                    <a:pt x="192" y="180"/>
                  </a:lnTo>
                  <a:lnTo>
                    <a:pt x="192" y="186"/>
                  </a:lnTo>
                  <a:lnTo>
                    <a:pt x="186" y="192"/>
                  </a:lnTo>
                  <a:lnTo>
                    <a:pt x="150" y="192"/>
                  </a:lnTo>
                  <a:lnTo>
                    <a:pt x="132" y="186"/>
                  </a:lnTo>
                  <a:lnTo>
                    <a:pt x="90" y="186"/>
                  </a:lnTo>
                  <a:lnTo>
                    <a:pt x="72" y="192"/>
                  </a:lnTo>
                  <a:lnTo>
                    <a:pt x="48" y="204"/>
                  </a:lnTo>
                  <a:lnTo>
                    <a:pt x="24" y="204"/>
                  </a:lnTo>
                  <a:lnTo>
                    <a:pt x="12" y="192"/>
                  </a:lnTo>
                  <a:lnTo>
                    <a:pt x="0" y="186"/>
                  </a:lnTo>
                  <a:lnTo>
                    <a:pt x="0" y="198"/>
                  </a:lnTo>
                  <a:lnTo>
                    <a:pt x="18" y="216"/>
                  </a:lnTo>
                  <a:lnTo>
                    <a:pt x="30" y="240"/>
                  </a:lnTo>
                  <a:lnTo>
                    <a:pt x="54" y="264"/>
                  </a:lnTo>
                  <a:lnTo>
                    <a:pt x="60" y="276"/>
                  </a:lnTo>
                  <a:lnTo>
                    <a:pt x="72" y="282"/>
                  </a:lnTo>
                  <a:lnTo>
                    <a:pt x="78" y="294"/>
                  </a:lnTo>
                  <a:lnTo>
                    <a:pt x="96" y="294"/>
                  </a:lnTo>
                  <a:lnTo>
                    <a:pt x="132" y="300"/>
                  </a:lnTo>
                  <a:lnTo>
                    <a:pt x="228" y="312"/>
                  </a:lnTo>
                  <a:lnTo>
                    <a:pt x="270" y="318"/>
                  </a:lnTo>
                  <a:lnTo>
                    <a:pt x="264" y="306"/>
                  </a:lnTo>
                  <a:lnTo>
                    <a:pt x="258" y="300"/>
                  </a:lnTo>
                  <a:lnTo>
                    <a:pt x="252" y="288"/>
                  </a:lnTo>
                  <a:lnTo>
                    <a:pt x="252" y="276"/>
                  </a:lnTo>
                  <a:lnTo>
                    <a:pt x="258" y="270"/>
                  </a:lnTo>
                  <a:lnTo>
                    <a:pt x="264" y="258"/>
                  </a:lnTo>
                  <a:lnTo>
                    <a:pt x="270" y="252"/>
                  </a:lnTo>
                  <a:lnTo>
                    <a:pt x="276" y="240"/>
                  </a:lnTo>
                  <a:lnTo>
                    <a:pt x="276" y="228"/>
                  </a:lnTo>
                  <a:lnTo>
                    <a:pt x="282" y="216"/>
                  </a:lnTo>
                  <a:lnTo>
                    <a:pt x="282" y="204"/>
                  </a:lnTo>
                  <a:lnTo>
                    <a:pt x="288" y="198"/>
                  </a:lnTo>
                  <a:lnTo>
                    <a:pt x="288" y="192"/>
                  </a:lnTo>
                  <a:lnTo>
                    <a:pt x="300" y="192"/>
                  </a:lnTo>
                  <a:lnTo>
                    <a:pt x="300" y="198"/>
                  </a:lnTo>
                  <a:lnTo>
                    <a:pt x="306" y="198"/>
                  </a:lnTo>
                  <a:lnTo>
                    <a:pt x="306" y="192"/>
                  </a:lnTo>
                  <a:lnTo>
                    <a:pt x="288" y="174"/>
                  </a:lnTo>
                  <a:lnTo>
                    <a:pt x="288" y="144"/>
                  </a:lnTo>
                  <a:lnTo>
                    <a:pt x="294" y="132"/>
                  </a:lnTo>
                  <a:lnTo>
                    <a:pt x="294" y="126"/>
                  </a:lnTo>
                  <a:lnTo>
                    <a:pt x="300" y="120"/>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8" name="Ukraine" descr="© INSCALE GmbH, 05.05.2010&#10;http://www.presentationload.com/">
              <a:extLst>
                <a:ext uri="{FF2B5EF4-FFF2-40B4-BE49-F238E27FC236}">
                  <a16:creationId xmlns:a16="http://schemas.microsoft.com/office/drawing/2014/main" id="{7290A157-3D88-B52F-7ED3-8E0E931DEB65}"/>
                </a:ext>
              </a:extLst>
            </p:cNvPr>
            <p:cNvSpPr>
              <a:spLocks/>
            </p:cNvSpPr>
            <p:nvPr/>
          </p:nvSpPr>
          <p:spPr bwMode="gray">
            <a:xfrm>
              <a:off x="4792763" y="1627887"/>
              <a:ext cx="423959" cy="237181"/>
            </a:xfrm>
            <a:custGeom>
              <a:avLst/>
              <a:gdLst>
                <a:gd name="T0" fmla="*/ 2147483647 w 1116"/>
                <a:gd name="T1" fmla="*/ 2147483647 h 624"/>
                <a:gd name="T2" fmla="*/ 2147483647 w 1116"/>
                <a:gd name="T3" fmla="*/ 2147483647 h 624"/>
                <a:gd name="T4" fmla="*/ 2147483647 w 1116"/>
                <a:gd name="T5" fmla="*/ 2147483647 h 624"/>
                <a:gd name="T6" fmla="*/ 2147483647 w 1116"/>
                <a:gd name="T7" fmla="*/ 2147483647 h 624"/>
                <a:gd name="T8" fmla="*/ 2147483647 w 1116"/>
                <a:gd name="T9" fmla="*/ 2147483647 h 624"/>
                <a:gd name="T10" fmla="*/ 2147483647 w 1116"/>
                <a:gd name="T11" fmla="*/ 2147483647 h 624"/>
                <a:gd name="T12" fmla="*/ 2147483647 w 1116"/>
                <a:gd name="T13" fmla="*/ 2147483647 h 624"/>
                <a:gd name="T14" fmla="*/ 2147483647 w 1116"/>
                <a:gd name="T15" fmla="*/ 2147483647 h 624"/>
                <a:gd name="T16" fmla="*/ 2147483647 w 1116"/>
                <a:gd name="T17" fmla="*/ 2147483647 h 624"/>
                <a:gd name="T18" fmla="*/ 2147483647 w 1116"/>
                <a:gd name="T19" fmla="*/ 2147483647 h 624"/>
                <a:gd name="T20" fmla="*/ 2147483647 w 1116"/>
                <a:gd name="T21" fmla="*/ 2147483647 h 624"/>
                <a:gd name="T22" fmla="*/ 2147483647 w 1116"/>
                <a:gd name="T23" fmla="*/ 2147483647 h 624"/>
                <a:gd name="T24" fmla="*/ 2147483647 w 1116"/>
                <a:gd name="T25" fmla="*/ 2147483647 h 624"/>
                <a:gd name="T26" fmla="*/ 2147483647 w 1116"/>
                <a:gd name="T27" fmla="*/ 2147483647 h 624"/>
                <a:gd name="T28" fmla="*/ 2147483647 w 1116"/>
                <a:gd name="T29" fmla="*/ 2147483647 h 624"/>
                <a:gd name="T30" fmla="*/ 2147483647 w 1116"/>
                <a:gd name="T31" fmla="*/ 2147483647 h 624"/>
                <a:gd name="T32" fmla="*/ 2147483647 w 1116"/>
                <a:gd name="T33" fmla="*/ 2147483647 h 624"/>
                <a:gd name="T34" fmla="*/ 2147483647 w 1116"/>
                <a:gd name="T35" fmla="*/ 2147483647 h 624"/>
                <a:gd name="T36" fmla="*/ 2147483647 w 1116"/>
                <a:gd name="T37" fmla="*/ 2147483647 h 624"/>
                <a:gd name="T38" fmla="*/ 2147483647 w 1116"/>
                <a:gd name="T39" fmla="*/ 2147483647 h 624"/>
                <a:gd name="T40" fmla="*/ 2147483647 w 1116"/>
                <a:gd name="T41" fmla="*/ 2147483647 h 624"/>
                <a:gd name="T42" fmla="*/ 2147483647 w 1116"/>
                <a:gd name="T43" fmla="*/ 2147483647 h 624"/>
                <a:gd name="T44" fmla="*/ 2147483647 w 1116"/>
                <a:gd name="T45" fmla="*/ 2147483647 h 624"/>
                <a:gd name="T46" fmla="*/ 2147483647 w 1116"/>
                <a:gd name="T47" fmla="*/ 2147483647 h 624"/>
                <a:gd name="T48" fmla="*/ 2147483647 w 1116"/>
                <a:gd name="T49" fmla="*/ 2147483647 h 624"/>
                <a:gd name="T50" fmla="*/ 2147483647 w 1116"/>
                <a:gd name="T51" fmla="*/ 2147483647 h 624"/>
                <a:gd name="T52" fmla="*/ 2147483647 w 1116"/>
                <a:gd name="T53" fmla="*/ 2147483647 h 624"/>
                <a:gd name="T54" fmla="*/ 2147483647 w 1116"/>
                <a:gd name="T55" fmla="*/ 2147483647 h 624"/>
                <a:gd name="T56" fmla="*/ 2147483647 w 1116"/>
                <a:gd name="T57" fmla="*/ 2147483647 h 624"/>
                <a:gd name="T58" fmla="*/ 2147483647 w 1116"/>
                <a:gd name="T59" fmla="*/ 2147483647 h 624"/>
                <a:gd name="T60" fmla="*/ 2147483647 w 1116"/>
                <a:gd name="T61" fmla="*/ 2147483647 h 624"/>
                <a:gd name="T62" fmla="*/ 2147483647 w 1116"/>
                <a:gd name="T63" fmla="*/ 2147483647 h 624"/>
                <a:gd name="T64" fmla="*/ 2147483647 w 1116"/>
                <a:gd name="T65" fmla="*/ 2147483647 h 624"/>
                <a:gd name="T66" fmla="*/ 2147483647 w 1116"/>
                <a:gd name="T67" fmla="*/ 2147483647 h 624"/>
                <a:gd name="T68" fmla="*/ 2147483647 w 1116"/>
                <a:gd name="T69" fmla="*/ 2147483647 h 624"/>
                <a:gd name="T70" fmla="*/ 2147483647 w 1116"/>
                <a:gd name="T71" fmla="*/ 2147483647 h 624"/>
                <a:gd name="T72" fmla="*/ 2147483647 w 1116"/>
                <a:gd name="T73" fmla="*/ 2147483647 h 624"/>
                <a:gd name="T74" fmla="*/ 2147483647 w 1116"/>
                <a:gd name="T75" fmla="*/ 2147483647 h 624"/>
                <a:gd name="T76" fmla="*/ 2147483647 w 1116"/>
                <a:gd name="T77" fmla="*/ 2147483647 h 624"/>
                <a:gd name="T78" fmla="*/ 2147483647 w 1116"/>
                <a:gd name="T79" fmla="*/ 2147483647 h 624"/>
                <a:gd name="T80" fmla="*/ 2147483647 w 1116"/>
                <a:gd name="T81" fmla="*/ 2147483647 h 624"/>
                <a:gd name="T82" fmla="*/ 2147483647 w 1116"/>
                <a:gd name="T83" fmla="*/ 2147483647 h 624"/>
                <a:gd name="T84" fmla="*/ 2147483647 w 1116"/>
                <a:gd name="T85" fmla="*/ 2147483647 h 624"/>
                <a:gd name="T86" fmla="*/ 2147483647 w 1116"/>
                <a:gd name="T87" fmla="*/ 2147483647 h 624"/>
                <a:gd name="T88" fmla="*/ 2147483647 w 1116"/>
                <a:gd name="T89" fmla="*/ 0 h 624"/>
                <a:gd name="T90" fmla="*/ 2147483647 w 1116"/>
                <a:gd name="T91" fmla="*/ 2147483647 h 624"/>
                <a:gd name="T92" fmla="*/ 2147483647 w 1116"/>
                <a:gd name="T93" fmla="*/ 2147483647 h 624"/>
                <a:gd name="T94" fmla="*/ 2147483647 w 1116"/>
                <a:gd name="T95" fmla="*/ 2147483647 h 624"/>
                <a:gd name="T96" fmla="*/ 2147483647 w 1116"/>
                <a:gd name="T97" fmla="*/ 2147483647 h 624"/>
                <a:gd name="T98" fmla="*/ 2147483647 w 1116"/>
                <a:gd name="T99" fmla="*/ 2147483647 h 624"/>
                <a:gd name="T100" fmla="*/ 2147483647 w 1116"/>
                <a:gd name="T101" fmla="*/ 2147483647 h 624"/>
                <a:gd name="T102" fmla="*/ 2147483647 w 1116"/>
                <a:gd name="T103" fmla="*/ 2147483647 h 624"/>
                <a:gd name="T104" fmla="*/ 2147483647 w 1116"/>
                <a:gd name="T105" fmla="*/ 2147483647 h 624"/>
                <a:gd name="T106" fmla="*/ 2147483647 w 1116"/>
                <a:gd name="T107" fmla="*/ 2147483647 h 624"/>
                <a:gd name="T108" fmla="*/ 2147483647 w 1116"/>
                <a:gd name="T109" fmla="*/ 2147483647 h 624"/>
                <a:gd name="T110" fmla="*/ 2147483647 w 1116"/>
                <a:gd name="T111" fmla="*/ 2147483647 h 624"/>
                <a:gd name="T112" fmla="*/ 2147483647 w 1116"/>
                <a:gd name="T113" fmla="*/ 2147483647 h 624"/>
                <a:gd name="T114" fmla="*/ 2147483647 w 1116"/>
                <a:gd name="T115" fmla="*/ 2147483647 h 624"/>
                <a:gd name="T116" fmla="*/ 2147483647 w 1116"/>
                <a:gd name="T117" fmla="*/ 2147483647 h 6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116"/>
                <a:gd name="T178" fmla="*/ 0 h 624"/>
                <a:gd name="T179" fmla="*/ 1116 w 1116"/>
                <a:gd name="T180" fmla="*/ 624 h 6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116" h="624">
                  <a:moveTo>
                    <a:pt x="24" y="324"/>
                  </a:moveTo>
                  <a:lnTo>
                    <a:pt x="30" y="324"/>
                  </a:lnTo>
                  <a:lnTo>
                    <a:pt x="36" y="330"/>
                  </a:lnTo>
                  <a:lnTo>
                    <a:pt x="48" y="330"/>
                  </a:lnTo>
                  <a:lnTo>
                    <a:pt x="54" y="336"/>
                  </a:lnTo>
                  <a:lnTo>
                    <a:pt x="78" y="336"/>
                  </a:lnTo>
                  <a:lnTo>
                    <a:pt x="84" y="342"/>
                  </a:lnTo>
                  <a:lnTo>
                    <a:pt x="108" y="342"/>
                  </a:lnTo>
                  <a:lnTo>
                    <a:pt x="114" y="348"/>
                  </a:lnTo>
                  <a:lnTo>
                    <a:pt x="126" y="342"/>
                  </a:lnTo>
                  <a:lnTo>
                    <a:pt x="132" y="342"/>
                  </a:lnTo>
                  <a:lnTo>
                    <a:pt x="144" y="336"/>
                  </a:lnTo>
                  <a:lnTo>
                    <a:pt x="150" y="336"/>
                  </a:lnTo>
                  <a:lnTo>
                    <a:pt x="174" y="360"/>
                  </a:lnTo>
                  <a:lnTo>
                    <a:pt x="186" y="360"/>
                  </a:lnTo>
                  <a:lnTo>
                    <a:pt x="198" y="348"/>
                  </a:lnTo>
                  <a:lnTo>
                    <a:pt x="198" y="342"/>
                  </a:lnTo>
                  <a:lnTo>
                    <a:pt x="222" y="348"/>
                  </a:lnTo>
                  <a:lnTo>
                    <a:pt x="228" y="336"/>
                  </a:lnTo>
                  <a:lnTo>
                    <a:pt x="234" y="342"/>
                  </a:lnTo>
                  <a:lnTo>
                    <a:pt x="252" y="342"/>
                  </a:lnTo>
                  <a:lnTo>
                    <a:pt x="258" y="336"/>
                  </a:lnTo>
                  <a:lnTo>
                    <a:pt x="258" y="330"/>
                  </a:lnTo>
                  <a:lnTo>
                    <a:pt x="270" y="318"/>
                  </a:lnTo>
                  <a:lnTo>
                    <a:pt x="282" y="318"/>
                  </a:lnTo>
                  <a:lnTo>
                    <a:pt x="288" y="306"/>
                  </a:lnTo>
                  <a:lnTo>
                    <a:pt x="294" y="306"/>
                  </a:lnTo>
                  <a:lnTo>
                    <a:pt x="306" y="312"/>
                  </a:lnTo>
                  <a:lnTo>
                    <a:pt x="318" y="312"/>
                  </a:lnTo>
                  <a:lnTo>
                    <a:pt x="318" y="306"/>
                  </a:lnTo>
                  <a:lnTo>
                    <a:pt x="324" y="306"/>
                  </a:lnTo>
                  <a:lnTo>
                    <a:pt x="336" y="300"/>
                  </a:lnTo>
                  <a:lnTo>
                    <a:pt x="342" y="300"/>
                  </a:lnTo>
                  <a:lnTo>
                    <a:pt x="354" y="312"/>
                  </a:lnTo>
                  <a:lnTo>
                    <a:pt x="360" y="312"/>
                  </a:lnTo>
                  <a:lnTo>
                    <a:pt x="360" y="318"/>
                  </a:lnTo>
                  <a:lnTo>
                    <a:pt x="402" y="318"/>
                  </a:lnTo>
                  <a:lnTo>
                    <a:pt x="408" y="324"/>
                  </a:lnTo>
                  <a:lnTo>
                    <a:pt x="408" y="336"/>
                  </a:lnTo>
                  <a:lnTo>
                    <a:pt x="426" y="336"/>
                  </a:lnTo>
                  <a:lnTo>
                    <a:pt x="438" y="342"/>
                  </a:lnTo>
                  <a:lnTo>
                    <a:pt x="444" y="348"/>
                  </a:lnTo>
                  <a:lnTo>
                    <a:pt x="450" y="360"/>
                  </a:lnTo>
                  <a:lnTo>
                    <a:pt x="444" y="366"/>
                  </a:lnTo>
                  <a:lnTo>
                    <a:pt x="444" y="390"/>
                  </a:lnTo>
                  <a:lnTo>
                    <a:pt x="456" y="384"/>
                  </a:lnTo>
                  <a:lnTo>
                    <a:pt x="462" y="384"/>
                  </a:lnTo>
                  <a:lnTo>
                    <a:pt x="468" y="390"/>
                  </a:lnTo>
                  <a:lnTo>
                    <a:pt x="462" y="396"/>
                  </a:lnTo>
                  <a:lnTo>
                    <a:pt x="462" y="414"/>
                  </a:lnTo>
                  <a:lnTo>
                    <a:pt x="474" y="414"/>
                  </a:lnTo>
                  <a:lnTo>
                    <a:pt x="480" y="420"/>
                  </a:lnTo>
                  <a:lnTo>
                    <a:pt x="492" y="420"/>
                  </a:lnTo>
                  <a:lnTo>
                    <a:pt x="498" y="426"/>
                  </a:lnTo>
                  <a:lnTo>
                    <a:pt x="498" y="456"/>
                  </a:lnTo>
                  <a:lnTo>
                    <a:pt x="492" y="456"/>
                  </a:lnTo>
                  <a:lnTo>
                    <a:pt x="480" y="462"/>
                  </a:lnTo>
                  <a:lnTo>
                    <a:pt x="462" y="462"/>
                  </a:lnTo>
                  <a:lnTo>
                    <a:pt x="456" y="456"/>
                  </a:lnTo>
                  <a:lnTo>
                    <a:pt x="438" y="456"/>
                  </a:lnTo>
                  <a:lnTo>
                    <a:pt x="432" y="462"/>
                  </a:lnTo>
                  <a:lnTo>
                    <a:pt x="432" y="468"/>
                  </a:lnTo>
                  <a:lnTo>
                    <a:pt x="438" y="468"/>
                  </a:lnTo>
                  <a:lnTo>
                    <a:pt x="450" y="474"/>
                  </a:lnTo>
                  <a:lnTo>
                    <a:pt x="456" y="480"/>
                  </a:lnTo>
                  <a:lnTo>
                    <a:pt x="438" y="492"/>
                  </a:lnTo>
                  <a:lnTo>
                    <a:pt x="432" y="498"/>
                  </a:lnTo>
                  <a:lnTo>
                    <a:pt x="420" y="504"/>
                  </a:lnTo>
                  <a:lnTo>
                    <a:pt x="414" y="504"/>
                  </a:lnTo>
                  <a:lnTo>
                    <a:pt x="414" y="516"/>
                  </a:lnTo>
                  <a:lnTo>
                    <a:pt x="420" y="522"/>
                  </a:lnTo>
                  <a:lnTo>
                    <a:pt x="420" y="534"/>
                  </a:lnTo>
                  <a:lnTo>
                    <a:pt x="396" y="540"/>
                  </a:lnTo>
                  <a:lnTo>
                    <a:pt x="390" y="528"/>
                  </a:lnTo>
                  <a:lnTo>
                    <a:pt x="390" y="516"/>
                  </a:lnTo>
                  <a:lnTo>
                    <a:pt x="390" y="528"/>
                  </a:lnTo>
                  <a:lnTo>
                    <a:pt x="396" y="540"/>
                  </a:lnTo>
                  <a:lnTo>
                    <a:pt x="396" y="546"/>
                  </a:lnTo>
                  <a:lnTo>
                    <a:pt x="408" y="552"/>
                  </a:lnTo>
                  <a:lnTo>
                    <a:pt x="438" y="552"/>
                  </a:lnTo>
                  <a:lnTo>
                    <a:pt x="444" y="546"/>
                  </a:lnTo>
                  <a:lnTo>
                    <a:pt x="450" y="546"/>
                  </a:lnTo>
                  <a:lnTo>
                    <a:pt x="456" y="540"/>
                  </a:lnTo>
                  <a:lnTo>
                    <a:pt x="474" y="540"/>
                  </a:lnTo>
                  <a:lnTo>
                    <a:pt x="480" y="534"/>
                  </a:lnTo>
                  <a:lnTo>
                    <a:pt x="486" y="534"/>
                  </a:lnTo>
                  <a:lnTo>
                    <a:pt x="480" y="528"/>
                  </a:lnTo>
                  <a:lnTo>
                    <a:pt x="486" y="528"/>
                  </a:lnTo>
                  <a:lnTo>
                    <a:pt x="492" y="522"/>
                  </a:lnTo>
                  <a:lnTo>
                    <a:pt x="510" y="516"/>
                  </a:lnTo>
                  <a:lnTo>
                    <a:pt x="522" y="510"/>
                  </a:lnTo>
                  <a:lnTo>
                    <a:pt x="528" y="504"/>
                  </a:lnTo>
                  <a:lnTo>
                    <a:pt x="534" y="492"/>
                  </a:lnTo>
                  <a:lnTo>
                    <a:pt x="540" y="486"/>
                  </a:lnTo>
                  <a:lnTo>
                    <a:pt x="546" y="474"/>
                  </a:lnTo>
                  <a:lnTo>
                    <a:pt x="552" y="468"/>
                  </a:lnTo>
                  <a:lnTo>
                    <a:pt x="552" y="462"/>
                  </a:lnTo>
                  <a:lnTo>
                    <a:pt x="582" y="450"/>
                  </a:lnTo>
                  <a:lnTo>
                    <a:pt x="600" y="438"/>
                  </a:lnTo>
                  <a:lnTo>
                    <a:pt x="612" y="444"/>
                  </a:lnTo>
                  <a:lnTo>
                    <a:pt x="624" y="444"/>
                  </a:lnTo>
                  <a:lnTo>
                    <a:pt x="636" y="450"/>
                  </a:lnTo>
                  <a:lnTo>
                    <a:pt x="654" y="450"/>
                  </a:lnTo>
                  <a:lnTo>
                    <a:pt x="666" y="438"/>
                  </a:lnTo>
                  <a:lnTo>
                    <a:pt x="648" y="462"/>
                  </a:lnTo>
                  <a:lnTo>
                    <a:pt x="624" y="462"/>
                  </a:lnTo>
                  <a:lnTo>
                    <a:pt x="630" y="468"/>
                  </a:lnTo>
                  <a:lnTo>
                    <a:pt x="642" y="474"/>
                  </a:lnTo>
                  <a:lnTo>
                    <a:pt x="654" y="486"/>
                  </a:lnTo>
                  <a:lnTo>
                    <a:pt x="726" y="486"/>
                  </a:lnTo>
                  <a:lnTo>
                    <a:pt x="738" y="504"/>
                  </a:lnTo>
                  <a:lnTo>
                    <a:pt x="726" y="510"/>
                  </a:lnTo>
                  <a:lnTo>
                    <a:pt x="720" y="516"/>
                  </a:lnTo>
                  <a:lnTo>
                    <a:pt x="684" y="534"/>
                  </a:lnTo>
                  <a:lnTo>
                    <a:pt x="678" y="540"/>
                  </a:lnTo>
                  <a:lnTo>
                    <a:pt x="678" y="546"/>
                  </a:lnTo>
                  <a:lnTo>
                    <a:pt x="684" y="546"/>
                  </a:lnTo>
                  <a:lnTo>
                    <a:pt x="690" y="552"/>
                  </a:lnTo>
                  <a:lnTo>
                    <a:pt x="720" y="552"/>
                  </a:lnTo>
                  <a:lnTo>
                    <a:pt x="732" y="558"/>
                  </a:lnTo>
                  <a:lnTo>
                    <a:pt x="744" y="570"/>
                  </a:lnTo>
                  <a:lnTo>
                    <a:pt x="744" y="594"/>
                  </a:lnTo>
                  <a:lnTo>
                    <a:pt x="738" y="606"/>
                  </a:lnTo>
                  <a:lnTo>
                    <a:pt x="738" y="618"/>
                  </a:lnTo>
                  <a:lnTo>
                    <a:pt x="756" y="618"/>
                  </a:lnTo>
                  <a:lnTo>
                    <a:pt x="768" y="624"/>
                  </a:lnTo>
                  <a:lnTo>
                    <a:pt x="780" y="624"/>
                  </a:lnTo>
                  <a:lnTo>
                    <a:pt x="780" y="618"/>
                  </a:lnTo>
                  <a:lnTo>
                    <a:pt x="792" y="606"/>
                  </a:lnTo>
                  <a:lnTo>
                    <a:pt x="804" y="600"/>
                  </a:lnTo>
                  <a:lnTo>
                    <a:pt x="810" y="594"/>
                  </a:lnTo>
                  <a:lnTo>
                    <a:pt x="840" y="594"/>
                  </a:lnTo>
                  <a:lnTo>
                    <a:pt x="858" y="576"/>
                  </a:lnTo>
                  <a:lnTo>
                    <a:pt x="858" y="570"/>
                  </a:lnTo>
                  <a:lnTo>
                    <a:pt x="864" y="564"/>
                  </a:lnTo>
                  <a:lnTo>
                    <a:pt x="870" y="564"/>
                  </a:lnTo>
                  <a:lnTo>
                    <a:pt x="882" y="576"/>
                  </a:lnTo>
                  <a:lnTo>
                    <a:pt x="918" y="570"/>
                  </a:lnTo>
                  <a:lnTo>
                    <a:pt x="918" y="552"/>
                  </a:lnTo>
                  <a:lnTo>
                    <a:pt x="930" y="540"/>
                  </a:lnTo>
                  <a:lnTo>
                    <a:pt x="900" y="540"/>
                  </a:lnTo>
                  <a:lnTo>
                    <a:pt x="894" y="546"/>
                  </a:lnTo>
                  <a:lnTo>
                    <a:pt x="882" y="552"/>
                  </a:lnTo>
                  <a:lnTo>
                    <a:pt x="852" y="552"/>
                  </a:lnTo>
                  <a:lnTo>
                    <a:pt x="846" y="546"/>
                  </a:lnTo>
                  <a:lnTo>
                    <a:pt x="834" y="540"/>
                  </a:lnTo>
                  <a:lnTo>
                    <a:pt x="828" y="534"/>
                  </a:lnTo>
                  <a:lnTo>
                    <a:pt x="828" y="522"/>
                  </a:lnTo>
                  <a:lnTo>
                    <a:pt x="822" y="516"/>
                  </a:lnTo>
                  <a:lnTo>
                    <a:pt x="810" y="516"/>
                  </a:lnTo>
                  <a:lnTo>
                    <a:pt x="786" y="498"/>
                  </a:lnTo>
                  <a:lnTo>
                    <a:pt x="750" y="492"/>
                  </a:lnTo>
                  <a:lnTo>
                    <a:pt x="744" y="480"/>
                  </a:lnTo>
                  <a:lnTo>
                    <a:pt x="810" y="480"/>
                  </a:lnTo>
                  <a:lnTo>
                    <a:pt x="822" y="474"/>
                  </a:lnTo>
                  <a:lnTo>
                    <a:pt x="834" y="462"/>
                  </a:lnTo>
                  <a:lnTo>
                    <a:pt x="846" y="468"/>
                  </a:lnTo>
                  <a:lnTo>
                    <a:pt x="852" y="462"/>
                  </a:lnTo>
                  <a:lnTo>
                    <a:pt x="864" y="456"/>
                  </a:lnTo>
                  <a:lnTo>
                    <a:pt x="870" y="450"/>
                  </a:lnTo>
                  <a:lnTo>
                    <a:pt x="882" y="444"/>
                  </a:lnTo>
                  <a:lnTo>
                    <a:pt x="906" y="444"/>
                  </a:lnTo>
                  <a:lnTo>
                    <a:pt x="918" y="438"/>
                  </a:lnTo>
                  <a:lnTo>
                    <a:pt x="930" y="438"/>
                  </a:lnTo>
                  <a:lnTo>
                    <a:pt x="978" y="408"/>
                  </a:lnTo>
                  <a:lnTo>
                    <a:pt x="1014" y="408"/>
                  </a:lnTo>
                  <a:lnTo>
                    <a:pt x="1014" y="372"/>
                  </a:lnTo>
                  <a:lnTo>
                    <a:pt x="1032" y="372"/>
                  </a:lnTo>
                  <a:lnTo>
                    <a:pt x="1038" y="366"/>
                  </a:lnTo>
                  <a:lnTo>
                    <a:pt x="1038" y="360"/>
                  </a:lnTo>
                  <a:lnTo>
                    <a:pt x="1050" y="348"/>
                  </a:lnTo>
                  <a:lnTo>
                    <a:pt x="1080" y="348"/>
                  </a:lnTo>
                  <a:lnTo>
                    <a:pt x="1092" y="342"/>
                  </a:lnTo>
                  <a:lnTo>
                    <a:pt x="1104" y="342"/>
                  </a:lnTo>
                  <a:lnTo>
                    <a:pt x="1116" y="330"/>
                  </a:lnTo>
                  <a:lnTo>
                    <a:pt x="1116" y="324"/>
                  </a:lnTo>
                  <a:lnTo>
                    <a:pt x="1110" y="312"/>
                  </a:lnTo>
                  <a:lnTo>
                    <a:pt x="1110" y="300"/>
                  </a:lnTo>
                  <a:lnTo>
                    <a:pt x="1098" y="294"/>
                  </a:lnTo>
                  <a:lnTo>
                    <a:pt x="1086" y="282"/>
                  </a:lnTo>
                  <a:lnTo>
                    <a:pt x="1092" y="276"/>
                  </a:lnTo>
                  <a:lnTo>
                    <a:pt x="1110" y="276"/>
                  </a:lnTo>
                  <a:lnTo>
                    <a:pt x="1116" y="270"/>
                  </a:lnTo>
                  <a:lnTo>
                    <a:pt x="1110" y="264"/>
                  </a:lnTo>
                  <a:lnTo>
                    <a:pt x="1104" y="264"/>
                  </a:lnTo>
                  <a:lnTo>
                    <a:pt x="1098" y="258"/>
                  </a:lnTo>
                  <a:lnTo>
                    <a:pt x="1092" y="258"/>
                  </a:lnTo>
                  <a:lnTo>
                    <a:pt x="1110" y="246"/>
                  </a:lnTo>
                  <a:lnTo>
                    <a:pt x="1110" y="222"/>
                  </a:lnTo>
                  <a:lnTo>
                    <a:pt x="1104" y="216"/>
                  </a:lnTo>
                  <a:lnTo>
                    <a:pt x="1080" y="216"/>
                  </a:lnTo>
                  <a:lnTo>
                    <a:pt x="1062" y="204"/>
                  </a:lnTo>
                  <a:lnTo>
                    <a:pt x="1056" y="198"/>
                  </a:lnTo>
                  <a:lnTo>
                    <a:pt x="1056" y="192"/>
                  </a:lnTo>
                  <a:lnTo>
                    <a:pt x="1014" y="192"/>
                  </a:lnTo>
                  <a:lnTo>
                    <a:pt x="1002" y="186"/>
                  </a:lnTo>
                  <a:lnTo>
                    <a:pt x="996" y="180"/>
                  </a:lnTo>
                  <a:lnTo>
                    <a:pt x="978" y="180"/>
                  </a:lnTo>
                  <a:lnTo>
                    <a:pt x="966" y="186"/>
                  </a:lnTo>
                  <a:lnTo>
                    <a:pt x="942" y="162"/>
                  </a:lnTo>
                  <a:lnTo>
                    <a:pt x="936" y="150"/>
                  </a:lnTo>
                  <a:lnTo>
                    <a:pt x="924" y="150"/>
                  </a:lnTo>
                  <a:lnTo>
                    <a:pt x="918" y="156"/>
                  </a:lnTo>
                  <a:lnTo>
                    <a:pt x="918" y="162"/>
                  </a:lnTo>
                  <a:lnTo>
                    <a:pt x="912" y="156"/>
                  </a:lnTo>
                  <a:lnTo>
                    <a:pt x="864" y="156"/>
                  </a:lnTo>
                  <a:lnTo>
                    <a:pt x="858" y="150"/>
                  </a:lnTo>
                  <a:lnTo>
                    <a:pt x="846" y="150"/>
                  </a:lnTo>
                  <a:lnTo>
                    <a:pt x="840" y="144"/>
                  </a:lnTo>
                  <a:lnTo>
                    <a:pt x="816" y="150"/>
                  </a:lnTo>
                  <a:lnTo>
                    <a:pt x="810" y="150"/>
                  </a:lnTo>
                  <a:lnTo>
                    <a:pt x="798" y="102"/>
                  </a:lnTo>
                  <a:lnTo>
                    <a:pt x="756" y="84"/>
                  </a:lnTo>
                  <a:lnTo>
                    <a:pt x="720" y="84"/>
                  </a:lnTo>
                  <a:lnTo>
                    <a:pt x="720" y="66"/>
                  </a:lnTo>
                  <a:lnTo>
                    <a:pt x="714" y="48"/>
                  </a:lnTo>
                  <a:lnTo>
                    <a:pt x="720" y="48"/>
                  </a:lnTo>
                  <a:lnTo>
                    <a:pt x="726" y="42"/>
                  </a:lnTo>
                  <a:lnTo>
                    <a:pt x="726" y="30"/>
                  </a:lnTo>
                  <a:lnTo>
                    <a:pt x="720" y="30"/>
                  </a:lnTo>
                  <a:lnTo>
                    <a:pt x="708" y="24"/>
                  </a:lnTo>
                  <a:lnTo>
                    <a:pt x="702" y="18"/>
                  </a:lnTo>
                  <a:lnTo>
                    <a:pt x="696" y="18"/>
                  </a:lnTo>
                  <a:lnTo>
                    <a:pt x="690" y="0"/>
                  </a:lnTo>
                  <a:lnTo>
                    <a:pt x="642" y="0"/>
                  </a:lnTo>
                  <a:lnTo>
                    <a:pt x="630" y="6"/>
                  </a:lnTo>
                  <a:lnTo>
                    <a:pt x="600" y="6"/>
                  </a:lnTo>
                  <a:lnTo>
                    <a:pt x="600" y="18"/>
                  </a:lnTo>
                  <a:lnTo>
                    <a:pt x="594" y="24"/>
                  </a:lnTo>
                  <a:lnTo>
                    <a:pt x="558" y="24"/>
                  </a:lnTo>
                  <a:lnTo>
                    <a:pt x="546" y="18"/>
                  </a:lnTo>
                  <a:lnTo>
                    <a:pt x="516" y="18"/>
                  </a:lnTo>
                  <a:lnTo>
                    <a:pt x="510" y="30"/>
                  </a:lnTo>
                  <a:lnTo>
                    <a:pt x="498" y="36"/>
                  </a:lnTo>
                  <a:lnTo>
                    <a:pt x="492" y="42"/>
                  </a:lnTo>
                  <a:lnTo>
                    <a:pt x="486" y="54"/>
                  </a:lnTo>
                  <a:lnTo>
                    <a:pt x="492" y="60"/>
                  </a:lnTo>
                  <a:lnTo>
                    <a:pt x="492" y="72"/>
                  </a:lnTo>
                  <a:lnTo>
                    <a:pt x="486" y="78"/>
                  </a:lnTo>
                  <a:lnTo>
                    <a:pt x="468" y="78"/>
                  </a:lnTo>
                  <a:lnTo>
                    <a:pt x="462" y="72"/>
                  </a:lnTo>
                  <a:lnTo>
                    <a:pt x="438" y="72"/>
                  </a:lnTo>
                  <a:lnTo>
                    <a:pt x="426" y="78"/>
                  </a:lnTo>
                  <a:lnTo>
                    <a:pt x="420" y="78"/>
                  </a:lnTo>
                  <a:lnTo>
                    <a:pt x="420" y="66"/>
                  </a:lnTo>
                  <a:lnTo>
                    <a:pt x="414" y="60"/>
                  </a:lnTo>
                  <a:lnTo>
                    <a:pt x="396" y="60"/>
                  </a:lnTo>
                  <a:lnTo>
                    <a:pt x="390" y="66"/>
                  </a:lnTo>
                  <a:lnTo>
                    <a:pt x="390" y="72"/>
                  </a:lnTo>
                  <a:lnTo>
                    <a:pt x="378" y="60"/>
                  </a:lnTo>
                  <a:lnTo>
                    <a:pt x="366" y="66"/>
                  </a:lnTo>
                  <a:lnTo>
                    <a:pt x="360" y="60"/>
                  </a:lnTo>
                  <a:lnTo>
                    <a:pt x="342" y="66"/>
                  </a:lnTo>
                  <a:lnTo>
                    <a:pt x="336" y="54"/>
                  </a:lnTo>
                  <a:lnTo>
                    <a:pt x="324" y="66"/>
                  </a:lnTo>
                  <a:lnTo>
                    <a:pt x="306" y="54"/>
                  </a:lnTo>
                  <a:lnTo>
                    <a:pt x="300" y="60"/>
                  </a:lnTo>
                  <a:lnTo>
                    <a:pt x="282" y="48"/>
                  </a:lnTo>
                  <a:lnTo>
                    <a:pt x="258" y="42"/>
                  </a:lnTo>
                  <a:lnTo>
                    <a:pt x="222" y="42"/>
                  </a:lnTo>
                  <a:lnTo>
                    <a:pt x="216" y="36"/>
                  </a:lnTo>
                  <a:lnTo>
                    <a:pt x="216" y="30"/>
                  </a:lnTo>
                  <a:lnTo>
                    <a:pt x="168" y="30"/>
                  </a:lnTo>
                  <a:lnTo>
                    <a:pt x="162" y="36"/>
                  </a:lnTo>
                  <a:lnTo>
                    <a:pt x="150" y="42"/>
                  </a:lnTo>
                  <a:lnTo>
                    <a:pt x="114" y="42"/>
                  </a:lnTo>
                  <a:lnTo>
                    <a:pt x="114" y="48"/>
                  </a:lnTo>
                  <a:lnTo>
                    <a:pt x="96" y="66"/>
                  </a:lnTo>
                  <a:lnTo>
                    <a:pt x="78" y="66"/>
                  </a:lnTo>
                  <a:lnTo>
                    <a:pt x="66" y="60"/>
                  </a:lnTo>
                  <a:lnTo>
                    <a:pt x="72" y="78"/>
                  </a:lnTo>
                  <a:lnTo>
                    <a:pt x="90" y="96"/>
                  </a:lnTo>
                  <a:lnTo>
                    <a:pt x="90" y="102"/>
                  </a:lnTo>
                  <a:lnTo>
                    <a:pt x="102" y="108"/>
                  </a:lnTo>
                  <a:lnTo>
                    <a:pt x="108" y="114"/>
                  </a:lnTo>
                  <a:lnTo>
                    <a:pt x="102" y="126"/>
                  </a:lnTo>
                  <a:lnTo>
                    <a:pt x="108" y="132"/>
                  </a:lnTo>
                  <a:lnTo>
                    <a:pt x="108" y="138"/>
                  </a:lnTo>
                  <a:lnTo>
                    <a:pt x="114" y="144"/>
                  </a:lnTo>
                  <a:lnTo>
                    <a:pt x="108" y="150"/>
                  </a:lnTo>
                  <a:lnTo>
                    <a:pt x="102" y="150"/>
                  </a:lnTo>
                  <a:lnTo>
                    <a:pt x="96" y="156"/>
                  </a:lnTo>
                  <a:lnTo>
                    <a:pt x="84" y="156"/>
                  </a:lnTo>
                  <a:lnTo>
                    <a:pt x="30" y="204"/>
                  </a:lnTo>
                  <a:lnTo>
                    <a:pt x="30" y="246"/>
                  </a:lnTo>
                  <a:lnTo>
                    <a:pt x="42" y="258"/>
                  </a:lnTo>
                  <a:lnTo>
                    <a:pt x="18" y="258"/>
                  </a:lnTo>
                  <a:lnTo>
                    <a:pt x="18" y="270"/>
                  </a:lnTo>
                  <a:lnTo>
                    <a:pt x="12" y="276"/>
                  </a:lnTo>
                  <a:lnTo>
                    <a:pt x="12" y="282"/>
                  </a:lnTo>
                  <a:lnTo>
                    <a:pt x="6" y="288"/>
                  </a:lnTo>
                  <a:lnTo>
                    <a:pt x="0" y="288"/>
                  </a:lnTo>
                  <a:lnTo>
                    <a:pt x="0" y="306"/>
                  </a:lnTo>
                  <a:lnTo>
                    <a:pt x="6" y="306"/>
                  </a:lnTo>
                  <a:lnTo>
                    <a:pt x="24" y="324"/>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9" name="Uganda" descr="© INSCALE GmbH, 05.05.2010&#10;http://www.presentationload.com/">
              <a:extLst>
                <a:ext uri="{FF2B5EF4-FFF2-40B4-BE49-F238E27FC236}">
                  <a16:creationId xmlns:a16="http://schemas.microsoft.com/office/drawing/2014/main" id="{136AB8EC-2E16-C1DC-0BB5-D9F731139104}"/>
                </a:ext>
              </a:extLst>
            </p:cNvPr>
            <p:cNvSpPr>
              <a:spLocks noEditPoints="1"/>
            </p:cNvSpPr>
            <p:nvPr/>
          </p:nvSpPr>
          <p:spPr bwMode="gray">
            <a:xfrm>
              <a:off x="5034390" y="3090993"/>
              <a:ext cx="148236" cy="174920"/>
            </a:xfrm>
            <a:custGeom>
              <a:avLst/>
              <a:gdLst>
                <a:gd name="T0" fmla="*/ 2147483647 w 390"/>
                <a:gd name="T1" fmla="*/ 2147483647 h 462"/>
                <a:gd name="T2" fmla="*/ 2147483647 w 390"/>
                <a:gd name="T3" fmla="*/ 2147483647 h 462"/>
                <a:gd name="T4" fmla="*/ 2147483647 w 390"/>
                <a:gd name="T5" fmla="*/ 2147483647 h 462"/>
                <a:gd name="T6" fmla="*/ 2147483647 w 390"/>
                <a:gd name="T7" fmla="*/ 2147483647 h 462"/>
                <a:gd name="T8" fmla="*/ 2147483647 w 390"/>
                <a:gd name="T9" fmla="*/ 2147483647 h 462"/>
                <a:gd name="T10" fmla="*/ 2147483647 w 390"/>
                <a:gd name="T11" fmla="*/ 2147483647 h 462"/>
                <a:gd name="T12" fmla="*/ 2147483647 w 390"/>
                <a:gd name="T13" fmla="*/ 2147483647 h 462"/>
                <a:gd name="T14" fmla="*/ 2147483647 w 390"/>
                <a:gd name="T15" fmla="*/ 2147483647 h 462"/>
                <a:gd name="T16" fmla="*/ 2147483647 w 390"/>
                <a:gd name="T17" fmla="*/ 2147483647 h 462"/>
                <a:gd name="T18" fmla="*/ 2147483647 w 390"/>
                <a:gd name="T19" fmla="*/ 2147483647 h 462"/>
                <a:gd name="T20" fmla="*/ 2147483647 w 390"/>
                <a:gd name="T21" fmla="*/ 2147483647 h 462"/>
                <a:gd name="T22" fmla="*/ 2147483647 w 390"/>
                <a:gd name="T23" fmla="*/ 2147483647 h 462"/>
                <a:gd name="T24" fmla="*/ 2147483647 w 390"/>
                <a:gd name="T25" fmla="*/ 0 h 462"/>
                <a:gd name="T26" fmla="*/ 2147483647 w 390"/>
                <a:gd name="T27" fmla="*/ 2147483647 h 462"/>
                <a:gd name="T28" fmla="*/ 2147483647 w 390"/>
                <a:gd name="T29" fmla="*/ 2147483647 h 462"/>
                <a:gd name="T30" fmla="*/ 2147483647 w 390"/>
                <a:gd name="T31" fmla="*/ 2147483647 h 462"/>
                <a:gd name="T32" fmla="*/ 2147483647 w 390"/>
                <a:gd name="T33" fmla="*/ 2147483647 h 462"/>
                <a:gd name="T34" fmla="*/ 2147483647 w 390"/>
                <a:gd name="T35" fmla="*/ 2147483647 h 462"/>
                <a:gd name="T36" fmla="*/ 2147483647 w 390"/>
                <a:gd name="T37" fmla="*/ 2147483647 h 462"/>
                <a:gd name="T38" fmla="*/ 2147483647 w 390"/>
                <a:gd name="T39" fmla="*/ 2147483647 h 462"/>
                <a:gd name="T40" fmla="*/ 2147483647 w 390"/>
                <a:gd name="T41" fmla="*/ 2147483647 h 462"/>
                <a:gd name="T42" fmla="*/ 2147483647 w 390"/>
                <a:gd name="T43" fmla="*/ 2147483647 h 462"/>
                <a:gd name="T44" fmla="*/ 2147483647 w 390"/>
                <a:gd name="T45" fmla="*/ 2147483647 h 462"/>
                <a:gd name="T46" fmla="*/ 2147483647 w 390"/>
                <a:gd name="T47" fmla="*/ 2147483647 h 462"/>
                <a:gd name="T48" fmla="*/ 2147483647 w 390"/>
                <a:gd name="T49" fmla="*/ 2147483647 h 462"/>
                <a:gd name="T50" fmla="*/ 2147483647 w 390"/>
                <a:gd name="T51" fmla="*/ 2147483647 h 462"/>
                <a:gd name="T52" fmla="*/ 2147483647 w 390"/>
                <a:gd name="T53" fmla="*/ 2147483647 h 462"/>
                <a:gd name="T54" fmla="*/ 2147483647 w 390"/>
                <a:gd name="T55" fmla="*/ 2147483647 h 462"/>
                <a:gd name="T56" fmla="*/ 2147483647 w 390"/>
                <a:gd name="T57" fmla="*/ 2147483647 h 462"/>
                <a:gd name="T58" fmla="*/ 2147483647 w 390"/>
                <a:gd name="T59" fmla="*/ 2147483647 h 462"/>
                <a:gd name="T60" fmla="*/ 2147483647 w 390"/>
                <a:gd name="T61" fmla="*/ 2147483647 h 462"/>
                <a:gd name="T62" fmla="*/ 2147483647 w 390"/>
                <a:gd name="T63" fmla="*/ 2147483647 h 462"/>
                <a:gd name="T64" fmla="*/ 2147483647 w 390"/>
                <a:gd name="T65" fmla="*/ 2147483647 h 462"/>
                <a:gd name="T66" fmla="*/ 2147483647 w 390"/>
                <a:gd name="T67" fmla="*/ 2147483647 h 462"/>
                <a:gd name="T68" fmla="*/ 2147483647 w 390"/>
                <a:gd name="T69" fmla="*/ 2147483647 h 462"/>
                <a:gd name="T70" fmla="*/ 2147483647 w 390"/>
                <a:gd name="T71" fmla="*/ 2147483647 h 462"/>
                <a:gd name="T72" fmla="*/ 2147483647 w 390"/>
                <a:gd name="T73" fmla="*/ 2147483647 h 462"/>
                <a:gd name="T74" fmla="*/ 2147483647 w 390"/>
                <a:gd name="T75" fmla="*/ 2147483647 h 462"/>
                <a:gd name="T76" fmla="*/ 2147483647 w 390"/>
                <a:gd name="T77" fmla="*/ 2147483647 h 462"/>
                <a:gd name="T78" fmla="*/ 2147483647 w 390"/>
                <a:gd name="T79" fmla="*/ 2147483647 h 462"/>
                <a:gd name="T80" fmla="*/ 2147483647 w 390"/>
                <a:gd name="T81" fmla="*/ 2147483647 h 462"/>
                <a:gd name="T82" fmla="*/ 2147483647 w 390"/>
                <a:gd name="T83" fmla="*/ 2147483647 h 462"/>
                <a:gd name="T84" fmla="*/ 2147483647 w 390"/>
                <a:gd name="T85" fmla="*/ 2147483647 h 462"/>
                <a:gd name="T86" fmla="*/ 2147483647 w 390"/>
                <a:gd name="T87" fmla="*/ 2147483647 h 462"/>
                <a:gd name="T88" fmla="*/ 2147483647 w 390"/>
                <a:gd name="T89" fmla="*/ 2147483647 h 462"/>
                <a:gd name="T90" fmla="*/ 2147483647 w 390"/>
                <a:gd name="T91" fmla="*/ 2147483647 h 462"/>
                <a:gd name="T92" fmla="*/ 2147483647 w 390"/>
                <a:gd name="T93" fmla="*/ 2147483647 h 462"/>
                <a:gd name="T94" fmla="*/ 2147483647 w 390"/>
                <a:gd name="T95" fmla="*/ 2147483647 h 462"/>
                <a:gd name="T96" fmla="*/ 2147483647 w 390"/>
                <a:gd name="T97" fmla="*/ 2147483647 h 462"/>
                <a:gd name="T98" fmla="*/ 2147483647 w 390"/>
                <a:gd name="T99" fmla="*/ 2147483647 h 462"/>
                <a:gd name="T100" fmla="*/ 2147483647 w 390"/>
                <a:gd name="T101" fmla="*/ 2147483647 h 462"/>
                <a:gd name="T102" fmla="*/ 2147483647 w 390"/>
                <a:gd name="T103" fmla="*/ 2147483647 h 462"/>
                <a:gd name="T104" fmla="*/ 2147483647 w 390"/>
                <a:gd name="T105" fmla="*/ 2147483647 h 462"/>
                <a:gd name="T106" fmla="*/ 2147483647 w 390"/>
                <a:gd name="T107" fmla="*/ 2147483647 h 46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90"/>
                <a:gd name="T163" fmla="*/ 0 h 462"/>
                <a:gd name="T164" fmla="*/ 390 w 390"/>
                <a:gd name="T165" fmla="*/ 462 h 46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90" h="462">
                  <a:moveTo>
                    <a:pt x="306" y="426"/>
                  </a:moveTo>
                  <a:lnTo>
                    <a:pt x="318" y="426"/>
                  </a:lnTo>
                  <a:lnTo>
                    <a:pt x="318" y="420"/>
                  </a:lnTo>
                  <a:lnTo>
                    <a:pt x="306" y="420"/>
                  </a:lnTo>
                  <a:lnTo>
                    <a:pt x="306" y="426"/>
                  </a:lnTo>
                  <a:close/>
                  <a:moveTo>
                    <a:pt x="390" y="192"/>
                  </a:moveTo>
                  <a:lnTo>
                    <a:pt x="384" y="180"/>
                  </a:lnTo>
                  <a:lnTo>
                    <a:pt x="378" y="174"/>
                  </a:lnTo>
                  <a:lnTo>
                    <a:pt x="366" y="150"/>
                  </a:lnTo>
                  <a:lnTo>
                    <a:pt x="366" y="144"/>
                  </a:lnTo>
                  <a:lnTo>
                    <a:pt x="372" y="138"/>
                  </a:lnTo>
                  <a:lnTo>
                    <a:pt x="378" y="138"/>
                  </a:lnTo>
                  <a:lnTo>
                    <a:pt x="384" y="132"/>
                  </a:lnTo>
                  <a:lnTo>
                    <a:pt x="348" y="90"/>
                  </a:lnTo>
                  <a:lnTo>
                    <a:pt x="354" y="84"/>
                  </a:lnTo>
                  <a:lnTo>
                    <a:pt x="336" y="66"/>
                  </a:lnTo>
                  <a:lnTo>
                    <a:pt x="336" y="60"/>
                  </a:lnTo>
                  <a:lnTo>
                    <a:pt x="342" y="54"/>
                  </a:lnTo>
                  <a:lnTo>
                    <a:pt x="342" y="42"/>
                  </a:lnTo>
                  <a:lnTo>
                    <a:pt x="336" y="42"/>
                  </a:lnTo>
                  <a:lnTo>
                    <a:pt x="336" y="48"/>
                  </a:lnTo>
                  <a:lnTo>
                    <a:pt x="330" y="42"/>
                  </a:lnTo>
                  <a:lnTo>
                    <a:pt x="324" y="42"/>
                  </a:lnTo>
                  <a:lnTo>
                    <a:pt x="324" y="18"/>
                  </a:lnTo>
                  <a:lnTo>
                    <a:pt x="318" y="6"/>
                  </a:lnTo>
                  <a:lnTo>
                    <a:pt x="312" y="0"/>
                  </a:lnTo>
                  <a:lnTo>
                    <a:pt x="300" y="0"/>
                  </a:lnTo>
                  <a:lnTo>
                    <a:pt x="300" y="6"/>
                  </a:lnTo>
                  <a:lnTo>
                    <a:pt x="294" y="12"/>
                  </a:lnTo>
                  <a:lnTo>
                    <a:pt x="294" y="18"/>
                  </a:lnTo>
                  <a:lnTo>
                    <a:pt x="276" y="36"/>
                  </a:lnTo>
                  <a:lnTo>
                    <a:pt x="252" y="36"/>
                  </a:lnTo>
                  <a:lnTo>
                    <a:pt x="246" y="30"/>
                  </a:lnTo>
                  <a:lnTo>
                    <a:pt x="246" y="24"/>
                  </a:lnTo>
                  <a:lnTo>
                    <a:pt x="234" y="24"/>
                  </a:lnTo>
                  <a:lnTo>
                    <a:pt x="222" y="36"/>
                  </a:lnTo>
                  <a:lnTo>
                    <a:pt x="198" y="36"/>
                  </a:lnTo>
                  <a:lnTo>
                    <a:pt x="180" y="60"/>
                  </a:lnTo>
                  <a:lnTo>
                    <a:pt x="156" y="30"/>
                  </a:lnTo>
                  <a:lnTo>
                    <a:pt x="150" y="30"/>
                  </a:lnTo>
                  <a:lnTo>
                    <a:pt x="144" y="36"/>
                  </a:lnTo>
                  <a:lnTo>
                    <a:pt x="144" y="42"/>
                  </a:lnTo>
                  <a:lnTo>
                    <a:pt x="132" y="42"/>
                  </a:lnTo>
                  <a:lnTo>
                    <a:pt x="120" y="36"/>
                  </a:lnTo>
                  <a:lnTo>
                    <a:pt x="114" y="30"/>
                  </a:lnTo>
                  <a:lnTo>
                    <a:pt x="102" y="30"/>
                  </a:lnTo>
                  <a:lnTo>
                    <a:pt x="84" y="48"/>
                  </a:lnTo>
                  <a:lnTo>
                    <a:pt x="90" y="72"/>
                  </a:lnTo>
                  <a:lnTo>
                    <a:pt x="72" y="90"/>
                  </a:lnTo>
                  <a:lnTo>
                    <a:pt x="84" y="96"/>
                  </a:lnTo>
                  <a:lnTo>
                    <a:pt x="90" y="102"/>
                  </a:lnTo>
                  <a:lnTo>
                    <a:pt x="90" y="108"/>
                  </a:lnTo>
                  <a:lnTo>
                    <a:pt x="84" y="114"/>
                  </a:lnTo>
                  <a:lnTo>
                    <a:pt x="78" y="126"/>
                  </a:lnTo>
                  <a:lnTo>
                    <a:pt x="78" y="138"/>
                  </a:lnTo>
                  <a:lnTo>
                    <a:pt x="84" y="144"/>
                  </a:lnTo>
                  <a:lnTo>
                    <a:pt x="96" y="144"/>
                  </a:lnTo>
                  <a:lnTo>
                    <a:pt x="108" y="150"/>
                  </a:lnTo>
                  <a:lnTo>
                    <a:pt x="114" y="156"/>
                  </a:lnTo>
                  <a:lnTo>
                    <a:pt x="114" y="168"/>
                  </a:lnTo>
                  <a:lnTo>
                    <a:pt x="108" y="180"/>
                  </a:lnTo>
                  <a:lnTo>
                    <a:pt x="96" y="192"/>
                  </a:lnTo>
                  <a:lnTo>
                    <a:pt x="84" y="216"/>
                  </a:lnTo>
                  <a:lnTo>
                    <a:pt x="72" y="222"/>
                  </a:lnTo>
                  <a:lnTo>
                    <a:pt x="66" y="234"/>
                  </a:lnTo>
                  <a:lnTo>
                    <a:pt x="42" y="246"/>
                  </a:lnTo>
                  <a:lnTo>
                    <a:pt x="42" y="258"/>
                  </a:lnTo>
                  <a:lnTo>
                    <a:pt x="24" y="270"/>
                  </a:lnTo>
                  <a:lnTo>
                    <a:pt x="6" y="342"/>
                  </a:lnTo>
                  <a:lnTo>
                    <a:pt x="6" y="372"/>
                  </a:lnTo>
                  <a:lnTo>
                    <a:pt x="0" y="450"/>
                  </a:lnTo>
                  <a:lnTo>
                    <a:pt x="12" y="450"/>
                  </a:lnTo>
                  <a:lnTo>
                    <a:pt x="24" y="462"/>
                  </a:lnTo>
                  <a:lnTo>
                    <a:pt x="30" y="462"/>
                  </a:lnTo>
                  <a:lnTo>
                    <a:pt x="42" y="438"/>
                  </a:lnTo>
                  <a:lnTo>
                    <a:pt x="48" y="432"/>
                  </a:lnTo>
                  <a:lnTo>
                    <a:pt x="48" y="426"/>
                  </a:lnTo>
                  <a:lnTo>
                    <a:pt x="72" y="420"/>
                  </a:lnTo>
                  <a:lnTo>
                    <a:pt x="162" y="426"/>
                  </a:lnTo>
                  <a:lnTo>
                    <a:pt x="162" y="414"/>
                  </a:lnTo>
                  <a:lnTo>
                    <a:pt x="156" y="408"/>
                  </a:lnTo>
                  <a:lnTo>
                    <a:pt x="150" y="396"/>
                  </a:lnTo>
                  <a:lnTo>
                    <a:pt x="162" y="372"/>
                  </a:lnTo>
                  <a:lnTo>
                    <a:pt x="168" y="366"/>
                  </a:lnTo>
                  <a:lnTo>
                    <a:pt x="168" y="342"/>
                  </a:lnTo>
                  <a:lnTo>
                    <a:pt x="174" y="336"/>
                  </a:lnTo>
                  <a:lnTo>
                    <a:pt x="186" y="330"/>
                  </a:lnTo>
                  <a:lnTo>
                    <a:pt x="204" y="324"/>
                  </a:lnTo>
                  <a:lnTo>
                    <a:pt x="240" y="324"/>
                  </a:lnTo>
                  <a:lnTo>
                    <a:pt x="252" y="312"/>
                  </a:lnTo>
                  <a:lnTo>
                    <a:pt x="258" y="300"/>
                  </a:lnTo>
                  <a:lnTo>
                    <a:pt x="264" y="300"/>
                  </a:lnTo>
                  <a:lnTo>
                    <a:pt x="264" y="306"/>
                  </a:lnTo>
                  <a:lnTo>
                    <a:pt x="270" y="312"/>
                  </a:lnTo>
                  <a:lnTo>
                    <a:pt x="270" y="330"/>
                  </a:lnTo>
                  <a:lnTo>
                    <a:pt x="276" y="324"/>
                  </a:lnTo>
                  <a:lnTo>
                    <a:pt x="312" y="324"/>
                  </a:lnTo>
                  <a:lnTo>
                    <a:pt x="312" y="330"/>
                  </a:lnTo>
                  <a:lnTo>
                    <a:pt x="312" y="318"/>
                  </a:lnTo>
                  <a:lnTo>
                    <a:pt x="318" y="306"/>
                  </a:lnTo>
                  <a:lnTo>
                    <a:pt x="324" y="300"/>
                  </a:lnTo>
                  <a:lnTo>
                    <a:pt x="330" y="282"/>
                  </a:lnTo>
                  <a:lnTo>
                    <a:pt x="348" y="270"/>
                  </a:lnTo>
                  <a:lnTo>
                    <a:pt x="348" y="246"/>
                  </a:lnTo>
                  <a:lnTo>
                    <a:pt x="354" y="240"/>
                  </a:lnTo>
                  <a:lnTo>
                    <a:pt x="372" y="240"/>
                  </a:lnTo>
                  <a:lnTo>
                    <a:pt x="378" y="216"/>
                  </a:lnTo>
                  <a:lnTo>
                    <a:pt x="390" y="204"/>
                  </a:lnTo>
                  <a:lnTo>
                    <a:pt x="390" y="192"/>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20" name="Turkmenistan" descr="© INSCALE GmbH, 05.05.2010&#10;http://www.presentationload.com/">
              <a:extLst>
                <a:ext uri="{FF2B5EF4-FFF2-40B4-BE49-F238E27FC236}">
                  <a16:creationId xmlns:a16="http://schemas.microsoft.com/office/drawing/2014/main" id="{F4C6D5AA-E1DA-ED88-26DC-0050D2D305EF}"/>
                </a:ext>
              </a:extLst>
            </p:cNvPr>
            <p:cNvSpPr>
              <a:spLocks/>
            </p:cNvSpPr>
            <p:nvPr/>
          </p:nvSpPr>
          <p:spPr bwMode="gray">
            <a:xfrm>
              <a:off x="5550255" y="1912504"/>
              <a:ext cx="382452" cy="229770"/>
            </a:xfrm>
            <a:custGeom>
              <a:avLst/>
              <a:gdLst>
                <a:gd name="T0" fmla="*/ 2147483647 w 1008"/>
                <a:gd name="T1" fmla="*/ 2147483647 h 606"/>
                <a:gd name="T2" fmla="*/ 2147483647 w 1008"/>
                <a:gd name="T3" fmla="*/ 2147483647 h 606"/>
                <a:gd name="T4" fmla="*/ 2147483647 w 1008"/>
                <a:gd name="T5" fmla="*/ 2147483647 h 606"/>
                <a:gd name="T6" fmla="*/ 2147483647 w 1008"/>
                <a:gd name="T7" fmla="*/ 2147483647 h 606"/>
                <a:gd name="T8" fmla="*/ 2147483647 w 1008"/>
                <a:gd name="T9" fmla="*/ 2147483647 h 606"/>
                <a:gd name="T10" fmla="*/ 2147483647 w 1008"/>
                <a:gd name="T11" fmla="*/ 2147483647 h 606"/>
                <a:gd name="T12" fmla="*/ 2147483647 w 1008"/>
                <a:gd name="T13" fmla="*/ 2147483647 h 606"/>
                <a:gd name="T14" fmla="*/ 2147483647 w 1008"/>
                <a:gd name="T15" fmla="*/ 2147483647 h 606"/>
                <a:gd name="T16" fmla="*/ 2147483647 w 1008"/>
                <a:gd name="T17" fmla="*/ 2147483647 h 606"/>
                <a:gd name="T18" fmla="*/ 2147483647 w 1008"/>
                <a:gd name="T19" fmla="*/ 2147483647 h 606"/>
                <a:gd name="T20" fmla="*/ 2147483647 w 1008"/>
                <a:gd name="T21" fmla="*/ 2147483647 h 606"/>
                <a:gd name="T22" fmla="*/ 2147483647 w 1008"/>
                <a:gd name="T23" fmla="*/ 2147483647 h 606"/>
                <a:gd name="T24" fmla="*/ 2147483647 w 1008"/>
                <a:gd name="T25" fmla="*/ 2147483647 h 606"/>
                <a:gd name="T26" fmla="*/ 2147483647 w 1008"/>
                <a:gd name="T27" fmla="*/ 2147483647 h 606"/>
                <a:gd name="T28" fmla="*/ 2147483647 w 1008"/>
                <a:gd name="T29" fmla="*/ 2147483647 h 606"/>
                <a:gd name="T30" fmla="*/ 2147483647 w 1008"/>
                <a:gd name="T31" fmla="*/ 2147483647 h 606"/>
                <a:gd name="T32" fmla="*/ 2147483647 w 1008"/>
                <a:gd name="T33" fmla="*/ 2147483647 h 606"/>
                <a:gd name="T34" fmla="*/ 2147483647 w 1008"/>
                <a:gd name="T35" fmla="*/ 2147483647 h 606"/>
                <a:gd name="T36" fmla="*/ 2147483647 w 1008"/>
                <a:gd name="T37" fmla="*/ 2147483647 h 606"/>
                <a:gd name="T38" fmla="*/ 2147483647 w 1008"/>
                <a:gd name="T39" fmla="*/ 2147483647 h 606"/>
                <a:gd name="T40" fmla="*/ 2147483647 w 1008"/>
                <a:gd name="T41" fmla="*/ 2147483647 h 606"/>
                <a:gd name="T42" fmla="*/ 2147483647 w 1008"/>
                <a:gd name="T43" fmla="*/ 2147483647 h 606"/>
                <a:gd name="T44" fmla="*/ 2147483647 w 1008"/>
                <a:gd name="T45" fmla="*/ 2147483647 h 606"/>
                <a:gd name="T46" fmla="*/ 2147483647 w 1008"/>
                <a:gd name="T47" fmla="*/ 2147483647 h 606"/>
                <a:gd name="T48" fmla="*/ 2147483647 w 1008"/>
                <a:gd name="T49" fmla="*/ 2147483647 h 606"/>
                <a:gd name="T50" fmla="*/ 2147483647 w 1008"/>
                <a:gd name="T51" fmla="*/ 2147483647 h 606"/>
                <a:gd name="T52" fmla="*/ 2147483647 w 1008"/>
                <a:gd name="T53" fmla="*/ 2147483647 h 606"/>
                <a:gd name="T54" fmla="*/ 2147483647 w 1008"/>
                <a:gd name="T55" fmla="*/ 2147483647 h 606"/>
                <a:gd name="T56" fmla="*/ 2147483647 w 1008"/>
                <a:gd name="T57" fmla="*/ 2147483647 h 606"/>
                <a:gd name="T58" fmla="*/ 2147483647 w 1008"/>
                <a:gd name="T59" fmla="*/ 2147483647 h 606"/>
                <a:gd name="T60" fmla="*/ 2147483647 w 1008"/>
                <a:gd name="T61" fmla="*/ 2147483647 h 606"/>
                <a:gd name="T62" fmla="*/ 2147483647 w 1008"/>
                <a:gd name="T63" fmla="*/ 2147483647 h 606"/>
                <a:gd name="T64" fmla="*/ 2147483647 w 1008"/>
                <a:gd name="T65" fmla="*/ 2147483647 h 606"/>
                <a:gd name="T66" fmla="*/ 2147483647 w 1008"/>
                <a:gd name="T67" fmla="*/ 2147483647 h 606"/>
                <a:gd name="T68" fmla="*/ 2147483647 w 1008"/>
                <a:gd name="T69" fmla="*/ 2147483647 h 606"/>
                <a:gd name="T70" fmla="*/ 2147483647 w 1008"/>
                <a:gd name="T71" fmla="*/ 2147483647 h 606"/>
                <a:gd name="T72" fmla="*/ 2147483647 w 1008"/>
                <a:gd name="T73" fmla="*/ 2147483647 h 606"/>
                <a:gd name="T74" fmla="*/ 2147483647 w 1008"/>
                <a:gd name="T75" fmla="*/ 2147483647 h 606"/>
                <a:gd name="T76" fmla="*/ 2147483647 w 1008"/>
                <a:gd name="T77" fmla="*/ 2147483647 h 606"/>
                <a:gd name="T78" fmla="*/ 2147483647 w 1008"/>
                <a:gd name="T79" fmla="*/ 2147483647 h 606"/>
                <a:gd name="T80" fmla="*/ 2147483647 w 1008"/>
                <a:gd name="T81" fmla="*/ 2147483647 h 606"/>
                <a:gd name="T82" fmla="*/ 2147483647 w 1008"/>
                <a:gd name="T83" fmla="*/ 2147483647 h 606"/>
                <a:gd name="T84" fmla="*/ 2147483647 w 1008"/>
                <a:gd name="T85" fmla="*/ 2147483647 h 606"/>
                <a:gd name="T86" fmla="*/ 2147483647 w 1008"/>
                <a:gd name="T87" fmla="*/ 2147483647 h 606"/>
                <a:gd name="T88" fmla="*/ 2147483647 w 1008"/>
                <a:gd name="T89" fmla="*/ 2147483647 h 606"/>
                <a:gd name="T90" fmla="*/ 2147483647 w 1008"/>
                <a:gd name="T91" fmla="*/ 2147483647 h 606"/>
                <a:gd name="T92" fmla="*/ 2147483647 w 1008"/>
                <a:gd name="T93" fmla="*/ 2147483647 h 606"/>
                <a:gd name="T94" fmla="*/ 2147483647 w 1008"/>
                <a:gd name="T95" fmla="*/ 2147483647 h 606"/>
                <a:gd name="T96" fmla="*/ 2147483647 w 1008"/>
                <a:gd name="T97" fmla="*/ 2147483647 h 606"/>
                <a:gd name="T98" fmla="*/ 2147483647 w 1008"/>
                <a:gd name="T99" fmla="*/ 2147483647 h 606"/>
                <a:gd name="T100" fmla="*/ 2147483647 w 1008"/>
                <a:gd name="T101" fmla="*/ 2147483647 h 606"/>
                <a:gd name="T102" fmla="*/ 2147483647 w 1008"/>
                <a:gd name="T103" fmla="*/ 2147483647 h 606"/>
                <a:gd name="T104" fmla="*/ 0 w 1008"/>
                <a:gd name="T105" fmla="*/ 2147483647 h 606"/>
                <a:gd name="T106" fmla="*/ 2147483647 w 1008"/>
                <a:gd name="T107" fmla="*/ 2147483647 h 606"/>
                <a:gd name="T108" fmla="*/ 2147483647 w 1008"/>
                <a:gd name="T109" fmla="*/ 2147483647 h 6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008"/>
                <a:gd name="T166" fmla="*/ 0 h 606"/>
                <a:gd name="T167" fmla="*/ 1008 w 1008"/>
                <a:gd name="T168" fmla="*/ 606 h 6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008" h="606">
                  <a:moveTo>
                    <a:pt x="48" y="150"/>
                  </a:moveTo>
                  <a:lnTo>
                    <a:pt x="48" y="156"/>
                  </a:lnTo>
                  <a:lnTo>
                    <a:pt x="42" y="162"/>
                  </a:lnTo>
                  <a:lnTo>
                    <a:pt x="36" y="174"/>
                  </a:lnTo>
                  <a:lnTo>
                    <a:pt x="36" y="186"/>
                  </a:lnTo>
                  <a:lnTo>
                    <a:pt x="42" y="198"/>
                  </a:lnTo>
                  <a:lnTo>
                    <a:pt x="48" y="204"/>
                  </a:lnTo>
                  <a:lnTo>
                    <a:pt x="54" y="216"/>
                  </a:lnTo>
                  <a:lnTo>
                    <a:pt x="60" y="222"/>
                  </a:lnTo>
                  <a:lnTo>
                    <a:pt x="60" y="228"/>
                  </a:lnTo>
                  <a:lnTo>
                    <a:pt x="90" y="222"/>
                  </a:lnTo>
                  <a:lnTo>
                    <a:pt x="90" y="246"/>
                  </a:lnTo>
                  <a:lnTo>
                    <a:pt x="114" y="258"/>
                  </a:lnTo>
                  <a:lnTo>
                    <a:pt x="90" y="258"/>
                  </a:lnTo>
                  <a:lnTo>
                    <a:pt x="78" y="264"/>
                  </a:lnTo>
                  <a:lnTo>
                    <a:pt x="72" y="264"/>
                  </a:lnTo>
                  <a:lnTo>
                    <a:pt x="72" y="270"/>
                  </a:lnTo>
                  <a:lnTo>
                    <a:pt x="78" y="276"/>
                  </a:lnTo>
                  <a:lnTo>
                    <a:pt x="90" y="276"/>
                  </a:lnTo>
                  <a:lnTo>
                    <a:pt x="96" y="282"/>
                  </a:lnTo>
                  <a:lnTo>
                    <a:pt x="114" y="282"/>
                  </a:lnTo>
                  <a:lnTo>
                    <a:pt x="120" y="288"/>
                  </a:lnTo>
                  <a:lnTo>
                    <a:pt x="126" y="300"/>
                  </a:lnTo>
                  <a:lnTo>
                    <a:pt x="132" y="306"/>
                  </a:lnTo>
                  <a:lnTo>
                    <a:pt x="138" y="354"/>
                  </a:lnTo>
                  <a:lnTo>
                    <a:pt x="150" y="360"/>
                  </a:lnTo>
                  <a:lnTo>
                    <a:pt x="150" y="372"/>
                  </a:lnTo>
                  <a:lnTo>
                    <a:pt x="144" y="378"/>
                  </a:lnTo>
                  <a:lnTo>
                    <a:pt x="144" y="402"/>
                  </a:lnTo>
                  <a:lnTo>
                    <a:pt x="150" y="414"/>
                  </a:lnTo>
                  <a:lnTo>
                    <a:pt x="150" y="426"/>
                  </a:lnTo>
                  <a:lnTo>
                    <a:pt x="156" y="432"/>
                  </a:lnTo>
                  <a:lnTo>
                    <a:pt x="156" y="438"/>
                  </a:lnTo>
                  <a:lnTo>
                    <a:pt x="186" y="438"/>
                  </a:lnTo>
                  <a:lnTo>
                    <a:pt x="198" y="426"/>
                  </a:lnTo>
                  <a:lnTo>
                    <a:pt x="210" y="420"/>
                  </a:lnTo>
                  <a:lnTo>
                    <a:pt x="210" y="408"/>
                  </a:lnTo>
                  <a:lnTo>
                    <a:pt x="216" y="402"/>
                  </a:lnTo>
                  <a:lnTo>
                    <a:pt x="228" y="396"/>
                  </a:lnTo>
                  <a:lnTo>
                    <a:pt x="246" y="378"/>
                  </a:lnTo>
                  <a:lnTo>
                    <a:pt x="258" y="372"/>
                  </a:lnTo>
                  <a:lnTo>
                    <a:pt x="294" y="372"/>
                  </a:lnTo>
                  <a:lnTo>
                    <a:pt x="306" y="378"/>
                  </a:lnTo>
                  <a:lnTo>
                    <a:pt x="312" y="372"/>
                  </a:lnTo>
                  <a:lnTo>
                    <a:pt x="312" y="366"/>
                  </a:lnTo>
                  <a:lnTo>
                    <a:pt x="372" y="366"/>
                  </a:lnTo>
                  <a:lnTo>
                    <a:pt x="384" y="378"/>
                  </a:lnTo>
                  <a:lnTo>
                    <a:pt x="384" y="390"/>
                  </a:lnTo>
                  <a:lnTo>
                    <a:pt x="414" y="390"/>
                  </a:lnTo>
                  <a:lnTo>
                    <a:pt x="420" y="396"/>
                  </a:lnTo>
                  <a:lnTo>
                    <a:pt x="432" y="402"/>
                  </a:lnTo>
                  <a:lnTo>
                    <a:pt x="438" y="408"/>
                  </a:lnTo>
                  <a:lnTo>
                    <a:pt x="450" y="414"/>
                  </a:lnTo>
                  <a:lnTo>
                    <a:pt x="450" y="408"/>
                  </a:lnTo>
                  <a:lnTo>
                    <a:pt x="468" y="408"/>
                  </a:lnTo>
                  <a:lnTo>
                    <a:pt x="480" y="414"/>
                  </a:lnTo>
                  <a:lnTo>
                    <a:pt x="498" y="414"/>
                  </a:lnTo>
                  <a:lnTo>
                    <a:pt x="510" y="420"/>
                  </a:lnTo>
                  <a:lnTo>
                    <a:pt x="516" y="420"/>
                  </a:lnTo>
                  <a:lnTo>
                    <a:pt x="522" y="426"/>
                  </a:lnTo>
                  <a:lnTo>
                    <a:pt x="522" y="432"/>
                  </a:lnTo>
                  <a:lnTo>
                    <a:pt x="528" y="444"/>
                  </a:lnTo>
                  <a:lnTo>
                    <a:pt x="534" y="450"/>
                  </a:lnTo>
                  <a:lnTo>
                    <a:pt x="540" y="450"/>
                  </a:lnTo>
                  <a:lnTo>
                    <a:pt x="546" y="456"/>
                  </a:lnTo>
                  <a:lnTo>
                    <a:pt x="558" y="456"/>
                  </a:lnTo>
                  <a:lnTo>
                    <a:pt x="570" y="468"/>
                  </a:lnTo>
                  <a:lnTo>
                    <a:pt x="582" y="474"/>
                  </a:lnTo>
                  <a:lnTo>
                    <a:pt x="588" y="486"/>
                  </a:lnTo>
                  <a:lnTo>
                    <a:pt x="594" y="492"/>
                  </a:lnTo>
                  <a:lnTo>
                    <a:pt x="660" y="486"/>
                  </a:lnTo>
                  <a:lnTo>
                    <a:pt x="660" y="522"/>
                  </a:lnTo>
                  <a:lnTo>
                    <a:pt x="672" y="522"/>
                  </a:lnTo>
                  <a:lnTo>
                    <a:pt x="666" y="546"/>
                  </a:lnTo>
                  <a:lnTo>
                    <a:pt x="678" y="576"/>
                  </a:lnTo>
                  <a:lnTo>
                    <a:pt x="684" y="582"/>
                  </a:lnTo>
                  <a:lnTo>
                    <a:pt x="696" y="582"/>
                  </a:lnTo>
                  <a:lnTo>
                    <a:pt x="702" y="588"/>
                  </a:lnTo>
                  <a:lnTo>
                    <a:pt x="714" y="588"/>
                  </a:lnTo>
                  <a:lnTo>
                    <a:pt x="720" y="582"/>
                  </a:lnTo>
                  <a:lnTo>
                    <a:pt x="726" y="582"/>
                  </a:lnTo>
                  <a:lnTo>
                    <a:pt x="750" y="606"/>
                  </a:lnTo>
                  <a:lnTo>
                    <a:pt x="774" y="606"/>
                  </a:lnTo>
                  <a:lnTo>
                    <a:pt x="786" y="600"/>
                  </a:lnTo>
                  <a:lnTo>
                    <a:pt x="792" y="594"/>
                  </a:lnTo>
                  <a:lnTo>
                    <a:pt x="804" y="570"/>
                  </a:lnTo>
                  <a:lnTo>
                    <a:pt x="804" y="558"/>
                  </a:lnTo>
                  <a:lnTo>
                    <a:pt x="816" y="558"/>
                  </a:lnTo>
                  <a:lnTo>
                    <a:pt x="852" y="540"/>
                  </a:lnTo>
                  <a:lnTo>
                    <a:pt x="858" y="528"/>
                  </a:lnTo>
                  <a:lnTo>
                    <a:pt x="870" y="522"/>
                  </a:lnTo>
                  <a:lnTo>
                    <a:pt x="882" y="522"/>
                  </a:lnTo>
                  <a:lnTo>
                    <a:pt x="882" y="462"/>
                  </a:lnTo>
                  <a:lnTo>
                    <a:pt x="888" y="450"/>
                  </a:lnTo>
                  <a:lnTo>
                    <a:pt x="900" y="444"/>
                  </a:lnTo>
                  <a:lnTo>
                    <a:pt x="936" y="444"/>
                  </a:lnTo>
                  <a:lnTo>
                    <a:pt x="936" y="420"/>
                  </a:lnTo>
                  <a:lnTo>
                    <a:pt x="948" y="420"/>
                  </a:lnTo>
                  <a:lnTo>
                    <a:pt x="960" y="426"/>
                  </a:lnTo>
                  <a:lnTo>
                    <a:pt x="966" y="432"/>
                  </a:lnTo>
                  <a:lnTo>
                    <a:pt x="978" y="438"/>
                  </a:lnTo>
                  <a:lnTo>
                    <a:pt x="1008" y="438"/>
                  </a:lnTo>
                  <a:lnTo>
                    <a:pt x="1008" y="426"/>
                  </a:lnTo>
                  <a:lnTo>
                    <a:pt x="996" y="414"/>
                  </a:lnTo>
                  <a:lnTo>
                    <a:pt x="996" y="396"/>
                  </a:lnTo>
                  <a:lnTo>
                    <a:pt x="1002" y="390"/>
                  </a:lnTo>
                  <a:lnTo>
                    <a:pt x="954" y="360"/>
                  </a:lnTo>
                  <a:lnTo>
                    <a:pt x="930" y="366"/>
                  </a:lnTo>
                  <a:lnTo>
                    <a:pt x="924" y="366"/>
                  </a:lnTo>
                  <a:lnTo>
                    <a:pt x="912" y="354"/>
                  </a:lnTo>
                  <a:lnTo>
                    <a:pt x="900" y="354"/>
                  </a:lnTo>
                  <a:lnTo>
                    <a:pt x="888" y="342"/>
                  </a:lnTo>
                  <a:lnTo>
                    <a:pt x="876" y="336"/>
                  </a:lnTo>
                  <a:lnTo>
                    <a:pt x="870" y="330"/>
                  </a:lnTo>
                  <a:lnTo>
                    <a:pt x="846" y="318"/>
                  </a:lnTo>
                  <a:lnTo>
                    <a:pt x="828" y="306"/>
                  </a:lnTo>
                  <a:lnTo>
                    <a:pt x="804" y="306"/>
                  </a:lnTo>
                  <a:lnTo>
                    <a:pt x="774" y="288"/>
                  </a:lnTo>
                  <a:lnTo>
                    <a:pt x="768" y="282"/>
                  </a:lnTo>
                  <a:lnTo>
                    <a:pt x="762" y="270"/>
                  </a:lnTo>
                  <a:lnTo>
                    <a:pt x="750" y="258"/>
                  </a:lnTo>
                  <a:lnTo>
                    <a:pt x="744" y="258"/>
                  </a:lnTo>
                  <a:lnTo>
                    <a:pt x="732" y="252"/>
                  </a:lnTo>
                  <a:lnTo>
                    <a:pt x="714" y="252"/>
                  </a:lnTo>
                  <a:lnTo>
                    <a:pt x="702" y="246"/>
                  </a:lnTo>
                  <a:lnTo>
                    <a:pt x="690" y="234"/>
                  </a:lnTo>
                  <a:lnTo>
                    <a:pt x="672" y="198"/>
                  </a:lnTo>
                  <a:lnTo>
                    <a:pt x="666" y="192"/>
                  </a:lnTo>
                  <a:lnTo>
                    <a:pt x="666" y="186"/>
                  </a:lnTo>
                  <a:lnTo>
                    <a:pt x="648" y="168"/>
                  </a:lnTo>
                  <a:lnTo>
                    <a:pt x="630" y="138"/>
                  </a:lnTo>
                  <a:lnTo>
                    <a:pt x="594" y="120"/>
                  </a:lnTo>
                  <a:lnTo>
                    <a:pt x="594" y="126"/>
                  </a:lnTo>
                  <a:lnTo>
                    <a:pt x="540" y="120"/>
                  </a:lnTo>
                  <a:lnTo>
                    <a:pt x="510" y="120"/>
                  </a:lnTo>
                  <a:lnTo>
                    <a:pt x="492" y="102"/>
                  </a:lnTo>
                  <a:lnTo>
                    <a:pt x="492" y="90"/>
                  </a:lnTo>
                  <a:lnTo>
                    <a:pt x="504" y="78"/>
                  </a:lnTo>
                  <a:lnTo>
                    <a:pt x="492" y="72"/>
                  </a:lnTo>
                  <a:lnTo>
                    <a:pt x="492" y="60"/>
                  </a:lnTo>
                  <a:lnTo>
                    <a:pt x="486" y="48"/>
                  </a:lnTo>
                  <a:lnTo>
                    <a:pt x="480" y="42"/>
                  </a:lnTo>
                  <a:lnTo>
                    <a:pt x="444" y="42"/>
                  </a:lnTo>
                  <a:lnTo>
                    <a:pt x="432" y="36"/>
                  </a:lnTo>
                  <a:lnTo>
                    <a:pt x="432" y="24"/>
                  </a:lnTo>
                  <a:lnTo>
                    <a:pt x="408" y="24"/>
                  </a:lnTo>
                  <a:lnTo>
                    <a:pt x="390" y="0"/>
                  </a:lnTo>
                  <a:lnTo>
                    <a:pt x="384" y="12"/>
                  </a:lnTo>
                  <a:lnTo>
                    <a:pt x="354" y="6"/>
                  </a:lnTo>
                  <a:lnTo>
                    <a:pt x="384" y="36"/>
                  </a:lnTo>
                  <a:lnTo>
                    <a:pt x="378" y="30"/>
                  </a:lnTo>
                  <a:lnTo>
                    <a:pt x="366" y="30"/>
                  </a:lnTo>
                  <a:lnTo>
                    <a:pt x="360" y="24"/>
                  </a:lnTo>
                  <a:lnTo>
                    <a:pt x="354" y="24"/>
                  </a:lnTo>
                  <a:lnTo>
                    <a:pt x="348" y="30"/>
                  </a:lnTo>
                  <a:lnTo>
                    <a:pt x="348" y="42"/>
                  </a:lnTo>
                  <a:lnTo>
                    <a:pt x="342" y="42"/>
                  </a:lnTo>
                  <a:lnTo>
                    <a:pt x="336" y="48"/>
                  </a:lnTo>
                  <a:lnTo>
                    <a:pt x="324" y="48"/>
                  </a:lnTo>
                  <a:lnTo>
                    <a:pt x="312" y="54"/>
                  </a:lnTo>
                  <a:lnTo>
                    <a:pt x="294" y="72"/>
                  </a:lnTo>
                  <a:lnTo>
                    <a:pt x="294" y="84"/>
                  </a:lnTo>
                  <a:lnTo>
                    <a:pt x="300" y="102"/>
                  </a:lnTo>
                  <a:lnTo>
                    <a:pt x="312" y="108"/>
                  </a:lnTo>
                  <a:lnTo>
                    <a:pt x="318" y="120"/>
                  </a:lnTo>
                  <a:lnTo>
                    <a:pt x="252" y="120"/>
                  </a:lnTo>
                  <a:lnTo>
                    <a:pt x="240" y="108"/>
                  </a:lnTo>
                  <a:lnTo>
                    <a:pt x="228" y="108"/>
                  </a:lnTo>
                  <a:lnTo>
                    <a:pt x="228" y="114"/>
                  </a:lnTo>
                  <a:lnTo>
                    <a:pt x="216" y="126"/>
                  </a:lnTo>
                  <a:lnTo>
                    <a:pt x="210" y="120"/>
                  </a:lnTo>
                  <a:lnTo>
                    <a:pt x="198" y="114"/>
                  </a:lnTo>
                  <a:lnTo>
                    <a:pt x="174" y="90"/>
                  </a:lnTo>
                  <a:lnTo>
                    <a:pt x="168" y="78"/>
                  </a:lnTo>
                  <a:lnTo>
                    <a:pt x="162" y="72"/>
                  </a:lnTo>
                  <a:lnTo>
                    <a:pt x="156" y="60"/>
                  </a:lnTo>
                  <a:lnTo>
                    <a:pt x="144" y="54"/>
                  </a:lnTo>
                  <a:lnTo>
                    <a:pt x="132" y="42"/>
                  </a:lnTo>
                  <a:lnTo>
                    <a:pt x="120" y="42"/>
                  </a:lnTo>
                  <a:lnTo>
                    <a:pt x="96" y="30"/>
                  </a:lnTo>
                  <a:lnTo>
                    <a:pt x="78" y="30"/>
                  </a:lnTo>
                  <a:lnTo>
                    <a:pt x="72" y="36"/>
                  </a:lnTo>
                  <a:lnTo>
                    <a:pt x="72" y="48"/>
                  </a:lnTo>
                  <a:lnTo>
                    <a:pt x="84" y="54"/>
                  </a:lnTo>
                  <a:lnTo>
                    <a:pt x="90" y="54"/>
                  </a:lnTo>
                  <a:lnTo>
                    <a:pt x="90" y="66"/>
                  </a:lnTo>
                  <a:lnTo>
                    <a:pt x="96" y="66"/>
                  </a:lnTo>
                  <a:lnTo>
                    <a:pt x="96" y="72"/>
                  </a:lnTo>
                  <a:lnTo>
                    <a:pt x="102" y="84"/>
                  </a:lnTo>
                  <a:lnTo>
                    <a:pt x="114" y="90"/>
                  </a:lnTo>
                  <a:lnTo>
                    <a:pt x="126" y="102"/>
                  </a:lnTo>
                  <a:lnTo>
                    <a:pt x="138" y="108"/>
                  </a:lnTo>
                  <a:lnTo>
                    <a:pt x="150" y="120"/>
                  </a:lnTo>
                  <a:lnTo>
                    <a:pt x="162" y="126"/>
                  </a:lnTo>
                  <a:lnTo>
                    <a:pt x="162" y="150"/>
                  </a:lnTo>
                  <a:lnTo>
                    <a:pt x="156" y="156"/>
                  </a:lnTo>
                  <a:lnTo>
                    <a:pt x="144" y="156"/>
                  </a:lnTo>
                  <a:lnTo>
                    <a:pt x="132" y="150"/>
                  </a:lnTo>
                  <a:lnTo>
                    <a:pt x="120" y="138"/>
                  </a:lnTo>
                  <a:lnTo>
                    <a:pt x="120" y="162"/>
                  </a:lnTo>
                  <a:lnTo>
                    <a:pt x="78" y="162"/>
                  </a:lnTo>
                  <a:lnTo>
                    <a:pt x="66" y="144"/>
                  </a:lnTo>
                  <a:lnTo>
                    <a:pt x="60" y="150"/>
                  </a:lnTo>
                  <a:lnTo>
                    <a:pt x="48" y="138"/>
                  </a:lnTo>
                  <a:lnTo>
                    <a:pt x="42" y="126"/>
                  </a:lnTo>
                  <a:lnTo>
                    <a:pt x="36" y="120"/>
                  </a:lnTo>
                  <a:lnTo>
                    <a:pt x="36" y="102"/>
                  </a:lnTo>
                  <a:lnTo>
                    <a:pt x="30" y="96"/>
                  </a:lnTo>
                  <a:lnTo>
                    <a:pt x="30" y="84"/>
                  </a:lnTo>
                  <a:lnTo>
                    <a:pt x="24" y="78"/>
                  </a:lnTo>
                  <a:lnTo>
                    <a:pt x="0" y="78"/>
                  </a:lnTo>
                  <a:lnTo>
                    <a:pt x="0" y="84"/>
                  </a:lnTo>
                  <a:lnTo>
                    <a:pt x="6" y="90"/>
                  </a:lnTo>
                  <a:lnTo>
                    <a:pt x="12" y="102"/>
                  </a:lnTo>
                  <a:lnTo>
                    <a:pt x="18" y="108"/>
                  </a:lnTo>
                  <a:lnTo>
                    <a:pt x="24" y="120"/>
                  </a:lnTo>
                  <a:lnTo>
                    <a:pt x="36" y="126"/>
                  </a:lnTo>
                  <a:lnTo>
                    <a:pt x="42" y="138"/>
                  </a:lnTo>
                  <a:lnTo>
                    <a:pt x="48" y="144"/>
                  </a:lnTo>
                  <a:lnTo>
                    <a:pt x="48" y="150"/>
                  </a:lnTo>
                  <a:close/>
                </a:path>
              </a:pathLst>
            </a:custGeom>
            <a:solidFill>
              <a:srgbClr val="7030A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21" name="Turkey" descr="© INSCALE GmbH, 05.05.2010&#10;http://www.presentationload.com/">
              <a:extLst>
                <a:ext uri="{FF2B5EF4-FFF2-40B4-BE49-F238E27FC236}">
                  <a16:creationId xmlns:a16="http://schemas.microsoft.com/office/drawing/2014/main" id="{E45C28DB-C9E6-D285-6040-498C95138819}"/>
                </a:ext>
              </a:extLst>
            </p:cNvPr>
            <p:cNvSpPr>
              <a:spLocks noEditPoints="1"/>
            </p:cNvSpPr>
            <p:nvPr/>
          </p:nvSpPr>
          <p:spPr bwMode="gray">
            <a:xfrm>
              <a:off x="4880223" y="1930291"/>
              <a:ext cx="504007" cy="192709"/>
            </a:xfrm>
            <a:custGeom>
              <a:avLst/>
              <a:gdLst>
                <a:gd name="T0" fmla="*/ 2147483647 w 1332"/>
                <a:gd name="T1" fmla="*/ 2147483647 h 510"/>
                <a:gd name="T2" fmla="*/ 2147483647 w 1332"/>
                <a:gd name="T3" fmla="*/ 2147483647 h 510"/>
                <a:gd name="T4" fmla="*/ 2147483647 w 1332"/>
                <a:gd name="T5" fmla="*/ 2147483647 h 510"/>
                <a:gd name="T6" fmla="*/ 2147483647 w 1332"/>
                <a:gd name="T7" fmla="*/ 2147483647 h 510"/>
                <a:gd name="T8" fmla="*/ 2147483647 w 1332"/>
                <a:gd name="T9" fmla="*/ 2147483647 h 510"/>
                <a:gd name="T10" fmla="*/ 2147483647 w 1332"/>
                <a:gd name="T11" fmla="*/ 2147483647 h 510"/>
                <a:gd name="T12" fmla="*/ 2147483647 w 1332"/>
                <a:gd name="T13" fmla="*/ 2147483647 h 510"/>
                <a:gd name="T14" fmla="*/ 2147483647 w 1332"/>
                <a:gd name="T15" fmla="*/ 2147483647 h 510"/>
                <a:gd name="T16" fmla="*/ 2147483647 w 1332"/>
                <a:gd name="T17" fmla="*/ 2147483647 h 510"/>
                <a:gd name="T18" fmla="*/ 2147483647 w 1332"/>
                <a:gd name="T19" fmla="*/ 2147483647 h 510"/>
                <a:gd name="T20" fmla="*/ 2147483647 w 1332"/>
                <a:gd name="T21" fmla="*/ 2147483647 h 510"/>
                <a:gd name="T22" fmla="*/ 2147483647 w 1332"/>
                <a:gd name="T23" fmla="*/ 2147483647 h 510"/>
                <a:gd name="T24" fmla="*/ 2147483647 w 1332"/>
                <a:gd name="T25" fmla="*/ 2147483647 h 510"/>
                <a:gd name="T26" fmla="*/ 2147483647 w 1332"/>
                <a:gd name="T27" fmla="*/ 2147483647 h 510"/>
                <a:gd name="T28" fmla="*/ 2147483647 w 1332"/>
                <a:gd name="T29" fmla="*/ 2147483647 h 510"/>
                <a:gd name="T30" fmla="*/ 2147483647 w 1332"/>
                <a:gd name="T31" fmla="*/ 2147483647 h 510"/>
                <a:gd name="T32" fmla="*/ 2147483647 w 1332"/>
                <a:gd name="T33" fmla="*/ 2147483647 h 510"/>
                <a:gd name="T34" fmla="*/ 2147483647 w 1332"/>
                <a:gd name="T35" fmla="*/ 2147483647 h 510"/>
                <a:gd name="T36" fmla="*/ 2147483647 w 1332"/>
                <a:gd name="T37" fmla="*/ 2147483647 h 510"/>
                <a:gd name="T38" fmla="*/ 2147483647 w 1332"/>
                <a:gd name="T39" fmla="*/ 2147483647 h 510"/>
                <a:gd name="T40" fmla="*/ 2147483647 w 1332"/>
                <a:gd name="T41" fmla="*/ 2147483647 h 510"/>
                <a:gd name="T42" fmla="*/ 2147483647 w 1332"/>
                <a:gd name="T43" fmla="*/ 2147483647 h 510"/>
                <a:gd name="T44" fmla="*/ 2147483647 w 1332"/>
                <a:gd name="T45" fmla="*/ 2147483647 h 510"/>
                <a:gd name="T46" fmla="*/ 2147483647 w 1332"/>
                <a:gd name="T47" fmla="*/ 2147483647 h 510"/>
                <a:gd name="T48" fmla="*/ 2147483647 w 1332"/>
                <a:gd name="T49" fmla="*/ 2147483647 h 510"/>
                <a:gd name="T50" fmla="*/ 2147483647 w 1332"/>
                <a:gd name="T51" fmla="*/ 2147483647 h 510"/>
                <a:gd name="T52" fmla="*/ 2147483647 w 1332"/>
                <a:gd name="T53" fmla="*/ 2147483647 h 510"/>
                <a:gd name="T54" fmla="*/ 2147483647 w 1332"/>
                <a:gd name="T55" fmla="*/ 2147483647 h 510"/>
                <a:gd name="T56" fmla="*/ 2147483647 w 1332"/>
                <a:gd name="T57" fmla="*/ 2147483647 h 510"/>
                <a:gd name="T58" fmla="*/ 2147483647 w 1332"/>
                <a:gd name="T59" fmla="*/ 2147483647 h 510"/>
                <a:gd name="T60" fmla="*/ 2147483647 w 1332"/>
                <a:gd name="T61" fmla="*/ 2147483647 h 510"/>
                <a:gd name="T62" fmla="*/ 2147483647 w 1332"/>
                <a:gd name="T63" fmla="*/ 2147483647 h 510"/>
                <a:gd name="T64" fmla="*/ 2147483647 w 1332"/>
                <a:gd name="T65" fmla="*/ 2147483647 h 510"/>
                <a:gd name="T66" fmla="*/ 2147483647 w 1332"/>
                <a:gd name="T67" fmla="*/ 2147483647 h 510"/>
                <a:gd name="T68" fmla="*/ 2147483647 w 1332"/>
                <a:gd name="T69" fmla="*/ 2147483647 h 510"/>
                <a:gd name="T70" fmla="*/ 2147483647 w 1332"/>
                <a:gd name="T71" fmla="*/ 2147483647 h 510"/>
                <a:gd name="T72" fmla="*/ 2147483647 w 1332"/>
                <a:gd name="T73" fmla="*/ 2147483647 h 510"/>
                <a:gd name="T74" fmla="*/ 2147483647 w 1332"/>
                <a:gd name="T75" fmla="*/ 2147483647 h 510"/>
                <a:gd name="T76" fmla="*/ 2147483647 w 1332"/>
                <a:gd name="T77" fmla="*/ 2147483647 h 510"/>
                <a:gd name="T78" fmla="*/ 2147483647 w 1332"/>
                <a:gd name="T79" fmla="*/ 2147483647 h 510"/>
                <a:gd name="T80" fmla="*/ 2147483647 w 1332"/>
                <a:gd name="T81" fmla="*/ 2147483647 h 510"/>
                <a:gd name="T82" fmla="*/ 2147483647 w 1332"/>
                <a:gd name="T83" fmla="*/ 2147483647 h 510"/>
                <a:gd name="T84" fmla="*/ 2147483647 w 1332"/>
                <a:gd name="T85" fmla="*/ 2147483647 h 510"/>
                <a:gd name="T86" fmla="*/ 2147483647 w 1332"/>
                <a:gd name="T87" fmla="*/ 2147483647 h 510"/>
                <a:gd name="T88" fmla="*/ 2147483647 w 1332"/>
                <a:gd name="T89" fmla="*/ 2147483647 h 510"/>
                <a:gd name="T90" fmla="*/ 2147483647 w 1332"/>
                <a:gd name="T91" fmla="*/ 2147483647 h 510"/>
                <a:gd name="T92" fmla="*/ 2147483647 w 1332"/>
                <a:gd name="T93" fmla="*/ 2147483647 h 510"/>
                <a:gd name="T94" fmla="*/ 2147483647 w 1332"/>
                <a:gd name="T95" fmla="*/ 2147483647 h 510"/>
                <a:gd name="T96" fmla="*/ 2147483647 w 1332"/>
                <a:gd name="T97" fmla="*/ 2147483647 h 510"/>
                <a:gd name="T98" fmla="*/ 2147483647 w 1332"/>
                <a:gd name="T99" fmla="*/ 2147483647 h 510"/>
                <a:gd name="T100" fmla="*/ 2147483647 w 1332"/>
                <a:gd name="T101" fmla="*/ 2147483647 h 510"/>
                <a:gd name="T102" fmla="*/ 2147483647 w 1332"/>
                <a:gd name="T103" fmla="*/ 2147483647 h 510"/>
                <a:gd name="T104" fmla="*/ 2147483647 w 1332"/>
                <a:gd name="T105" fmla="*/ 2147483647 h 510"/>
                <a:gd name="T106" fmla="*/ 2147483647 w 1332"/>
                <a:gd name="T107" fmla="*/ 2147483647 h 510"/>
                <a:gd name="T108" fmla="*/ 2147483647 w 1332"/>
                <a:gd name="T109" fmla="*/ 2147483647 h 510"/>
                <a:gd name="T110" fmla="*/ 2147483647 w 1332"/>
                <a:gd name="T111" fmla="*/ 2147483647 h 510"/>
                <a:gd name="T112" fmla="*/ 2147483647 w 1332"/>
                <a:gd name="T113" fmla="*/ 2147483647 h 510"/>
                <a:gd name="T114" fmla="*/ 2147483647 w 1332"/>
                <a:gd name="T115" fmla="*/ 2147483647 h 51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32"/>
                <a:gd name="T175" fmla="*/ 0 h 510"/>
                <a:gd name="T176" fmla="*/ 1332 w 1332"/>
                <a:gd name="T177" fmla="*/ 510 h 51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32" h="510">
                  <a:moveTo>
                    <a:pt x="6" y="192"/>
                  </a:moveTo>
                  <a:lnTo>
                    <a:pt x="24" y="186"/>
                  </a:lnTo>
                  <a:lnTo>
                    <a:pt x="30" y="174"/>
                  </a:lnTo>
                  <a:lnTo>
                    <a:pt x="0" y="174"/>
                  </a:lnTo>
                  <a:lnTo>
                    <a:pt x="6" y="192"/>
                  </a:lnTo>
                  <a:close/>
                  <a:moveTo>
                    <a:pt x="42" y="162"/>
                  </a:moveTo>
                  <a:lnTo>
                    <a:pt x="42" y="168"/>
                  </a:lnTo>
                  <a:lnTo>
                    <a:pt x="48" y="174"/>
                  </a:lnTo>
                  <a:lnTo>
                    <a:pt x="60" y="174"/>
                  </a:lnTo>
                  <a:lnTo>
                    <a:pt x="60" y="162"/>
                  </a:lnTo>
                  <a:lnTo>
                    <a:pt x="54" y="156"/>
                  </a:lnTo>
                  <a:lnTo>
                    <a:pt x="54" y="150"/>
                  </a:lnTo>
                  <a:lnTo>
                    <a:pt x="48" y="150"/>
                  </a:lnTo>
                  <a:lnTo>
                    <a:pt x="48" y="156"/>
                  </a:lnTo>
                  <a:lnTo>
                    <a:pt x="42" y="162"/>
                  </a:lnTo>
                  <a:close/>
                  <a:moveTo>
                    <a:pt x="96" y="138"/>
                  </a:moveTo>
                  <a:lnTo>
                    <a:pt x="66" y="138"/>
                  </a:lnTo>
                  <a:lnTo>
                    <a:pt x="66" y="174"/>
                  </a:lnTo>
                  <a:lnTo>
                    <a:pt x="78" y="150"/>
                  </a:lnTo>
                  <a:lnTo>
                    <a:pt x="96" y="138"/>
                  </a:lnTo>
                  <a:close/>
                  <a:moveTo>
                    <a:pt x="1332" y="402"/>
                  </a:moveTo>
                  <a:lnTo>
                    <a:pt x="1332" y="390"/>
                  </a:lnTo>
                  <a:lnTo>
                    <a:pt x="1308" y="384"/>
                  </a:lnTo>
                  <a:lnTo>
                    <a:pt x="1308" y="354"/>
                  </a:lnTo>
                  <a:lnTo>
                    <a:pt x="1272" y="336"/>
                  </a:lnTo>
                  <a:lnTo>
                    <a:pt x="1278" y="330"/>
                  </a:lnTo>
                  <a:lnTo>
                    <a:pt x="1284" y="318"/>
                  </a:lnTo>
                  <a:lnTo>
                    <a:pt x="1284" y="312"/>
                  </a:lnTo>
                  <a:lnTo>
                    <a:pt x="1290" y="306"/>
                  </a:lnTo>
                  <a:lnTo>
                    <a:pt x="1284" y="306"/>
                  </a:lnTo>
                  <a:lnTo>
                    <a:pt x="1278" y="300"/>
                  </a:lnTo>
                  <a:lnTo>
                    <a:pt x="1278" y="288"/>
                  </a:lnTo>
                  <a:lnTo>
                    <a:pt x="1266" y="276"/>
                  </a:lnTo>
                  <a:lnTo>
                    <a:pt x="1266" y="246"/>
                  </a:lnTo>
                  <a:lnTo>
                    <a:pt x="1248" y="222"/>
                  </a:lnTo>
                  <a:lnTo>
                    <a:pt x="1272" y="222"/>
                  </a:lnTo>
                  <a:lnTo>
                    <a:pt x="1272" y="216"/>
                  </a:lnTo>
                  <a:lnTo>
                    <a:pt x="1278" y="210"/>
                  </a:lnTo>
                  <a:lnTo>
                    <a:pt x="1272" y="198"/>
                  </a:lnTo>
                  <a:lnTo>
                    <a:pt x="1272" y="186"/>
                  </a:lnTo>
                  <a:lnTo>
                    <a:pt x="1266" y="180"/>
                  </a:lnTo>
                  <a:lnTo>
                    <a:pt x="1266" y="174"/>
                  </a:lnTo>
                  <a:lnTo>
                    <a:pt x="1260" y="174"/>
                  </a:lnTo>
                  <a:lnTo>
                    <a:pt x="1248" y="180"/>
                  </a:lnTo>
                  <a:lnTo>
                    <a:pt x="1236" y="180"/>
                  </a:lnTo>
                  <a:lnTo>
                    <a:pt x="1224" y="174"/>
                  </a:lnTo>
                  <a:lnTo>
                    <a:pt x="1218" y="168"/>
                  </a:lnTo>
                  <a:lnTo>
                    <a:pt x="1212" y="156"/>
                  </a:lnTo>
                  <a:lnTo>
                    <a:pt x="1212" y="144"/>
                  </a:lnTo>
                  <a:lnTo>
                    <a:pt x="1200" y="108"/>
                  </a:lnTo>
                  <a:lnTo>
                    <a:pt x="1194" y="96"/>
                  </a:lnTo>
                  <a:lnTo>
                    <a:pt x="1194" y="84"/>
                  </a:lnTo>
                  <a:lnTo>
                    <a:pt x="1188" y="78"/>
                  </a:lnTo>
                  <a:lnTo>
                    <a:pt x="1164" y="78"/>
                  </a:lnTo>
                  <a:lnTo>
                    <a:pt x="1164" y="72"/>
                  </a:lnTo>
                  <a:lnTo>
                    <a:pt x="1158" y="60"/>
                  </a:lnTo>
                  <a:lnTo>
                    <a:pt x="1152" y="54"/>
                  </a:lnTo>
                  <a:lnTo>
                    <a:pt x="1140" y="48"/>
                  </a:lnTo>
                  <a:lnTo>
                    <a:pt x="1128" y="48"/>
                  </a:lnTo>
                  <a:lnTo>
                    <a:pt x="1116" y="54"/>
                  </a:lnTo>
                  <a:lnTo>
                    <a:pt x="1110" y="60"/>
                  </a:lnTo>
                  <a:lnTo>
                    <a:pt x="1074" y="54"/>
                  </a:lnTo>
                  <a:lnTo>
                    <a:pt x="1062" y="66"/>
                  </a:lnTo>
                  <a:lnTo>
                    <a:pt x="1026" y="90"/>
                  </a:lnTo>
                  <a:lnTo>
                    <a:pt x="1014" y="96"/>
                  </a:lnTo>
                  <a:lnTo>
                    <a:pt x="930" y="96"/>
                  </a:lnTo>
                  <a:lnTo>
                    <a:pt x="876" y="108"/>
                  </a:lnTo>
                  <a:lnTo>
                    <a:pt x="810" y="84"/>
                  </a:lnTo>
                  <a:lnTo>
                    <a:pt x="786" y="96"/>
                  </a:lnTo>
                  <a:lnTo>
                    <a:pt x="786" y="90"/>
                  </a:lnTo>
                  <a:lnTo>
                    <a:pt x="780" y="84"/>
                  </a:lnTo>
                  <a:lnTo>
                    <a:pt x="774" y="72"/>
                  </a:lnTo>
                  <a:lnTo>
                    <a:pt x="768" y="66"/>
                  </a:lnTo>
                  <a:lnTo>
                    <a:pt x="756" y="66"/>
                  </a:lnTo>
                  <a:lnTo>
                    <a:pt x="744" y="72"/>
                  </a:lnTo>
                  <a:lnTo>
                    <a:pt x="738" y="78"/>
                  </a:lnTo>
                  <a:lnTo>
                    <a:pt x="708" y="60"/>
                  </a:lnTo>
                  <a:lnTo>
                    <a:pt x="708" y="36"/>
                  </a:lnTo>
                  <a:lnTo>
                    <a:pt x="660" y="48"/>
                  </a:lnTo>
                  <a:lnTo>
                    <a:pt x="636" y="30"/>
                  </a:lnTo>
                  <a:lnTo>
                    <a:pt x="630" y="12"/>
                  </a:lnTo>
                  <a:lnTo>
                    <a:pt x="624" y="12"/>
                  </a:lnTo>
                  <a:lnTo>
                    <a:pt x="618" y="18"/>
                  </a:lnTo>
                  <a:lnTo>
                    <a:pt x="600" y="18"/>
                  </a:lnTo>
                  <a:lnTo>
                    <a:pt x="588" y="24"/>
                  </a:lnTo>
                  <a:lnTo>
                    <a:pt x="558" y="24"/>
                  </a:lnTo>
                  <a:lnTo>
                    <a:pt x="534" y="18"/>
                  </a:lnTo>
                  <a:lnTo>
                    <a:pt x="504" y="18"/>
                  </a:lnTo>
                  <a:lnTo>
                    <a:pt x="492" y="24"/>
                  </a:lnTo>
                  <a:lnTo>
                    <a:pt x="456" y="36"/>
                  </a:lnTo>
                  <a:lnTo>
                    <a:pt x="444" y="42"/>
                  </a:lnTo>
                  <a:lnTo>
                    <a:pt x="438" y="48"/>
                  </a:lnTo>
                  <a:lnTo>
                    <a:pt x="426" y="54"/>
                  </a:lnTo>
                  <a:lnTo>
                    <a:pt x="414" y="66"/>
                  </a:lnTo>
                  <a:lnTo>
                    <a:pt x="408" y="66"/>
                  </a:lnTo>
                  <a:lnTo>
                    <a:pt x="396" y="90"/>
                  </a:lnTo>
                  <a:lnTo>
                    <a:pt x="378" y="90"/>
                  </a:lnTo>
                  <a:lnTo>
                    <a:pt x="354" y="84"/>
                  </a:lnTo>
                  <a:lnTo>
                    <a:pt x="294" y="84"/>
                  </a:lnTo>
                  <a:lnTo>
                    <a:pt x="282" y="78"/>
                  </a:lnTo>
                  <a:lnTo>
                    <a:pt x="264" y="78"/>
                  </a:lnTo>
                  <a:lnTo>
                    <a:pt x="252" y="72"/>
                  </a:lnTo>
                  <a:lnTo>
                    <a:pt x="240" y="72"/>
                  </a:lnTo>
                  <a:lnTo>
                    <a:pt x="234" y="66"/>
                  </a:lnTo>
                  <a:lnTo>
                    <a:pt x="198" y="66"/>
                  </a:lnTo>
                  <a:lnTo>
                    <a:pt x="186" y="54"/>
                  </a:lnTo>
                  <a:lnTo>
                    <a:pt x="180" y="36"/>
                  </a:lnTo>
                  <a:lnTo>
                    <a:pt x="180" y="24"/>
                  </a:lnTo>
                  <a:lnTo>
                    <a:pt x="168" y="24"/>
                  </a:lnTo>
                  <a:lnTo>
                    <a:pt x="156" y="18"/>
                  </a:lnTo>
                  <a:lnTo>
                    <a:pt x="144" y="18"/>
                  </a:lnTo>
                  <a:lnTo>
                    <a:pt x="132" y="0"/>
                  </a:lnTo>
                  <a:lnTo>
                    <a:pt x="120" y="18"/>
                  </a:lnTo>
                  <a:lnTo>
                    <a:pt x="90" y="12"/>
                  </a:lnTo>
                  <a:lnTo>
                    <a:pt x="72" y="36"/>
                  </a:lnTo>
                  <a:lnTo>
                    <a:pt x="78" y="42"/>
                  </a:lnTo>
                  <a:lnTo>
                    <a:pt x="90" y="42"/>
                  </a:lnTo>
                  <a:lnTo>
                    <a:pt x="90" y="48"/>
                  </a:lnTo>
                  <a:lnTo>
                    <a:pt x="96" y="54"/>
                  </a:lnTo>
                  <a:lnTo>
                    <a:pt x="96" y="66"/>
                  </a:lnTo>
                  <a:lnTo>
                    <a:pt x="78" y="66"/>
                  </a:lnTo>
                  <a:lnTo>
                    <a:pt x="72" y="72"/>
                  </a:lnTo>
                  <a:lnTo>
                    <a:pt x="72" y="78"/>
                  </a:lnTo>
                  <a:lnTo>
                    <a:pt x="78" y="84"/>
                  </a:lnTo>
                  <a:lnTo>
                    <a:pt x="78" y="96"/>
                  </a:lnTo>
                  <a:lnTo>
                    <a:pt x="72" y="108"/>
                  </a:lnTo>
                  <a:lnTo>
                    <a:pt x="72" y="114"/>
                  </a:lnTo>
                  <a:lnTo>
                    <a:pt x="66" y="120"/>
                  </a:lnTo>
                  <a:lnTo>
                    <a:pt x="66" y="132"/>
                  </a:lnTo>
                  <a:lnTo>
                    <a:pt x="72" y="132"/>
                  </a:lnTo>
                  <a:lnTo>
                    <a:pt x="90" y="126"/>
                  </a:lnTo>
                  <a:lnTo>
                    <a:pt x="102" y="126"/>
                  </a:lnTo>
                  <a:lnTo>
                    <a:pt x="108" y="120"/>
                  </a:lnTo>
                  <a:lnTo>
                    <a:pt x="114" y="120"/>
                  </a:lnTo>
                  <a:lnTo>
                    <a:pt x="114" y="132"/>
                  </a:lnTo>
                  <a:lnTo>
                    <a:pt x="120" y="132"/>
                  </a:lnTo>
                  <a:lnTo>
                    <a:pt x="126" y="126"/>
                  </a:lnTo>
                  <a:lnTo>
                    <a:pt x="138" y="120"/>
                  </a:lnTo>
                  <a:lnTo>
                    <a:pt x="162" y="96"/>
                  </a:lnTo>
                  <a:lnTo>
                    <a:pt x="168" y="96"/>
                  </a:lnTo>
                  <a:lnTo>
                    <a:pt x="174" y="90"/>
                  </a:lnTo>
                  <a:lnTo>
                    <a:pt x="186" y="90"/>
                  </a:lnTo>
                  <a:lnTo>
                    <a:pt x="204" y="84"/>
                  </a:lnTo>
                  <a:lnTo>
                    <a:pt x="216" y="84"/>
                  </a:lnTo>
                  <a:lnTo>
                    <a:pt x="252" y="102"/>
                  </a:lnTo>
                  <a:lnTo>
                    <a:pt x="270" y="108"/>
                  </a:lnTo>
                  <a:lnTo>
                    <a:pt x="282" y="108"/>
                  </a:lnTo>
                  <a:lnTo>
                    <a:pt x="288" y="114"/>
                  </a:lnTo>
                  <a:lnTo>
                    <a:pt x="294" y="114"/>
                  </a:lnTo>
                  <a:lnTo>
                    <a:pt x="270" y="114"/>
                  </a:lnTo>
                  <a:lnTo>
                    <a:pt x="258" y="120"/>
                  </a:lnTo>
                  <a:lnTo>
                    <a:pt x="246" y="120"/>
                  </a:lnTo>
                  <a:lnTo>
                    <a:pt x="246" y="132"/>
                  </a:lnTo>
                  <a:lnTo>
                    <a:pt x="240" y="138"/>
                  </a:lnTo>
                  <a:lnTo>
                    <a:pt x="186" y="144"/>
                  </a:lnTo>
                  <a:lnTo>
                    <a:pt x="138" y="138"/>
                  </a:lnTo>
                  <a:lnTo>
                    <a:pt x="120" y="138"/>
                  </a:lnTo>
                  <a:lnTo>
                    <a:pt x="96" y="150"/>
                  </a:lnTo>
                  <a:lnTo>
                    <a:pt x="84" y="162"/>
                  </a:lnTo>
                  <a:lnTo>
                    <a:pt x="84" y="174"/>
                  </a:lnTo>
                  <a:lnTo>
                    <a:pt x="78" y="192"/>
                  </a:lnTo>
                  <a:lnTo>
                    <a:pt x="78" y="204"/>
                  </a:lnTo>
                  <a:lnTo>
                    <a:pt x="72" y="210"/>
                  </a:lnTo>
                  <a:lnTo>
                    <a:pt x="72" y="216"/>
                  </a:lnTo>
                  <a:lnTo>
                    <a:pt x="114" y="216"/>
                  </a:lnTo>
                  <a:lnTo>
                    <a:pt x="114" y="240"/>
                  </a:lnTo>
                  <a:lnTo>
                    <a:pt x="120" y="246"/>
                  </a:lnTo>
                  <a:lnTo>
                    <a:pt x="126" y="258"/>
                  </a:lnTo>
                  <a:lnTo>
                    <a:pt x="132" y="264"/>
                  </a:lnTo>
                  <a:lnTo>
                    <a:pt x="126" y="282"/>
                  </a:lnTo>
                  <a:lnTo>
                    <a:pt x="138" y="300"/>
                  </a:lnTo>
                  <a:lnTo>
                    <a:pt x="126" y="318"/>
                  </a:lnTo>
                  <a:lnTo>
                    <a:pt x="162" y="354"/>
                  </a:lnTo>
                  <a:lnTo>
                    <a:pt x="156" y="390"/>
                  </a:lnTo>
                  <a:lnTo>
                    <a:pt x="210" y="414"/>
                  </a:lnTo>
                  <a:lnTo>
                    <a:pt x="216" y="444"/>
                  </a:lnTo>
                  <a:lnTo>
                    <a:pt x="216" y="438"/>
                  </a:lnTo>
                  <a:lnTo>
                    <a:pt x="222" y="438"/>
                  </a:lnTo>
                  <a:lnTo>
                    <a:pt x="222" y="432"/>
                  </a:lnTo>
                  <a:lnTo>
                    <a:pt x="228" y="432"/>
                  </a:lnTo>
                  <a:lnTo>
                    <a:pt x="252" y="444"/>
                  </a:lnTo>
                  <a:lnTo>
                    <a:pt x="258" y="444"/>
                  </a:lnTo>
                  <a:lnTo>
                    <a:pt x="264" y="450"/>
                  </a:lnTo>
                  <a:lnTo>
                    <a:pt x="270" y="462"/>
                  </a:lnTo>
                  <a:lnTo>
                    <a:pt x="282" y="468"/>
                  </a:lnTo>
                  <a:lnTo>
                    <a:pt x="294" y="468"/>
                  </a:lnTo>
                  <a:lnTo>
                    <a:pt x="312" y="474"/>
                  </a:lnTo>
                  <a:lnTo>
                    <a:pt x="372" y="474"/>
                  </a:lnTo>
                  <a:lnTo>
                    <a:pt x="372" y="450"/>
                  </a:lnTo>
                  <a:lnTo>
                    <a:pt x="378" y="438"/>
                  </a:lnTo>
                  <a:lnTo>
                    <a:pt x="390" y="426"/>
                  </a:lnTo>
                  <a:lnTo>
                    <a:pt x="408" y="426"/>
                  </a:lnTo>
                  <a:lnTo>
                    <a:pt x="432" y="432"/>
                  </a:lnTo>
                  <a:lnTo>
                    <a:pt x="468" y="444"/>
                  </a:lnTo>
                  <a:lnTo>
                    <a:pt x="474" y="450"/>
                  </a:lnTo>
                  <a:lnTo>
                    <a:pt x="480" y="450"/>
                  </a:lnTo>
                  <a:lnTo>
                    <a:pt x="480" y="456"/>
                  </a:lnTo>
                  <a:lnTo>
                    <a:pt x="486" y="468"/>
                  </a:lnTo>
                  <a:lnTo>
                    <a:pt x="486" y="474"/>
                  </a:lnTo>
                  <a:lnTo>
                    <a:pt x="492" y="480"/>
                  </a:lnTo>
                  <a:lnTo>
                    <a:pt x="504" y="486"/>
                  </a:lnTo>
                  <a:lnTo>
                    <a:pt x="564" y="486"/>
                  </a:lnTo>
                  <a:lnTo>
                    <a:pt x="576" y="480"/>
                  </a:lnTo>
                  <a:lnTo>
                    <a:pt x="594" y="474"/>
                  </a:lnTo>
                  <a:lnTo>
                    <a:pt x="606" y="462"/>
                  </a:lnTo>
                  <a:lnTo>
                    <a:pt x="618" y="456"/>
                  </a:lnTo>
                  <a:lnTo>
                    <a:pt x="630" y="444"/>
                  </a:lnTo>
                  <a:lnTo>
                    <a:pt x="648" y="438"/>
                  </a:lnTo>
                  <a:lnTo>
                    <a:pt x="660" y="432"/>
                  </a:lnTo>
                  <a:lnTo>
                    <a:pt x="672" y="432"/>
                  </a:lnTo>
                  <a:lnTo>
                    <a:pt x="684" y="438"/>
                  </a:lnTo>
                  <a:lnTo>
                    <a:pt x="690" y="444"/>
                  </a:lnTo>
                  <a:lnTo>
                    <a:pt x="696" y="444"/>
                  </a:lnTo>
                  <a:lnTo>
                    <a:pt x="702" y="450"/>
                  </a:lnTo>
                  <a:lnTo>
                    <a:pt x="714" y="450"/>
                  </a:lnTo>
                  <a:lnTo>
                    <a:pt x="726" y="444"/>
                  </a:lnTo>
                  <a:lnTo>
                    <a:pt x="732" y="432"/>
                  </a:lnTo>
                  <a:lnTo>
                    <a:pt x="744" y="420"/>
                  </a:lnTo>
                  <a:lnTo>
                    <a:pt x="756" y="432"/>
                  </a:lnTo>
                  <a:lnTo>
                    <a:pt x="756" y="444"/>
                  </a:lnTo>
                  <a:lnTo>
                    <a:pt x="750" y="450"/>
                  </a:lnTo>
                  <a:lnTo>
                    <a:pt x="744" y="462"/>
                  </a:lnTo>
                  <a:lnTo>
                    <a:pt x="744" y="468"/>
                  </a:lnTo>
                  <a:lnTo>
                    <a:pt x="738" y="474"/>
                  </a:lnTo>
                  <a:lnTo>
                    <a:pt x="738" y="486"/>
                  </a:lnTo>
                  <a:lnTo>
                    <a:pt x="744" y="492"/>
                  </a:lnTo>
                  <a:lnTo>
                    <a:pt x="744" y="498"/>
                  </a:lnTo>
                  <a:lnTo>
                    <a:pt x="756" y="510"/>
                  </a:lnTo>
                  <a:lnTo>
                    <a:pt x="768" y="510"/>
                  </a:lnTo>
                  <a:lnTo>
                    <a:pt x="768" y="504"/>
                  </a:lnTo>
                  <a:lnTo>
                    <a:pt x="774" y="498"/>
                  </a:lnTo>
                  <a:lnTo>
                    <a:pt x="774" y="480"/>
                  </a:lnTo>
                  <a:lnTo>
                    <a:pt x="780" y="486"/>
                  </a:lnTo>
                  <a:lnTo>
                    <a:pt x="792" y="486"/>
                  </a:lnTo>
                  <a:lnTo>
                    <a:pt x="792" y="462"/>
                  </a:lnTo>
                  <a:lnTo>
                    <a:pt x="786" y="462"/>
                  </a:lnTo>
                  <a:lnTo>
                    <a:pt x="786" y="432"/>
                  </a:lnTo>
                  <a:lnTo>
                    <a:pt x="810" y="432"/>
                  </a:lnTo>
                  <a:lnTo>
                    <a:pt x="804" y="438"/>
                  </a:lnTo>
                  <a:lnTo>
                    <a:pt x="804" y="444"/>
                  </a:lnTo>
                  <a:lnTo>
                    <a:pt x="840" y="444"/>
                  </a:lnTo>
                  <a:lnTo>
                    <a:pt x="858" y="438"/>
                  </a:lnTo>
                  <a:lnTo>
                    <a:pt x="864" y="432"/>
                  </a:lnTo>
                  <a:lnTo>
                    <a:pt x="870" y="432"/>
                  </a:lnTo>
                  <a:lnTo>
                    <a:pt x="888" y="414"/>
                  </a:lnTo>
                  <a:lnTo>
                    <a:pt x="894" y="414"/>
                  </a:lnTo>
                  <a:lnTo>
                    <a:pt x="900" y="420"/>
                  </a:lnTo>
                  <a:lnTo>
                    <a:pt x="912" y="426"/>
                  </a:lnTo>
                  <a:lnTo>
                    <a:pt x="924" y="438"/>
                  </a:lnTo>
                  <a:lnTo>
                    <a:pt x="942" y="438"/>
                  </a:lnTo>
                  <a:lnTo>
                    <a:pt x="954" y="444"/>
                  </a:lnTo>
                  <a:lnTo>
                    <a:pt x="966" y="444"/>
                  </a:lnTo>
                  <a:lnTo>
                    <a:pt x="978" y="438"/>
                  </a:lnTo>
                  <a:lnTo>
                    <a:pt x="996" y="438"/>
                  </a:lnTo>
                  <a:lnTo>
                    <a:pt x="1002" y="432"/>
                  </a:lnTo>
                  <a:lnTo>
                    <a:pt x="1014" y="426"/>
                  </a:lnTo>
                  <a:lnTo>
                    <a:pt x="1026" y="414"/>
                  </a:lnTo>
                  <a:lnTo>
                    <a:pt x="1038" y="408"/>
                  </a:lnTo>
                  <a:lnTo>
                    <a:pt x="1086" y="408"/>
                  </a:lnTo>
                  <a:lnTo>
                    <a:pt x="1092" y="414"/>
                  </a:lnTo>
                  <a:lnTo>
                    <a:pt x="1110" y="414"/>
                  </a:lnTo>
                  <a:lnTo>
                    <a:pt x="1122" y="402"/>
                  </a:lnTo>
                  <a:lnTo>
                    <a:pt x="1146" y="402"/>
                  </a:lnTo>
                  <a:lnTo>
                    <a:pt x="1152" y="390"/>
                  </a:lnTo>
                  <a:lnTo>
                    <a:pt x="1152" y="384"/>
                  </a:lnTo>
                  <a:lnTo>
                    <a:pt x="1158" y="384"/>
                  </a:lnTo>
                  <a:lnTo>
                    <a:pt x="1158" y="408"/>
                  </a:lnTo>
                  <a:lnTo>
                    <a:pt x="1164" y="414"/>
                  </a:lnTo>
                  <a:lnTo>
                    <a:pt x="1170" y="414"/>
                  </a:lnTo>
                  <a:lnTo>
                    <a:pt x="1182" y="408"/>
                  </a:lnTo>
                  <a:lnTo>
                    <a:pt x="1188" y="402"/>
                  </a:lnTo>
                  <a:lnTo>
                    <a:pt x="1188" y="390"/>
                  </a:lnTo>
                  <a:lnTo>
                    <a:pt x="1230" y="390"/>
                  </a:lnTo>
                  <a:lnTo>
                    <a:pt x="1242" y="402"/>
                  </a:lnTo>
                  <a:lnTo>
                    <a:pt x="1254" y="402"/>
                  </a:lnTo>
                  <a:lnTo>
                    <a:pt x="1260" y="396"/>
                  </a:lnTo>
                  <a:lnTo>
                    <a:pt x="1260" y="390"/>
                  </a:lnTo>
                  <a:lnTo>
                    <a:pt x="1284" y="390"/>
                  </a:lnTo>
                  <a:lnTo>
                    <a:pt x="1290" y="396"/>
                  </a:lnTo>
                  <a:lnTo>
                    <a:pt x="1290" y="414"/>
                  </a:lnTo>
                  <a:lnTo>
                    <a:pt x="1332" y="402"/>
                  </a:lnTo>
                  <a:close/>
                  <a:moveTo>
                    <a:pt x="102" y="282"/>
                  </a:moveTo>
                  <a:lnTo>
                    <a:pt x="96" y="282"/>
                  </a:lnTo>
                  <a:lnTo>
                    <a:pt x="96" y="312"/>
                  </a:lnTo>
                  <a:lnTo>
                    <a:pt x="102" y="324"/>
                  </a:lnTo>
                  <a:lnTo>
                    <a:pt x="108" y="330"/>
                  </a:lnTo>
                  <a:lnTo>
                    <a:pt x="114" y="324"/>
                  </a:lnTo>
                  <a:lnTo>
                    <a:pt x="114" y="318"/>
                  </a:lnTo>
                  <a:lnTo>
                    <a:pt x="120" y="312"/>
                  </a:lnTo>
                  <a:lnTo>
                    <a:pt x="120" y="300"/>
                  </a:lnTo>
                  <a:lnTo>
                    <a:pt x="102" y="282"/>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22" name="Tunisia" descr="© INSCALE GmbH, 05.05.2010&#10;http://www.presentationload.com/">
              <a:extLst>
                <a:ext uri="{FF2B5EF4-FFF2-40B4-BE49-F238E27FC236}">
                  <a16:creationId xmlns:a16="http://schemas.microsoft.com/office/drawing/2014/main" id="{68FE2C9B-798C-D0F9-2815-B388FB973F6B}"/>
                </a:ext>
              </a:extLst>
            </p:cNvPr>
            <p:cNvSpPr>
              <a:spLocks/>
            </p:cNvSpPr>
            <p:nvPr/>
          </p:nvSpPr>
          <p:spPr bwMode="gray">
            <a:xfrm>
              <a:off x="4441441" y="2078530"/>
              <a:ext cx="103766" cy="216428"/>
            </a:xfrm>
            <a:custGeom>
              <a:avLst/>
              <a:gdLst>
                <a:gd name="T0" fmla="*/ 2147483647 w 276"/>
                <a:gd name="T1" fmla="*/ 2147483647 h 570"/>
                <a:gd name="T2" fmla="*/ 2147483647 w 276"/>
                <a:gd name="T3" fmla="*/ 2147483647 h 570"/>
                <a:gd name="T4" fmla="*/ 2147483647 w 276"/>
                <a:gd name="T5" fmla="*/ 2147483647 h 570"/>
                <a:gd name="T6" fmla="*/ 2147483647 w 276"/>
                <a:gd name="T7" fmla="*/ 2147483647 h 570"/>
                <a:gd name="T8" fmla="*/ 2147483647 w 276"/>
                <a:gd name="T9" fmla="*/ 2147483647 h 570"/>
                <a:gd name="T10" fmla="*/ 2147483647 w 276"/>
                <a:gd name="T11" fmla="*/ 2147483647 h 570"/>
                <a:gd name="T12" fmla="*/ 0 w 276"/>
                <a:gd name="T13" fmla="*/ 2147483647 h 570"/>
                <a:gd name="T14" fmla="*/ 2147483647 w 276"/>
                <a:gd name="T15" fmla="*/ 2147483647 h 570"/>
                <a:gd name="T16" fmla="*/ 2147483647 w 276"/>
                <a:gd name="T17" fmla="*/ 2147483647 h 570"/>
                <a:gd name="T18" fmla="*/ 2147483647 w 276"/>
                <a:gd name="T19" fmla="*/ 2147483647 h 570"/>
                <a:gd name="T20" fmla="*/ 2147483647 w 276"/>
                <a:gd name="T21" fmla="*/ 2147483647 h 570"/>
                <a:gd name="T22" fmla="*/ 2147483647 w 276"/>
                <a:gd name="T23" fmla="*/ 2147483647 h 570"/>
                <a:gd name="T24" fmla="*/ 2147483647 w 276"/>
                <a:gd name="T25" fmla="*/ 2147483647 h 570"/>
                <a:gd name="T26" fmla="*/ 2147483647 w 276"/>
                <a:gd name="T27" fmla="*/ 2147483647 h 570"/>
                <a:gd name="T28" fmla="*/ 2147483647 w 276"/>
                <a:gd name="T29" fmla="*/ 2147483647 h 570"/>
                <a:gd name="T30" fmla="*/ 2147483647 w 276"/>
                <a:gd name="T31" fmla="*/ 2147483647 h 570"/>
                <a:gd name="T32" fmla="*/ 2147483647 w 276"/>
                <a:gd name="T33" fmla="*/ 2147483647 h 570"/>
                <a:gd name="T34" fmla="*/ 2147483647 w 276"/>
                <a:gd name="T35" fmla="*/ 2147483647 h 570"/>
                <a:gd name="T36" fmla="*/ 2147483647 w 276"/>
                <a:gd name="T37" fmla="*/ 2147483647 h 570"/>
                <a:gd name="T38" fmla="*/ 2147483647 w 276"/>
                <a:gd name="T39" fmla="*/ 2147483647 h 570"/>
                <a:gd name="T40" fmla="*/ 2147483647 w 276"/>
                <a:gd name="T41" fmla="*/ 2147483647 h 570"/>
                <a:gd name="T42" fmla="*/ 2147483647 w 276"/>
                <a:gd name="T43" fmla="*/ 2147483647 h 570"/>
                <a:gd name="T44" fmla="*/ 2147483647 w 276"/>
                <a:gd name="T45" fmla="*/ 2147483647 h 570"/>
                <a:gd name="T46" fmla="*/ 2147483647 w 276"/>
                <a:gd name="T47" fmla="*/ 2147483647 h 570"/>
                <a:gd name="T48" fmla="*/ 2147483647 w 276"/>
                <a:gd name="T49" fmla="*/ 2147483647 h 570"/>
                <a:gd name="T50" fmla="*/ 2147483647 w 276"/>
                <a:gd name="T51" fmla="*/ 2147483647 h 570"/>
                <a:gd name="T52" fmla="*/ 2147483647 w 276"/>
                <a:gd name="T53" fmla="*/ 2147483647 h 570"/>
                <a:gd name="T54" fmla="*/ 2147483647 w 276"/>
                <a:gd name="T55" fmla="*/ 2147483647 h 570"/>
                <a:gd name="T56" fmla="*/ 2147483647 w 276"/>
                <a:gd name="T57" fmla="*/ 2147483647 h 570"/>
                <a:gd name="T58" fmla="*/ 2147483647 w 276"/>
                <a:gd name="T59" fmla="*/ 2147483647 h 570"/>
                <a:gd name="T60" fmla="*/ 2147483647 w 276"/>
                <a:gd name="T61" fmla="*/ 2147483647 h 570"/>
                <a:gd name="T62" fmla="*/ 2147483647 w 276"/>
                <a:gd name="T63" fmla="*/ 2147483647 h 570"/>
                <a:gd name="T64" fmla="*/ 2147483647 w 276"/>
                <a:gd name="T65" fmla="*/ 2147483647 h 570"/>
                <a:gd name="T66" fmla="*/ 2147483647 w 276"/>
                <a:gd name="T67" fmla="*/ 2147483647 h 570"/>
                <a:gd name="T68" fmla="*/ 2147483647 w 276"/>
                <a:gd name="T69" fmla="*/ 2147483647 h 570"/>
                <a:gd name="T70" fmla="*/ 2147483647 w 276"/>
                <a:gd name="T71" fmla="*/ 2147483647 h 570"/>
                <a:gd name="T72" fmla="*/ 2147483647 w 276"/>
                <a:gd name="T73" fmla="*/ 2147483647 h 570"/>
                <a:gd name="T74" fmla="*/ 2147483647 w 276"/>
                <a:gd name="T75" fmla="*/ 2147483647 h 570"/>
                <a:gd name="T76" fmla="*/ 2147483647 w 276"/>
                <a:gd name="T77" fmla="*/ 2147483647 h 570"/>
                <a:gd name="T78" fmla="*/ 2147483647 w 276"/>
                <a:gd name="T79" fmla="*/ 2147483647 h 570"/>
                <a:gd name="T80" fmla="*/ 2147483647 w 276"/>
                <a:gd name="T81" fmla="*/ 2147483647 h 570"/>
                <a:gd name="T82" fmla="*/ 2147483647 w 276"/>
                <a:gd name="T83" fmla="*/ 2147483647 h 570"/>
                <a:gd name="T84" fmla="*/ 2147483647 w 276"/>
                <a:gd name="T85" fmla="*/ 2147483647 h 570"/>
                <a:gd name="T86" fmla="*/ 2147483647 w 276"/>
                <a:gd name="T87" fmla="*/ 2147483647 h 570"/>
                <a:gd name="T88" fmla="*/ 2147483647 w 276"/>
                <a:gd name="T89" fmla="*/ 0 h 570"/>
                <a:gd name="T90" fmla="*/ 2147483647 w 276"/>
                <a:gd name="T91" fmla="*/ 2147483647 h 570"/>
                <a:gd name="T92" fmla="*/ 2147483647 w 276"/>
                <a:gd name="T93" fmla="*/ 2147483647 h 570"/>
                <a:gd name="T94" fmla="*/ 2147483647 w 276"/>
                <a:gd name="T95" fmla="*/ 2147483647 h 5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76"/>
                <a:gd name="T145" fmla="*/ 0 h 570"/>
                <a:gd name="T146" fmla="*/ 276 w 276"/>
                <a:gd name="T147" fmla="*/ 570 h 5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76" h="570">
                  <a:moveTo>
                    <a:pt x="42" y="60"/>
                  </a:moveTo>
                  <a:lnTo>
                    <a:pt x="60" y="66"/>
                  </a:lnTo>
                  <a:lnTo>
                    <a:pt x="60" y="78"/>
                  </a:lnTo>
                  <a:lnTo>
                    <a:pt x="54" y="90"/>
                  </a:lnTo>
                  <a:lnTo>
                    <a:pt x="54" y="126"/>
                  </a:lnTo>
                  <a:lnTo>
                    <a:pt x="60" y="138"/>
                  </a:lnTo>
                  <a:lnTo>
                    <a:pt x="60" y="180"/>
                  </a:lnTo>
                  <a:lnTo>
                    <a:pt x="54" y="192"/>
                  </a:lnTo>
                  <a:lnTo>
                    <a:pt x="54" y="204"/>
                  </a:lnTo>
                  <a:lnTo>
                    <a:pt x="48" y="210"/>
                  </a:lnTo>
                  <a:lnTo>
                    <a:pt x="48" y="216"/>
                  </a:lnTo>
                  <a:lnTo>
                    <a:pt x="24" y="234"/>
                  </a:lnTo>
                  <a:lnTo>
                    <a:pt x="0" y="258"/>
                  </a:lnTo>
                  <a:lnTo>
                    <a:pt x="0" y="300"/>
                  </a:lnTo>
                  <a:lnTo>
                    <a:pt x="12" y="300"/>
                  </a:lnTo>
                  <a:lnTo>
                    <a:pt x="12" y="330"/>
                  </a:lnTo>
                  <a:lnTo>
                    <a:pt x="24" y="330"/>
                  </a:lnTo>
                  <a:lnTo>
                    <a:pt x="42" y="336"/>
                  </a:lnTo>
                  <a:lnTo>
                    <a:pt x="54" y="348"/>
                  </a:lnTo>
                  <a:lnTo>
                    <a:pt x="54" y="390"/>
                  </a:lnTo>
                  <a:lnTo>
                    <a:pt x="60" y="390"/>
                  </a:lnTo>
                  <a:lnTo>
                    <a:pt x="66" y="396"/>
                  </a:lnTo>
                  <a:lnTo>
                    <a:pt x="90" y="408"/>
                  </a:lnTo>
                  <a:lnTo>
                    <a:pt x="96" y="420"/>
                  </a:lnTo>
                  <a:lnTo>
                    <a:pt x="102" y="426"/>
                  </a:lnTo>
                  <a:lnTo>
                    <a:pt x="108" y="450"/>
                  </a:lnTo>
                  <a:lnTo>
                    <a:pt x="114" y="492"/>
                  </a:lnTo>
                  <a:lnTo>
                    <a:pt x="126" y="540"/>
                  </a:lnTo>
                  <a:lnTo>
                    <a:pt x="138" y="570"/>
                  </a:lnTo>
                  <a:lnTo>
                    <a:pt x="144" y="564"/>
                  </a:lnTo>
                  <a:lnTo>
                    <a:pt x="156" y="564"/>
                  </a:lnTo>
                  <a:lnTo>
                    <a:pt x="186" y="534"/>
                  </a:lnTo>
                  <a:lnTo>
                    <a:pt x="186" y="510"/>
                  </a:lnTo>
                  <a:lnTo>
                    <a:pt x="174" y="486"/>
                  </a:lnTo>
                  <a:lnTo>
                    <a:pt x="174" y="468"/>
                  </a:lnTo>
                  <a:lnTo>
                    <a:pt x="192" y="450"/>
                  </a:lnTo>
                  <a:lnTo>
                    <a:pt x="198" y="450"/>
                  </a:lnTo>
                  <a:lnTo>
                    <a:pt x="204" y="438"/>
                  </a:lnTo>
                  <a:lnTo>
                    <a:pt x="210" y="432"/>
                  </a:lnTo>
                  <a:lnTo>
                    <a:pt x="216" y="420"/>
                  </a:lnTo>
                  <a:lnTo>
                    <a:pt x="222" y="414"/>
                  </a:lnTo>
                  <a:lnTo>
                    <a:pt x="234" y="408"/>
                  </a:lnTo>
                  <a:lnTo>
                    <a:pt x="246" y="408"/>
                  </a:lnTo>
                  <a:lnTo>
                    <a:pt x="270" y="396"/>
                  </a:lnTo>
                  <a:lnTo>
                    <a:pt x="276" y="390"/>
                  </a:lnTo>
                  <a:lnTo>
                    <a:pt x="276" y="384"/>
                  </a:lnTo>
                  <a:lnTo>
                    <a:pt x="264" y="372"/>
                  </a:lnTo>
                  <a:lnTo>
                    <a:pt x="258" y="372"/>
                  </a:lnTo>
                  <a:lnTo>
                    <a:pt x="264" y="330"/>
                  </a:lnTo>
                  <a:lnTo>
                    <a:pt x="252" y="330"/>
                  </a:lnTo>
                  <a:lnTo>
                    <a:pt x="240" y="300"/>
                  </a:lnTo>
                  <a:lnTo>
                    <a:pt x="228" y="294"/>
                  </a:lnTo>
                  <a:lnTo>
                    <a:pt x="222" y="306"/>
                  </a:lnTo>
                  <a:lnTo>
                    <a:pt x="216" y="294"/>
                  </a:lnTo>
                  <a:lnTo>
                    <a:pt x="198" y="294"/>
                  </a:lnTo>
                  <a:lnTo>
                    <a:pt x="186" y="288"/>
                  </a:lnTo>
                  <a:lnTo>
                    <a:pt x="180" y="282"/>
                  </a:lnTo>
                  <a:lnTo>
                    <a:pt x="168" y="276"/>
                  </a:lnTo>
                  <a:lnTo>
                    <a:pt x="168" y="246"/>
                  </a:lnTo>
                  <a:lnTo>
                    <a:pt x="174" y="240"/>
                  </a:lnTo>
                  <a:lnTo>
                    <a:pt x="180" y="240"/>
                  </a:lnTo>
                  <a:lnTo>
                    <a:pt x="234" y="186"/>
                  </a:lnTo>
                  <a:lnTo>
                    <a:pt x="240" y="174"/>
                  </a:lnTo>
                  <a:lnTo>
                    <a:pt x="240" y="156"/>
                  </a:lnTo>
                  <a:lnTo>
                    <a:pt x="234" y="144"/>
                  </a:lnTo>
                  <a:lnTo>
                    <a:pt x="216" y="126"/>
                  </a:lnTo>
                  <a:lnTo>
                    <a:pt x="204" y="120"/>
                  </a:lnTo>
                  <a:lnTo>
                    <a:pt x="198" y="120"/>
                  </a:lnTo>
                  <a:lnTo>
                    <a:pt x="198" y="102"/>
                  </a:lnTo>
                  <a:lnTo>
                    <a:pt x="204" y="90"/>
                  </a:lnTo>
                  <a:lnTo>
                    <a:pt x="204" y="78"/>
                  </a:lnTo>
                  <a:lnTo>
                    <a:pt x="210" y="72"/>
                  </a:lnTo>
                  <a:lnTo>
                    <a:pt x="222" y="66"/>
                  </a:lnTo>
                  <a:lnTo>
                    <a:pt x="228" y="60"/>
                  </a:lnTo>
                  <a:lnTo>
                    <a:pt x="234" y="48"/>
                  </a:lnTo>
                  <a:lnTo>
                    <a:pt x="234" y="36"/>
                  </a:lnTo>
                  <a:lnTo>
                    <a:pt x="240" y="30"/>
                  </a:lnTo>
                  <a:lnTo>
                    <a:pt x="240" y="18"/>
                  </a:lnTo>
                  <a:lnTo>
                    <a:pt x="228" y="18"/>
                  </a:lnTo>
                  <a:lnTo>
                    <a:pt x="222" y="30"/>
                  </a:lnTo>
                  <a:lnTo>
                    <a:pt x="210" y="36"/>
                  </a:lnTo>
                  <a:lnTo>
                    <a:pt x="204" y="48"/>
                  </a:lnTo>
                  <a:lnTo>
                    <a:pt x="192" y="60"/>
                  </a:lnTo>
                  <a:lnTo>
                    <a:pt x="186" y="60"/>
                  </a:lnTo>
                  <a:lnTo>
                    <a:pt x="174" y="54"/>
                  </a:lnTo>
                  <a:lnTo>
                    <a:pt x="162" y="42"/>
                  </a:lnTo>
                  <a:lnTo>
                    <a:pt x="174" y="30"/>
                  </a:lnTo>
                  <a:lnTo>
                    <a:pt x="174" y="24"/>
                  </a:lnTo>
                  <a:lnTo>
                    <a:pt x="180" y="12"/>
                  </a:lnTo>
                  <a:lnTo>
                    <a:pt x="168" y="0"/>
                  </a:lnTo>
                  <a:lnTo>
                    <a:pt x="138" y="0"/>
                  </a:lnTo>
                  <a:lnTo>
                    <a:pt x="126" y="6"/>
                  </a:lnTo>
                  <a:lnTo>
                    <a:pt x="108" y="12"/>
                  </a:lnTo>
                  <a:lnTo>
                    <a:pt x="96" y="18"/>
                  </a:lnTo>
                  <a:lnTo>
                    <a:pt x="84" y="30"/>
                  </a:lnTo>
                  <a:lnTo>
                    <a:pt x="84" y="42"/>
                  </a:lnTo>
                  <a:lnTo>
                    <a:pt x="42" y="60"/>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23" name="Togo" descr="© INSCALE GmbH, 05.05.2010&#10;http://www.presentationload.com/">
              <a:extLst>
                <a:ext uri="{FF2B5EF4-FFF2-40B4-BE49-F238E27FC236}">
                  <a16:creationId xmlns:a16="http://schemas.microsoft.com/office/drawing/2014/main" id="{E60F868E-0212-B071-75DA-7CC7F95C2430}"/>
                </a:ext>
              </a:extLst>
            </p:cNvPr>
            <p:cNvSpPr>
              <a:spLocks/>
            </p:cNvSpPr>
            <p:nvPr/>
          </p:nvSpPr>
          <p:spPr bwMode="gray">
            <a:xfrm>
              <a:off x="4230944" y="2880496"/>
              <a:ext cx="53365" cy="152686"/>
            </a:xfrm>
            <a:custGeom>
              <a:avLst/>
              <a:gdLst>
                <a:gd name="T0" fmla="*/ 2147483647 w 138"/>
                <a:gd name="T1" fmla="*/ 2147483647 h 402"/>
                <a:gd name="T2" fmla="*/ 2147483647 w 138"/>
                <a:gd name="T3" fmla="*/ 2147483647 h 402"/>
                <a:gd name="T4" fmla="*/ 2147483647 w 138"/>
                <a:gd name="T5" fmla="*/ 2147483647 h 402"/>
                <a:gd name="T6" fmla="*/ 2147483647 w 138"/>
                <a:gd name="T7" fmla="*/ 2147483647 h 402"/>
                <a:gd name="T8" fmla="*/ 2147483647 w 138"/>
                <a:gd name="T9" fmla="*/ 2147483647 h 402"/>
                <a:gd name="T10" fmla="*/ 2147483647 w 138"/>
                <a:gd name="T11" fmla="*/ 2147483647 h 402"/>
                <a:gd name="T12" fmla="*/ 2147483647 w 138"/>
                <a:gd name="T13" fmla="*/ 2147483647 h 402"/>
                <a:gd name="T14" fmla="*/ 2147483647 w 138"/>
                <a:gd name="T15" fmla="*/ 2147483647 h 402"/>
                <a:gd name="T16" fmla="*/ 2147483647 w 138"/>
                <a:gd name="T17" fmla="*/ 2147483647 h 402"/>
                <a:gd name="T18" fmla="*/ 2147483647 w 138"/>
                <a:gd name="T19" fmla="*/ 2147483647 h 402"/>
                <a:gd name="T20" fmla="*/ 2147483647 w 138"/>
                <a:gd name="T21" fmla="*/ 2147483647 h 402"/>
                <a:gd name="T22" fmla="*/ 2147483647 w 138"/>
                <a:gd name="T23" fmla="*/ 2147483647 h 402"/>
                <a:gd name="T24" fmla="*/ 2147483647 w 138"/>
                <a:gd name="T25" fmla="*/ 2147483647 h 402"/>
                <a:gd name="T26" fmla="*/ 2147483647 w 138"/>
                <a:gd name="T27" fmla="*/ 2147483647 h 402"/>
                <a:gd name="T28" fmla="*/ 2147483647 w 138"/>
                <a:gd name="T29" fmla="*/ 2147483647 h 402"/>
                <a:gd name="T30" fmla="*/ 2147483647 w 138"/>
                <a:gd name="T31" fmla="*/ 2147483647 h 402"/>
                <a:gd name="T32" fmla="*/ 2147483647 w 138"/>
                <a:gd name="T33" fmla="*/ 0 h 402"/>
                <a:gd name="T34" fmla="*/ 2147483647 w 138"/>
                <a:gd name="T35" fmla="*/ 0 h 402"/>
                <a:gd name="T36" fmla="*/ 2147483647 w 138"/>
                <a:gd name="T37" fmla="*/ 2147483647 h 402"/>
                <a:gd name="T38" fmla="*/ 0 w 138"/>
                <a:gd name="T39" fmla="*/ 2147483647 h 402"/>
                <a:gd name="T40" fmla="*/ 2147483647 w 138"/>
                <a:gd name="T41" fmla="*/ 2147483647 h 402"/>
                <a:gd name="T42" fmla="*/ 2147483647 w 138"/>
                <a:gd name="T43" fmla="*/ 2147483647 h 402"/>
                <a:gd name="T44" fmla="*/ 2147483647 w 138"/>
                <a:gd name="T45" fmla="*/ 2147483647 h 402"/>
                <a:gd name="T46" fmla="*/ 2147483647 w 138"/>
                <a:gd name="T47" fmla="*/ 2147483647 h 402"/>
                <a:gd name="T48" fmla="*/ 2147483647 w 138"/>
                <a:gd name="T49" fmla="*/ 2147483647 h 402"/>
                <a:gd name="T50" fmla="*/ 2147483647 w 138"/>
                <a:gd name="T51" fmla="*/ 2147483647 h 402"/>
                <a:gd name="T52" fmla="*/ 2147483647 w 138"/>
                <a:gd name="T53" fmla="*/ 2147483647 h 402"/>
                <a:gd name="T54" fmla="*/ 2147483647 w 138"/>
                <a:gd name="T55" fmla="*/ 2147483647 h 402"/>
                <a:gd name="T56" fmla="*/ 2147483647 w 138"/>
                <a:gd name="T57" fmla="*/ 2147483647 h 402"/>
                <a:gd name="T58" fmla="*/ 2147483647 w 138"/>
                <a:gd name="T59" fmla="*/ 2147483647 h 402"/>
                <a:gd name="T60" fmla="*/ 2147483647 w 138"/>
                <a:gd name="T61" fmla="*/ 2147483647 h 402"/>
                <a:gd name="T62" fmla="*/ 2147483647 w 138"/>
                <a:gd name="T63" fmla="*/ 2147483647 h 402"/>
                <a:gd name="T64" fmla="*/ 2147483647 w 138"/>
                <a:gd name="T65" fmla="*/ 2147483647 h 402"/>
                <a:gd name="T66" fmla="*/ 2147483647 w 138"/>
                <a:gd name="T67" fmla="*/ 2147483647 h 402"/>
                <a:gd name="T68" fmla="*/ 2147483647 w 138"/>
                <a:gd name="T69" fmla="*/ 2147483647 h 402"/>
                <a:gd name="T70" fmla="*/ 2147483647 w 138"/>
                <a:gd name="T71" fmla="*/ 2147483647 h 402"/>
                <a:gd name="T72" fmla="*/ 2147483647 w 138"/>
                <a:gd name="T73" fmla="*/ 2147483647 h 402"/>
                <a:gd name="T74" fmla="*/ 2147483647 w 138"/>
                <a:gd name="T75" fmla="*/ 2147483647 h 402"/>
                <a:gd name="T76" fmla="*/ 2147483647 w 138"/>
                <a:gd name="T77" fmla="*/ 2147483647 h 402"/>
                <a:gd name="T78" fmla="*/ 2147483647 w 138"/>
                <a:gd name="T79" fmla="*/ 2147483647 h 402"/>
                <a:gd name="T80" fmla="*/ 2147483647 w 138"/>
                <a:gd name="T81" fmla="*/ 2147483647 h 402"/>
                <a:gd name="T82" fmla="*/ 2147483647 w 138"/>
                <a:gd name="T83" fmla="*/ 2147483647 h 402"/>
                <a:gd name="T84" fmla="*/ 2147483647 w 138"/>
                <a:gd name="T85" fmla="*/ 2147483647 h 402"/>
                <a:gd name="T86" fmla="*/ 2147483647 w 138"/>
                <a:gd name="T87" fmla="*/ 2147483647 h 402"/>
                <a:gd name="T88" fmla="*/ 2147483647 w 138"/>
                <a:gd name="T89" fmla="*/ 2147483647 h 402"/>
                <a:gd name="T90" fmla="*/ 2147483647 w 138"/>
                <a:gd name="T91" fmla="*/ 2147483647 h 402"/>
                <a:gd name="T92" fmla="*/ 2147483647 w 138"/>
                <a:gd name="T93" fmla="*/ 2147483647 h 402"/>
                <a:gd name="T94" fmla="*/ 2147483647 w 138"/>
                <a:gd name="T95" fmla="*/ 2147483647 h 402"/>
                <a:gd name="T96" fmla="*/ 2147483647 w 138"/>
                <a:gd name="T97" fmla="*/ 2147483647 h 402"/>
                <a:gd name="T98" fmla="*/ 2147483647 w 138"/>
                <a:gd name="T99" fmla="*/ 2147483647 h 402"/>
                <a:gd name="T100" fmla="*/ 2147483647 w 138"/>
                <a:gd name="T101" fmla="*/ 2147483647 h 402"/>
                <a:gd name="T102" fmla="*/ 2147483647 w 138"/>
                <a:gd name="T103" fmla="*/ 2147483647 h 40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38"/>
                <a:gd name="T157" fmla="*/ 0 h 402"/>
                <a:gd name="T158" fmla="*/ 138 w 138"/>
                <a:gd name="T159" fmla="*/ 402 h 40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38" h="402">
                  <a:moveTo>
                    <a:pt x="126" y="354"/>
                  </a:moveTo>
                  <a:lnTo>
                    <a:pt x="120" y="288"/>
                  </a:lnTo>
                  <a:lnTo>
                    <a:pt x="132" y="282"/>
                  </a:lnTo>
                  <a:lnTo>
                    <a:pt x="120" y="270"/>
                  </a:lnTo>
                  <a:lnTo>
                    <a:pt x="120" y="210"/>
                  </a:lnTo>
                  <a:lnTo>
                    <a:pt x="132" y="198"/>
                  </a:lnTo>
                  <a:lnTo>
                    <a:pt x="126" y="186"/>
                  </a:lnTo>
                  <a:lnTo>
                    <a:pt x="126" y="156"/>
                  </a:lnTo>
                  <a:lnTo>
                    <a:pt x="120" y="144"/>
                  </a:lnTo>
                  <a:lnTo>
                    <a:pt x="108" y="132"/>
                  </a:lnTo>
                  <a:lnTo>
                    <a:pt x="108" y="90"/>
                  </a:lnTo>
                  <a:lnTo>
                    <a:pt x="78" y="60"/>
                  </a:lnTo>
                  <a:lnTo>
                    <a:pt x="66" y="54"/>
                  </a:lnTo>
                  <a:lnTo>
                    <a:pt x="66" y="24"/>
                  </a:lnTo>
                  <a:lnTo>
                    <a:pt x="72" y="6"/>
                  </a:lnTo>
                  <a:lnTo>
                    <a:pt x="54" y="6"/>
                  </a:lnTo>
                  <a:lnTo>
                    <a:pt x="30" y="0"/>
                  </a:lnTo>
                  <a:lnTo>
                    <a:pt x="12" y="0"/>
                  </a:lnTo>
                  <a:lnTo>
                    <a:pt x="12" y="18"/>
                  </a:lnTo>
                  <a:lnTo>
                    <a:pt x="0" y="30"/>
                  </a:lnTo>
                  <a:lnTo>
                    <a:pt x="36" y="54"/>
                  </a:lnTo>
                  <a:lnTo>
                    <a:pt x="24" y="132"/>
                  </a:lnTo>
                  <a:lnTo>
                    <a:pt x="36" y="120"/>
                  </a:lnTo>
                  <a:lnTo>
                    <a:pt x="42" y="120"/>
                  </a:lnTo>
                  <a:lnTo>
                    <a:pt x="48" y="126"/>
                  </a:lnTo>
                  <a:lnTo>
                    <a:pt x="48" y="150"/>
                  </a:lnTo>
                  <a:lnTo>
                    <a:pt x="42" y="162"/>
                  </a:lnTo>
                  <a:lnTo>
                    <a:pt x="54" y="174"/>
                  </a:lnTo>
                  <a:lnTo>
                    <a:pt x="54" y="180"/>
                  </a:lnTo>
                  <a:lnTo>
                    <a:pt x="48" y="180"/>
                  </a:lnTo>
                  <a:lnTo>
                    <a:pt x="36" y="192"/>
                  </a:lnTo>
                  <a:lnTo>
                    <a:pt x="42" y="198"/>
                  </a:lnTo>
                  <a:lnTo>
                    <a:pt x="54" y="204"/>
                  </a:lnTo>
                  <a:lnTo>
                    <a:pt x="60" y="210"/>
                  </a:lnTo>
                  <a:lnTo>
                    <a:pt x="60" y="222"/>
                  </a:lnTo>
                  <a:lnTo>
                    <a:pt x="54" y="228"/>
                  </a:lnTo>
                  <a:lnTo>
                    <a:pt x="54" y="270"/>
                  </a:lnTo>
                  <a:lnTo>
                    <a:pt x="48" y="276"/>
                  </a:lnTo>
                  <a:lnTo>
                    <a:pt x="48" y="294"/>
                  </a:lnTo>
                  <a:lnTo>
                    <a:pt x="54" y="294"/>
                  </a:lnTo>
                  <a:lnTo>
                    <a:pt x="60" y="300"/>
                  </a:lnTo>
                  <a:lnTo>
                    <a:pt x="60" y="312"/>
                  </a:lnTo>
                  <a:lnTo>
                    <a:pt x="54" y="324"/>
                  </a:lnTo>
                  <a:lnTo>
                    <a:pt x="54" y="336"/>
                  </a:lnTo>
                  <a:lnTo>
                    <a:pt x="66" y="378"/>
                  </a:lnTo>
                  <a:lnTo>
                    <a:pt x="96" y="402"/>
                  </a:lnTo>
                  <a:lnTo>
                    <a:pt x="108" y="396"/>
                  </a:lnTo>
                  <a:lnTo>
                    <a:pt x="120" y="384"/>
                  </a:lnTo>
                  <a:lnTo>
                    <a:pt x="138" y="384"/>
                  </a:lnTo>
                  <a:lnTo>
                    <a:pt x="138" y="372"/>
                  </a:lnTo>
                  <a:lnTo>
                    <a:pt x="126" y="360"/>
                  </a:lnTo>
                  <a:lnTo>
                    <a:pt x="126" y="354"/>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24" name="Thailand" descr="© INSCALE GmbH, 05.05.2010&#10;http://www.presentationload.com/">
              <a:extLst>
                <a:ext uri="{FF2B5EF4-FFF2-40B4-BE49-F238E27FC236}">
                  <a16:creationId xmlns:a16="http://schemas.microsoft.com/office/drawing/2014/main" id="{723E9743-AC17-8CAB-15CD-DC0B86BACF87}"/>
                </a:ext>
              </a:extLst>
            </p:cNvPr>
            <p:cNvSpPr>
              <a:spLocks/>
            </p:cNvSpPr>
            <p:nvPr/>
          </p:nvSpPr>
          <p:spPr bwMode="gray">
            <a:xfrm>
              <a:off x="6829542" y="2594397"/>
              <a:ext cx="234215" cy="450643"/>
            </a:xfrm>
            <a:custGeom>
              <a:avLst/>
              <a:gdLst>
                <a:gd name="T0" fmla="*/ 2147483647 w 618"/>
                <a:gd name="T1" fmla="*/ 2147483647 h 1188"/>
                <a:gd name="T2" fmla="*/ 2147483647 w 618"/>
                <a:gd name="T3" fmla="*/ 2147483647 h 1188"/>
                <a:gd name="T4" fmla="*/ 2147483647 w 618"/>
                <a:gd name="T5" fmla="*/ 2147483647 h 1188"/>
                <a:gd name="T6" fmla="*/ 2147483647 w 618"/>
                <a:gd name="T7" fmla="*/ 2147483647 h 1188"/>
                <a:gd name="T8" fmla="*/ 2147483647 w 618"/>
                <a:gd name="T9" fmla="*/ 2147483647 h 1188"/>
                <a:gd name="T10" fmla="*/ 2147483647 w 618"/>
                <a:gd name="T11" fmla="*/ 2147483647 h 1188"/>
                <a:gd name="T12" fmla="*/ 2147483647 w 618"/>
                <a:gd name="T13" fmla="*/ 2147483647 h 1188"/>
                <a:gd name="T14" fmla="*/ 2147483647 w 618"/>
                <a:gd name="T15" fmla="*/ 2147483647 h 1188"/>
                <a:gd name="T16" fmla="*/ 2147483647 w 618"/>
                <a:gd name="T17" fmla="*/ 2147483647 h 1188"/>
                <a:gd name="T18" fmla="*/ 2147483647 w 618"/>
                <a:gd name="T19" fmla="*/ 2147483647 h 1188"/>
                <a:gd name="T20" fmla="*/ 2147483647 w 618"/>
                <a:gd name="T21" fmla="*/ 2147483647 h 1188"/>
                <a:gd name="T22" fmla="*/ 2147483647 w 618"/>
                <a:gd name="T23" fmla="*/ 2147483647 h 1188"/>
                <a:gd name="T24" fmla="*/ 2147483647 w 618"/>
                <a:gd name="T25" fmla="*/ 0 h 1188"/>
                <a:gd name="T26" fmla="*/ 2147483647 w 618"/>
                <a:gd name="T27" fmla="*/ 2147483647 h 1188"/>
                <a:gd name="T28" fmla="*/ 2147483647 w 618"/>
                <a:gd name="T29" fmla="*/ 2147483647 h 1188"/>
                <a:gd name="T30" fmla="*/ 2147483647 w 618"/>
                <a:gd name="T31" fmla="*/ 2147483647 h 1188"/>
                <a:gd name="T32" fmla="*/ 0 w 618"/>
                <a:gd name="T33" fmla="*/ 2147483647 h 1188"/>
                <a:gd name="T34" fmla="*/ 2147483647 w 618"/>
                <a:gd name="T35" fmla="*/ 2147483647 h 1188"/>
                <a:gd name="T36" fmla="*/ 2147483647 w 618"/>
                <a:gd name="T37" fmla="*/ 2147483647 h 1188"/>
                <a:gd name="T38" fmla="*/ 2147483647 w 618"/>
                <a:gd name="T39" fmla="*/ 2147483647 h 1188"/>
                <a:gd name="T40" fmla="*/ 2147483647 w 618"/>
                <a:gd name="T41" fmla="*/ 2147483647 h 1188"/>
                <a:gd name="T42" fmla="*/ 2147483647 w 618"/>
                <a:gd name="T43" fmla="*/ 2147483647 h 1188"/>
                <a:gd name="T44" fmla="*/ 2147483647 w 618"/>
                <a:gd name="T45" fmla="*/ 2147483647 h 1188"/>
                <a:gd name="T46" fmla="*/ 2147483647 w 618"/>
                <a:gd name="T47" fmla="*/ 2147483647 h 1188"/>
                <a:gd name="T48" fmla="*/ 2147483647 w 618"/>
                <a:gd name="T49" fmla="*/ 2147483647 h 1188"/>
                <a:gd name="T50" fmla="*/ 2147483647 w 618"/>
                <a:gd name="T51" fmla="*/ 2147483647 h 1188"/>
                <a:gd name="T52" fmla="*/ 2147483647 w 618"/>
                <a:gd name="T53" fmla="*/ 2147483647 h 1188"/>
                <a:gd name="T54" fmla="*/ 2147483647 w 618"/>
                <a:gd name="T55" fmla="*/ 2147483647 h 1188"/>
                <a:gd name="T56" fmla="*/ 2147483647 w 618"/>
                <a:gd name="T57" fmla="*/ 2147483647 h 1188"/>
                <a:gd name="T58" fmla="*/ 2147483647 w 618"/>
                <a:gd name="T59" fmla="*/ 2147483647 h 1188"/>
                <a:gd name="T60" fmla="*/ 2147483647 w 618"/>
                <a:gd name="T61" fmla="*/ 2147483647 h 1188"/>
                <a:gd name="T62" fmla="*/ 2147483647 w 618"/>
                <a:gd name="T63" fmla="*/ 2147483647 h 1188"/>
                <a:gd name="T64" fmla="*/ 2147483647 w 618"/>
                <a:gd name="T65" fmla="*/ 2147483647 h 1188"/>
                <a:gd name="T66" fmla="*/ 2147483647 w 618"/>
                <a:gd name="T67" fmla="*/ 2147483647 h 1188"/>
                <a:gd name="T68" fmla="*/ 2147483647 w 618"/>
                <a:gd name="T69" fmla="*/ 2147483647 h 1188"/>
                <a:gd name="T70" fmla="*/ 2147483647 w 618"/>
                <a:gd name="T71" fmla="*/ 2147483647 h 1188"/>
                <a:gd name="T72" fmla="*/ 2147483647 w 618"/>
                <a:gd name="T73" fmla="*/ 2147483647 h 1188"/>
                <a:gd name="T74" fmla="*/ 2147483647 w 618"/>
                <a:gd name="T75" fmla="*/ 2147483647 h 1188"/>
                <a:gd name="T76" fmla="*/ 2147483647 w 618"/>
                <a:gd name="T77" fmla="*/ 2147483647 h 1188"/>
                <a:gd name="T78" fmla="*/ 2147483647 w 618"/>
                <a:gd name="T79" fmla="*/ 2147483647 h 1188"/>
                <a:gd name="T80" fmla="*/ 2147483647 w 618"/>
                <a:gd name="T81" fmla="*/ 2147483647 h 1188"/>
                <a:gd name="T82" fmla="*/ 2147483647 w 618"/>
                <a:gd name="T83" fmla="*/ 2147483647 h 1188"/>
                <a:gd name="T84" fmla="*/ 2147483647 w 618"/>
                <a:gd name="T85" fmla="*/ 2147483647 h 1188"/>
                <a:gd name="T86" fmla="*/ 2147483647 w 618"/>
                <a:gd name="T87" fmla="*/ 2147483647 h 1188"/>
                <a:gd name="T88" fmla="*/ 2147483647 w 618"/>
                <a:gd name="T89" fmla="*/ 2147483647 h 1188"/>
                <a:gd name="T90" fmla="*/ 2147483647 w 618"/>
                <a:gd name="T91" fmla="*/ 2147483647 h 1188"/>
                <a:gd name="T92" fmla="*/ 2147483647 w 618"/>
                <a:gd name="T93" fmla="*/ 2147483647 h 1188"/>
                <a:gd name="T94" fmla="*/ 2147483647 w 618"/>
                <a:gd name="T95" fmla="*/ 2147483647 h 1188"/>
                <a:gd name="T96" fmla="*/ 2147483647 w 618"/>
                <a:gd name="T97" fmla="*/ 2147483647 h 1188"/>
                <a:gd name="T98" fmla="*/ 2147483647 w 618"/>
                <a:gd name="T99" fmla="*/ 2147483647 h 1188"/>
                <a:gd name="T100" fmla="*/ 2147483647 w 618"/>
                <a:gd name="T101" fmla="*/ 2147483647 h 1188"/>
                <a:gd name="T102" fmla="*/ 2147483647 w 618"/>
                <a:gd name="T103" fmla="*/ 2147483647 h 1188"/>
                <a:gd name="T104" fmla="*/ 2147483647 w 618"/>
                <a:gd name="T105" fmla="*/ 2147483647 h 1188"/>
                <a:gd name="T106" fmla="*/ 2147483647 w 618"/>
                <a:gd name="T107" fmla="*/ 2147483647 h 1188"/>
                <a:gd name="T108" fmla="*/ 2147483647 w 618"/>
                <a:gd name="T109" fmla="*/ 2147483647 h 1188"/>
                <a:gd name="T110" fmla="*/ 2147483647 w 618"/>
                <a:gd name="T111" fmla="*/ 2147483647 h 1188"/>
                <a:gd name="T112" fmla="*/ 2147483647 w 618"/>
                <a:gd name="T113" fmla="*/ 2147483647 h 1188"/>
                <a:gd name="T114" fmla="*/ 2147483647 w 618"/>
                <a:gd name="T115" fmla="*/ 2147483647 h 1188"/>
                <a:gd name="T116" fmla="*/ 2147483647 w 618"/>
                <a:gd name="T117" fmla="*/ 2147483647 h 11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18"/>
                <a:gd name="T178" fmla="*/ 0 h 1188"/>
                <a:gd name="T179" fmla="*/ 618 w 618"/>
                <a:gd name="T180" fmla="*/ 1188 h 11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18" h="1188">
                  <a:moveTo>
                    <a:pt x="588" y="426"/>
                  </a:moveTo>
                  <a:lnTo>
                    <a:pt x="588" y="420"/>
                  </a:lnTo>
                  <a:lnTo>
                    <a:pt x="594" y="414"/>
                  </a:lnTo>
                  <a:lnTo>
                    <a:pt x="606" y="390"/>
                  </a:lnTo>
                  <a:lnTo>
                    <a:pt x="594" y="378"/>
                  </a:lnTo>
                  <a:lnTo>
                    <a:pt x="594" y="372"/>
                  </a:lnTo>
                  <a:lnTo>
                    <a:pt x="588" y="378"/>
                  </a:lnTo>
                  <a:lnTo>
                    <a:pt x="588" y="366"/>
                  </a:lnTo>
                  <a:lnTo>
                    <a:pt x="582" y="360"/>
                  </a:lnTo>
                  <a:lnTo>
                    <a:pt x="582" y="354"/>
                  </a:lnTo>
                  <a:lnTo>
                    <a:pt x="546" y="318"/>
                  </a:lnTo>
                  <a:lnTo>
                    <a:pt x="534" y="294"/>
                  </a:lnTo>
                  <a:lnTo>
                    <a:pt x="534" y="282"/>
                  </a:lnTo>
                  <a:lnTo>
                    <a:pt x="528" y="240"/>
                  </a:lnTo>
                  <a:lnTo>
                    <a:pt x="510" y="222"/>
                  </a:lnTo>
                  <a:lnTo>
                    <a:pt x="498" y="216"/>
                  </a:lnTo>
                  <a:lnTo>
                    <a:pt x="480" y="204"/>
                  </a:lnTo>
                  <a:lnTo>
                    <a:pt x="468" y="192"/>
                  </a:lnTo>
                  <a:lnTo>
                    <a:pt x="468" y="180"/>
                  </a:lnTo>
                  <a:lnTo>
                    <a:pt x="462" y="174"/>
                  </a:lnTo>
                  <a:lnTo>
                    <a:pt x="438" y="174"/>
                  </a:lnTo>
                  <a:lnTo>
                    <a:pt x="426" y="168"/>
                  </a:lnTo>
                  <a:lnTo>
                    <a:pt x="420" y="162"/>
                  </a:lnTo>
                  <a:lnTo>
                    <a:pt x="402" y="162"/>
                  </a:lnTo>
                  <a:lnTo>
                    <a:pt x="396" y="168"/>
                  </a:lnTo>
                  <a:lnTo>
                    <a:pt x="396" y="180"/>
                  </a:lnTo>
                  <a:lnTo>
                    <a:pt x="378" y="198"/>
                  </a:lnTo>
                  <a:lnTo>
                    <a:pt x="360" y="198"/>
                  </a:lnTo>
                  <a:lnTo>
                    <a:pt x="336" y="186"/>
                  </a:lnTo>
                  <a:lnTo>
                    <a:pt x="330" y="180"/>
                  </a:lnTo>
                  <a:lnTo>
                    <a:pt x="318" y="180"/>
                  </a:lnTo>
                  <a:lnTo>
                    <a:pt x="312" y="186"/>
                  </a:lnTo>
                  <a:lnTo>
                    <a:pt x="306" y="198"/>
                  </a:lnTo>
                  <a:lnTo>
                    <a:pt x="294" y="210"/>
                  </a:lnTo>
                  <a:lnTo>
                    <a:pt x="294" y="216"/>
                  </a:lnTo>
                  <a:lnTo>
                    <a:pt x="288" y="222"/>
                  </a:lnTo>
                  <a:lnTo>
                    <a:pt x="264" y="234"/>
                  </a:lnTo>
                  <a:lnTo>
                    <a:pt x="246" y="234"/>
                  </a:lnTo>
                  <a:lnTo>
                    <a:pt x="246" y="222"/>
                  </a:lnTo>
                  <a:lnTo>
                    <a:pt x="270" y="174"/>
                  </a:lnTo>
                  <a:lnTo>
                    <a:pt x="270" y="162"/>
                  </a:lnTo>
                  <a:lnTo>
                    <a:pt x="264" y="156"/>
                  </a:lnTo>
                  <a:lnTo>
                    <a:pt x="252" y="156"/>
                  </a:lnTo>
                  <a:lnTo>
                    <a:pt x="264" y="144"/>
                  </a:lnTo>
                  <a:lnTo>
                    <a:pt x="270" y="132"/>
                  </a:lnTo>
                  <a:lnTo>
                    <a:pt x="270" y="120"/>
                  </a:lnTo>
                  <a:lnTo>
                    <a:pt x="264" y="108"/>
                  </a:lnTo>
                  <a:lnTo>
                    <a:pt x="258" y="102"/>
                  </a:lnTo>
                  <a:lnTo>
                    <a:pt x="264" y="96"/>
                  </a:lnTo>
                  <a:lnTo>
                    <a:pt x="264" y="66"/>
                  </a:lnTo>
                  <a:lnTo>
                    <a:pt x="252" y="60"/>
                  </a:lnTo>
                  <a:lnTo>
                    <a:pt x="246" y="60"/>
                  </a:lnTo>
                  <a:lnTo>
                    <a:pt x="240" y="66"/>
                  </a:lnTo>
                  <a:lnTo>
                    <a:pt x="228" y="66"/>
                  </a:lnTo>
                  <a:lnTo>
                    <a:pt x="228" y="78"/>
                  </a:lnTo>
                  <a:lnTo>
                    <a:pt x="210" y="78"/>
                  </a:lnTo>
                  <a:lnTo>
                    <a:pt x="204" y="72"/>
                  </a:lnTo>
                  <a:lnTo>
                    <a:pt x="198" y="60"/>
                  </a:lnTo>
                  <a:lnTo>
                    <a:pt x="198" y="36"/>
                  </a:lnTo>
                  <a:lnTo>
                    <a:pt x="204" y="30"/>
                  </a:lnTo>
                  <a:lnTo>
                    <a:pt x="204" y="18"/>
                  </a:lnTo>
                  <a:lnTo>
                    <a:pt x="198" y="12"/>
                  </a:lnTo>
                  <a:lnTo>
                    <a:pt x="186" y="12"/>
                  </a:lnTo>
                  <a:lnTo>
                    <a:pt x="174" y="6"/>
                  </a:lnTo>
                  <a:lnTo>
                    <a:pt x="168" y="0"/>
                  </a:lnTo>
                  <a:lnTo>
                    <a:pt x="138" y="0"/>
                  </a:lnTo>
                  <a:lnTo>
                    <a:pt x="132" y="6"/>
                  </a:lnTo>
                  <a:lnTo>
                    <a:pt x="126" y="6"/>
                  </a:lnTo>
                  <a:lnTo>
                    <a:pt x="120" y="30"/>
                  </a:lnTo>
                  <a:lnTo>
                    <a:pt x="96" y="30"/>
                  </a:lnTo>
                  <a:lnTo>
                    <a:pt x="96" y="36"/>
                  </a:lnTo>
                  <a:lnTo>
                    <a:pt x="90" y="42"/>
                  </a:lnTo>
                  <a:lnTo>
                    <a:pt x="84" y="54"/>
                  </a:lnTo>
                  <a:lnTo>
                    <a:pt x="78" y="60"/>
                  </a:lnTo>
                  <a:lnTo>
                    <a:pt x="66" y="60"/>
                  </a:lnTo>
                  <a:lnTo>
                    <a:pt x="54" y="54"/>
                  </a:lnTo>
                  <a:lnTo>
                    <a:pt x="24" y="54"/>
                  </a:lnTo>
                  <a:lnTo>
                    <a:pt x="24" y="102"/>
                  </a:lnTo>
                  <a:lnTo>
                    <a:pt x="18" y="108"/>
                  </a:lnTo>
                  <a:lnTo>
                    <a:pt x="12" y="108"/>
                  </a:lnTo>
                  <a:lnTo>
                    <a:pt x="6" y="114"/>
                  </a:lnTo>
                  <a:lnTo>
                    <a:pt x="6" y="120"/>
                  </a:lnTo>
                  <a:lnTo>
                    <a:pt x="24" y="138"/>
                  </a:lnTo>
                  <a:lnTo>
                    <a:pt x="24" y="156"/>
                  </a:lnTo>
                  <a:lnTo>
                    <a:pt x="0" y="156"/>
                  </a:lnTo>
                  <a:lnTo>
                    <a:pt x="0" y="162"/>
                  </a:lnTo>
                  <a:lnTo>
                    <a:pt x="24" y="186"/>
                  </a:lnTo>
                  <a:lnTo>
                    <a:pt x="36" y="192"/>
                  </a:lnTo>
                  <a:lnTo>
                    <a:pt x="30" y="216"/>
                  </a:lnTo>
                  <a:lnTo>
                    <a:pt x="36" y="216"/>
                  </a:lnTo>
                  <a:lnTo>
                    <a:pt x="36" y="222"/>
                  </a:lnTo>
                  <a:lnTo>
                    <a:pt x="42" y="234"/>
                  </a:lnTo>
                  <a:lnTo>
                    <a:pt x="60" y="252"/>
                  </a:lnTo>
                  <a:lnTo>
                    <a:pt x="72" y="258"/>
                  </a:lnTo>
                  <a:lnTo>
                    <a:pt x="84" y="270"/>
                  </a:lnTo>
                  <a:lnTo>
                    <a:pt x="96" y="276"/>
                  </a:lnTo>
                  <a:lnTo>
                    <a:pt x="102" y="282"/>
                  </a:lnTo>
                  <a:lnTo>
                    <a:pt x="102" y="288"/>
                  </a:lnTo>
                  <a:lnTo>
                    <a:pt x="96" y="288"/>
                  </a:lnTo>
                  <a:lnTo>
                    <a:pt x="96" y="306"/>
                  </a:lnTo>
                  <a:lnTo>
                    <a:pt x="102" y="318"/>
                  </a:lnTo>
                  <a:lnTo>
                    <a:pt x="108" y="324"/>
                  </a:lnTo>
                  <a:lnTo>
                    <a:pt x="114" y="324"/>
                  </a:lnTo>
                  <a:lnTo>
                    <a:pt x="120" y="318"/>
                  </a:lnTo>
                  <a:lnTo>
                    <a:pt x="126" y="324"/>
                  </a:lnTo>
                  <a:lnTo>
                    <a:pt x="126" y="342"/>
                  </a:lnTo>
                  <a:lnTo>
                    <a:pt x="120" y="348"/>
                  </a:lnTo>
                  <a:lnTo>
                    <a:pt x="108" y="348"/>
                  </a:lnTo>
                  <a:lnTo>
                    <a:pt x="114" y="360"/>
                  </a:lnTo>
                  <a:lnTo>
                    <a:pt x="114" y="384"/>
                  </a:lnTo>
                  <a:lnTo>
                    <a:pt x="108" y="396"/>
                  </a:lnTo>
                  <a:lnTo>
                    <a:pt x="102" y="402"/>
                  </a:lnTo>
                  <a:lnTo>
                    <a:pt x="84" y="438"/>
                  </a:lnTo>
                  <a:lnTo>
                    <a:pt x="90" y="444"/>
                  </a:lnTo>
                  <a:lnTo>
                    <a:pt x="90" y="450"/>
                  </a:lnTo>
                  <a:lnTo>
                    <a:pt x="96" y="456"/>
                  </a:lnTo>
                  <a:lnTo>
                    <a:pt x="102" y="468"/>
                  </a:lnTo>
                  <a:lnTo>
                    <a:pt x="108" y="474"/>
                  </a:lnTo>
                  <a:lnTo>
                    <a:pt x="114" y="486"/>
                  </a:lnTo>
                  <a:lnTo>
                    <a:pt x="156" y="528"/>
                  </a:lnTo>
                  <a:lnTo>
                    <a:pt x="162" y="540"/>
                  </a:lnTo>
                  <a:lnTo>
                    <a:pt x="162" y="570"/>
                  </a:lnTo>
                  <a:lnTo>
                    <a:pt x="168" y="588"/>
                  </a:lnTo>
                  <a:lnTo>
                    <a:pt x="168" y="612"/>
                  </a:lnTo>
                  <a:lnTo>
                    <a:pt x="192" y="636"/>
                  </a:lnTo>
                  <a:lnTo>
                    <a:pt x="192" y="660"/>
                  </a:lnTo>
                  <a:lnTo>
                    <a:pt x="198" y="672"/>
                  </a:lnTo>
                  <a:lnTo>
                    <a:pt x="198" y="702"/>
                  </a:lnTo>
                  <a:lnTo>
                    <a:pt x="192" y="714"/>
                  </a:lnTo>
                  <a:lnTo>
                    <a:pt x="192" y="732"/>
                  </a:lnTo>
                  <a:lnTo>
                    <a:pt x="174" y="768"/>
                  </a:lnTo>
                  <a:lnTo>
                    <a:pt x="156" y="786"/>
                  </a:lnTo>
                  <a:lnTo>
                    <a:pt x="156" y="798"/>
                  </a:lnTo>
                  <a:lnTo>
                    <a:pt x="162" y="804"/>
                  </a:lnTo>
                  <a:lnTo>
                    <a:pt x="162" y="816"/>
                  </a:lnTo>
                  <a:lnTo>
                    <a:pt x="156" y="828"/>
                  </a:lnTo>
                  <a:lnTo>
                    <a:pt x="150" y="834"/>
                  </a:lnTo>
                  <a:lnTo>
                    <a:pt x="144" y="846"/>
                  </a:lnTo>
                  <a:lnTo>
                    <a:pt x="144" y="852"/>
                  </a:lnTo>
                  <a:lnTo>
                    <a:pt x="138" y="858"/>
                  </a:lnTo>
                  <a:lnTo>
                    <a:pt x="132" y="876"/>
                  </a:lnTo>
                  <a:lnTo>
                    <a:pt x="126" y="888"/>
                  </a:lnTo>
                  <a:lnTo>
                    <a:pt x="126" y="906"/>
                  </a:lnTo>
                  <a:lnTo>
                    <a:pt x="120" y="918"/>
                  </a:lnTo>
                  <a:lnTo>
                    <a:pt x="120" y="966"/>
                  </a:lnTo>
                  <a:lnTo>
                    <a:pt x="126" y="978"/>
                  </a:lnTo>
                  <a:lnTo>
                    <a:pt x="126" y="1008"/>
                  </a:lnTo>
                  <a:lnTo>
                    <a:pt x="132" y="1014"/>
                  </a:lnTo>
                  <a:lnTo>
                    <a:pt x="132" y="1020"/>
                  </a:lnTo>
                  <a:lnTo>
                    <a:pt x="138" y="1020"/>
                  </a:lnTo>
                  <a:lnTo>
                    <a:pt x="138" y="1002"/>
                  </a:lnTo>
                  <a:lnTo>
                    <a:pt x="144" y="990"/>
                  </a:lnTo>
                  <a:lnTo>
                    <a:pt x="144" y="978"/>
                  </a:lnTo>
                  <a:lnTo>
                    <a:pt x="150" y="972"/>
                  </a:lnTo>
                  <a:lnTo>
                    <a:pt x="150" y="996"/>
                  </a:lnTo>
                  <a:lnTo>
                    <a:pt x="162" y="996"/>
                  </a:lnTo>
                  <a:lnTo>
                    <a:pt x="186" y="1020"/>
                  </a:lnTo>
                  <a:lnTo>
                    <a:pt x="192" y="1032"/>
                  </a:lnTo>
                  <a:lnTo>
                    <a:pt x="198" y="1038"/>
                  </a:lnTo>
                  <a:lnTo>
                    <a:pt x="198" y="1044"/>
                  </a:lnTo>
                  <a:lnTo>
                    <a:pt x="228" y="1074"/>
                  </a:lnTo>
                  <a:lnTo>
                    <a:pt x="228" y="1098"/>
                  </a:lnTo>
                  <a:lnTo>
                    <a:pt x="234" y="1110"/>
                  </a:lnTo>
                  <a:lnTo>
                    <a:pt x="246" y="1128"/>
                  </a:lnTo>
                  <a:lnTo>
                    <a:pt x="264" y="1146"/>
                  </a:lnTo>
                  <a:lnTo>
                    <a:pt x="270" y="1140"/>
                  </a:lnTo>
                  <a:lnTo>
                    <a:pt x="276" y="1128"/>
                  </a:lnTo>
                  <a:lnTo>
                    <a:pt x="270" y="1122"/>
                  </a:lnTo>
                  <a:lnTo>
                    <a:pt x="270" y="1110"/>
                  </a:lnTo>
                  <a:lnTo>
                    <a:pt x="276" y="1104"/>
                  </a:lnTo>
                  <a:lnTo>
                    <a:pt x="288" y="1104"/>
                  </a:lnTo>
                  <a:lnTo>
                    <a:pt x="294" y="1116"/>
                  </a:lnTo>
                  <a:lnTo>
                    <a:pt x="294" y="1122"/>
                  </a:lnTo>
                  <a:lnTo>
                    <a:pt x="312" y="1122"/>
                  </a:lnTo>
                  <a:lnTo>
                    <a:pt x="324" y="1128"/>
                  </a:lnTo>
                  <a:lnTo>
                    <a:pt x="330" y="1134"/>
                  </a:lnTo>
                  <a:lnTo>
                    <a:pt x="330" y="1146"/>
                  </a:lnTo>
                  <a:lnTo>
                    <a:pt x="342" y="1146"/>
                  </a:lnTo>
                  <a:lnTo>
                    <a:pt x="342" y="1158"/>
                  </a:lnTo>
                  <a:lnTo>
                    <a:pt x="330" y="1170"/>
                  </a:lnTo>
                  <a:lnTo>
                    <a:pt x="330" y="1176"/>
                  </a:lnTo>
                  <a:lnTo>
                    <a:pt x="336" y="1182"/>
                  </a:lnTo>
                  <a:lnTo>
                    <a:pt x="354" y="1182"/>
                  </a:lnTo>
                  <a:lnTo>
                    <a:pt x="354" y="1176"/>
                  </a:lnTo>
                  <a:lnTo>
                    <a:pt x="366" y="1176"/>
                  </a:lnTo>
                  <a:lnTo>
                    <a:pt x="372" y="1170"/>
                  </a:lnTo>
                  <a:lnTo>
                    <a:pt x="378" y="1170"/>
                  </a:lnTo>
                  <a:lnTo>
                    <a:pt x="396" y="1188"/>
                  </a:lnTo>
                  <a:lnTo>
                    <a:pt x="402" y="1182"/>
                  </a:lnTo>
                  <a:lnTo>
                    <a:pt x="402" y="1176"/>
                  </a:lnTo>
                  <a:lnTo>
                    <a:pt x="408" y="1164"/>
                  </a:lnTo>
                  <a:lnTo>
                    <a:pt x="414" y="1158"/>
                  </a:lnTo>
                  <a:lnTo>
                    <a:pt x="420" y="1146"/>
                  </a:lnTo>
                  <a:lnTo>
                    <a:pt x="396" y="1134"/>
                  </a:lnTo>
                  <a:lnTo>
                    <a:pt x="390" y="1128"/>
                  </a:lnTo>
                  <a:lnTo>
                    <a:pt x="390" y="1116"/>
                  </a:lnTo>
                  <a:lnTo>
                    <a:pt x="384" y="1104"/>
                  </a:lnTo>
                  <a:lnTo>
                    <a:pt x="384" y="1092"/>
                  </a:lnTo>
                  <a:lnTo>
                    <a:pt x="378" y="1080"/>
                  </a:lnTo>
                  <a:lnTo>
                    <a:pt x="372" y="1074"/>
                  </a:lnTo>
                  <a:lnTo>
                    <a:pt x="354" y="1074"/>
                  </a:lnTo>
                  <a:lnTo>
                    <a:pt x="342" y="1080"/>
                  </a:lnTo>
                  <a:lnTo>
                    <a:pt x="336" y="1086"/>
                  </a:lnTo>
                  <a:lnTo>
                    <a:pt x="318" y="1086"/>
                  </a:lnTo>
                  <a:lnTo>
                    <a:pt x="312" y="1080"/>
                  </a:lnTo>
                  <a:lnTo>
                    <a:pt x="306" y="1068"/>
                  </a:lnTo>
                  <a:lnTo>
                    <a:pt x="306" y="1056"/>
                  </a:lnTo>
                  <a:lnTo>
                    <a:pt x="294" y="1032"/>
                  </a:lnTo>
                  <a:lnTo>
                    <a:pt x="288" y="1032"/>
                  </a:lnTo>
                  <a:lnTo>
                    <a:pt x="288" y="1050"/>
                  </a:lnTo>
                  <a:lnTo>
                    <a:pt x="282" y="1056"/>
                  </a:lnTo>
                  <a:lnTo>
                    <a:pt x="276" y="1056"/>
                  </a:lnTo>
                  <a:lnTo>
                    <a:pt x="270" y="1044"/>
                  </a:lnTo>
                  <a:lnTo>
                    <a:pt x="264" y="1038"/>
                  </a:lnTo>
                  <a:lnTo>
                    <a:pt x="258" y="1026"/>
                  </a:lnTo>
                  <a:lnTo>
                    <a:pt x="258" y="1014"/>
                  </a:lnTo>
                  <a:lnTo>
                    <a:pt x="270" y="1002"/>
                  </a:lnTo>
                  <a:lnTo>
                    <a:pt x="270" y="1008"/>
                  </a:lnTo>
                  <a:lnTo>
                    <a:pt x="276" y="1008"/>
                  </a:lnTo>
                  <a:lnTo>
                    <a:pt x="276" y="1014"/>
                  </a:lnTo>
                  <a:lnTo>
                    <a:pt x="282" y="1014"/>
                  </a:lnTo>
                  <a:lnTo>
                    <a:pt x="288" y="1008"/>
                  </a:lnTo>
                  <a:lnTo>
                    <a:pt x="282" y="1002"/>
                  </a:lnTo>
                  <a:lnTo>
                    <a:pt x="282" y="990"/>
                  </a:lnTo>
                  <a:lnTo>
                    <a:pt x="276" y="978"/>
                  </a:lnTo>
                  <a:lnTo>
                    <a:pt x="270" y="972"/>
                  </a:lnTo>
                  <a:lnTo>
                    <a:pt x="270" y="960"/>
                  </a:lnTo>
                  <a:lnTo>
                    <a:pt x="258" y="948"/>
                  </a:lnTo>
                  <a:lnTo>
                    <a:pt x="246" y="948"/>
                  </a:lnTo>
                  <a:lnTo>
                    <a:pt x="246" y="894"/>
                  </a:lnTo>
                  <a:lnTo>
                    <a:pt x="192" y="906"/>
                  </a:lnTo>
                  <a:lnTo>
                    <a:pt x="192" y="864"/>
                  </a:lnTo>
                  <a:lnTo>
                    <a:pt x="186" y="828"/>
                  </a:lnTo>
                  <a:lnTo>
                    <a:pt x="186" y="804"/>
                  </a:lnTo>
                  <a:lnTo>
                    <a:pt x="180" y="792"/>
                  </a:lnTo>
                  <a:lnTo>
                    <a:pt x="174" y="786"/>
                  </a:lnTo>
                  <a:lnTo>
                    <a:pt x="180" y="786"/>
                  </a:lnTo>
                  <a:lnTo>
                    <a:pt x="192" y="774"/>
                  </a:lnTo>
                  <a:lnTo>
                    <a:pt x="198" y="762"/>
                  </a:lnTo>
                  <a:lnTo>
                    <a:pt x="204" y="744"/>
                  </a:lnTo>
                  <a:lnTo>
                    <a:pt x="204" y="678"/>
                  </a:lnTo>
                  <a:lnTo>
                    <a:pt x="210" y="678"/>
                  </a:lnTo>
                  <a:lnTo>
                    <a:pt x="216" y="672"/>
                  </a:lnTo>
                  <a:lnTo>
                    <a:pt x="222" y="660"/>
                  </a:lnTo>
                  <a:lnTo>
                    <a:pt x="228" y="654"/>
                  </a:lnTo>
                  <a:lnTo>
                    <a:pt x="228" y="612"/>
                  </a:lnTo>
                  <a:lnTo>
                    <a:pt x="222" y="600"/>
                  </a:lnTo>
                  <a:lnTo>
                    <a:pt x="222" y="594"/>
                  </a:lnTo>
                  <a:lnTo>
                    <a:pt x="216" y="588"/>
                  </a:lnTo>
                  <a:lnTo>
                    <a:pt x="222" y="558"/>
                  </a:lnTo>
                  <a:lnTo>
                    <a:pt x="234" y="558"/>
                  </a:lnTo>
                  <a:lnTo>
                    <a:pt x="234" y="552"/>
                  </a:lnTo>
                  <a:lnTo>
                    <a:pt x="240" y="546"/>
                  </a:lnTo>
                  <a:lnTo>
                    <a:pt x="264" y="546"/>
                  </a:lnTo>
                  <a:lnTo>
                    <a:pt x="270" y="552"/>
                  </a:lnTo>
                  <a:lnTo>
                    <a:pt x="294" y="564"/>
                  </a:lnTo>
                  <a:lnTo>
                    <a:pt x="300" y="570"/>
                  </a:lnTo>
                  <a:lnTo>
                    <a:pt x="288" y="576"/>
                  </a:lnTo>
                  <a:lnTo>
                    <a:pt x="288" y="588"/>
                  </a:lnTo>
                  <a:lnTo>
                    <a:pt x="282" y="594"/>
                  </a:lnTo>
                  <a:lnTo>
                    <a:pt x="282" y="612"/>
                  </a:lnTo>
                  <a:lnTo>
                    <a:pt x="288" y="624"/>
                  </a:lnTo>
                  <a:lnTo>
                    <a:pt x="306" y="624"/>
                  </a:lnTo>
                  <a:lnTo>
                    <a:pt x="330" y="612"/>
                  </a:lnTo>
                  <a:lnTo>
                    <a:pt x="342" y="612"/>
                  </a:lnTo>
                  <a:lnTo>
                    <a:pt x="354" y="606"/>
                  </a:lnTo>
                  <a:lnTo>
                    <a:pt x="360" y="600"/>
                  </a:lnTo>
                  <a:lnTo>
                    <a:pt x="366" y="600"/>
                  </a:lnTo>
                  <a:lnTo>
                    <a:pt x="396" y="684"/>
                  </a:lnTo>
                  <a:lnTo>
                    <a:pt x="402" y="678"/>
                  </a:lnTo>
                  <a:lnTo>
                    <a:pt x="414" y="672"/>
                  </a:lnTo>
                  <a:lnTo>
                    <a:pt x="426" y="672"/>
                  </a:lnTo>
                  <a:lnTo>
                    <a:pt x="426" y="642"/>
                  </a:lnTo>
                  <a:lnTo>
                    <a:pt x="414" y="630"/>
                  </a:lnTo>
                  <a:lnTo>
                    <a:pt x="414" y="600"/>
                  </a:lnTo>
                  <a:lnTo>
                    <a:pt x="402" y="588"/>
                  </a:lnTo>
                  <a:lnTo>
                    <a:pt x="396" y="552"/>
                  </a:lnTo>
                  <a:lnTo>
                    <a:pt x="426" y="522"/>
                  </a:lnTo>
                  <a:lnTo>
                    <a:pt x="426" y="516"/>
                  </a:lnTo>
                  <a:lnTo>
                    <a:pt x="432" y="504"/>
                  </a:lnTo>
                  <a:lnTo>
                    <a:pt x="438" y="498"/>
                  </a:lnTo>
                  <a:lnTo>
                    <a:pt x="450" y="492"/>
                  </a:lnTo>
                  <a:lnTo>
                    <a:pt x="468" y="486"/>
                  </a:lnTo>
                  <a:lnTo>
                    <a:pt x="504" y="486"/>
                  </a:lnTo>
                  <a:lnTo>
                    <a:pt x="510" y="492"/>
                  </a:lnTo>
                  <a:lnTo>
                    <a:pt x="522" y="492"/>
                  </a:lnTo>
                  <a:lnTo>
                    <a:pt x="534" y="486"/>
                  </a:lnTo>
                  <a:lnTo>
                    <a:pt x="564" y="486"/>
                  </a:lnTo>
                  <a:lnTo>
                    <a:pt x="576" y="492"/>
                  </a:lnTo>
                  <a:lnTo>
                    <a:pt x="582" y="498"/>
                  </a:lnTo>
                  <a:lnTo>
                    <a:pt x="588" y="498"/>
                  </a:lnTo>
                  <a:lnTo>
                    <a:pt x="594" y="492"/>
                  </a:lnTo>
                  <a:lnTo>
                    <a:pt x="600" y="480"/>
                  </a:lnTo>
                  <a:lnTo>
                    <a:pt x="618" y="462"/>
                  </a:lnTo>
                  <a:lnTo>
                    <a:pt x="618" y="450"/>
                  </a:lnTo>
                  <a:lnTo>
                    <a:pt x="612" y="444"/>
                  </a:lnTo>
                  <a:lnTo>
                    <a:pt x="600" y="438"/>
                  </a:lnTo>
                  <a:lnTo>
                    <a:pt x="588" y="426"/>
                  </a:lnTo>
                  <a:close/>
                </a:path>
              </a:pathLst>
            </a:custGeom>
            <a:solidFill>
              <a:srgbClr val="7030A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25" name="Tanzania" descr="© INSCALE GmbH, 05.05.2010&#10;http://www.presentationload.com/">
              <a:extLst>
                <a:ext uri="{FF2B5EF4-FFF2-40B4-BE49-F238E27FC236}">
                  <a16:creationId xmlns:a16="http://schemas.microsoft.com/office/drawing/2014/main" id="{EB93D09F-1A24-B903-4E4C-6EE58C97F2D3}"/>
                </a:ext>
              </a:extLst>
            </p:cNvPr>
            <p:cNvSpPr>
              <a:spLocks noEditPoints="1"/>
            </p:cNvSpPr>
            <p:nvPr/>
          </p:nvSpPr>
          <p:spPr bwMode="gray">
            <a:xfrm>
              <a:off x="5032907" y="3249609"/>
              <a:ext cx="290545" cy="329088"/>
            </a:xfrm>
            <a:custGeom>
              <a:avLst/>
              <a:gdLst>
                <a:gd name="T0" fmla="*/ 2147483647 w 768"/>
                <a:gd name="T1" fmla="*/ 2147483647 h 870"/>
                <a:gd name="T2" fmla="*/ 2147483647 w 768"/>
                <a:gd name="T3" fmla="*/ 2147483647 h 870"/>
                <a:gd name="T4" fmla="*/ 2147483647 w 768"/>
                <a:gd name="T5" fmla="*/ 2147483647 h 870"/>
                <a:gd name="T6" fmla="*/ 2147483647 w 768"/>
                <a:gd name="T7" fmla="*/ 2147483647 h 870"/>
                <a:gd name="T8" fmla="*/ 2147483647 w 768"/>
                <a:gd name="T9" fmla="*/ 2147483647 h 870"/>
                <a:gd name="T10" fmla="*/ 2147483647 w 768"/>
                <a:gd name="T11" fmla="*/ 2147483647 h 870"/>
                <a:gd name="T12" fmla="*/ 2147483647 w 768"/>
                <a:gd name="T13" fmla="*/ 2147483647 h 870"/>
                <a:gd name="T14" fmla="*/ 2147483647 w 768"/>
                <a:gd name="T15" fmla="*/ 2147483647 h 870"/>
                <a:gd name="T16" fmla="*/ 2147483647 w 768"/>
                <a:gd name="T17" fmla="*/ 2147483647 h 870"/>
                <a:gd name="T18" fmla="*/ 2147483647 w 768"/>
                <a:gd name="T19" fmla="*/ 2147483647 h 870"/>
                <a:gd name="T20" fmla="*/ 2147483647 w 768"/>
                <a:gd name="T21" fmla="*/ 2147483647 h 870"/>
                <a:gd name="T22" fmla="*/ 2147483647 w 768"/>
                <a:gd name="T23" fmla="*/ 2147483647 h 870"/>
                <a:gd name="T24" fmla="*/ 2147483647 w 768"/>
                <a:gd name="T25" fmla="*/ 2147483647 h 870"/>
                <a:gd name="T26" fmla="*/ 2147483647 w 768"/>
                <a:gd name="T27" fmla="*/ 2147483647 h 870"/>
                <a:gd name="T28" fmla="*/ 2147483647 w 768"/>
                <a:gd name="T29" fmla="*/ 2147483647 h 870"/>
                <a:gd name="T30" fmla="*/ 2147483647 w 768"/>
                <a:gd name="T31" fmla="*/ 2147483647 h 870"/>
                <a:gd name="T32" fmla="*/ 2147483647 w 768"/>
                <a:gd name="T33" fmla="*/ 2147483647 h 870"/>
                <a:gd name="T34" fmla="*/ 2147483647 w 768"/>
                <a:gd name="T35" fmla="*/ 2147483647 h 870"/>
                <a:gd name="T36" fmla="*/ 2147483647 w 768"/>
                <a:gd name="T37" fmla="*/ 2147483647 h 870"/>
                <a:gd name="T38" fmla="*/ 2147483647 w 768"/>
                <a:gd name="T39" fmla="*/ 2147483647 h 870"/>
                <a:gd name="T40" fmla="*/ 2147483647 w 768"/>
                <a:gd name="T41" fmla="*/ 2147483647 h 870"/>
                <a:gd name="T42" fmla="*/ 2147483647 w 768"/>
                <a:gd name="T43" fmla="*/ 2147483647 h 870"/>
                <a:gd name="T44" fmla="*/ 2147483647 w 768"/>
                <a:gd name="T45" fmla="*/ 2147483647 h 870"/>
                <a:gd name="T46" fmla="*/ 2147483647 w 768"/>
                <a:gd name="T47" fmla="*/ 2147483647 h 870"/>
                <a:gd name="T48" fmla="*/ 2147483647 w 768"/>
                <a:gd name="T49" fmla="*/ 2147483647 h 870"/>
                <a:gd name="T50" fmla="*/ 2147483647 w 768"/>
                <a:gd name="T51" fmla="*/ 2147483647 h 870"/>
                <a:gd name="T52" fmla="*/ 2147483647 w 768"/>
                <a:gd name="T53" fmla="*/ 2147483647 h 870"/>
                <a:gd name="T54" fmla="*/ 2147483647 w 768"/>
                <a:gd name="T55" fmla="*/ 2147483647 h 870"/>
                <a:gd name="T56" fmla="*/ 2147483647 w 768"/>
                <a:gd name="T57" fmla="*/ 2147483647 h 870"/>
                <a:gd name="T58" fmla="*/ 2147483647 w 768"/>
                <a:gd name="T59" fmla="*/ 2147483647 h 870"/>
                <a:gd name="T60" fmla="*/ 2147483647 w 768"/>
                <a:gd name="T61" fmla="*/ 2147483647 h 870"/>
                <a:gd name="T62" fmla="*/ 2147483647 w 768"/>
                <a:gd name="T63" fmla="*/ 2147483647 h 870"/>
                <a:gd name="T64" fmla="*/ 2147483647 w 768"/>
                <a:gd name="T65" fmla="*/ 2147483647 h 870"/>
                <a:gd name="T66" fmla="*/ 2147483647 w 768"/>
                <a:gd name="T67" fmla="*/ 2147483647 h 870"/>
                <a:gd name="T68" fmla="*/ 2147483647 w 768"/>
                <a:gd name="T69" fmla="*/ 2147483647 h 870"/>
                <a:gd name="T70" fmla="*/ 2147483647 w 768"/>
                <a:gd name="T71" fmla="*/ 2147483647 h 870"/>
                <a:gd name="T72" fmla="*/ 2147483647 w 768"/>
                <a:gd name="T73" fmla="*/ 2147483647 h 870"/>
                <a:gd name="T74" fmla="*/ 2147483647 w 768"/>
                <a:gd name="T75" fmla="*/ 2147483647 h 870"/>
                <a:gd name="T76" fmla="*/ 2147483647 w 768"/>
                <a:gd name="T77" fmla="*/ 2147483647 h 870"/>
                <a:gd name="T78" fmla="*/ 2147483647 w 768"/>
                <a:gd name="T79" fmla="*/ 2147483647 h 870"/>
                <a:gd name="T80" fmla="*/ 2147483647 w 768"/>
                <a:gd name="T81" fmla="*/ 2147483647 h 870"/>
                <a:gd name="T82" fmla="*/ 2147483647 w 768"/>
                <a:gd name="T83" fmla="*/ 2147483647 h 870"/>
                <a:gd name="T84" fmla="*/ 2147483647 w 768"/>
                <a:gd name="T85" fmla="*/ 2147483647 h 870"/>
                <a:gd name="T86" fmla="*/ 2147483647 w 768"/>
                <a:gd name="T87" fmla="*/ 2147483647 h 870"/>
                <a:gd name="T88" fmla="*/ 2147483647 w 768"/>
                <a:gd name="T89" fmla="*/ 2147483647 h 870"/>
                <a:gd name="T90" fmla="*/ 2147483647 w 768"/>
                <a:gd name="T91" fmla="*/ 2147483647 h 870"/>
                <a:gd name="T92" fmla="*/ 2147483647 w 768"/>
                <a:gd name="T93" fmla="*/ 2147483647 h 870"/>
                <a:gd name="T94" fmla="*/ 2147483647 w 768"/>
                <a:gd name="T95" fmla="*/ 2147483647 h 870"/>
                <a:gd name="T96" fmla="*/ 2147483647 w 768"/>
                <a:gd name="T97" fmla="*/ 2147483647 h 870"/>
                <a:gd name="T98" fmla="*/ 2147483647 w 768"/>
                <a:gd name="T99" fmla="*/ 2147483647 h 870"/>
                <a:gd name="T100" fmla="*/ 2147483647 w 768"/>
                <a:gd name="T101" fmla="*/ 2147483647 h 870"/>
                <a:gd name="T102" fmla="*/ 2147483647 w 768"/>
                <a:gd name="T103" fmla="*/ 2147483647 h 87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68"/>
                <a:gd name="T157" fmla="*/ 0 h 870"/>
                <a:gd name="T158" fmla="*/ 768 w 768"/>
                <a:gd name="T159" fmla="*/ 870 h 87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68" h="870">
                  <a:moveTo>
                    <a:pt x="762" y="744"/>
                  </a:moveTo>
                  <a:lnTo>
                    <a:pt x="750" y="744"/>
                  </a:lnTo>
                  <a:lnTo>
                    <a:pt x="744" y="738"/>
                  </a:lnTo>
                  <a:lnTo>
                    <a:pt x="732" y="732"/>
                  </a:lnTo>
                  <a:lnTo>
                    <a:pt x="720" y="720"/>
                  </a:lnTo>
                  <a:lnTo>
                    <a:pt x="720" y="708"/>
                  </a:lnTo>
                  <a:lnTo>
                    <a:pt x="714" y="690"/>
                  </a:lnTo>
                  <a:lnTo>
                    <a:pt x="714" y="654"/>
                  </a:lnTo>
                  <a:lnTo>
                    <a:pt x="690" y="612"/>
                  </a:lnTo>
                  <a:lnTo>
                    <a:pt x="702" y="564"/>
                  </a:lnTo>
                  <a:lnTo>
                    <a:pt x="684" y="540"/>
                  </a:lnTo>
                  <a:lnTo>
                    <a:pt x="690" y="528"/>
                  </a:lnTo>
                  <a:lnTo>
                    <a:pt x="696" y="522"/>
                  </a:lnTo>
                  <a:lnTo>
                    <a:pt x="708" y="498"/>
                  </a:lnTo>
                  <a:lnTo>
                    <a:pt x="708" y="480"/>
                  </a:lnTo>
                  <a:lnTo>
                    <a:pt x="702" y="474"/>
                  </a:lnTo>
                  <a:lnTo>
                    <a:pt x="690" y="468"/>
                  </a:lnTo>
                  <a:lnTo>
                    <a:pt x="672" y="456"/>
                  </a:lnTo>
                  <a:lnTo>
                    <a:pt x="660" y="450"/>
                  </a:lnTo>
                  <a:lnTo>
                    <a:pt x="654" y="438"/>
                  </a:lnTo>
                  <a:lnTo>
                    <a:pt x="654" y="426"/>
                  </a:lnTo>
                  <a:lnTo>
                    <a:pt x="660" y="414"/>
                  </a:lnTo>
                  <a:lnTo>
                    <a:pt x="666" y="396"/>
                  </a:lnTo>
                  <a:lnTo>
                    <a:pt x="666" y="384"/>
                  </a:lnTo>
                  <a:lnTo>
                    <a:pt x="672" y="366"/>
                  </a:lnTo>
                  <a:lnTo>
                    <a:pt x="678" y="354"/>
                  </a:lnTo>
                  <a:lnTo>
                    <a:pt x="678" y="330"/>
                  </a:lnTo>
                  <a:lnTo>
                    <a:pt x="684" y="318"/>
                  </a:lnTo>
                  <a:lnTo>
                    <a:pt x="684" y="300"/>
                  </a:lnTo>
                  <a:lnTo>
                    <a:pt x="570" y="192"/>
                  </a:lnTo>
                  <a:lnTo>
                    <a:pt x="576" y="186"/>
                  </a:lnTo>
                  <a:lnTo>
                    <a:pt x="582" y="186"/>
                  </a:lnTo>
                  <a:lnTo>
                    <a:pt x="588" y="180"/>
                  </a:lnTo>
                  <a:lnTo>
                    <a:pt x="588" y="174"/>
                  </a:lnTo>
                  <a:lnTo>
                    <a:pt x="576" y="162"/>
                  </a:lnTo>
                  <a:lnTo>
                    <a:pt x="324" y="6"/>
                  </a:lnTo>
                  <a:lnTo>
                    <a:pt x="312" y="6"/>
                  </a:lnTo>
                  <a:lnTo>
                    <a:pt x="312" y="18"/>
                  </a:lnTo>
                  <a:lnTo>
                    <a:pt x="318" y="24"/>
                  </a:lnTo>
                  <a:lnTo>
                    <a:pt x="318" y="36"/>
                  </a:lnTo>
                  <a:lnTo>
                    <a:pt x="294" y="48"/>
                  </a:lnTo>
                  <a:lnTo>
                    <a:pt x="276" y="66"/>
                  </a:lnTo>
                  <a:lnTo>
                    <a:pt x="264" y="84"/>
                  </a:lnTo>
                  <a:lnTo>
                    <a:pt x="264" y="90"/>
                  </a:lnTo>
                  <a:lnTo>
                    <a:pt x="270" y="96"/>
                  </a:lnTo>
                  <a:lnTo>
                    <a:pt x="294" y="96"/>
                  </a:lnTo>
                  <a:lnTo>
                    <a:pt x="306" y="90"/>
                  </a:lnTo>
                  <a:lnTo>
                    <a:pt x="312" y="90"/>
                  </a:lnTo>
                  <a:lnTo>
                    <a:pt x="306" y="96"/>
                  </a:lnTo>
                  <a:lnTo>
                    <a:pt x="294" y="102"/>
                  </a:lnTo>
                  <a:lnTo>
                    <a:pt x="276" y="120"/>
                  </a:lnTo>
                  <a:lnTo>
                    <a:pt x="270" y="120"/>
                  </a:lnTo>
                  <a:lnTo>
                    <a:pt x="264" y="114"/>
                  </a:lnTo>
                  <a:lnTo>
                    <a:pt x="252" y="108"/>
                  </a:lnTo>
                  <a:lnTo>
                    <a:pt x="246" y="108"/>
                  </a:lnTo>
                  <a:lnTo>
                    <a:pt x="234" y="120"/>
                  </a:lnTo>
                  <a:lnTo>
                    <a:pt x="234" y="138"/>
                  </a:lnTo>
                  <a:lnTo>
                    <a:pt x="246" y="150"/>
                  </a:lnTo>
                  <a:lnTo>
                    <a:pt x="216" y="150"/>
                  </a:lnTo>
                  <a:lnTo>
                    <a:pt x="216" y="138"/>
                  </a:lnTo>
                  <a:lnTo>
                    <a:pt x="222" y="132"/>
                  </a:lnTo>
                  <a:lnTo>
                    <a:pt x="222" y="126"/>
                  </a:lnTo>
                  <a:lnTo>
                    <a:pt x="228" y="114"/>
                  </a:lnTo>
                  <a:lnTo>
                    <a:pt x="210" y="120"/>
                  </a:lnTo>
                  <a:lnTo>
                    <a:pt x="192" y="102"/>
                  </a:lnTo>
                  <a:lnTo>
                    <a:pt x="186" y="102"/>
                  </a:lnTo>
                  <a:lnTo>
                    <a:pt x="174" y="114"/>
                  </a:lnTo>
                  <a:lnTo>
                    <a:pt x="174" y="132"/>
                  </a:lnTo>
                  <a:lnTo>
                    <a:pt x="168" y="138"/>
                  </a:lnTo>
                  <a:lnTo>
                    <a:pt x="162" y="138"/>
                  </a:lnTo>
                  <a:lnTo>
                    <a:pt x="156" y="132"/>
                  </a:lnTo>
                  <a:lnTo>
                    <a:pt x="156" y="48"/>
                  </a:lnTo>
                  <a:lnTo>
                    <a:pt x="162" y="36"/>
                  </a:lnTo>
                  <a:lnTo>
                    <a:pt x="162" y="24"/>
                  </a:lnTo>
                  <a:lnTo>
                    <a:pt x="168" y="12"/>
                  </a:lnTo>
                  <a:lnTo>
                    <a:pt x="168" y="6"/>
                  </a:lnTo>
                  <a:lnTo>
                    <a:pt x="78" y="0"/>
                  </a:lnTo>
                  <a:lnTo>
                    <a:pt x="72" y="24"/>
                  </a:lnTo>
                  <a:lnTo>
                    <a:pt x="78" y="30"/>
                  </a:lnTo>
                  <a:lnTo>
                    <a:pt x="84" y="42"/>
                  </a:lnTo>
                  <a:lnTo>
                    <a:pt x="90" y="48"/>
                  </a:lnTo>
                  <a:lnTo>
                    <a:pt x="90" y="66"/>
                  </a:lnTo>
                  <a:lnTo>
                    <a:pt x="96" y="72"/>
                  </a:lnTo>
                  <a:lnTo>
                    <a:pt x="96" y="96"/>
                  </a:lnTo>
                  <a:lnTo>
                    <a:pt x="78" y="114"/>
                  </a:lnTo>
                  <a:lnTo>
                    <a:pt x="66" y="114"/>
                  </a:lnTo>
                  <a:lnTo>
                    <a:pt x="66" y="126"/>
                  </a:lnTo>
                  <a:lnTo>
                    <a:pt x="60" y="138"/>
                  </a:lnTo>
                  <a:lnTo>
                    <a:pt x="60" y="156"/>
                  </a:lnTo>
                  <a:lnTo>
                    <a:pt x="66" y="156"/>
                  </a:lnTo>
                  <a:lnTo>
                    <a:pt x="72" y="162"/>
                  </a:lnTo>
                  <a:lnTo>
                    <a:pt x="90" y="162"/>
                  </a:lnTo>
                  <a:lnTo>
                    <a:pt x="90" y="180"/>
                  </a:lnTo>
                  <a:lnTo>
                    <a:pt x="78" y="186"/>
                  </a:lnTo>
                  <a:lnTo>
                    <a:pt x="84" y="198"/>
                  </a:lnTo>
                  <a:lnTo>
                    <a:pt x="72" y="198"/>
                  </a:lnTo>
                  <a:lnTo>
                    <a:pt x="54" y="216"/>
                  </a:lnTo>
                  <a:lnTo>
                    <a:pt x="48" y="228"/>
                  </a:lnTo>
                  <a:lnTo>
                    <a:pt x="48" y="246"/>
                  </a:lnTo>
                  <a:lnTo>
                    <a:pt x="42" y="258"/>
                  </a:lnTo>
                  <a:lnTo>
                    <a:pt x="30" y="270"/>
                  </a:lnTo>
                  <a:lnTo>
                    <a:pt x="6" y="282"/>
                  </a:lnTo>
                  <a:lnTo>
                    <a:pt x="0" y="294"/>
                  </a:lnTo>
                  <a:lnTo>
                    <a:pt x="6" y="306"/>
                  </a:lnTo>
                  <a:lnTo>
                    <a:pt x="18" y="318"/>
                  </a:lnTo>
                  <a:lnTo>
                    <a:pt x="18" y="330"/>
                  </a:lnTo>
                  <a:lnTo>
                    <a:pt x="12" y="342"/>
                  </a:lnTo>
                  <a:lnTo>
                    <a:pt x="12" y="348"/>
                  </a:lnTo>
                  <a:lnTo>
                    <a:pt x="18" y="354"/>
                  </a:lnTo>
                  <a:lnTo>
                    <a:pt x="18" y="366"/>
                  </a:lnTo>
                  <a:lnTo>
                    <a:pt x="24" y="378"/>
                  </a:lnTo>
                  <a:lnTo>
                    <a:pt x="24" y="396"/>
                  </a:lnTo>
                  <a:lnTo>
                    <a:pt x="18" y="402"/>
                  </a:lnTo>
                  <a:lnTo>
                    <a:pt x="18" y="432"/>
                  </a:lnTo>
                  <a:lnTo>
                    <a:pt x="30" y="444"/>
                  </a:lnTo>
                  <a:lnTo>
                    <a:pt x="36" y="444"/>
                  </a:lnTo>
                  <a:lnTo>
                    <a:pt x="48" y="450"/>
                  </a:lnTo>
                  <a:lnTo>
                    <a:pt x="72" y="474"/>
                  </a:lnTo>
                  <a:lnTo>
                    <a:pt x="78" y="486"/>
                  </a:lnTo>
                  <a:lnTo>
                    <a:pt x="78" y="546"/>
                  </a:lnTo>
                  <a:lnTo>
                    <a:pt x="84" y="558"/>
                  </a:lnTo>
                  <a:lnTo>
                    <a:pt x="114" y="594"/>
                  </a:lnTo>
                  <a:lnTo>
                    <a:pt x="114" y="600"/>
                  </a:lnTo>
                  <a:lnTo>
                    <a:pt x="108" y="612"/>
                  </a:lnTo>
                  <a:lnTo>
                    <a:pt x="108" y="618"/>
                  </a:lnTo>
                  <a:lnTo>
                    <a:pt x="126" y="618"/>
                  </a:lnTo>
                  <a:lnTo>
                    <a:pt x="138" y="612"/>
                  </a:lnTo>
                  <a:lnTo>
                    <a:pt x="138" y="630"/>
                  </a:lnTo>
                  <a:lnTo>
                    <a:pt x="144" y="636"/>
                  </a:lnTo>
                  <a:lnTo>
                    <a:pt x="162" y="636"/>
                  </a:lnTo>
                  <a:lnTo>
                    <a:pt x="180" y="654"/>
                  </a:lnTo>
                  <a:lnTo>
                    <a:pt x="192" y="654"/>
                  </a:lnTo>
                  <a:lnTo>
                    <a:pt x="204" y="648"/>
                  </a:lnTo>
                  <a:lnTo>
                    <a:pt x="204" y="666"/>
                  </a:lnTo>
                  <a:lnTo>
                    <a:pt x="222" y="666"/>
                  </a:lnTo>
                  <a:lnTo>
                    <a:pt x="240" y="678"/>
                  </a:lnTo>
                  <a:lnTo>
                    <a:pt x="264" y="678"/>
                  </a:lnTo>
                  <a:lnTo>
                    <a:pt x="270" y="696"/>
                  </a:lnTo>
                  <a:lnTo>
                    <a:pt x="300" y="696"/>
                  </a:lnTo>
                  <a:lnTo>
                    <a:pt x="300" y="690"/>
                  </a:lnTo>
                  <a:lnTo>
                    <a:pt x="312" y="678"/>
                  </a:lnTo>
                  <a:lnTo>
                    <a:pt x="318" y="684"/>
                  </a:lnTo>
                  <a:lnTo>
                    <a:pt x="330" y="690"/>
                  </a:lnTo>
                  <a:lnTo>
                    <a:pt x="336" y="702"/>
                  </a:lnTo>
                  <a:lnTo>
                    <a:pt x="348" y="714"/>
                  </a:lnTo>
                  <a:lnTo>
                    <a:pt x="348" y="774"/>
                  </a:lnTo>
                  <a:lnTo>
                    <a:pt x="354" y="774"/>
                  </a:lnTo>
                  <a:lnTo>
                    <a:pt x="360" y="780"/>
                  </a:lnTo>
                  <a:lnTo>
                    <a:pt x="360" y="792"/>
                  </a:lnTo>
                  <a:lnTo>
                    <a:pt x="354" y="798"/>
                  </a:lnTo>
                  <a:lnTo>
                    <a:pt x="354" y="804"/>
                  </a:lnTo>
                  <a:lnTo>
                    <a:pt x="348" y="810"/>
                  </a:lnTo>
                  <a:lnTo>
                    <a:pt x="348" y="816"/>
                  </a:lnTo>
                  <a:lnTo>
                    <a:pt x="366" y="834"/>
                  </a:lnTo>
                  <a:lnTo>
                    <a:pt x="378" y="840"/>
                  </a:lnTo>
                  <a:lnTo>
                    <a:pt x="372" y="858"/>
                  </a:lnTo>
                  <a:lnTo>
                    <a:pt x="408" y="858"/>
                  </a:lnTo>
                  <a:lnTo>
                    <a:pt x="414" y="852"/>
                  </a:lnTo>
                  <a:lnTo>
                    <a:pt x="420" y="852"/>
                  </a:lnTo>
                  <a:lnTo>
                    <a:pt x="432" y="840"/>
                  </a:lnTo>
                  <a:lnTo>
                    <a:pt x="444" y="840"/>
                  </a:lnTo>
                  <a:lnTo>
                    <a:pt x="456" y="846"/>
                  </a:lnTo>
                  <a:lnTo>
                    <a:pt x="462" y="858"/>
                  </a:lnTo>
                  <a:lnTo>
                    <a:pt x="474" y="864"/>
                  </a:lnTo>
                  <a:lnTo>
                    <a:pt x="480" y="870"/>
                  </a:lnTo>
                  <a:lnTo>
                    <a:pt x="492" y="870"/>
                  </a:lnTo>
                  <a:lnTo>
                    <a:pt x="510" y="852"/>
                  </a:lnTo>
                  <a:lnTo>
                    <a:pt x="516" y="852"/>
                  </a:lnTo>
                  <a:lnTo>
                    <a:pt x="522" y="858"/>
                  </a:lnTo>
                  <a:lnTo>
                    <a:pt x="534" y="864"/>
                  </a:lnTo>
                  <a:lnTo>
                    <a:pt x="552" y="864"/>
                  </a:lnTo>
                  <a:lnTo>
                    <a:pt x="564" y="852"/>
                  </a:lnTo>
                  <a:lnTo>
                    <a:pt x="576" y="846"/>
                  </a:lnTo>
                  <a:lnTo>
                    <a:pt x="582" y="834"/>
                  </a:lnTo>
                  <a:lnTo>
                    <a:pt x="588" y="828"/>
                  </a:lnTo>
                  <a:lnTo>
                    <a:pt x="612" y="828"/>
                  </a:lnTo>
                  <a:lnTo>
                    <a:pt x="618" y="834"/>
                  </a:lnTo>
                  <a:lnTo>
                    <a:pt x="618" y="840"/>
                  </a:lnTo>
                  <a:lnTo>
                    <a:pt x="630" y="840"/>
                  </a:lnTo>
                  <a:lnTo>
                    <a:pt x="642" y="834"/>
                  </a:lnTo>
                  <a:lnTo>
                    <a:pt x="654" y="822"/>
                  </a:lnTo>
                  <a:lnTo>
                    <a:pt x="660" y="822"/>
                  </a:lnTo>
                  <a:lnTo>
                    <a:pt x="690" y="816"/>
                  </a:lnTo>
                  <a:lnTo>
                    <a:pt x="768" y="762"/>
                  </a:lnTo>
                  <a:lnTo>
                    <a:pt x="762" y="744"/>
                  </a:lnTo>
                  <a:close/>
                  <a:moveTo>
                    <a:pt x="726" y="360"/>
                  </a:moveTo>
                  <a:lnTo>
                    <a:pt x="732" y="354"/>
                  </a:lnTo>
                  <a:lnTo>
                    <a:pt x="732" y="324"/>
                  </a:lnTo>
                  <a:lnTo>
                    <a:pt x="720" y="312"/>
                  </a:lnTo>
                  <a:lnTo>
                    <a:pt x="714" y="312"/>
                  </a:lnTo>
                  <a:lnTo>
                    <a:pt x="708" y="318"/>
                  </a:lnTo>
                  <a:lnTo>
                    <a:pt x="708" y="348"/>
                  </a:lnTo>
                  <a:lnTo>
                    <a:pt x="714" y="354"/>
                  </a:lnTo>
                  <a:lnTo>
                    <a:pt x="726" y="360"/>
                  </a:lnTo>
                  <a:close/>
                  <a:moveTo>
                    <a:pt x="678" y="420"/>
                  </a:moveTo>
                  <a:lnTo>
                    <a:pt x="690" y="426"/>
                  </a:lnTo>
                  <a:lnTo>
                    <a:pt x="696" y="438"/>
                  </a:lnTo>
                  <a:lnTo>
                    <a:pt x="708" y="444"/>
                  </a:lnTo>
                  <a:lnTo>
                    <a:pt x="720" y="444"/>
                  </a:lnTo>
                  <a:lnTo>
                    <a:pt x="726" y="438"/>
                  </a:lnTo>
                  <a:lnTo>
                    <a:pt x="720" y="432"/>
                  </a:lnTo>
                  <a:lnTo>
                    <a:pt x="720" y="426"/>
                  </a:lnTo>
                  <a:lnTo>
                    <a:pt x="708" y="414"/>
                  </a:lnTo>
                  <a:lnTo>
                    <a:pt x="708" y="390"/>
                  </a:lnTo>
                  <a:lnTo>
                    <a:pt x="702" y="378"/>
                  </a:lnTo>
                  <a:lnTo>
                    <a:pt x="684" y="378"/>
                  </a:lnTo>
                  <a:lnTo>
                    <a:pt x="678" y="384"/>
                  </a:lnTo>
                  <a:lnTo>
                    <a:pt x="678" y="420"/>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26" name="Tajikistan" descr="© INSCALE GmbH, 05.05.2010&#10;http://www.presentationload.com/">
              <a:extLst>
                <a:ext uri="{FF2B5EF4-FFF2-40B4-BE49-F238E27FC236}">
                  <a16:creationId xmlns:a16="http://schemas.microsoft.com/office/drawing/2014/main" id="{07780360-6000-1259-470F-ECE8CE6FB04C}"/>
                </a:ext>
              </a:extLst>
            </p:cNvPr>
            <p:cNvSpPr>
              <a:spLocks/>
            </p:cNvSpPr>
            <p:nvPr/>
          </p:nvSpPr>
          <p:spPr bwMode="gray">
            <a:xfrm>
              <a:off x="5937154" y="1967351"/>
              <a:ext cx="209015" cy="131932"/>
            </a:xfrm>
            <a:custGeom>
              <a:avLst/>
              <a:gdLst>
                <a:gd name="T0" fmla="*/ 2147483647 w 552"/>
                <a:gd name="T1" fmla="*/ 2147483647 h 348"/>
                <a:gd name="T2" fmla="*/ 2147483647 w 552"/>
                <a:gd name="T3" fmla="*/ 2147483647 h 348"/>
                <a:gd name="T4" fmla="*/ 2147483647 w 552"/>
                <a:gd name="T5" fmla="*/ 2147483647 h 348"/>
                <a:gd name="T6" fmla="*/ 2147483647 w 552"/>
                <a:gd name="T7" fmla="*/ 2147483647 h 348"/>
                <a:gd name="T8" fmla="*/ 2147483647 w 552"/>
                <a:gd name="T9" fmla="*/ 2147483647 h 348"/>
                <a:gd name="T10" fmla="*/ 2147483647 w 552"/>
                <a:gd name="T11" fmla="*/ 2147483647 h 348"/>
                <a:gd name="T12" fmla="*/ 2147483647 w 552"/>
                <a:gd name="T13" fmla="*/ 2147483647 h 348"/>
                <a:gd name="T14" fmla="*/ 2147483647 w 552"/>
                <a:gd name="T15" fmla="*/ 2147483647 h 348"/>
                <a:gd name="T16" fmla="*/ 2147483647 w 552"/>
                <a:gd name="T17" fmla="*/ 2147483647 h 348"/>
                <a:gd name="T18" fmla="*/ 2147483647 w 552"/>
                <a:gd name="T19" fmla="*/ 2147483647 h 348"/>
                <a:gd name="T20" fmla="*/ 2147483647 w 552"/>
                <a:gd name="T21" fmla="*/ 2147483647 h 348"/>
                <a:gd name="T22" fmla="*/ 2147483647 w 552"/>
                <a:gd name="T23" fmla="*/ 2147483647 h 348"/>
                <a:gd name="T24" fmla="*/ 2147483647 w 552"/>
                <a:gd name="T25" fmla="*/ 2147483647 h 348"/>
                <a:gd name="T26" fmla="*/ 2147483647 w 552"/>
                <a:gd name="T27" fmla="*/ 2147483647 h 348"/>
                <a:gd name="T28" fmla="*/ 2147483647 w 552"/>
                <a:gd name="T29" fmla="*/ 2147483647 h 348"/>
                <a:gd name="T30" fmla="*/ 2147483647 w 552"/>
                <a:gd name="T31" fmla="*/ 2147483647 h 348"/>
                <a:gd name="T32" fmla="*/ 2147483647 w 552"/>
                <a:gd name="T33" fmla="*/ 2147483647 h 348"/>
                <a:gd name="T34" fmla="*/ 2147483647 w 552"/>
                <a:gd name="T35" fmla="*/ 2147483647 h 348"/>
                <a:gd name="T36" fmla="*/ 2147483647 w 552"/>
                <a:gd name="T37" fmla="*/ 2147483647 h 348"/>
                <a:gd name="T38" fmla="*/ 2147483647 w 552"/>
                <a:gd name="T39" fmla="*/ 0 h 348"/>
                <a:gd name="T40" fmla="*/ 2147483647 w 552"/>
                <a:gd name="T41" fmla="*/ 2147483647 h 348"/>
                <a:gd name="T42" fmla="*/ 2147483647 w 552"/>
                <a:gd name="T43" fmla="*/ 2147483647 h 348"/>
                <a:gd name="T44" fmla="*/ 2147483647 w 552"/>
                <a:gd name="T45" fmla="*/ 2147483647 h 348"/>
                <a:gd name="T46" fmla="*/ 2147483647 w 552"/>
                <a:gd name="T47" fmla="*/ 2147483647 h 348"/>
                <a:gd name="T48" fmla="*/ 2147483647 w 552"/>
                <a:gd name="T49" fmla="*/ 2147483647 h 348"/>
                <a:gd name="T50" fmla="*/ 2147483647 w 552"/>
                <a:gd name="T51" fmla="*/ 2147483647 h 348"/>
                <a:gd name="T52" fmla="*/ 2147483647 w 552"/>
                <a:gd name="T53" fmla="*/ 2147483647 h 348"/>
                <a:gd name="T54" fmla="*/ 2147483647 w 552"/>
                <a:gd name="T55" fmla="*/ 2147483647 h 348"/>
                <a:gd name="T56" fmla="*/ 2147483647 w 552"/>
                <a:gd name="T57" fmla="*/ 2147483647 h 348"/>
                <a:gd name="T58" fmla="*/ 2147483647 w 552"/>
                <a:gd name="T59" fmla="*/ 2147483647 h 348"/>
                <a:gd name="T60" fmla="*/ 2147483647 w 552"/>
                <a:gd name="T61" fmla="*/ 2147483647 h 348"/>
                <a:gd name="T62" fmla="*/ 2147483647 w 552"/>
                <a:gd name="T63" fmla="*/ 2147483647 h 348"/>
                <a:gd name="T64" fmla="*/ 2147483647 w 552"/>
                <a:gd name="T65" fmla="*/ 2147483647 h 348"/>
                <a:gd name="T66" fmla="*/ 2147483647 w 552"/>
                <a:gd name="T67" fmla="*/ 2147483647 h 348"/>
                <a:gd name="T68" fmla="*/ 2147483647 w 552"/>
                <a:gd name="T69" fmla="*/ 2147483647 h 348"/>
                <a:gd name="T70" fmla="*/ 2147483647 w 552"/>
                <a:gd name="T71" fmla="*/ 2147483647 h 348"/>
                <a:gd name="T72" fmla="*/ 2147483647 w 552"/>
                <a:gd name="T73" fmla="*/ 2147483647 h 348"/>
                <a:gd name="T74" fmla="*/ 2147483647 w 552"/>
                <a:gd name="T75" fmla="*/ 2147483647 h 348"/>
                <a:gd name="T76" fmla="*/ 2147483647 w 552"/>
                <a:gd name="T77" fmla="*/ 2147483647 h 348"/>
                <a:gd name="T78" fmla="*/ 2147483647 w 552"/>
                <a:gd name="T79" fmla="*/ 2147483647 h 348"/>
                <a:gd name="T80" fmla="*/ 2147483647 w 552"/>
                <a:gd name="T81" fmla="*/ 2147483647 h 348"/>
                <a:gd name="T82" fmla="*/ 2147483647 w 552"/>
                <a:gd name="T83" fmla="*/ 2147483647 h 348"/>
                <a:gd name="T84" fmla="*/ 2147483647 w 552"/>
                <a:gd name="T85" fmla="*/ 2147483647 h 348"/>
                <a:gd name="T86" fmla="*/ 2147483647 w 552"/>
                <a:gd name="T87" fmla="*/ 2147483647 h 348"/>
                <a:gd name="T88" fmla="*/ 2147483647 w 552"/>
                <a:gd name="T89" fmla="*/ 2147483647 h 348"/>
                <a:gd name="T90" fmla="*/ 2147483647 w 552"/>
                <a:gd name="T91" fmla="*/ 2147483647 h 348"/>
                <a:gd name="T92" fmla="*/ 2147483647 w 552"/>
                <a:gd name="T93" fmla="*/ 2147483647 h 348"/>
                <a:gd name="T94" fmla="*/ 2147483647 w 552"/>
                <a:gd name="T95" fmla="*/ 2147483647 h 348"/>
                <a:gd name="T96" fmla="*/ 2147483647 w 552"/>
                <a:gd name="T97" fmla="*/ 2147483647 h 348"/>
                <a:gd name="T98" fmla="*/ 2147483647 w 552"/>
                <a:gd name="T99" fmla="*/ 2147483647 h 34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52"/>
                <a:gd name="T151" fmla="*/ 0 h 348"/>
                <a:gd name="T152" fmla="*/ 552 w 552"/>
                <a:gd name="T153" fmla="*/ 348 h 34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52" h="348">
                  <a:moveTo>
                    <a:pt x="528" y="270"/>
                  </a:moveTo>
                  <a:lnTo>
                    <a:pt x="516" y="246"/>
                  </a:lnTo>
                  <a:lnTo>
                    <a:pt x="516" y="204"/>
                  </a:lnTo>
                  <a:lnTo>
                    <a:pt x="510" y="198"/>
                  </a:lnTo>
                  <a:lnTo>
                    <a:pt x="498" y="192"/>
                  </a:lnTo>
                  <a:lnTo>
                    <a:pt x="492" y="192"/>
                  </a:lnTo>
                  <a:lnTo>
                    <a:pt x="480" y="186"/>
                  </a:lnTo>
                  <a:lnTo>
                    <a:pt x="456" y="186"/>
                  </a:lnTo>
                  <a:lnTo>
                    <a:pt x="450" y="192"/>
                  </a:lnTo>
                  <a:lnTo>
                    <a:pt x="438" y="192"/>
                  </a:lnTo>
                  <a:lnTo>
                    <a:pt x="426" y="180"/>
                  </a:lnTo>
                  <a:lnTo>
                    <a:pt x="426" y="168"/>
                  </a:lnTo>
                  <a:lnTo>
                    <a:pt x="432" y="156"/>
                  </a:lnTo>
                  <a:lnTo>
                    <a:pt x="432" y="144"/>
                  </a:lnTo>
                  <a:lnTo>
                    <a:pt x="414" y="144"/>
                  </a:lnTo>
                  <a:lnTo>
                    <a:pt x="414" y="120"/>
                  </a:lnTo>
                  <a:lnTo>
                    <a:pt x="396" y="114"/>
                  </a:lnTo>
                  <a:lnTo>
                    <a:pt x="384" y="126"/>
                  </a:lnTo>
                  <a:lnTo>
                    <a:pt x="342" y="126"/>
                  </a:lnTo>
                  <a:lnTo>
                    <a:pt x="336" y="132"/>
                  </a:lnTo>
                  <a:lnTo>
                    <a:pt x="324" y="138"/>
                  </a:lnTo>
                  <a:lnTo>
                    <a:pt x="312" y="138"/>
                  </a:lnTo>
                  <a:lnTo>
                    <a:pt x="312" y="132"/>
                  </a:lnTo>
                  <a:lnTo>
                    <a:pt x="306" y="132"/>
                  </a:lnTo>
                  <a:lnTo>
                    <a:pt x="294" y="138"/>
                  </a:lnTo>
                  <a:lnTo>
                    <a:pt x="264" y="108"/>
                  </a:lnTo>
                  <a:lnTo>
                    <a:pt x="258" y="114"/>
                  </a:lnTo>
                  <a:lnTo>
                    <a:pt x="246" y="120"/>
                  </a:lnTo>
                  <a:lnTo>
                    <a:pt x="240" y="126"/>
                  </a:lnTo>
                  <a:lnTo>
                    <a:pt x="222" y="126"/>
                  </a:lnTo>
                  <a:lnTo>
                    <a:pt x="210" y="114"/>
                  </a:lnTo>
                  <a:lnTo>
                    <a:pt x="186" y="114"/>
                  </a:lnTo>
                  <a:lnTo>
                    <a:pt x="174" y="108"/>
                  </a:lnTo>
                  <a:lnTo>
                    <a:pt x="156" y="108"/>
                  </a:lnTo>
                  <a:lnTo>
                    <a:pt x="150" y="114"/>
                  </a:lnTo>
                  <a:lnTo>
                    <a:pt x="138" y="114"/>
                  </a:lnTo>
                  <a:lnTo>
                    <a:pt x="126" y="120"/>
                  </a:lnTo>
                  <a:lnTo>
                    <a:pt x="120" y="114"/>
                  </a:lnTo>
                  <a:lnTo>
                    <a:pt x="120" y="108"/>
                  </a:lnTo>
                  <a:lnTo>
                    <a:pt x="114" y="102"/>
                  </a:lnTo>
                  <a:lnTo>
                    <a:pt x="114" y="90"/>
                  </a:lnTo>
                  <a:lnTo>
                    <a:pt x="126" y="84"/>
                  </a:lnTo>
                  <a:lnTo>
                    <a:pt x="132" y="78"/>
                  </a:lnTo>
                  <a:lnTo>
                    <a:pt x="132" y="66"/>
                  </a:lnTo>
                  <a:lnTo>
                    <a:pt x="138" y="60"/>
                  </a:lnTo>
                  <a:lnTo>
                    <a:pt x="150" y="60"/>
                  </a:lnTo>
                  <a:lnTo>
                    <a:pt x="186" y="72"/>
                  </a:lnTo>
                  <a:lnTo>
                    <a:pt x="198" y="78"/>
                  </a:lnTo>
                  <a:lnTo>
                    <a:pt x="204" y="78"/>
                  </a:lnTo>
                  <a:lnTo>
                    <a:pt x="210" y="72"/>
                  </a:lnTo>
                  <a:lnTo>
                    <a:pt x="210" y="66"/>
                  </a:lnTo>
                  <a:lnTo>
                    <a:pt x="204" y="60"/>
                  </a:lnTo>
                  <a:lnTo>
                    <a:pt x="198" y="60"/>
                  </a:lnTo>
                  <a:lnTo>
                    <a:pt x="186" y="54"/>
                  </a:lnTo>
                  <a:lnTo>
                    <a:pt x="180" y="48"/>
                  </a:lnTo>
                  <a:lnTo>
                    <a:pt x="174" y="48"/>
                  </a:lnTo>
                  <a:lnTo>
                    <a:pt x="198" y="12"/>
                  </a:lnTo>
                  <a:lnTo>
                    <a:pt x="192" y="6"/>
                  </a:lnTo>
                  <a:lnTo>
                    <a:pt x="180" y="0"/>
                  </a:lnTo>
                  <a:lnTo>
                    <a:pt x="162" y="0"/>
                  </a:lnTo>
                  <a:lnTo>
                    <a:pt x="156" y="12"/>
                  </a:lnTo>
                  <a:lnTo>
                    <a:pt x="144" y="18"/>
                  </a:lnTo>
                  <a:lnTo>
                    <a:pt x="138" y="30"/>
                  </a:lnTo>
                  <a:lnTo>
                    <a:pt x="132" y="30"/>
                  </a:lnTo>
                  <a:lnTo>
                    <a:pt x="114" y="12"/>
                  </a:lnTo>
                  <a:lnTo>
                    <a:pt x="102" y="12"/>
                  </a:lnTo>
                  <a:lnTo>
                    <a:pt x="102" y="24"/>
                  </a:lnTo>
                  <a:lnTo>
                    <a:pt x="96" y="30"/>
                  </a:lnTo>
                  <a:lnTo>
                    <a:pt x="96" y="42"/>
                  </a:lnTo>
                  <a:lnTo>
                    <a:pt x="108" y="54"/>
                  </a:lnTo>
                  <a:lnTo>
                    <a:pt x="108" y="60"/>
                  </a:lnTo>
                  <a:lnTo>
                    <a:pt x="66" y="60"/>
                  </a:lnTo>
                  <a:lnTo>
                    <a:pt x="90" y="84"/>
                  </a:lnTo>
                  <a:lnTo>
                    <a:pt x="72" y="96"/>
                  </a:lnTo>
                  <a:lnTo>
                    <a:pt x="78" y="96"/>
                  </a:lnTo>
                  <a:lnTo>
                    <a:pt x="78" y="108"/>
                  </a:lnTo>
                  <a:lnTo>
                    <a:pt x="54" y="120"/>
                  </a:lnTo>
                  <a:lnTo>
                    <a:pt x="6" y="120"/>
                  </a:lnTo>
                  <a:lnTo>
                    <a:pt x="0" y="126"/>
                  </a:lnTo>
                  <a:lnTo>
                    <a:pt x="0" y="144"/>
                  </a:lnTo>
                  <a:lnTo>
                    <a:pt x="18" y="144"/>
                  </a:lnTo>
                  <a:lnTo>
                    <a:pt x="30" y="156"/>
                  </a:lnTo>
                  <a:lnTo>
                    <a:pt x="36" y="156"/>
                  </a:lnTo>
                  <a:lnTo>
                    <a:pt x="42" y="162"/>
                  </a:lnTo>
                  <a:lnTo>
                    <a:pt x="54" y="162"/>
                  </a:lnTo>
                  <a:lnTo>
                    <a:pt x="66" y="174"/>
                  </a:lnTo>
                  <a:lnTo>
                    <a:pt x="66" y="180"/>
                  </a:lnTo>
                  <a:lnTo>
                    <a:pt x="60" y="186"/>
                  </a:lnTo>
                  <a:lnTo>
                    <a:pt x="60" y="204"/>
                  </a:lnTo>
                  <a:lnTo>
                    <a:pt x="66" y="210"/>
                  </a:lnTo>
                  <a:lnTo>
                    <a:pt x="78" y="216"/>
                  </a:lnTo>
                  <a:lnTo>
                    <a:pt x="90" y="228"/>
                  </a:lnTo>
                  <a:lnTo>
                    <a:pt x="90" y="246"/>
                  </a:lnTo>
                  <a:lnTo>
                    <a:pt x="84" y="258"/>
                  </a:lnTo>
                  <a:lnTo>
                    <a:pt x="72" y="264"/>
                  </a:lnTo>
                  <a:lnTo>
                    <a:pt x="66" y="276"/>
                  </a:lnTo>
                  <a:lnTo>
                    <a:pt x="60" y="282"/>
                  </a:lnTo>
                  <a:lnTo>
                    <a:pt x="60" y="306"/>
                  </a:lnTo>
                  <a:lnTo>
                    <a:pt x="66" y="312"/>
                  </a:lnTo>
                  <a:lnTo>
                    <a:pt x="78" y="318"/>
                  </a:lnTo>
                  <a:lnTo>
                    <a:pt x="84" y="324"/>
                  </a:lnTo>
                  <a:lnTo>
                    <a:pt x="90" y="324"/>
                  </a:lnTo>
                  <a:lnTo>
                    <a:pt x="108" y="306"/>
                  </a:lnTo>
                  <a:lnTo>
                    <a:pt x="120" y="300"/>
                  </a:lnTo>
                  <a:lnTo>
                    <a:pt x="126" y="294"/>
                  </a:lnTo>
                  <a:lnTo>
                    <a:pt x="138" y="294"/>
                  </a:lnTo>
                  <a:lnTo>
                    <a:pt x="144" y="300"/>
                  </a:lnTo>
                  <a:lnTo>
                    <a:pt x="150" y="312"/>
                  </a:lnTo>
                  <a:lnTo>
                    <a:pt x="156" y="318"/>
                  </a:lnTo>
                  <a:lnTo>
                    <a:pt x="162" y="318"/>
                  </a:lnTo>
                  <a:lnTo>
                    <a:pt x="162" y="288"/>
                  </a:lnTo>
                  <a:lnTo>
                    <a:pt x="174" y="276"/>
                  </a:lnTo>
                  <a:lnTo>
                    <a:pt x="186" y="270"/>
                  </a:lnTo>
                  <a:lnTo>
                    <a:pt x="204" y="270"/>
                  </a:lnTo>
                  <a:lnTo>
                    <a:pt x="216" y="282"/>
                  </a:lnTo>
                  <a:lnTo>
                    <a:pt x="222" y="258"/>
                  </a:lnTo>
                  <a:lnTo>
                    <a:pt x="216" y="258"/>
                  </a:lnTo>
                  <a:lnTo>
                    <a:pt x="210" y="252"/>
                  </a:lnTo>
                  <a:lnTo>
                    <a:pt x="210" y="246"/>
                  </a:lnTo>
                  <a:lnTo>
                    <a:pt x="222" y="234"/>
                  </a:lnTo>
                  <a:lnTo>
                    <a:pt x="228" y="234"/>
                  </a:lnTo>
                  <a:lnTo>
                    <a:pt x="234" y="228"/>
                  </a:lnTo>
                  <a:lnTo>
                    <a:pt x="234" y="204"/>
                  </a:lnTo>
                  <a:lnTo>
                    <a:pt x="240" y="198"/>
                  </a:lnTo>
                  <a:lnTo>
                    <a:pt x="258" y="198"/>
                  </a:lnTo>
                  <a:lnTo>
                    <a:pt x="276" y="216"/>
                  </a:lnTo>
                  <a:lnTo>
                    <a:pt x="276" y="246"/>
                  </a:lnTo>
                  <a:lnTo>
                    <a:pt x="294" y="246"/>
                  </a:lnTo>
                  <a:lnTo>
                    <a:pt x="306" y="312"/>
                  </a:lnTo>
                  <a:lnTo>
                    <a:pt x="306" y="318"/>
                  </a:lnTo>
                  <a:lnTo>
                    <a:pt x="336" y="348"/>
                  </a:lnTo>
                  <a:lnTo>
                    <a:pt x="342" y="348"/>
                  </a:lnTo>
                  <a:lnTo>
                    <a:pt x="348" y="342"/>
                  </a:lnTo>
                  <a:lnTo>
                    <a:pt x="360" y="336"/>
                  </a:lnTo>
                  <a:lnTo>
                    <a:pt x="366" y="324"/>
                  </a:lnTo>
                  <a:lnTo>
                    <a:pt x="372" y="318"/>
                  </a:lnTo>
                  <a:lnTo>
                    <a:pt x="390" y="318"/>
                  </a:lnTo>
                  <a:lnTo>
                    <a:pt x="396" y="312"/>
                  </a:lnTo>
                  <a:lnTo>
                    <a:pt x="402" y="300"/>
                  </a:lnTo>
                  <a:lnTo>
                    <a:pt x="408" y="294"/>
                  </a:lnTo>
                  <a:lnTo>
                    <a:pt x="432" y="282"/>
                  </a:lnTo>
                  <a:lnTo>
                    <a:pt x="456" y="282"/>
                  </a:lnTo>
                  <a:lnTo>
                    <a:pt x="456" y="300"/>
                  </a:lnTo>
                  <a:lnTo>
                    <a:pt x="492" y="288"/>
                  </a:lnTo>
                  <a:lnTo>
                    <a:pt x="516" y="288"/>
                  </a:lnTo>
                  <a:lnTo>
                    <a:pt x="522" y="294"/>
                  </a:lnTo>
                  <a:lnTo>
                    <a:pt x="546" y="294"/>
                  </a:lnTo>
                  <a:lnTo>
                    <a:pt x="552" y="288"/>
                  </a:lnTo>
                  <a:lnTo>
                    <a:pt x="540" y="276"/>
                  </a:lnTo>
                  <a:lnTo>
                    <a:pt x="534" y="276"/>
                  </a:lnTo>
                  <a:lnTo>
                    <a:pt x="528" y="270"/>
                  </a:lnTo>
                  <a:close/>
                </a:path>
              </a:pathLst>
            </a:custGeom>
            <a:grp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27" name="Taiwan" descr="© INSCALE GmbH, 05.05.2010&#10;http://www.presentationload.com/">
              <a:extLst>
                <a:ext uri="{FF2B5EF4-FFF2-40B4-BE49-F238E27FC236}">
                  <a16:creationId xmlns:a16="http://schemas.microsoft.com/office/drawing/2014/main" id="{9F4460F3-13BF-0DCC-2307-D455906D4A65}"/>
                </a:ext>
              </a:extLst>
            </p:cNvPr>
            <p:cNvSpPr>
              <a:spLocks/>
            </p:cNvSpPr>
            <p:nvPr/>
          </p:nvSpPr>
          <p:spPr bwMode="gray">
            <a:xfrm>
              <a:off x="7401738" y="2444677"/>
              <a:ext cx="45954" cy="102284"/>
            </a:xfrm>
            <a:custGeom>
              <a:avLst/>
              <a:gdLst>
                <a:gd name="T0" fmla="*/ 2147483647 w 120"/>
                <a:gd name="T1" fmla="*/ 2147483647 h 270"/>
                <a:gd name="T2" fmla="*/ 2147483647 w 120"/>
                <a:gd name="T3" fmla="*/ 2147483647 h 270"/>
                <a:gd name="T4" fmla="*/ 2147483647 w 120"/>
                <a:gd name="T5" fmla="*/ 2147483647 h 270"/>
                <a:gd name="T6" fmla="*/ 2147483647 w 120"/>
                <a:gd name="T7" fmla="*/ 2147483647 h 270"/>
                <a:gd name="T8" fmla="*/ 2147483647 w 120"/>
                <a:gd name="T9" fmla="*/ 2147483647 h 270"/>
                <a:gd name="T10" fmla="*/ 2147483647 w 120"/>
                <a:gd name="T11" fmla="*/ 2147483647 h 270"/>
                <a:gd name="T12" fmla="*/ 2147483647 w 120"/>
                <a:gd name="T13" fmla="*/ 2147483647 h 270"/>
                <a:gd name="T14" fmla="*/ 2147483647 w 120"/>
                <a:gd name="T15" fmla="*/ 2147483647 h 270"/>
                <a:gd name="T16" fmla="*/ 2147483647 w 120"/>
                <a:gd name="T17" fmla="*/ 2147483647 h 270"/>
                <a:gd name="T18" fmla="*/ 2147483647 w 120"/>
                <a:gd name="T19" fmla="*/ 2147483647 h 270"/>
                <a:gd name="T20" fmla="*/ 2147483647 w 120"/>
                <a:gd name="T21" fmla="*/ 0 h 270"/>
                <a:gd name="T22" fmla="*/ 2147483647 w 120"/>
                <a:gd name="T23" fmla="*/ 2147483647 h 270"/>
                <a:gd name="T24" fmla="*/ 2147483647 w 120"/>
                <a:gd name="T25" fmla="*/ 2147483647 h 270"/>
                <a:gd name="T26" fmla="*/ 2147483647 w 120"/>
                <a:gd name="T27" fmla="*/ 2147483647 h 270"/>
                <a:gd name="T28" fmla="*/ 2147483647 w 120"/>
                <a:gd name="T29" fmla="*/ 2147483647 h 270"/>
                <a:gd name="T30" fmla="*/ 0 w 120"/>
                <a:gd name="T31" fmla="*/ 2147483647 h 270"/>
                <a:gd name="T32" fmla="*/ 0 w 120"/>
                <a:gd name="T33" fmla="*/ 2147483647 h 270"/>
                <a:gd name="T34" fmla="*/ 2147483647 w 120"/>
                <a:gd name="T35" fmla="*/ 2147483647 h 270"/>
                <a:gd name="T36" fmla="*/ 2147483647 w 120"/>
                <a:gd name="T37" fmla="*/ 2147483647 h 270"/>
                <a:gd name="T38" fmla="*/ 2147483647 w 120"/>
                <a:gd name="T39" fmla="*/ 2147483647 h 270"/>
                <a:gd name="T40" fmla="*/ 2147483647 w 120"/>
                <a:gd name="T41" fmla="*/ 2147483647 h 270"/>
                <a:gd name="T42" fmla="*/ 2147483647 w 120"/>
                <a:gd name="T43" fmla="*/ 2147483647 h 270"/>
                <a:gd name="T44" fmla="*/ 2147483647 w 120"/>
                <a:gd name="T45" fmla="*/ 2147483647 h 270"/>
                <a:gd name="T46" fmla="*/ 2147483647 w 120"/>
                <a:gd name="T47" fmla="*/ 2147483647 h 270"/>
                <a:gd name="T48" fmla="*/ 2147483647 w 120"/>
                <a:gd name="T49" fmla="*/ 2147483647 h 270"/>
                <a:gd name="T50" fmla="*/ 2147483647 w 120"/>
                <a:gd name="T51" fmla="*/ 2147483647 h 27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0"/>
                <a:gd name="T79" fmla="*/ 0 h 270"/>
                <a:gd name="T80" fmla="*/ 120 w 120"/>
                <a:gd name="T81" fmla="*/ 270 h 27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0" h="270">
                  <a:moveTo>
                    <a:pt x="84" y="270"/>
                  </a:moveTo>
                  <a:lnTo>
                    <a:pt x="84" y="222"/>
                  </a:lnTo>
                  <a:lnTo>
                    <a:pt x="90" y="216"/>
                  </a:lnTo>
                  <a:lnTo>
                    <a:pt x="102" y="192"/>
                  </a:lnTo>
                  <a:lnTo>
                    <a:pt x="102" y="102"/>
                  </a:lnTo>
                  <a:lnTo>
                    <a:pt x="108" y="96"/>
                  </a:lnTo>
                  <a:lnTo>
                    <a:pt x="114" y="84"/>
                  </a:lnTo>
                  <a:lnTo>
                    <a:pt x="114" y="54"/>
                  </a:lnTo>
                  <a:lnTo>
                    <a:pt x="120" y="36"/>
                  </a:lnTo>
                  <a:lnTo>
                    <a:pt x="120" y="24"/>
                  </a:lnTo>
                  <a:lnTo>
                    <a:pt x="72" y="0"/>
                  </a:lnTo>
                  <a:lnTo>
                    <a:pt x="48" y="30"/>
                  </a:lnTo>
                  <a:lnTo>
                    <a:pt x="42" y="42"/>
                  </a:lnTo>
                  <a:lnTo>
                    <a:pt x="30" y="78"/>
                  </a:lnTo>
                  <a:lnTo>
                    <a:pt x="12" y="114"/>
                  </a:lnTo>
                  <a:lnTo>
                    <a:pt x="0" y="150"/>
                  </a:lnTo>
                  <a:lnTo>
                    <a:pt x="0" y="168"/>
                  </a:lnTo>
                  <a:lnTo>
                    <a:pt x="6" y="180"/>
                  </a:lnTo>
                  <a:lnTo>
                    <a:pt x="18" y="192"/>
                  </a:lnTo>
                  <a:lnTo>
                    <a:pt x="24" y="204"/>
                  </a:lnTo>
                  <a:lnTo>
                    <a:pt x="36" y="210"/>
                  </a:lnTo>
                  <a:lnTo>
                    <a:pt x="42" y="222"/>
                  </a:lnTo>
                  <a:lnTo>
                    <a:pt x="42" y="228"/>
                  </a:lnTo>
                  <a:lnTo>
                    <a:pt x="48" y="234"/>
                  </a:lnTo>
                  <a:lnTo>
                    <a:pt x="60" y="258"/>
                  </a:lnTo>
                  <a:lnTo>
                    <a:pt x="84" y="270"/>
                  </a:lnTo>
                  <a:close/>
                </a:path>
              </a:pathLst>
            </a:custGeom>
            <a:solidFill>
              <a:srgbClr val="2F5597"/>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28" name="Syria" descr="© INSCALE GmbH, 05.05.2010&#10;http://www.presentationload.com/">
              <a:extLst>
                <a:ext uri="{FF2B5EF4-FFF2-40B4-BE49-F238E27FC236}">
                  <a16:creationId xmlns:a16="http://schemas.microsoft.com/office/drawing/2014/main" id="{9B1E5C21-C8FC-6774-3874-B958AC9AEC51}"/>
                </a:ext>
              </a:extLst>
            </p:cNvPr>
            <p:cNvSpPr>
              <a:spLocks/>
            </p:cNvSpPr>
            <p:nvPr/>
          </p:nvSpPr>
          <p:spPr bwMode="gray">
            <a:xfrm>
              <a:off x="5152979" y="2075565"/>
              <a:ext cx="170473" cy="157133"/>
            </a:xfrm>
            <a:custGeom>
              <a:avLst/>
              <a:gdLst>
                <a:gd name="T0" fmla="*/ 2147483647 w 450"/>
                <a:gd name="T1" fmla="*/ 2147483647 h 414"/>
                <a:gd name="T2" fmla="*/ 2147483647 w 450"/>
                <a:gd name="T3" fmla="*/ 2147483647 h 414"/>
                <a:gd name="T4" fmla="*/ 2147483647 w 450"/>
                <a:gd name="T5" fmla="*/ 2147483647 h 414"/>
                <a:gd name="T6" fmla="*/ 2147483647 w 450"/>
                <a:gd name="T7" fmla="*/ 0 h 414"/>
                <a:gd name="T8" fmla="*/ 2147483647 w 450"/>
                <a:gd name="T9" fmla="*/ 2147483647 h 414"/>
                <a:gd name="T10" fmla="*/ 2147483647 w 450"/>
                <a:gd name="T11" fmla="*/ 2147483647 h 414"/>
                <a:gd name="T12" fmla="*/ 2147483647 w 450"/>
                <a:gd name="T13" fmla="*/ 2147483647 h 414"/>
                <a:gd name="T14" fmla="*/ 2147483647 w 450"/>
                <a:gd name="T15" fmla="*/ 2147483647 h 414"/>
                <a:gd name="T16" fmla="*/ 2147483647 w 450"/>
                <a:gd name="T17" fmla="*/ 2147483647 h 414"/>
                <a:gd name="T18" fmla="*/ 2147483647 w 450"/>
                <a:gd name="T19" fmla="*/ 2147483647 h 414"/>
                <a:gd name="T20" fmla="*/ 2147483647 w 450"/>
                <a:gd name="T21" fmla="*/ 2147483647 h 414"/>
                <a:gd name="T22" fmla="*/ 2147483647 w 450"/>
                <a:gd name="T23" fmla="*/ 2147483647 h 414"/>
                <a:gd name="T24" fmla="*/ 2147483647 w 450"/>
                <a:gd name="T25" fmla="*/ 2147483647 h 414"/>
                <a:gd name="T26" fmla="*/ 2147483647 w 450"/>
                <a:gd name="T27" fmla="*/ 2147483647 h 414"/>
                <a:gd name="T28" fmla="*/ 2147483647 w 450"/>
                <a:gd name="T29" fmla="*/ 2147483647 h 414"/>
                <a:gd name="T30" fmla="*/ 2147483647 w 450"/>
                <a:gd name="T31" fmla="*/ 2147483647 h 414"/>
                <a:gd name="T32" fmla="*/ 2147483647 w 450"/>
                <a:gd name="T33" fmla="*/ 2147483647 h 414"/>
                <a:gd name="T34" fmla="*/ 2147483647 w 450"/>
                <a:gd name="T35" fmla="*/ 2147483647 h 414"/>
                <a:gd name="T36" fmla="*/ 2147483647 w 450"/>
                <a:gd name="T37" fmla="*/ 2147483647 h 414"/>
                <a:gd name="T38" fmla="*/ 2147483647 w 450"/>
                <a:gd name="T39" fmla="*/ 2147483647 h 414"/>
                <a:gd name="T40" fmla="*/ 2147483647 w 450"/>
                <a:gd name="T41" fmla="*/ 2147483647 h 414"/>
                <a:gd name="T42" fmla="*/ 2147483647 w 450"/>
                <a:gd name="T43" fmla="*/ 2147483647 h 414"/>
                <a:gd name="T44" fmla="*/ 2147483647 w 450"/>
                <a:gd name="T45" fmla="*/ 2147483647 h 414"/>
                <a:gd name="T46" fmla="*/ 2147483647 w 450"/>
                <a:gd name="T47" fmla="*/ 2147483647 h 414"/>
                <a:gd name="T48" fmla="*/ 2147483647 w 450"/>
                <a:gd name="T49" fmla="*/ 2147483647 h 414"/>
                <a:gd name="T50" fmla="*/ 2147483647 w 450"/>
                <a:gd name="T51" fmla="*/ 2147483647 h 414"/>
                <a:gd name="T52" fmla="*/ 2147483647 w 450"/>
                <a:gd name="T53" fmla="*/ 2147483647 h 414"/>
                <a:gd name="T54" fmla="*/ 2147483647 w 450"/>
                <a:gd name="T55" fmla="*/ 2147483647 h 414"/>
                <a:gd name="T56" fmla="*/ 2147483647 w 450"/>
                <a:gd name="T57" fmla="*/ 2147483647 h 414"/>
                <a:gd name="T58" fmla="*/ 2147483647 w 450"/>
                <a:gd name="T59" fmla="*/ 2147483647 h 414"/>
                <a:gd name="T60" fmla="*/ 2147483647 w 450"/>
                <a:gd name="T61" fmla="*/ 2147483647 h 414"/>
                <a:gd name="T62" fmla="*/ 2147483647 w 450"/>
                <a:gd name="T63" fmla="*/ 2147483647 h 414"/>
                <a:gd name="T64" fmla="*/ 2147483647 w 450"/>
                <a:gd name="T65" fmla="*/ 2147483647 h 414"/>
                <a:gd name="T66" fmla="*/ 2147483647 w 450"/>
                <a:gd name="T67" fmla="*/ 2147483647 h 414"/>
                <a:gd name="T68" fmla="*/ 2147483647 w 450"/>
                <a:gd name="T69" fmla="*/ 2147483647 h 414"/>
                <a:gd name="T70" fmla="*/ 2147483647 w 450"/>
                <a:gd name="T71" fmla="*/ 2147483647 h 414"/>
                <a:gd name="T72" fmla="*/ 2147483647 w 450"/>
                <a:gd name="T73" fmla="*/ 2147483647 h 414"/>
                <a:gd name="T74" fmla="*/ 2147483647 w 450"/>
                <a:gd name="T75" fmla="*/ 2147483647 h 414"/>
                <a:gd name="T76" fmla="*/ 2147483647 w 450"/>
                <a:gd name="T77" fmla="*/ 2147483647 h 414"/>
                <a:gd name="T78" fmla="*/ 2147483647 w 450"/>
                <a:gd name="T79" fmla="*/ 2147483647 h 414"/>
                <a:gd name="T80" fmla="*/ 2147483647 w 450"/>
                <a:gd name="T81" fmla="*/ 2147483647 h 414"/>
                <a:gd name="T82" fmla="*/ 2147483647 w 450"/>
                <a:gd name="T83" fmla="*/ 2147483647 h 414"/>
                <a:gd name="T84" fmla="*/ 2147483647 w 450"/>
                <a:gd name="T85" fmla="*/ 2147483647 h 414"/>
                <a:gd name="T86" fmla="*/ 2147483647 w 450"/>
                <a:gd name="T87" fmla="*/ 2147483647 h 414"/>
                <a:gd name="T88" fmla="*/ 2147483647 w 450"/>
                <a:gd name="T89" fmla="*/ 2147483647 h 414"/>
                <a:gd name="T90" fmla="*/ 2147483647 w 450"/>
                <a:gd name="T91" fmla="*/ 2147483647 h 414"/>
                <a:gd name="T92" fmla="*/ 2147483647 w 450"/>
                <a:gd name="T93" fmla="*/ 2147483647 h 414"/>
                <a:gd name="T94" fmla="*/ 2147483647 w 450"/>
                <a:gd name="T95" fmla="*/ 2147483647 h 414"/>
                <a:gd name="T96" fmla="*/ 2147483647 w 450"/>
                <a:gd name="T97" fmla="*/ 2147483647 h 41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0"/>
                <a:gd name="T148" fmla="*/ 0 h 414"/>
                <a:gd name="T149" fmla="*/ 450 w 450"/>
                <a:gd name="T150" fmla="*/ 414 h 41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0" h="414">
                  <a:moveTo>
                    <a:pt x="426" y="60"/>
                  </a:moveTo>
                  <a:lnTo>
                    <a:pt x="432" y="54"/>
                  </a:lnTo>
                  <a:lnTo>
                    <a:pt x="438" y="42"/>
                  </a:lnTo>
                  <a:lnTo>
                    <a:pt x="450" y="30"/>
                  </a:lnTo>
                  <a:lnTo>
                    <a:pt x="444" y="30"/>
                  </a:lnTo>
                  <a:lnTo>
                    <a:pt x="438" y="24"/>
                  </a:lnTo>
                  <a:lnTo>
                    <a:pt x="438" y="0"/>
                  </a:lnTo>
                  <a:lnTo>
                    <a:pt x="432" y="0"/>
                  </a:lnTo>
                  <a:lnTo>
                    <a:pt x="432" y="6"/>
                  </a:lnTo>
                  <a:lnTo>
                    <a:pt x="426" y="18"/>
                  </a:lnTo>
                  <a:lnTo>
                    <a:pt x="402" y="18"/>
                  </a:lnTo>
                  <a:lnTo>
                    <a:pt x="390" y="30"/>
                  </a:lnTo>
                  <a:lnTo>
                    <a:pt x="372" y="30"/>
                  </a:lnTo>
                  <a:lnTo>
                    <a:pt x="366" y="24"/>
                  </a:lnTo>
                  <a:lnTo>
                    <a:pt x="318" y="24"/>
                  </a:lnTo>
                  <a:lnTo>
                    <a:pt x="306" y="30"/>
                  </a:lnTo>
                  <a:lnTo>
                    <a:pt x="294" y="42"/>
                  </a:lnTo>
                  <a:lnTo>
                    <a:pt x="282" y="48"/>
                  </a:lnTo>
                  <a:lnTo>
                    <a:pt x="276" y="54"/>
                  </a:lnTo>
                  <a:lnTo>
                    <a:pt x="258" y="54"/>
                  </a:lnTo>
                  <a:lnTo>
                    <a:pt x="246" y="60"/>
                  </a:lnTo>
                  <a:lnTo>
                    <a:pt x="234" y="60"/>
                  </a:lnTo>
                  <a:lnTo>
                    <a:pt x="222" y="54"/>
                  </a:lnTo>
                  <a:lnTo>
                    <a:pt x="204" y="54"/>
                  </a:lnTo>
                  <a:lnTo>
                    <a:pt x="192" y="42"/>
                  </a:lnTo>
                  <a:lnTo>
                    <a:pt x="180" y="36"/>
                  </a:lnTo>
                  <a:lnTo>
                    <a:pt x="174" y="30"/>
                  </a:lnTo>
                  <a:lnTo>
                    <a:pt x="168" y="30"/>
                  </a:lnTo>
                  <a:lnTo>
                    <a:pt x="150" y="48"/>
                  </a:lnTo>
                  <a:lnTo>
                    <a:pt x="144" y="48"/>
                  </a:lnTo>
                  <a:lnTo>
                    <a:pt x="138" y="54"/>
                  </a:lnTo>
                  <a:lnTo>
                    <a:pt x="120" y="60"/>
                  </a:lnTo>
                  <a:lnTo>
                    <a:pt x="84" y="60"/>
                  </a:lnTo>
                  <a:lnTo>
                    <a:pt x="84" y="54"/>
                  </a:lnTo>
                  <a:lnTo>
                    <a:pt x="90" y="48"/>
                  </a:lnTo>
                  <a:lnTo>
                    <a:pt x="66" y="48"/>
                  </a:lnTo>
                  <a:lnTo>
                    <a:pt x="66" y="78"/>
                  </a:lnTo>
                  <a:lnTo>
                    <a:pt x="72" y="78"/>
                  </a:lnTo>
                  <a:lnTo>
                    <a:pt x="72" y="102"/>
                  </a:lnTo>
                  <a:lnTo>
                    <a:pt x="60" y="102"/>
                  </a:lnTo>
                  <a:lnTo>
                    <a:pt x="54" y="96"/>
                  </a:lnTo>
                  <a:lnTo>
                    <a:pt x="54" y="114"/>
                  </a:lnTo>
                  <a:lnTo>
                    <a:pt x="48" y="120"/>
                  </a:lnTo>
                  <a:lnTo>
                    <a:pt x="48" y="126"/>
                  </a:lnTo>
                  <a:lnTo>
                    <a:pt x="36" y="126"/>
                  </a:lnTo>
                  <a:lnTo>
                    <a:pt x="24" y="114"/>
                  </a:lnTo>
                  <a:lnTo>
                    <a:pt x="18" y="120"/>
                  </a:lnTo>
                  <a:lnTo>
                    <a:pt x="12" y="132"/>
                  </a:lnTo>
                  <a:lnTo>
                    <a:pt x="12" y="150"/>
                  </a:lnTo>
                  <a:lnTo>
                    <a:pt x="6" y="150"/>
                  </a:lnTo>
                  <a:lnTo>
                    <a:pt x="0" y="198"/>
                  </a:lnTo>
                  <a:lnTo>
                    <a:pt x="6" y="204"/>
                  </a:lnTo>
                  <a:lnTo>
                    <a:pt x="18" y="210"/>
                  </a:lnTo>
                  <a:lnTo>
                    <a:pt x="24" y="216"/>
                  </a:lnTo>
                  <a:lnTo>
                    <a:pt x="24" y="222"/>
                  </a:lnTo>
                  <a:lnTo>
                    <a:pt x="72" y="222"/>
                  </a:lnTo>
                  <a:lnTo>
                    <a:pt x="66" y="234"/>
                  </a:lnTo>
                  <a:lnTo>
                    <a:pt x="72" y="240"/>
                  </a:lnTo>
                  <a:lnTo>
                    <a:pt x="78" y="252"/>
                  </a:lnTo>
                  <a:lnTo>
                    <a:pt x="78" y="270"/>
                  </a:lnTo>
                  <a:lnTo>
                    <a:pt x="72" y="282"/>
                  </a:lnTo>
                  <a:lnTo>
                    <a:pt x="66" y="282"/>
                  </a:lnTo>
                  <a:lnTo>
                    <a:pt x="54" y="288"/>
                  </a:lnTo>
                  <a:lnTo>
                    <a:pt x="48" y="288"/>
                  </a:lnTo>
                  <a:lnTo>
                    <a:pt x="42" y="294"/>
                  </a:lnTo>
                  <a:lnTo>
                    <a:pt x="42" y="318"/>
                  </a:lnTo>
                  <a:lnTo>
                    <a:pt x="24" y="336"/>
                  </a:lnTo>
                  <a:lnTo>
                    <a:pt x="30" y="378"/>
                  </a:lnTo>
                  <a:lnTo>
                    <a:pt x="36" y="378"/>
                  </a:lnTo>
                  <a:lnTo>
                    <a:pt x="72" y="396"/>
                  </a:lnTo>
                  <a:lnTo>
                    <a:pt x="84" y="408"/>
                  </a:lnTo>
                  <a:lnTo>
                    <a:pt x="96" y="414"/>
                  </a:lnTo>
                  <a:lnTo>
                    <a:pt x="114" y="414"/>
                  </a:lnTo>
                  <a:lnTo>
                    <a:pt x="174" y="384"/>
                  </a:lnTo>
                  <a:lnTo>
                    <a:pt x="204" y="354"/>
                  </a:lnTo>
                  <a:lnTo>
                    <a:pt x="228" y="336"/>
                  </a:lnTo>
                  <a:lnTo>
                    <a:pt x="240" y="324"/>
                  </a:lnTo>
                  <a:lnTo>
                    <a:pt x="300" y="276"/>
                  </a:lnTo>
                  <a:lnTo>
                    <a:pt x="312" y="270"/>
                  </a:lnTo>
                  <a:lnTo>
                    <a:pt x="372" y="246"/>
                  </a:lnTo>
                  <a:lnTo>
                    <a:pt x="396" y="234"/>
                  </a:lnTo>
                  <a:lnTo>
                    <a:pt x="402" y="228"/>
                  </a:lnTo>
                  <a:lnTo>
                    <a:pt x="402" y="222"/>
                  </a:lnTo>
                  <a:lnTo>
                    <a:pt x="384" y="204"/>
                  </a:lnTo>
                  <a:lnTo>
                    <a:pt x="384" y="198"/>
                  </a:lnTo>
                  <a:lnTo>
                    <a:pt x="390" y="180"/>
                  </a:lnTo>
                  <a:lnTo>
                    <a:pt x="396" y="168"/>
                  </a:lnTo>
                  <a:lnTo>
                    <a:pt x="396" y="138"/>
                  </a:lnTo>
                  <a:lnTo>
                    <a:pt x="390" y="126"/>
                  </a:lnTo>
                  <a:lnTo>
                    <a:pt x="390" y="114"/>
                  </a:lnTo>
                  <a:lnTo>
                    <a:pt x="384" y="108"/>
                  </a:lnTo>
                  <a:lnTo>
                    <a:pt x="378" y="96"/>
                  </a:lnTo>
                  <a:lnTo>
                    <a:pt x="378" y="84"/>
                  </a:lnTo>
                  <a:lnTo>
                    <a:pt x="384" y="72"/>
                  </a:lnTo>
                  <a:lnTo>
                    <a:pt x="390" y="66"/>
                  </a:lnTo>
                  <a:lnTo>
                    <a:pt x="402" y="66"/>
                  </a:lnTo>
                  <a:lnTo>
                    <a:pt x="414" y="60"/>
                  </a:lnTo>
                  <a:lnTo>
                    <a:pt x="426" y="60"/>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29" name="Switzerland" descr="© INSCALE GmbH, 05.05.2010&#10;http://www.presentationload.com/">
              <a:extLst>
                <a:ext uri="{FF2B5EF4-FFF2-40B4-BE49-F238E27FC236}">
                  <a16:creationId xmlns:a16="http://schemas.microsoft.com/office/drawing/2014/main" id="{DF3FACE2-7D6C-F5D8-9181-96E1006D2219}"/>
                </a:ext>
              </a:extLst>
            </p:cNvPr>
            <p:cNvSpPr>
              <a:spLocks/>
            </p:cNvSpPr>
            <p:nvPr/>
          </p:nvSpPr>
          <p:spPr bwMode="gray">
            <a:xfrm>
              <a:off x="4408829" y="1759818"/>
              <a:ext cx="109696" cy="60778"/>
            </a:xfrm>
            <a:custGeom>
              <a:avLst/>
              <a:gdLst>
                <a:gd name="T0" fmla="*/ 2147483647 w 288"/>
                <a:gd name="T1" fmla="*/ 2147483647 h 162"/>
                <a:gd name="T2" fmla="*/ 2147483647 w 288"/>
                <a:gd name="T3" fmla="*/ 2147483647 h 162"/>
                <a:gd name="T4" fmla="*/ 2147483647 w 288"/>
                <a:gd name="T5" fmla="*/ 2147483647 h 162"/>
                <a:gd name="T6" fmla="*/ 2147483647 w 288"/>
                <a:gd name="T7" fmla="*/ 2147483647 h 162"/>
                <a:gd name="T8" fmla="*/ 2147483647 w 288"/>
                <a:gd name="T9" fmla="*/ 2147483647 h 162"/>
                <a:gd name="T10" fmla="*/ 2147483647 w 288"/>
                <a:gd name="T11" fmla="*/ 2147483647 h 162"/>
                <a:gd name="T12" fmla="*/ 2147483647 w 288"/>
                <a:gd name="T13" fmla="*/ 2147483647 h 162"/>
                <a:gd name="T14" fmla="*/ 0 w 288"/>
                <a:gd name="T15" fmla="*/ 2147483647 h 162"/>
                <a:gd name="T16" fmla="*/ 2147483647 w 288"/>
                <a:gd name="T17" fmla="*/ 2147483647 h 162"/>
                <a:gd name="T18" fmla="*/ 2147483647 w 288"/>
                <a:gd name="T19" fmla="*/ 2147483647 h 162"/>
                <a:gd name="T20" fmla="*/ 2147483647 w 288"/>
                <a:gd name="T21" fmla="*/ 2147483647 h 162"/>
                <a:gd name="T22" fmla="*/ 2147483647 w 288"/>
                <a:gd name="T23" fmla="*/ 2147483647 h 162"/>
                <a:gd name="T24" fmla="*/ 2147483647 w 288"/>
                <a:gd name="T25" fmla="*/ 2147483647 h 162"/>
                <a:gd name="T26" fmla="*/ 2147483647 w 288"/>
                <a:gd name="T27" fmla="*/ 2147483647 h 162"/>
                <a:gd name="T28" fmla="*/ 2147483647 w 288"/>
                <a:gd name="T29" fmla="*/ 2147483647 h 162"/>
                <a:gd name="T30" fmla="*/ 2147483647 w 288"/>
                <a:gd name="T31" fmla="*/ 2147483647 h 162"/>
                <a:gd name="T32" fmla="*/ 2147483647 w 288"/>
                <a:gd name="T33" fmla="*/ 2147483647 h 162"/>
                <a:gd name="T34" fmla="*/ 2147483647 w 288"/>
                <a:gd name="T35" fmla="*/ 2147483647 h 162"/>
                <a:gd name="T36" fmla="*/ 2147483647 w 288"/>
                <a:gd name="T37" fmla="*/ 2147483647 h 162"/>
                <a:gd name="T38" fmla="*/ 2147483647 w 288"/>
                <a:gd name="T39" fmla="*/ 2147483647 h 162"/>
                <a:gd name="T40" fmla="*/ 2147483647 w 288"/>
                <a:gd name="T41" fmla="*/ 2147483647 h 162"/>
                <a:gd name="T42" fmla="*/ 2147483647 w 288"/>
                <a:gd name="T43" fmla="*/ 2147483647 h 162"/>
                <a:gd name="T44" fmla="*/ 2147483647 w 288"/>
                <a:gd name="T45" fmla="*/ 2147483647 h 162"/>
                <a:gd name="T46" fmla="*/ 2147483647 w 288"/>
                <a:gd name="T47" fmla="*/ 2147483647 h 162"/>
                <a:gd name="T48" fmla="*/ 2147483647 w 288"/>
                <a:gd name="T49" fmla="*/ 2147483647 h 162"/>
                <a:gd name="T50" fmla="*/ 2147483647 w 288"/>
                <a:gd name="T51" fmla="*/ 2147483647 h 162"/>
                <a:gd name="T52" fmla="*/ 2147483647 w 288"/>
                <a:gd name="T53" fmla="*/ 2147483647 h 162"/>
                <a:gd name="T54" fmla="*/ 2147483647 w 288"/>
                <a:gd name="T55" fmla="*/ 2147483647 h 162"/>
                <a:gd name="T56" fmla="*/ 2147483647 w 288"/>
                <a:gd name="T57" fmla="*/ 2147483647 h 162"/>
                <a:gd name="T58" fmla="*/ 2147483647 w 288"/>
                <a:gd name="T59" fmla="*/ 2147483647 h 162"/>
                <a:gd name="T60" fmla="*/ 2147483647 w 288"/>
                <a:gd name="T61" fmla="*/ 2147483647 h 162"/>
                <a:gd name="T62" fmla="*/ 2147483647 w 288"/>
                <a:gd name="T63" fmla="*/ 2147483647 h 162"/>
                <a:gd name="T64" fmla="*/ 2147483647 w 288"/>
                <a:gd name="T65" fmla="*/ 2147483647 h 162"/>
                <a:gd name="T66" fmla="*/ 2147483647 w 288"/>
                <a:gd name="T67" fmla="*/ 0 h 162"/>
                <a:gd name="T68" fmla="*/ 2147483647 w 288"/>
                <a:gd name="T69" fmla="*/ 2147483647 h 162"/>
                <a:gd name="T70" fmla="*/ 2147483647 w 288"/>
                <a:gd name="T71" fmla="*/ 2147483647 h 162"/>
                <a:gd name="T72" fmla="*/ 2147483647 w 288"/>
                <a:gd name="T73" fmla="*/ 2147483647 h 16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88"/>
                <a:gd name="T112" fmla="*/ 0 h 162"/>
                <a:gd name="T113" fmla="*/ 288 w 288"/>
                <a:gd name="T114" fmla="*/ 162 h 16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88" h="162">
                  <a:moveTo>
                    <a:pt x="132" y="24"/>
                  </a:moveTo>
                  <a:lnTo>
                    <a:pt x="96" y="24"/>
                  </a:lnTo>
                  <a:lnTo>
                    <a:pt x="90" y="42"/>
                  </a:lnTo>
                  <a:lnTo>
                    <a:pt x="72" y="30"/>
                  </a:lnTo>
                  <a:lnTo>
                    <a:pt x="66" y="42"/>
                  </a:lnTo>
                  <a:lnTo>
                    <a:pt x="60" y="48"/>
                  </a:lnTo>
                  <a:lnTo>
                    <a:pt x="54" y="60"/>
                  </a:lnTo>
                  <a:lnTo>
                    <a:pt x="48" y="66"/>
                  </a:lnTo>
                  <a:lnTo>
                    <a:pt x="30" y="66"/>
                  </a:lnTo>
                  <a:lnTo>
                    <a:pt x="30" y="78"/>
                  </a:lnTo>
                  <a:lnTo>
                    <a:pt x="18" y="90"/>
                  </a:lnTo>
                  <a:lnTo>
                    <a:pt x="12" y="102"/>
                  </a:lnTo>
                  <a:lnTo>
                    <a:pt x="0" y="108"/>
                  </a:lnTo>
                  <a:lnTo>
                    <a:pt x="6" y="120"/>
                  </a:lnTo>
                  <a:lnTo>
                    <a:pt x="0" y="126"/>
                  </a:lnTo>
                  <a:lnTo>
                    <a:pt x="0" y="132"/>
                  </a:lnTo>
                  <a:lnTo>
                    <a:pt x="6" y="132"/>
                  </a:lnTo>
                  <a:lnTo>
                    <a:pt x="30" y="108"/>
                  </a:lnTo>
                  <a:lnTo>
                    <a:pt x="48" y="108"/>
                  </a:lnTo>
                  <a:lnTo>
                    <a:pt x="54" y="114"/>
                  </a:lnTo>
                  <a:lnTo>
                    <a:pt x="48" y="138"/>
                  </a:lnTo>
                  <a:lnTo>
                    <a:pt x="60" y="150"/>
                  </a:lnTo>
                  <a:lnTo>
                    <a:pt x="60" y="156"/>
                  </a:lnTo>
                  <a:lnTo>
                    <a:pt x="72" y="156"/>
                  </a:lnTo>
                  <a:lnTo>
                    <a:pt x="84" y="144"/>
                  </a:lnTo>
                  <a:lnTo>
                    <a:pt x="96" y="144"/>
                  </a:lnTo>
                  <a:lnTo>
                    <a:pt x="108" y="156"/>
                  </a:lnTo>
                  <a:lnTo>
                    <a:pt x="114" y="156"/>
                  </a:lnTo>
                  <a:lnTo>
                    <a:pt x="132" y="138"/>
                  </a:lnTo>
                  <a:lnTo>
                    <a:pt x="132" y="120"/>
                  </a:lnTo>
                  <a:lnTo>
                    <a:pt x="138" y="114"/>
                  </a:lnTo>
                  <a:lnTo>
                    <a:pt x="150" y="114"/>
                  </a:lnTo>
                  <a:lnTo>
                    <a:pt x="156" y="120"/>
                  </a:lnTo>
                  <a:lnTo>
                    <a:pt x="156" y="126"/>
                  </a:lnTo>
                  <a:lnTo>
                    <a:pt x="162" y="132"/>
                  </a:lnTo>
                  <a:lnTo>
                    <a:pt x="162" y="138"/>
                  </a:lnTo>
                  <a:lnTo>
                    <a:pt x="168" y="138"/>
                  </a:lnTo>
                  <a:lnTo>
                    <a:pt x="192" y="162"/>
                  </a:lnTo>
                  <a:lnTo>
                    <a:pt x="192" y="144"/>
                  </a:lnTo>
                  <a:lnTo>
                    <a:pt x="204" y="132"/>
                  </a:lnTo>
                  <a:lnTo>
                    <a:pt x="210" y="108"/>
                  </a:lnTo>
                  <a:lnTo>
                    <a:pt x="222" y="126"/>
                  </a:lnTo>
                  <a:lnTo>
                    <a:pt x="240" y="120"/>
                  </a:lnTo>
                  <a:lnTo>
                    <a:pt x="258" y="132"/>
                  </a:lnTo>
                  <a:lnTo>
                    <a:pt x="264" y="120"/>
                  </a:lnTo>
                  <a:lnTo>
                    <a:pt x="252" y="108"/>
                  </a:lnTo>
                  <a:lnTo>
                    <a:pt x="252" y="102"/>
                  </a:lnTo>
                  <a:lnTo>
                    <a:pt x="276" y="102"/>
                  </a:lnTo>
                  <a:lnTo>
                    <a:pt x="282" y="84"/>
                  </a:lnTo>
                  <a:lnTo>
                    <a:pt x="288" y="84"/>
                  </a:lnTo>
                  <a:lnTo>
                    <a:pt x="288" y="78"/>
                  </a:lnTo>
                  <a:lnTo>
                    <a:pt x="276" y="66"/>
                  </a:lnTo>
                  <a:lnTo>
                    <a:pt x="270" y="66"/>
                  </a:lnTo>
                  <a:lnTo>
                    <a:pt x="252" y="84"/>
                  </a:lnTo>
                  <a:lnTo>
                    <a:pt x="246" y="84"/>
                  </a:lnTo>
                  <a:lnTo>
                    <a:pt x="246" y="66"/>
                  </a:lnTo>
                  <a:lnTo>
                    <a:pt x="210" y="66"/>
                  </a:lnTo>
                  <a:lnTo>
                    <a:pt x="210" y="60"/>
                  </a:lnTo>
                  <a:lnTo>
                    <a:pt x="216" y="48"/>
                  </a:lnTo>
                  <a:lnTo>
                    <a:pt x="222" y="42"/>
                  </a:lnTo>
                  <a:lnTo>
                    <a:pt x="228" y="42"/>
                  </a:lnTo>
                  <a:lnTo>
                    <a:pt x="228" y="30"/>
                  </a:lnTo>
                  <a:lnTo>
                    <a:pt x="216" y="30"/>
                  </a:lnTo>
                  <a:lnTo>
                    <a:pt x="210" y="18"/>
                  </a:lnTo>
                  <a:lnTo>
                    <a:pt x="192" y="12"/>
                  </a:lnTo>
                  <a:lnTo>
                    <a:pt x="180" y="12"/>
                  </a:lnTo>
                  <a:lnTo>
                    <a:pt x="174" y="6"/>
                  </a:lnTo>
                  <a:lnTo>
                    <a:pt x="162" y="0"/>
                  </a:lnTo>
                  <a:lnTo>
                    <a:pt x="156" y="0"/>
                  </a:lnTo>
                  <a:lnTo>
                    <a:pt x="150" y="6"/>
                  </a:lnTo>
                  <a:lnTo>
                    <a:pt x="150" y="18"/>
                  </a:lnTo>
                  <a:lnTo>
                    <a:pt x="156" y="24"/>
                  </a:lnTo>
                  <a:lnTo>
                    <a:pt x="150" y="18"/>
                  </a:lnTo>
                  <a:lnTo>
                    <a:pt x="132" y="24"/>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30" name="Sweden" descr="© INSCALE GmbH, 05.05.2010&#10;http://www.presentationload.com/">
              <a:extLst>
                <a:ext uri="{FF2B5EF4-FFF2-40B4-BE49-F238E27FC236}">
                  <a16:creationId xmlns:a16="http://schemas.microsoft.com/office/drawing/2014/main" id="{6E5F1CA2-F628-54D4-8FE1-8F35639E7413}"/>
                </a:ext>
              </a:extLst>
            </p:cNvPr>
            <p:cNvSpPr>
              <a:spLocks noEditPoints="1"/>
            </p:cNvSpPr>
            <p:nvPr/>
          </p:nvSpPr>
          <p:spPr bwMode="gray">
            <a:xfrm>
              <a:off x="4533348" y="1163902"/>
              <a:ext cx="281570" cy="402470"/>
            </a:xfrm>
            <a:custGeom>
              <a:avLst/>
              <a:gdLst>
                <a:gd name="T0" fmla="*/ 2147483647 w 690"/>
                <a:gd name="T1" fmla="*/ 2147483647 h 990"/>
                <a:gd name="T2" fmla="*/ 2147483647 w 690"/>
                <a:gd name="T3" fmla="*/ 2147483647 h 990"/>
                <a:gd name="T4" fmla="*/ 2147483647 w 690"/>
                <a:gd name="T5" fmla="*/ 2147483647 h 990"/>
                <a:gd name="T6" fmla="*/ 2147483647 w 690"/>
                <a:gd name="T7" fmla="*/ 2147483647 h 990"/>
                <a:gd name="T8" fmla="*/ 2147483647 w 690"/>
                <a:gd name="T9" fmla="*/ 2147483647 h 990"/>
                <a:gd name="T10" fmla="*/ 2147483647 w 690"/>
                <a:gd name="T11" fmla="*/ 2147483647 h 990"/>
                <a:gd name="T12" fmla="*/ 2147483647 w 690"/>
                <a:gd name="T13" fmla="*/ 2147483647 h 990"/>
                <a:gd name="T14" fmla="*/ 2147483647 w 690"/>
                <a:gd name="T15" fmla="*/ 2147483647 h 990"/>
                <a:gd name="T16" fmla="*/ 2147483647 w 690"/>
                <a:gd name="T17" fmla="*/ 2147483647 h 990"/>
                <a:gd name="T18" fmla="*/ 2147483647 w 690"/>
                <a:gd name="T19" fmla="*/ 2147483647 h 990"/>
                <a:gd name="T20" fmla="*/ 2147483647 w 690"/>
                <a:gd name="T21" fmla="*/ 2147483647 h 990"/>
                <a:gd name="T22" fmla="*/ 2147483647 w 690"/>
                <a:gd name="T23" fmla="*/ 2147483647 h 990"/>
                <a:gd name="T24" fmla="*/ 2147483647 w 690"/>
                <a:gd name="T25" fmla="*/ 2147483647 h 990"/>
                <a:gd name="T26" fmla="*/ 2147483647 w 690"/>
                <a:gd name="T27" fmla="*/ 2147483647 h 990"/>
                <a:gd name="T28" fmla="*/ 2147483647 w 690"/>
                <a:gd name="T29" fmla="*/ 2147483647 h 990"/>
                <a:gd name="T30" fmla="*/ 2147483647 w 690"/>
                <a:gd name="T31" fmla="*/ 2147483647 h 990"/>
                <a:gd name="T32" fmla="*/ 2147483647 w 690"/>
                <a:gd name="T33" fmla="*/ 2147483647 h 990"/>
                <a:gd name="T34" fmla="*/ 2147483647 w 690"/>
                <a:gd name="T35" fmla="*/ 2147483647 h 990"/>
                <a:gd name="T36" fmla="*/ 2147483647 w 690"/>
                <a:gd name="T37" fmla="*/ 2147483647 h 990"/>
                <a:gd name="T38" fmla="*/ 2147483647 w 690"/>
                <a:gd name="T39" fmla="*/ 2147483647 h 990"/>
                <a:gd name="T40" fmla="*/ 2147483647 w 690"/>
                <a:gd name="T41" fmla="*/ 2147483647 h 990"/>
                <a:gd name="T42" fmla="*/ 2147483647 w 690"/>
                <a:gd name="T43" fmla="*/ 2147483647 h 990"/>
                <a:gd name="T44" fmla="*/ 2147483647 w 690"/>
                <a:gd name="T45" fmla="*/ 2147483647 h 990"/>
                <a:gd name="T46" fmla="*/ 0 w 690"/>
                <a:gd name="T47" fmla="*/ 2147483647 h 990"/>
                <a:gd name="T48" fmla="*/ 2147483647 w 690"/>
                <a:gd name="T49" fmla="*/ 2147483647 h 990"/>
                <a:gd name="T50" fmla="*/ 2147483647 w 690"/>
                <a:gd name="T51" fmla="*/ 2147483647 h 990"/>
                <a:gd name="T52" fmla="*/ 2147483647 w 690"/>
                <a:gd name="T53" fmla="*/ 2147483647 h 990"/>
                <a:gd name="T54" fmla="*/ 2147483647 w 690"/>
                <a:gd name="T55" fmla="*/ 2147483647 h 990"/>
                <a:gd name="T56" fmla="*/ 2147483647 w 690"/>
                <a:gd name="T57" fmla="*/ 2147483647 h 990"/>
                <a:gd name="T58" fmla="*/ 2147483647 w 690"/>
                <a:gd name="T59" fmla="*/ 2147483647 h 990"/>
                <a:gd name="T60" fmla="*/ 2147483647 w 690"/>
                <a:gd name="T61" fmla="*/ 2147483647 h 990"/>
                <a:gd name="T62" fmla="*/ 2147483647 w 690"/>
                <a:gd name="T63" fmla="*/ 2147483647 h 990"/>
                <a:gd name="T64" fmla="*/ 2147483647 w 690"/>
                <a:gd name="T65" fmla="*/ 2147483647 h 990"/>
                <a:gd name="T66" fmla="*/ 2147483647 w 690"/>
                <a:gd name="T67" fmla="*/ 2147483647 h 990"/>
                <a:gd name="T68" fmla="*/ 2147483647 w 690"/>
                <a:gd name="T69" fmla="*/ 2147483647 h 990"/>
                <a:gd name="T70" fmla="*/ 2147483647 w 690"/>
                <a:gd name="T71" fmla="*/ 2147483647 h 990"/>
                <a:gd name="T72" fmla="*/ 2147483647 w 690"/>
                <a:gd name="T73" fmla="*/ 2147483647 h 990"/>
                <a:gd name="T74" fmla="*/ 2147483647 w 690"/>
                <a:gd name="T75" fmla="*/ 2147483647 h 990"/>
                <a:gd name="T76" fmla="*/ 2147483647 w 690"/>
                <a:gd name="T77" fmla="*/ 2147483647 h 990"/>
                <a:gd name="T78" fmla="*/ 2147483647 w 690"/>
                <a:gd name="T79" fmla="*/ 2147483647 h 990"/>
                <a:gd name="T80" fmla="*/ 2147483647 w 690"/>
                <a:gd name="T81" fmla="*/ 2147483647 h 990"/>
                <a:gd name="T82" fmla="*/ 2147483647 w 690"/>
                <a:gd name="T83" fmla="*/ 2147483647 h 990"/>
                <a:gd name="T84" fmla="*/ 2147483647 w 690"/>
                <a:gd name="T85" fmla="*/ 2147483647 h 990"/>
                <a:gd name="T86" fmla="*/ 2147483647 w 690"/>
                <a:gd name="T87" fmla="*/ 2147483647 h 990"/>
                <a:gd name="T88" fmla="*/ 2147483647 w 690"/>
                <a:gd name="T89" fmla="*/ 2147483647 h 990"/>
                <a:gd name="T90" fmla="*/ 2147483647 w 690"/>
                <a:gd name="T91" fmla="*/ 2147483647 h 990"/>
                <a:gd name="T92" fmla="*/ 2147483647 w 690"/>
                <a:gd name="T93" fmla="*/ 2147483647 h 990"/>
                <a:gd name="T94" fmla="*/ 2147483647 w 690"/>
                <a:gd name="T95" fmla="*/ 2147483647 h 990"/>
                <a:gd name="T96" fmla="*/ 2147483647 w 690"/>
                <a:gd name="T97" fmla="*/ 2147483647 h 990"/>
                <a:gd name="T98" fmla="*/ 2147483647 w 690"/>
                <a:gd name="T99" fmla="*/ 2147483647 h 990"/>
                <a:gd name="T100" fmla="*/ 2147483647 w 690"/>
                <a:gd name="T101" fmla="*/ 2147483647 h 9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90"/>
                <a:gd name="T154" fmla="*/ 0 h 990"/>
                <a:gd name="T155" fmla="*/ 690 w 690"/>
                <a:gd name="T156" fmla="*/ 990 h 99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90" h="990">
                  <a:moveTo>
                    <a:pt x="678" y="204"/>
                  </a:moveTo>
                  <a:lnTo>
                    <a:pt x="672" y="198"/>
                  </a:lnTo>
                  <a:lnTo>
                    <a:pt x="660" y="192"/>
                  </a:lnTo>
                  <a:lnTo>
                    <a:pt x="648" y="180"/>
                  </a:lnTo>
                  <a:lnTo>
                    <a:pt x="648" y="174"/>
                  </a:lnTo>
                  <a:lnTo>
                    <a:pt x="654" y="162"/>
                  </a:lnTo>
                  <a:lnTo>
                    <a:pt x="660" y="156"/>
                  </a:lnTo>
                  <a:lnTo>
                    <a:pt x="666" y="144"/>
                  </a:lnTo>
                  <a:lnTo>
                    <a:pt x="642" y="132"/>
                  </a:lnTo>
                  <a:lnTo>
                    <a:pt x="648" y="108"/>
                  </a:lnTo>
                  <a:lnTo>
                    <a:pt x="636" y="102"/>
                  </a:lnTo>
                  <a:lnTo>
                    <a:pt x="636" y="96"/>
                  </a:lnTo>
                  <a:lnTo>
                    <a:pt x="642" y="90"/>
                  </a:lnTo>
                  <a:lnTo>
                    <a:pt x="642" y="66"/>
                  </a:lnTo>
                  <a:lnTo>
                    <a:pt x="636" y="66"/>
                  </a:lnTo>
                  <a:lnTo>
                    <a:pt x="630" y="60"/>
                  </a:lnTo>
                  <a:lnTo>
                    <a:pt x="618" y="60"/>
                  </a:lnTo>
                  <a:lnTo>
                    <a:pt x="588" y="42"/>
                  </a:lnTo>
                  <a:lnTo>
                    <a:pt x="552" y="42"/>
                  </a:lnTo>
                  <a:lnTo>
                    <a:pt x="540" y="30"/>
                  </a:lnTo>
                  <a:lnTo>
                    <a:pt x="534" y="30"/>
                  </a:lnTo>
                  <a:lnTo>
                    <a:pt x="528" y="24"/>
                  </a:lnTo>
                  <a:lnTo>
                    <a:pt x="516" y="24"/>
                  </a:lnTo>
                  <a:lnTo>
                    <a:pt x="504" y="18"/>
                  </a:lnTo>
                  <a:lnTo>
                    <a:pt x="498" y="12"/>
                  </a:lnTo>
                  <a:lnTo>
                    <a:pt x="486" y="6"/>
                  </a:lnTo>
                  <a:lnTo>
                    <a:pt x="456" y="0"/>
                  </a:lnTo>
                  <a:lnTo>
                    <a:pt x="456" y="24"/>
                  </a:lnTo>
                  <a:lnTo>
                    <a:pt x="444" y="24"/>
                  </a:lnTo>
                  <a:lnTo>
                    <a:pt x="444" y="30"/>
                  </a:lnTo>
                  <a:lnTo>
                    <a:pt x="456" y="42"/>
                  </a:lnTo>
                  <a:lnTo>
                    <a:pt x="462" y="42"/>
                  </a:lnTo>
                  <a:lnTo>
                    <a:pt x="456" y="48"/>
                  </a:lnTo>
                  <a:lnTo>
                    <a:pt x="444" y="48"/>
                  </a:lnTo>
                  <a:lnTo>
                    <a:pt x="438" y="42"/>
                  </a:lnTo>
                  <a:lnTo>
                    <a:pt x="414" y="42"/>
                  </a:lnTo>
                  <a:lnTo>
                    <a:pt x="390" y="36"/>
                  </a:lnTo>
                  <a:lnTo>
                    <a:pt x="366" y="42"/>
                  </a:lnTo>
                  <a:lnTo>
                    <a:pt x="366" y="30"/>
                  </a:lnTo>
                  <a:lnTo>
                    <a:pt x="360" y="24"/>
                  </a:lnTo>
                  <a:lnTo>
                    <a:pt x="348" y="36"/>
                  </a:lnTo>
                  <a:lnTo>
                    <a:pt x="348" y="66"/>
                  </a:lnTo>
                  <a:lnTo>
                    <a:pt x="342" y="72"/>
                  </a:lnTo>
                  <a:lnTo>
                    <a:pt x="324" y="72"/>
                  </a:lnTo>
                  <a:lnTo>
                    <a:pt x="282" y="78"/>
                  </a:lnTo>
                  <a:lnTo>
                    <a:pt x="264" y="96"/>
                  </a:lnTo>
                  <a:lnTo>
                    <a:pt x="252" y="102"/>
                  </a:lnTo>
                  <a:lnTo>
                    <a:pt x="246" y="102"/>
                  </a:lnTo>
                  <a:lnTo>
                    <a:pt x="246" y="114"/>
                  </a:lnTo>
                  <a:lnTo>
                    <a:pt x="258" y="120"/>
                  </a:lnTo>
                  <a:lnTo>
                    <a:pt x="264" y="126"/>
                  </a:lnTo>
                  <a:lnTo>
                    <a:pt x="258" y="144"/>
                  </a:lnTo>
                  <a:lnTo>
                    <a:pt x="252" y="144"/>
                  </a:lnTo>
                  <a:lnTo>
                    <a:pt x="240" y="150"/>
                  </a:lnTo>
                  <a:lnTo>
                    <a:pt x="234" y="156"/>
                  </a:lnTo>
                  <a:lnTo>
                    <a:pt x="234" y="162"/>
                  </a:lnTo>
                  <a:lnTo>
                    <a:pt x="228" y="168"/>
                  </a:lnTo>
                  <a:lnTo>
                    <a:pt x="210" y="168"/>
                  </a:lnTo>
                  <a:lnTo>
                    <a:pt x="216" y="174"/>
                  </a:lnTo>
                  <a:lnTo>
                    <a:pt x="216" y="180"/>
                  </a:lnTo>
                  <a:lnTo>
                    <a:pt x="222" y="186"/>
                  </a:lnTo>
                  <a:lnTo>
                    <a:pt x="222" y="192"/>
                  </a:lnTo>
                  <a:lnTo>
                    <a:pt x="216" y="192"/>
                  </a:lnTo>
                  <a:lnTo>
                    <a:pt x="210" y="198"/>
                  </a:lnTo>
                  <a:lnTo>
                    <a:pt x="204" y="198"/>
                  </a:lnTo>
                  <a:lnTo>
                    <a:pt x="192" y="204"/>
                  </a:lnTo>
                  <a:lnTo>
                    <a:pt x="174" y="192"/>
                  </a:lnTo>
                  <a:lnTo>
                    <a:pt x="174" y="228"/>
                  </a:lnTo>
                  <a:lnTo>
                    <a:pt x="168" y="270"/>
                  </a:lnTo>
                  <a:lnTo>
                    <a:pt x="138" y="300"/>
                  </a:lnTo>
                  <a:lnTo>
                    <a:pt x="132" y="300"/>
                  </a:lnTo>
                  <a:lnTo>
                    <a:pt x="120" y="306"/>
                  </a:lnTo>
                  <a:lnTo>
                    <a:pt x="132" y="312"/>
                  </a:lnTo>
                  <a:lnTo>
                    <a:pt x="150" y="330"/>
                  </a:lnTo>
                  <a:lnTo>
                    <a:pt x="150" y="336"/>
                  </a:lnTo>
                  <a:lnTo>
                    <a:pt x="144" y="342"/>
                  </a:lnTo>
                  <a:lnTo>
                    <a:pt x="102" y="342"/>
                  </a:lnTo>
                  <a:lnTo>
                    <a:pt x="90" y="348"/>
                  </a:lnTo>
                  <a:lnTo>
                    <a:pt x="84" y="354"/>
                  </a:lnTo>
                  <a:lnTo>
                    <a:pt x="72" y="360"/>
                  </a:lnTo>
                  <a:lnTo>
                    <a:pt x="30" y="402"/>
                  </a:lnTo>
                  <a:lnTo>
                    <a:pt x="36" y="408"/>
                  </a:lnTo>
                  <a:lnTo>
                    <a:pt x="42" y="408"/>
                  </a:lnTo>
                  <a:lnTo>
                    <a:pt x="48" y="414"/>
                  </a:lnTo>
                  <a:lnTo>
                    <a:pt x="48" y="420"/>
                  </a:lnTo>
                  <a:lnTo>
                    <a:pt x="42" y="426"/>
                  </a:lnTo>
                  <a:lnTo>
                    <a:pt x="36" y="426"/>
                  </a:lnTo>
                  <a:lnTo>
                    <a:pt x="30" y="432"/>
                  </a:lnTo>
                  <a:lnTo>
                    <a:pt x="30" y="444"/>
                  </a:lnTo>
                  <a:lnTo>
                    <a:pt x="54" y="468"/>
                  </a:lnTo>
                  <a:lnTo>
                    <a:pt x="54" y="480"/>
                  </a:lnTo>
                  <a:lnTo>
                    <a:pt x="48" y="492"/>
                  </a:lnTo>
                  <a:lnTo>
                    <a:pt x="48" y="510"/>
                  </a:lnTo>
                  <a:lnTo>
                    <a:pt x="60" y="522"/>
                  </a:lnTo>
                  <a:lnTo>
                    <a:pt x="66" y="522"/>
                  </a:lnTo>
                  <a:lnTo>
                    <a:pt x="84" y="540"/>
                  </a:lnTo>
                  <a:lnTo>
                    <a:pt x="84" y="552"/>
                  </a:lnTo>
                  <a:lnTo>
                    <a:pt x="72" y="564"/>
                  </a:lnTo>
                  <a:lnTo>
                    <a:pt x="48" y="570"/>
                  </a:lnTo>
                  <a:lnTo>
                    <a:pt x="54" y="576"/>
                  </a:lnTo>
                  <a:lnTo>
                    <a:pt x="60" y="588"/>
                  </a:lnTo>
                  <a:lnTo>
                    <a:pt x="60" y="594"/>
                  </a:lnTo>
                  <a:lnTo>
                    <a:pt x="66" y="600"/>
                  </a:lnTo>
                  <a:lnTo>
                    <a:pt x="66" y="606"/>
                  </a:lnTo>
                  <a:lnTo>
                    <a:pt x="72" y="618"/>
                  </a:lnTo>
                  <a:lnTo>
                    <a:pt x="66" y="618"/>
                  </a:lnTo>
                  <a:lnTo>
                    <a:pt x="66" y="642"/>
                  </a:lnTo>
                  <a:lnTo>
                    <a:pt x="60" y="648"/>
                  </a:lnTo>
                  <a:lnTo>
                    <a:pt x="24" y="648"/>
                  </a:lnTo>
                  <a:lnTo>
                    <a:pt x="30" y="660"/>
                  </a:lnTo>
                  <a:lnTo>
                    <a:pt x="30" y="666"/>
                  </a:lnTo>
                  <a:lnTo>
                    <a:pt x="24" y="666"/>
                  </a:lnTo>
                  <a:lnTo>
                    <a:pt x="18" y="672"/>
                  </a:lnTo>
                  <a:lnTo>
                    <a:pt x="18" y="678"/>
                  </a:lnTo>
                  <a:lnTo>
                    <a:pt x="30" y="690"/>
                  </a:lnTo>
                  <a:lnTo>
                    <a:pt x="30" y="708"/>
                  </a:lnTo>
                  <a:lnTo>
                    <a:pt x="24" y="714"/>
                  </a:lnTo>
                  <a:lnTo>
                    <a:pt x="18" y="726"/>
                  </a:lnTo>
                  <a:lnTo>
                    <a:pt x="0" y="708"/>
                  </a:lnTo>
                  <a:lnTo>
                    <a:pt x="0" y="768"/>
                  </a:lnTo>
                  <a:lnTo>
                    <a:pt x="6" y="762"/>
                  </a:lnTo>
                  <a:lnTo>
                    <a:pt x="24" y="762"/>
                  </a:lnTo>
                  <a:lnTo>
                    <a:pt x="36" y="774"/>
                  </a:lnTo>
                  <a:lnTo>
                    <a:pt x="36" y="780"/>
                  </a:lnTo>
                  <a:lnTo>
                    <a:pt x="30" y="780"/>
                  </a:lnTo>
                  <a:lnTo>
                    <a:pt x="30" y="774"/>
                  </a:lnTo>
                  <a:lnTo>
                    <a:pt x="24" y="774"/>
                  </a:lnTo>
                  <a:lnTo>
                    <a:pt x="24" y="834"/>
                  </a:lnTo>
                  <a:lnTo>
                    <a:pt x="30" y="840"/>
                  </a:lnTo>
                  <a:lnTo>
                    <a:pt x="36" y="840"/>
                  </a:lnTo>
                  <a:lnTo>
                    <a:pt x="48" y="846"/>
                  </a:lnTo>
                  <a:lnTo>
                    <a:pt x="54" y="858"/>
                  </a:lnTo>
                  <a:lnTo>
                    <a:pt x="60" y="864"/>
                  </a:lnTo>
                  <a:lnTo>
                    <a:pt x="66" y="876"/>
                  </a:lnTo>
                  <a:lnTo>
                    <a:pt x="90" y="900"/>
                  </a:lnTo>
                  <a:lnTo>
                    <a:pt x="96" y="900"/>
                  </a:lnTo>
                  <a:lnTo>
                    <a:pt x="96" y="912"/>
                  </a:lnTo>
                  <a:lnTo>
                    <a:pt x="78" y="912"/>
                  </a:lnTo>
                  <a:lnTo>
                    <a:pt x="78" y="942"/>
                  </a:lnTo>
                  <a:lnTo>
                    <a:pt x="90" y="954"/>
                  </a:lnTo>
                  <a:lnTo>
                    <a:pt x="102" y="960"/>
                  </a:lnTo>
                  <a:lnTo>
                    <a:pt x="96" y="966"/>
                  </a:lnTo>
                  <a:lnTo>
                    <a:pt x="96" y="984"/>
                  </a:lnTo>
                  <a:lnTo>
                    <a:pt x="102" y="984"/>
                  </a:lnTo>
                  <a:lnTo>
                    <a:pt x="108" y="990"/>
                  </a:lnTo>
                  <a:lnTo>
                    <a:pt x="174" y="990"/>
                  </a:lnTo>
                  <a:lnTo>
                    <a:pt x="180" y="984"/>
                  </a:lnTo>
                  <a:lnTo>
                    <a:pt x="180" y="948"/>
                  </a:lnTo>
                  <a:lnTo>
                    <a:pt x="198" y="942"/>
                  </a:lnTo>
                  <a:lnTo>
                    <a:pt x="198" y="924"/>
                  </a:lnTo>
                  <a:lnTo>
                    <a:pt x="264" y="930"/>
                  </a:lnTo>
                  <a:lnTo>
                    <a:pt x="276" y="936"/>
                  </a:lnTo>
                  <a:lnTo>
                    <a:pt x="300" y="876"/>
                  </a:lnTo>
                  <a:lnTo>
                    <a:pt x="300" y="864"/>
                  </a:lnTo>
                  <a:lnTo>
                    <a:pt x="306" y="852"/>
                  </a:lnTo>
                  <a:lnTo>
                    <a:pt x="306" y="816"/>
                  </a:lnTo>
                  <a:lnTo>
                    <a:pt x="300" y="810"/>
                  </a:lnTo>
                  <a:lnTo>
                    <a:pt x="294" y="798"/>
                  </a:lnTo>
                  <a:lnTo>
                    <a:pt x="312" y="798"/>
                  </a:lnTo>
                  <a:lnTo>
                    <a:pt x="324" y="786"/>
                  </a:lnTo>
                  <a:lnTo>
                    <a:pt x="324" y="780"/>
                  </a:lnTo>
                  <a:lnTo>
                    <a:pt x="306" y="762"/>
                  </a:lnTo>
                  <a:lnTo>
                    <a:pt x="294" y="762"/>
                  </a:lnTo>
                  <a:lnTo>
                    <a:pt x="312" y="756"/>
                  </a:lnTo>
                  <a:lnTo>
                    <a:pt x="300" y="750"/>
                  </a:lnTo>
                  <a:lnTo>
                    <a:pt x="324" y="750"/>
                  </a:lnTo>
                  <a:lnTo>
                    <a:pt x="336" y="744"/>
                  </a:lnTo>
                  <a:lnTo>
                    <a:pt x="348" y="744"/>
                  </a:lnTo>
                  <a:lnTo>
                    <a:pt x="354" y="738"/>
                  </a:lnTo>
                  <a:lnTo>
                    <a:pt x="360" y="726"/>
                  </a:lnTo>
                  <a:lnTo>
                    <a:pt x="360" y="714"/>
                  </a:lnTo>
                  <a:lnTo>
                    <a:pt x="366" y="708"/>
                  </a:lnTo>
                  <a:lnTo>
                    <a:pt x="384" y="726"/>
                  </a:lnTo>
                  <a:lnTo>
                    <a:pt x="390" y="726"/>
                  </a:lnTo>
                  <a:lnTo>
                    <a:pt x="396" y="720"/>
                  </a:lnTo>
                  <a:lnTo>
                    <a:pt x="408" y="696"/>
                  </a:lnTo>
                  <a:lnTo>
                    <a:pt x="402" y="690"/>
                  </a:lnTo>
                  <a:lnTo>
                    <a:pt x="402" y="684"/>
                  </a:lnTo>
                  <a:lnTo>
                    <a:pt x="414" y="684"/>
                  </a:lnTo>
                  <a:lnTo>
                    <a:pt x="420" y="678"/>
                  </a:lnTo>
                  <a:lnTo>
                    <a:pt x="432" y="672"/>
                  </a:lnTo>
                  <a:lnTo>
                    <a:pt x="432" y="660"/>
                  </a:lnTo>
                  <a:lnTo>
                    <a:pt x="420" y="636"/>
                  </a:lnTo>
                  <a:lnTo>
                    <a:pt x="408" y="630"/>
                  </a:lnTo>
                  <a:lnTo>
                    <a:pt x="408" y="618"/>
                  </a:lnTo>
                  <a:lnTo>
                    <a:pt x="372" y="600"/>
                  </a:lnTo>
                  <a:lnTo>
                    <a:pt x="360" y="606"/>
                  </a:lnTo>
                  <a:lnTo>
                    <a:pt x="354" y="606"/>
                  </a:lnTo>
                  <a:lnTo>
                    <a:pt x="342" y="600"/>
                  </a:lnTo>
                  <a:lnTo>
                    <a:pt x="330" y="576"/>
                  </a:lnTo>
                  <a:lnTo>
                    <a:pt x="330" y="558"/>
                  </a:lnTo>
                  <a:lnTo>
                    <a:pt x="324" y="546"/>
                  </a:lnTo>
                  <a:lnTo>
                    <a:pt x="324" y="528"/>
                  </a:lnTo>
                  <a:lnTo>
                    <a:pt x="336" y="516"/>
                  </a:lnTo>
                  <a:lnTo>
                    <a:pt x="342" y="504"/>
                  </a:lnTo>
                  <a:lnTo>
                    <a:pt x="342" y="486"/>
                  </a:lnTo>
                  <a:lnTo>
                    <a:pt x="336" y="474"/>
                  </a:lnTo>
                  <a:lnTo>
                    <a:pt x="330" y="468"/>
                  </a:lnTo>
                  <a:lnTo>
                    <a:pt x="330" y="462"/>
                  </a:lnTo>
                  <a:lnTo>
                    <a:pt x="348" y="462"/>
                  </a:lnTo>
                  <a:lnTo>
                    <a:pt x="354" y="456"/>
                  </a:lnTo>
                  <a:lnTo>
                    <a:pt x="354" y="438"/>
                  </a:lnTo>
                  <a:lnTo>
                    <a:pt x="348" y="426"/>
                  </a:lnTo>
                  <a:lnTo>
                    <a:pt x="354" y="432"/>
                  </a:lnTo>
                  <a:lnTo>
                    <a:pt x="378" y="432"/>
                  </a:lnTo>
                  <a:lnTo>
                    <a:pt x="384" y="426"/>
                  </a:lnTo>
                  <a:lnTo>
                    <a:pt x="396" y="420"/>
                  </a:lnTo>
                  <a:lnTo>
                    <a:pt x="408" y="408"/>
                  </a:lnTo>
                  <a:lnTo>
                    <a:pt x="438" y="414"/>
                  </a:lnTo>
                  <a:lnTo>
                    <a:pt x="450" y="390"/>
                  </a:lnTo>
                  <a:lnTo>
                    <a:pt x="480" y="390"/>
                  </a:lnTo>
                  <a:lnTo>
                    <a:pt x="498" y="384"/>
                  </a:lnTo>
                  <a:lnTo>
                    <a:pt x="510" y="378"/>
                  </a:lnTo>
                  <a:lnTo>
                    <a:pt x="522" y="354"/>
                  </a:lnTo>
                  <a:lnTo>
                    <a:pt x="540" y="336"/>
                  </a:lnTo>
                  <a:lnTo>
                    <a:pt x="546" y="324"/>
                  </a:lnTo>
                  <a:lnTo>
                    <a:pt x="528" y="300"/>
                  </a:lnTo>
                  <a:lnTo>
                    <a:pt x="558" y="264"/>
                  </a:lnTo>
                  <a:lnTo>
                    <a:pt x="540" y="246"/>
                  </a:lnTo>
                  <a:lnTo>
                    <a:pt x="576" y="234"/>
                  </a:lnTo>
                  <a:lnTo>
                    <a:pt x="594" y="216"/>
                  </a:lnTo>
                  <a:lnTo>
                    <a:pt x="672" y="222"/>
                  </a:lnTo>
                  <a:lnTo>
                    <a:pt x="684" y="240"/>
                  </a:lnTo>
                  <a:lnTo>
                    <a:pt x="690" y="240"/>
                  </a:lnTo>
                  <a:lnTo>
                    <a:pt x="678" y="204"/>
                  </a:lnTo>
                  <a:close/>
                  <a:moveTo>
                    <a:pt x="390" y="828"/>
                  </a:moveTo>
                  <a:lnTo>
                    <a:pt x="390" y="840"/>
                  </a:lnTo>
                  <a:lnTo>
                    <a:pt x="396" y="852"/>
                  </a:lnTo>
                  <a:lnTo>
                    <a:pt x="396" y="864"/>
                  </a:lnTo>
                  <a:lnTo>
                    <a:pt x="402" y="870"/>
                  </a:lnTo>
                  <a:lnTo>
                    <a:pt x="402" y="876"/>
                  </a:lnTo>
                  <a:lnTo>
                    <a:pt x="414" y="852"/>
                  </a:lnTo>
                  <a:lnTo>
                    <a:pt x="426" y="852"/>
                  </a:lnTo>
                  <a:lnTo>
                    <a:pt x="432" y="846"/>
                  </a:lnTo>
                  <a:lnTo>
                    <a:pt x="438" y="834"/>
                  </a:lnTo>
                  <a:lnTo>
                    <a:pt x="438" y="822"/>
                  </a:lnTo>
                  <a:lnTo>
                    <a:pt x="432" y="816"/>
                  </a:lnTo>
                  <a:lnTo>
                    <a:pt x="450" y="798"/>
                  </a:lnTo>
                  <a:lnTo>
                    <a:pt x="444" y="798"/>
                  </a:lnTo>
                  <a:lnTo>
                    <a:pt x="438" y="804"/>
                  </a:lnTo>
                  <a:lnTo>
                    <a:pt x="420" y="804"/>
                  </a:lnTo>
                  <a:lnTo>
                    <a:pt x="408" y="810"/>
                  </a:lnTo>
                  <a:lnTo>
                    <a:pt x="390" y="828"/>
                  </a:lnTo>
                  <a:close/>
                  <a:moveTo>
                    <a:pt x="300" y="900"/>
                  </a:moveTo>
                  <a:lnTo>
                    <a:pt x="300" y="912"/>
                  </a:lnTo>
                  <a:lnTo>
                    <a:pt x="294" y="924"/>
                  </a:lnTo>
                  <a:lnTo>
                    <a:pt x="300" y="918"/>
                  </a:lnTo>
                  <a:lnTo>
                    <a:pt x="312" y="912"/>
                  </a:lnTo>
                  <a:lnTo>
                    <a:pt x="318" y="900"/>
                  </a:lnTo>
                  <a:lnTo>
                    <a:pt x="318" y="894"/>
                  </a:lnTo>
                  <a:lnTo>
                    <a:pt x="324" y="888"/>
                  </a:lnTo>
                  <a:lnTo>
                    <a:pt x="324" y="882"/>
                  </a:lnTo>
                  <a:lnTo>
                    <a:pt x="342" y="858"/>
                  </a:lnTo>
                  <a:lnTo>
                    <a:pt x="336" y="840"/>
                  </a:lnTo>
                  <a:lnTo>
                    <a:pt x="330" y="852"/>
                  </a:lnTo>
                  <a:lnTo>
                    <a:pt x="312" y="870"/>
                  </a:lnTo>
                  <a:lnTo>
                    <a:pt x="300" y="894"/>
                  </a:lnTo>
                  <a:lnTo>
                    <a:pt x="300" y="900"/>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31" name="Swaziland" descr="© INSCALE GmbH, 05.05.2010&#10;http://www.presentationload.com/">
              <a:extLst>
                <a:ext uri="{FF2B5EF4-FFF2-40B4-BE49-F238E27FC236}">
                  <a16:creationId xmlns:a16="http://schemas.microsoft.com/office/drawing/2014/main" id="{02D2177C-CA0E-CE6B-E24F-E06004F31D67}"/>
                </a:ext>
              </a:extLst>
            </p:cNvPr>
            <p:cNvSpPr>
              <a:spLocks/>
            </p:cNvSpPr>
            <p:nvPr/>
          </p:nvSpPr>
          <p:spPr bwMode="gray">
            <a:xfrm>
              <a:off x="5050696" y="4004139"/>
              <a:ext cx="38542" cy="50401"/>
            </a:xfrm>
            <a:custGeom>
              <a:avLst/>
              <a:gdLst>
                <a:gd name="T0" fmla="*/ 2147483647 w 102"/>
                <a:gd name="T1" fmla="*/ 2147483647 h 132"/>
                <a:gd name="T2" fmla="*/ 2147483647 w 102"/>
                <a:gd name="T3" fmla="*/ 2147483647 h 132"/>
                <a:gd name="T4" fmla="*/ 2147483647 w 102"/>
                <a:gd name="T5" fmla="*/ 2147483647 h 132"/>
                <a:gd name="T6" fmla="*/ 2147483647 w 102"/>
                <a:gd name="T7" fmla="*/ 2147483647 h 132"/>
                <a:gd name="T8" fmla="*/ 2147483647 w 102"/>
                <a:gd name="T9" fmla="*/ 2147483647 h 132"/>
                <a:gd name="T10" fmla="*/ 2147483647 w 102"/>
                <a:gd name="T11" fmla="*/ 0 h 132"/>
                <a:gd name="T12" fmla="*/ 2147483647 w 102"/>
                <a:gd name="T13" fmla="*/ 0 h 132"/>
                <a:gd name="T14" fmla="*/ 2147483647 w 102"/>
                <a:gd name="T15" fmla="*/ 2147483647 h 132"/>
                <a:gd name="T16" fmla="*/ 2147483647 w 102"/>
                <a:gd name="T17" fmla="*/ 2147483647 h 132"/>
                <a:gd name="T18" fmla="*/ 2147483647 w 102"/>
                <a:gd name="T19" fmla="*/ 2147483647 h 132"/>
                <a:gd name="T20" fmla="*/ 2147483647 w 102"/>
                <a:gd name="T21" fmla="*/ 2147483647 h 132"/>
                <a:gd name="T22" fmla="*/ 0 w 102"/>
                <a:gd name="T23" fmla="*/ 2147483647 h 132"/>
                <a:gd name="T24" fmla="*/ 0 w 102"/>
                <a:gd name="T25" fmla="*/ 2147483647 h 132"/>
                <a:gd name="T26" fmla="*/ 2147483647 w 102"/>
                <a:gd name="T27" fmla="*/ 2147483647 h 132"/>
                <a:gd name="T28" fmla="*/ 2147483647 w 102"/>
                <a:gd name="T29" fmla="*/ 2147483647 h 132"/>
                <a:gd name="T30" fmla="*/ 2147483647 w 102"/>
                <a:gd name="T31" fmla="*/ 2147483647 h 132"/>
                <a:gd name="T32" fmla="*/ 2147483647 w 102"/>
                <a:gd name="T33" fmla="*/ 2147483647 h 132"/>
                <a:gd name="T34" fmla="*/ 2147483647 w 102"/>
                <a:gd name="T35" fmla="*/ 2147483647 h 132"/>
                <a:gd name="T36" fmla="*/ 2147483647 w 102"/>
                <a:gd name="T37" fmla="*/ 2147483647 h 132"/>
                <a:gd name="T38" fmla="*/ 2147483647 w 102"/>
                <a:gd name="T39" fmla="*/ 2147483647 h 132"/>
                <a:gd name="T40" fmla="*/ 2147483647 w 102"/>
                <a:gd name="T41" fmla="*/ 2147483647 h 132"/>
                <a:gd name="T42" fmla="*/ 2147483647 w 102"/>
                <a:gd name="T43" fmla="*/ 2147483647 h 132"/>
                <a:gd name="T44" fmla="*/ 2147483647 w 102"/>
                <a:gd name="T45" fmla="*/ 2147483647 h 132"/>
                <a:gd name="T46" fmla="*/ 2147483647 w 102"/>
                <a:gd name="T47" fmla="*/ 2147483647 h 132"/>
                <a:gd name="T48" fmla="*/ 2147483647 w 102"/>
                <a:gd name="T49" fmla="*/ 2147483647 h 1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2"/>
                <a:gd name="T76" fmla="*/ 0 h 132"/>
                <a:gd name="T77" fmla="*/ 102 w 102"/>
                <a:gd name="T78" fmla="*/ 132 h 1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2" h="132">
                  <a:moveTo>
                    <a:pt x="84" y="54"/>
                  </a:moveTo>
                  <a:lnTo>
                    <a:pt x="84" y="30"/>
                  </a:lnTo>
                  <a:lnTo>
                    <a:pt x="90" y="18"/>
                  </a:lnTo>
                  <a:lnTo>
                    <a:pt x="66" y="18"/>
                  </a:lnTo>
                  <a:lnTo>
                    <a:pt x="54" y="6"/>
                  </a:lnTo>
                  <a:lnTo>
                    <a:pt x="42" y="0"/>
                  </a:lnTo>
                  <a:lnTo>
                    <a:pt x="36" y="0"/>
                  </a:lnTo>
                  <a:lnTo>
                    <a:pt x="24" y="12"/>
                  </a:lnTo>
                  <a:lnTo>
                    <a:pt x="18" y="24"/>
                  </a:lnTo>
                  <a:lnTo>
                    <a:pt x="18" y="36"/>
                  </a:lnTo>
                  <a:lnTo>
                    <a:pt x="6" y="48"/>
                  </a:lnTo>
                  <a:lnTo>
                    <a:pt x="0" y="60"/>
                  </a:lnTo>
                  <a:lnTo>
                    <a:pt x="0" y="84"/>
                  </a:lnTo>
                  <a:lnTo>
                    <a:pt x="12" y="108"/>
                  </a:lnTo>
                  <a:lnTo>
                    <a:pt x="24" y="114"/>
                  </a:lnTo>
                  <a:lnTo>
                    <a:pt x="36" y="126"/>
                  </a:lnTo>
                  <a:lnTo>
                    <a:pt x="54" y="126"/>
                  </a:lnTo>
                  <a:lnTo>
                    <a:pt x="66" y="132"/>
                  </a:lnTo>
                  <a:lnTo>
                    <a:pt x="78" y="132"/>
                  </a:lnTo>
                  <a:lnTo>
                    <a:pt x="90" y="90"/>
                  </a:lnTo>
                  <a:lnTo>
                    <a:pt x="96" y="90"/>
                  </a:lnTo>
                  <a:lnTo>
                    <a:pt x="102" y="84"/>
                  </a:lnTo>
                  <a:lnTo>
                    <a:pt x="96" y="60"/>
                  </a:lnTo>
                  <a:lnTo>
                    <a:pt x="90" y="60"/>
                  </a:lnTo>
                  <a:lnTo>
                    <a:pt x="84" y="54"/>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32" name="Suriname" descr="© INSCALE GmbH, 05.05.2010&#10;http://www.presentationload.com/">
              <a:extLst>
                <a:ext uri="{FF2B5EF4-FFF2-40B4-BE49-F238E27FC236}">
                  <a16:creationId xmlns:a16="http://schemas.microsoft.com/office/drawing/2014/main" id="{C3621FDE-FC28-7FDB-F56D-451B57E1E259}"/>
                </a:ext>
              </a:extLst>
            </p:cNvPr>
            <p:cNvSpPr>
              <a:spLocks/>
            </p:cNvSpPr>
            <p:nvPr/>
          </p:nvSpPr>
          <p:spPr bwMode="gray">
            <a:xfrm>
              <a:off x="2668524" y="3036146"/>
              <a:ext cx="111179" cy="127485"/>
            </a:xfrm>
            <a:custGeom>
              <a:avLst/>
              <a:gdLst>
                <a:gd name="T0" fmla="*/ 2147483647 w 294"/>
                <a:gd name="T1" fmla="*/ 2147483647 h 336"/>
                <a:gd name="T2" fmla="*/ 2147483647 w 294"/>
                <a:gd name="T3" fmla="*/ 2147483647 h 336"/>
                <a:gd name="T4" fmla="*/ 2147483647 w 294"/>
                <a:gd name="T5" fmla="*/ 2147483647 h 336"/>
                <a:gd name="T6" fmla="*/ 0 w 294"/>
                <a:gd name="T7" fmla="*/ 2147483647 h 336"/>
                <a:gd name="T8" fmla="*/ 2147483647 w 294"/>
                <a:gd name="T9" fmla="*/ 2147483647 h 336"/>
                <a:gd name="T10" fmla="*/ 2147483647 w 294"/>
                <a:gd name="T11" fmla="*/ 2147483647 h 336"/>
                <a:gd name="T12" fmla="*/ 2147483647 w 294"/>
                <a:gd name="T13" fmla="*/ 2147483647 h 336"/>
                <a:gd name="T14" fmla="*/ 2147483647 w 294"/>
                <a:gd name="T15" fmla="*/ 2147483647 h 336"/>
                <a:gd name="T16" fmla="*/ 2147483647 w 294"/>
                <a:gd name="T17" fmla="*/ 2147483647 h 336"/>
                <a:gd name="T18" fmla="*/ 2147483647 w 294"/>
                <a:gd name="T19" fmla="*/ 2147483647 h 336"/>
                <a:gd name="T20" fmla="*/ 2147483647 w 294"/>
                <a:gd name="T21" fmla="*/ 2147483647 h 336"/>
                <a:gd name="T22" fmla="*/ 2147483647 w 294"/>
                <a:gd name="T23" fmla="*/ 2147483647 h 336"/>
                <a:gd name="T24" fmla="*/ 2147483647 w 294"/>
                <a:gd name="T25" fmla="*/ 2147483647 h 336"/>
                <a:gd name="T26" fmla="*/ 2147483647 w 294"/>
                <a:gd name="T27" fmla="*/ 2147483647 h 336"/>
                <a:gd name="T28" fmla="*/ 2147483647 w 294"/>
                <a:gd name="T29" fmla="*/ 2147483647 h 336"/>
                <a:gd name="T30" fmla="*/ 2147483647 w 294"/>
                <a:gd name="T31" fmla="*/ 2147483647 h 336"/>
                <a:gd name="T32" fmla="*/ 2147483647 w 294"/>
                <a:gd name="T33" fmla="*/ 2147483647 h 336"/>
                <a:gd name="T34" fmla="*/ 2147483647 w 294"/>
                <a:gd name="T35" fmla="*/ 2147483647 h 336"/>
                <a:gd name="T36" fmla="*/ 2147483647 w 294"/>
                <a:gd name="T37" fmla="*/ 2147483647 h 336"/>
                <a:gd name="T38" fmla="*/ 2147483647 w 294"/>
                <a:gd name="T39" fmla="*/ 2147483647 h 336"/>
                <a:gd name="T40" fmla="*/ 2147483647 w 294"/>
                <a:gd name="T41" fmla="*/ 2147483647 h 336"/>
                <a:gd name="T42" fmla="*/ 2147483647 w 294"/>
                <a:gd name="T43" fmla="*/ 2147483647 h 336"/>
                <a:gd name="T44" fmla="*/ 2147483647 w 294"/>
                <a:gd name="T45" fmla="*/ 2147483647 h 336"/>
                <a:gd name="T46" fmla="*/ 2147483647 w 294"/>
                <a:gd name="T47" fmla="*/ 2147483647 h 336"/>
                <a:gd name="T48" fmla="*/ 2147483647 w 294"/>
                <a:gd name="T49" fmla="*/ 2147483647 h 336"/>
                <a:gd name="T50" fmla="*/ 2147483647 w 294"/>
                <a:gd name="T51" fmla="*/ 2147483647 h 336"/>
                <a:gd name="T52" fmla="*/ 2147483647 w 294"/>
                <a:gd name="T53" fmla="*/ 2147483647 h 336"/>
                <a:gd name="T54" fmla="*/ 2147483647 w 294"/>
                <a:gd name="T55" fmla="*/ 2147483647 h 336"/>
                <a:gd name="T56" fmla="*/ 2147483647 w 294"/>
                <a:gd name="T57" fmla="*/ 2147483647 h 336"/>
                <a:gd name="T58" fmla="*/ 2147483647 w 294"/>
                <a:gd name="T59" fmla="*/ 2147483647 h 336"/>
                <a:gd name="T60" fmla="*/ 2147483647 w 294"/>
                <a:gd name="T61" fmla="*/ 2147483647 h 336"/>
                <a:gd name="T62" fmla="*/ 2147483647 w 294"/>
                <a:gd name="T63" fmla="*/ 2147483647 h 336"/>
                <a:gd name="T64" fmla="*/ 2147483647 w 294"/>
                <a:gd name="T65" fmla="*/ 2147483647 h 336"/>
                <a:gd name="T66" fmla="*/ 2147483647 w 294"/>
                <a:gd name="T67" fmla="*/ 2147483647 h 336"/>
                <a:gd name="T68" fmla="*/ 2147483647 w 294"/>
                <a:gd name="T69" fmla="*/ 2147483647 h 336"/>
                <a:gd name="T70" fmla="*/ 2147483647 w 294"/>
                <a:gd name="T71" fmla="*/ 0 h 336"/>
                <a:gd name="T72" fmla="*/ 2147483647 w 294"/>
                <a:gd name="T73" fmla="*/ 2147483647 h 336"/>
                <a:gd name="T74" fmla="*/ 2147483647 w 294"/>
                <a:gd name="T75" fmla="*/ 2147483647 h 336"/>
                <a:gd name="T76" fmla="*/ 2147483647 w 294"/>
                <a:gd name="T77" fmla="*/ 2147483647 h 336"/>
                <a:gd name="T78" fmla="*/ 2147483647 w 294"/>
                <a:gd name="T79" fmla="*/ 2147483647 h 336"/>
                <a:gd name="T80" fmla="*/ 2147483647 w 294"/>
                <a:gd name="T81" fmla="*/ 2147483647 h 336"/>
                <a:gd name="T82" fmla="*/ 2147483647 w 294"/>
                <a:gd name="T83" fmla="*/ 2147483647 h 3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94"/>
                <a:gd name="T127" fmla="*/ 0 h 336"/>
                <a:gd name="T128" fmla="*/ 294 w 294"/>
                <a:gd name="T129" fmla="*/ 336 h 3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94" h="336">
                  <a:moveTo>
                    <a:pt x="60" y="78"/>
                  </a:moveTo>
                  <a:lnTo>
                    <a:pt x="30" y="78"/>
                  </a:lnTo>
                  <a:lnTo>
                    <a:pt x="18" y="84"/>
                  </a:lnTo>
                  <a:lnTo>
                    <a:pt x="12" y="90"/>
                  </a:lnTo>
                  <a:lnTo>
                    <a:pt x="12" y="132"/>
                  </a:lnTo>
                  <a:lnTo>
                    <a:pt x="6" y="138"/>
                  </a:lnTo>
                  <a:lnTo>
                    <a:pt x="0" y="150"/>
                  </a:lnTo>
                  <a:lnTo>
                    <a:pt x="0" y="162"/>
                  </a:lnTo>
                  <a:lnTo>
                    <a:pt x="6" y="168"/>
                  </a:lnTo>
                  <a:lnTo>
                    <a:pt x="6" y="174"/>
                  </a:lnTo>
                  <a:lnTo>
                    <a:pt x="12" y="174"/>
                  </a:lnTo>
                  <a:lnTo>
                    <a:pt x="12" y="186"/>
                  </a:lnTo>
                  <a:lnTo>
                    <a:pt x="18" y="198"/>
                  </a:lnTo>
                  <a:lnTo>
                    <a:pt x="24" y="204"/>
                  </a:lnTo>
                  <a:lnTo>
                    <a:pt x="30" y="216"/>
                  </a:lnTo>
                  <a:lnTo>
                    <a:pt x="42" y="216"/>
                  </a:lnTo>
                  <a:lnTo>
                    <a:pt x="42" y="210"/>
                  </a:lnTo>
                  <a:lnTo>
                    <a:pt x="54" y="198"/>
                  </a:lnTo>
                  <a:lnTo>
                    <a:pt x="54" y="216"/>
                  </a:lnTo>
                  <a:lnTo>
                    <a:pt x="48" y="222"/>
                  </a:lnTo>
                  <a:lnTo>
                    <a:pt x="48" y="246"/>
                  </a:lnTo>
                  <a:lnTo>
                    <a:pt x="54" y="258"/>
                  </a:lnTo>
                  <a:lnTo>
                    <a:pt x="72" y="276"/>
                  </a:lnTo>
                  <a:lnTo>
                    <a:pt x="78" y="294"/>
                  </a:lnTo>
                  <a:lnTo>
                    <a:pt x="84" y="306"/>
                  </a:lnTo>
                  <a:lnTo>
                    <a:pt x="90" y="312"/>
                  </a:lnTo>
                  <a:lnTo>
                    <a:pt x="90" y="318"/>
                  </a:lnTo>
                  <a:lnTo>
                    <a:pt x="102" y="324"/>
                  </a:lnTo>
                  <a:lnTo>
                    <a:pt x="108" y="324"/>
                  </a:lnTo>
                  <a:lnTo>
                    <a:pt x="132" y="336"/>
                  </a:lnTo>
                  <a:lnTo>
                    <a:pt x="150" y="336"/>
                  </a:lnTo>
                  <a:lnTo>
                    <a:pt x="156" y="330"/>
                  </a:lnTo>
                  <a:lnTo>
                    <a:pt x="150" y="324"/>
                  </a:lnTo>
                  <a:lnTo>
                    <a:pt x="150" y="318"/>
                  </a:lnTo>
                  <a:lnTo>
                    <a:pt x="138" y="306"/>
                  </a:lnTo>
                  <a:lnTo>
                    <a:pt x="138" y="282"/>
                  </a:lnTo>
                  <a:lnTo>
                    <a:pt x="150" y="276"/>
                  </a:lnTo>
                  <a:lnTo>
                    <a:pt x="156" y="276"/>
                  </a:lnTo>
                  <a:lnTo>
                    <a:pt x="156" y="288"/>
                  </a:lnTo>
                  <a:lnTo>
                    <a:pt x="180" y="288"/>
                  </a:lnTo>
                  <a:lnTo>
                    <a:pt x="192" y="282"/>
                  </a:lnTo>
                  <a:lnTo>
                    <a:pt x="198" y="276"/>
                  </a:lnTo>
                  <a:lnTo>
                    <a:pt x="210" y="270"/>
                  </a:lnTo>
                  <a:lnTo>
                    <a:pt x="216" y="270"/>
                  </a:lnTo>
                  <a:lnTo>
                    <a:pt x="222" y="282"/>
                  </a:lnTo>
                  <a:lnTo>
                    <a:pt x="228" y="288"/>
                  </a:lnTo>
                  <a:lnTo>
                    <a:pt x="246" y="294"/>
                  </a:lnTo>
                  <a:lnTo>
                    <a:pt x="252" y="282"/>
                  </a:lnTo>
                  <a:lnTo>
                    <a:pt x="258" y="276"/>
                  </a:lnTo>
                  <a:lnTo>
                    <a:pt x="258" y="264"/>
                  </a:lnTo>
                  <a:lnTo>
                    <a:pt x="264" y="264"/>
                  </a:lnTo>
                  <a:lnTo>
                    <a:pt x="276" y="258"/>
                  </a:lnTo>
                  <a:lnTo>
                    <a:pt x="270" y="222"/>
                  </a:lnTo>
                  <a:lnTo>
                    <a:pt x="288" y="204"/>
                  </a:lnTo>
                  <a:lnTo>
                    <a:pt x="288" y="198"/>
                  </a:lnTo>
                  <a:lnTo>
                    <a:pt x="282" y="186"/>
                  </a:lnTo>
                  <a:lnTo>
                    <a:pt x="264" y="168"/>
                  </a:lnTo>
                  <a:lnTo>
                    <a:pt x="258" y="156"/>
                  </a:lnTo>
                  <a:lnTo>
                    <a:pt x="258" y="144"/>
                  </a:lnTo>
                  <a:lnTo>
                    <a:pt x="252" y="126"/>
                  </a:lnTo>
                  <a:lnTo>
                    <a:pt x="252" y="96"/>
                  </a:lnTo>
                  <a:lnTo>
                    <a:pt x="258" y="78"/>
                  </a:lnTo>
                  <a:lnTo>
                    <a:pt x="264" y="66"/>
                  </a:lnTo>
                  <a:lnTo>
                    <a:pt x="276" y="60"/>
                  </a:lnTo>
                  <a:lnTo>
                    <a:pt x="282" y="54"/>
                  </a:lnTo>
                  <a:lnTo>
                    <a:pt x="288" y="54"/>
                  </a:lnTo>
                  <a:lnTo>
                    <a:pt x="288" y="30"/>
                  </a:lnTo>
                  <a:lnTo>
                    <a:pt x="294" y="12"/>
                  </a:lnTo>
                  <a:lnTo>
                    <a:pt x="288" y="12"/>
                  </a:lnTo>
                  <a:lnTo>
                    <a:pt x="282" y="6"/>
                  </a:lnTo>
                  <a:lnTo>
                    <a:pt x="270" y="6"/>
                  </a:lnTo>
                  <a:lnTo>
                    <a:pt x="252" y="0"/>
                  </a:lnTo>
                  <a:lnTo>
                    <a:pt x="210" y="0"/>
                  </a:lnTo>
                  <a:lnTo>
                    <a:pt x="204" y="12"/>
                  </a:lnTo>
                  <a:lnTo>
                    <a:pt x="156" y="6"/>
                  </a:lnTo>
                  <a:lnTo>
                    <a:pt x="156" y="18"/>
                  </a:lnTo>
                  <a:lnTo>
                    <a:pt x="96" y="0"/>
                  </a:lnTo>
                  <a:lnTo>
                    <a:pt x="72" y="6"/>
                  </a:lnTo>
                  <a:lnTo>
                    <a:pt x="66" y="18"/>
                  </a:lnTo>
                  <a:lnTo>
                    <a:pt x="60" y="24"/>
                  </a:lnTo>
                  <a:lnTo>
                    <a:pt x="54" y="36"/>
                  </a:lnTo>
                  <a:lnTo>
                    <a:pt x="54" y="48"/>
                  </a:lnTo>
                  <a:lnTo>
                    <a:pt x="66" y="60"/>
                  </a:lnTo>
                  <a:lnTo>
                    <a:pt x="66" y="72"/>
                  </a:lnTo>
                  <a:lnTo>
                    <a:pt x="60" y="78"/>
                  </a:lnTo>
                  <a:close/>
                </a:path>
              </a:pathLst>
            </a:custGeom>
            <a:solidFill>
              <a:srgbClr val="FFFF0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33" name="Sudan">
              <a:extLst>
                <a:ext uri="{FF2B5EF4-FFF2-40B4-BE49-F238E27FC236}">
                  <a16:creationId xmlns:a16="http://schemas.microsoft.com/office/drawing/2014/main" id="{3F38BDF5-992F-A53A-002F-DE7B44E27A63}"/>
                </a:ext>
              </a:extLst>
            </p:cNvPr>
            <p:cNvSpPr>
              <a:spLocks/>
            </p:cNvSpPr>
            <p:nvPr/>
          </p:nvSpPr>
          <p:spPr bwMode="auto">
            <a:xfrm>
              <a:off x="4814919" y="2510265"/>
              <a:ext cx="452944" cy="444363"/>
            </a:xfrm>
            <a:custGeom>
              <a:avLst/>
              <a:gdLst/>
              <a:ahLst/>
              <a:cxnLst>
                <a:cxn ang="0">
                  <a:pos x="442" y="199"/>
                </a:cxn>
                <a:cxn ang="0">
                  <a:pos x="446" y="187"/>
                </a:cxn>
                <a:cxn ang="0">
                  <a:pos x="475" y="170"/>
                </a:cxn>
                <a:cxn ang="0">
                  <a:pos x="458" y="149"/>
                </a:cxn>
                <a:cxn ang="0">
                  <a:pos x="439" y="137"/>
                </a:cxn>
                <a:cxn ang="0">
                  <a:pos x="434" y="114"/>
                </a:cxn>
                <a:cxn ang="0">
                  <a:pos x="430" y="90"/>
                </a:cxn>
                <a:cxn ang="0">
                  <a:pos x="423" y="55"/>
                </a:cxn>
                <a:cxn ang="0">
                  <a:pos x="413" y="29"/>
                </a:cxn>
                <a:cxn ang="0">
                  <a:pos x="387" y="0"/>
                </a:cxn>
                <a:cxn ang="0">
                  <a:pos x="361" y="26"/>
                </a:cxn>
                <a:cxn ang="0">
                  <a:pos x="345" y="31"/>
                </a:cxn>
                <a:cxn ang="0">
                  <a:pos x="326" y="47"/>
                </a:cxn>
                <a:cxn ang="0">
                  <a:pos x="269" y="36"/>
                </a:cxn>
                <a:cxn ang="0">
                  <a:pos x="87" y="36"/>
                </a:cxn>
                <a:cxn ang="0">
                  <a:pos x="54" y="241"/>
                </a:cxn>
                <a:cxn ang="0">
                  <a:pos x="30" y="246"/>
                </a:cxn>
                <a:cxn ang="0">
                  <a:pos x="30" y="258"/>
                </a:cxn>
                <a:cxn ang="0">
                  <a:pos x="16" y="272"/>
                </a:cxn>
                <a:cxn ang="0">
                  <a:pos x="7" y="300"/>
                </a:cxn>
                <a:cxn ang="0">
                  <a:pos x="9" y="322"/>
                </a:cxn>
                <a:cxn ang="0">
                  <a:pos x="4" y="338"/>
                </a:cxn>
                <a:cxn ang="0">
                  <a:pos x="19" y="338"/>
                </a:cxn>
                <a:cxn ang="0">
                  <a:pos x="21" y="373"/>
                </a:cxn>
                <a:cxn ang="0">
                  <a:pos x="35" y="385"/>
                </a:cxn>
                <a:cxn ang="0">
                  <a:pos x="42" y="409"/>
                </a:cxn>
                <a:cxn ang="0">
                  <a:pos x="54" y="430"/>
                </a:cxn>
                <a:cxn ang="0">
                  <a:pos x="47" y="451"/>
                </a:cxn>
                <a:cxn ang="0">
                  <a:pos x="49" y="463"/>
                </a:cxn>
                <a:cxn ang="0">
                  <a:pos x="73" y="456"/>
                </a:cxn>
                <a:cxn ang="0">
                  <a:pos x="78" y="447"/>
                </a:cxn>
                <a:cxn ang="0">
                  <a:pos x="89" y="418"/>
                </a:cxn>
                <a:cxn ang="0">
                  <a:pos x="115" y="416"/>
                </a:cxn>
                <a:cxn ang="0">
                  <a:pos x="125" y="430"/>
                </a:cxn>
                <a:cxn ang="0">
                  <a:pos x="170" y="433"/>
                </a:cxn>
                <a:cxn ang="0">
                  <a:pos x="196" y="442"/>
                </a:cxn>
                <a:cxn ang="0">
                  <a:pos x="234" y="411"/>
                </a:cxn>
                <a:cxn ang="0">
                  <a:pos x="290" y="409"/>
                </a:cxn>
                <a:cxn ang="0">
                  <a:pos x="307" y="364"/>
                </a:cxn>
                <a:cxn ang="0">
                  <a:pos x="331" y="347"/>
                </a:cxn>
                <a:cxn ang="0">
                  <a:pos x="328" y="378"/>
                </a:cxn>
                <a:cxn ang="0">
                  <a:pos x="335" y="399"/>
                </a:cxn>
                <a:cxn ang="0">
                  <a:pos x="357" y="423"/>
                </a:cxn>
                <a:cxn ang="0">
                  <a:pos x="359" y="409"/>
                </a:cxn>
                <a:cxn ang="0">
                  <a:pos x="368" y="399"/>
                </a:cxn>
                <a:cxn ang="0">
                  <a:pos x="380" y="385"/>
                </a:cxn>
                <a:cxn ang="0">
                  <a:pos x="382" y="364"/>
                </a:cxn>
                <a:cxn ang="0">
                  <a:pos x="392" y="343"/>
                </a:cxn>
                <a:cxn ang="0">
                  <a:pos x="411" y="333"/>
                </a:cxn>
                <a:cxn ang="0">
                  <a:pos x="418" y="303"/>
                </a:cxn>
                <a:cxn ang="0">
                  <a:pos x="416" y="262"/>
                </a:cxn>
                <a:cxn ang="0">
                  <a:pos x="423" y="239"/>
                </a:cxn>
                <a:cxn ang="0">
                  <a:pos x="430" y="215"/>
                </a:cxn>
              </a:cxnLst>
              <a:rect l="0" t="0" r="r" b="b"/>
              <a:pathLst>
                <a:path w="475" h="466">
                  <a:moveTo>
                    <a:pt x="432" y="208"/>
                  </a:moveTo>
                  <a:lnTo>
                    <a:pt x="434" y="206"/>
                  </a:lnTo>
                  <a:lnTo>
                    <a:pt x="434" y="199"/>
                  </a:lnTo>
                  <a:lnTo>
                    <a:pt x="442" y="199"/>
                  </a:lnTo>
                  <a:lnTo>
                    <a:pt x="444" y="196"/>
                  </a:lnTo>
                  <a:lnTo>
                    <a:pt x="444" y="194"/>
                  </a:lnTo>
                  <a:lnTo>
                    <a:pt x="446" y="192"/>
                  </a:lnTo>
                  <a:lnTo>
                    <a:pt x="446" y="187"/>
                  </a:lnTo>
                  <a:lnTo>
                    <a:pt x="451" y="187"/>
                  </a:lnTo>
                  <a:lnTo>
                    <a:pt x="460" y="184"/>
                  </a:lnTo>
                  <a:lnTo>
                    <a:pt x="470" y="180"/>
                  </a:lnTo>
                  <a:lnTo>
                    <a:pt x="475" y="170"/>
                  </a:lnTo>
                  <a:lnTo>
                    <a:pt x="475" y="166"/>
                  </a:lnTo>
                  <a:lnTo>
                    <a:pt x="460" y="154"/>
                  </a:lnTo>
                  <a:lnTo>
                    <a:pt x="460" y="151"/>
                  </a:lnTo>
                  <a:lnTo>
                    <a:pt x="458" y="149"/>
                  </a:lnTo>
                  <a:lnTo>
                    <a:pt x="458" y="144"/>
                  </a:lnTo>
                  <a:lnTo>
                    <a:pt x="453" y="142"/>
                  </a:lnTo>
                  <a:lnTo>
                    <a:pt x="444" y="142"/>
                  </a:lnTo>
                  <a:lnTo>
                    <a:pt x="439" y="137"/>
                  </a:lnTo>
                  <a:lnTo>
                    <a:pt x="439" y="132"/>
                  </a:lnTo>
                  <a:lnTo>
                    <a:pt x="437" y="125"/>
                  </a:lnTo>
                  <a:lnTo>
                    <a:pt x="437" y="118"/>
                  </a:lnTo>
                  <a:lnTo>
                    <a:pt x="434" y="114"/>
                  </a:lnTo>
                  <a:lnTo>
                    <a:pt x="434" y="107"/>
                  </a:lnTo>
                  <a:lnTo>
                    <a:pt x="432" y="107"/>
                  </a:lnTo>
                  <a:lnTo>
                    <a:pt x="432" y="97"/>
                  </a:lnTo>
                  <a:lnTo>
                    <a:pt x="430" y="90"/>
                  </a:lnTo>
                  <a:lnTo>
                    <a:pt x="430" y="73"/>
                  </a:lnTo>
                  <a:lnTo>
                    <a:pt x="427" y="69"/>
                  </a:lnTo>
                  <a:lnTo>
                    <a:pt x="434" y="66"/>
                  </a:lnTo>
                  <a:lnTo>
                    <a:pt x="423" y="55"/>
                  </a:lnTo>
                  <a:lnTo>
                    <a:pt x="423" y="38"/>
                  </a:lnTo>
                  <a:lnTo>
                    <a:pt x="420" y="33"/>
                  </a:lnTo>
                  <a:lnTo>
                    <a:pt x="418" y="31"/>
                  </a:lnTo>
                  <a:lnTo>
                    <a:pt x="413" y="29"/>
                  </a:lnTo>
                  <a:lnTo>
                    <a:pt x="401" y="17"/>
                  </a:lnTo>
                  <a:lnTo>
                    <a:pt x="397" y="17"/>
                  </a:lnTo>
                  <a:lnTo>
                    <a:pt x="390" y="10"/>
                  </a:lnTo>
                  <a:lnTo>
                    <a:pt x="387" y="0"/>
                  </a:lnTo>
                  <a:lnTo>
                    <a:pt x="378" y="12"/>
                  </a:lnTo>
                  <a:lnTo>
                    <a:pt x="364" y="12"/>
                  </a:lnTo>
                  <a:lnTo>
                    <a:pt x="364" y="21"/>
                  </a:lnTo>
                  <a:lnTo>
                    <a:pt x="361" y="26"/>
                  </a:lnTo>
                  <a:lnTo>
                    <a:pt x="359" y="29"/>
                  </a:lnTo>
                  <a:lnTo>
                    <a:pt x="352" y="29"/>
                  </a:lnTo>
                  <a:lnTo>
                    <a:pt x="349" y="31"/>
                  </a:lnTo>
                  <a:lnTo>
                    <a:pt x="345" y="31"/>
                  </a:lnTo>
                  <a:lnTo>
                    <a:pt x="340" y="36"/>
                  </a:lnTo>
                  <a:lnTo>
                    <a:pt x="335" y="45"/>
                  </a:lnTo>
                  <a:lnTo>
                    <a:pt x="333" y="47"/>
                  </a:lnTo>
                  <a:lnTo>
                    <a:pt x="326" y="47"/>
                  </a:lnTo>
                  <a:lnTo>
                    <a:pt x="323" y="45"/>
                  </a:lnTo>
                  <a:lnTo>
                    <a:pt x="321" y="40"/>
                  </a:lnTo>
                  <a:lnTo>
                    <a:pt x="319" y="38"/>
                  </a:lnTo>
                  <a:lnTo>
                    <a:pt x="269" y="36"/>
                  </a:lnTo>
                  <a:lnTo>
                    <a:pt x="269" y="31"/>
                  </a:lnTo>
                  <a:lnTo>
                    <a:pt x="267" y="31"/>
                  </a:lnTo>
                  <a:lnTo>
                    <a:pt x="260" y="38"/>
                  </a:lnTo>
                  <a:lnTo>
                    <a:pt x="87" y="36"/>
                  </a:lnTo>
                  <a:lnTo>
                    <a:pt x="87" y="99"/>
                  </a:lnTo>
                  <a:lnTo>
                    <a:pt x="56" y="99"/>
                  </a:lnTo>
                  <a:lnTo>
                    <a:pt x="59" y="241"/>
                  </a:lnTo>
                  <a:lnTo>
                    <a:pt x="54" y="241"/>
                  </a:lnTo>
                  <a:lnTo>
                    <a:pt x="49" y="239"/>
                  </a:lnTo>
                  <a:lnTo>
                    <a:pt x="33" y="239"/>
                  </a:lnTo>
                  <a:lnTo>
                    <a:pt x="28" y="244"/>
                  </a:lnTo>
                  <a:lnTo>
                    <a:pt x="30" y="246"/>
                  </a:lnTo>
                  <a:lnTo>
                    <a:pt x="30" y="251"/>
                  </a:lnTo>
                  <a:lnTo>
                    <a:pt x="33" y="253"/>
                  </a:lnTo>
                  <a:lnTo>
                    <a:pt x="33" y="255"/>
                  </a:lnTo>
                  <a:lnTo>
                    <a:pt x="30" y="258"/>
                  </a:lnTo>
                  <a:lnTo>
                    <a:pt x="26" y="260"/>
                  </a:lnTo>
                  <a:lnTo>
                    <a:pt x="21" y="265"/>
                  </a:lnTo>
                  <a:lnTo>
                    <a:pt x="21" y="272"/>
                  </a:lnTo>
                  <a:lnTo>
                    <a:pt x="16" y="272"/>
                  </a:lnTo>
                  <a:lnTo>
                    <a:pt x="19" y="281"/>
                  </a:lnTo>
                  <a:lnTo>
                    <a:pt x="21" y="288"/>
                  </a:lnTo>
                  <a:lnTo>
                    <a:pt x="14" y="293"/>
                  </a:lnTo>
                  <a:lnTo>
                    <a:pt x="7" y="300"/>
                  </a:lnTo>
                  <a:lnTo>
                    <a:pt x="9" y="303"/>
                  </a:lnTo>
                  <a:lnTo>
                    <a:pt x="14" y="312"/>
                  </a:lnTo>
                  <a:lnTo>
                    <a:pt x="14" y="317"/>
                  </a:lnTo>
                  <a:lnTo>
                    <a:pt x="9" y="322"/>
                  </a:lnTo>
                  <a:lnTo>
                    <a:pt x="4" y="324"/>
                  </a:lnTo>
                  <a:lnTo>
                    <a:pt x="0" y="329"/>
                  </a:lnTo>
                  <a:lnTo>
                    <a:pt x="0" y="336"/>
                  </a:lnTo>
                  <a:lnTo>
                    <a:pt x="4" y="338"/>
                  </a:lnTo>
                  <a:lnTo>
                    <a:pt x="9" y="338"/>
                  </a:lnTo>
                  <a:lnTo>
                    <a:pt x="12" y="336"/>
                  </a:lnTo>
                  <a:lnTo>
                    <a:pt x="16" y="336"/>
                  </a:lnTo>
                  <a:lnTo>
                    <a:pt x="19" y="338"/>
                  </a:lnTo>
                  <a:lnTo>
                    <a:pt x="19" y="355"/>
                  </a:lnTo>
                  <a:lnTo>
                    <a:pt x="26" y="362"/>
                  </a:lnTo>
                  <a:lnTo>
                    <a:pt x="19" y="364"/>
                  </a:lnTo>
                  <a:lnTo>
                    <a:pt x="21" y="373"/>
                  </a:lnTo>
                  <a:lnTo>
                    <a:pt x="23" y="373"/>
                  </a:lnTo>
                  <a:lnTo>
                    <a:pt x="28" y="376"/>
                  </a:lnTo>
                  <a:lnTo>
                    <a:pt x="33" y="383"/>
                  </a:lnTo>
                  <a:lnTo>
                    <a:pt x="35" y="385"/>
                  </a:lnTo>
                  <a:lnTo>
                    <a:pt x="35" y="388"/>
                  </a:lnTo>
                  <a:lnTo>
                    <a:pt x="30" y="388"/>
                  </a:lnTo>
                  <a:lnTo>
                    <a:pt x="30" y="397"/>
                  </a:lnTo>
                  <a:lnTo>
                    <a:pt x="42" y="409"/>
                  </a:lnTo>
                  <a:lnTo>
                    <a:pt x="45" y="414"/>
                  </a:lnTo>
                  <a:lnTo>
                    <a:pt x="49" y="418"/>
                  </a:lnTo>
                  <a:lnTo>
                    <a:pt x="52" y="425"/>
                  </a:lnTo>
                  <a:lnTo>
                    <a:pt x="54" y="430"/>
                  </a:lnTo>
                  <a:lnTo>
                    <a:pt x="54" y="442"/>
                  </a:lnTo>
                  <a:lnTo>
                    <a:pt x="52" y="444"/>
                  </a:lnTo>
                  <a:lnTo>
                    <a:pt x="49" y="449"/>
                  </a:lnTo>
                  <a:lnTo>
                    <a:pt x="47" y="451"/>
                  </a:lnTo>
                  <a:lnTo>
                    <a:pt x="47" y="454"/>
                  </a:lnTo>
                  <a:lnTo>
                    <a:pt x="49" y="456"/>
                  </a:lnTo>
                  <a:lnTo>
                    <a:pt x="52" y="456"/>
                  </a:lnTo>
                  <a:lnTo>
                    <a:pt x="49" y="463"/>
                  </a:lnTo>
                  <a:lnTo>
                    <a:pt x="66" y="466"/>
                  </a:lnTo>
                  <a:lnTo>
                    <a:pt x="66" y="461"/>
                  </a:lnTo>
                  <a:lnTo>
                    <a:pt x="68" y="459"/>
                  </a:lnTo>
                  <a:lnTo>
                    <a:pt x="73" y="456"/>
                  </a:lnTo>
                  <a:lnTo>
                    <a:pt x="73" y="456"/>
                  </a:lnTo>
                  <a:lnTo>
                    <a:pt x="73" y="454"/>
                  </a:lnTo>
                  <a:lnTo>
                    <a:pt x="73" y="451"/>
                  </a:lnTo>
                  <a:lnTo>
                    <a:pt x="78" y="447"/>
                  </a:lnTo>
                  <a:lnTo>
                    <a:pt x="78" y="437"/>
                  </a:lnTo>
                  <a:lnTo>
                    <a:pt x="82" y="437"/>
                  </a:lnTo>
                  <a:lnTo>
                    <a:pt x="82" y="428"/>
                  </a:lnTo>
                  <a:lnTo>
                    <a:pt x="89" y="418"/>
                  </a:lnTo>
                  <a:lnTo>
                    <a:pt x="92" y="411"/>
                  </a:lnTo>
                  <a:lnTo>
                    <a:pt x="101" y="409"/>
                  </a:lnTo>
                  <a:lnTo>
                    <a:pt x="113" y="407"/>
                  </a:lnTo>
                  <a:lnTo>
                    <a:pt x="115" y="416"/>
                  </a:lnTo>
                  <a:lnTo>
                    <a:pt x="118" y="418"/>
                  </a:lnTo>
                  <a:lnTo>
                    <a:pt x="123" y="421"/>
                  </a:lnTo>
                  <a:lnTo>
                    <a:pt x="123" y="423"/>
                  </a:lnTo>
                  <a:lnTo>
                    <a:pt x="125" y="430"/>
                  </a:lnTo>
                  <a:lnTo>
                    <a:pt x="127" y="433"/>
                  </a:lnTo>
                  <a:lnTo>
                    <a:pt x="137" y="440"/>
                  </a:lnTo>
                  <a:lnTo>
                    <a:pt x="146" y="435"/>
                  </a:lnTo>
                  <a:lnTo>
                    <a:pt x="170" y="433"/>
                  </a:lnTo>
                  <a:lnTo>
                    <a:pt x="175" y="435"/>
                  </a:lnTo>
                  <a:lnTo>
                    <a:pt x="177" y="442"/>
                  </a:lnTo>
                  <a:lnTo>
                    <a:pt x="177" y="442"/>
                  </a:lnTo>
                  <a:lnTo>
                    <a:pt x="196" y="442"/>
                  </a:lnTo>
                  <a:lnTo>
                    <a:pt x="205" y="430"/>
                  </a:lnTo>
                  <a:lnTo>
                    <a:pt x="219" y="430"/>
                  </a:lnTo>
                  <a:lnTo>
                    <a:pt x="222" y="418"/>
                  </a:lnTo>
                  <a:lnTo>
                    <a:pt x="234" y="411"/>
                  </a:lnTo>
                  <a:lnTo>
                    <a:pt x="250" y="421"/>
                  </a:lnTo>
                  <a:lnTo>
                    <a:pt x="260" y="430"/>
                  </a:lnTo>
                  <a:lnTo>
                    <a:pt x="274" y="430"/>
                  </a:lnTo>
                  <a:lnTo>
                    <a:pt x="290" y="409"/>
                  </a:lnTo>
                  <a:lnTo>
                    <a:pt x="295" y="397"/>
                  </a:lnTo>
                  <a:lnTo>
                    <a:pt x="309" y="388"/>
                  </a:lnTo>
                  <a:lnTo>
                    <a:pt x="307" y="381"/>
                  </a:lnTo>
                  <a:lnTo>
                    <a:pt x="307" y="364"/>
                  </a:lnTo>
                  <a:lnTo>
                    <a:pt x="300" y="357"/>
                  </a:lnTo>
                  <a:lnTo>
                    <a:pt x="319" y="357"/>
                  </a:lnTo>
                  <a:lnTo>
                    <a:pt x="319" y="350"/>
                  </a:lnTo>
                  <a:lnTo>
                    <a:pt x="331" y="347"/>
                  </a:lnTo>
                  <a:lnTo>
                    <a:pt x="328" y="357"/>
                  </a:lnTo>
                  <a:lnTo>
                    <a:pt x="328" y="366"/>
                  </a:lnTo>
                  <a:lnTo>
                    <a:pt x="326" y="369"/>
                  </a:lnTo>
                  <a:lnTo>
                    <a:pt x="328" y="378"/>
                  </a:lnTo>
                  <a:lnTo>
                    <a:pt x="331" y="385"/>
                  </a:lnTo>
                  <a:lnTo>
                    <a:pt x="331" y="390"/>
                  </a:lnTo>
                  <a:lnTo>
                    <a:pt x="328" y="395"/>
                  </a:lnTo>
                  <a:lnTo>
                    <a:pt x="335" y="399"/>
                  </a:lnTo>
                  <a:lnTo>
                    <a:pt x="345" y="407"/>
                  </a:lnTo>
                  <a:lnTo>
                    <a:pt x="352" y="414"/>
                  </a:lnTo>
                  <a:lnTo>
                    <a:pt x="354" y="418"/>
                  </a:lnTo>
                  <a:lnTo>
                    <a:pt x="357" y="423"/>
                  </a:lnTo>
                  <a:lnTo>
                    <a:pt x="359" y="423"/>
                  </a:lnTo>
                  <a:lnTo>
                    <a:pt x="361" y="421"/>
                  </a:lnTo>
                  <a:lnTo>
                    <a:pt x="361" y="414"/>
                  </a:lnTo>
                  <a:lnTo>
                    <a:pt x="359" y="409"/>
                  </a:lnTo>
                  <a:lnTo>
                    <a:pt x="359" y="402"/>
                  </a:lnTo>
                  <a:lnTo>
                    <a:pt x="366" y="395"/>
                  </a:lnTo>
                  <a:lnTo>
                    <a:pt x="368" y="395"/>
                  </a:lnTo>
                  <a:lnTo>
                    <a:pt x="368" y="399"/>
                  </a:lnTo>
                  <a:lnTo>
                    <a:pt x="371" y="402"/>
                  </a:lnTo>
                  <a:lnTo>
                    <a:pt x="378" y="402"/>
                  </a:lnTo>
                  <a:lnTo>
                    <a:pt x="380" y="399"/>
                  </a:lnTo>
                  <a:lnTo>
                    <a:pt x="380" y="385"/>
                  </a:lnTo>
                  <a:lnTo>
                    <a:pt x="378" y="383"/>
                  </a:lnTo>
                  <a:lnTo>
                    <a:pt x="378" y="381"/>
                  </a:lnTo>
                  <a:lnTo>
                    <a:pt x="382" y="373"/>
                  </a:lnTo>
                  <a:lnTo>
                    <a:pt x="382" y="364"/>
                  </a:lnTo>
                  <a:lnTo>
                    <a:pt x="385" y="362"/>
                  </a:lnTo>
                  <a:lnTo>
                    <a:pt x="390" y="362"/>
                  </a:lnTo>
                  <a:lnTo>
                    <a:pt x="392" y="357"/>
                  </a:lnTo>
                  <a:lnTo>
                    <a:pt x="392" y="343"/>
                  </a:lnTo>
                  <a:lnTo>
                    <a:pt x="394" y="340"/>
                  </a:lnTo>
                  <a:lnTo>
                    <a:pt x="397" y="336"/>
                  </a:lnTo>
                  <a:lnTo>
                    <a:pt x="399" y="333"/>
                  </a:lnTo>
                  <a:lnTo>
                    <a:pt x="411" y="333"/>
                  </a:lnTo>
                  <a:lnTo>
                    <a:pt x="411" y="314"/>
                  </a:lnTo>
                  <a:lnTo>
                    <a:pt x="413" y="310"/>
                  </a:lnTo>
                  <a:lnTo>
                    <a:pt x="416" y="307"/>
                  </a:lnTo>
                  <a:lnTo>
                    <a:pt x="418" y="303"/>
                  </a:lnTo>
                  <a:lnTo>
                    <a:pt x="420" y="300"/>
                  </a:lnTo>
                  <a:lnTo>
                    <a:pt x="420" y="284"/>
                  </a:lnTo>
                  <a:lnTo>
                    <a:pt x="418" y="265"/>
                  </a:lnTo>
                  <a:lnTo>
                    <a:pt x="416" y="262"/>
                  </a:lnTo>
                  <a:lnTo>
                    <a:pt x="416" y="255"/>
                  </a:lnTo>
                  <a:lnTo>
                    <a:pt x="420" y="253"/>
                  </a:lnTo>
                  <a:lnTo>
                    <a:pt x="423" y="253"/>
                  </a:lnTo>
                  <a:lnTo>
                    <a:pt x="423" y="239"/>
                  </a:lnTo>
                  <a:lnTo>
                    <a:pt x="425" y="239"/>
                  </a:lnTo>
                  <a:lnTo>
                    <a:pt x="427" y="236"/>
                  </a:lnTo>
                  <a:lnTo>
                    <a:pt x="430" y="232"/>
                  </a:lnTo>
                  <a:lnTo>
                    <a:pt x="430" y="215"/>
                  </a:lnTo>
                  <a:lnTo>
                    <a:pt x="427" y="213"/>
                  </a:lnTo>
                  <a:lnTo>
                    <a:pt x="427" y="208"/>
                  </a:lnTo>
                  <a:lnTo>
                    <a:pt x="432" y="208"/>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34" name="South Sudan">
              <a:extLst>
                <a:ext uri="{FF2B5EF4-FFF2-40B4-BE49-F238E27FC236}">
                  <a16:creationId xmlns:a16="http://schemas.microsoft.com/office/drawing/2014/main" id="{8C6B7FCA-BC91-13F6-0983-EEC39E6385B2}"/>
                </a:ext>
              </a:extLst>
            </p:cNvPr>
            <p:cNvSpPr>
              <a:spLocks/>
            </p:cNvSpPr>
            <p:nvPr/>
          </p:nvSpPr>
          <p:spPr bwMode="auto">
            <a:xfrm>
              <a:off x="4877854" y="2841153"/>
              <a:ext cx="326120" cy="272722"/>
            </a:xfrm>
            <a:custGeom>
              <a:avLst/>
              <a:gdLst/>
              <a:ahLst/>
              <a:cxnLst>
                <a:cxn ang="0">
                  <a:pos x="269" y="52"/>
                </a:cxn>
                <a:cxn ang="0">
                  <a:pos x="265" y="38"/>
                </a:cxn>
                <a:cxn ang="0">
                  <a:pos x="262" y="19"/>
                </a:cxn>
                <a:cxn ang="0">
                  <a:pos x="253" y="3"/>
                </a:cxn>
                <a:cxn ang="0">
                  <a:pos x="241" y="17"/>
                </a:cxn>
                <a:cxn ang="0">
                  <a:pos x="229" y="50"/>
                </a:cxn>
                <a:cxn ang="0">
                  <a:pos x="194" y="83"/>
                </a:cxn>
                <a:cxn ang="0">
                  <a:pos x="156" y="71"/>
                </a:cxn>
                <a:cxn ang="0">
                  <a:pos x="130" y="95"/>
                </a:cxn>
                <a:cxn ang="0">
                  <a:pos x="109" y="88"/>
                </a:cxn>
                <a:cxn ang="0">
                  <a:pos x="71" y="93"/>
                </a:cxn>
                <a:cxn ang="0">
                  <a:pos x="57" y="76"/>
                </a:cxn>
                <a:cxn ang="0">
                  <a:pos x="49" y="69"/>
                </a:cxn>
                <a:cxn ang="0">
                  <a:pos x="26" y="64"/>
                </a:cxn>
                <a:cxn ang="0">
                  <a:pos x="16" y="90"/>
                </a:cxn>
                <a:cxn ang="0">
                  <a:pos x="7" y="104"/>
                </a:cxn>
                <a:cxn ang="0">
                  <a:pos x="7" y="109"/>
                </a:cxn>
                <a:cxn ang="0">
                  <a:pos x="0" y="119"/>
                </a:cxn>
                <a:cxn ang="0">
                  <a:pos x="12" y="135"/>
                </a:cxn>
                <a:cxn ang="0">
                  <a:pos x="28" y="142"/>
                </a:cxn>
                <a:cxn ang="0">
                  <a:pos x="38" y="152"/>
                </a:cxn>
                <a:cxn ang="0">
                  <a:pos x="33" y="154"/>
                </a:cxn>
                <a:cxn ang="0">
                  <a:pos x="42" y="164"/>
                </a:cxn>
                <a:cxn ang="0">
                  <a:pos x="54" y="173"/>
                </a:cxn>
                <a:cxn ang="0">
                  <a:pos x="59" y="182"/>
                </a:cxn>
                <a:cxn ang="0">
                  <a:pos x="68" y="190"/>
                </a:cxn>
                <a:cxn ang="0">
                  <a:pos x="68" y="197"/>
                </a:cxn>
                <a:cxn ang="0">
                  <a:pos x="83" y="208"/>
                </a:cxn>
                <a:cxn ang="0">
                  <a:pos x="92" y="218"/>
                </a:cxn>
                <a:cxn ang="0">
                  <a:pos x="106" y="241"/>
                </a:cxn>
                <a:cxn ang="0">
                  <a:pos x="127" y="258"/>
                </a:cxn>
                <a:cxn ang="0">
                  <a:pos x="137" y="251"/>
                </a:cxn>
                <a:cxn ang="0">
                  <a:pos x="146" y="258"/>
                </a:cxn>
                <a:cxn ang="0">
                  <a:pos x="156" y="251"/>
                </a:cxn>
                <a:cxn ang="0">
                  <a:pos x="168" y="251"/>
                </a:cxn>
                <a:cxn ang="0">
                  <a:pos x="177" y="267"/>
                </a:cxn>
                <a:cxn ang="0">
                  <a:pos x="187" y="272"/>
                </a:cxn>
                <a:cxn ang="0">
                  <a:pos x="203" y="275"/>
                </a:cxn>
                <a:cxn ang="0">
                  <a:pos x="215" y="279"/>
                </a:cxn>
                <a:cxn ang="0">
                  <a:pos x="222" y="275"/>
                </a:cxn>
                <a:cxn ang="0">
                  <a:pos x="243" y="277"/>
                </a:cxn>
                <a:cxn ang="0">
                  <a:pos x="262" y="272"/>
                </a:cxn>
                <a:cxn ang="0">
                  <a:pos x="274" y="277"/>
                </a:cxn>
                <a:cxn ang="0">
                  <a:pos x="283" y="265"/>
                </a:cxn>
                <a:cxn ang="0">
                  <a:pos x="295" y="251"/>
                </a:cxn>
                <a:cxn ang="0">
                  <a:pos x="340" y="239"/>
                </a:cxn>
                <a:cxn ang="0">
                  <a:pos x="335" y="225"/>
                </a:cxn>
                <a:cxn ang="0">
                  <a:pos x="316" y="208"/>
                </a:cxn>
                <a:cxn ang="0">
                  <a:pos x="312" y="185"/>
                </a:cxn>
                <a:cxn ang="0">
                  <a:pos x="293" y="175"/>
                </a:cxn>
                <a:cxn ang="0">
                  <a:pos x="286" y="159"/>
                </a:cxn>
                <a:cxn ang="0">
                  <a:pos x="276" y="149"/>
                </a:cxn>
                <a:cxn ang="0">
                  <a:pos x="260" y="147"/>
                </a:cxn>
                <a:cxn ang="0">
                  <a:pos x="265" y="135"/>
                </a:cxn>
                <a:cxn ang="0">
                  <a:pos x="279" y="128"/>
                </a:cxn>
                <a:cxn ang="0">
                  <a:pos x="288" y="123"/>
                </a:cxn>
                <a:cxn ang="0">
                  <a:pos x="291" y="100"/>
                </a:cxn>
                <a:cxn ang="0">
                  <a:pos x="286" y="88"/>
                </a:cxn>
                <a:cxn ang="0">
                  <a:pos x="291" y="76"/>
                </a:cxn>
              </a:cxnLst>
              <a:rect l="0" t="0" r="r" b="b"/>
              <a:pathLst>
                <a:path w="342" h="286">
                  <a:moveTo>
                    <a:pt x="286" y="67"/>
                  </a:moveTo>
                  <a:lnTo>
                    <a:pt x="279" y="60"/>
                  </a:lnTo>
                  <a:lnTo>
                    <a:pt x="269" y="52"/>
                  </a:lnTo>
                  <a:lnTo>
                    <a:pt x="262" y="48"/>
                  </a:lnTo>
                  <a:lnTo>
                    <a:pt x="265" y="43"/>
                  </a:lnTo>
                  <a:lnTo>
                    <a:pt x="265" y="38"/>
                  </a:lnTo>
                  <a:lnTo>
                    <a:pt x="262" y="31"/>
                  </a:lnTo>
                  <a:lnTo>
                    <a:pt x="260" y="22"/>
                  </a:lnTo>
                  <a:lnTo>
                    <a:pt x="262" y="19"/>
                  </a:lnTo>
                  <a:lnTo>
                    <a:pt x="262" y="10"/>
                  </a:lnTo>
                  <a:lnTo>
                    <a:pt x="265" y="0"/>
                  </a:lnTo>
                  <a:lnTo>
                    <a:pt x="253" y="3"/>
                  </a:lnTo>
                  <a:lnTo>
                    <a:pt x="253" y="10"/>
                  </a:lnTo>
                  <a:lnTo>
                    <a:pt x="234" y="10"/>
                  </a:lnTo>
                  <a:lnTo>
                    <a:pt x="241" y="17"/>
                  </a:lnTo>
                  <a:lnTo>
                    <a:pt x="241" y="34"/>
                  </a:lnTo>
                  <a:lnTo>
                    <a:pt x="243" y="41"/>
                  </a:lnTo>
                  <a:lnTo>
                    <a:pt x="229" y="50"/>
                  </a:lnTo>
                  <a:lnTo>
                    <a:pt x="224" y="62"/>
                  </a:lnTo>
                  <a:lnTo>
                    <a:pt x="208" y="83"/>
                  </a:lnTo>
                  <a:lnTo>
                    <a:pt x="194" y="83"/>
                  </a:lnTo>
                  <a:lnTo>
                    <a:pt x="184" y="74"/>
                  </a:lnTo>
                  <a:lnTo>
                    <a:pt x="168" y="64"/>
                  </a:lnTo>
                  <a:lnTo>
                    <a:pt x="156" y="71"/>
                  </a:lnTo>
                  <a:lnTo>
                    <a:pt x="153" y="83"/>
                  </a:lnTo>
                  <a:lnTo>
                    <a:pt x="139" y="83"/>
                  </a:lnTo>
                  <a:lnTo>
                    <a:pt x="130" y="95"/>
                  </a:lnTo>
                  <a:lnTo>
                    <a:pt x="111" y="95"/>
                  </a:lnTo>
                  <a:lnTo>
                    <a:pt x="111" y="95"/>
                  </a:lnTo>
                  <a:lnTo>
                    <a:pt x="109" y="88"/>
                  </a:lnTo>
                  <a:lnTo>
                    <a:pt x="104" y="86"/>
                  </a:lnTo>
                  <a:lnTo>
                    <a:pt x="80" y="88"/>
                  </a:lnTo>
                  <a:lnTo>
                    <a:pt x="71" y="93"/>
                  </a:lnTo>
                  <a:lnTo>
                    <a:pt x="61" y="86"/>
                  </a:lnTo>
                  <a:lnTo>
                    <a:pt x="59" y="83"/>
                  </a:lnTo>
                  <a:lnTo>
                    <a:pt x="57" y="76"/>
                  </a:lnTo>
                  <a:lnTo>
                    <a:pt x="57" y="74"/>
                  </a:lnTo>
                  <a:lnTo>
                    <a:pt x="52" y="71"/>
                  </a:lnTo>
                  <a:lnTo>
                    <a:pt x="49" y="69"/>
                  </a:lnTo>
                  <a:lnTo>
                    <a:pt x="47" y="60"/>
                  </a:lnTo>
                  <a:lnTo>
                    <a:pt x="35" y="62"/>
                  </a:lnTo>
                  <a:lnTo>
                    <a:pt x="26" y="64"/>
                  </a:lnTo>
                  <a:lnTo>
                    <a:pt x="23" y="71"/>
                  </a:lnTo>
                  <a:lnTo>
                    <a:pt x="16" y="81"/>
                  </a:lnTo>
                  <a:lnTo>
                    <a:pt x="16" y="90"/>
                  </a:lnTo>
                  <a:lnTo>
                    <a:pt x="12" y="90"/>
                  </a:lnTo>
                  <a:lnTo>
                    <a:pt x="12" y="100"/>
                  </a:lnTo>
                  <a:lnTo>
                    <a:pt x="7" y="104"/>
                  </a:lnTo>
                  <a:lnTo>
                    <a:pt x="7" y="107"/>
                  </a:lnTo>
                  <a:lnTo>
                    <a:pt x="7" y="109"/>
                  </a:lnTo>
                  <a:lnTo>
                    <a:pt x="7" y="109"/>
                  </a:lnTo>
                  <a:lnTo>
                    <a:pt x="2" y="112"/>
                  </a:lnTo>
                  <a:lnTo>
                    <a:pt x="0" y="114"/>
                  </a:lnTo>
                  <a:lnTo>
                    <a:pt x="0" y="119"/>
                  </a:lnTo>
                  <a:lnTo>
                    <a:pt x="2" y="119"/>
                  </a:lnTo>
                  <a:lnTo>
                    <a:pt x="2" y="130"/>
                  </a:lnTo>
                  <a:lnTo>
                    <a:pt x="12" y="135"/>
                  </a:lnTo>
                  <a:lnTo>
                    <a:pt x="26" y="135"/>
                  </a:lnTo>
                  <a:lnTo>
                    <a:pt x="26" y="142"/>
                  </a:lnTo>
                  <a:lnTo>
                    <a:pt x="28" y="142"/>
                  </a:lnTo>
                  <a:lnTo>
                    <a:pt x="33" y="145"/>
                  </a:lnTo>
                  <a:lnTo>
                    <a:pt x="38" y="149"/>
                  </a:lnTo>
                  <a:lnTo>
                    <a:pt x="38" y="152"/>
                  </a:lnTo>
                  <a:lnTo>
                    <a:pt x="35" y="152"/>
                  </a:lnTo>
                  <a:lnTo>
                    <a:pt x="35" y="154"/>
                  </a:lnTo>
                  <a:lnTo>
                    <a:pt x="33" y="154"/>
                  </a:lnTo>
                  <a:lnTo>
                    <a:pt x="33" y="156"/>
                  </a:lnTo>
                  <a:lnTo>
                    <a:pt x="38" y="161"/>
                  </a:lnTo>
                  <a:lnTo>
                    <a:pt x="42" y="164"/>
                  </a:lnTo>
                  <a:lnTo>
                    <a:pt x="45" y="164"/>
                  </a:lnTo>
                  <a:lnTo>
                    <a:pt x="49" y="166"/>
                  </a:lnTo>
                  <a:lnTo>
                    <a:pt x="54" y="173"/>
                  </a:lnTo>
                  <a:lnTo>
                    <a:pt x="57" y="178"/>
                  </a:lnTo>
                  <a:lnTo>
                    <a:pt x="59" y="180"/>
                  </a:lnTo>
                  <a:lnTo>
                    <a:pt x="59" y="182"/>
                  </a:lnTo>
                  <a:lnTo>
                    <a:pt x="66" y="182"/>
                  </a:lnTo>
                  <a:lnTo>
                    <a:pt x="68" y="185"/>
                  </a:lnTo>
                  <a:lnTo>
                    <a:pt x="68" y="190"/>
                  </a:lnTo>
                  <a:lnTo>
                    <a:pt x="64" y="190"/>
                  </a:lnTo>
                  <a:lnTo>
                    <a:pt x="64" y="192"/>
                  </a:lnTo>
                  <a:lnTo>
                    <a:pt x="68" y="197"/>
                  </a:lnTo>
                  <a:lnTo>
                    <a:pt x="68" y="204"/>
                  </a:lnTo>
                  <a:lnTo>
                    <a:pt x="80" y="206"/>
                  </a:lnTo>
                  <a:lnTo>
                    <a:pt x="83" y="208"/>
                  </a:lnTo>
                  <a:lnTo>
                    <a:pt x="87" y="211"/>
                  </a:lnTo>
                  <a:lnTo>
                    <a:pt x="90" y="213"/>
                  </a:lnTo>
                  <a:lnTo>
                    <a:pt x="92" y="218"/>
                  </a:lnTo>
                  <a:lnTo>
                    <a:pt x="92" y="227"/>
                  </a:lnTo>
                  <a:lnTo>
                    <a:pt x="94" y="232"/>
                  </a:lnTo>
                  <a:lnTo>
                    <a:pt x="106" y="241"/>
                  </a:lnTo>
                  <a:lnTo>
                    <a:pt x="106" y="251"/>
                  </a:lnTo>
                  <a:lnTo>
                    <a:pt x="125" y="260"/>
                  </a:lnTo>
                  <a:lnTo>
                    <a:pt x="127" y="258"/>
                  </a:lnTo>
                  <a:lnTo>
                    <a:pt x="130" y="253"/>
                  </a:lnTo>
                  <a:lnTo>
                    <a:pt x="132" y="251"/>
                  </a:lnTo>
                  <a:lnTo>
                    <a:pt x="137" y="251"/>
                  </a:lnTo>
                  <a:lnTo>
                    <a:pt x="142" y="253"/>
                  </a:lnTo>
                  <a:lnTo>
                    <a:pt x="142" y="256"/>
                  </a:lnTo>
                  <a:lnTo>
                    <a:pt x="146" y="258"/>
                  </a:lnTo>
                  <a:lnTo>
                    <a:pt x="149" y="258"/>
                  </a:lnTo>
                  <a:lnTo>
                    <a:pt x="156" y="253"/>
                  </a:lnTo>
                  <a:lnTo>
                    <a:pt x="156" y="251"/>
                  </a:lnTo>
                  <a:lnTo>
                    <a:pt x="161" y="246"/>
                  </a:lnTo>
                  <a:lnTo>
                    <a:pt x="163" y="249"/>
                  </a:lnTo>
                  <a:lnTo>
                    <a:pt x="168" y="251"/>
                  </a:lnTo>
                  <a:lnTo>
                    <a:pt x="170" y="258"/>
                  </a:lnTo>
                  <a:lnTo>
                    <a:pt x="172" y="263"/>
                  </a:lnTo>
                  <a:lnTo>
                    <a:pt x="177" y="267"/>
                  </a:lnTo>
                  <a:lnTo>
                    <a:pt x="182" y="270"/>
                  </a:lnTo>
                  <a:lnTo>
                    <a:pt x="184" y="272"/>
                  </a:lnTo>
                  <a:lnTo>
                    <a:pt x="187" y="272"/>
                  </a:lnTo>
                  <a:lnTo>
                    <a:pt x="189" y="282"/>
                  </a:lnTo>
                  <a:lnTo>
                    <a:pt x="196" y="282"/>
                  </a:lnTo>
                  <a:lnTo>
                    <a:pt x="203" y="275"/>
                  </a:lnTo>
                  <a:lnTo>
                    <a:pt x="208" y="275"/>
                  </a:lnTo>
                  <a:lnTo>
                    <a:pt x="210" y="277"/>
                  </a:lnTo>
                  <a:lnTo>
                    <a:pt x="215" y="279"/>
                  </a:lnTo>
                  <a:lnTo>
                    <a:pt x="220" y="279"/>
                  </a:lnTo>
                  <a:lnTo>
                    <a:pt x="220" y="277"/>
                  </a:lnTo>
                  <a:lnTo>
                    <a:pt x="222" y="275"/>
                  </a:lnTo>
                  <a:lnTo>
                    <a:pt x="224" y="275"/>
                  </a:lnTo>
                  <a:lnTo>
                    <a:pt x="236" y="286"/>
                  </a:lnTo>
                  <a:lnTo>
                    <a:pt x="243" y="277"/>
                  </a:lnTo>
                  <a:lnTo>
                    <a:pt x="253" y="277"/>
                  </a:lnTo>
                  <a:lnTo>
                    <a:pt x="257" y="272"/>
                  </a:lnTo>
                  <a:lnTo>
                    <a:pt x="262" y="272"/>
                  </a:lnTo>
                  <a:lnTo>
                    <a:pt x="262" y="275"/>
                  </a:lnTo>
                  <a:lnTo>
                    <a:pt x="265" y="277"/>
                  </a:lnTo>
                  <a:lnTo>
                    <a:pt x="274" y="277"/>
                  </a:lnTo>
                  <a:lnTo>
                    <a:pt x="281" y="270"/>
                  </a:lnTo>
                  <a:lnTo>
                    <a:pt x="281" y="267"/>
                  </a:lnTo>
                  <a:lnTo>
                    <a:pt x="283" y="265"/>
                  </a:lnTo>
                  <a:lnTo>
                    <a:pt x="283" y="263"/>
                  </a:lnTo>
                  <a:lnTo>
                    <a:pt x="288" y="263"/>
                  </a:lnTo>
                  <a:lnTo>
                    <a:pt x="295" y="251"/>
                  </a:lnTo>
                  <a:lnTo>
                    <a:pt x="333" y="251"/>
                  </a:lnTo>
                  <a:lnTo>
                    <a:pt x="342" y="246"/>
                  </a:lnTo>
                  <a:lnTo>
                    <a:pt x="340" y="239"/>
                  </a:lnTo>
                  <a:lnTo>
                    <a:pt x="340" y="232"/>
                  </a:lnTo>
                  <a:lnTo>
                    <a:pt x="338" y="227"/>
                  </a:lnTo>
                  <a:lnTo>
                    <a:pt x="335" y="225"/>
                  </a:lnTo>
                  <a:lnTo>
                    <a:pt x="328" y="225"/>
                  </a:lnTo>
                  <a:lnTo>
                    <a:pt x="324" y="223"/>
                  </a:lnTo>
                  <a:lnTo>
                    <a:pt x="316" y="208"/>
                  </a:lnTo>
                  <a:lnTo>
                    <a:pt x="316" y="201"/>
                  </a:lnTo>
                  <a:lnTo>
                    <a:pt x="312" y="199"/>
                  </a:lnTo>
                  <a:lnTo>
                    <a:pt x="312" y="185"/>
                  </a:lnTo>
                  <a:lnTo>
                    <a:pt x="305" y="185"/>
                  </a:lnTo>
                  <a:lnTo>
                    <a:pt x="302" y="175"/>
                  </a:lnTo>
                  <a:lnTo>
                    <a:pt x="293" y="175"/>
                  </a:lnTo>
                  <a:lnTo>
                    <a:pt x="291" y="168"/>
                  </a:lnTo>
                  <a:lnTo>
                    <a:pt x="291" y="161"/>
                  </a:lnTo>
                  <a:lnTo>
                    <a:pt x="286" y="159"/>
                  </a:lnTo>
                  <a:lnTo>
                    <a:pt x="283" y="154"/>
                  </a:lnTo>
                  <a:lnTo>
                    <a:pt x="279" y="152"/>
                  </a:lnTo>
                  <a:lnTo>
                    <a:pt x="276" y="149"/>
                  </a:lnTo>
                  <a:lnTo>
                    <a:pt x="267" y="149"/>
                  </a:lnTo>
                  <a:lnTo>
                    <a:pt x="262" y="147"/>
                  </a:lnTo>
                  <a:lnTo>
                    <a:pt x="260" y="147"/>
                  </a:lnTo>
                  <a:lnTo>
                    <a:pt x="260" y="142"/>
                  </a:lnTo>
                  <a:lnTo>
                    <a:pt x="262" y="138"/>
                  </a:lnTo>
                  <a:lnTo>
                    <a:pt x="265" y="135"/>
                  </a:lnTo>
                  <a:lnTo>
                    <a:pt x="262" y="126"/>
                  </a:lnTo>
                  <a:lnTo>
                    <a:pt x="276" y="126"/>
                  </a:lnTo>
                  <a:lnTo>
                    <a:pt x="279" y="128"/>
                  </a:lnTo>
                  <a:lnTo>
                    <a:pt x="281" y="126"/>
                  </a:lnTo>
                  <a:lnTo>
                    <a:pt x="286" y="126"/>
                  </a:lnTo>
                  <a:lnTo>
                    <a:pt x="288" y="123"/>
                  </a:lnTo>
                  <a:lnTo>
                    <a:pt x="288" y="119"/>
                  </a:lnTo>
                  <a:lnTo>
                    <a:pt x="291" y="114"/>
                  </a:lnTo>
                  <a:lnTo>
                    <a:pt x="291" y="100"/>
                  </a:lnTo>
                  <a:lnTo>
                    <a:pt x="288" y="97"/>
                  </a:lnTo>
                  <a:lnTo>
                    <a:pt x="288" y="93"/>
                  </a:lnTo>
                  <a:lnTo>
                    <a:pt x="286" y="88"/>
                  </a:lnTo>
                  <a:lnTo>
                    <a:pt x="286" y="83"/>
                  </a:lnTo>
                  <a:lnTo>
                    <a:pt x="288" y="78"/>
                  </a:lnTo>
                  <a:lnTo>
                    <a:pt x="291" y="76"/>
                  </a:lnTo>
                  <a:lnTo>
                    <a:pt x="288" y="71"/>
                  </a:lnTo>
                  <a:lnTo>
                    <a:pt x="286" y="67"/>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35" name="Sri Lanka" descr="© INSCALE GmbH, 05.05.2010&#10;http://www.presentationload.com/">
              <a:extLst>
                <a:ext uri="{FF2B5EF4-FFF2-40B4-BE49-F238E27FC236}">
                  <a16:creationId xmlns:a16="http://schemas.microsoft.com/office/drawing/2014/main" id="{91AA9AAB-FADB-56A1-E41F-32A11802B41B}"/>
                </a:ext>
              </a:extLst>
            </p:cNvPr>
            <p:cNvSpPr>
              <a:spLocks/>
            </p:cNvSpPr>
            <p:nvPr/>
          </p:nvSpPr>
          <p:spPr bwMode="gray">
            <a:xfrm>
              <a:off x="6378902" y="2924967"/>
              <a:ext cx="65224" cy="115625"/>
            </a:xfrm>
            <a:custGeom>
              <a:avLst/>
              <a:gdLst>
                <a:gd name="T0" fmla="*/ 2147483647 w 174"/>
                <a:gd name="T1" fmla="*/ 2147483647 h 306"/>
                <a:gd name="T2" fmla="*/ 2147483647 w 174"/>
                <a:gd name="T3" fmla="*/ 0 h 306"/>
                <a:gd name="T4" fmla="*/ 2147483647 w 174"/>
                <a:gd name="T5" fmla="*/ 0 h 306"/>
                <a:gd name="T6" fmla="*/ 2147483647 w 174"/>
                <a:gd name="T7" fmla="*/ 2147483647 h 306"/>
                <a:gd name="T8" fmla="*/ 2147483647 w 174"/>
                <a:gd name="T9" fmla="*/ 2147483647 h 306"/>
                <a:gd name="T10" fmla="*/ 2147483647 w 174"/>
                <a:gd name="T11" fmla="*/ 2147483647 h 306"/>
                <a:gd name="T12" fmla="*/ 2147483647 w 174"/>
                <a:gd name="T13" fmla="*/ 2147483647 h 306"/>
                <a:gd name="T14" fmla="*/ 2147483647 w 174"/>
                <a:gd name="T15" fmla="*/ 2147483647 h 306"/>
                <a:gd name="T16" fmla="*/ 2147483647 w 174"/>
                <a:gd name="T17" fmla="*/ 2147483647 h 306"/>
                <a:gd name="T18" fmla="*/ 2147483647 w 174"/>
                <a:gd name="T19" fmla="*/ 2147483647 h 306"/>
                <a:gd name="T20" fmla="*/ 2147483647 w 174"/>
                <a:gd name="T21" fmla="*/ 2147483647 h 306"/>
                <a:gd name="T22" fmla="*/ 2147483647 w 174"/>
                <a:gd name="T23" fmla="*/ 2147483647 h 306"/>
                <a:gd name="T24" fmla="*/ 2147483647 w 174"/>
                <a:gd name="T25" fmla="*/ 2147483647 h 306"/>
                <a:gd name="T26" fmla="*/ 2147483647 w 174"/>
                <a:gd name="T27" fmla="*/ 2147483647 h 306"/>
                <a:gd name="T28" fmla="*/ 2147483647 w 174"/>
                <a:gd name="T29" fmla="*/ 2147483647 h 306"/>
                <a:gd name="T30" fmla="*/ 2147483647 w 174"/>
                <a:gd name="T31" fmla="*/ 2147483647 h 306"/>
                <a:gd name="T32" fmla="*/ 2147483647 w 174"/>
                <a:gd name="T33" fmla="*/ 2147483647 h 306"/>
                <a:gd name="T34" fmla="*/ 2147483647 w 174"/>
                <a:gd name="T35" fmla="*/ 2147483647 h 306"/>
                <a:gd name="T36" fmla="*/ 2147483647 w 174"/>
                <a:gd name="T37" fmla="*/ 2147483647 h 306"/>
                <a:gd name="T38" fmla="*/ 2147483647 w 174"/>
                <a:gd name="T39" fmla="*/ 2147483647 h 306"/>
                <a:gd name="T40" fmla="*/ 0 w 174"/>
                <a:gd name="T41" fmla="*/ 2147483647 h 306"/>
                <a:gd name="T42" fmla="*/ 0 w 174"/>
                <a:gd name="T43" fmla="*/ 2147483647 h 306"/>
                <a:gd name="T44" fmla="*/ 2147483647 w 174"/>
                <a:gd name="T45" fmla="*/ 2147483647 h 306"/>
                <a:gd name="T46" fmla="*/ 2147483647 w 174"/>
                <a:gd name="T47" fmla="*/ 2147483647 h 306"/>
                <a:gd name="T48" fmla="*/ 2147483647 w 174"/>
                <a:gd name="T49" fmla="*/ 2147483647 h 306"/>
                <a:gd name="T50" fmla="*/ 2147483647 w 174"/>
                <a:gd name="T51" fmla="*/ 2147483647 h 306"/>
                <a:gd name="T52" fmla="*/ 2147483647 w 174"/>
                <a:gd name="T53" fmla="*/ 2147483647 h 306"/>
                <a:gd name="T54" fmla="*/ 0 w 174"/>
                <a:gd name="T55" fmla="*/ 2147483647 h 306"/>
                <a:gd name="T56" fmla="*/ 2147483647 w 174"/>
                <a:gd name="T57" fmla="*/ 2147483647 h 306"/>
                <a:gd name="T58" fmla="*/ 2147483647 w 174"/>
                <a:gd name="T59" fmla="*/ 2147483647 h 30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74"/>
                <a:gd name="T91" fmla="*/ 0 h 306"/>
                <a:gd name="T92" fmla="*/ 174 w 174"/>
                <a:gd name="T93" fmla="*/ 306 h 30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74" h="306">
                  <a:moveTo>
                    <a:pt x="24" y="6"/>
                  </a:moveTo>
                  <a:lnTo>
                    <a:pt x="36" y="0"/>
                  </a:lnTo>
                  <a:lnTo>
                    <a:pt x="48" y="0"/>
                  </a:lnTo>
                  <a:lnTo>
                    <a:pt x="66" y="6"/>
                  </a:lnTo>
                  <a:lnTo>
                    <a:pt x="78" y="12"/>
                  </a:lnTo>
                  <a:lnTo>
                    <a:pt x="114" y="66"/>
                  </a:lnTo>
                  <a:lnTo>
                    <a:pt x="132" y="84"/>
                  </a:lnTo>
                  <a:lnTo>
                    <a:pt x="126" y="120"/>
                  </a:lnTo>
                  <a:lnTo>
                    <a:pt x="150" y="114"/>
                  </a:lnTo>
                  <a:lnTo>
                    <a:pt x="156" y="168"/>
                  </a:lnTo>
                  <a:lnTo>
                    <a:pt x="162" y="174"/>
                  </a:lnTo>
                  <a:lnTo>
                    <a:pt x="168" y="198"/>
                  </a:lnTo>
                  <a:lnTo>
                    <a:pt x="174" y="228"/>
                  </a:lnTo>
                  <a:lnTo>
                    <a:pt x="174" y="258"/>
                  </a:lnTo>
                  <a:lnTo>
                    <a:pt x="156" y="276"/>
                  </a:lnTo>
                  <a:lnTo>
                    <a:pt x="120" y="294"/>
                  </a:lnTo>
                  <a:lnTo>
                    <a:pt x="84" y="306"/>
                  </a:lnTo>
                  <a:lnTo>
                    <a:pt x="48" y="306"/>
                  </a:lnTo>
                  <a:lnTo>
                    <a:pt x="24" y="282"/>
                  </a:lnTo>
                  <a:lnTo>
                    <a:pt x="12" y="240"/>
                  </a:lnTo>
                  <a:lnTo>
                    <a:pt x="0" y="192"/>
                  </a:lnTo>
                  <a:lnTo>
                    <a:pt x="0" y="156"/>
                  </a:lnTo>
                  <a:lnTo>
                    <a:pt x="12" y="138"/>
                  </a:lnTo>
                  <a:lnTo>
                    <a:pt x="18" y="132"/>
                  </a:lnTo>
                  <a:lnTo>
                    <a:pt x="24" y="120"/>
                  </a:lnTo>
                  <a:lnTo>
                    <a:pt x="30" y="102"/>
                  </a:lnTo>
                  <a:lnTo>
                    <a:pt x="30" y="78"/>
                  </a:lnTo>
                  <a:lnTo>
                    <a:pt x="0" y="36"/>
                  </a:lnTo>
                  <a:lnTo>
                    <a:pt x="24" y="36"/>
                  </a:lnTo>
                  <a:lnTo>
                    <a:pt x="24" y="6"/>
                  </a:lnTo>
                  <a:close/>
                </a:path>
              </a:pathLst>
            </a:custGeom>
            <a:solidFill>
              <a:schemeClr val="accent1">
                <a:lumMod val="75000"/>
              </a:schemeClr>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36" name="Spain" descr="© INSCALE GmbH, 05.05.2010&#10;http://www.presentationload.com/">
              <a:extLst>
                <a:ext uri="{FF2B5EF4-FFF2-40B4-BE49-F238E27FC236}">
                  <a16:creationId xmlns:a16="http://schemas.microsoft.com/office/drawing/2014/main" id="{66D0ADEF-6DA8-4B6A-286F-BEA3E232BEE7}"/>
                </a:ext>
              </a:extLst>
            </p:cNvPr>
            <p:cNvSpPr>
              <a:spLocks noEditPoints="1"/>
            </p:cNvSpPr>
            <p:nvPr/>
          </p:nvSpPr>
          <p:spPr bwMode="gray">
            <a:xfrm>
              <a:off x="4030823" y="1882856"/>
              <a:ext cx="332051" cy="234216"/>
            </a:xfrm>
            <a:custGeom>
              <a:avLst/>
              <a:gdLst>
                <a:gd name="T0" fmla="*/ 2147483647 w 876"/>
                <a:gd name="T1" fmla="*/ 2147483647 h 618"/>
                <a:gd name="T2" fmla="*/ 2147483647 w 876"/>
                <a:gd name="T3" fmla="*/ 2147483647 h 618"/>
                <a:gd name="T4" fmla="*/ 2147483647 w 876"/>
                <a:gd name="T5" fmla="*/ 2147483647 h 618"/>
                <a:gd name="T6" fmla="*/ 2147483647 w 876"/>
                <a:gd name="T7" fmla="*/ 2147483647 h 618"/>
                <a:gd name="T8" fmla="*/ 2147483647 w 876"/>
                <a:gd name="T9" fmla="*/ 2147483647 h 618"/>
                <a:gd name="T10" fmla="*/ 2147483647 w 876"/>
                <a:gd name="T11" fmla="*/ 2147483647 h 618"/>
                <a:gd name="T12" fmla="*/ 2147483647 w 876"/>
                <a:gd name="T13" fmla="*/ 2147483647 h 618"/>
                <a:gd name="T14" fmla="*/ 2147483647 w 876"/>
                <a:gd name="T15" fmla="*/ 2147483647 h 618"/>
                <a:gd name="T16" fmla="*/ 2147483647 w 876"/>
                <a:gd name="T17" fmla="*/ 2147483647 h 618"/>
                <a:gd name="T18" fmla="*/ 2147483647 w 876"/>
                <a:gd name="T19" fmla="*/ 2147483647 h 618"/>
                <a:gd name="T20" fmla="*/ 2147483647 w 876"/>
                <a:gd name="T21" fmla="*/ 2147483647 h 618"/>
                <a:gd name="T22" fmla="*/ 2147483647 w 876"/>
                <a:gd name="T23" fmla="*/ 2147483647 h 618"/>
                <a:gd name="T24" fmla="*/ 2147483647 w 876"/>
                <a:gd name="T25" fmla="*/ 2147483647 h 618"/>
                <a:gd name="T26" fmla="*/ 2147483647 w 876"/>
                <a:gd name="T27" fmla="*/ 2147483647 h 618"/>
                <a:gd name="T28" fmla="*/ 2147483647 w 876"/>
                <a:gd name="T29" fmla="*/ 2147483647 h 618"/>
                <a:gd name="T30" fmla="*/ 2147483647 w 876"/>
                <a:gd name="T31" fmla="*/ 2147483647 h 618"/>
                <a:gd name="T32" fmla="*/ 2147483647 w 876"/>
                <a:gd name="T33" fmla="*/ 2147483647 h 618"/>
                <a:gd name="T34" fmla="*/ 2147483647 w 876"/>
                <a:gd name="T35" fmla="*/ 2147483647 h 618"/>
                <a:gd name="T36" fmla="*/ 2147483647 w 876"/>
                <a:gd name="T37" fmla="*/ 2147483647 h 618"/>
                <a:gd name="T38" fmla="*/ 2147483647 w 876"/>
                <a:gd name="T39" fmla="*/ 2147483647 h 618"/>
                <a:gd name="T40" fmla="*/ 2147483647 w 876"/>
                <a:gd name="T41" fmla="*/ 0 h 618"/>
                <a:gd name="T42" fmla="*/ 2147483647 w 876"/>
                <a:gd name="T43" fmla="*/ 2147483647 h 618"/>
                <a:gd name="T44" fmla="*/ 0 w 876"/>
                <a:gd name="T45" fmla="*/ 2147483647 h 618"/>
                <a:gd name="T46" fmla="*/ 2147483647 w 876"/>
                <a:gd name="T47" fmla="*/ 2147483647 h 618"/>
                <a:gd name="T48" fmla="*/ 2147483647 w 876"/>
                <a:gd name="T49" fmla="*/ 2147483647 h 618"/>
                <a:gd name="T50" fmla="*/ 2147483647 w 876"/>
                <a:gd name="T51" fmla="*/ 2147483647 h 618"/>
                <a:gd name="T52" fmla="*/ 2147483647 w 876"/>
                <a:gd name="T53" fmla="*/ 2147483647 h 618"/>
                <a:gd name="T54" fmla="*/ 2147483647 w 876"/>
                <a:gd name="T55" fmla="*/ 2147483647 h 618"/>
                <a:gd name="T56" fmla="*/ 2147483647 w 876"/>
                <a:gd name="T57" fmla="*/ 2147483647 h 618"/>
                <a:gd name="T58" fmla="*/ 2147483647 w 876"/>
                <a:gd name="T59" fmla="*/ 2147483647 h 618"/>
                <a:gd name="T60" fmla="*/ 2147483647 w 876"/>
                <a:gd name="T61" fmla="*/ 2147483647 h 618"/>
                <a:gd name="T62" fmla="*/ 2147483647 w 876"/>
                <a:gd name="T63" fmla="*/ 2147483647 h 618"/>
                <a:gd name="T64" fmla="*/ 2147483647 w 876"/>
                <a:gd name="T65" fmla="*/ 2147483647 h 618"/>
                <a:gd name="T66" fmla="*/ 2147483647 w 876"/>
                <a:gd name="T67" fmla="*/ 2147483647 h 618"/>
                <a:gd name="T68" fmla="*/ 2147483647 w 876"/>
                <a:gd name="T69" fmla="*/ 2147483647 h 618"/>
                <a:gd name="T70" fmla="*/ 2147483647 w 876"/>
                <a:gd name="T71" fmla="*/ 2147483647 h 618"/>
                <a:gd name="T72" fmla="*/ 2147483647 w 876"/>
                <a:gd name="T73" fmla="*/ 2147483647 h 618"/>
                <a:gd name="T74" fmla="*/ 2147483647 w 876"/>
                <a:gd name="T75" fmla="*/ 2147483647 h 618"/>
                <a:gd name="T76" fmla="*/ 2147483647 w 876"/>
                <a:gd name="T77" fmla="*/ 2147483647 h 618"/>
                <a:gd name="T78" fmla="*/ 2147483647 w 876"/>
                <a:gd name="T79" fmla="*/ 2147483647 h 618"/>
                <a:gd name="T80" fmla="*/ 2147483647 w 876"/>
                <a:gd name="T81" fmla="*/ 2147483647 h 618"/>
                <a:gd name="T82" fmla="*/ 2147483647 w 876"/>
                <a:gd name="T83" fmla="*/ 2147483647 h 618"/>
                <a:gd name="T84" fmla="*/ 2147483647 w 876"/>
                <a:gd name="T85" fmla="*/ 2147483647 h 618"/>
                <a:gd name="T86" fmla="*/ 2147483647 w 876"/>
                <a:gd name="T87" fmla="*/ 2147483647 h 618"/>
                <a:gd name="T88" fmla="*/ 2147483647 w 876"/>
                <a:gd name="T89" fmla="*/ 2147483647 h 618"/>
                <a:gd name="T90" fmla="*/ 2147483647 w 876"/>
                <a:gd name="T91" fmla="*/ 2147483647 h 618"/>
                <a:gd name="T92" fmla="*/ 2147483647 w 876"/>
                <a:gd name="T93" fmla="*/ 2147483647 h 618"/>
                <a:gd name="T94" fmla="*/ 2147483647 w 876"/>
                <a:gd name="T95" fmla="*/ 2147483647 h 618"/>
                <a:gd name="T96" fmla="*/ 2147483647 w 876"/>
                <a:gd name="T97" fmla="*/ 2147483647 h 618"/>
                <a:gd name="T98" fmla="*/ 2147483647 w 876"/>
                <a:gd name="T99" fmla="*/ 2147483647 h 618"/>
                <a:gd name="T100" fmla="*/ 2147483647 w 876"/>
                <a:gd name="T101" fmla="*/ 2147483647 h 618"/>
                <a:gd name="T102" fmla="*/ 2147483647 w 876"/>
                <a:gd name="T103" fmla="*/ 2147483647 h 618"/>
                <a:gd name="T104" fmla="*/ 2147483647 w 876"/>
                <a:gd name="T105" fmla="*/ 2147483647 h 618"/>
                <a:gd name="T106" fmla="*/ 2147483647 w 876"/>
                <a:gd name="T107" fmla="*/ 2147483647 h 618"/>
                <a:gd name="T108" fmla="*/ 2147483647 w 876"/>
                <a:gd name="T109" fmla="*/ 2147483647 h 61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76"/>
                <a:gd name="T166" fmla="*/ 0 h 618"/>
                <a:gd name="T167" fmla="*/ 876 w 876"/>
                <a:gd name="T168" fmla="*/ 618 h 61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76" h="618">
                  <a:moveTo>
                    <a:pt x="804" y="318"/>
                  </a:moveTo>
                  <a:lnTo>
                    <a:pt x="798" y="312"/>
                  </a:lnTo>
                  <a:lnTo>
                    <a:pt x="798" y="306"/>
                  </a:lnTo>
                  <a:lnTo>
                    <a:pt x="786" y="306"/>
                  </a:lnTo>
                  <a:lnTo>
                    <a:pt x="762" y="318"/>
                  </a:lnTo>
                  <a:lnTo>
                    <a:pt x="750" y="330"/>
                  </a:lnTo>
                  <a:lnTo>
                    <a:pt x="750" y="336"/>
                  </a:lnTo>
                  <a:lnTo>
                    <a:pt x="756" y="342"/>
                  </a:lnTo>
                  <a:lnTo>
                    <a:pt x="768" y="342"/>
                  </a:lnTo>
                  <a:lnTo>
                    <a:pt x="774" y="348"/>
                  </a:lnTo>
                  <a:lnTo>
                    <a:pt x="774" y="354"/>
                  </a:lnTo>
                  <a:lnTo>
                    <a:pt x="804" y="354"/>
                  </a:lnTo>
                  <a:lnTo>
                    <a:pt x="816" y="342"/>
                  </a:lnTo>
                  <a:lnTo>
                    <a:pt x="816" y="324"/>
                  </a:lnTo>
                  <a:lnTo>
                    <a:pt x="810" y="318"/>
                  </a:lnTo>
                  <a:lnTo>
                    <a:pt x="804" y="318"/>
                  </a:lnTo>
                  <a:close/>
                  <a:moveTo>
                    <a:pt x="672" y="390"/>
                  </a:moveTo>
                  <a:lnTo>
                    <a:pt x="678" y="396"/>
                  </a:lnTo>
                  <a:lnTo>
                    <a:pt x="684" y="396"/>
                  </a:lnTo>
                  <a:lnTo>
                    <a:pt x="690" y="390"/>
                  </a:lnTo>
                  <a:lnTo>
                    <a:pt x="690" y="372"/>
                  </a:lnTo>
                  <a:lnTo>
                    <a:pt x="684" y="372"/>
                  </a:lnTo>
                  <a:lnTo>
                    <a:pt x="672" y="384"/>
                  </a:lnTo>
                  <a:lnTo>
                    <a:pt x="672" y="390"/>
                  </a:lnTo>
                  <a:close/>
                  <a:moveTo>
                    <a:pt x="840" y="300"/>
                  </a:moveTo>
                  <a:lnTo>
                    <a:pt x="840" y="306"/>
                  </a:lnTo>
                  <a:lnTo>
                    <a:pt x="852" y="318"/>
                  </a:lnTo>
                  <a:lnTo>
                    <a:pt x="870" y="318"/>
                  </a:lnTo>
                  <a:lnTo>
                    <a:pt x="876" y="312"/>
                  </a:lnTo>
                  <a:lnTo>
                    <a:pt x="864" y="300"/>
                  </a:lnTo>
                  <a:lnTo>
                    <a:pt x="852" y="300"/>
                  </a:lnTo>
                  <a:lnTo>
                    <a:pt x="846" y="294"/>
                  </a:lnTo>
                  <a:lnTo>
                    <a:pt x="840" y="300"/>
                  </a:lnTo>
                  <a:close/>
                  <a:moveTo>
                    <a:pt x="804" y="150"/>
                  </a:moveTo>
                  <a:lnTo>
                    <a:pt x="798" y="138"/>
                  </a:lnTo>
                  <a:lnTo>
                    <a:pt x="798" y="132"/>
                  </a:lnTo>
                  <a:lnTo>
                    <a:pt x="810" y="120"/>
                  </a:lnTo>
                  <a:lnTo>
                    <a:pt x="798" y="114"/>
                  </a:lnTo>
                  <a:lnTo>
                    <a:pt x="792" y="108"/>
                  </a:lnTo>
                  <a:lnTo>
                    <a:pt x="792" y="102"/>
                  </a:lnTo>
                  <a:lnTo>
                    <a:pt x="780" y="102"/>
                  </a:lnTo>
                  <a:lnTo>
                    <a:pt x="780" y="108"/>
                  </a:lnTo>
                  <a:lnTo>
                    <a:pt x="774" y="114"/>
                  </a:lnTo>
                  <a:lnTo>
                    <a:pt x="756" y="114"/>
                  </a:lnTo>
                  <a:lnTo>
                    <a:pt x="750" y="108"/>
                  </a:lnTo>
                  <a:lnTo>
                    <a:pt x="726" y="108"/>
                  </a:lnTo>
                  <a:lnTo>
                    <a:pt x="726" y="102"/>
                  </a:lnTo>
                  <a:lnTo>
                    <a:pt x="708" y="102"/>
                  </a:lnTo>
                  <a:lnTo>
                    <a:pt x="696" y="108"/>
                  </a:lnTo>
                  <a:lnTo>
                    <a:pt x="690" y="84"/>
                  </a:lnTo>
                  <a:lnTo>
                    <a:pt x="672" y="84"/>
                  </a:lnTo>
                  <a:lnTo>
                    <a:pt x="672" y="78"/>
                  </a:lnTo>
                  <a:lnTo>
                    <a:pt x="666" y="72"/>
                  </a:lnTo>
                  <a:lnTo>
                    <a:pt x="648" y="72"/>
                  </a:lnTo>
                  <a:lnTo>
                    <a:pt x="642" y="78"/>
                  </a:lnTo>
                  <a:lnTo>
                    <a:pt x="642" y="90"/>
                  </a:lnTo>
                  <a:lnTo>
                    <a:pt x="624" y="96"/>
                  </a:lnTo>
                  <a:lnTo>
                    <a:pt x="624" y="84"/>
                  </a:lnTo>
                  <a:lnTo>
                    <a:pt x="594" y="84"/>
                  </a:lnTo>
                  <a:lnTo>
                    <a:pt x="582" y="72"/>
                  </a:lnTo>
                  <a:lnTo>
                    <a:pt x="570" y="72"/>
                  </a:lnTo>
                  <a:lnTo>
                    <a:pt x="564" y="78"/>
                  </a:lnTo>
                  <a:lnTo>
                    <a:pt x="546" y="60"/>
                  </a:lnTo>
                  <a:lnTo>
                    <a:pt x="510" y="60"/>
                  </a:lnTo>
                  <a:lnTo>
                    <a:pt x="516" y="54"/>
                  </a:lnTo>
                  <a:lnTo>
                    <a:pt x="516" y="48"/>
                  </a:lnTo>
                  <a:lnTo>
                    <a:pt x="504" y="36"/>
                  </a:lnTo>
                  <a:lnTo>
                    <a:pt x="498" y="36"/>
                  </a:lnTo>
                  <a:lnTo>
                    <a:pt x="492" y="42"/>
                  </a:lnTo>
                  <a:lnTo>
                    <a:pt x="486" y="36"/>
                  </a:lnTo>
                  <a:lnTo>
                    <a:pt x="450" y="36"/>
                  </a:lnTo>
                  <a:lnTo>
                    <a:pt x="390" y="24"/>
                  </a:lnTo>
                  <a:lnTo>
                    <a:pt x="378" y="24"/>
                  </a:lnTo>
                  <a:lnTo>
                    <a:pt x="348" y="36"/>
                  </a:lnTo>
                  <a:lnTo>
                    <a:pt x="294" y="30"/>
                  </a:lnTo>
                  <a:lnTo>
                    <a:pt x="258" y="12"/>
                  </a:lnTo>
                  <a:lnTo>
                    <a:pt x="234" y="12"/>
                  </a:lnTo>
                  <a:lnTo>
                    <a:pt x="216" y="18"/>
                  </a:lnTo>
                  <a:lnTo>
                    <a:pt x="162" y="18"/>
                  </a:lnTo>
                  <a:lnTo>
                    <a:pt x="150" y="12"/>
                  </a:lnTo>
                  <a:lnTo>
                    <a:pt x="138" y="12"/>
                  </a:lnTo>
                  <a:lnTo>
                    <a:pt x="126" y="6"/>
                  </a:lnTo>
                  <a:lnTo>
                    <a:pt x="120" y="0"/>
                  </a:lnTo>
                  <a:lnTo>
                    <a:pt x="108" y="0"/>
                  </a:lnTo>
                  <a:lnTo>
                    <a:pt x="96" y="6"/>
                  </a:lnTo>
                  <a:lnTo>
                    <a:pt x="72" y="30"/>
                  </a:lnTo>
                  <a:lnTo>
                    <a:pt x="60" y="30"/>
                  </a:lnTo>
                  <a:lnTo>
                    <a:pt x="48" y="36"/>
                  </a:lnTo>
                  <a:lnTo>
                    <a:pt x="30" y="36"/>
                  </a:lnTo>
                  <a:lnTo>
                    <a:pt x="6" y="48"/>
                  </a:lnTo>
                  <a:lnTo>
                    <a:pt x="0" y="60"/>
                  </a:lnTo>
                  <a:lnTo>
                    <a:pt x="0" y="72"/>
                  </a:lnTo>
                  <a:lnTo>
                    <a:pt x="6" y="78"/>
                  </a:lnTo>
                  <a:lnTo>
                    <a:pt x="12" y="90"/>
                  </a:lnTo>
                  <a:lnTo>
                    <a:pt x="24" y="96"/>
                  </a:lnTo>
                  <a:lnTo>
                    <a:pt x="30" y="102"/>
                  </a:lnTo>
                  <a:lnTo>
                    <a:pt x="18" y="138"/>
                  </a:lnTo>
                  <a:lnTo>
                    <a:pt x="24" y="144"/>
                  </a:lnTo>
                  <a:lnTo>
                    <a:pt x="24" y="150"/>
                  </a:lnTo>
                  <a:lnTo>
                    <a:pt x="30" y="144"/>
                  </a:lnTo>
                  <a:lnTo>
                    <a:pt x="54" y="132"/>
                  </a:lnTo>
                  <a:lnTo>
                    <a:pt x="78" y="132"/>
                  </a:lnTo>
                  <a:lnTo>
                    <a:pt x="78" y="138"/>
                  </a:lnTo>
                  <a:lnTo>
                    <a:pt x="66" y="150"/>
                  </a:lnTo>
                  <a:lnTo>
                    <a:pt x="60" y="150"/>
                  </a:lnTo>
                  <a:lnTo>
                    <a:pt x="60" y="156"/>
                  </a:lnTo>
                  <a:lnTo>
                    <a:pt x="72" y="156"/>
                  </a:lnTo>
                  <a:lnTo>
                    <a:pt x="78" y="150"/>
                  </a:lnTo>
                  <a:lnTo>
                    <a:pt x="96" y="150"/>
                  </a:lnTo>
                  <a:lnTo>
                    <a:pt x="102" y="156"/>
                  </a:lnTo>
                  <a:lnTo>
                    <a:pt x="114" y="156"/>
                  </a:lnTo>
                  <a:lnTo>
                    <a:pt x="120" y="150"/>
                  </a:lnTo>
                  <a:lnTo>
                    <a:pt x="120" y="144"/>
                  </a:lnTo>
                  <a:lnTo>
                    <a:pt x="174" y="144"/>
                  </a:lnTo>
                  <a:lnTo>
                    <a:pt x="174" y="162"/>
                  </a:lnTo>
                  <a:lnTo>
                    <a:pt x="180" y="162"/>
                  </a:lnTo>
                  <a:lnTo>
                    <a:pt x="192" y="168"/>
                  </a:lnTo>
                  <a:lnTo>
                    <a:pt x="192" y="174"/>
                  </a:lnTo>
                  <a:lnTo>
                    <a:pt x="168" y="198"/>
                  </a:lnTo>
                  <a:lnTo>
                    <a:pt x="144" y="210"/>
                  </a:lnTo>
                  <a:lnTo>
                    <a:pt x="138" y="216"/>
                  </a:lnTo>
                  <a:lnTo>
                    <a:pt x="138" y="222"/>
                  </a:lnTo>
                  <a:lnTo>
                    <a:pt x="144" y="222"/>
                  </a:lnTo>
                  <a:lnTo>
                    <a:pt x="150" y="228"/>
                  </a:lnTo>
                  <a:lnTo>
                    <a:pt x="150" y="240"/>
                  </a:lnTo>
                  <a:lnTo>
                    <a:pt x="144" y="258"/>
                  </a:lnTo>
                  <a:lnTo>
                    <a:pt x="144" y="276"/>
                  </a:lnTo>
                  <a:lnTo>
                    <a:pt x="138" y="276"/>
                  </a:lnTo>
                  <a:lnTo>
                    <a:pt x="132" y="282"/>
                  </a:lnTo>
                  <a:lnTo>
                    <a:pt x="132" y="294"/>
                  </a:lnTo>
                  <a:lnTo>
                    <a:pt x="138" y="300"/>
                  </a:lnTo>
                  <a:lnTo>
                    <a:pt x="138" y="312"/>
                  </a:lnTo>
                  <a:lnTo>
                    <a:pt x="126" y="324"/>
                  </a:lnTo>
                  <a:lnTo>
                    <a:pt x="90" y="324"/>
                  </a:lnTo>
                  <a:lnTo>
                    <a:pt x="114" y="348"/>
                  </a:lnTo>
                  <a:lnTo>
                    <a:pt x="114" y="360"/>
                  </a:lnTo>
                  <a:lnTo>
                    <a:pt x="120" y="366"/>
                  </a:lnTo>
                  <a:lnTo>
                    <a:pt x="132" y="372"/>
                  </a:lnTo>
                  <a:lnTo>
                    <a:pt x="132" y="378"/>
                  </a:lnTo>
                  <a:lnTo>
                    <a:pt x="120" y="390"/>
                  </a:lnTo>
                  <a:lnTo>
                    <a:pt x="108" y="396"/>
                  </a:lnTo>
                  <a:lnTo>
                    <a:pt x="96" y="408"/>
                  </a:lnTo>
                  <a:lnTo>
                    <a:pt x="96" y="414"/>
                  </a:lnTo>
                  <a:lnTo>
                    <a:pt x="102" y="420"/>
                  </a:lnTo>
                  <a:lnTo>
                    <a:pt x="102" y="426"/>
                  </a:lnTo>
                  <a:lnTo>
                    <a:pt x="108" y="438"/>
                  </a:lnTo>
                  <a:lnTo>
                    <a:pt x="114" y="444"/>
                  </a:lnTo>
                  <a:lnTo>
                    <a:pt x="126" y="444"/>
                  </a:lnTo>
                  <a:lnTo>
                    <a:pt x="126" y="450"/>
                  </a:lnTo>
                  <a:lnTo>
                    <a:pt x="114" y="462"/>
                  </a:lnTo>
                  <a:lnTo>
                    <a:pt x="102" y="462"/>
                  </a:lnTo>
                  <a:lnTo>
                    <a:pt x="96" y="474"/>
                  </a:lnTo>
                  <a:lnTo>
                    <a:pt x="90" y="480"/>
                  </a:lnTo>
                  <a:lnTo>
                    <a:pt x="90" y="528"/>
                  </a:lnTo>
                  <a:lnTo>
                    <a:pt x="120" y="528"/>
                  </a:lnTo>
                  <a:lnTo>
                    <a:pt x="144" y="546"/>
                  </a:lnTo>
                  <a:lnTo>
                    <a:pt x="162" y="546"/>
                  </a:lnTo>
                  <a:lnTo>
                    <a:pt x="156" y="576"/>
                  </a:lnTo>
                  <a:lnTo>
                    <a:pt x="162" y="576"/>
                  </a:lnTo>
                  <a:lnTo>
                    <a:pt x="162" y="594"/>
                  </a:lnTo>
                  <a:lnTo>
                    <a:pt x="168" y="606"/>
                  </a:lnTo>
                  <a:lnTo>
                    <a:pt x="174" y="612"/>
                  </a:lnTo>
                  <a:lnTo>
                    <a:pt x="192" y="612"/>
                  </a:lnTo>
                  <a:lnTo>
                    <a:pt x="198" y="618"/>
                  </a:lnTo>
                  <a:lnTo>
                    <a:pt x="204" y="618"/>
                  </a:lnTo>
                  <a:lnTo>
                    <a:pt x="210" y="612"/>
                  </a:lnTo>
                  <a:lnTo>
                    <a:pt x="222" y="606"/>
                  </a:lnTo>
                  <a:lnTo>
                    <a:pt x="240" y="588"/>
                  </a:lnTo>
                  <a:lnTo>
                    <a:pt x="252" y="582"/>
                  </a:lnTo>
                  <a:lnTo>
                    <a:pt x="264" y="582"/>
                  </a:lnTo>
                  <a:lnTo>
                    <a:pt x="294" y="564"/>
                  </a:lnTo>
                  <a:lnTo>
                    <a:pt x="360" y="564"/>
                  </a:lnTo>
                  <a:lnTo>
                    <a:pt x="366" y="558"/>
                  </a:lnTo>
                  <a:lnTo>
                    <a:pt x="378" y="558"/>
                  </a:lnTo>
                  <a:lnTo>
                    <a:pt x="390" y="570"/>
                  </a:lnTo>
                  <a:lnTo>
                    <a:pt x="396" y="570"/>
                  </a:lnTo>
                  <a:lnTo>
                    <a:pt x="408" y="564"/>
                  </a:lnTo>
                  <a:lnTo>
                    <a:pt x="420" y="564"/>
                  </a:lnTo>
                  <a:lnTo>
                    <a:pt x="426" y="558"/>
                  </a:lnTo>
                  <a:lnTo>
                    <a:pt x="432" y="558"/>
                  </a:lnTo>
                  <a:lnTo>
                    <a:pt x="432" y="570"/>
                  </a:lnTo>
                  <a:lnTo>
                    <a:pt x="438" y="570"/>
                  </a:lnTo>
                  <a:lnTo>
                    <a:pt x="450" y="558"/>
                  </a:lnTo>
                  <a:lnTo>
                    <a:pt x="462" y="534"/>
                  </a:lnTo>
                  <a:lnTo>
                    <a:pt x="462" y="522"/>
                  </a:lnTo>
                  <a:lnTo>
                    <a:pt x="498" y="492"/>
                  </a:lnTo>
                  <a:lnTo>
                    <a:pt x="528" y="492"/>
                  </a:lnTo>
                  <a:lnTo>
                    <a:pt x="534" y="474"/>
                  </a:lnTo>
                  <a:lnTo>
                    <a:pt x="534" y="468"/>
                  </a:lnTo>
                  <a:lnTo>
                    <a:pt x="540" y="462"/>
                  </a:lnTo>
                  <a:lnTo>
                    <a:pt x="540" y="450"/>
                  </a:lnTo>
                  <a:lnTo>
                    <a:pt x="546" y="444"/>
                  </a:lnTo>
                  <a:lnTo>
                    <a:pt x="552" y="432"/>
                  </a:lnTo>
                  <a:lnTo>
                    <a:pt x="552" y="426"/>
                  </a:lnTo>
                  <a:lnTo>
                    <a:pt x="570" y="426"/>
                  </a:lnTo>
                  <a:lnTo>
                    <a:pt x="594" y="414"/>
                  </a:lnTo>
                  <a:lnTo>
                    <a:pt x="600" y="408"/>
                  </a:lnTo>
                  <a:lnTo>
                    <a:pt x="594" y="396"/>
                  </a:lnTo>
                  <a:lnTo>
                    <a:pt x="588" y="390"/>
                  </a:lnTo>
                  <a:lnTo>
                    <a:pt x="582" y="378"/>
                  </a:lnTo>
                  <a:lnTo>
                    <a:pt x="576" y="372"/>
                  </a:lnTo>
                  <a:lnTo>
                    <a:pt x="570" y="372"/>
                  </a:lnTo>
                  <a:lnTo>
                    <a:pt x="570" y="336"/>
                  </a:lnTo>
                  <a:lnTo>
                    <a:pt x="582" y="312"/>
                  </a:lnTo>
                  <a:lnTo>
                    <a:pt x="594" y="306"/>
                  </a:lnTo>
                  <a:lnTo>
                    <a:pt x="600" y="294"/>
                  </a:lnTo>
                  <a:lnTo>
                    <a:pt x="612" y="282"/>
                  </a:lnTo>
                  <a:lnTo>
                    <a:pt x="618" y="270"/>
                  </a:lnTo>
                  <a:lnTo>
                    <a:pt x="630" y="258"/>
                  </a:lnTo>
                  <a:lnTo>
                    <a:pt x="642" y="258"/>
                  </a:lnTo>
                  <a:lnTo>
                    <a:pt x="654" y="246"/>
                  </a:lnTo>
                  <a:lnTo>
                    <a:pt x="654" y="240"/>
                  </a:lnTo>
                  <a:lnTo>
                    <a:pt x="648" y="240"/>
                  </a:lnTo>
                  <a:lnTo>
                    <a:pt x="648" y="228"/>
                  </a:lnTo>
                  <a:lnTo>
                    <a:pt x="654" y="222"/>
                  </a:lnTo>
                  <a:lnTo>
                    <a:pt x="726" y="198"/>
                  </a:lnTo>
                  <a:lnTo>
                    <a:pt x="750" y="186"/>
                  </a:lnTo>
                  <a:lnTo>
                    <a:pt x="756" y="174"/>
                  </a:lnTo>
                  <a:lnTo>
                    <a:pt x="768" y="168"/>
                  </a:lnTo>
                  <a:lnTo>
                    <a:pt x="774" y="168"/>
                  </a:lnTo>
                  <a:lnTo>
                    <a:pt x="786" y="156"/>
                  </a:lnTo>
                  <a:lnTo>
                    <a:pt x="798" y="156"/>
                  </a:lnTo>
                  <a:lnTo>
                    <a:pt x="804" y="150"/>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37" name="South Africa" descr="© INSCALE GmbH, 05.05.2010&#10;http://www.presentationload.com/">
              <a:extLst>
                <a:ext uri="{FF2B5EF4-FFF2-40B4-BE49-F238E27FC236}">
                  <a16:creationId xmlns:a16="http://schemas.microsoft.com/office/drawing/2014/main" id="{7331C093-7A90-AFE7-4A49-4F4BB8389A89}"/>
                </a:ext>
              </a:extLst>
            </p:cNvPr>
            <p:cNvSpPr>
              <a:spLocks noEditPoints="1"/>
            </p:cNvSpPr>
            <p:nvPr/>
          </p:nvSpPr>
          <p:spPr bwMode="gray">
            <a:xfrm>
              <a:off x="4672692" y="3895926"/>
              <a:ext cx="429889" cy="386901"/>
            </a:xfrm>
            <a:custGeom>
              <a:avLst/>
              <a:gdLst>
                <a:gd name="T0" fmla="*/ 2147483647 w 1134"/>
                <a:gd name="T1" fmla="*/ 2147483647 h 1020"/>
                <a:gd name="T2" fmla="*/ 2147483647 w 1134"/>
                <a:gd name="T3" fmla="*/ 2147483647 h 1020"/>
                <a:gd name="T4" fmla="*/ 2147483647 w 1134"/>
                <a:gd name="T5" fmla="*/ 2147483647 h 1020"/>
                <a:gd name="T6" fmla="*/ 2147483647 w 1134"/>
                <a:gd name="T7" fmla="*/ 2147483647 h 1020"/>
                <a:gd name="T8" fmla="*/ 2147483647 w 1134"/>
                <a:gd name="T9" fmla="*/ 2147483647 h 1020"/>
                <a:gd name="T10" fmla="*/ 2147483647 w 1134"/>
                <a:gd name="T11" fmla="*/ 2147483647 h 1020"/>
                <a:gd name="T12" fmla="*/ 2147483647 w 1134"/>
                <a:gd name="T13" fmla="*/ 2147483647 h 1020"/>
                <a:gd name="T14" fmla="*/ 2147483647 w 1134"/>
                <a:gd name="T15" fmla="*/ 2147483647 h 1020"/>
                <a:gd name="T16" fmla="*/ 2147483647 w 1134"/>
                <a:gd name="T17" fmla="*/ 2147483647 h 1020"/>
                <a:gd name="T18" fmla="*/ 2147483647 w 1134"/>
                <a:gd name="T19" fmla="*/ 2147483647 h 1020"/>
                <a:gd name="T20" fmla="*/ 2147483647 w 1134"/>
                <a:gd name="T21" fmla="*/ 2147483647 h 1020"/>
                <a:gd name="T22" fmla="*/ 2147483647 w 1134"/>
                <a:gd name="T23" fmla="*/ 2147483647 h 1020"/>
                <a:gd name="T24" fmla="*/ 2147483647 w 1134"/>
                <a:gd name="T25" fmla="*/ 2147483647 h 1020"/>
                <a:gd name="T26" fmla="*/ 2147483647 w 1134"/>
                <a:gd name="T27" fmla="*/ 2147483647 h 1020"/>
                <a:gd name="T28" fmla="*/ 2147483647 w 1134"/>
                <a:gd name="T29" fmla="*/ 2147483647 h 1020"/>
                <a:gd name="T30" fmla="*/ 2147483647 w 1134"/>
                <a:gd name="T31" fmla="*/ 2147483647 h 1020"/>
                <a:gd name="T32" fmla="*/ 2147483647 w 1134"/>
                <a:gd name="T33" fmla="*/ 2147483647 h 1020"/>
                <a:gd name="T34" fmla="*/ 2147483647 w 1134"/>
                <a:gd name="T35" fmla="*/ 2147483647 h 1020"/>
                <a:gd name="T36" fmla="*/ 2147483647 w 1134"/>
                <a:gd name="T37" fmla="*/ 2147483647 h 1020"/>
                <a:gd name="T38" fmla="*/ 2147483647 w 1134"/>
                <a:gd name="T39" fmla="*/ 2147483647 h 1020"/>
                <a:gd name="T40" fmla="*/ 2147483647 w 1134"/>
                <a:gd name="T41" fmla="*/ 2147483647 h 1020"/>
                <a:gd name="T42" fmla="*/ 2147483647 w 1134"/>
                <a:gd name="T43" fmla="*/ 2147483647 h 1020"/>
                <a:gd name="T44" fmla="*/ 2147483647 w 1134"/>
                <a:gd name="T45" fmla="*/ 2147483647 h 1020"/>
                <a:gd name="T46" fmla="*/ 2147483647 w 1134"/>
                <a:gd name="T47" fmla="*/ 2147483647 h 1020"/>
                <a:gd name="T48" fmla="*/ 2147483647 w 1134"/>
                <a:gd name="T49" fmla="*/ 2147483647 h 1020"/>
                <a:gd name="T50" fmla="*/ 2147483647 w 1134"/>
                <a:gd name="T51" fmla="*/ 2147483647 h 1020"/>
                <a:gd name="T52" fmla="*/ 2147483647 w 1134"/>
                <a:gd name="T53" fmla="*/ 2147483647 h 1020"/>
                <a:gd name="T54" fmla="*/ 2147483647 w 1134"/>
                <a:gd name="T55" fmla="*/ 2147483647 h 1020"/>
                <a:gd name="T56" fmla="*/ 2147483647 w 1134"/>
                <a:gd name="T57" fmla="*/ 2147483647 h 1020"/>
                <a:gd name="T58" fmla="*/ 2147483647 w 1134"/>
                <a:gd name="T59" fmla="*/ 2147483647 h 1020"/>
                <a:gd name="T60" fmla="*/ 2147483647 w 1134"/>
                <a:gd name="T61" fmla="*/ 2147483647 h 1020"/>
                <a:gd name="T62" fmla="*/ 0 w 1134"/>
                <a:gd name="T63" fmla="*/ 2147483647 h 1020"/>
                <a:gd name="T64" fmla="*/ 2147483647 w 1134"/>
                <a:gd name="T65" fmla="*/ 2147483647 h 1020"/>
                <a:gd name="T66" fmla="*/ 2147483647 w 1134"/>
                <a:gd name="T67" fmla="*/ 2147483647 h 1020"/>
                <a:gd name="T68" fmla="*/ 2147483647 w 1134"/>
                <a:gd name="T69" fmla="*/ 2147483647 h 1020"/>
                <a:gd name="T70" fmla="*/ 2147483647 w 1134"/>
                <a:gd name="T71" fmla="*/ 2147483647 h 1020"/>
                <a:gd name="T72" fmla="*/ 2147483647 w 1134"/>
                <a:gd name="T73" fmla="*/ 2147483647 h 1020"/>
                <a:gd name="T74" fmla="*/ 2147483647 w 1134"/>
                <a:gd name="T75" fmla="*/ 2147483647 h 1020"/>
                <a:gd name="T76" fmla="*/ 2147483647 w 1134"/>
                <a:gd name="T77" fmla="*/ 2147483647 h 1020"/>
                <a:gd name="T78" fmla="*/ 2147483647 w 1134"/>
                <a:gd name="T79" fmla="*/ 2147483647 h 1020"/>
                <a:gd name="T80" fmla="*/ 2147483647 w 1134"/>
                <a:gd name="T81" fmla="*/ 2147483647 h 1020"/>
                <a:gd name="T82" fmla="*/ 2147483647 w 1134"/>
                <a:gd name="T83" fmla="*/ 2147483647 h 1020"/>
                <a:gd name="T84" fmla="*/ 2147483647 w 1134"/>
                <a:gd name="T85" fmla="*/ 2147483647 h 1020"/>
                <a:gd name="T86" fmla="*/ 2147483647 w 1134"/>
                <a:gd name="T87" fmla="*/ 2147483647 h 1020"/>
                <a:gd name="T88" fmla="*/ 2147483647 w 1134"/>
                <a:gd name="T89" fmla="*/ 2147483647 h 1020"/>
                <a:gd name="T90" fmla="*/ 2147483647 w 1134"/>
                <a:gd name="T91" fmla="*/ 2147483647 h 1020"/>
                <a:gd name="T92" fmla="*/ 2147483647 w 1134"/>
                <a:gd name="T93" fmla="*/ 2147483647 h 1020"/>
                <a:gd name="T94" fmla="*/ 2147483647 w 1134"/>
                <a:gd name="T95" fmla="*/ 2147483647 h 1020"/>
                <a:gd name="T96" fmla="*/ 2147483647 w 1134"/>
                <a:gd name="T97" fmla="*/ 2147483647 h 1020"/>
                <a:gd name="T98" fmla="*/ 2147483647 w 1134"/>
                <a:gd name="T99" fmla="*/ 2147483647 h 1020"/>
                <a:gd name="T100" fmla="*/ 2147483647 w 1134"/>
                <a:gd name="T101" fmla="*/ 2147483647 h 1020"/>
                <a:gd name="T102" fmla="*/ 2147483647 w 1134"/>
                <a:gd name="T103" fmla="*/ 2147483647 h 1020"/>
                <a:gd name="T104" fmla="*/ 2147483647 w 1134"/>
                <a:gd name="T105" fmla="*/ 2147483647 h 1020"/>
                <a:gd name="T106" fmla="*/ 2147483647 w 1134"/>
                <a:gd name="T107" fmla="*/ 2147483647 h 1020"/>
                <a:gd name="T108" fmla="*/ 2147483647 w 1134"/>
                <a:gd name="T109" fmla="*/ 2147483647 h 1020"/>
                <a:gd name="T110" fmla="*/ 2147483647 w 1134"/>
                <a:gd name="T111" fmla="*/ 2147483647 h 1020"/>
                <a:gd name="T112" fmla="*/ 2147483647 w 1134"/>
                <a:gd name="T113" fmla="*/ 2147483647 h 1020"/>
                <a:gd name="T114" fmla="*/ 2147483647 w 1134"/>
                <a:gd name="T115" fmla="*/ 2147483647 h 1020"/>
                <a:gd name="T116" fmla="*/ 2147483647 w 1134"/>
                <a:gd name="T117" fmla="*/ 2147483647 h 1020"/>
                <a:gd name="T118" fmla="*/ 2147483647 w 1134"/>
                <a:gd name="T119" fmla="*/ 2147483647 h 1020"/>
                <a:gd name="T120" fmla="*/ 2147483647 w 1134"/>
                <a:gd name="T121" fmla="*/ 2147483647 h 1020"/>
                <a:gd name="T122" fmla="*/ 2147483647 w 1134"/>
                <a:gd name="T123" fmla="*/ 2147483647 h 1020"/>
                <a:gd name="T124" fmla="*/ 2147483647 w 1134"/>
                <a:gd name="T125" fmla="*/ 2147483647 h 102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34"/>
                <a:gd name="T190" fmla="*/ 0 h 1020"/>
                <a:gd name="T191" fmla="*/ 1134 w 1134"/>
                <a:gd name="T192" fmla="*/ 1020 h 102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34" h="1020">
                  <a:moveTo>
                    <a:pt x="1116" y="372"/>
                  </a:moveTo>
                  <a:lnTo>
                    <a:pt x="1098" y="372"/>
                  </a:lnTo>
                  <a:lnTo>
                    <a:pt x="1092" y="378"/>
                  </a:lnTo>
                  <a:lnTo>
                    <a:pt x="1086" y="378"/>
                  </a:lnTo>
                  <a:lnTo>
                    <a:pt x="1074" y="420"/>
                  </a:lnTo>
                  <a:lnTo>
                    <a:pt x="1062" y="420"/>
                  </a:lnTo>
                  <a:lnTo>
                    <a:pt x="1050" y="414"/>
                  </a:lnTo>
                  <a:lnTo>
                    <a:pt x="1032" y="414"/>
                  </a:lnTo>
                  <a:lnTo>
                    <a:pt x="1020" y="402"/>
                  </a:lnTo>
                  <a:lnTo>
                    <a:pt x="1008" y="396"/>
                  </a:lnTo>
                  <a:lnTo>
                    <a:pt x="996" y="372"/>
                  </a:lnTo>
                  <a:lnTo>
                    <a:pt x="996" y="348"/>
                  </a:lnTo>
                  <a:lnTo>
                    <a:pt x="1002" y="336"/>
                  </a:lnTo>
                  <a:lnTo>
                    <a:pt x="1014" y="324"/>
                  </a:lnTo>
                  <a:lnTo>
                    <a:pt x="1014" y="312"/>
                  </a:lnTo>
                  <a:lnTo>
                    <a:pt x="1020" y="300"/>
                  </a:lnTo>
                  <a:lnTo>
                    <a:pt x="1032" y="288"/>
                  </a:lnTo>
                  <a:lnTo>
                    <a:pt x="1038" y="288"/>
                  </a:lnTo>
                  <a:lnTo>
                    <a:pt x="1050" y="294"/>
                  </a:lnTo>
                  <a:lnTo>
                    <a:pt x="1062" y="306"/>
                  </a:lnTo>
                  <a:lnTo>
                    <a:pt x="1086" y="270"/>
                  </a:lnTo>
                  <a:lnTo>
                    <a:pt x="1086" y="180"/>
                  </a:lnTo>
                  <a:lnTo>
                    <a:pt x="1056" y="120"/>
                  </a:lnTo>
                  <a:lnTo>
                    <a:pt x="1056" y="102"/>
                  </a:lnTo>
                  <a:lnTo>
                    <a:pt x="1050" y="90"/>
                  </a:lnTo>
                  <a:lnTo>
                    <a:pt x="1050" y="72"/>
                  </a:lnTo>
                  <a:lnTo>
                    <a:pt x="1044" y="54"/>
                  </a:lnTo>
                  <a:lnTo>
                    <a:pt x="1044" y="24"/>
                  </a:lnTo>
                  <a:lnTo>
                    <a:pt x="1026" y="12"/>
                  </a:lnTo>
                  <a:lnTo>
                    <a:pt x="966" y="12"/>
                  </a:lnTo>
                  <a:lnTo>
                    <a:pt x="954" y="6"/>
                  </a:lnTo>
                  <a:lnTo>
                    <a:pt x="948" y="6"/>
                  </a:lnTo>
                  <a:lnTo>
                    <a:pt x="936" y="0"/>
                  </a:lnTo>
                  <a:lnTo>
                    <a:pt x="876" y="0"/>
                  </a:lnTo>
                  <a:lnTo>
                    <a:pt x="864" y="24"/>
                  </a:lnTo>
                  <a:lnTo>
                    <a:pt x="852" y="24"/>
                  </a:lnTo>
                  <a:lnTo>
                    <a:pt x="840" y="30"/>
                  </a:lnTo>
                  <a:lnTo>
                    <a:pt x="828" y="30"/>
                  </a:lnTo>
                  <a:lnTo>
                    <a:pt x="822" y="36"/>
                  </a:lnTo>
                  <a:lnTo>
                    <a:pt x="810" y="60"/>
                  </a:lnTo>
                  <a:lnTo>
                    <a:pt x="768" y="102"/>
                  </a:lnTo>
                  <a:lnTo>
                    <a:pt x="756" y="108"/>
                  </a:lnTo>
                  <a:lnTo>
                    <a:pt x="750" y="108"/>
                  </a:lnTo>
                  <a:lnTo>
                    <a:pt x="738" y="114"/>
                  </a:lnTo>
                  <a:lnTo>
                    <a:pt x="726" y="138"/>
                  </a:lnTo>
                  <a:lnTo>
                    <a:pt x="726" y="174"/>
                  </a:lnTo>
                  <a:lnTo>
                    <a:pt x="714" y="180"/>
                  </a:lnTo>
                  <a:lnTo>
                    <a:pt x="708" y="192"/>
                  </a:lnTo>
                  <a:lnTo>
                    <a:pt x="702" y="198"/>
                  </a:lnTo>
                  <a:lnTo>
                    <a:pt x="690" y="204"/>
                  </a:lnTo>
                  <a:lnTo>
                    <a:pt x="672" y="210"/>
                  </a:lnTo>
                  <a:lnTo>
                    <a:pt x="654" y="228"/>
                  </a:lnTo>
                  <a:lnTo>
                    <a:pt x="654" y="240"/>
                  </a:lnTo>
                  <a:lnTo>
                    <a:pt x="648" y="252"/>
                  </a:lnTo>
                  <a:lnTo>
                    <a:pt x="642" y="270"/>
                  </a:lnTo>
                  <a:lnTo>
                    <a:pt x="636" y="282"/>
                  </a:lnTo>
                  <a:lnTo>
                    <a:pt x="630" y="288"/>
                  </a:lnTo>
                  <a:lnTo>
                    <a:pt x="618" y="294"/>
                  </a:lnTo>
                  <a:lnTo>
                    <a:pt x="606" y="294"/>
                  </a:lnTo>
                  <a:lnTo>
                    <a:pt x="600" y="288"/>
                  </a:lnTo>
                  <a:lnTo>
                    <a:pt x="594" y="294"/>
                  </a:lnTo>
                  <a:lnTo>
                    <a:pt x="582" y="300"/>
                  </a:lnTo>
                  <a:lnTo>
                    <a:pt x="570" y="300"/>
                  </a:lnTo>
                  <a:lnTo>
                    <a:pt x="564" y="294"/>
                  </a:lnTo>
                  <a:lnTo>
                    <a:pt x="552" y="288"/>
                  </a:lnTo>
                  <a:lnTo>
                    <a:pt x="546" y="282"/>
                  </a:lnTo>
                  <a:lnTo>
                    <a:pt x="516" y="282"/>
                  </a:lnTo>
                  <a:lnTo>
                    <a:pt x="504" y="270"/>
                  </a:lnTo>
                  <a:lnTo>
                    <a:pt x="492" y="264"/>
                  </a:lnTo>
                  <a:lnTo>
                    <a:pt x="486" y="258"/>
                  </a:lnTo>
                  <a:lnTo>
                    <a:pt x="474" y="252"/>
                  </a:lnTo>
                  <a:lnTo>
                    <a:pt x="462" y="252"/>
                  </a:lnTo>
                  <a:lnTo>
                    <a:pt x="450" y="258"/>
                  </a:lnTo>
                  <a:lnTo>
                    <a:pt x="444" y="264"/>
                  </a:lnTo>
                  <a:lnTo>
                    <a:pt x="438" y="276"/>
                  </a:lnTo>
                  <a:lnTo>
                    <a:pt x="438" y="288"/>
                  </a:lnTo>
                  <a:lnTo>
                    <a:pt x="432" y="300"/>
                  </a:lnTo>
                  <a:lnTo>
                    <a:pt x="432" y="324"/>
                  </a:lnTo>
                  <a:lnTo>
                    <a:pt x="420" y="324"/>
                  </a:lnTo>
                  <a:lnTo>
                    <a:pt x="414" y="330"/>
                  </a:lnTo>
                  <a:lnTo>
                    <a:pt x="408" y="330"/>
                  </a:lnTo>
                  <a:lnTo>
                    <a:pt x="402" y="336"/>
                  </a:lnTo>
                  <a:lnTo>
                    <a:pt x="396" y="348"/>
                  </a:lnTo>
                  <a:lnTo>
                    <a:pt x="390" y="354"/>
                  </a:lnTo>
                  <a:lnTo>
                    <a:pt x="390" y="360"/>
                  </a:lnTo>
                  <a:lnTo>
                    <a:pt x="366" y="360"/>
                  </a:lnTo>
                  <a:lnTo>
                    <a:pt x="366" y="378"/>
                  </a:lnTo>
                  <a:lnTo>
                    <a:pt x="288" y="378"/>
                  </a:lnTo>
                  <a:lnTo>
                    <a:pt x="288" y="348"/>
                  </a:lnTo>
                  <a:lnTo>
                    <a:pt x="294" y="336"/>
                  </a:lnTo>
                  <a:lnTo>
                    <a:pt x="294" y="330"/>
                  </a:lnTo>
                  <a:lnTo>
                    <a:pt x="300" y="318"/>
                  </a:lnTo>
                  <a:lnTo>
                    <a:pt x="300" y="294"/>
                  </a:lnTo>
                  <a:lnTo>
                    <a:pt x="294" y="288"/>
                  </a:lnTo>
                  <a:lnTo>
                    <a:pt x="294" y="270"/>
                  </a:lnTo>
                  <a:lnTo>
                    <a:pt x="288" y="258"/>
                  </a:lnTo>
                  <a:lnTo>
                    <a:pt x="282" y="240"/>
                  </a:lnTo>
                  <a:lnTo>
                    <a:pt x="276" y="234"/>
                  </a:lnTo>
                  <a:lnTo>
                    <a:pt x="264" y="228"/>
                  </a:lnTo>
                  <a:lnTo>
                    <a:pt x="258" y="222"/>
                  </a:lnTo>
                  <a:lnTo>
                    <a:pt x="246" y="216"/>
                  </a:lnTo>
                  <a:lnTo>
                    <a:pt x="240" y="510"/>
                  </a:lnTo>
                  <a:lnTo>
                    <a:pt x="222" y="510"/>
                  </a:lnTo>
                  <a:lnTo>
                    <a:pt x="210" y="516"/>
                  </a:lnTo>
                  <a:lnTo>
                    <a:pt x="204" y="522"/>
                  </a:lnTo>
                  <a:lnTo>
                    <a:pt x="204" y="528"/>
                  </a:lnTo>
                  <a:lnTo>
                    <a:pt x="192" y="528"/>
                  </a:lnTo>
                  <a:lnTo>
                    <a:pt x="192" y="552"/>
                  </a:lnTo>
                  <a:lnTo>
                    <a:pt x="168" y="552"/>
                  </a:lnTo>
                  <a:lnTo>
                    <a:pt x="156" y="540"/>
                  </a:lnTo>
                  <a:lnTo>
                    <a:pt x="144" y="540"/>
                  </a:lnTo>
                  <a:lnTo>
                    <a:pt x="132" y="552"/>
                  </a:lnTo>
                  <a:lnTo>
                    <a:pt x="108" y="552"/>
                  </a:lnTo>
                  <a:lnTo>
                    <a:pt x="102" y="546"/>
                  </a:lnTo>
                  <a:lnTo>
                    <a:pt x="102" y="540"/>
                  </a:lnTo>
                  <a:lnTo>
                    <a:pt x="96" y="534"/>
                  </a:lnTo>
                  <a:lnTo>
                    <a:pt x="72" y="534"/>
                  </a:lnTo>
                  <a:lnTo>
                    <a:pt x="66" y="528"/>
                  </a:lnTo>
                  <a:lnTo>
                    <a:pt x="60" y="516"/>
                  </a:lnTo>
                  <a:lnTo>
                    <a:pt x="60" y="492"/>
                  </a:lnTo>
                  <a:lnTo>
                    <a:pt x="42" y="474"/>
                  </a:lnTo>
                  <a:lnTo>
                    <a:pt x="36" y="474"/>
                  </a:lnTo>
                  <a:lnTo>
                    <a:pt x="30" y="480"/>
                  </a:lnTo>
                  <a:lnTo>
                    <a:pt x="30" y="486"/>
                  </a:lnTo>
                  <a:lnTo>
                    <a:pt x="24" y="498"/>
                  </a:lnTo>
                  <a:lnTo>
                    <a:pt x="18" y="504"/>
                  </a:lnTo>
                  <a:lnTo>
                    <a:pt x="18" y="510"/>
                  </a:lnTo>
                  <a:lnTo>
                    <a:pt x="0" y="522"/>
                  </a:lnTo>
                  <a:lnTo>
                    <a:pt x="0" y="516"/>
                  </a:lnTo>
                  <a:lnTo>
                    <a:pt x="0" y="528"/>
                  </a:lnTo>
                  <a:lnTo>
                    <a:pt x="6" y="540"/>
                  </a:lnTo>
                  <a:lnTo>
                    <a:pt x="6" y="552"/>
                  </a:lnTo>
                  <a:lnTo>
                    <a:pt x="36" y="582"/>
                  </a:lnTo>
                  <a:lnTo>
                    <a:pt x="42" y="600"/>
                  </a:lnTo>
                  <a:lnTo>
                    <a:pt x="42" y="648"/>
                  </a:lnTo>
                  <a:lnTo>
                    <a:pt x="48" y="672"/>
                  </a:lnTo>
                  <a:lnTo>
                    <a:pt x="54" y="690"/>
                  </a:lnTo>
                  <a:lnTo>
                    <a:pt x="72" y="714"/>
                  </a:lnTo>
                  <a:lnTo>
                    <a:pt x="96" y="738"/>
                  </a:lnTo>
                  <a:lnTo>
                    <a:pt x="114" y="762"/>
                  </a:lnTo>
                  <a:lnTo>
                    <a:pt x="120" y="786"/>
                  </a:lnTo>
                  <a:lnTo>
                    <a:pt x="120" y="834"/>
                  </a:lnTo>
                  <a:lnTo>
                    <a:pt x="114" y="846"/>
                  </a:lnTo>
                  <a:lnTo>
                    <a:pt x="114" y="852"/>
                  </a:lnTo>
                  <a:lnTo>
                    <a:pt x="90" y="852"/>
                  </a:lnTo>
                  <a:lnTo>
                    <a:pt x="90" y="876"/>
                  </a:lnTo>
                  <a:lnTo>
                    <a:pt x="96" y="888"/>
                  </a:lnTo>
                  <a:lnTo>
                    <a:pt x="108" y="906"/>
                  </a:lnTo>
                  <a:lnTo>
                    <a:pt x="114" y="918"/>
                  </a:lnTo>
                  <a:lnTo>
                    <a:pt x="114" y="960"/>
                  </a:lnTo>
                  <a:lnTo>
                    <a:pt x="120" y="972"/>
                  </a:lnTo>
                  <a:lnTo>
                    <a:pt x="120" y="978"/>
                  </a:lnTo>
                  <a:lnTo>
                    <a:pt x="126" y="978"/>
                  </a:lnTo>
                  <a:lnTo>
                    <a:pt x="126" y="972"/>
                  </a:lnTo>
                  <a:lnTo>
                    <a:pt x="132" y="966"/>
                  </a:lnTo>
                  <a:lnTo>
                    <a:pt x="144" y="966"/>
                  </a:lnTo>
                  <a:lnTo>
                    <a:pt x="150" y="972"/>
                  </a:lnTo>
                  <a:lnTo>
                    <a:pt x="180" y="984"/>
                  </a:lnTo>
                  <a:lnTo>
                    <a:pt x="180" y="996"/>
                  </a:lnTo>
                  <a:lnTo>
                    <a:pt x="204" y="1020"/>
                  </a:lnTo>
                  <a:lnTo>
                    <a:pt x="216" y="1020"/>
                  </a:lnTo>
                  <a:lnTo>
                    <a:pt x="240" y="1008"/>
                  </a:lnTo>
                  <a:lnTo>
                    <a:pt x="246" y="996"/>
                  </a:lnTo>
                  <a:lnTo>
                    <a:pt x="252" y="990"/>
                  </a:lnTo>
                  <a:lnTo>
                    <a:pt x="264" y="984"/>
                  </a:lnTo>
                  <a:lnTo>
                    <a:pt x="294" y="984"/>
                  </a:lnTo>
                  <a:lnTo>
                    <a:pt x="306" y="990"/>
                  </a:lnTo>
                  <a:lnTo>
                    <a:pt x="354" y="990"/>
                  </a:lnTo>
                  <a:lnTo>
                    <a:pt x="354" y="984"/>
                  </a:lnTo>
                  <a:lnTo>
                    <a:pt x="360" y="978"/>
                  </a:lnTo>
                  <a:lnTo>
                    <a:pt x="360" y="966"/>
                  </a:lnTo>
                  <a:lnTo>
                    <a:pt x="366" y="960"/>
                  </a:lnTo>
                  <a:lnTo>
                    <a:pt x="378" y="954"/>
                  </a:lnTo>
                  <a:lnTo>
                    <a:pt x="408" y="954"/>
                  </a:lnTo>
                  <a:lnTo>
                    <a:pt x="420" y="960"/>
                  </a:lnTo>
                  <a:lnTo>
                    <a:pt x="432" y="960"/>
                  </a:lnTo>
                  <a:lnTo>
                    <a:pt x="438" y="966"/>
                  </a:lnTo>
                  <a:lnTo>
                    <a:pt x="444" y="960"/>
                  </a:lnTo>
                  <a:lnTo>
                    <a:pt x="456" y="960"/>
                  </a:lnTo>
                  <a:lnTo>
                    <a:pt x="468" y="954"/>
                  </a:lnTo>
                  <a:lnTo>
                    <a:pt x="504" y="954"/>
                  </a:lnTo>
                  <a:lnTo>
                    <a:pt x="522" y="960"/>
                  </a:lnTo>
                  <a:lnTo>
                    <a:pt x="534" y="966"/>
                  </a:lnTo>
                  <a:lnTo>
                    <a:pt x="552" y="966"/>
                  </a:lnTo>
                  <a:lnTo>
                    <a:pt x="558" y="960"/>
                  </a:lnTo>
                  <a:lnTo>
                    <a:pt x="570" y="954"/>
                  </a:lnTo>
                  <a:lnTo>
                    <a:pt x="606" y="954"/>
                  </a:lnTo>
                  <a:lnTo>
                    <a:pt x="618" y="948"/>
                  </a:lnTo>
                  <a:lnTo>
                    <a:pt x="624" y="942"/>
                  </a:lnTo>
                  <a:lnTo>
                    <a:pt x="636" y="936"/>
                  </a:lnTo>
                  <a:lnTo>
                    <a:pt x="684" y="936"/>
                  </a:lnTo>
                  <a:lnTo>
                    <a:pt x="708" y="924"/>
                  </a:lnTo>
                  <a:lnTo>
                    <a:pt x="720" y="912"/>
                  </a:lnTo>
                  <a:lnTo>
                    <a:pt x="738" y="900"/>
                  </a:lnTo>
                  <a:lnTo>
                    <a:pt x="774" y="864"/>
                  </a:lnTo>
                  <a:lnTo>
                    <a:pt x="786" y="858"/>
                  </a:lnTo>
                  <a:lnTo>
                    <a:pt x="804" y="846"/>
                  </a:lnTo>
                  <a:lnTo>
                    <a:pt x="900" y="750"/>
                  </a:lnTo>
                  <a:lnTo>
                    <a:pt x="918" y="750"/>
                  </a:lnTo>
                  <a:lnTo>
                    <a:pt x="924" y="744"/>
                  </a:lnTo>
                  <a:lnTo>
                    <a:pt x="960" y="696"/>
                  </a:lnTo>
                  <a:lnTo>
                    <a:pt x="972" y="672"/>
                  </a:lnTo>
                  <a:lnTo>
                    <a:pt x="984" y="654"/>
                  </a:lnTo>
                  <a:lnTo>
                    <a:pt x="990" y="642"/>
                  </a:lnTo>
                  <a:lnTo>
                    <a:pt x="1002" y="606"/>
                  </a:lnTo>
                  <a:lnTo>
                    <a:pt x="1014" y="588"/>
                  </a:lnTo>
                  <a:lnTo>
                    <a:pt x="1020" y="576"/>
                  </a:lnTo>
                  <a:lnTo>
                    <a:pt x="1026" y="570"/>
                  </a:lnTo>
                  <a:lnTo>
                    <a:pt x="1038" y="564"/>
                  </a:lnTo>
                  <a:lnTo>
                    <a:pt x="1050" y="552"/>
                  </a:lnTo>
                  <a:lnTo>
                    <a:pt x="1068" y="546"/>
                  </a:lnTo>
                  <a:lnTo>
                    <a:pt x="1086" y="534"/>
                  </a:lnTo>
                  <a:lnTo>
                    <a:pt x="1098" y="510"/>
                  </a:lnTo>
                  <a:lnTo>
                    <a:pt x="1098" y="498"/>
                  </a:lnTo>
                  <a:lnTo>
                    <a:pt x="1104" y="486"/>
                  </a:lnTo>
                  <a:lnTo>
                    <a:pt x="1110" y="468"/>
                  </a:lnTo>
                  <a:lnTo>
                    <a:pt x="1116" y="456"/>
                  </a:lnTo>
                  <a:lnTo>
                    <a:pt x="1122" y="450"/>
                  </a:lnTo>
                  <a:lnTo>
                    <a:pt x="1122" y="438"/>
                  </a:lnTo>
                  <a:lnTo>
                    <a:pt x="1128" y="432"/>
                  </a:lnTo>
                  <a:lnTo>
                    <a:pt x="1128" y="414"/>
                  </a:lnTo>
                  <a:lnTo>
                    <a:pt x="1134" y="396"/>
                  </a:lnTo>
                  <a:lnTo>
                    <a:pt x="1128" y="384"/>
                  </a:lnTo>
                  <a:lnTo>
                    <a:pt x="1116" y="372"/>
                  </a:lnTo>
                  <a:close/>
                  <a:moveTo>
                    <a:pt x="870" y="624"/>
                  </a:moveTo>
                  <a:lnTo>
                    <a:pt x="858" y="630"/>
                  </a:lnTo>
                  <a:lnTo>
                    <a:pt x="852" y="636"/>
                  </a:lnTo>
                  <a:lnTo>
                    <a:pt x="840" y="642"/>
                  </a:lnTo>
                  <a:lnTo>
                    <a:pt x="822" y="642"/>
                  </a:lnTo>
                  <a:lnTo>
                    <a:pt x="810" y="648"/>
                  </a:lnTo>
                  <a:lnTo>
                    <a:pt x="804" y="654"/>
                  </a:lnTo>
                  <a:lnTo>
                    <a:pt x="798" y="666"/>
                  </a:lnTo>
                  <a:lnTo>
                    <a:pt x="792" y="672"/>
                  </a:lnTo>
                  <a:lnTo>
                    <a:pt x="792" y="684"/>
                  </a:lnTo>
                  <a:lnTo>
                    <a:pt x="774" y="684"/>
                  </a:lnTo>
                  <a:lnTo>
                    <a:pt x="744" y="654"/>
                  </a:lnTo>
                  <a:lnTo>
                    <a:pt x="744" y="636"/>
                  </a:lnTo>
                  <a:lnTo>
                    <a:pt x="720" y="600"/>
                  </a:lnTo>
                  <a:lnTo>
                    <a:pt x="744" y="600"/>
                  </a:lnTo>
                  <a:lnTo>
                    <a:pt x="750" y="582"/>
                  </a:lnTo>
                  <a:lnTo>
                    <a:pt x="768" y="564"/>
                  </a:lnTo>
                  <a:lnTo>
                    <a:pt x="768" y="546"/>
                  </a:lnTo>
                  <a:lnTo>
                    <a:pt x="774" y="540"/>
                  </a:lnTo>
                  <a:lnTo>
                    <a:pt x="798" y="540"/>
                  </a:lnTo>
                  <a:lnTo>
                    <a:pt x="798" y="528"/>
                  </a:lnTo>
                  <a:lnTo>
                    <a:pt x="810" y="522"/>
                  </a:lnTo>
                  <a:lnTo>
                    <a:pt x="846" y="522"/>
                  </a:lnTo>
                  <a:lnTo>
                    <a:pt x="852" y="528"/>
                  </a:lnTo>
                  <a:lnTo>
                    <a:pt x="858" y="540"/>
                  </a:lnTo>
                  <a:lnTo>
                    <a:pt x="864" y="546"/>
                  </a:lnTo>
                  <a:lnTo>
                    <a:pt x="870" y="558"/>
                  </a:lnTo>
                  <a:lnTo>
                    <a:pt x="882" y="564"/>
                  </a:lnTo>
                  <a:lnTo>
                    <a:pt x="888" y="588"/>
                  </a:lnTo>
                  <a:lnTo>
                    <a:pt x="864" y="606"/>
                  </a:lnTo>
                  <a:lnTo>
                    <a:pt x="870" y="624"/>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38" name="Somalia" descr="© INSCALE GmbH, 05.05.2010&#10;http://www.presentationload.com/">
              <a:extLst>
                <a:ext uri="{FF2B5EF4-FFF2-40B4-BE49-F238E27FC236}">
                  <a16:creationId xmlns:a16="http://schemas.microsoft.com/office/drawing/2014/main" id="{62CB4FCD-DF19-D03F-DF6F-1C0063958629}"/>
                </a:ext>
              </a:extLst>
            </p:cNvPr>
            <p:cNvSpPr>
              <a:spLocks/>
            </p:cNvSpPr>
            <p:nvPr/>
          </p:nvSpPr>
          <p:spPr bwMode="gray">
            <a:xfrm>
              <a:off x="5341240" y="2850849"/>
              <a:ext cx="271275" cy="419514"/>
            </a:xfrm>
            <a:custGeom>
              <a:avLst/>
              <a:gdLst>
                <a:gd name="T0" fmla="*/ 2147483647 w 714"/>
                <a:gd name="T1" fmla="*/ 2147483647 h 1104"/>
                <a:gd name="T2" fmla="*/ 2147483647 w 714"/>
                <a:gd name="T3" fmla="*/ 2147483647 h 1104"/>
                <a:gd name="T4" fmla="*/ 2147483647 w 714"/>
                <a:gd name="T5" fmla="*/ 2147483647 h 1104"/>
                <a:gd name="T6" fmla="*/ 2147483647 w 714"/>
                <a:gd name="T7" fmla="*/ 2147483647 h 1104"/>
                <a:gd name="T8" fmla="*/ 2147483647 w 714"/>
                <a:gd name="T9" fmla="*/ 2147483647 h 1104"/>
                <a:gd name="T10" fmla="*/ 2147483647 w 714"/>
                <a:gd name="T11" fmla="*/ 2147483647 h 1104"/>
                <a:gd name="T12" fmla="*/ 2147483647 w 714"/>
                <a:gd name="T13" fmla="*/ 2147483647 h 1104"/>
                <a:gd name="T14" fmla="*/ 2147483647 w 714"/>
                <a:gd name="T15" fmla="*/ 2147483647 h 1104"/>
                <a:gd name="T16" fmla="*/ 2147483647 w 714"/>
                <a:gd name="T17" fmla="*/ 2147483647 h 1104"/>
                <a:gd name="T18" fmla="*/ 2147483647 w 714"/>
                <a:gd name="T19" fmla="*/ 2147483647 h 1104"/>
                <a:gd name="T20" fmla="*/ 2147483647 w 714"/>
                <a:gd name="T21" fmla="*/ 2147483647 h 1104"/>
                <a:gd name="T22" fmla="*/ 2147483647 w 714"/>
                <a:gd name="T23" fmla="*/ 2147483647 h 1104"/>
                <a:gd name="T24" fmla="*/ 0 w 714"/>
                <a:gd name="T25" fmla="*/ 2147483647 h 1104"/>
                <a:gd name="T26" fmla="*/ 2147483647 w 714"/>
                <a:gd name="T27" fmla="*/ 2147483647 h 1104"/>
                <a:gd name="T28" fmla="*/ 2147483647 w 714"/>
                <a:gd name="T29" fmla="*/ 2147483647 h 1104"/>
                <a:gd name="T30" fmla="*/ 2147483647 w 714"/>
                <a:gd name="T31" fmla="*/ 2147483647 h 1104"/>
                <a:gd name="T32" fmla="*/ 2147483647 w 714"/>
                <a:gd name="T33" fmla="*/ 2147483647 h 1104"/>
                <a:gd name="T34" fmla="*/ 2147483647 w 714"/>
                <a:gd name="T35" fmla="*/ 2147483647 h 1104"/>
                <a:gd name="T36" fmla="*/ 2147483647 w 714"/>
                <a:gd name="T37" fmla="*/ 2147483647 h 1104"/>
                <a:gd name="T38" fmla="*/ 2147483647 w 714"/>
                <a:gd name="T39" fmla="*/ 2147483647 h 1104"/>
                <a:gd name="T40" fmla="*/ 2147483647 w 714"/>
                <a:gd name="T41" fmla="*/ 2147483647 h 1104"/>
                <a:gd name="T42" fmla="*/ 2147483647 w 714"/>
                <a:gd name="T43" fmla="*/ 2147483647 h 1104"/>
                <a:gd name="T44" fmla="*/ 2147483647 w 714"/>
                <a:gd name="T45" fmla="*/ 2147483647 h 1104"/>
                <a:gd name="T46" fmla="*/ 2147483647 w 714"/>
                <a:gd name="T47" fmla="*/ 2147483647 h 1104"/>
                <a:gd name="T48" fmla="*/ 2147483647 w 714"/>
                <a:gd name="T49" fmla="*/ 2147483647 h 1104"/>
                <a:gd name="T50" fmla="*/ 2147483647 w 714"/>
                <a:gd name="T51" fmla="*/ 2147483647 h 1104"/>
                <a:gd name="T52" fmla="*/ 2147483647 w 714"/>
                <a:gd name="T53" fmla="*/ 2147483647 h 1104"/>
                <a:gd name="T54" fmla="*/ 2147483647 w 714"/>
                <a:gd name="T55" fmla="*/ 2147483647 h 1104"/>
                <a:gd name="T56" fmla="*/ 2147483647 w 714"/>
                <a:gd name="T57" fmla="*/ 2147483647 h 1104"/>
                <a:gd name="T58" fmla="*/ 2147483647 w 714"/>
                <a:gd name="T59" fmla="*/ 2147483647 h 1104"/>
                <a:gd name="T60" fmla="*/ 2147483647 w 714"/>
                <a:gd name="T61" fmla="*/ 2147483647 h 1104"/>
                <a:gd name="T62" fmla="*/ 2147483647 w 714"/>
                <a:gd name="T63" fmla="*/ 2147483647 h 1104"/>
                <a:gd name="T64" fmla="*/ 2147483647 w 714"/>
                <a:gd name="T65" fmla="*/ 2147483647 h 1104"/>
                <a:gd name="T66" fmla="*/ 2147483647 w 714"/>
                <a:gd name="T67" fmla="*/ 2147483647 h 1104"/>
                <a:gd name="T68" fmla="*/ 2147483647 w 714"/>
                <a:gd name="T69" fmla="*/ 2147483647 h 1104"/>
                <a:gd name="T70" fmla="*/ 2147483647 w 714"/>
                <a:gd name="T71" fmla="*/ 2147483647 h 1104"/>
                <a:gd name="T72" fmla="*/ 2147483647 w 714"/>
                <a:gd name="T73" fmla="*/ 2147483647 h 1104"/>
                <a:gd name="T74" fmla="*/ 2147483647 w 714"/>
                <a:gd name="T75" fmla="*/ 2147483647 h 1104"/>
                <a:gd name="T76" fmla="*/ 2147483647 w 714"/>
                <a:gd name="T77" fmla="*/ 2147483647 h 1104"/>
                <a:gd name="T78" fmla="*/ 2147483647 w 714"/>
                <a:gd name="T79" fmla="*/ 2147483647 h 1104"/>
                <a:gd name="T80" fmla="*/ 2147483647 w 714"/>
                <a:gd name="T81" fmla="*/ 2147483647 h 1104"/>
                <a:gd name="T82" fmla="*/ 2147483647 w 714"/>
                <a:gd name="T83" fmla="*/ 2147483647 h 1104"/>
                <a:gd name="T84" fmla="*/ 2147483647 w 714"/>
                <a:gd name="T85" fmla="*/ 2147483647 h 1104"/>
                <a:gd name="T86" fmla="*/ 2147483647 w 714"/>
                <a:gd name="T87" fmla="*/ 2147483647 h 110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14"/>
                <a:gd name="T133" fmla="*/ 0 h 1104"/>
                <a:gd name="T134" fmla="*/ 714 w 714"/>
                <a:gd name="T135" fmla="*/ 1104 h 110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14" h="1104">
                  <a:moveTo>
                    <a:pt x="108" y="114"/>
                  </a:moveTo>
                  <a:lnTo>
                    <a:pt x="120" y="126"/>
                  </a:lnTo>
                  <a:lnTo>
                    <a:pt x="120" y="138"/>
                  </a:lnTo>
                  <a:lnTo>
                    <a:pt x="126" y="150"/>
                  </a:lnTo>
                  <a:lnTo>
                    <a:pt x="132" y="156"/>
                  </a:lnTo>
                  <a:lnTo>
                    <a:pt x="138" y="168"/>
                  </a:lnTo>
                  <a:lnTo>
                    <a:pt x="144" y="174"/>
                  </a:lnTo>
                  <a:lnTo>
                    <a:pt x="156" y="198"/>
                  </a:lnTo>
                  <a:lnTo>
                    <a:pt x="162" y="204"/>
                  </a:lnTo>
                  <a:lnTo>
                    <a:pt x="162" y="210"/>
                  </a:lnTo>
                  <a:lnTo>
                    <a:pt x="186" y="210"/>
                  </a:lnTo>
                  <a:lnTo>
                    <a:pt x="192" y="222"/>
                  </a:lnTo>
                  <a:lnTo>
                    <a:pt x="198" y="228"/>
                  </a:lnTo>
                  <a:lnTo>
                    <a:pt x="204" y="240"/>
                  </a:lnTo>
                  <a:lnTo>
                    <a:pt x="240" y="258"/>
                  </a:lnTo>
                  <a:lnTo>
                    <a:pt x="312" y="282"/>
                  </a:lnTo>
                  <a:lnTo>
                    <a:pt x="336" y="288"/>
                  </a:lnTo>
                  <a:lnTo>
                    <a:pt x="348" y="294"/>
                  </a:lnTo>
                  <a:lnTo>
                    <a:pt x="366" y="300"/>
                  </a:lnTo>
                  <a:lnTo>
                    <a:pt x="378" y="312"/>
                  </a:lnTo>
                  <a:lnTo>
                    <a:pt x="414" y="330"/>
                  </a:lnTo>
                  <a:lnTo>
                    <a:pt x="486" y="324"/>
                  </a:lnTo>
                  <a:lnTo>
                    <a:pt x="276" y="570"/>
                  </a:lnTo>
                  <a:lnTo>
                    <a:pt x="192" y="570"/>
                  </a:lnTo>
                  <a:lnTo>
                    <a:pt x="186" y="576"/>
                  </a:lnTo>
                  <a:lnTo>
                    <a:pt x="174" y="576"/>
                  </a:lnTo>
                  <a:lnTo>
                    <a:pt x="162" y="582"/>
                  </a:lnTo>
                  <a:lnTo>
                    <a:pt x="156" y="588"/>
                  </a:lnTo>
                  <a:lnTo>
                    <a:pt x="144" y="594"/>
                  </a:lnTo>
                  <a:lnTo>
                    <a:pt x="144" y="606"/>
                  </a:lnTo>
                  <a:lnTo>
                    <a:pt x="126" y="624"/>
                  </a:lnTo>
                  <a:lnTo>
                    <a:pt x="102" y="624"/>
                  </a:lnTo>
                  <a:lnTo>
                    <a:pt x="90" y="630"/>
                  </a:lnTo>
                  <a:lnTo>
                    <a:pt x="78" y="630"/>
                  </a:lnTo>
                  <a:lnTo>
                    <a:pt x="66" y="642"/>
                  </a:lnTo>
                  <a:lnTo>
                    <a:pt x="66" y="654"/>
                  </a:lnTo>
                  <a:lnTo>
                    <a:pt x="60" y="660"/>
                  </a:lnTo>
                  <a:lnTo>
                    <a:pt x="42" y="696"/>
                  </a:lnTo>
                  <a:lnTo>
                    <a:pt x="0" y="738"/>
                  </a:lnTo>
                  <a:lnTo>
                    <a:pt x="0" y="1038"/>
                  </a:lnTo>
                  <a:lnTo>
                    <a:pt x="42" y="1104"/>
                  </a:lnTo>
                  <a:lnTo>
                    <a:pt x="48" y="1086"/>
                  </a:lnTo>
                  <a:lnTo>
                    <a:pt x="84" y="1032"/>
                  </a:lnTo>
                  <a:lnTo>
                    <a:pt x="96" y="1008"/>
                  </a:lnTo>
                  <a:lnTo>
                    <a:pt x="114" y="996"/>
                  </a:lnTo>
                  <a:lnTo>
                    <a:pt x="144" y="966"/>
                  </a:lnTo>
                  <a:lnTo>
                    <a:pt x="150" y="954"/>
                  </a:lnTo>
                  <a:lnTo>
                    <a:pt x="162" y="936"/>
                  </a:lnTo>
                  <a:lnTo>
                    <a:pt x="192" y="906"/>
                  </a:lnTo>
                  <a:lnTo>
                    <a:pt x="216" y="876"/>
                  </a:lnTo>
                  <a:lnTo>
                    <a:pt x="246" y="846"/>
                  </a:lnTo>
                  <a:lnTo>
                    <a:pt x="264" y="840"/>
                  </a:lnTo>
                  <a:lnTo>
                    <a:pt x="276" y="828"/>
                  </a:lnTo>
                  <a:lnTo>
                    <a:pt x="294" y="816"/>
                  </a:lnTo>
                  <a:lnTo>
                    <a:pt x="318" y="804"/>
                  </a:lnTo>
                  <a:lnTo>
                    <a:pt x="336" y="786"/>
                  </a:lnTo>
                  <a:lnTo>
                    <a:pt x="372" y="756"/>
                  </a:lnTo>
                  <a:lnTo>
                    <a:pt x="420" y="708"/>
                  </a:lnTo>
                  <a:lnTo>
                    <a:pt x="438" y="684"/>
                  </a:lnTo>
                  <a:lnTo>
                    <a:pt x="462" y="654"/>
                  </a:lnTo>
                  <a:lnTo>
                    <a:pt x="492" y="618"/>
                  </a:lnTo>
                  <a:lnTo>
                    <a:pt x="516" y="570"/>
                  </a:lnTo>
                  <a:lnTo>
                    <a:pt x="528" y="540"/>
                  </a:lnTo>
                  <a:lnTo>
                    <a:pt x="546" y="516"/>
                  </a:lnTo>
                  <a:lnTo>
                    <a:pt x="558" y="498"/>
                  </a:lnTo>
                  <a:lnTo>
                    <a:pt x="564" y="492"/>
                  </a:lnTo>
                  <a:lnTo>
                    <a:pt x="570" y="480"/>
                  </a:lnTo>
                  <a:lnTo>
                    <a:pt x="576" y="474"/>
                  </a:lnTo>
                  <a:lnTo>
                    <a:pt x="576" y="450"/>
                  </a:lnTo>
                  <a:lnTo>
                    <a:pt x="582" y="432"/>
                  </a:lnTo>
                  <a:lnTo>
                    <a:pt x="588" y="420"/>
                  </a:lnTo>
                  <a:lnTo>
                    <a:pt x="588" y="402"/>
                  </a:lnTo>
                  <a:lnTo>
                    <a:pt x="594" y="390"/>
                  </a:lnTo>
                  <a:lnTo>
                    <a:pt x="606" y="378"/>
                  </a:lnTo>
                  <a:lnTo>
                    <a:pt x="612" y="366"/>
                  </a:lnTo>
                  <a:lnTo>
                    <a:pt x="624" y="354"/>
                  </a:lnTo>
                  <a:lnTo>
                    <a:pt x="624" y="324"/>
                  </a:lnTo>
                  <a:lnTo>
                    <a:pt x="636" y="318"/>
                  </a:lnTo>
                  <a:lnTo>
                    <a:pt x="642" y="306"/>
                  </a:lnTo>
                  <a:lnTo>
                    <a:pt x="660" y="252"/>
                  </a:lnTo>
                  <a:lnTo>
                    <a:pt x="672" y="252"/>
                  </a:lnTo>
                  <a:lnTo>
                    <a:pt x="672" y="246"/>
                  </a:lnTo>
                  <a:lnTo>
                    <a:pt x="684" y="234"/>
                  </a:lnTo>
                  <a:lnTo>
                    <a:pt x="684" y="138"/>
                  </a:lnTo>
                  <a:lnTo>
                    <a:pt x="708" y="126"/>
                  </a:lnTo>
                  <a:lnTo>
                    <a:pt x="702" y="54"/>
                  </a:lnTo>
                  <a:lnTo>
                    <a:pt x="708" y="42"/>
                  </a:lnTo>
                  <a:lnTo>
                    <a:pt x="708" y="36"/>
                  </a:lnTo>
                  <a:lnTo>
                    <a:pt x="714" y="24"/>
                  </a:lnTo>
                  <a:lnTo>
                    <a:pt x="714" y="12"/>
                  </a:lnTo>
                  <a:lnTo>
                    <a:pt x="690" y="0"/>
                  </a:lnTo>
                  <a:lnTo>
                    <a:pt x="672" y="0"/>
                  </a:lnTo>
                  <a:lnTo>
                    <a:pt x="666" y="12"/>
                  </a:lnTo>
                  <a:lnTo>
                    <a:pt x="654" y="18"/>
                  </a:lnTo>
                  <a:lnTo>
                    <a:pt x="648" y="30"/>
                  </a:lnTo>
                  <a:lnTo>
                    <a:pt x="624" y="42"/>
                  </a:lnTo>
                  <a:lnTo>
                    <a:pt x="612" y="42"/>
                  </a:lnTo>
                  <a:lnTo>
                    <a:pt x="594" y="48"/>
                  </a:lnTo>
                  <a:lnTo>
                    <a:pt x="582" y="54"/>
                  </a:lnTo>
                  <a:lnTo>
                    <a:pt x="564" y="54"/>
                  </a:lnTo>
                  <a:lnTo>
                    <a:pt x="546" y="48"/>
                  </a:lnTo>
                  <a:lnTo>
                    <a:pt x="534" y="42"/>
                  </a:lnTo>
                  <a:lnTo>
                    <a:pt x="516" y="48"/>
                  </a:lnTo>
                  <a:lnTo>
                    <a:pt x="510" y="54"/>
                  </a:lnTo>
                  <a:lnTo>
                    <a:pt x="498" y="60"/>
                  </a:lnTo>
                  <a:lnTo>
                    <a:pt x="492" y="72"/>
                  </a:lnTo>
                  <a:lnTo>
                    <a:pt x="486" y="78"/>
                  </a:lnTo>
                  <a:lnTo>
                    <a:pt x="474" y="78"/>
                  </a:lnTo>
                  <a:lnTo>
                    <a:pt x="462" y="72"/>
                  </a:lnTo>
                  <a:lnTo>
                    <a:pt x="456" y="60"/>
                  </a:lnTo>
                  <a:lnTo>
                    <a:pt x="444" y="60"/>
                  </a:lnTo>
                  <a:lnTo>
                    <a:pt x="438" y="66"/>
                  </a:lnTo>
                  <a:lnTo>
                    <a:pt x="426" y="72"/>
                  </a:lnTo>
                  <a:lnTo>
                    <a:pt x="396" y="102"/>
                  </a:lnTo>
                  <a:lnTo>
                    <a:pt x="384" y="108"/>
                  </a:lnTo>
                  <a:lnTo>
                    <a:pt x="372" y="108"/>
                  </a:lnTo>
                  <a:lnTo>
                    <a:pt x="360" y="102"/>
                  </a:lnTo>
                  <a:lnTo>
                    <a:pt x="354" y="96"/>
                  </a:lnTo>
                  <a:lnTo>
                    <a:pt x="342" y="90"/>
                  </a:lnTo>
                  <a:lnTo>
                    <a:pt x="330" y="90"/>
                  </a:lnTo>
                  <a:lnTo>
                    <a:pt x="306" y="102"/>
                  </a:lnTo>
                  <a:lnTo>
                    <a:pt x="294" y="114"/>
                  </a:lnTo>
                  <a:lnTo>
                    <a:pt x="270" y="126"/>
                  </a:lnTo>
                  <a:lnTo>
                    <a:pt x="210" y="126"/>
                  </a:lnTo>
                  <a:lnTo>
                    <a:pt x="192" y="108"/>
                  </a:lnTo>
                  <a:lnTo>
                    <a:pt x="186" y="96"/>
                  </a:lnTo>
                  <a:lnTo>
                    <a:pt x="174" y="90"/>
                  </a:lnTo>
                  <a:lnTo>
                    <a:pt x="168" y="78"/>
                  </a:lnTo>
                  <a:lnTo>
                    <a:pt x="168" y="66"/>
                  </a:lnTo>
                  <a:lnTo>
                    <a:pt x="156" y="54"/>
                  </a:lnTo>
                  <a:lnTo>
                    <a:pt x="150" y="54"/>
                  </a:lnTo>
                  <a:lnTo>
                    <a:pt x="126" y="78"/>
                  </a:lnTo>
                  <a:lnTo>
                    <a:pt x="108" y="114"/>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39" name="Solomon Islands" descr="© INSCALE GmbH, 05.05.2010&#10;http://www.presentationload.com/">
              <a:extLst>
                <a:ext uri="{FF2B5EF4-FFF2-40B4-BE49-F238E27FC236}">
                  <a16:creationId xmlns:a16="http://schemas.microsoft.com/office/drawing/2014/main" id="{6E323D16-C8A6-753F-34F6-D61F769A0357}"/>
                </a:ext>
              </a:extLst>
            </p:cNvPr>
            <p:cNvSpPr>
              <a:spLocks noEditPoints="1"/>
            </p:cNvSpPr>
            <p:nvPr/>
          </p:nvSpPr>
          <p:spPr bwMode="gray">
            <a:xfrm>
              <a:off x="8452741" y="3423046"/>
              <a:ext cx="140826" cy="131932"/>
            </a:xfrm>
            <a:custGeom>
              <a:avLst/>
              <a:gdLst>
                <a:gd name="T0" fmla="*/ 2147483647 w 372"/>
                <a:gd name="T1" fmla="*/ 0 h 348"/>
                <a:gd name="T2" fmla="*/ 2147483647 w 372"/>
                <a:gd name="T3" fmla="*/ 2147483647 h 348"/>
                <a:gd name="T4" fmla="*/ 0 w 372"/>
                <a:gd name="T5" fmla="*/ 2147483647 h 348"/>
                <a:gd name="T6" fmla="*/ 2147483647 w 372"/>
                <a:gd name="T7" fmla="*/ 2147483647 h 348"/>
                <a:gd name="T8" fmla="*/ 0 w 372"/>
                <a:gd name="T9" fmla="*/ 2147483647 h 348"/>
                <a:gd name="T10" fmla="*/ 2147483647 w 372"/>
                <a:gd name="T11" fmla="*/ 2147483647 h 348"/>
                <a:gd name="T12" fmla="*/ 2147483647 w 372"/>
                <a:gd name="T13" fmla="*/ 2147483647 h 348"/>
                <a:gd name="T14" fmla="*/ 2147483647 w 372"/>
                <a:gd name="T15" fmla="*/ 2147483647 h 348"/>
                <a:gd name="T16" fmla="*/ 2147483647 w 372"/>
                <a:gd name="T17" fmla="*/ 2147483647 h 348"/>
                <a:gd name="T18" fmla="*/ 2147483647 w 372"/>
                <a:gd name="T19" fmla="*/ 2147483647 h 348"/>
                <a:gd name="T20" fmla="*/ 2147483647 w 372"/>
                <a:gd name="T21" fmla="*/ 2147483647 h 348"/>
                <a:gd name="T22" fmla="*/ 2147483647 w 372"/>
                <a:gd name="T23" fmla="*/ 2147483647 h 348"/>
                <a:gd name="T24" fmla="*/ 2147483647 w 372"/>
                <a:gd name="T25" fmla="*/ 2147483647 h 348"/>
                <a:gd name="T26" fmla="*/ 2147483647 w 372"/>
                <a:gd name="T27" fmla="*/ 2147483647 h 348"/>
                <a:gd name="T28" fmla="*/ 2147483647 w 372"/>
                <a:gd name="T29" fmla="*/ 2147483647 h 348"/>
                <a:gd name="T30" fmla="*/ 2147483647 w 372"/>
                <a:gd name="T31" fmla="*/ 2147483647 h 348"/>
                <a:gd name="T32" fmla="*/ 2147483647 w 372"/>
                <a:gd name="T33" fmla="*/ 2147483647 h 348"/>
                <a:gd name="T34" fmla="*/ 2147483647 w 372"/>
                <a:gd name="T35" fmla="*/ 2147483647 h 348"/>
                <a:gd name="T36" fmla="*/ 2147483647 w 372"/>
                <a:gd name="T37" fmla="*/ 2147483647 h 348"/>
                <a:gd name="T38" fmla="*/ 2147483647 w 372"/>
                <a:gd name="T39" fmla="*/ 2147483647 h 348"/>
                <a:gd name="T40" fmla="*/ 2147483647 w 372"/>
                <a:gd name="T41" fmla="*/ 2147483647 h 348"/>
                <a:gd name="T42" fmla="*/ 2147483647 w 372"/>
                <a:gd name="T43" fmla="*/ 2147483647 h 348"/>
                <a:gd name="T44" fmla="*/ 2147483647 w 372"/>
                <a:gd name="T45" fmla="*/ 2147483647 h 348"/>
                <a:gd name="T46" fmla="*/ 2147483647 w 372"/>
                <a:gd name="T47" fmla="*/ 2147483647 h 348"/>
                <a:gd name="T48" fmla="*/ 2147483647 w 372"/>
                <a:gd name="T49" fmla="*/ 2147483647 h 348"/>
                <a:gd name="T50" fmla="*/ 2147483647 w 372"/>
                <a:gd name="T51" fmla="*/ 2147483647 h 348"/>
                <a:gd name="T52" fmla="*/ 2147483647 w 372"/>
                <a:gd name="T53" fmla="*/ 2147483647 h 348"/>
                <a:gd name="T54" fmla="*/ 2147483647 w 372"/>
                <a:gd name="T55" fmla="*/ 2147483647 h 348"/>
                <a:gd name="T56" fmla="*/ 2147483647 w 372"/>
                <a:gd name="T57" fmla="*/ 2147483647 h 348"/>
                <a:gd name="T58" fmla="*/ 2147483647 w 372"/>
                <a:gd name="T59" fmla="*/ 2147483647 h 348"/>
                <a:gd name="T60" fmla="*/ 2147483647 w 372"/>
                <a:gd name="T61" fmla="*/ 2147483647 h 348"/>
                <a:gd name="T62" fmla="*/ 2147483647 w 372"/>
                <a:gd name="T63" fmla="*/ 2147483647 h 34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72"/>
                <a:gd name="T97" fmla="*/ 0 h 348"/>
                <a:gd name="T98" fmla="*/ 372 w 372"/>
                <a:gd name="T99" fmla="*/ 348 h 34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72" h="348">
                  <a:moveTo>
                    <a:pt x="30" y="18"/>
                  </a:moveTo>
                  <a:lnTo>
                    <a:pt x="12" y="0"/>
                  </a:lnTo>
                  <a:lnTo>
                    <a:pt x="6" y="24"/>
                  </a:lnTo>
                  <a:lnTo>
                    <a:pt x="24" y="48"/>
                  </a:lnTo>
                  <a:lnTo>
                    <a:pt x="30" y="18"/>
                  </a:lnTo>
                  <a:close/>
                  <a:moveTo>
                    <a:pt x="0" y="126"/>
                  </a:moveTo>
                  <a:lnTo>
                    <a:pt x="18" y="132"/>
                  </a:lnTo>
                  <a:lnTo>
                    <a:pt x="36" y="102"/>
                  </a:lnTo>
                  <a:lnTo>
                    <a:pt x="0" y="102"/>
                  </a:lnTo>
                  <a:lnTo>
                    <a:pt x="0" y="126"/>
                  </a:lnTo>
                  <a:close/>
                  <a:moveTo>
                    <a:pt x="78" y="120"/>
                  </a:moveTo>
                  <a:lnTo>
                    <a:pt x="36" y="120"/>
                  </a:lnTo>
                  <a:lnTo>
                    <a:pt x="42" y="144"/>
                  </a:lnTo>
                  <a:lnTo>
                    <a:pt x="78" y="132"/>
                  </a:lnTo>
                  <a:lnTo>
                    <a:pt x="78" y="120"/>
                  </a:lnTo>
                  <a:close/>
                  <a:moveTo>
                    <a:pt x="60" y="186"/>
                  </a:moveTo>
                  <a:lnTo>
                    <a:pt x="96" y="186"/>
                  </a:lnTo>
                  <a:lnTo>
                    <a:pt x="48" y="150"/>
                  </a:lnTo>
                  <a:lnTo>
                    <a:pt x="60" y="186"/>
                  </a:lnTo>
                  <a:close/>
                  <a:moveTo>
                    <a:pt x="246" y="222"/>
                  </a:moveTo>
                  <a:lnTo>
                    <a:pt x="222" y="210"/>
                  </a:lnTo>
                  <a:lnTo>
                    <a:pt x="192" y="210"/>
                  </a:lnTo>
                  <a:lnTo>
                    <a:pt x="192" y="228"/>
                  </a:lnTo>
                  <a:lnTo>
                    <a:pt x="198" y="234"/>
                  </a:lnTo>
                  <a:lnTo>
                    <a:pt x="204" y="246"/>
                  </a:lnTo>
                  <a:lnTo>
                    <a:pt x="216" y="252"/>
                  </a:lnTo>
                  <a:lnTo>
                    <a:pt x="252" y="264"/>
                  </a:lnTo>
                  <a:lnTo>
                    <a:pt x="264" y="264"/>
                  </a:lnTo>
                  <a:lnTo>
                    <a:pt x="276" y="258"/>
                  </a:lnTo>
                  <a:lnTo>
                    <a:pt x="276" y="252"/>
                  </a:lnTo>
                  <a:lnTo>
                    <a:pt x="270" y="246"/>
                  </a:lnTo>
                  <a:lnTo>
                    <a:pt x="264" y="234"/>
                  </a:lnTo>
                  <a:lnTo>
                    <a:pt x="246" y="222"/>
                  </a:lnTo>
                  <a:close/>
                  <a:moveTo>
                    <a:pt x="312" y="288"/>
                  </a:moveTo>
                  <a:lnTo>
                    <a:pt x="360" y="348"/>
                  </a:lnTo>
                  <a:lnTo>
                    <a:pt x="372" y="318"/>
                  </a:lnTo>
                  <a:lnTo>
                    <a:pt x="312" y="288"/>
                  </a:lnTo>
                  <a:close/>
                  <a:moveTo>
                    <a:pt x="288" y="126"/>
                  </a:moveTo>
                  <a:lnTo>
                    <a:pt x="288" y="132"/>
                  </a:lnTo>
                  <a:lnTo>
                    <a:pt x="282" y="138"/>
                  </a:lnTo>
                  <a:lnTo>
                    <a:pt x="282" y="150"/>
                  </a:lnTo>
                  <a:lnTo>
                    <a:pt x="276" y="162"/>
                  </a:lnTo>
                  <a:lnTo>
                    <a:pt x="276" y="192"/>
                  </a:lnTo>
                  <a:lnTo>
                    <a:pt x="312" y="228"/>
                  </a:lnTo>
                  <a:lnTo>
                    <a:pt x="324" y="234"/>
                  </a:lnTo>
                  <a:lnTo>
                    <a:pt x="330" y="240"/>
                  </a:lnTo>
                  <a:lnTo>
                    <a:pt x="288" y="126"/>
                  </a:lnTo>
                  <a:close/>
                  <a:moveTo>
                    <a:pt x="120" y="60"/>
                  </a:moveTo>
                  <a:lnTo>
                    <a:pt x="120" y="66"/>
                  </a:lnTo>
                  <a:lnTo>
                    <a:pt x="126" y="78"/>
                  </a:lnTo>
                  <a:lnTo>
                    <a:pt x="138" y="90"/>
                  </a:lnTo>
                  <a:lnTo>
                    <a:pt x="150" y="108"/>
                  </a:lnTo>
                  <a:lnTo>
                    <a:pt x="168" y="120"/>
                  </a:lnTo>
                  <a:lnTo>
                    <a:pt x="192" y="144"/>
                  </a:lnTo>
                  <a:lnTo>
                    <a:pt x="204" y="150"/>
                  </a:lnTo>
                  <a:lnTo>
                    <a:pt x="216" y="150"/>
                  </a:lnTo>
                  <a:lnTo>
                    <a:pt x="210" y="138"/>
                  </a:lnTo>
                  <a:lnTo>
                    <a:pt x="204" y="132"/>
                  </a:lnTo>
                  <a:lnTo>
                    <a:pt x="198" y="120"/>
                  </a:lnTo>
                  <a:lnTo>
                    <a:pt x="186" y="108"/>
                  </a:lnTo>
                  <a:lnTo>
                    <a:pt x="174" y="90"/>
                  </a:lnTo>
                  <a:lnTo>
                    <a:pt x="156" y="78"/>
                  </a:lnTo>
                  <a:lnTo>
                    <a:pt x="144" y="66"/>
                  </a:lnTo>
                  <a:lnTo>
                    <a:pt x="132" y="60"/>
                  </a:lnTo>
                  <a:lnTo>
                    <a:pt x="120" y="60"/>
                  </a:lnTo>
                  <a:close/>
                </a:path>
              </a:pathLst>
            </a:custGeom>
            <a:grp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40" name="Slovenia" descr="© INSCALE GmbH, 05.05.2010&#10;http://www.presentationload.com/">
              <a:extLst>
                <a:ext uri="{FF2B5EF4-FFF2-40B4-BE49-F238E27FC236}">
                  <a16:creationId xmlns:a16="http://schemas.microsoft.com/office/drawing/2014/main" id="{CF063785-0534-0C51-F45C-BD76ACEFD93E}"/>
                </a:ext>
              </a:extLst>
            </p:cNvPr>
            <p:cNvSpPr>
              <a:spLocks/>
            </p:cNvSpPr>
            <p:nvPr/>
          </p:nvSpPr>
          <p:spPr bwMode="gray">
            <a:xfrm>
              <a:off x="4583748" y="1786501"/>
              <a:ext cx="80048" cy="45954"/>
            </a:xfrm>
            <a:custGeom>
              <a:avLst/>
              <a:gdLst>
                <a:gd name="T0" fmla="*/ 2147483647 w 210"/>
                <a:gd name="T1" fmla="*/ 2147483647 h 120"/>
                <a:gd name="T2" fmla="*/ 2147483647 w 210"/>
                <a:gd name="T3" fmla="*/ 2147483647 h 120"/>
                <a:gd name="T4" fmla="*/ 2147483647 w 210"/>
                <a:gd name="T5" fmla="*/ 2147483647 h 120"/>
                <a:gd name="T6" fmla="*/ 2147483647 w 210"/>
                <a:gd name="T7" fmla="*/ 2147483647 h 120"/>
                <a:gd name="T8" fmla="*/ 2147483647 w 210"/>
                <a:gd name="T9" fmla="*/ 2147483647 h 120"/>
                <a:gd name="T10" fmla="*/ 2147483647 w 210"/>
                <a:gd name="T11" fmla="*/ 2147483647 h 120"/>
                <a:gd name="T12" fmla="*/ 2147483647 w 210"/>
                <a:gd name="T13" fmla="*/ 2147483647 h 120"/>
                <a:gd name="T14" fmla="*/ 2147483647 w 210"/>
                <a:gd name="T15" fmla="*/ 2147483647 h 120"/>
                <a:gd name="T16" fmla="*/ 2147483647 w 210"/>
                <a:gd name="T17" fmla="*/ 2147483647 h 120"/>
                <a:gd name="T18" fmla="*/ 2147483647 w 210"/>
                <a:gd name="T19" fmla="*/ 2147483647 h 120"/>
                <a:gd name="T20" fmla="*/ 2147483647 w 210"/>
                <a:gd name="T21" fmla="*/ 2147483647 h 120"/>
                <a:gd name="T22" fmla="*/ 2147483647 w 210"/>
                <a:gd name="T23" fmla="*/ 2147483647 h 120"/>
                <a:gd name="T24" fmla="*/ 2147483647 w 210"/>
                <a:gd name="T25" fmla="*/ 2147483647 h 120"/>
                <a:gd name="T26" fmla="*/ 2147483647 w 210"/>
                <a:gd name="T27" fmla="*/ 2147483647 h 120"/>
                <a:gd name="T28" fmla="*/ 2147483647 w 210"/>
                <a:gd name="T29" fmla="*/ 2147483647 h 120"/>
                <a:gd name="T30" fmla="*/ 2147483647 w 210"/>
                <a:gd name="T31" fmla="*/ 2147483647 h 120"/>
                <a:gd name="T32" fmla="*/ 2147483647 w 210"/>
                <a:gd name="T33" fmla="*/ 2147483647 h 120"/>
                <a:gd name="T34" fmla="*/ 2147483647 w 210"/>
                <a:gd name="T35" fmla="*/ 2147483647 h 120"/>
                <a:gd name="T36" fmla="*/ 2147483647 w 210"/>
                <a:gd name="T37" fmla="*/ 2147483647 h 120"/>
                <a:gd name="T38" fmla="*/ 2147483647 w 210"/>
                <a:gd name="T39" fmla="*/ 2147483647 h 120"/>
                <a:gd name="T40" fmla="*/ 2147483647 w 210"/>
                <a:gd name="T41" fmla="*/ 2147483647 h 120"/>
                <a:gd name="T42" fmla="*/ 2147483647 w 210"/>
                <a:gd name="T43" fmla="*/ 0 h 120"/>
                <a:gd name="T44" fmla="*/ 2147483647 w 210"/>
                <a:gd name="T45" fmla="*/ 2147483647 h 120"/>
                <a:gd name="T46" fmla="*/ 2147483647 w 210"/>
                <a:gd name="T47" fmla="*/ 2147483647 h 120"/>
                <a:gd name="T48" fmla="*/ 2147483647 w 210"/>
                <a:gd name="T49" fmla="*/ 2147483647 h 120"/>
                <a:gd name="T50" fmla="*/ 2147483647 w 210"/>
                <a:gd name="T51" fmla="*/ 2147483647 h 120"/>
                <a:gd name="T52" fmla="*/ 2147483647 w 210"/>
                <a:gd name="T53" fmla="*/ 2147483647 h 120"/>
                <a:gd name="T54" fmla="*/ 2147483647 w 210"/>
                <a:gd name="T55" fmla="*/ 2147483647 h 120"/>
                <a:gd name="T56" fmla="*/ 2147483647 w 210"/>
                <a:gd name="T57" fmla="*/ 2147483647 h 120"/>
                <a:gd name="T58" fmla="*/ 2147483647 w 210"/>
                <a:gd name="T59" fmla="*/ 2147483647 h 120"/>
                <a:gd name="T60" fmla="*/ 2147483647 w 210"/>
                <a:gd name="T61" fmla="*/ 2147483647 h 120"/>
                <a:gd name="T62" fmla="*/ 2147483647 w 210"/>
                <a:gd name="T63" fmla="*/ 2147483647 h 120"/>
                <a:gd name="T64" fmla="*/ 2147483647 w 210"/>
                <a:gd name="T65" fmla="*/ 2147483647 h 120"/>
                <a:gd name="T66" fmla="*/ 2147483647 w 210"/>
                <a:gd name="T67" fmla="*/ 2147483647 h 120"/>
                <a:gd name="T68" fmla="*/ 0 w 210"/>
                <a:gd name="T69" fmla="*/ 2147483647 h 120"/>
                <a:gd name="T70" fmla="*/ 2147483647 w 210"/>
                <a:gd name="T71" fmla="*/ 2147483647 h 120"/>
                <a:gd name="T72" fmla="*/ 2147483647 w 210"/>
                <a:gd name="T73" fmla="*/ 2147483647 h 120"/>
                <a:gd name="T74" fmla="*/ 2147483647 w 210"/>
                <a:gd name="T75" fmla="*/ 2147483647 h 120"/>
                <a:gd name="T76" fmla="*/ 2147483647 w 210"/>
                <a:gd name="T77" fmla="*/ 2147483647 h 120"/>
                <a:gd name="T78" fmla="*/ 2147483647 w 210"/>
                <a:gd name="T79" fmla="*/ 2147483647 h 120"/>
                <a:gd name="T80" fmla="*/ 2147483647 w 210"/>
                <a:gd name="T81" fmla="*/ 2147483647 h 120"/>
                <a:gd name="T82" fmla="*/ 2147483647 w 210"/>
                <a:gd name="T83" fmla="*/ 2147483647 h 120"/>
                <a:gd name="T84" fmla="*/ 2147483647 w 210"/>
                <a:gd name="T85" fmla="*/ 2147483647 h 120"/>
                <a:gd name="T86" fmla="*/ 2147483647 w 210"/>
                <a:gd name="T87" fmla="*/ 2147483647 h 12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0"/>
                <a:gd name="T133" fmla="*/ 0 h 120"/>
                <a:gd name="T134" fmla="*/ 210 w 210"/>
                <a:gd name="T135" fmla="*/ 120 h 12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0" h="120">
                  <a:moveTo>
                    <a:pt x="24" y="120"/>
                  </a:moveTo>
                  <a:lnTo>
                    <a:pt x="42" y="120"/>
                  </a:lnTo>
                  <a:lnTo>
                    <a:pt x="42" y="108"/>
                  </a:lnTo>
                  <a:lnTo>
                    <a:pt x="54" y="114"/>
                  </a:lnTo>
                  <a:lnTo>
                    <a:pt x="72" y="114"/>
                  </a:lnTo>
                  <a:lnTo>
                    <a:pt x="78" y="102"/>
                  </a:lnTo>
                  <a:lnTo>
                    <a:pt x="78" y="108"/>
                  </a:lnTo>
                  <a:lnTo>
                    <a:pt x="84" y="114"/>
                  </a:lnTo>
                  <a:lnTo>
                    <a:pt x="126" y="114"/>
                  </a:lnTo>
                  <a:lnTo>
                    <a:pt x="126" y="96"/>
                  </a:lnTo>
                  <a:lnTo>
                    <a:pt x="138" y="90"/>
                  </a:lnTo>
                  <a:lnTo>
                    <a:pt x="150" y="78"/>
                  </a:lnTo>
                  <a:lnTo>
                    <a:pt x="150" y="72"/>
                  </a:lnTo>
                  <a:lnTo>
                    <a:pt x="144" y="66"/>
                  </a:lnTo>
                  <a:lnTo>
                    <a:pt x="144" y="54"/>
                  </a:lnTo>
                  <a:lnTo>
                    <a:pt x="174" y="54"/>
                  </a:lnTo>
                  <a:lnTo>
                    <a:pt x="186" y="48"/>
                  </a:lnTo>
                  <a:lnTo>
                    <a:pt x="186" y="36"/>
                  </a:lnTo>
                  <a:lnTo>
                    <a:pt x="210" y="36"/>
                  </a:lnTo>
                  <a:lnTo>
                    <a:pt x="192" y="24"/>
                  </a:lnTo>
                  <a:lnTo>
                    <a:pt x="186" y="6"/>
                  </a:lnTo>
                  <a:lnTo>
                    <a:pt x="180" y="0"/>
                  </a:lnTo>
                  <a:lnTo>
                    <a:pt x="174" y="12"/>
                  </a:lnTo>
                  <a:lnTo>
                    <a:pt x="168" y="30"/>
                  </a:lnTo>
                  <a:lnTo>
                    <a:pt x="144" y="24"/>
                  </a:lnTo>
                  <a:lnTo>
                    <a:pt x="132" y="30"/>
                  </a:lnTo>
                  <a:lnTo>
                    <a:pt x="84" y="30"/>
                  </a:lnTo>
                  <a:lnTo>
                    <a:pt x="84" y="42"/>
                  </a:lnTo>
                  <a:lnTo>
                    <a:pt x="54" y="42"/>
                  </a:lnTo>
                  <a:lnTo>
                    <a:pt x="48" y="36"/>
                  </a:lnTo>
                  <a:lnTo>
                    <a:pt x="30" y="36"/>
                  </a:lnTo>
                  <a:lnTo>
                    <a:pt x="24" y="42"/>
                  </a:lnTo>
                  <a:lnTo>
                    <a:pt x="6" y="42"/>
                  </a:lnTo>
                  <a:lnTo>
                    <a:pt x="6" y="48"/>
                  </a:lnTo>
                  <a:lnTo>
                    <a:pt x="0" y="54"/>
                  </a:lnTo>
                  <a:lnTo>
                    <a:pt x="12" y="60"/>
                  </a:lnTo>
                  <a:lnTo>
                    <a:pt x="6" y="96"/>
                  </a:lnTo>
                  <a:lnTo>
                    <a:pt x="18" y="96"/>
                  </a:lnTo>
                  <a:lnTo>
                    <a:pt x="30" y="102"/>
                  </a:lnTo>
                  <a:lnTo>
                    <a:pt x="36" y="102"/>
                  </a:lnTo>
                  <a:lnTo>
                    <a:pt x="36" y="108"/>
                  </a:lnTo>
                  <a:lnTo>
                    <a:pt x="30" y="108"/>
                  </a:lnTo>
                  <a:lnTo>
                    <a:pt x="30" y="114"/>
                  </a:lnTo>
                  <a:lnTo>
                    <a:pt x="24" y="120"/>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41" name="Slovakia" descr="© INSCALE GmbH, 05.05.2010&#10;http://www.presentationload.com/">
              <a:extLst>
                <a:ext uri="{FF2B5EF4-FFF2-40B4-BE49-F238E27FC236}">
                  <a16:creationId xmlns:a16="http://schemas.microsoft.com/office/drawing/2014/main" id="{B091D65C-6029-2A3A-7F97-3DDD977474FA}"/>
                </a:ext>
              </a:extLst>
            </p:cNvPr>
            <p:cNvSpPr>
              <a:spLocks/>
            </p:cNvSpPr>
            <p:nvPr/>
          </p:nvSpPr>
          <p:spPr bwMode="gray">
            <a:xfrm>
              <a:off x="4665278" y="1709417"/>
              <a:ext cx="134897" cy="54848"/>
            </a:xfrm>
            <a:custGeom>
              <a:avLst/>
              <a:gdLst>
                <a:gd name="T0" fmla="*/ 2147483647 w 354"/>
                <a:gd name="T1" fmla="*/ 2147483647 h 144"/>
                <a:gd name="T2" fmla="*/ 2147483647 w 354"/>
                <a:gd name="T3" fmla="*/ 2147483647 h 144"/>
                <a:gd name="T4" fmla="*/ 2147483647 w 354"/>
                <a:gd name="T5" fmla="*/ 2147483647 h 144"/>
                <a:gd name="T6" fmla="*/ 2147483647 w 354"/>
                <a:gd name="T7" fmla="*/ 2147483647 h 144"/>
                <a:gd name="T8" fmla="*/ 2147483647 w 354"/>
                <a:gd name="T9" fmla="*/ 2147483647 h 144"/>
                <a:gd name="T10" fmla="*/ 2147483647 w 354"/>
                <a:gd name="T11" fmla="*/ 2147483647 h 144"/>
                <a:gd name="T12" fmla="*/ 2147483647 w 354"/>
                <a:gd name="T13" fmla="*/ 2147483647 h 144"/>
                <a:gd name="T14" fmla="*/ 2147483647 w 354"/>
                <a:gd name="T15" fmla="*/ 0 h 144"/>
                <a:gd name="T16" fmla="*/ 2147483647 w 354"/>
                <a:gd name="T17" fmla="*/ 2147483647 h 144"/>
                <a:gd name="T18" fmla="*/ 2147483647 w 354"/>
                <a:gd name="T19" fmla="*/ 0 h 144"/>
                <a:gd name="T20" fmla="*/ 2147483647 w 354"/>
                <a:gd name="T21" fmla="*/ 2147483647 h 144"/>
                <a:gd name="T22" fmla="*/ 2147483647 w 354"/>
                <a:gd name="T23" fmla="*/ 2147483647 h 144"/>
                <a:gd name="T24" fmla="*/ 2147483647 w 354"/>
                <a:gd name="T25" fmla="*/ 2147483647 h 144"/>
                <a:gd name="T26" fmla="*/ 2147483647 w 354"/>
                <a:gd name="T27" fmla="*/ 2147483647 h 144"/>
                <a:gd name="T28" fmla="*/ 2147483647 w 354"/>
                <a:gd name="T29" fmla="*/ 2147483647 h 144"/>
                <a:gd name="T30" fmla="*/ 0 w 354"/>
                <a:gd name="T31" fmla="*/ 2147483647 h 144"/>
                <a:gd name="T32" fmla="*/ 2147483647 w 354"/>
                <a:gd name="T33" fmla="*/ 2147483647 h 144"/>
                <a:gd name="T34" fmla="*/ 2147483647 w 354"/>
                <a:gd name="T35" fmla="*/ 2147483647 h 144"/>
                <a:gd name="T36" fmla="*/ 2147483647 w 354"/>
                <a:gd name="T37" fmla="*/ 2147483647 h 144"/>
                <a:gd name="T38" fmla="*/ 2147483647 w 354"/>
                <a:gd name="T39" fmla="*/ 2147483647 h 144"/>
                <a:gd name="T40" fmla="*/ 2147483647 w 354"/>
                <a:gd name="T41" fmla="*/ 2147483647 h 144"/>
                <a:gd name="T42" fmla="*/ 2147483647 w 354"/>
                <a:gd name="T43" fmla="*/ 2147483647 h 144"/>
                <a:gd name="T44" fmla="*/ 2147483647 w 354"/>
                <a:gd name="T45" fmla="*/ 2147483647 h 144"/>
                <a:gd name="T46" fmla="*/ 2147483647 w 354"/>
                <a:gd name="T47" fmla="*/ 2147483647 h 144"/>
                <a:gd name="T48" fmla="*/ 2147483647 w 354"/>
                <a:gd name="T49" fmla="*/ 2147483647 h 144"/>
                <a:gd name="T50" fmla="*/ 2147483647 w 354"/>
                <a:gd name="T51" fmla="*/ 2147483647 h 144"/>
                <a:gd name="T52" fmla="*/ 2147483647 w 354"/>
                <a:gd name="T53" fmla="*/ 2147483647 h 144"/>
                <a:gd name="T54" fmla="*/ 2147483647 w 354"/>
                <a:gd name="T55" fmla="*/ 2147483647 h 144"/>
                <a:gd name="T56" fmla="*/ 2147483647 w 354"/>
                <a:gd name="T57" fmla="*/ 2147483647 h 144"/>
                <a:gd name="T58" fmla="*/ 2147483647 w 354"/>
                <a:gd name="T59" fmla="*/ 2147483647 h 144"/>
                <a:gd name="T60" fmla="*/ 2147483647 w 354"/>
                <a:gd name="T61" fmla="*/ 2147483647 h 144"/>
                <a:gd name="T62" fmla="*/ 2147483647 w 354"/>
                <a:gd name="T63" fmla="*/ 2147483647 h 144"/>
                <a:gd name="T64" fmla="*/ 2147483647 w 354"/>
                <a:gd name="T65" fmla="*/ 2147483647 h 144"/>
                <a:gd name="T66" fmla="*/ 2147483647 w 354"/>
                <a:gd name="T67" fmla="*/ 2147483647 h 144"/>
                <a:gd name="T68" fmla="*/ 2147483647 w 354"/>
                <a:gd name="T69" fmla="*/ 2147483647 h 14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54"/>
                <a:gd name="T106" fmla="*/ 0 h 144"/>
                <a:gd name="T107" fmla="*/ 354 w 354"/>
                <a:gd name="T108" fmla="*/ 144 h 14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54" h="144">
                  <a:moveTo>
                    <a:pt x="348" y="30"/>
                  </a:moveTo>
                  <a:lnTo>
                    <a:pt x="324" y="30"/>
                  </a:lnTo>
                  <a:lnTo>
                    <a:pt x="300" y="6"/>
                  </a:lnTo>
                  <a:lnTo>
                    <a:pt x="276" y="6"/>
                  </a:lnTo>
                  <a:lnTo>
                    <a:pt x="270" y="12"/>
                  </a:lnTo>
                  <a:lnTo>
                    <a:pt x="258" y="18"/>
                  </a:lnTo>
                  <a:lnTo>
                    <a:pt x="246" y="18"/>
                  </a:lnTo>
                  <a:lnTo>
                    <a:pt x="240" y="12"/>
                  </a:lnTo>
                  <a:lnTo>
                    <a:pt x="210" y="12"/>
                  </a:lnTo>
                  <a:lnTo>
                    <a:pt x="210" y="18"/>
                  </a:lnTo>
                  <a:lnTo>
                    <a:pt x="204" y="24"/>
                  </a:lnTo>
                  <a:lnTo>
                    <a:pt x="192" y="24"/>
                  </a:lnTo>
                  <a:lnTo>
                    <a:pt x="186" y="18"/>
                  </a:lnTo>
                  <a:lnTo>
                    <a:pt x="186" y="12"/>
                  </a:lnTo>
                  <a:lnTo>
                    <a:pt x="180" y="12"/>
                  </a:lnTo>
                  <a:lnTo>
                    <a:pt x="168" y="0"/>
                  </a:lnTo>
                  <a:lnTo>
                    <a:pt x="156" y="0"/>
                  </a:lnTo>
                  <a:lnTo>
                    <a:pt x="144" y="12"/>
                  </a:lnTo>
                  <a:lnTo>
                    <a:pt x="138" y="12"/>
                  </a:lnTo>
                  <a:lnTo>
                    <a:pt x="126" y="0"/>
                  </a:lnTo>
                  <a:lnTo>
                    <a:pt x="108" y="12"/>
                  </a:lnTo>
                  <a:lnTo>
                    <a:pt x="84" y="18"/>
                  </a:lnTo>
                  <a:lnTo>
                    <a:pt x="84" y="42"/>
                  </a:lnTo>
                  <a:lnTo>
                    <a:pt x="72" y="48"/>
                  </a:lnTo>
                  <a:lnTo>
                    <a:pt x="66" y="54"/>
                  </a:lnTo>
                  <a:lnTo>
                    <a:pt x="54" y="60"/>
                  </a:lnTo>
                  <a:lnTo>
                    <a:pt x="36" y="60"/>
                  </a:lnTo>
                  <a:lnTo>
                    <a:pt x="36" y="54"/>
                  </a:lnTo>
                  <a:lnTo>
                    <a:pt x="30" y="60"/>
                  </a:lnTo>
                  <a:lnTo>
                    <a:pt x="12" y="60"/>
                  </a:lnTo>
                  <a:lnTo>
                    <a:pt x="6" y="66"/>
                  </a:lnTo>
                  <a:lnTo>
                    <a:pt x="0" y="90"/>
                  </a:lnTo>
                  <a:lnTo>
                    <a:pt x="0" y="102"/>
                  </a:lnTo>
                  <a:lnTo>
                    <a:pt x="6" y="102"/>
                  </a:lnTo>
                  <a:lnTo>
                    <a:pt x="6" y="114"/>
                  </a:lnTo>
                  <a:lnTo>
                    <a:pt x="12" y="114"/>
                  </a:lnTo>
                  <a:lnTo>
                    <a:pt x="12" y="126"/>
                  </a:lnTo>
                  <a:lnTo>
                    <a:pt x="6" y="132"/>
                  </a:lnTo>
                  <a:lnTo>
                    <a:pt x="18" y="138"/>
                  </a:lnTo>
                  <a:lnTo>
                    <a:pt x="30" y="120"/>
                  </a:lnTo>
                  <a:lnTo>
                    <a:pt x="36" y="126"/>
                  </a:lnTo>
                  <a:lnTo>
                    <a:pt x="42" y="138"/>
                  </a:lnTo>
                  <a:lnTo>
                    <a:pt x="48" y="144"/>
                  </a:lnTo>
                  <a:lnTo>
                    <a:pt x="90" y="144"/>
                  </a:lnTo>
                  <a:lnTo>
                    <a:pt x="108" y="138"/>
                  </a:lnTo>
                  <a:lnTo>
                    <a:pt x="120" y="138"/>
                  </a:lnTo>
                  <a:lnTo>
                    <a:pt x="132" y="114"/>
                  </a:lnTo>
                  <a:lnTo>
                    <a:pt x="168" y="120"/>
                  </a:lnTo>
                  <a:lnTo>
                    <a:pt x="174" y="108"/>
                  </a:lnTo>
                  <a:lnTo>
                    <a:pt x="198" y="108"/>
                  </a:lnTo>
                  <a:lnTo>
                    <a:pt x="210" y="102"/>
                  </a:lnTo>
                  <a:lnTo>
                    <a:pt x="216" y="102"/>
                  </a:lnTo>
                  <a:lnTo>
                    <a:pt x="228" y="90"/>
                  </a:lnTo>
                  <a:lnTo>
                    <a:pt x="234" y="78"/>
                  </a:lnTo>
                  <a:lnTo>
                    <a:pt x="258" y="78"/>
                  </a:lnTo>
                  <a:lnTo>
                    <a:pt x="258" y="90"/>
                  </a:lnTo>
                  <a:lnTo>
                    <a:pt x="276" y="96"/>
                  </a:lnTo>
                  <a:lnTo>
                    <a:pt x="276" y="78"/>
                  </a:lnTo>
                  <a:lnTo>
                    <a:pt x="288" y="78"/>
                  </a:lnTo>
                  <a:lnTo>
                    <a:pt x="288" y="90"/>
                  </a:lnTo>
                  <a:lnTo>
                    <a:pt x="300" y="90"/>
                  </a:lnTo>
                  <a:lnTo>
                    <a:pt x="312" y="84"/>
                  </a:lnTo>
                  <a:lnTo>
                    <a:pt x="336" y="84"/>
                  </a:lnTo>
                  <a:lnTo>
                    <a:pt x="336" y="90"/>
                  </a:lnTo>
                  <a:lnTo>
                    <a:pt x="336" y="72"/>
                  </a:lnTo>
                  <a:lnTo>
                    <a:pt x="342" y="72"/>
                  </a:lnTo>
                  <a:lnTo>
                    <a:pt x="348" y="66"/>
                  </a:lnTo>
                  <a:lnTo>
                    <a:pt x="348" y="60"/>
                  </a:lnTo>
                  <a:lnTo>
                    <a:pt x="354" y="54"/>
                  </a:lnTo>
                  <a:lnTo>
                    <a:pt x="354" y="30"/>
                  </a:lnTo>
                  <a:lnTo>
                    <a:pt x="348" y="30"/>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42" name="Sierra Leone" descr="© INSCALE GmbH, 05.05.2010&#10;http://www.presentationload.com/">
              <a:extLst>
                <a:ext uri="{FF2B5EF4-FFF2-40B4-BE49-F238E27FC236}">
                  <a16:creationId xmlns:a16="http://schemas.microsoft.com/office/drawing/2014/main" id="{D3E25627-6863-9F54-B87F-C09ACEC96621}"/>
                </a:ext>
              </a:extLst>
            </p:cNvPr>
            <p:cNvSpPr>
              <a:spLocks/>
            </p:cNvSpPr>
            <p:nvPr/>
          </p:nvSpPr>
          <p:spPr bwMode="gray">
            <a:xfrm>
              <a:off x="3879621" y="2910144"/>
              <a:ext cx="78566" cy="102284"/>
            </a:xfrm>
            <a:custGeom>
              <a:avLst/>
              <a:gdLst>
                <a:gd name="T0" fmla="*/ 2147483647 w 210"/>
                <a:gd name="T1" fmla="*/ 2147483647 h 270"/>
                <a:gd name="T2" fmla="*/ 2147483647 w 210"/>
                <a:gd name="T3" fmla="*/ 2147483647 h 270"/>
                <a:gd name="T4" fmla="*/ 2147483647 w 210"/>
                <a:gd name="T5" fmla="*/ 2147483647 h 270"/>
                <a:gd name="T6" fmla="*/ 2147483647 w 210"/>
                <a:gd name="T7" fmla="*/ 2147483647 h 270"/>
                <a:gd name="T8" fmla="*/ 2147483647 w 210"/>
                <a:gd name="T9" fmla="*/ 2147483647 h 270"/>
                <a:gd name="T10" fmla="*/ 2147483647 w 210"/>
                <a:gd name="T11" fmla="*/ 2147483647 h 270"/>
                <a:gd name="T12" fmla="*/ 2147483647 w 210"/>
                <a:gd name="T13" fmla="*/ 2147483647 h 270"/>
                <a:gd name="T14" fmla="*/ 2147483647 w 210"/>
                <a:gd name="T15" fmla="*/ 2147483647 h 270"/>
                <a:gd name="T16" fmla="*/ 2147483647 w 210"/>
                <a:gd name="T17" fmla="*/ 2147483647 h 270"/>
                <a:gd name="T18" fmla="*/ 2147483647 w 210"/>
                <a:gd name="T19" fmla="*/ 2147483647 h 270"/>
                <a:gd name="T20" fmla="*/ 2147483647 w 210"/>
                <a:gd name="T21" fmla="*/ 2147483647 h 270"/>
                <a:gd name="T22" fmla="*/ 2147483647 w 210"/>
                <a:gd name="T23" fmla="*/ 0 h 270"/>
                <a:gd name="T24" fmla="*/ 2147483647 w 210"/>
                <a:gd name="T25" fmla="*/ 0 h 270"/>
                <a:gd name="T26" fmla="*/ 2147483647 w 210"/>
                <a:gd name="T27" fmla="*/ 2147483647 h 270"/>
                <a:gd name="T28" fmla="*/ 2147483647 w 210"/>
                <a:gd name="T29" fmla="*/ 2147483647 h 270"/>
                <a:gd name="T30" fmla="*/ 2147483647 w 210"/>
                <a:gd name="T31" fmla="*/ 2147483647 h 270"/>
                <a:gd name="T32" fmla="*/ 2147483647 w 210"/>
                <a:gd name="T33" fmla="*/ 2147483647 h 270"/>
                <a:gd name="T34" fmla="*/ 2147483647 w 210"/>
                <a:gd name="T35" fmla="*/ 2147483647 h 270"/>
                <a:gd name="T36" fmla="*/ 2147483647 w 210"/>
                <a:gd name="T37" fmla="*/ 2147483647 h 270"/>
                <a:gd name="T38" fmla="*/ 2147483647 w 210"/>
                <a:gd name="T39" fmla="*/ 2147483647 h 270"/>
                <a:gd name="T40" fmla="*/ 2147483647 w 210"/>
                <a:gd name="T41" fmla="*/ 2147483647 h 270"/>
                <a:gd name="T42" fmla="*/ 2147483647 w 210"/>
                <a:gd name="T43" fmla="*/ 2147483647 h 270"/>
                <a:gd name="T44" fmla="*/ 0 w 210"/>
                <a:gd name="T45" fmla="*/ 2147483647 h 270"/>
                <a:gd name="T46" fmla="*/ 2147483647 w 210"/>
                <a:gd name="T47" fmla="*/ 2147483647 h 270"/>
                <a:gd name="T48" fmla="*/ 2147483647 w 210"/>
                <a:gd name="T49" fmla="*/ 2147483647 h 270"/>
                <a:gd name="T50" fmla="*/ 0 w 210"/>
                <a:gd name="T51" fmla="*/ 2147483647 h 270"/>
                <a:gd name="T52" fmla="*/ 0 w 210"/>
                <a:gd name="T53" fmla="*/ 2147483647 h 270"/>
                <a:gd name="T54" fmla="*/ 2147483647 w 210"/>
                <a:gd name="T55" fmla="*/ 2147483647 h 270"/>
                <a:gd name="T56" fmla="*/ 2147483647 w 210"/>
                <a:gd name="T57" fmla="*/ 2147483647 h 270"/>
                <a:gd name="T58" fmla="*/ 2147483647 w 210"/>
                <a:gd name="T59" fmla="*/ 2147483647 h 270"/>
                <a:gd name="T60" fmla="*/ 2147483647 w 210"/>
                <a:gd name="T61" fmla="*/ 2147483647 h 270"/>
                <a:gd name="T62" fmla="*/ 2147483647 w 210"/>
                <a:gd name="T63" fmla="*/ 2147483647 h 270"/>
                <a:gd name="T64" fmla="*/ 2147483647 w 210"/>
                <a:gd name="T65" fmla="*/ 2147483647 h 270"/>
                <a:gd name="T66" fmla="*/ 2147483647 w 210"/>
                <a:gd name="T67" fmla="*/ 2147483647 h 270"/>
                <a:gd name="T68" fmla="*/ 2147483647 w 210"/>
                <a:gd name="T69" fmla="*/ 2147483647 h 270"/>
                <a:gd name="T70" fmla="*/ 2147483647 w 210"/>
                <a:gd name="T71" fmla="*/ 2147483647 h 270"/>
                <a:gd name="T72" fmla="*/ 2147483647 w 210"/>
                <a:gd name="T73" fmla="*/ 2147483647 h 270"/>
                <a:gd name="T74" fmla="*/ 2147483647 w 210"/>
                <a:gd name="T75" fmla="*/ 2147483647 h 270"/>
                <a:gd name="T76" fmla="*/ 2147483647 w 210"/>
                <a:gd name="T77" fmla="*/ 2147483647 h 270"/>
                <a:gd name="T78" fmla="*/ 2147483647 w 210"/>
                <a:gd name="T79" fmla="*/ 2147483647 h 270"/>
                <a:gd name="T80" fmla="*/ 2147483647 w 210"/>
                <a:gd name="T81" fmla="*/ 2147483647 h 270"/>
                <a:gd name="T82" fmla="*/ 2147483647 w 210"/>
                <a:gd name="T83" fmla="*/ 2147483647 h 270"/>
                <a:gd name="T84" fmla="*/ 2147483647 w 210"/>
                <a:gd name="T85" fmla="*/ 2147483647 h 270"/>
                <a:gd name="T86" fmla="*/ 2147483647 w 210"/>
                <a:gd name="T87" fmla="*/ 2147483647 h 27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0"/>
                <a:gd name="T133" fmla="*/ 0 h 270"/>
                <a:gd name="T134" fmla="*/ 210 w 210"/>
                <a:gd name="T135" fmla="*/ 270 h 27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0" h="270">
                  <a:moveTo>
                    <a:pt x="186" y="180"/>
                  </a:moveTo>
                  <a:lnTo>
                    <a:pt x="186" y="162"/>
                  </a:lnTo>
                  <a:lnTo>
                    <a:pt x="210" y="156"/>
                  </a:lnTo>
                  <a:lnTo>
                    <a:pt x="204" y="132"/>
                  </a:lnTo>
                  <a:lnTo>
                    <a:pt x="174" y="144"/>
                  </a:lnTo>
                  <a:lnTo>
                    <a:pt x="180" y="126"/>
                  </a:lnTo>
                  <a:lnTo>
                    <a:pt x="186" y="120"/>
                  </a:lnTo>
                  <a:lnTo>
                    <a:pt x="192" y="108"/>
                  </a:lnTo>
                  <a:lnTo>
                    <a:pt x="192" y="90"/>
                  </a:lnTo>
                  <a:lnTo>
                    <a:pt x="180" y="78"/>
                  </a:lnTo>
                  <a:lnTo>
                    <a:pt x="180" y="60"/>
                  </a:lnTo>
                  <a:lnTo>
                    <a:pt x="138" y="0"/>
                  </a:lnTo>
                  <a:lnTo>
                    <a:pt x="102" y="0"/>
                  </a:lnTo>
                  <a:lnTo>
                    <a:pt x="96" y="18"/>
                  </a:lnTo>
                  <a:lnTo>
                    <a:pt x="60" y="18"/>
                  </a:lnTo>
                  <a:lnTo>
                    <a:pt x="60" y="24"/>
                  </a:lnTo>
                  <a:lnTo>
                    <a:pt x="54" y="30"/>
                  </a:lnTo>
                  <a:lnTo>
                    <a:pt x="48" y="42"/>
                  </a:lnTo>
                  <a:lnTo>
                    <a:pt x="36" y="54"/>
                  </a:lnTo>
                  <a:lnTo>
                    <a:pt x="30" y="66"/>
                  </a:lnTo>
                  <a:lnTo>
                    <a:pt x="18" y="72"/>
                  </a:lnTo>
                  <a:lnTo>
                    <a:pt x="12" y="78"/>
                  </a:lnTo>
                  <a:lnTo>
                    <a:pt x="0" y="84"/>
                  </a:lnTo>
                  <a:lnTo>
                    <a:pt x="12" y="96"/>
                  </a:lnTo>
                  <a:lnTo>
                    <a:pt x="6" y="102"/>
                  </a:lnTo>
                  <a:lnTo>
                    <a:pt x="0" y="114"/>
                  </a:lnTo>
                  <a:lnTo>
                    <a:pt x="0" y="132"/>
                  </a:lnTo>
                  <a:lnTo>
                    <a:pt x="6" y="138"/>
                  </a:lnTo>
                  <a:lnTo>
                    <a:pt x="18" y="144"/>
                  </a:lnTo>
                  <a:lnTo>
                    <a:pt x="24" y="150"/>
                  </a:lnTo>
                  <a:lnTo>
                    <a:pt x="18" y="180"/>
                  </a:lnTo>
                  <a:lnTo>
                    <a:pt x="42" y="198"/>
                  </a:lnTo>
                  <a:lnTo>
                    <a:pt x="42" y="204"/>
                  </a:lnTo>
                  <a:lnTo>
                    <a:pt x="48" y="210"/>
                  </a:lnTo>
                  <a:lnTo>
                    <a:pt x="54" y="222"/>
                  </a:lnTo>
                  <a:lnTo>
                    <a:pt x="78" y="234"/>
                  </a:lnTo>
                  <a:lnTo>
                    <a:pt x="96" y="234"/>
                  </a:lnTo>
                  <a:lnTo>
                    <a:pt x="126" y="270"/>
                  </a:lnTo>
                  <a:lnTo>
                    <a:pt x="126" y="234"/>
                  </a:lnTo>
                  <a:lnTo>
                    <a:pt x="144" y="216"/>
                  </a:lnTo>
                  <a:lnTo>
                    <a:pt x="156" y="210"/>
                  </a:lnTo>
                  <a:lnTo>
                    <a:pt x="168" y="198"/>
                  </a:lnTo>
                  <a:lnTo>
                    <a:pt x="180" y="192"/>
                  </a:lnTo>
                  <a:lnTo>
                    <a:pt x="186" y="180"/>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43" name="Serbia" descr="© INSCALE GmbH, 05.05.2010&#10;http://www.presentationload.com/">
              <a:extLst>
                <a:ext uri="{FF2B5EF4-FFF2-40B4-BE49-F238E27FC236}">
                  <a16:creationId xmlns:a16="http://schemas.microsoft.com/office/drawing/2014/main" id="{065471C1-409E-D152-C6C1-AC851D613DC9}"/>
                </a:ext>
              </a:extLst>
            </p:cNvPr>
            <p:cNvSpPr>
              <a:spLocks/>
            </p:cNvSpPr>
            <p:nvPr/>
          </p:nvSpPr>
          <p:spPr bwMode="gray">
            <a:xfrm>
              <a:off x="4717162" y="1810219"/>
              <a:ext cx="103766" cy="113769"/>
            </a:xfrm>
            <a:custGeom>
              <a:avLst/>
              <a:gdLst/>
              <a:ahLst/>
              <a:cxnLst>
                <a:cxn ang="0">
                  <a:pos x="464" y="374"/>
                </a:cxn>
                <a:cxn ang="0">
                  <a:pos x="453" y="310"/>
                </a:cxn>
                <a:cxn ang="0">
                  <a:pos x="453" y="235"/>
                </a:cxn>
                <a:cxn ang="0">
                  <a:pos x="378" y="224"/>
                </a:cxn>
                <a:cxn ang="0">
                  <a:pos x="302" y="171"/>
                </a:cxn>
                <a:cxn ang="0">
                  <a:pos x="291" y="118"/>
                </a:cxn>
                <a:cxn ang="0">
                  <a:pos x="259" y="128"/>
                </a:cxn>
                <a:cxn ang="0">
                  <a:pos x="216" y="53"/>
                </a:cxn>
                <a:cxn ang="0">
                  <a:pos x="87" y="0"/>
                </a:cxn>
                <a:cxn ang="0">
                  <a:pos x="0" y="43"/>
                </a:cxn>
                <a:cxn ang="0">
                  <a:pos x="32" y="96"/>
                </a:cxn>
                <a:cxn ang="0">
                  <a:pos x="65" y="139"/>
                </a:cxn>
                <a:cxn ang="0">
                  <a:pos x="54" y="150"/>
                </a:cxn>
                <a:cxn ang="0">
                  <a:pos x="32" y="181"/>
                </a:cxn>
                <a:cxn ang="0">
                  <a:pos x="32" y="192"/>
                </a:cxn>
                <a:cxn ang="0">
                  <a:pos x="76" y="203"/>
                </a:cxn>
                <a:cxn ang="0">
                  <a:pos x="87" y="267"/>
                </a:cxn>
                <a:cxn ang="0">
                  <a:pos x="65" y="310"/>
                </a:cxn>
                <a:cxn ang="0">
                  <a:pos x="98" y="363"/>
                </a:cxn>
                <a:cxn ang="0">
                  <a:pos x="119" y="395"/>
                </a:cxn>
                <a:cxn ang="0">
                  <a:pos x="157" y="442"/>
                </a:cxn>
                <a:cxn ang="0">
                  <a:pos x="173" y="438"/>
                </a:cxn>
                <a:cxn ang="0">
                  <a:pos x="180" y="444"/>
                </a:cxn>
                <a:cxn ang="0">
                  <a:pos x="230" y="446"/>
                </a:cxn>
                <a:cxn ang="0">
                  <a:pos x="237" y="431"/>
                </a:cxn>
                <a:cxn ang="0">
                  <a:pos x="258" y="416"/>
                </a:cxn>
                <a:cxn ang="0">
                  <a:pos x="266" y="418"/>
                </a:cxn>
                <a:cxn ang="0">
                  <a:pos x="268" y="407"/>
                </a:cxn>
                <a:cxn ang="0">
                  <a:pos x="267" y="399"/>
                </a:cxn>
                <a:cxn ang="0">
                  <a:pos x="254" y="388"/>
                </a:cxn>
                <a:cxn ang="0">
                  <a:pos x="262" y="387"/>
                </a:cxn>
                <a:cxn ang="0">
                  <a:pos x="279" y="380"/>
                </a:cxn>
                <a:cxn ang="0">
                  <a:pos x="288" y="372"/>
                </a:cxn>
                <a:cxn ang="0">
                  <a:pos x="298" y="389"/>
                </a:cxn>
                <a:cxn ang="0">
                  <a:pos x="292" y="399"/>
                </a:cxn>
                <a:cxn ang="0">
                  <a:pos x="309" y="402"/>
                </a:cxn>
                <a:cxn ang="0">
                  <a:pos x="321" y="404"/>
                </a:cxn>
                <a:cxn ang="0">
                  <a:pos x="326" y="408"/>
                </a:cxn>
                <a:cxn ang="0">
                  <a:pos x="328" y="433"/>
                </a:cxn>
                <a:cxn ang="0">
                  <a:pos x="334" y="429"/>
                </a:cxn>
                <a:cxn ang="0">
                  <a:pos x="335" y="448"/>
                </a:cxn>
                <a:cxn ang="0">
                  <a:pos x="348" y="452"/>
                </a:cxn>
                <a:cxn ang="0">
                  <a:pos x="356" y="467"/>
                </a:cxn>
                <a:cxn ang="0">
                  <a:pos x="354" y="478"/>
                </a:cxn>
                <a:cxn ang="0">
                  <a:pos x="356" y="482"/>
                </a:cxn>
                <a:cxn ang="0">
                  <a:pos x="369" y="485"/>
                </a:cxn>
                <a:cxn ang="0">
                  <a:pos x="381" y="492"/>
                </a:cxn>
                <a:cxn ang="0">
                  <a:pos x="390" y="496"/>
                </a:cxn>
                <a:cxn ang="0">
                  <a:pos x="399" y="501"/>
                </a:cxn>
                <a:cxn ang="0">
                  <a:pos x="392" y="513"/>
                </a:cxn>
                <a:cxn ang="0">
                  <a:pos x="384" y="528"/>
                </a:cxn>
                <a:cxn ang="0">
                  <a:pos x="376" y="542"/>
                </a:cxn>
                <a:cxn ang="0">
                  <a:pos x="453" y="492"/>
                </a:cxn>
                <a:cxn ang="0">
                  <a:pos x="486" y="470"/>
                </a:cxn>
                <a:cxn ang="0">
                  <a:pos x="486" y="406"/>
                </a:cxn>
              </a:cxnLst>
              <a:rect l="0" t="0" r="r" b="b"/>
              <a:pathLst>
                <a:path w="496" h="542">
                  <a:moveTo>
                    <a:pt x="486" y="406"/>
                  </a:moveTo>
                  <a:cubicBezTo>
                    <a:pt x="453" y="395"/>
                    <a:pt x="453" y="395"/>
                    <a:pt x="453" y="395"/>
                  </a:cubicBezTo>
                  <a:cubicBezTo>
                    <a:pt x="464" y="374"/>
                    <a:pt x="464" y="374"/>
                    <a:pt x="464" y="374"/>
                  </a:cubicBezTo>
                  <a:cubicBezTo>
                    <a:pt x="432" y="363"/>
                    <a:pt x="432" y="363"/>
                    <a:pt x="432" y="363"/>
                  </a:cubicBezTo>
                  <a:cubicBezTo>
                    <a:pt x="432" y="331"/>
                    <a:pt x="432" y="331"/>
                    <a:pt x="432" y="331"/>
                  </a:cubicBezTo>
                  <a:cubicBezTo>
                    <a:pt x="453" y="310"/>
                    <a:pt x="453" y="310"/>
                    <a:pt x="453" y="310"/>
                  </a:cubicBezTo>
                  <a:cubicBezTo>
                    <a:pt x="453" y="267"/>
                    <a:pt x="453" y="267"/>
                    <a:pt x="453" y="267"/>
                  </a:cubicBezTo>
                  <a:cubicBezTo>
                    <a:pt x="442" y="256"/>
                    <a:pt x="442" y="256"/>
                    <a:pt x="442" y="256"/>
                  </a:cubicBezTo>
                  <a:cubicBezTo>
                    <a:pt x="453" y="235"/>
                    <a:pt x="453" y="235"/>
                    <a:pt x="453" y="235"/>
                  </a:cubicBezTo>
                  <a:cubicBezTo>
                    <a:pt x="464" y="224"/>
                    <a:pt x="464" y="224"/>
                    <a:pt x="464" y="224"/>
                  </a:cubicBezTo>
                  <a:cubicBezTo>
                    <a:pt x="421" y="213"/>
                    <a:pt x="421" y="213"/>
                    <a:pt x="421" y="213"/>
                  </a:cubicBezTo>
                  <a:cubicBezTo>
                    <a:pt x="378" y="224"/>
                    <a:pt x="378" y="224"/>
                    <a:pt x="378" y="224"/>
                  </a:cubicBezTo>
                  <a:cubicBezTo>
                    <a:pt x="367" y="213"/>
                    <a:pt x="367" y="213"/>
                    <a:pt x="367" y="213"/>
                  </a:cubicBezTo>
                  <a:cubicBezTo>
                    <a:pt x="324" y="203"/>
                    <a:pt x="324" y="203"/>
                    <a:pt x="324" y="203"/>
                  </a:cubicBezTo>
                  <a:cubicBezTo>
                    <a:pt x="302" y="171"/>
                    <a:pt x="302" y="171"/>
                    <a:pt x="302" y="171"/>
                  </a:cubicBezTo>
                  <a:cubicBezTo>
                    <a:pt x="313" y="160"/>
                    <a:pt x="313" y="160"/>
                    <a:pt x="313" y="160"/>
                  </a:cubicBezTo>
                  <a:cubicBezTo>
                    <a:pt x="313" y="128"/>
                    <a:pt x="313" y="128"/>
                    <a:pt x="313" y="128"/>
                  </a:cubicBezTo>
                  <a:cubicBezTo>
                    <a:pt x="291" y="118"/>
                    <a:pt x="291" y="118"/>
                    <a:pt x="291" y="118"/>
                  </a:cubicBezTo>
                  <a:cubicBezTo>
                    <a:pt x="280" y="118"/>
                    <a:pt x="280" y="118"/>
                    <a:pt x="280" y="118"/>
                  </a:cubicBezTo>
                  <a:cubicBezTo>
                    <a:pt x="270" y="128"/>
                    <a:pt x="270" y="128"/>
                    <a:pt x="270" y="128"/>
                  </a:cubicBezTo>
                  <a:cubicBezTo>
                    <a:pt x="259" y="128"/>
                    <a:pt x="259" y="128"/>
                    <a:pt x="259" y="128"/>
                  </a:cubicBezTo>
                  <a:cubicBezTo>
                    <a:pt x="249" y="118"/>
                    <a:pt x="249" y="118"/>
                    <a:pt x="249" y="118"/>
                  </a:cubicBezTo>
                  <a:cubicBezTo>
                    <a:pt x="227" y="53"/>
                    <a:pt x="227" y="53"/>
                    <a:pt x="227" y="53"/>
                  </a:cubicBezTo>
                  <a:cubicBezTo>
                    <a:pt x="216" y="53"/>
                    <a:pt x="216" y="53"/>
                    <a:pt x="216" y="53"/>
                  </a:cubicBezTo>
                  <a:cubicBezTo>
                    <a:pt x="173" y="21"/>
                    <a:pt x="173" y="21"/>
                    <a:pt x="173" y="21"/>
                  </a:cubicBezTo>
                  <a:cubicBezTo>
                    <a:pt x="129" y="0"/>
                    <a:pt x="129" y="0"/>
                    <a:pt x="129" y="0"/>
                  </a:cubicBezTo>
                  <a:cubicBezTo>
                    <a:pt x="87" y="0"/>
                    <a:pt x="87" y="0"/>
                    <a:pt x="87" y="0"/>
                  </a:cubicBezTo>
                  <a:cubicBezTo>
                    <a:pt x="54" y="32"/>
                    <a:pt x="54" y="32"/>
                    <a:pt x="54" y="32"/>
                  </a:cubicBezTo>
                  <a:cubicBezTo>
                    <a:pt x="11" y="32"/>
                    <a:pt x="11" y="32"/>
                    <a:pt x="11" y="32"/>
                  </a:cubicBezTo>
                  <a:cubicBezTo>
                    <a:pt x="0" y="43"/>
                    <a:pt x="0" y="43"/>
                    <a:pt x="0" y="43"/>
                  </a:cubicBezTo>
                  <a:cubicBezTo>
                    <a:pt x="11" y="43"/>
                    <a:pt x="11" y="43"/>
                    <a:pt x="11" y="43"/>
                  </a:cubicBezTo>
                  <a:cubicBezTo>
                    <a:pt x="22" y="96"/>
                    <a:pt x="22" y="96"/>
                    <a:pt x="22" y="96"/>
                  </a:cubicBezTo>
                  <a:cubicBezTo>
                    <a:pt x="32" y="96"/>
                    <a:pt x="32" y="96"/>
                    <a:pt x="32" y="96"/>
                  </a:cubicBezTo>
                  <a:cubicBezTo>
                    <a:pt x="22" y="128"/>
                    <a:pt x="22" y="128"/>
                    <a:pt x="22" y="128"/>
                  </a:cubicBezTo>
                  <a:cubicBezTo>
                    <a:pt x="43" y="128"/>
                    <a:pt x="43" y="128"/>
                    <a:pt x="43" y="128"/>
                  </a:cubicBezTo>
                  <a:cubicBezTo>
                    <a:pt x="65" y="139"/>
                    <a:pt x="65" y="139"/>
                    <a:pt x="65" y="139"/>
                  </a:cubicBezTo>
                  <a:cubicBezTo>
                    <a:pt x="76" y="139"/>
                    <a:pt x="76" y="139"/>
                    <a:pt x="76" y="139"/>
                  </a:cubicBezTo>
                  <a:cubicBezTo>
                    <a:pt x="65" y="150"/>
                    <a:pt x="65" y="150"/>
                    <a:pt x="65" y="150"/>
                  </a:cubicBezTo>
                  <a:cubicBezTo>
                    <a:pt x="54" y="150"/>
                    <a:pt x="54" y="150"/>
                    <a:pt x="54" y="150"/>
                  </a:cubicBezTo>
                  <a:cubicBezTo>
                    <a:pt x="43" y="160"/>
                    <a:pt x="43" y="160"/>
                    <a:pt x="43" y="160"/>
                  </a:cubicBezTo>
                  <a:cubicBezTo>
                    <a:pt x="32" y="160"/>
                    <a:pt x="32" y="160"/>
                    <a:pt x="32" y="160"/>
                  </a:cubicBezTo>
                  <a:cubicBezTo>
                    <a:pt x="32" y="181"/>
                    <a:pt x="32" y="181"/>
                    <a:pt x="32" y="181"/>
                  </a:cubicBezTo>
                  <a:cubicBezTo>
                    <a:pt x="22" y="181"/>
                    <a:pt x="22" y="181"/>
                    <a:pt x="22" y="181"/>
                  </a:cubicBezTo>
                  <a:cubicBezTo>
                    <a:pt x="22" y="192"/>
                    <a:pt x="22" y="192"/>
                    <a:pt x="22" y="192"/>
                  </a:cubicBezTo>
                  <a:cubicBezTo>
                    <a:pt x="32" y="192"/>
                    <a:pt x="32" y="192"/>
                    <a:pt x="32" y="192"/>
                  </a:cubicBezTo>
                  <a:cubicBezTo>
                    <a:pt x="54" y="181"/>
                    <a:pt x="54" y="181"/>
                    <a:pt x="54" y="181"/>
                  </a:cubicBezTo>
                  <a:cubicBezTo>
                    <a:pt x="76" y="181"/>
                    <a:pt x="76" y="181"/>
                    <a:pt x="76" y="181"/>
                  </a:cubicBezTo>
                  <a:cubicBezTo>
                    <a:pt x="76" y="203"/>
                    <a:pt x="76" y="203"/>
                    <a:pt x="76" y="203"/>
                  </a:cubicBezTo>
                  <a:cubicBezTo>
                    <a:pt x="43" y="235"/>
                    <a:pt x="43" y="235"/>
                    <a:pt x="43" y="235"/>
                  </a:cubicBezTo>
                  <a:cubicBezTo>
                    <a:pt x="43" y="267"/>
                    <a:pt x="43" y="267"/>
                    <a:pt x="43" y="267"/>
                  </a:cubicBezTo>
                  <a:cubicBezTo>
                    <a:pt x="87" y="267"/>
                    <a:pt x="87" y="267"/>
                    <a:pt x="87" y="267"/>
                  </a:cubicBezTo>
                  <a:cubicBezTo>
                    <a:pt x="98" y="278"/>
                    <a:pt x="98" y="278"/>
                    <a:pt x="98" y="278"/>
                  </a:cubicBezTo>
                  <a:cubicBezTo>
                    <a:pt x="108" y="299"/>
                    <a:pt x="108" y="299"/>
                    <a:pt x="108" y="299"/>
                  </a:cubicBezTo>
                  <a:cubicBezTo>
                    <a:pt x="65" y="310"/>
                    <a:pt x="65" y="310"/>
                    <a:pt x="65" y="310"/>
                  </a:cubicBezTo>
                  <a:cubicBezTo>
                    <a:pt x="87" y="331"/>
                    <a:pt x="87" y="331"/>
                    <a:pt x="87" y="331"/>
                  </a:cubicBezTo>
                  <a:cubicBezTo>
                    <a:pt x="98" y="353"/>
                    <a:pt x="98" y="353"/>
                    <a:pt x="98" y="353"/>
                  </a:cubicBezTo>
                  <a:cubicBezTo>
                    <a:pt x="98" y="363"/>
                    <a:pt x="98" y="363"/>
                    <a:pt x="98" y="363"/>
                  </a:cubicBezTo>
                  <a:cubicBezTo>
                    <a:pt x="87" y="363"/>
                    <a:pt x="87" y="363"/>
                    <a:pt x="87" y="363"/>
                  </a:cubicBezTo>
                  <a:cubicBezTo>
                    <a:pt x="87" y="374"/>
                    <a:pt x="87" y="374"/>
                    <a:pt x="87" y="374"/>
                  </a:cubicBezTo>
                  <a:cubicBezTo>
                    <a:pt x="119" y="395"/>
                    <a:pt x="119" y="395"/>
                    <a:pt x="119" y="395"/>
                  </a:cubicBezTo>
                  <a:cubicBezTo>
                    <a:pt x="140" y="417"/>
                    <a:pt x="140" y="417"/>
                    <a:pt x="140" y="417"/>
                  </a:cubicBezTo>
                  <a:cubicBezTo>
                    <a:pt x="157" y="442"/>
                    <a:pt x="157" y="442"/>
                    <a:pt x="157" y="442"/>
                  </a:cubicBezTo>
                  <a:cubicBezTo>
                    <a:pt x="157" y="442"/>
                    <a:pt x="157" y="442"/>
                    <a:pt x="157" y="442"/>
                  </a:cubicBezTo>
                  <a:cubicBezTo>
                    <a:pt x="159" y="442"/>
                    <a:pt x="161" y="443"/>
                    <a:pt x="166" y="444"/>
                  </a:cubicBezTo>
                  <a:cubicBezTo>
                    <a:pt x="166" y="444"/>
                    <a:pt x="166" y="444"/>
                    <a:pt x="167" y="444"/>
                  </a:cubicBezTo>
                  <a:cubicBezTo>
                    <a:pt x="173" y="438"/>
                    <a:pt x="173" y="438"/>
                    <a:pt x="173" y="438"/>
                  </a:cubicBezTo>
                  <a:cubicBezTo>
                    <a:pt x="173" y="447"/>
                    <a:pt x="173" y="447"/>
                    <a:pt x="173" y="447"/>
                  </a:cubicBezTo>
                  <a:cubicBezTo>
                    <a:pt x="174" y="448"/>
                    <a:pt x="175" y="448"/>
                    <a:pt x="176" y="449"/>
                  </a:cubicBezTo>
                  <a:cubicBezTo>
                    <a:pt x="176" y="449"/>
                    <a:pt x="176" y="449"/>
                    <a:pt x="180" y="444"/>
                  </a:cubicBezTo>
                  <a:cubicBezTo>
                    <a:pt x="180" y="444"/>
                    <a:pt x="180" y="444"/>
                    <a:pt x="199" y="447"/>
                  </a:cubicBezTo>
                  <a:cubicBezTo>
                    <a:pt x="199" y="447"/>
                    <a:pt x="199" y="447"/>
                    <a:pt x="212" y="446"/>
                  </a:cubicBezTo>
                  <a:cubicBezTo>
                    <a:pt x="212" y="446"/>
                    <a:pt x="212" y="446"/>
                    <a:pt x="230" y="446"/>
                  </a:cubicBezTo>
                  <a:cubicBezTo>
                    <a:pt x="230" y="446"/>
                    <a:pt x="230" y="446"/>
                    <a:pt x="240" y="443"/>
                  </a:cubicBezTo>
                  <a:cubicBezTo>
                    <a:pt x="240" y="443"/>
                    <a:pt x="240" y="443"/>
                    <a:pt x="239" y="437"/>
                  </a:cubicBezTo>
                  <a:cubicBezTo>
                    <a:pt x="239" y="437"/>
                    <a:pt x="239" y="437"/>
                    <a:pt x="237" y="431"/>
                  </a:cubicBezTo>
                  <a:cubicBezTo>
                    <a:pt x="237" y="431"/>
                    <a:pt x="237" y="431"/>
                    <a:pt x="245" y="425"/>
                  </a:cubicBezTo>
                  <a:cubicBezTo>
                    <a:pt x="245" y="425"/>
                    <a:pt x="245" y="425"/>
                    <a:pt x="255" y="417"/>
                  </a:cubicBezTo>
                  <a:cubicBezTo>
                    <a:pt x="255" y="417"/>
                    <a:pt x="255" y="417"/>
                    <a:pt x="258" y="416"/>
                  </a:cubicBezTo>
                  <a:cubicBezTo>
                    <a:pt x="258" y="416"/>
                    <a:pt x="258" y="416"/>
                    <a:pt x="258" y="421"/>
                  </a:cubicBezTo>
                  <a:cubicBezTo>
                    <a:pt x="258" y="421"/>
                    <a:pt x="258" y="421"/>
                    <a:pt x="262" y="419"/>
                  </a:cubicBezTo>
                  <a:cubicBezTo>
                    <a:pt x="262" y="419"/>
                    <a:pt x="262" y="419"/>
                    <a:pt x="266" y="418"/>
                  </a:cubicBezTo>
                  <a:cubicBezTo>
                    <a:pt x="266" y="418"/>
                    <a:pt x="266" y="418"/>
                    <a:pt x="263" y="414"/>
                  </a:cubicBezTo>
                  <a:cubicBezTo>
                    <a:pt x="263" y="414"/>
                    <a:pt x="263" y="414"/>
                    <a:pt x="267" y="412"/>
                  </a:cubicBezTo>
                  <a:cubicBezTo>
                    <a:pt x="267" y="412"/>
                    <a:pt x="267" y="412"/>
                    <a:pt x="268" y="407"/>
                  </a:cubicBezTo>
                  <a:cubicBezTo>
                    <a:pt x="268" y="407"/>
                    <a:pt x="268" y="407"/>
                    <a:pt x="264" y="405"/>
                  </a:cubicBezTo>
                  <a:cubicBezTo>
                    <a:pt x="264" y="405"/>
                    <a:pt x="264" y="405"/>
                    <a:pt x="264" y="402"/>
                  </a:cubicBezTo>
                  <a:cubicBezTo>
                    <a:pt x="264" y="402"/>
                    <a:pt x="264" y="402"/>
                    <a:pt x="267" y="399"/>
                  </a:cubicBezTo>
                  <a:cubicBezTo>
                    <a:pt x="267" y="399"/>
                    <a:pt x="267" y="399"/>
                    <a:pt x="266" y="396"/>
                  </a:cubicBezTo>
                  <a:cubicBezTo>
                    <a:pt x="266" y="396"/>
                    <a:pt x="266" y="396"/>
                    <a:pt x="258" y="394"/>
                  </a:cubicBezTo>
                  <a:cubicBezTo>
                    <a:pt x="258" y="394"/>
                    <a:pt x="258" y="394"/>
                    <a:pt x="254" y="388"/>
                  </a:cubicBezTo>
                  <a:cubicBezTo>
                    <a:pt x="254" y="388"/>
                    <a:pt x="254" y="388"/>
                    <a:pt x="256" y="385"/>
                  </a:cubicBezTo>
                  <a:cubicBezTo>
                    <a:pt x="256" y="385"/>
                    <a:pt x="256" y="385"/>
                    <a:pt x="259" y="389"/>
                  </a:cubicBezTo>
                  <a:cubicBezTo>
                    <a:pt x="259" y="389"/>
                    <a:pt x="259" y="389"/>
                    <a:pt x="262" y="387"/>
                  </a:cubicBezTo>
                  <a:cubicBezTo>
                    <a:pt x="262" y="387"/>
                    <a:pt x="262" y="387"/>
                    <a:pt x="267" y="388"/>
                  </a:cubicBezTo>
                  <a:cubicBezTo>
                    <a:pt x="267" y="388"/>
                    <a:pt x="267" y="388"/>
                    <a:pt x="271" y="385"/>
                  </a:cubicBezTo>
                  <a:cubicBezTo>
                    <a:pt x="271" y="385"/>
                    <a:pt x="271" y="385"/>
                    <a:pt x="279" y="380"/>
                  </a:cubicBezTo>
                  <a:cubicBezTo>
                    <a:pt x="279" y="380"/>
                    <a:pt x="279" y="380"/>
                    <a:pt x="282" y="378"/>
                  </a:cubicBezTo>
                  <a:cubicBezTo>
                    <a:pt x="282" y="378"/>
                    <a:pt x="282" y="378"/>
                    <a:pt x="283" y="374"/>
                  </a:cubicBezTo>
                  <a:cubicBezTo>
                    <a:pt x="283" y="374"/>
                    <a:pt x="283" y="374"/>
                    <a:pt x="288" y="372"/>
                  </a:cubicBezTo>
                  <a:cubicBezTo>
                    <a:pt x="288" y="372"/>
                    <a:pt x="288" y="372"/>
                    <a:pt x="293" y="377"/>
                  </a:cubicBezTo>
                  <a:cubicBezTo>
                    <a:pt x="293" y="377"/>
                    <a:pt x="293" y="377"/>
                    <a:pt x="297" y="384"/>
                  </a:cubicBezTo>
                  <a:cubicBezTo>
                    <a:pt x="297" y="384"/>
                    <a:pt x="297" y="384"/>
                    <a:pt x="298" y="389"/>
                  </a:cubicBezTo>
                  <a:cubicBezTo>
                    <a:pt x="298" y="389"/>
                    <a:pt x="298" y="389"/>
                    <a:pt x="298" y="392"/>
                  </a:cubicBezTo>
                  <a:cubicBezTo>
                    <a:pt x="298" y="392"/>
                    <a:pt x="298" y="392"/>
                    <a:pt x="291" y="396"/>
                  </a:cubicBezTo>
                  <a:cubicBezTo>
                    <a:pt x="291" y="396"/>
                    <a:pt x="291" y="396"/>
                    <a:pt x="292" y="399"/>
                  </a:cubicBezTo>
                  <a:cubicBezTo>
                    <a:pt x="292" y="399"/>
                    <a:pt x="292" y="399"/>
                    <a:pt x="299" y="400"/>
                  </a:cubicBezTo>
                  <a:cubicBezTo>
                    <a:pt x="299" y="400"/>
                    <a:pt x="299" y="400"/>
                    <a:pt x="303" y="404"/>
                  </a:cubicBezTo>
                  <a:cubicBezTo>
                    <a:pt x="303" y="404"/>
                    <a:pt x="303" y="404"/>
                    <a:pt x="309" y="402"/>
                  </a:cubicBezTo>
                  <a:cubicBezTo>
                    <a:pt x="309" y="402"/>
                    <a:pt x="309" y="402"/>
                    <a:pt x="314" y="404"/>
                  </a:cubicBezTo>
                  <a:cubicBezTo>
                    <a:pt x="314" y="404"/>
                    <a:pt x="314" y="404"/>
                    <a:pt x="319" y="401"/>
                  </a:cubicBezTo>
                  <a:cubicBezTo>
                    <a:pt x="319" y="401"/>
                    <a:pt x="319" y="401"/>
                    <a:pt x="321" y="404"/>
                  </a:cubicBezTo>
                  <a:cubicBezTo>
                    <a:pt x="321" y="404"/>
                    <a:pt x="321" y="404"/>
                    <a:pt x="318" y="408"/>
                  </a:cubicBezTo>
                  <a:cubicBezTo>
                    <a:pt x="318" y="408"/>
                    <a:pt x="318" y="408"/>
                    <a:pt x="324" y="407"/>
                  </a:cubicBezTo>
                  <a:cubicBezTo>
                    <a:pt x="324" y="407"/>
                    <a:pt x="324" y="407"/>
                    <a:pt x="326" y="408"/>
                  </a:cubicBezTo>
                  <a:cubicBezTo>
                    <a:pt x="326" y="408"/>
                    <a:pt x="326" y="408"/>
                    <a:pt x="324" y="425"/>
                  </a:cubicBezTo>
                  <a:cubicBezTo>
                    <a:pt x="324" y="425"/>
                    <a:pt x="324" y="425"/>
                    <a:pt x="324" y="432"/>
                  </a:cubicBezTo>
                  <a:cubicBezTo>
                    <a:pt x="324" y="432"/>
                    <a:pt x="324" y="432"/>
                    <a:pt x="328" y="433"/>
                  </a:cubicBezTo>
                  <a:cubicBezTo>
                    <a:pt x="328" y="433"/>
                    <a:pt x="328" y="433"/>
                    <a:pt x="330" y="431"/>
                  </a:cubicBezTo>
                  <a:cubicBezTo>
                    <a:pt x="330" y="431"/>
                    <a:pt x="330" y="431"/>
                    <a:pt x="331" y="428"/>
                  </a:cubicBezTo>
                  <a:cubicBezTo>
                    <a:pt x="331" y="428"/>
                    <a:pt x="331" y="428"/>
                    <a:pt x="334" y="429"/>
                  </a:cubicBezTo>
                  <a:cubicBezTo>
                    <a:pt x="334" y="429"/>
                    <a:pt x="334" y="429"/>
                    <a:pt x="336" y="433"/>
                  </a:cubicBezTo>
                  <a:cubicBezTo>
                    <a:pt x="336" y="433"/>
                    <a:pt x="336" y="433"/>
                    <a:pt x="336" y="443"/>
                  </a:cubicBezTo>
                  <a:cubicBezTo>
                    <a:pt x="336" y="443"/>
                    <a:pt x="336" y="443"/>
                    <a:pt x="335" y="448"/>
                  </a:cubicBezTo>
                  <a:cubicBezTo>
                    <a:pt x="335" y="448"/>
                    <a:pt x="335" y="448"/>
                    <a:pt x="339" y="450"/>
                  </a:cubicBezTo>
                  <a:cubicBezTo>
                    <a:pt x="339" y="450"/>
                    <a:pt x="339" y="450"/>
                    <a:pt x="344" y="450"/>
                  </a:cubicBezTo>
                  <a:cubicBezTo>
                    <a:pt x="344" y="450"/>
                    <a:pt x="344" y="450"/>
                    <a:pt x="348" y="452"/>
                  </a:cubicBezTo>
                  <a:cubicBezTo>
                    <a:pt x="348" y="452"/>
                    <a:pt x="348" y="452"/>
                    <a:pt x="353" y="456"/>
                  </a:cubicBezTo>
                  <a:cubicBezTo>
                    <a:pt x="353" y="456"/>
                    <a:pt x="353" y="456"/>
                    <a:pt x="357" y="457"/>
                  </a:cubicBezTo>
                  <a:cubicBezTo>
                    <a:pt x="357" y="457"/>
                    <a:pt x="357" y="457"/>
                    <a:pt x="356" y="467"/>
                  </a:cubicBezTo>
                  <a:cubicBezTo>
                    <a:pt x="356" y="467"/>
                    <a:pt x="356" y="467"/>
                    <a:pt x="356" y="472"/>
                  </a:cubicBezTo>
                  <a:cubicBezTo>
                    <a:pt x="356" y="472"/>
                    <a:pt x="356" y="472"/>
                    <a:pt x="352" y="473"/>
                  </a:cubicBezTo>
                  <a:cubicBezTo>
                    <a:pt x="352" y="473"/>
                    <a:pt x="352" y="473"/>
                    <a:pt x="354" y="478"/>
                  </a:cubicBezTo>
                  <a:cubicBezTo>
                    <a:pt x="354" y="478"/>
                    <a:pt x="354" y="478"/>
                    <a:pt x="351" y="482"/>
                  </a:cubicBezTo>
                  <a:cubicBezTo>
                    <a:pt x="351" y="482"/>
                    <a:pt x="351" y="482"/>
                    <a:pt x="353" y="483"/>
                  </a:cubicBezTo>
                  <a:cubicBezTo>
                    <a:pt x="353" y="483"/>
                    <a:pt x="353" y="483"/>
                    <a:pt x="356" y="482"/>
                  </a:cubicBezTo>
                  <a:cubicBezTo>
                    <a:pt x="356" y="482"/>
                    <a:pt x="356" y="482"/>
                    <a:pt x="361" y="485"/>
                  </a:cubicBezTo>
                  <a:cubicBezTo>
                    <a:pt x="361" y="485"/>
                    <a:pt x="361" y="485"/>
                    <a:pt x="364" y="483"/>
                  </a:cubicBezTo>
                  <a:cubicBezTo>
                    <a:pt x="364" y="483"/>
                    <a:pt x="364" y="483"/>
                    <a:pt x="369" y="485"/>
                  </a:cubicBezTo>
                  <a:cubicBezTo>
                    <a:pt x="369" y="485"/>
                    <a:pt x="369" y="485"/>
                    <a:pt x="372" y="485"/>
                  </a:cubicBezTo>
                  <a:cubicBezTo>
                    <a:pt x="372" y="485"/>
                    <a:pt x="372" y="485"/>
                    <a:pt x="377" y="489"/>
                  </a:cubicBezTo>
                  <a:cubicBezTo>
                    <a:pt x="377" y="489"/>
                    <a:pt x="377" y="489"/>
                    <a:pt x="381" y="492"/>
                  </a:cubicBezTo>
                  <a:cubicBezTo>
                    <a:pt x="381" y="492"/>
                    <a:pt x="381" y="492"/>
                    <a:pt x="383" y="496"/>
                  </a:cubicBezTo>
                  <a:cubicBezTo>
                    <a:pt x="383" y="496"/>
                    <a:pt x="383" y="496"/>
                    <a:pt x="385" y="499"/>
                  </a:cubicBezTo>
                  <a:cubicBezTo>
                    <a:pt x="385" y="499"/>
                    <a:pt x="385" y="499"/>
                    <a:pt x="390" y="496"/>
                  </a:cubicBezTo>
                  <a:cubicBezTo>
                    <a:pt x="390" y="496"/>
                    <a:pt x="390" y="496"/>
                    <a:pt x="394" y="494"/>
                  </a:cubicBezTo>
                  <a:cubicBezTo>
                    <a:pt x="394" y="494"/>
                    <a:pt x="394" y="494"/>
                    <a:pt x="398" y="496"/>
                  </a:cubicBezTo>
                  <a:cubicBezTo>
                    <a:pt x="398" y="496"/>
                    <a:pt x="398" y="496"/>
                    <a:pt x="399" y="501"/>
                  </a:cubicBezTo>
                  <a:cubicBezTo>
                    <a:pt x="399" y="501"/>
                    <a:pt x="399" y="501"/>
                    <a:pt x="395" y="505"/>
                  </a:cubicBezTo>
                  <a:cubicBezTo>
                    <a:pt x="395" y="505"/>
                    <a:pt x="395" y="505"/>
                    <a:pt x="395" y="509"/>
                  </a:cubicBezTo>
                  <a:cubicBezTo>
                    <a:pt x="395" y="509"/>
                    <a:pt x="395" y="509"/>
                    <a:pt x="392" y="513"/>
                  </a:cubicBezTo>
                  <a:cubicBezTo>
                    <a:pt x="392" y="513"/>
                    <a:pt x="392" y="513"/>
                    <a:pt x="392" y="516"/>
                  </a:cubicBezTo>
                  <a:cubicBezTo>
                    <a:pt x="392" y="516"/>
                    <a:pt x="392" y="516"/>
                    <a:pt x="386" y="519"/>
                  </a:cubicBezTo>
                  <a:cubicBezTo>
                    <a:pt x="386" y="519"/>
                    <a:pt x="386" y="519"/>
                    <a:pt x="384" y="528"/>
                  </a:cubicBezTo>
                  <a:cubicBezTo>
                    <a:pt x="384" y="528"/>
                    <a:pt x="384" y="528"/>
                    <a:pt x="379" y="531"/>
                  </a:cubicBezTo>
                  <a:cubicBezTo>
                    <a:pt x="379" y="531"/>
                    <a:pt x="379" y="531"/>
                    <a:pt x="376" y="535"/>
                  </a:cubicBezTo>
                  <a:cubicBezTo>
                    <a:pt x="376" y="535"/>
                    <a:pt x="376" y="535"/>
                    <a:pt x="376" y="542"/>
                  </a:cubicBezTo>
                  <a:cubicBezTo>
                    <a:pt x="432" y="535"/>
                    <a:pt x="432" y="535"/>
                    <a:pt x="432" y="535"/>
                  </a:cubicBezTo>
                  <a:cubicBezTo>
                    <a:pt x="453" y="535"/>
                    <a:pt x="453" y="535"/>
                    <a:pt x="453" y="535"/>
                  </a:cubicBezTo>
                  <a:cubicBezTo>
                    <a:pt x="453" y="492"/>
                    <a:pt x="453" y="492"/>
                    <a:pt x="453" y="492"/>
                  </a:cubicBezTo>
                  <a:cubicBezTo>
                    <a:pt x="442" y="481"/>
                    <a:pt x="442" y="481"/>
                    <a:pt x="442" y="481"/>
                  </a:cubicBezTo>
                  <a:cubicBezTo>
                    <a:pt x="442" y="470"/>
                    <a:pt x="442" y="470"/>
                    <a:pt x="442" y="470"/>
                  </a:cubicBezTo>
                  <a:cubicBezTo>
                    <a:pt x="486" y="470"/>
                    <a:pt x="486" y="470"/>
                    <a:pt x="486" y="470"/>
                  </a:cubicBezTo>
                  <a:cubicBezTo>
                    <a:pt x="496" y="460"/>
                    <a:pt x="496" y="460"/>
                    <a:pt x="496" y="460"/>
                  </a:cubicBezTo>
                  <a:cubicBezTo>
                    <a:pt x="496" y="417"/>
                    <a:pt x="496" y="417"/>
                    <a:pt x="496" y="417"/>
                  </a:cubicBezTo>
                  <a:lnTo>
                    <a:pt x="486" y="406"/>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44" name="Senegal" descr="© INSCALE GmbH, 05.05.2010&#10;http://www.presentationload.com/">
              <a:extLst>
                <a:ext uri="{FF2B5EF4-FFF2-40B4-BE49-F238E27FC236}">
                  <a16:creationId xmlns:a16="http://schemas.microsoft.com/office/drawing/2014/main" id="{16F935BD-4754-DAAA-ED80-C79EE26AE96D}"/>
                </a:ext>
              </a:extLst>
            </p:cNvPr>
            <p:cNvSpPr>
              <a:spLocks/>
            </p:cNvSpPr>
            <p:nvPr/>
          </p:nvSpPr>
          <p:spPr bwMode="gray">
            <a:xfrm>
              <a:off x="3801057" y="2704094"/>
              <a:ext cx="157132" cy="139343"/>
            </a:xfrm>
            <a:custGeom>
              <a:avLst/>
              <a:gdLst>
                <a:gd name="T0" fmla="*/ 2147483647 w 414"/>
                <a:gd name="T1" fmla="*/ 2147483647 h 366"/>
                <a:gd name="T2" fmla="*/ 2147483647 w 414"/>
                <a:gd name="T3" fmla="*/ 2147483647 h 366"/>
                <a:gd name="T4" fmla="*/ 2147483647 w 414"/>
                <a:gd name="T5" fmla="*/ 2147483647 h 366"/>
                <a:gd name="T6" fmla="*/ 2147483647 w 414"/>
                <a:gd name="T7" fmla="*/ 2147483647 h 366"/>
                <a:gd name="T8" fmla="*/ 2147483647 w 414"/>
                <a:gd name="T9" fmla="*/ 2147483647 h 366"/>
                <a:gd name="T10" fmla="*/ 2147483647 w 414"/>
                <a:gd name="T11" fmla="*/ 2147483647 h 366"/>
                <a:gd name="T12" fmla="*/ 2147483647 w 414"/>
                <a:gd name="T13" fmla="*/ 2147483647 h 366"/>
                <a:gd name="T14" fmla="*/ 2147483647 w 414"/>
                <a:gd name="T15" fmla="*/ 2147483647 h 366"/>
                <a:gd name="T16" fmla="*/ 2147483647 w 414"/>
                <a:gd name="T17" fmla="*/ 2147483647 h 366"/>
                <a:gd name="T18" fmla="*/ 2147483647 w 414"/>
                <a:gd name="T19" fmla="*/ 2147483647 h 366"/>
                <a:gd name="T20" fmla="*/ 2147483647 w 414"/>
                <a:gd name="T21" fmla="*/ 2147483647 h 366"/>
                <a:gd name="T22" fmla="*/ 2147483647 w 414"/>
                <a:gd name="T23" fmla="*/ 2147483647 h 366"/>
                <a:gd name="T24" fmla="*/ 2147483647 w 414"/>
                <a:gd name="T25" fmla="*/ 2147483647 h 366"/>
                <a:gd name="T26" fmla="*/ 2147483647 w 414"/>
                <a:gd name="T27" fmla="*/ 2147483647 h 366"/>
                <a:gd name="T28" fmla="*/ 2147483647 w 414"/>
                <a:gd name="T29" fmla="*/ 0 h 366"/>
                <a:gd name="T30" fmla="*/ 2147483647 w 414"/>
                <a:gd name="T31" fmla="*/ 2147483647 h 366"/>
                <a:gd name="T32" fmla="*/ 2147483647 w 414"/>
                <a:gd name="T33" fmla="*/ 2147483647 h 366"/>
                <a:gd name="T34" fmla="*/ 2147483647 w 414"/>
                <a:gd name="T35" fmla="*/ 2147483647 h 366"/>
                <a:gd name="T36" fmla="*/ 2147483647 w 414"/>
                <a:gd name="T37" fmla="*/ 2147483647 h 366"/>
                <a:gd name="T38" fmla="*/ 2147483647 w 414"/>
                <a:gd name="T39" fmla="*/ 2147483647 h 366"/>
                <a:gd name="T40" fmla="*/ 2147483647 w 414"/>
                <a:gd name="T41" fmla="*/ 2147483647 h 366"/>
                <a:gd name="T42" fmla="*/ 0 w 414"/>
                <a:gd name="T43" fmla="*/ 2147483647 h 366"/>
                <a:gd name="T44" fmla="*/ 2147483647 w 414"/>
                <a:gd name="T45" fmla="*/ 2147483647 h 366"/>
                <a:gd name="T46" fmla="*/ 2147483647 w 414"/>
                <a:gd name="T47" fmla="*/ 2147483647 h 366"/>
                <a:gd name="T48" fmla="*/ 2147483647 w 414"/>
                <a:gd name="T49" fmla="*/ 2147483647 h 366"/>
                <a:gd name="T50" fmla="*/ 2147483647 w 414"/>
                <a:gd name="T51" fmla="*/ 2147483647 h 366"/>
                <a:gd name="T52" fmla="*/ 2147483647 w 414"/>
                <a:gd name="T53" fmla="*/ 2147483647 h 366"/>
                <a:gd name="T54" fmla="*/ 2147483647 w 414"/>
                <a:gd name="T55" fmla="*/ 2147483647 h 366"/>
                <a:gd name="T56" fmla="*/ 2147483647 w 414"/>
                <a:gd name="T57" fmla="*/ 2147483647 h 366"/>
                <a:gd name="T58" fmla="*/ 2147483647 w 414"/>
                <a:gd name="T59" fmla="*/ 2147483647 h 366"/>
                <a:gd name="T60" fmla="*/ 2147483647 w 414"/>
                <a:gd name="T61" fmla="*/ 2147483647 h 366"/>
                <a:gd name="T62" fmla="*/ 2147483647 w 414"/>
                <a:gd name="T63" fmla="*/ 2147483647 h 366"/>
                <a:gd name="T64" fmla="*/ 2147483647 w 414"/>
                <a:gd name="T65" fmla="*/ 2147483647 h 366"/>
                <a:gd name="T66" fmla="*/ 2147483647 w 414"/>
                <a:gd name="T67" fmla="*/ 2147483647 h 366"/>
                <a:gd name="T68" fmla="*/ 2147483647 w 414"/>
                <a:gd name="T69" fmla="*/ 2147483647 h 366"/>
                <a:gd name="T70" fmla="*/ 2147483647 w 414"/>
                <a:gd name="T71" fmla="*/ 2147483647 h 366"/>
                <a:gd name="T72" fmla="*/ 2147483647 w 414"/>
                <a:gd name="T73" fmla="*/ 2147483647 h 366"/>
                <a:gd name="T74" fmla="*/ 2147483647 w 414"/>
                <a:gd name="T75" fmla="*/ 2147483647 h 366"/>
                <a:gd name="T76" fmla="*/ 2147483647 w 414"/>
                <a:gd name="T77" fmla="*/ 2147483647 h 366"/>
                <a:gd name="T78" fmla="*/ 2147483647 w 414"/>
                <a:gd name="T79" fmla="*/ 2147483647 h 366"/>
                <a:gd name="T80" fmla="*/ 2147483647 w 414"/>
                <a:gd name="T81" fmla="*/ 2147483647 h 366"/>
                <a:gd name="T82" fmla="*/ 2147483647 w 414"/>
                <a:gd name="T83" fmla="*/ 2147483647 h 366"/>
                <a:gd name="T84" fmla="*/ 2147483647 w 414"/>
                <a:gd name="T85" fmla="*/ 2147483647 h 366"/>
                <a:gd name="T86" fmla="*/ 2147483647 w 414"/>
                <a:gd name="T87" fmla="*/ 2147483647 h 366"/>
                <a:gd name="T88" fmla="*/ 2147483647 w 414"/>
                <a:gd name="T89" fmla="*/ 2147483647 h 366"/>
                <a:gd name="T90" fmla="*/ 2147483647 w 414"/>
                <a:gd name="T91" fmla="*/ 2147483647 h 366"/>
                <a:gd name="T92" fmla="*/ 2147483647 w 414"/>
                <a:gd name="T93" fmla="*/ 2147483647 h 366"/>
                <a:gd name="T94" fmla="*/ 2147483647 w 414"/>
                <a:gd name="T95" fmla="*/ 2147483647 h 366"/>
                <a:gd name="T96" fmla="*/ 2147483647 w 414"/>
                <a:gd name="T97" fmla="*/ 2147483647 h 366"/>
                <a:gd name="T98" fmla="*/ 2147483647 w 414"/>
                <a:gd name="T99" fmla="*/ 2147483647 h 366"/>
                <a:gd name="T100" fmla="*/ 2147483647 w 414"/>
                <a:gd name="T101" fmla="*/ 2147483647 h 366"/>
                <a:gd name="T102" fmla="*/ 2147483647 w 414"/>
                <a:gd name="T103" fmla="*/ 2147483647 h 366"/>
                <a:gd name="T104" fmla="*/ 2147483647 w 414"/>
                <a:gd name="T105" fmla="*/ 2147483647 h 36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14"/>
                <a:gd name="T160" fmla="*/ 0 h 366"/>
                <a:gd name="T161" fmla="*/ 414 w 414"/>
                <a:gd name="T162" fmla="*/ 366 h 36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14" h="366">
                  <a:moveTo>
                    <a:pt x="402" y="270"/>
                  </a:moveTo>
                  <a:lnTo>
                    <a:pt x="396" y="270"/>
                  </a:lnTo>
                  <a:lnTo>
                    <a:pt x="396" y="276"/>
                  </a:lnTo>
                  <a:lnTo>
                    <a:pt x="384" y="276"/>
                  </a:lnTo>
                  <a:lnTo>
                    <a:pt x="378" y="270"/>
                  </a:lnTo>
                  <a:lnTo>
                    <a:pt x="378" y="246"/>
                  </a:lnTo>
                  <a:lnTo>
                    <a:pt x="384" y="240"/>
                  </a:lnTo>
                  <a:lnTo>
                    <a:pt x="384" y="222"/>
                  </a:lnTo>
                  <a:lnTo>
                    <a:pt x="372" y="210"/>
                  </a:lnTo>
                  <a:lnTo>
                    <a:pt x="372" y="204"/>
                  </a:lnTo>
                  <a:lnTo>
                    <a:pt x="360" y="186"/>
                  </a:lnTo>
                  <a:lnTo>
                    <a:pt x="360" y="162"/>
                  </a:lnTo>
                  <a:lnTo>
                    <a:pt x="348" y="138"/>
                  </a:lnTo>
                  <a:lnTo>
                    <a:pt x="318" y="132"/>
                  </a:lnTo>
                  <a:lnTo>
                    <a:pt x="318" y="108"/>
                  </a:lnTo>
                  <a:lnTo>
                    <a:pt x="312" y="102"/>
                  </a:lnTo>
                  <a:lnTo>
                    <a:pt x="294" y="102"/>
                  </a:lnTo>
                  <a:lnTo>
                    <a:pt x="294" y="72"/>
                  </a:lnTo>
                  <a:lnTo>
                    <a:pt x="288" y="60"/>
                  </a:lnTo>
                  <a:lnTo>
                    <a:pt x="288" y="54"/>
                  </a:lnTo>
                  <a:lnTo>
                    <a:pt x="282" y="48"/>
                  </a:lnTo>
                  <a:lnTo>
                    <a:pt x="264" y="48"/>
                  </a:lnTo>
                  <a:lnTo>
                    <a:pt x="252" y="54"/>
                  </a:lnTo>
                  <a:lnTo>
                    <a:pt x="246" y="42"/>
                  </a:lnTo>
                  <a:lnTo>
                    <a:pt x="234" y="30"/>
                  </a:lnTo>
                  <a:lnTo>
                    <a:pt x="228" y="18"/>
                  </a:lnTo>
                  <a:lnTo>
                    <a:pt x="222" y="18"/>
                  </a:lnTo>
                  <a:lnTo>
                    <a:pt x="210" y="12"/>
                  </a:lnTo>
                  <a:lnTo>
                    <a:pt x="186" y="12"/>
                  </a:lnTo>
                  <a:lnTo>
                    <a:pt x="162" y="0"/>
                  </a:lnTo>
                  <a:lnTo>
                    <a:pt x="162" y="18"/>
                  </a:lnTo>
                  <a:lnTo>
                    <a:pt x="132" y="12"/>
                  </a:lnTo>
                  <a:lnTo>
                    <a:pt x="120" y="18"/>
                  </a:lnTo>
                  <a:lnTo>
                    <a:pt x="114" y="18"/>
                  </a:lnTo>
                  <a:lnTo>
                    <a:pt x="108" y="12"/>
                  </a:lnTo>
                  <a:lnTo>
                    <a:pt x="102" y="12"/>
                  </a:lnTo>
                  <a:lnTo>
                    <a:pt x="90" y="18"/>
                  </a:lnTo>
                  <a:lnTo>
                    <a:pt x="84" y="24"/>
                  </a:lnTo>
                  <a:lnTo>
                    <a:pt x="66" y="60"/>
                  </a:lnTo>
                  <a:lnTo>
                    <a:pt x="60" y="66"/>
                  </a:lnTo>
                  <a:lnTo>
                    <a:pt x="60" y="90"/>
                  </a:lnTo>
                  <a:lnTo>
                    <a:pt x="48" y="96"/>
                  </a:lnTo>
                  <a:lnTo>
                    <a:pt x="30" y="132"/>
                  </a:lnTo>
                  <a:lnTo>
                    <a:pt x="0" y="162"/>
                  </a:lnTo>
                  <a:lnTo>
                    <a:pt x="6" y="168"/>
                  </a:lnTo>
                  <a:lnTo>
                    <a:pt x="12" y="168"/>
                  </a:lnTo>
                  <a:lnTo>
                    <a:pt x="18" y="174"/>
                  </a:lnTo>
                  <a:lnTo>
                    <a:pt x="24" y="186"/>
                  </a:lnTo>
                  <a:lnTo>
                    <a:pt x="24" y="204"/>
                  </a:lnTo>
                  <a:lnTo>
                    <a:pt x="42" y="222"/>
                  </a:lnTo>
                  <a:lnTo>
                    <a:pt x="42" y="246"/>
                  </a:lnTo>
                  <a:lnTo>
                    <a:pt x="48" y="252"/>
                  </a:lnTo>
                  <a:lnTo>
                    <a:pt x="126" y="252"/>
                  </a:lnTo>
                  <a:lnTo>
                    <a:pt x="126" y="240"/>
                  </a:lnTo>
                  <a:lnTo>
                    <a:pt x="180" y="240"/>
                  </a:lnTo>
                  <a:lnTo>
                    <a:pt x="180" y="252"/>
                  </a:lnTo>
                  <a:lnTo>
                    <a:pt x="192" y="246"/>
                  </a:lnTo>
                  <a:lnTo>
                    <a:pt x="198" y="252"/>
                  </a:lnTo>
                  <a:lnTo>
                    <a:pt x="204" y="264"/>
                  </a:lnTo>
                  <a:lnTo>
                    <a:pt x="216" y="264"/>
                  </a:lnTo>
                  <a:lnTo>
                    <a:pt x="222" y="258"/>
                  </a:lnTo>
                  <a:lnTo>
                    <a:pt x="246" y="258"/>
                  </a:lnTo>
                  <a:lnTo>
                    <a:pt x="252" y="264"/>
                  </a:lnTo>
                  <a:lnTo>
                    <a:pt x="252" y="270"/>
                  </a:lnTo>
                  <a:lnTo>
                    <a:pt x="246" y="276"/>
                  </a:lnTo>
                  <a:lnTo>
                    <a:pt x="234" y="282"/>
                  </a:lnTo>
                  <a:lnTo>
                    <a:pt x="228" y="288"/>
                  </a:lnTo>
                  <a:lnTo>
                    <a:pt x="204" y="288"/>
                  </a:lnTo>
                  <a:lnTo>
                    <a:pt x="186" y="282"/>
                  </a:lnTo>
                  <a:lnTo>
                    <a:pt x="180" y="270"/>
                  </a:lnTo>
                  <a:lnTo>
                    <a:pt x="168" y="264"/>
                  </a:lnTo>
                  <a:lnTo>
                    <a:pt x="162" y="258"/>
                  </a:lnTo>
                  <a:lnTo>
                    <a:pt x="156" y="264"/>
                  </a:lnTo>
                  <a:lnTo>
                    <a:pt x="150" y="276"/>
                  </a:lnTo>
                  <a:lnTo>
                    <a:pt x="126" y="276"/>
                  </a:lnTo>
                  <a:lnTo>
                    <a:pt x="120" y="282"/>
                  </a:lnTo>
                  <a:lnTo>
                    <a:pt x="108" y="282"/>
                  </a:lnTo>
                  <a:lnTo>
                    <a:pt x="108" y="294"/>
                  </a:lnTo>
                  <a:lnTo>
                    <a:pt x="36" y="294"/>
                  </a:lnTo>
                  <a:lnTo>
                    <a:pt x="36" y="318"/>
                  </a:lnTo>
                  <a:lnTo>
                    <a:pt x="30" y="324"/>
                  </a:lnTo>
                  <a:lnTo>
                    <a:pt x="30" y="336"/>
                  </a:lnTo>
                  <a:lnTo>
                    <a:pt x="36" y="342"/>
                  </a:lnTo>
                  <a:lnTo>
                    <a:pt x="42" y="354"/>
                  </a:lnTo>
                  <a:lnTo>
                    <a:pt x="48" y="360"/>
                  </a:lnTo>
                  <a:lnTo>
                    <a:pt x="60" y="366"/>
                  </a:lnTo>
                  <a:lnTo>
                    <a:pt x="66" y="366"/>
                  </a:lnTo>
                  <a:lnTo>
                    <a:pt x="72" y="360"/>
                  </a:lnTo>
                  <a:lnTo>
                    <a:pt x="78" y="360"/>
                  </a:lnTo>
                  <a:lnTo>
                    <a:pt x="90" y="348"/>
                  </a:lnTo>
                  <a:lnTo>
                    <a:pt x="126" y="348"/>
                  </a:lnTo>
                  <a:lnTo>
                    <a:pt x="156" y="324"/>
                  </a:lnTo>
                  <a:lnTo>
                    <a:pt x="294" y="330"/>
                  </a:lnTo>
                  <a:lnTo>
                    <a:pt x="294" y="336"/>
                  </a:lnTo>
                  <a:lnTo>
                    <a:pt x="300" y="348"/>
                  </a:lnTo>
                  <a:lnTo>
                    <a:pt x="318" y="348"/>
                  </a:lnTo>
                  <a:lnTo>
                    <a:pt x="324" y="342"/>
                  </a:lnTo>
                  <a:lnTo>
                    <a:pt x="330" y="348"/>
                  </a:lnTo>
                  <a:lnTo>
                    <a:pt x="336" y="360"/>
                  </a:lnTo>
                  <a:lnTo>
                    <a:pt x="342" y="366"/>
                  </a:lnTo>
                  <a:lnTo>
                    <a:pt x="354" y="366"/>
                  </a:lnTo>
                  <a:lnTo>
                    <a:pt x="366" y="360"/>
                  </a:lnTo>
                  <a:lnTo>
                    <a:pt x="372" y="354"/>
                  </a:lnTo>
                  <a:lnTo>
                    <a:pt x="414" y="354"/>
                  </a:lnTo>
                  <a:lnTo>
                    <a:pt x="414" y="288"/>
                  </a:lnTo>
                  <a:lnTo>
                    <a:pt x="408" y="276"/>
                  </a:lnTo>
                  <a:lnTo>
                    <a:pt x="402" y="270"/>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45" name="Saudi Arabia" descr="© INSCALE GmbH, 05.05.2010&#10;http://www.presentationload.com/">
              <a:extLst>
                <a:ext uri="{FF2B5EF4-FFF2-40B4-BE49-F238E27FC236}">
                  <a16:creationId xmlns:a16="http://schemas.microsoft.com/office/drawing/2014/main" id="{E9C75211-1352-D71B-12C0-845309D19E19}"/>
                </a:ext>
              </a:extLst>
            </p:cNvPr>
            <p:cNvSpPr>
              <a:spLocks/>
            </p:cNvSpPr>
            <p:nvPr/>
          </p:nvSpPr>
          <p:spPr bwMode="gray">
            <a:xfrm>
              <a:off x="5148533" y="2235663"/>
              <a:ext cx="563301" cy="483255"/>
            </a:xfrm>
            <a:custGeom>
              <a:avLst/>
              <a:gdLst>
                <a:gd name="T0" fmla="*/ 2147483647 w 1488"/>
                <a:gd name="T1" fmla="*/ 2147483647 h 1278"/>
                <a:gd name="T2" fmla="*/ 2147483647 w 1488"/>
                <a:gd name="T3" fmla="*/ 2147483647 h 1278"/>
                <a:gd name="T4" fmla="*/ 2147483647 w 1488"/>
                <a:gd name="T5" fmla="*/ 2147483647 h 1278"/>
                <a:gd name="T6" fmla="*/ 2147483647 w 1488"/>
                <a:gd name="T7" fmla="*/ 2147483647 h 1278"/>
                <a:gd name="T8" fmla="*/ 2147483647 w 1488"/>
                <a:gd name="T9" fmla="*/ 2147483647 h 1278"/>
                <a:gd name="T10" fmla="*/ 2147483647 w 1488"/>
                <a:gd name="T11" fmla="*/ 2147483647 h 1278"/>
                <a:gd name="T12" fmla="*/ 2147483647 w 1488"/>
                <a:gd name="T13" fmla="*/ 2147483647 h 1278"/>
                <a:gd name="T14" fmla="*/ 2147483647 w 1488"/>
                <a:gd name="T15" fmla="*/ 2147483647 h 1278"/>
                <a:gd name="T16" fmla="*/ 2147483647 w 1488"/>
                <a:gd name="T17" fmla="*/ 2147483647 h 1278"/>
                <a:gd name="T18" fmla="*/ 2147483647 w 1488"/>
                <a:gd name="T19" fmla="*/ 2147483647 h 1278"/>
                <a:gd name="T20" fmla="*/ 2147483647 w 1488"/>
                <a:gd name="T21" fmla="*/ 2147483647 h 1278"/>
                <a:gd name="T22" fmla="*/ 2147483647 w 1488"/>
                <a:gd name="T23" fmla="*/ 2147483647 h 1278"/>
                <a:gd name="T24" fmla="*/ 2147483647 w 1488"/>
                <a:gd name="T25" fmla="*/ 2147483647 h 1278"/>
                <a:gd name="T26" fmla="*/ 2147483647 w 1488"/>
                <a:gd name="T27" fmla="*/ 2147483647 h 1278"/>
                <a:gd name="T28" fmla="*/ 2147483647 w 1488"/>
                <a:gd name="T29" fmla="*/ 2147483647 h 1278"/>
                <a:gd name="T30" fmla="*/ 2147483647 w 1488"/>
                <a:gd name="T31" fmla="*/ 2147483647 h 1278"/>
                <a:gd name="T32" fmla="*/ 2147483647 w 1488"/>
                <a:gd name="T33" fmla="*/ 2147483647 h 1278"/>
                <a:gd name="T34" fmla="*/ 2147483647 w 1488"/>
                <a:gd name="T35" fmla="*/ 2147483647 h 1278"/>
                <a:gd name="T36" fmla="*/ 2147483647 w 1488"/>
                <a:gd name="T37" fmla="*/ 2147483647 h 1278"/>
                <a:gd name="T38" fmla="*/ 2147483647 w 1488"/>
                <a:gd name="T39" fmla="*/ 0 h 1278"/>
                <a:gd name="T40" fmla="*/ 2147483647 w 1488"/>
                <a:gd name="T41" fmla="*/ 2147483647 h 1278"/>
                <a:gd name="T42" fmla="*/ 2147483647 w 1488"/>
                <a:gd name="T43" fmla="*/ 2147483647 h 1278"/>
                <a:gd name="T44" fmla="*/ 2147483647 w 1488"/>
                <a:gd name="T45" fmla="*/ 2147483647 h 1278"/>
                <a:gd name="T46" fmla="*/ 2147483647 w 1488"/>
                <a:gd name="T47" fmla="*/ 2147483647 h 1278"/>
                <a:gd name="T48" fmla="*/ 2147483647 w 1488"/>
                <a:gd name="T49" fmla="*/ 2147483647 h 1278"/>
                <a:gd name="T50" fmla="*/ 2147483647 w 1488"/>
                <a:gd name="T51" fmla="*/ 2147483647 h 1278"/>
                <a:gd name="T52" fmla="*/ 2147483647 w 1488"/>
                <a:gd name="T53" fmla="*/ 2147483647 h 1278"/>
                <a:gd name="T54" fmla="*/ 2147483647 w 1488"/>
                <a:gd name="T55" fmla="*/ 2147483647 h 1278"/>
                <a:gd name="T56" fmla="*/ 2147483647 w 1488"/>
                <a:gd name="T57" fmla="*/ 2147483647 h 1278"/>
                <a:gd name="T58" fmla="*/ 2147483647 w 1488"/>
                <a:gd name="T59" fmla="*/ 2147483647 h 1278"/>
                <a:gd name="T60" fmla="*/ 2147483647 w 1488"/>
                <a:gd name="T61" fmla="*/ 2147483647 h 1278"/>
                <a:gd name="T62" fmla="*/ 0 w 1488"/>
                <a:gd name="T63" fmla="*/ 2147483647 h 1278"/>
                <a:gd name="T64" fmla="*/ 2147483647 w 1488"/>
                <a:gd name="T65" fmla="*/ 2147483647 h 1278"/>
                <a:gd name="T66" fmla="*/ 2147483647 w 1488"/>
                <a:gd name="T67" fmla="*/ 2147483647 h 1278"/>
                <a:gd name="T68" fmla="*/ 2147483647 w 1488"/>
                <a:gd name="T69" fmla="*/ 2147483647 h 1278"/>
                <a:gd name="T70" fmla="*/ 2147483647 w 1488"/>
                <a:gd name="T71" fmla="*/ 2147483647 h 1278"/>
                <a:gd name="T72" fmla="*/ 2147483647 w 1488"/>
                <a:gd name="T73" fmla="*/ 2147483647 h 1278"/>
                <a:gd name="T74" fmla="*/ 2147483647 w 1488"/>
                <a:gd name="T75" fmla="*/ 2147483647 h 1278"/>
                <a:gd name="T76" fmla="*/ 2147483647 w 1488"/>
                <a:gd name="T77" fmla="*/ 2147483647 h 1278"/>
                <a:gd name="T78" fmla="*/ 2147483647 w 1488"/>
                <a:gd name="T79" fmla="*/ 2147483647 h 1278"/>
                <a:gd name="T80" fmla="*/ 2147483647 w 1488"/>
                <a:gd name="T81" fmla="*/ 2147483647 h 1278"/>
                <a:gd name="T82" fmla="*/ 2147483647 w 1488"/>
                <a:gd name="T83" fmla="*/ 2147483647 h 1278"/>
                <a:gd name="T84" fmla="*/ 2147483647 w 1488"/>
                <a:gd name="T85" fmla="*/ 2147483647 h 1278"/>
                <a:gd name="T86" fmla="*/ 2147483647 w 1488"/>
                <a:gd name="T87" fmla="*/ 2147483647 h 1278"/>
                <a:gd name="T88" fmla="*/ 2147483647 w 1488"/>
                <a:gd name="T89" fmla="*/ 2147483647 h 1278"/>
                <a:gd name="T90" fmla="*/ 2147483647 w 1488"/>
                <a:gd name="T91" fmla="*/ 2147483647 h 1278"/>
                <a:gd name="T92" fmla="*/ 2147483647 w 1488"/>
                <a:gd name="T93" fmla="*/ 2147483647 h 1278"/>
                <a:gd name="T94" fmla="*/ 2147483647 w 1488"/>
                <a:gd name="T95" fmla="*/ 2147483647 h 1278"/>
                <a:gd name="T96" fmla="*/ 2147483647 w 1488"/>
                <a:gd name="T97" fmla="*/ 2147483647 h 1278"/>
                <a:gd name="T98" fmla="*/ 2147483647 w 1488"/>
                <a:gd name="T99" fmla="*/ 2147483647 h 1278"/>
                <a:gd name="T100" fmla="*/ 2147483647 w 1488"/>
                <a:gd name="T101" fmla="*/ 2147483647 h 1278"/>
                <a:gd name="T102" fmla="*/ 2147483647 w 1488"/>
                <a:gd name="T103" fmla="*/ 2147483647 h 1278"/>
                <a:gd name="T104" fmla="*/ 2147483647 w 1488"/>
                <a:gd name="T105" fmla="*/ 2147483647 h 1278"/>
                <a:gd name="T106" fmla="*/ 2147483647 w 1488"/>
                <a:gd name="T107" fmla="*/ 2147483647 h 1278"/>
                <a:gd name="T108" fmla="*/ 2147483647 w 1488"/>
                <a:gd name="T109" fmla="*/ 2147483647 h 1278"/>
                <a:gd name="T110" fmla="*/ 2147483647 w 1488"/>
                <a:gd name="T111" fmla="*/ 2147483647 h 1278"/>
                <a:gd name="T112" fmla="*/ 2147483647 w 1488"/>
                <a:gd name="T113" fmla="*/ 2147483647 h 1278"/>
                <a:gd name="T114" fmla="*/ 2147483647 w 1488"/>
                <a:gd name="T115" fmla="*/ 2147483647 h 1278"/>
                <a:gd name="T116" fmla="*/ 2147483647 w 1488"/>
                <a:gd name="T117" fmla="*/ 2147483647 h 127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488"/>
                <a:gd name="T178" fmla="*/ 0 h 1278"/>
                <a:gd name="T179" fmla="*/ 1488 w 1488"/>
                <a:gd name="T180" fmla="*/ 1278 h 127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488" h="1278">
                  <a:moveTo>
                    <a:pt x="1464" y="792"/>
                  </a:moveTo>
                  <a:lnTo>
                    <a:pt x="1464" y="780"/>
                  </a:lnTo>
                  <a:lnTo>
                    <a:pt x="1458" y="774"/>
                  </a:lnTo>
                  <a:lnTo>
                    <a:pt x="1416" y="768"/>
                  </a:lnTo>
                  <a:lnTo>
                    <a:pt x="1320" y="756"/>
                  </a:lnTo>
                  <a:lnTo>
                    <a:pt x="1284" y="750"/>
                  </a:lnTo>
                  <a:lnTo>
                    <a:pt x="1266" y="750"/>
                  </a:lnTo>
                  <a:lnTo>
                    <a:pt x="1260" y="738"/>
                  </a:lnTo>
                  <a:lnTo>
                    <a:pt x="1248" y="732"/>
                  </a:lnTo>
                  <a:lnTo>
                    <a:pt x="1242" y="720"/>
                  </a:lnTo>
                  <a:lnTo>
                    <a:pt x="1218" y="696"/>
                  </a:lnTo>
                  <a:lnTo>
                    <a:pt x="1206" y="672"/>
                  </a:lnTo>
                  <a:lnTo>
                    <a:pt x="1188" y="654"/>
                  </a:lnTo>
                  <a:lnTo>
                    <a:pt x="1188" y="642"/>
                  </a:lnTo>
                  <a:lnTo>
                    <a:pt x="1182" y="636"/>
                  </a:lnTo>
                  <a:lnTo>
                    <a:pt x="1182" y="618"/>
                  </a:lnTo>
                  <a:lnTo>
                    <a:pt x="1176" y="624"/>
                  </a:lnTo>
                  <a:lnTo>
                    <a:pt x="1164" y="612"/>
                  </a:lnTo>
                  <a:lnTo>
                    <a:pt x="1146" y="612"/>
                  </a:lnTo>
                  <a:lnTo>
                    <a:pt x="1140" y="600"/>
                  </a:lnTo>
                  <a:lnTo>
                    <a:pt x="1134" y="594"/>
                  </a:lnTo>
                  <a:lnTo>
                    <a:pt x="1128" y="582"/>
                  </a:lnTo>
                  <a:lnTo>
                    <a:pt x="1122" y="564"/>
                  </a:lnTo>
                  <a:lnTo>
                    <a:pt x="1116" y="552"/>
                  </a:lnTo>
                  <a:lnTo>
                    <a:pt x="1116" y="540"/>
                  </a:lnTo>
                  <a:lnTo>
                    <a:pt x="1110" y="534"/>
                  </a:lnTo>
                  <a:lnTo>
                    <a:pt x="1098" y="528"/>
                  </a:lnTo>
                  <a:lnTo>
                    <a:pt x="1086" y="516"/>
                  </a:lnTo>
                  <a:lnTo>
                    <a:pt x="1074" y="510"/>
                  </a:lnTo>
                  <a:lnTo>
                    <a:pt x="1068" y="498"/>
                  </a:lnTo>
                  <a:lnTo>
                    <a:pt x="1068" y="462"/>
                  </a:lnTo>
                  <a:lnTo>
                    <a:pt x="1062" y="450"/>
                  </a:lnTo>
                  <a:lnTo>
                    <a:pt x="1062" y="438"/>
                  </a:lnTo>
                  <a:lnTo>
                    <a:pt x="1050" y="426"/>
                  </a:lnTo>
                  <a:lnTo>
                    <a:pt x="1002" y="402"/>
                  </a:lnTo>
                  <a:lnTo>
                    <a:pt x="996" y="396"/>
                  </a:lnTo>
                  <a:lnTo>
                    <a:pt x="990" y="384"/>
                  </a:lnTo>
                  <a:lnTo>
                    <a:pt x="990" y="360"/>
                  </a:lnTo>
                  <a:lnTo>
                    <a:pt x="972" y="342"/>
                  </a:lnTo>
                  <a:lnTo>
                    <a:pt x="966" y="330"/>
                  </a:lnTo>
                  <a:lnTo>
                    <a:pt x="960" y="324"/>
                  </a:lnTo>
                  <a:lnTo>
                    <a:pt x="960" y="300"/>
                  </a:lnTo>
                  <a:lnTo>
                    <a:pt x="954" y="300"/>
                  </a:lnTo>
                  <a:lnTo>
                    <a:pt x="948" y="294"/>
                  </a:lnTo>
                  <a:lnTo>
                    <a:pt x="882" y="294"/>
                  </a:lnTo>
                  <a:lnTo>
                    <a:pt x="876" y="288"/>
                  </a:lnTo>
                  <a:lnTo>
                    <a:pt x="876" y="252"/>
                  </a:lnTo>
                  <a:lnTo>
                    <a:pt x="852" y="246"/>
                  </a:lnTo>
                  <a:lnTo>
                    <a:pt x="804" y="246"/>
                  </a:lnTo>
                  <a:lnTo>
                    <a:pt x="750" y="240"/>
                  </a:lnTo>
                  <a:lnTo>
                    <a:pt x="684" y="240"/>
                  </a:lnTo>
                  <a:lnTo>
                    <a:pt x="492" y="96"/>
                  </a:lnTo>
                  <a:lnTo>
                    <a:pt x="480" y="90"/>
                  </a:lnTo>
                  <a:lnTo>
                    <a:pt x="474" y="84"/>
                  </a:lnTo>
                  <a:lnTo>
                    <a:pt x="426" y="60"/>
                  </a:lnTo>
                  <a:lnTo>
                    <a:pt x="414" y="48"/>
                  </a:lnTo>
                  <a:lnTo>
                    <a:pt x="402" y="42"/>
                  </a:lnTo>
                  <a:lnTo>
                    <a:pt x="372" y="12"/>
                  </a:lnTo>
                  <a:lnTo>
                    <a:pt x="306" y="12"/>
                  </a:lnTo>
                  <a:lnTo>
                    <a:pt x="294" y="0"/>
                  </a:lnTo>
                  <a:lnTo>
                    <a:pt x="288" y="6"/>
                  </a:lnTo>
                  <a:lnTo>
                    <a:pt x="276" y="12"/>
                  </a:lnTo>
                  <a:lnTo>
                    <a:pt x="270" y="12"/>
                  </a:lnTo>
                  <a:lnTo>
                    <a:pt x="264" y="18"/>
                  </a:lnTo>
                  <a:lnTo>
                    <a:pt x="252" y="24"/>
                  </a:lnTo>
                  <a:lnTo>
                    <a:pt x="210" y="24"/>
                  </a:lnTo>
                  <a:lnTo>
                    <a:pt x="198" y="48"/>
                  </a:lnTo>
                  <a:lnTo>
                    <a:pt x="132" y="48"/>
                  </a:lnTo>
                  <a:lnTo>
                    <a:pt x="120" y="54"/>
                  </a:lnTo>
                  <a:lnTo>
                    <a:pt x="108" y="54"/>
                  </a:lnTo>
                  <a:lnTo>
                    <a:pt x="108" y="60"/>
                  </a:lnTo>
                  <a:lnTo>
                    <a:pt x="132" y="60"/>
                  </a:lnTo>
                  <a:lnTo>
                    <a:pt x="144" y="66"/>
                  </a:lnTo>
                  <a:lnTo>
                    <a:pt x="156" y="66"/>
                  </a:lnTo>
                  <a:lnTo>
                    <a:pt x="180" y="90"/>
                  </a:lnTo>
                  <a:lnTo>
                    <a:pt x="192" y="114"/>
                  </a:lnTo>
                  <a:lnTo>
                    <a:pt x="198" y="120"/>
                  </a:lnTo>
                  <a:lnTo>
                    <a:pt x="198" y="132"/>
                  </a:lnTo>
                  <a:lnTo>
                    <a:pt x="192" y="138"/>
                  </a:lnTo>
                  <a:lnTo>
                    <a:pt x="192" y="150"/>
                  </a:lnTo>
                  <a:lnTo>
                    <a:pt x="186" y="156"/>
                  </a:lnTo>
                  <a:lnTo>
                    <a:pt x="180" y="168"/>
                  </a:lnTo>
                  <a:lnTo>
                    <a:pt x="174" y="174"/>
                  </a:lnTo>
                  <a:lnTo>
                    <a:pt x="162" y="180"/>
                  </a:lnTo>
                  <a:lnTo>
                    <a:pt x="150" y="180"/>
                  </a:lnTo>
                  <a:lnTo>
                    <a:pt x="138" y="186"/>
                  </a:lnTo>
                  <a:lnTo>
                    <a:pt x="132" y="186"/>
                  </a:lnTo>
                  <a:lnTo>
                    <a:pt x="120" y="198"/>
                  </a:lnTo>
                  <a:lnTo>
                    <a:pt x="120" y="210"/>
                  </a:lnTo>
                  <a:lnTo>
                    <a:pt x="108" y="234"/>
                  </a:lnTo>
                  <a:lnTo>
                    <a:pt x="96" y="246"/>
                  </a:lnTo>
                  <a:lnTo>
                    <a:pt x="60" y="246"/>
                  </a:lnTo>
                  <a:lnTo>
                    <a:pt x="36" y="234"/>
                  </a:lnTo>
                  <a:lnTo>
                    <a:pt x="6" y="234"/>
                  </a:lnTo>
                  <a:lnTo>
                    <a:pt x="6" y="264"/>
                  </a:lnTo>
                  <a:lnTo>
                    <a:pt x="0" y="306"/>
                  </a:lnTo>
                  <a:lnTo>
                    <a:pt x="0" y="348"/>
                  </a:lnTo>
                  <a:lnTo>
                    <a:pt x="6" y="372"/>
                  </a:lnTo>
                  <a:lnTo>
                    <a:pt x="24" y="378"/>
                  </a:lnTo>
                  <a:lnTo>
                    <a:pt x="36" y="390"/>
                  </a:lnTo>
                  <a:lnTo>
                    <a:pt x="54" y="390"/>
                  </a:lnTo>
                  <a:lnTo>
                    <a:pt x="72" y="408"/>
                  </a:lnTo>
                  <a:lnTo>
                    <a:pt x="90" y="438"/>
                  </a:lnTo>
                  <a:lnTo>
                    <a:pt x="102" y="474"/>
                  </a:lnTo>
                  <a:lnTo>
                    <a:pt x="120" y="504"/>
                  </a:lnTo>
                  <a:lnTo>
                    <a:pt x="132" y="516"/>
                  </a:lnTo>
                  <a:lnTo>
                    <a:pt x="150" y="528"/>
                  </a:lnTo>
                  <a:lnTo>
                    <a:pt x="162" y="540"/>
                  </a:lnTo>
                  <a:lnTo>
                    <a:pt x="174" y="558"/>
                  </a:lnTo>
                  <a:lnTo>
                    <a:pt x="180" y="570"/>
                  </a:lnTo>
                  <a:lnTo>
                    <a:pt x="186" y="594"/>
                  </a:lnTo>
                  <a:lnTo>
                    <a:pt x="192" y="612"/>
                  </a:lnTo>
                  <a:lnTo>
                    <a:pt x="198" y="636"/>
                  </a:lnTo>
                  <a:lnTo>
                    <a:pt x="210" y="648"/>
                  </a:lnTo>
                  <a:lnTo>
                    <a:pt x="234" y="660"/>
                  </a:lnTo>
                  <a:lnTo>
                    <a:pt x="264" y="660"/>
                  </a:lnTo>
                  <a:lnTo>
                    <a:pt x="282" y="666"/>
                  </a:lnTo>
                  <a:lnTo>
                    <a:pt x="294" y="678"/>
                  </a:lnTo>
                  <a:lnTo>
                    <a:pt x="312" y="708"/>
                  </a:lnTo>
                  <a:lnTo>
                    <a:pt x="330" y="756"/>
                  </a:lnTo>
                  <a:lnTo>
                    <a:pt x="336" y="804"/>
                  </a:lnTo>
                  <a:lnTo>
                    <a:pt x="342" y="840"/>
                  </a:lnTo>
                  <a:lnTo>
                    <a:pt x="348" y="870"/>
                  </a:lnTo>
                  <a:lnTo>
                    <a:pt x="366" y="906"/>
                  </a:lnTo>
                  <a:lnTo>
                    <a:pt x="384" y="924"/>
                  </a:lnTo>
                  <a:lnTo>
                    <a:pt x="390" y="936"/>
                  </a:lnTo>
                  <a:lnTo>
                    <a:pt x="414" y="936"/>
                  </a:lnTo>
                  <a:lnTo>
                    <a:pt x="438" y="948"/>
                  </a:lnTo>
                  <a:lnTo>
                    <a:pt x="456" y="972"/>
                  </a:lnTo>
                  <a:lnTo>
                    <a:pt x="480" y="1008"/>
                  </a:lnTo>
                  <a:lnTo>
                    <a:pt x="504" y="1056"/>
                  </a:lnTo>
                  <a:lnTo>
                    <a:pt x="552" y="1128"/>
                  </a:lnTo>
                  <a:lnTo>
                    <a:pt x="582" y="1170"/>
                  </a:lnTo>
                  <a:lnTo>
                    <a:pt x="606" y="1206"/>
                  </a:lnTo>
                  <a:lnTo>
                    <a:pt x="618" y="1236"/>
                  </a:lnTo>
                  <a:lnTo>
                    <a:pt x="618" y="1266"/>
                  </a:lnTo>
                  <a:lnTo>
                    <a:pt x="612" y="1278"/>
                  </a:lnTo>
                  <a:lnTo>
                    <a:pt x="624" y="1266"/>
                  </a:lnTo>
                  <a:lnTo>
                    <a:pt x="630" y="1254"/>
                  </a:lnTo>
                  <a:lnTo>
                    <a:pt x="636" y="1248"/>
                  </a:lnTo>
                  <a:lnTo>
                    <a:pt x="636" y="1200"/>
                  </a:lnTo>
                  <a:lnTo>
                    <a:pt x="642" y="1188"/>
                  </a:lnTo>
                  <a:lnTo>
                    <a:pt x="648" y="1182"/>
                  </a:lnTo>
                  <a:lnTo>
                    <a:pt x="654" y="1182"/>
                  </a:lnTo>
                  <a:lnTo>
                    <a:pt x="672" y="1200"/>
                  </a:lnTo>
                  <a:lnTo>
                    <a:pt x="696" y="1194"/>
                  </a:lnTo>
                  <a:lnTo>
                    <a:pt x="702" y="1188"/>
                  </a:lnTo>
                  <a:lnTo>
                    <a:pt x="792" y="1188"/>
                  </a:lnTo>
                  <a:lnTo>
                    <a:pt x="804" y="1194"/>
                  </a:lnTo>
                  <a:lnTo>
                    <a:pt x="810" y="1200"/>
                  </a:lnTo>
                  <a:lnTo>
                    <a:pt x="888" y="1200"/>
                  </a:lnTo>
                  <a:lnTo>
                    <a:pt x="894" y="1206"/>
                  </a:lnTo>
                  <a:lnTo>
                    <a:pt x="900" y="1218"/>
                  </a:lnTo>
                  <a:lnTo>
                    <a:pt x="912" y="1224"/>
                  </a:lnTo>
                  <a:lnTo>
                    <a:pt x="924" y="1224"/>
                  </a:lnTo>
                  <a:lnTo>
                    <a:pt x="930" y="1212"/>
                  </a:lnTo>
                  <a:lnTo>
                    <a:pt x="936" y="1206"/>
                  </a:lnTo>
                  <a:lnTo>
                    <a:pt x="936" y="1188"/>
                  </a:lnTo>
                  <a:lnTo>
                    <a:pt x="942" y="1176"/>
                  </a:lnTo>
                  <a:lnTo>
                    <a:pt x="948" y="1170"/>
                  </a:lnTo>
                  <a:lnTo>
                    <a:pt x="954" y="1158"/>
                  </a:lnTo>
                  <a:lnTo>
                    <a:pt x="966" y="1146"/>
                  </a:lnTo>
                  <a:lnTo>
                    <a:pt x="972" y="1134"/>
                  </a:lnTo>
                  <a:lnTo>
                    <a:pt x="990" y="1116"/>
                  </a:lnTo>
                  <a:lnTo>
                    <a:pt x="1020" y="1098"/>
                  </a:lnTo>
                  <a:lnTo>
                    <a:pt x="1050" y="1092"/>
                  </a:lnTo>
                  <a:lnTo>
                    <a:pt x="1068" y="1086"/>
                  </a:lnTo>
                  <a:lnTo>
                    <a:pt x="1092" y="1086"/>
                  </a:lnTo>
                  <a:lnTo>
                    <a:pt x="1140" y="1080"/>
                  </a:lnTo>
                  <a:lnTo>
                    <a:pt x="1188" y="1068"/>
                  </a:lnTo>
                  <a:lnTo>
                    <a:pt x="1230" y="1062"/>
                  </a:lnTo>
                  <a:lnTo>
                    <a:pt x="1248" y="1062"/>
                  </a:lnTo>
                  <a:lnTo>
                    <a:pt x="1452" y="990"/>
                  </a:lnTo>
                  <a:lnTo>
                    <a:pt x="1488" y="816"/>
                  </a:lnTo>
                  <a:lnTo>
                    <a:pt x="1482" y="810"/>
                  </a:lnTo>
                  <a:lnTo>
                    <a:pt x="1470" y="804"/>
                  </a:lnTo>
                  <a:lnTo>
                    <a:pt x="1464" y="798"/>
                  </a:lnTo>
                  <a:lnTo>
                    <a:pt x="1464" y="792"/>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46" name="Rwanda" descr="© INSCALE GmbH, 05.05.2010&#10;http://www.presentationload.com/">
              <a:extLst>
                <a:ext uri="{FF2B5EF4-FFF2-40B4-BE49-F238E27FC236}">
                  <a16:creationId xmlns:a16="http://schemas.microsoft.com/office/drawing/2014/main" id="{B150FD4E-DF81-E417-087F-E698289CFD75}"/>
                </a:ext>
              </a:extLst>
            </p:cNvPr>
            <p:cNvSpPr>
              <a:spLocks/>
            </p:cNvSpPr>
            <p:nvPr/>
          </p:nvSpPr>
          <p:spPr bwMode="gray">
            <a:xfrm>
              <a:off x="5012154" y="3249609"/>
              <a:ext cx="56330" cy="56330"/>
            </a:xfrm>
            <a:custGeom>
              <a:avLst/>
              <a:gdLst>
                <a:gd name="T0" fmla="*/ 2147483647 w 150"/>
                <a:gd name="T1" fmla="*/ 2147483647 h 150"/>
                <a:gd name="T2" fmla="*/ 2147483647 w 150"/>
                <a:gd name="T3" fmla="*/ 2147483647 h 150"/>
                <a:gd name="T4" fmla="*/ 2147483647 w 150"/>
                <a:gd name="T5" fmla="*/ 2147483647 h 150"/>
                <a:gd name="T6" fmla="*/ 2147483647 w 150"/>
                <a:gd name="T7" fmla="*/ 2147483647 h 150"/>
                <a:gd name="T8" fmla="*/ 2147483647 w 150"/>
                <a:gd name="T9" fmla="*/ 2147483647 h 150"/>
                <a:gd name="T10" fmla="*/ 2147483647 w 150"/>
                <a:gd name="T11" fmla="*/ 2147483647 h 150"/>
                <a:gd name="T12" fmla="*/ 2147483647 w 150"/>
                <a:gd name="T13" fmla="*/ 2147483647 h 150"/>
                <a:gd name="T14" fmla="*/ 2147483647 w 150"/>
                <a:gd name="T15" fmla="*/ 2147483647 h 150"/>
                <a:gd name="T16" fmla="*/ 2147483647 w 150"/>
                <a:gd name="T17" fmla="*/ 2147483647 h 150"/>
                <a:gd name="T18" fmla="*/ 2147483647 w 150"/>
                <a:gd name="T19" fmla="*/ 2147483647 h 150"/>
                <a:gd name="T20" fmla="*/ 2147483647 w 150"/>
                <a:gd name="T21" fmla="*/ 2147483647 h 150"/>
                <a:gd name="T22" fmla="*/ 2147483647 w 150"/>
                <a:gd name="T23" fmla="*/ 2147483647 h 150"/>
                <a:gd name="T24" fmla="*/ 2147483647 w 150"/>
                <a:gd name="T25" fmla="*/ 2147483647 h 150"/>
                <a:gd name="T26" fmla="*/ 2147483647 w 150"/>
                <a:gd name="T27" fmla="*/ 0 h 150"/>
                <a:gd name="T28" fmla="*/ 2147483647 w 150"/>
                <a:gd name="T29" fmla="*/ 2147483647 h 150"/>
                <a:gd name="T30" fmla="*/ 2147483647 w 150"/>
                <a:gd name="T31" fmla="*/ 2147483647 h 150"/>
                <a:gd name="T32" fmla="*/ 2147483647 w 150"/>
                <a:gd name="T33" fmla="*/ 2147483647 h 150"/>
                <a:gd name="T34" fmla="*/ 2147483647 w 150"/>
                <a:gd name="T35" fmla="*/ 2147483647 h 150"/>
                <a:gd name="T36" fmla="*/ 2147483647 w 150"/>
                <a:gd name="T37" fmla="*/ 2147483647 h 150"/>
                <a:gd name="T38" fmla="*/ 2147483647 w 150"/>
                <a:gd name="T39" fmla="*/ 2147483647 h 150"/>
                <a:gd name="T40" fmla="*/ 2147483647 w 150"/>
                <a:gd name="T41" fmla="*/ 2147483647 h 150"/>
                <a:gd name="T42" fmla="*/ 2147483647 w 150"/>
                <a:gd name="T43" fmla="*/ 2147483647 h 150"/>
                <a:gd name="T44" fmla="*/ 2147483647 w 150"/>
                <a:gd name="T45" fmla="*/ 2147483647 h 150"/>
                <a:gd name="T46" fmla="*/ 2147483647 w 150"/>
                <a:gd name="T47" fmla="*/ 2147483647 h 150"/>
                <a:gd name="T48" fmla="*/ 2147483647 w 150"/>
                <a:gd name="T49" fmla="*/ 2147483647 h 150"/>
                <a:gd name="T50" fmla="*/ 2147483647 w 150"/>
                <a:gd name="T51" fmla="*/ 2147483647 h 150"/>
                <a:gd name="T52" fmla="*/ 2147483647 w 150"/>
                <a:gd name="T53" fmla="*/ 2147483647 h 150"/>
                <a:gd name="T54" fmla="*/ 2147483647 w 150"/>
                <a:gd name="T55" fmla="*/ 2147483647 h 150"/>
                <a:gd name="T56" fmla="*/ 2147483647 w 150"/>
                <a:gd name="T57" fmla="*/ 2147483647 h 150"/>
                <a:gd name="T58" fmla="*/ 2147483647 w 150"/>
                <a:gd name="T59" fmla="*/ 2147483647 h 150"/>
                <a:gd name="T60" fmla="*/ 0 w 150"/>
                <a:gd name="T61" fmla="*/ 2147483647 h 150"/>
                <a:gd name="T62" fmla="*/ 0 w 150"/>
                <a:gd name="T63" fmla="*/ 2147483647 h 150"/>
                <a:gd name="T64" fmla="*/ 2147483647 w 150"/>
                <a:gd name="T65" fmla="*/ 2147483647 h 150"/>
                <a:gd name="T66" fmla="*/ 2147483647 w 150"/>
                <a:gd name="T67" fmla="*/ 2147483647 h 150"/>
                <a:gd name="T68" fmla="*/ 2147483647 w 150"/>
                <a:gd name="T69" fmla="*/ 2147483647 h 150"/>
                <a:gd name="T70" fmla="*/ 2147483647 w 150"/>
                <a:gd name="T71" fmla="*/ 2147483647 h 150"/>
                <a:gd name="T72" fmla="*/ 2147483647 w 150"/>
                <a:gd name="T73" fmla="*/ 2147483647 h 15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0"/>
                <a:gd name="T112" fmla="*/ 0 h 150"/>
                <a:gd name="T113" fmla="*/ 150 w 150"/>
                <a:gd name="T114" fmla="*/ 150 h 15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0" h="150">
                  <a:moveTo>
                    <a:pt x="48" y="150"/>
                  </a:moveTo>
                  <a:lnTo>
                    <a:pt x="54" y="150"/>
                  </a:lnTo>
                  <a:lnTo>
                    <a:pt x="60" y="144"/>
                  </a:lnTo>
                  <a:lnTo>
                    <a:pt x="72" y="138"/>
                  </a:lnTo>
                  <a:lnTo>
                    <a:pt x="78" y="114"/>
                  </a:lnTo>
                  <a:lnTo>
                    <a:pt x="138" y="114"/>
                  </a:lnTo>
                  <a:lnTo>
                    <a:pt x="150" y="102"/>
                  </a:lnTo>
                  <a:lnTo>
                    <a:pt x="150" y="72"/>
                  </a:lnTo>
                  <a:lnTo>
                    <a:pt x="144" y="66"/>
                  </a:lnTo>
                  <a:lnTo>
                    <a:pt x="144" y="48"/>
                  </a:lnTo>
                  <a:lnTo>
                    <a:pt x="138" y="42"/>
                  </a:lnTo>
                  <a:lnTo>
                    <a:pt x="132" y="30"/>
                  </a:lnTo>
                  <a:lnTo>
                    <a:pt x="126" y="24"/>
                  </a:lnTo>
                  <a:lnTo>
                    <a:pt x="132" y="0"/>
                  </a:lnTo>
                  <a:lnTo>
                    <a:pt x="108" y="6"/>
                  </a:lnTo>
                  <a:lnTo>
                    <a:pt x="108" y="12"/>
                  </a:lnTo>
                  <a:lnTo>
                    <a:pt x="102" y="18"/>
                  </a:lnTo>
                  <a:lnTo>
                    <a:pt x="90" y="42"/>
                  </a:lnTo>
                  <a:lnTo>
                    <a:pt x="84" y="42"/>
                  </a:lnTo>
                  <a:lnTo>
                    <a:pt x="72" y="30"/>
                  </a:lnTo>
                  <a:lnTo>
                    <a:pt x="54" y="30"/>
                  </a:lnTo>
                  <a:lnTo>
                    <a:pt x="48" y="36"/>
                  </a:lnTo>
                  <a:lnTo>
                    <a:pt x="24" y="48"/>
                  </a:lnTo>
                  <a:lnTo>
                    <a:pt x="18" y="54"/>
                  </a:lnTo>
                  <a:lnTo>
                    <a:pt x="18" y="60"/>
                  </a:lnTo>
                  <a:lnTo>
                    <a:pt x="24" y="72"/>
                  </a:lnTo>
                  <a:lnTo>
                    <a:pt x="30" y="78"/>
                  </a:lnTo>
                  <a:lnTo>
                    <a:pt x="30" y="90"/>
                  </a:lnTo>
                  <a:lnTo>
                    <a:pt x="18" y="102"/>
                  </a:lnTo>
                  <a:lnTo>
                    <a:pt x="6" y="108"/>
                  </a:lnTo>
                  <a:lnTo>
                    <a:pt x="0" y="120"/>
                  </a:lnTo>
                  <a:lnTo>
                    <a:pt x="0" y="126"/>
                  </a:lnTo>
                  <a:lnTo>
                    <a:pt x="6" y="132"/>
                  </a:lnTo>
                  <a:lnTo>
                    <a:pt x="30" y="132"/>
                  </a:lnTo>
                  <a:lnTo>
                    <a:pt x="36" y="144"/>
                  </a:lnTo>
                  <a:lnTo>
                    <a:pt x="42" y="150"/>
                  </a:lnTo>
                  <a:lnTo>
                    <a:pt x="48" y="150"/>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47" name="Russia (Urup,Simushir)" descr="© INSCALE GmbH, 05.05.2010&#10;http://www.presentationload.com/">
              <a:extLst>
                <a:ext uri="{FF2B5EF4-FFF2-40B4-BE49-F238E27FC236}">
                  <a16:creationId xmlns:a16="http://schemas.microsoft.com/office/drawing/2014/main" id="{52AA6AFF-A735-59E8-9A53-845E48F0540A}"/>
                </a:ext>
              </a:extLst>
            </p:cNvPr>
            <p:cNvSpPr>
              <a:spLocks noEditPoints="1"/>
            </p:cNvSpPr>
            <p:nvPr/>
          </p:nvSpPr>
          <p:spPr bwMode="gray">
            <a:xfrm>
              <a:off x="7804943" y="1429248"/>
              <a:ext cx="114143" cy="453608"/>
            </a:xfrm>
            <a:custGeom>
              <a:avLst/>
              <a:gdLst>
                <a:gd name="T0" fmla="*/ 0 w 300"/>
                <a:gd name="T1" fmla="*/ 2147483647 h 1194"/>
                <a:gd name="T2" fmla="*/ 2147483647 w 300"/>
                <a:gd name="T3" fmla="*/ 2147483647 h 1194"/>
                <a:gd name="T4" fmla="*/ 2147483647 w 300"/>
                <a:gd name="T5" fmla="*/ 2147483647 h 1194"/>
                <a:gd name="T6" fmla="*/ 2147483647 w 300"/>
                <a:gd name="T7" fmla="*/ 2147483647 h 1194"/>
                <a:gd name="T8" fmla="*/ 0 w 300"/>
                <a:gd name="T9" fmla="*/ 2147483647 h 1194"/>
                <a:gd name="T10" fmla="*/ 2147483647 w 300"/>
                <a:gd name="T11" fmla="*/ 2147483647 h 1194"/>
                <a:gd name="T12" fmla="*/ 2147483647 w 300"/>
                <a:gd name="T13" fmla="*/ 2147483647 h 1194"/>
                <a:gd name="T14" fmla="*/ 2147483647 w 300"/>
                <a:gd name="T15" fmla="*/ 2147483647 h 1194"/>
                <a:gd name="T16" fmla="*/ 2147483647 w 300"/>
                <a:gd name="T17" fmla="*/ 2147483647 h 1194"/>
                <a:gd name="T18" fmla="*/ 2147483647 w 300"/>
                <a:gd name="T19" fmla="*/ 2147483647 h 1194"/>
                <a:gd name="T20" fmla="*/ 2147483647 w 300"/>
                <a:gd name="T21" fmla="*/ 2147483647 h 1194"/>
                <a:gd name="T22" fmla="*/ 2147483647 w 300"/>
                <a:gd name="T23" fmla="*/ 2147483647 h 1194"/>
                <a:gd name="T24" fmla="*/ 2147483647 w 300"/>
                <a:gd name="T25" fmla="*/ 2147483647 h 1194"/>
                <a:gd name="T26" fmla="*/ 2147483647 w 300"/>
                <a:gd name="T27" fmla="*/ 2147483647 h 1194"/>
                <a:gd name="T28" fmla="*/ 2147483647 w 300"/>
                <a:gd name="T29" fmla="*/ 2147483647 h 1194"/>
                <a:gd name="T30" fmla="*/ 2147483647 w 300"/>
                <a:gd name="T31" fmla="*/ 2147483647 h 1194"/>
                <a:gd name="T32" fmla="*/ 2147483647 w 300"/>
                <a:gd name="T33" fmla="*/ 2147483647 h 1194"/>
                <a:gd name="T34" fmla="*/ 2147483647 w 300"/>
                <a:gd name="T35" fmla="*/ 2147483647 h 1194"/>
                <a:gd name="T36" fmla="*/ 2147483647 w 300"/>
                <a:gd name="T37" fmla="*/ 2147483647 h 1194"/>
                <a:gd name="T38" fmla="*/ 2147483647 w 300"/>
                <a:gd name="T39" fmla="*/ 2147483647 h 1194"/>
                <a:gd name="T40" fmla="*/ 2147483647 w 300"/>
                <a:gd name="T41" fmla="*/ 2147483647 h 1194"/>
                <a:gd name="T42" fmla="*/ 2147483647 w 300"/>
                <a:gd name="T43" fmla="*/ 2147483647 h 1194"/>
                <a:gd name="T44" fmla="*/ 2147483647 w 300"/>
                <a:gd name="T45" fmla="*/ 2147483647 h 1194"/>
                <a:gd name="T46" fmla="*/ 2147483647 w 300"/>
                <a:gd name="T47" fmla="*/ 2147483647 h 1194"/>
                <a:gd name="T48" fmla="*/ 2147483647 w 300"/>
                <a:gd name="T49" fmla="*/ 2147483647 h 1194"/>
                <a:gd name="T50" fmla="*/ 2147483647 w 300"/>
                <a:gd name="T51" fmla="*/ 2147483647 h 1194"/>
                <a:gd name="T52" fmla="*/ 2147483647 w 300"/>
                <a:gd name="T53" fmla="*/ 2147483647 h 1194"/>
                <a:gd name="T54" fmla="*/ 2147483647 w 300"/>
                <a:gd name="T55" fmla="*/ 2147483647 h 1194"/>
                <a:gd name="T56" fmla="*/ 2147483647 w 300"/>
                <a:gd name="T57" fmla="*/ 2147483647 h 1194"/>
                <a:gd name="T58" fmla="*/ 2147483647 w 300"/>
                <a:gd name="T59" fmla="*/ 2147483647 h 1194"/>
                <a:gd name="T60" fmla="*/ 2147483647 w 300"/>
                <a:gd name="T61" fmla="*/ 2147483647 h 1194"/>
                <a:gd name="T62" fmla="*/ 2147483647 w 300"/>
                <a:gd name="T63" fmla="*/ 2147483647 h 1194"/>
                <a:gd name="T64" fmla="*/ 2147483647 w 300"/>
                <a:gd name="T65" fmla="*/ 2147483647 h 1194"/>
                <a:gd name="T66" fmla="*/ 2147483647 w 300"/>
                <a:gd name="T67" fmla="*/ 2147483647 h 1194"/>
                <a:gd name="T68" fmla="*/ 2147483647 w 300"/>
                <a:gd name="T69" fmla="*/ 2147483647 h 1194"/>
                <a:gd name="T70" fmla="*/ 2147483647 w 300"/>
                <a:gd name="T71" fmla="*/ 2147483647 h 1194"/>
                <a:gd name="T72" fmla="*/ 2147483647 w 300"/>
                <a:gd name="T73" fmla="*/ 2147483647 h 1194"/>
                <a:gd name="T74" fmla="*/ 2147483647 w 300"/>
                <a:gd name="T75" fmla="*/ 2147483647 h 1194"/>
                <a:gd name="T76" fmla="*/ 2147483647 w 300"/>
                <a:gd name="T77" fmla="*/ 2147483647 h 1194"/>
                <a:gd name="T78" fmla="*/ 2147483647 w 300"/>
                <a:gd name="T79" fmla="*/ 2147483647 h 1194"/>
                <a:gd name="T80" fmla="*/ 2147483647 w 300"/>
                <a:gd name="T81" fmla="*/ 2147483647 h 1194"/>
                <a:gd name="T82" fmla="*/ 2147483647 w 300"/>
                <a:gd name="T83" fmla="*/ 2147483647 h 1194"/>
                <a:gd name="T84" fmla="*/ 2147483647 w 300"/>
                <a:gd name="T85" fmla="*/ 2147483647 h 1194"/>
                <a:gd name="T86" fmla="*/ 2147483647 w 300"/>
                <a:gd name="T87" fmla="*/ 2147483647 h 1194"/>
                <a:gd name="T88" fmla="*/ 2147483647 w 300"/>
                <a:gd name="T89" fmla="*/ 2147483647 h 1194"/>
                <a:gd name="T90" fmla="*/ 2147483647 w 300"/>
                <a:gd name="T91" fmla="*/ 2147483647 h 1194"/>
                <a:gd name="T92" fmla="*/ 2147483647 w 300"/>
                <a:gd name="T93" fmla="*/ 2147483647 h 1194"/>
                <a:gd name="T94" fmla="*/ 2147483647 w 300"/>
                <a:gd name="T95" fmla="*/ 2147483647 h 1194"/>
                <a:gd name="T96" fmla="*/ 2147483647 w 300"/>
                <a:gd name="T97" fmla="*/ 2147483647 h 1194"/>
                <a:gd name="T98" fmla="*/ 2147483647 w 300"/>
                <a:gd name="T99" fmla="*/ 0 h 1194"/>
                <a:gd name="T100" fmla="*/ 2147483647 w 300"/>
                <a:gd name="T101" fmla="*/ 2147483647 h 11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00"/>
                <a:gd name="T154" fmla="*/ 0 h 1194"/>
                <a:gd name="T155" fmla="*/ 300 w 300"/>
                <a:gd name="T156" fmla="*/ 1194 h 11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00" h="1194">
                  <a:moveTo>
                    <a:pt x="0" y="1194"/>
                  </a:moveTo>
                  <a:lnTo>
                    <a:pt x="12" y="1188"/>
                  </a:lnTo>
                  <a:lnTo>
                    <a:pt x="36" y="1146"/>
                  </a:lnTo>
                  <a:lnTo>
                    <a:pt x="18" y="1134"/>
                  </a:lnTo>
                  <a:lnTo>
                    <a:pt x="0" y="1194"/>
                  </a:lnTo>
                  <a:close/>
                  <a:moveTo>
                    <a:pt x="114" y="1068"/>
                  </a:moveTo>
                  <a:lnTo>
                    <a:pt x="72" y="1062"/>
                  </a:lnTo>
                  <a:lnTo>
                    <a:pt x="54" y="1134"/>
                  </a:lnTo>
                  <a:lnTo>
                    <a:pt x="66" y="1134"/>
                  </a:lnTo>
                  <a:lnTo>
                    <a:pt x="84" y="1104"/>
                  </a:lnTo>
                  <a:lnTo>
                    <a:pt x="132" y="1074"/>
                  </a:lnTo>
                  <a:lnTo>
                    <a:pt x="120" y="1050"/>
                  </a:lnTo>
                  <a:lnTo>
                    <a:pt x="114" y="1068"/>
                  </a:lnTo>
                  <a:close/>
                  <a:moveTo>
                    <a:pt x="192" y="1008"/>
                  </a:moveTo>
                  <a:lnTo>
                    <a:pt x="186" y="1008"/>
                  </a:lnTo>
                  <a:lnTo>
                    <a:pt x="180" y="1020"/>
                  </a:lnTo>
                  <a:lnTo>
                    <a:pt x="174" y="1026"/>
                  </a:lnTo>
                  <a:lnTo>
                    <a:pt x="168" y="1038"/>
                  </a:lnTo>
                  <a:lnTo>
                    <a:pt x="168" y="1044"/>
                  </a:lnTo>
                  <a:lnTo>
                    <a:pt x="174" y="1050"/>
                  </a:lnTo>
                  <a:lnTo>
                    <a:pt x="180" y="1050"/>
                  </a:lnTo>
                  <a:lnTo>
                    <a:pt x="198" y="1032"/>
                  </a:lnTo>
                  <a:lnTo>
                    <a:pt x="198" y="1014"/>
                  </a:lnTo>
                  <a:lnTo>
                    <a:pt x="192" y="1008"/>
                  </a:lnTo>
                  <a:close/>
                  <a:moveTo>
                    <a:pt x="282" y="636"/>
                  </a:moveTo>
                  <a:lnTo>
                    <a:pt x="264" y="654"/>
                  </a:lnTo>
                  <a:lnTo>
                    <a:pt x="276" y="678"/>
                  </a:lnTo>
                  <a:lnTo>
                    <a:pt x="258" y="678"/>
                  </a:lnTo>
                  <a:lnTo>
                    <a:pt x="258" y="702"/>
                  </a:lnTo>
                  <a:lnTo>
                    <a:pt x="282" y="702"/>
                  </a:lnTo>
                  <a:lnTo>
                    <a:pt x="294" y="684"/>
                  </a:lnTo>
                  <a:lnTo>
                    <a:pt x="282" y="654"/>
                  </a:lnTo>
                  <a:lnTo>
                    <a:pt x="300" y="654"/>
                  </a:lnTo>
                  <a:lnTo>
                    <a:pt x="282" y="636"/>
                  </a:lnTo>
                  <a:close/>
                  <a:moveTo>
                    <a:pt x="276" y="768"/>
                  </a:moveTo>
                  <a:lnTo>
                    <a:pt x="294" y="750"/>
                  </a:lnTo>
                  <a:lnTo>
                    <a:pt x="270" y="732"/>
                  </a:lnTo>
                  <a:lnTo>
                    <a:pt x="276" y="768"/>
                  </a:lnTo>
                  <a:close/>
                  <a:moveTo>
                    <a:pt x="258" y="954"/>
                  </a:moveTo>
                  <a:lnTo>
                    <a:pt x="258" y="924"/>
                  </a:lnTo>
                  <a:lnTo>
                    <a:pt x="240" y="948"/>
                  </a:lnTo>
                  <a:lnTo>
                    <a:pt x="258" y="954"/>
                  </a:lnTo>
                  <a:close/>
                  <a:moveTo>
                    <a:pt x="252" y="858"/>
                  </a:moveTo>
                  <a:lnTo>
                    <a:pt x="270" y="858"/>
                  </a:lnTo>
                  <a:lnTo>
                    <a:pt x="252" y="840"/>
                  </a:lnTo>
                  <a:lnTo>
                    <a:pt x="252" y="858"/>
                  </a:lnTo>
                  <a:close/>
                  <a:moveTo>
                    <a:pt x="126" y="24"/>
                  </a:moveTo>
                  <a:lnTo>
                    <a:pt x="144" y="60"/>
                  </a:lnTo>
                  <a:lnTo>
                    <a:pt x="174" y="24"/>
                  </a:lnTo>
                  <a:lnTo>
                    <a:pt x="162" y="0"/>
                  </a:lnTo>
                  <a:lnTo>
                    <a:pt x="126" y="24"/>
                  </a:lnTo>
                  <a:close/>
                </a:path>
              </a:pathLst>
            </a:custGeom>
            <a:grp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48" name="Russia" descr="© INSCALE GmbH, 05.05.2010&#10;http://www.presentationload.com/">
              <a:extLst>
                <a:ext uri="{FF2B5EF4-FFF2-40B4-BE49-F238E27FC236}">
                  <a16:creationId xmlns:a16="http://schemas.microsoft.com/office/drawing/2014/main" id="{C183A66C-8A93-5A48-8D11-5949A2536D33}"/>
                </a:ext>
              </a:extLst>
            </p:cNvPr>
            <p:cNvSpPr>
              <a:spLocks noEditPoints="1"/>
            </p:cNvSpPr>
            <p:nvPr/>
          </p:nvSpPr>
          <p:spPr bwMode="gray">
            <a:xfrm>
              <a:off x="4727539" y="867426"/>
              <a:ext cx="3430210" cy="1092513"/>
            </a:xfrm>
            <a:custGeom>
              <a:avLst/>
              <a:gdLst>
                <a:gd name="T0" fmla="*/ 2147483647 w 9048"/>
                <a:gd name="T1" fmla="*/ 2147483647 h 2880"/>
                <a:gd name="T2" fmla="*/ 2147483647 w 9048"/>
                <a:gd name="T3" fmla="*/ 2147483647 h 2880"/>
                <a:gd name="T4" fmla="*/ 2147483647 w 9048"/>
                <a:gd name="T5" fmla="*/ 2147483647 h 2880"/>
                <a:gd name="T6" fmla="*/ 2147483647 w 9048"/>
                <a:gd name="T7" fmla="*/ 2147483647 h 2880"/>
                <a:gd name="T8" fmla="*/ 2147483647 w 9048"/>
                <a:gd name="T9" fmla="*/ 2147483647 h 2880"/>
                <a:gd name="T10" fmla="*/ 2147483647 w 9048"/>
                <a:gd name="T11" fmla="*/ 2147483647 h 2880"/>
                <a:gd name="T12" fmla="*/ 2147483647 w 9048"/>
                <a:gd name="T13" fmla="*/ 2147483647 h 2880"/>
                <a:gd name="T14" fmla="*/ 2147483647 w 9048"/>
                <a:gd name="T15" fmla="*/ 2147483647 h 2880"/>
                <a:gd name="T16" fmla="*/ 2147483647 w 9048"/>
                <a:gd name="T17" fmla="*/ 2147483647 h 2880"/>
                <a:gd name="T18" fmla="*/ 2147483647 w 9048"/>
                <a:gd name="T19" fmla="*/ 2147483647 h 2880"/>
                <a:gd name="T20" fmla="*/ 2147483647 w 9048"/>
                <a:gd name="T21" fmla="*/ 2147483647 h 2880"/>
                <a:gd name="T22" fmla="*/ 2147483647 w 9048"/>
                <a:gd name="T23" fmla="*/ 2147483647 h 2880"/>
                <a:gd name="T24" fmla="*/ 2147483647 w 9048"/>
                <a:gd name="T25" fmla="*/ 2147483647 h 2880"/>
                <a:gd name="T26" fmla="*/ 2147483647 w 9048"/>
                <a:gd name="T27" fmla="*/ 2147483647 h 2880"/>
                <a:gd name="T28" fmla="*/ 2147483647 w 9048"/>
                <a:gd name="T29" fmla="*/ 2147483647 h 2880"/>
                <a:gd name="T30" fmla="*/ 2147483647 w 9048"/>
                <a:gd name="T31" fmla="*/ 2147483647 h 2880"/>
                <a:gd name="T32" fmla="*/ 2147483647 w 9048"/>
                <a:gd name="T33" fmla="*/ 2147483647 h 2880"/>
                <a:gd name="T34" fmla="*/ 2147483647 w 9048"/>
                <a:gd name="T35" fmla="*/ 2147483647 h 2880"/>
                <a:gd name="T36" fmla="*/ 2147483647 w 9048"/>
                <a:gd name="T37" fmla="*/ 2147483647 h 2880"/>
                <a:gd name="T38" fmla="*/ 2147483647 w 9048"/>
                <a:gd name="T39" fmla="*/ 2147483647 h 2880"/>
                <a:gd name="T40" fmla="*/ 2147483647 w 9048"/>
                <a:gd name="T41" fmla="*/ 2147483647 h 2880"/>
                <a:gd name="T42" fmla="*/ 2147483647 w 9048"/>
                <a:gd name="T43" fmla="*/ 2147483647 h 2880"/>
                <a:gd name="T44" fmla="*/ 2147483647 w 9048"/>
                <a:gd name="T45" fmla="*/ 2147483647 h 2880"/>
                <a:gd name="T46" fmla="*/ 2147483647 w 9048"/>
                <a:gd name="T47" fmla="*/ 2147483647 h 2880"/>
                <a:gd name="T48" fmla="*/ 2147483647 w 9048"/>
                <a:gd name="T49" fmla="*/ 2147483647 h 2880"/>
                <a:gd name="T50" fmla="*/ 2147483647 w 9048"/>
                <a:gd name="T51" fmla="*/ 2147483647 h 2880"/>
                <a:gd name="T52" fmla="*/ 2147483647 w 9048"/>
                <a:gd name="T53" fmla="*/ 2147483647 h 2880"/>
                <a:gd name="T54" fmla="*/ 2147483647 w 9048"/>
                <a:gd name="T55" fmla="*/ 2147483647 h 2880"/>
                <a:gd name="T56" fmla="*/ 2147483647 w 9048"/>
                <a:gd name="T57" fmla="*/ 2147483647 h 2880"/>
                <a:gd name="T58" fmla="*/ 2147483647 w 9048"/>
                <a:gd name="T59" fmla="*/ 2147483647 h 2880"/>
                <a:gd name="T60" fmla="*/ 2147483647 w 9048"/>
                <a:gd name="T61" fmla="*/ 2147483647 h 2880"/>
                <a:gd name="T62" fmla="*/ 2147483647 w 9048"/>
                <a:gd name="T63" fmla="*/ 2147483647 h 2880"/>
                <a:gd name="T64" fmla="*/ 2147483647 w 9048"/>
                <a:gd name="T65" fmla="*/ 2147483647 h 2880"/>
                <a:gd name="T66" fmla="*/ 2147483647 w 9048"/>
                <a:gd name="T67" fmla="*/ 2147483647 h 2880"/>
                <a:gd name="T68" fmla="*/ 2147483647 w 9048"/>
                <a:gd name="T69" fmla="*/ 2147483647 h 2880"/>
                <a:gd name="T70" fmla="*/ 2147483647 w 9048"/>
                <a:gd name="T71" fmla="*/ 2147483647 h 2880"/>
                <a:gd name="T72" fmla="*/ 2147483647 w 9048"/>
                <a:gd name="T73" fmla="*/ 2147483647 h 2880"/>
                <a:gd name="T74" fmla="*/ 2147483647 w 9048"/>
                <a:gd name="T75" fmla="*/ 2147483647 h 2880"/>
                <a:gd name="T76" fmla="*/ 2147483647 w 9048"/>
                <a:gd name="T77" fmla="*/ 2147483647 h 2880"/>
                <a:gd name="T78" fmla="*/ 2147483647 w 9048"/>
                <a:gd name="T79" fmla="*/ 2147483647 h 2880"/>
                <a:gd name="T80" fmla="*/ 2147483647 w 9048"/>
                <a:gd name="T81" fmla="*/ 2147483647 h 2880"/>
                <a:gd name="T82" fmla="*/ 2147483647 w 9048"/>
                <a:gd name="T83" fmla="*/ 2147483647 h 2880"/>
                <a:gd name="T84" fmla="*/ 2147483647 w 9048"/>
                <a:gd name="T85" fmla="*/ 2147483647 h 2880"/>
                <a:gd name="T86" fmla="*/ 2147483647 w 9048"/>
                <a:gd name="T87" fmla="*/ 2147483647 h 2880"/>
                <a:gd name="T88" fmla="*/ 2147483647 w 9048"/>
                <a:gd name="T89" fmla="*/ 2147483647 h 2880"/>
                <a:gd name="T90" fmla="*/ 2147483647 w 9048"/>
                <a:gd name="T91" fmla="*/ 2147483647 h 2880"/>
                <a:gd name="T92" fmla="*/ 2147483647 w 9048"/>
                <a:gd name="T93" fmla="*/ 2147483647 h 2880"/>
                <a:gd name="T94" fmla="*/ 2147483647 w 9048"/>
                <a:gd name="T95" fmla="*/ 2147483647 h 2880"/>
                <a:gd name="T96" fmla="*/ 2147483647 w 9048"/>
                <a:gd name="T97" fmla="*/ 2147483647 h 2880"/>
                <a:gd name="T98" fmla="*/ 2147483647 w 9048"/>
                <a:gd name="T99" fmla="*/ 2147483647 h 2880"/>
                <a:gd name="T100" fmla="*/ 2147483647 w 9048"/>
                <a:gd name="T101" fmla="*/ 2147483647 h 2880"/>
                <a:gd name="T102" fmla="*/ 2147483647 w 9048"/>
                <a:gd name="T103" fmla="*/ 2147483647 h 2880"/>
                <a:gd name="T104" fmla="*/ 2147483647 w 9048"/>
                <a:gd name="T105" fmla="*/ 2147483647 h 2880"/>
                <a:gd name="T106" fmla="*/ 2147483647 w 9048"/>
                <a:gd name="T107" fmla="*/ 2147483647 h 2880"/>
                <a:gd name="T108" fmla="*/ 2147483647 w 9048"/>
                <a:gd name="T109" fmla="*/ 2147483647 h 2880"/>
                <a:gd name="T110" fmla="*/ 2147483647 w 9048"/>
                <a:gd name="T111" fmla="*/ 2147483647 h 2880"/>
                <a:gd name="T112" fmla="*/ 2147483647 w 9048"/>
                <a:gd name="T113" fmla="*/ 2147483647 h 2880"/>
                <a:gd name="T114" fmla="*/ 2147483647 w 9048"/>
                <a:gd name="T115" fmla="*/ 2147483647 h 2880"/>
                <a:gd name="T116" fmla="*/ 2147483647 w 9048"/>
                <a:gd name="T117" fmla="*/ 2147483647 h 2880"/>
                <a:gd name="T118" fmla="*/ 2147483647 w 9048"/>
                <a:gd name="T119" fmla="*/ 2147483647 h 2880"/>
                <a:gd name="T120" fmla="*/ 2147483647 w 9048"/>
                <a:gd name="T121" fmla="*/ 2147483647 h 2880"/>
                <a:gd name="T122" fmla="*/ 2147483647 w 9048"/>
                <a:gd name="T123" fmla="*/ 2147483647 h 2880"/>
                <a:gd name="T124" fmla="*/ 2147483647 w 9048"/>
                <a:gd name="T125" fmla="*/ 2147483647 h 288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48"/>
                <a:gd name="T190" fmla="*/ 0 h 2880"/>
                <a:gd name="T191" fmla="*/ 9048 w 9048"/>
                <a:gd name="T192" fmla="*/ 2880 h 288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48" h="2880">
                  <a:moveTo>
                    <a:pt x="2790" y="546"/>
                  </a:moveTo>
                  <a:lnTo>
                    <a:pt x="2760" y="540"/>
                  </a:lnTo>
                  <a:lnTo>
                    <a:pt x="2736" y="558"/>
                  </a:lnTo>
                  <a:lnTo>
                    <a:pt x="2778" y="570"/>
                  </a:lnTo>
                  <a:lnTo>
                    <a:pt x="2790" y="546"/>
                  </a:lnTo>
                  <a:close/>
                  <a:moveTo>
                    <a:pt x="2832" y="522"/>
                  </a:moveTo>
                  <a:lnTo>
                    <a:pt x="2820" y="516"/>
                  </a:lnTo>
                  <a:lnTo>
                    <a:pt x="2814" y="510"/>
                  </a:lnTo>
                  <a:lnTo>
                    <a:pt x="2808" y="510"/>
                  </a:lnTo>
                  <a:lnTo>
                    <a:pt x="2808" y="528"/>
                  </a:lnTo>
                  <a:lnTo>
                    <a:pt x="2820" y="534"/>
                  </a:lnTo>
                  <a:lnTo>
                    <a:pt x="2832" y="534"/>
                  </a:lnTo>
                  <a:lnTo>
                    <a:pt x="2844" y="540"/>
                  </a:lnTo>
                  <a:lnTo>
                    <a:pt x="2850" y="540"/>
                  </a:lnTo>
                  <a:lnTo>
                    <a:pt x="2850" y="534"/>
                  </a:lnTo>
                  <a:lnTo>
                    <a:pt x="2844" y="528"/>
                  </a:lnTo>
                  <a:lnTo>
                    <a:pt x="2832" y="522"/>
                  </a:lnTo>
                  <a:close/>
                  <a:moveTo>
                    <a:pt x="1704" y="18"/>
                  </a:moveTo>
                  <a:lnTo>
                    <a:pt x="1710" y="18"/>
                  </a:lnTo>
                  <a:lnTo>
                    <a:pt x="1716" y="12"/>
                  </a:lnTo>
                  <a:lnTo>
                    <a:pt x="1728" y="6"/>
                  </a:lnTo>
                  <a:lnTo>
                    <a:pt x="1734" y="0"/>
                  </a:lnTo>
                  <a:lnTo>
                    <a:pt x="1644" y="0"/>
                  </a:lnTo>
                  <a:lnTo>
                    <a:pt x="1638" y="12"/>
                  </a:lnTo>
                  <a:lnTo>
                    <a:pt x="1680" y="12"/>
                  </a:lnTo>
                  <a:lnTo>
                    <a:pt x="1686" y="18"/>
                  </a:lnTo>
                  <a:lnTo>
                    <a:pt x="1704" y="18"/>
                  </a:lnTo>
                  <a:close/>
                  <a:moveTo>
                    <a:pt x="1740" y="60"/>
                  </a:moveTo>
                  <a:lnTo>
                    <a:pt x="1746" y="60"/>
                  </a:lnTo>
                  <a:lnTo>
                    <a:pt x="1758" y="48"/>
                  </a:lnTo>
                  <a:lnTo>
                    <a:pt x="1764" y="48"/>
                  </a:lnTo>
                  <a:lnTo>
                    <a:pt x="1770" y="54"/>
                  </a:lnTo>
                  <a:lnTo>
                    <a:pt x="1782" y="54"/>
                  </a:lnTo>
                  <a:lnTo>
                    <a:pt x="1788" y="60"/>
                  </a:lnTo>
                  <a:lnTo>
                    <a:pt x="1800" y="60"/>
                  </a:lnTo>
                  <a:lnTo>
                    <a:pt x="1812" y="48"/>
                  </a:lnTo>
                  <a:lnTo>
                    <a:pt x="1812" y="36"/>
                  </a:lnTo>
                  <a:lnTo>
                    <a:pt x="1806" y="30"/>
                  </a:lnTo>
                  <a:lnTo>
                    <a:pt x="1794" y="24"/>
                  </a:lnTo>
                  <a:lnTo>
                    <a:pt x="1758" y="24"/>
                  </a:lnTo>
                  <a:lnTo>
                    <a:pt x="1710" y="48"/>
                  </a:lnTo>
                  <a:lnTo>
                    <a:pt x="1716" y="54"/>
                  </a:lnTo>
                  <a:lnTo>
                    <a:pt x="1728" y="60"/>
                  </a:lnTo>
                  <a:lnTo>
                    <a:pt x="1740" y="60"/>
                  </a:lnTo>
                  <a:close/>
                  <a:moveTo>
                    <a:pt x="2382" y="510"/>
                  </a:moveTo>
                  <a:lnTo>
                    <a:pt x="2400" y="504"/>
                  </a:lnTo>
                  <a:lnTo>
                    <a:pt x="2412" y="498"/>
                  </a:lnTo>
                  <a:lnTo>
                    <a:pt x="2412" y="486"/>
                  </a:lnTo>
                  <a:lnTo>
                    <a:pt x="2406" y="486"/>
                  </a:lnTo>
                  <a:lnTo>
                    <a:pt x="2400" y="480"/>
                  </a:lnTo>
                  <a:lnTo>
                    <a:pt x="2346" y="480"/>
                  </a:lnTo>
                  <a:lnTo>
                    <a:pt x="2346" y="492"/>
                  </a:lnTo>
                  <a:lnTo>
                    <a:pt x="2358" y="504"/>
                  </a:lnTo>
                  <a:lnTo>
                    <a:pt x="2370" y="510"/>
                  </a:lnTo>
                  <a:lnTo>
                    <a:pt x="2382" y="510"/>
                  </a:lnTo>
                  <a:close/>
                  <a:moveTo>
                    <a:pt x="1590" y="30"/>
                  </a:moveTo>
                  <a:lnTo>
                    <a:pt x="1548" y="24"/>
                  </a:lnTo>
                  <a:lnTo>
                    <a:pt x="1554" y="36"/>
                  </a:lnTo>
                  <a:lnTo>
                    <a:pt x="1590" y="30"/>
                  </a:lnTo>
                  <a:close/>
                  <a:moveTo>
                    <a:pt x="1890" y="696"/>
                  </a:moveTo>
                  <a:lnTo>
                    <a:pt x="1896" y="708"/>
                  </a:lnTo>
                  <a:lnTo>
                    <a:pt x="1920" y="720"/>
                  </a:lnTo>
                  <a:lnTo>
                    <a:pt x="1950" y="738"/>
                  </a:lnTo>
                  <a:lnTo>
                    <a:pt x="1974" y="744"/>
                  </a:lnTo>
                  <a:lnTo>
                    <a:pt x="1992" y="738"/>
                  </a:lnTo>
                  <a:lnTo>
                    <a:pt x="1980" y="720"/>
                  </a:lnTo>
                  <a:lnTo>
                    <a:pt x="1950" y="702"/>
                  </a:lnTo>
                  <a:lnTo>
                    <a:pt x="1914" y="696"/>
                  </a:lnTo>
                  <a:lnTo>
                    <a:pt x="1890" y="696"/>
                  </a:lnTo>
                  <a:close/>
                  <a:moveTo>
                    <a:pt x="3108" y="126"/>
                  </a:moveTo>
                  <a:lnTo>
                    <a:pt x="3120" y="108"/>
                  </a:lnTo>
                  <a:lnTo>
                    <a:pt x="3030" y="108"/>
                  </a:lnTo>
                  <a:lnTo>
                    <a:pt x="3108" y="126"/>
                  </a:lnTo>
                  <a:close/>
                  <a:moveTo>
                    <a:pt x="1560" y="102"/>
                  </a:moveTo>
                  <a:lnTo>
                    <a:pt x="1632" y="102"/>
                  </a:lnTo>
                  <a:lnTo>
                    <a:pt x="1608" y="84"/>
                  </a:lnTo>
                  <a:lnTo>
                    <a:pt x="1560" y="102"/>
                  </a:lnTo>
                  <a:close/>
                  <a:moveTo>
                    <a:pt x="1572" y="60"/>
                  </a:moveTo>
                  <a:lnTo>
                    <a:pt x="1584" y="66"/>
                  </a:lnTo>
                  <a:lnTo>
                    <a:pt x="1596" y="78"/>
                  </a:lnTo>
                  <a:lnTo>
                    <a:pt x="1620" y="66"/>
                  </a:lnTo>
                  <a:lnTo>
                    <a:pt x="1620" y="72"/>
                  </a:lnTo>
                  <a:lnTo>
                    <a:pt x="1644" y="72"/>
                  </a:lnTo>
                  <a:lnTo>
                    <a:pt x="1668" y="60"/>
                  </a:lnTo>
                  <a:lnTo>
                    <a:pt x="1674" y="54"/>
                  </a:lnTo>
                  <a:lnTo>
                    <a:pt x="1680" y="54"/>
                  </a:lnTo>
                  <a:lnTo>
                    <a:pt x="1626" y="48"/>
                  </a:lnTo>
                  <a:lnTo>
                    <a:pt x="1614" y="54"/>
                  </a:lnTo>
                  <a:lnTo>
                    <a:pt x="1608" y="54"/>
                  </a:lnTo>
                  <a:lnTo>
                    <a:pt x="1602" y="48"/>
                  </a:lnTo>
                  <a:lnTo>
                    <a:pt x="1584" y="48"/>
                  </a:lnTo>
                  <a:lnTo>
                    <a:pt x="1572" y="60"/>
                  </a:lnTo>
                  <a:close/>
                  <a:moveTo>
                    <a:pt x="1662" y="36"/>
                  </a:moveTo>
                  <a:lnTo>
                    <a:pt x="1602" y="36"/>
                  </a:lnTo>
                  <a:lnTo>
                    <a:pt x="1650" y="48"/>
                  </a:lnTo>
                  <a:lnTo>
                    <a:pt x="1662" y="36"/>
                  </a:lnTo>
                  <a:close/>
                  <a:moveTo>
                    <a:pt x="1542" y="522"/>
                  </a:moveTo>
                  <a:lnTo>
                    <a:pt x="1500" y="528"/>
                  </a:lnTo>
                  <a:lnTo>
                    <a:pt x="1512" y="552"/>
                  </a:lnTo>
                  <a:lnTo>
                    <a:pt x="1542" y="534"/>
                  </a:lnTo>
                  <a:lnTo>
                    <a:pt x="1524" y="558"/>
                  </a:lnTo>
                  <a:lnTo>
                    <a:pt x="1518" y="558"/>
                  </a:lnTo>
                  <a:lnTo>
                    <a:pt x="1512" y="564"/>
                  </a:lnTo>
                  <a:lnTo>
                    <a:pt x="1506" y="564"/>
                  </a:lnTo>
                  <a:lnTo>
                    <a:pt x="1494" y="570"/>
                  </a:lnTo>
                  <a:lnTo>
                    <a:pt x="1488" y="576"/>
                  </a:lnTo>
                  <a:lnTo>
                    <a:pt x="1488" y="582"/>
                  </a:lnTo>
                  <a:lnTo>
                    <a:pt x="1500" y="594"/>
                  </a:lnTo>
                  <a:lnTo>
                    <a:pt x="1524" y="606"/>
                  </a:lnTo>
                  <a:lnTo>
                    <a:pt x="1566" y="606"/>
                  </a:lnTo>
                  <a:lnTo>
                    <a:pt x="1590" y="612"/>
                  </a:lnTo>
                  <a:lnTo>
                    <a:pt x="1608" y="618"/>
                  </a:lnTo>
                  <a:lnTo>
                    <a:pt x="1614" y="624"/>
                  </a:lnTo>
                  <a:lnTo>
                    <a:pt x="1620" y="636"/>
                  </a:lnTo>
                  <a:lnTo>
                    <a:pt x="1620" y="648"/>
                  </a:lnTo>
                  <a:lnTo>
                    <a:pt x="1626" y="654"/>
                  </a:lnTo>
                  <a:lnTo>
                    <a:pt x="1626" y="660"/>
                  </a:lnTo>
                  <a:lnTo>
                    <a:pt x="1644" y="660"/>
                  </a:lnTo>
                  <a:lnTo>
                    <a:pt x="1662" y="666"/>
                  </a:lnTo>
                  <a:lnTo>
                    <a:pt x="1674" y="666"/>
                  </a:lnTo>
                  <a:lnTo>
                    <a:pt x="1692" y="672"/>
                  </a:lnTo>
                  <a:lnTo>
                    <a:pt x="1704" y="672"/>
                  </a:lnTo>
                  <a:lnTo>
                    <a:pt x="1818" y="666"/>
                  </a:lnTo>
                  <a:lnTo>
                    <a:pt x="1806" y="666"/>
                  </a:lnTo>
                  <a:lnTo>
                    <a:pt x="1734" y="642"/>
                  </a:lnTo>
                  <a:lnTo>
                    <a:pt x="1704" y="618"/>
                  </a:lnTo>
                  <a:lnTo>
                    <a:pt x="1692" y="600"/>
                  </a:lnTo>
                  <a:lnTo>
                    <a:pt x="1686" y="588"/>
                  </a:lnTo>
                  <a:lnTo>
                    <a:pt x="1674" y="582"/>
                  </a:lnTo>
                  <a:lnTo>
                    <a:pt x="1674" y="570"/>
                  </a:lnTo>
                  <a:lnTo>
                    <a:pt x="1668" y="564"/>
                  </a:lnTo>
                  <a:lnTo>
                    <a:pt x="1692" y="516"/>
                  </a:lnTo>
                  <a:lnTo>
                    <a:pt x="1686" y="510"/>
                  </a:lnTo>
                  <a:lnTo>
                    <a:pt x="1686" y="504"/>
                  </a:lnTo>
                  <a:lnTo>
                    <a:pt x="1674" y="504"/>
                  </a:lnTo>
                  <a:lnTo>
                    <a:pt x="1710" y="498"/>
                  </a:lnTo>
                  <a:lnTo>
                    <a:pt x="1698" y="480"/>
                  </a:lnTo>
                  <a:lnTo>
                    <a:pt x="1734" y="480"/>
                  </a:lnTo>
                  <a:lnTo>
                    <a:pt x="1710" y="468"/>
                  </a:lnTo>
                  <a:lnTo>
                    <a:pt x="1734" y="474"/>
                  </a:lnTo>
                  <a:lnTo>
                    <a:pt x="1740" y="462"/>
                  </a:lnTo>
                  <a:lnTo>
                    <a:pt x="1722" y="450"/>
                  </a:lnTo>
                  <a:lnTo>
                    <a:pt x="1764" y="450"/>
                  </a:lnTo>
                  <a:lnTo>
                    <a:pt x="1770" y="444"/>
                  </a:lnTo>
                  <a:lnTo>
                    <a:pt x="1752" y="426"/>
                  </a:lnTo>
                  <a:lnTo>
                    <a:pt x="1782" y="432"/>
                  </a:lnTo>
                  <a:lnTo>
                    <a:pt x="1782" y="402"/>
                  </a:lnTo>
                  <a:lnTo>
                    <a:pt x="1788" y="408"/>
                  </a:lnTo>
                  <a:lnTo>
                    <a:pt x="1800" y="414"/>
                  </a:lnTo>
                  <a:lnTo>
                    <a:pt x="1812" y="414"/>
                  </a:lnTo>
                  <a:lnTo>
                    <a:pt x="1830" y="408"/>
                  </a:lnTo>
                  <a:lnTo>
                    <a:pt x="1842" y="402"/>
                  </a:lnTo>
                  <a:lnTo>
                    <a:pt x="1860" y="390"/>
                  </a:lnTo>
                  <a:lnTo>
                    <a:pt x="1878" y="372"/>
                  </a:lnTo>
                  <a:lnTo>
                    <a:pt x="1896" y="372"/>
                  </a:lnTo>
                  <a:lnTo>
                    <a:pt x="1938" y="366"/>
                  </a:lnTo>
                  <a:lnTo>
                    <a:pt x="1992" y="354"/>
                  </a:lnTo>
                  <a:lnTo>
                    <a:pt x="2046" y="348"/>
                  </a:lnTo>
                  <a:lnTo>
                    <a:pt x="2094" y="336"/>
                  </a:lnTo>
                  <a:lnTo>
                    <a:pt x="2124" y="330"/>
                  </a:lnTo>
                  <a:lnTo>
                    <a:pt x="2136" y="324"/>
                  </a:lnTo>
                  <a:lnTo>
                    <a:pt x="2154" y="318"/>
                  </a:lnTo>
                  <a:lnTo>
                    <a:pt x="2160" y="312"/>
                  </a:lnTo>
                  <a:lnTo>
                    <a:pt x="2166" y="300"/>
                  </a:lnTo>
                  <a:lnTo>
                    <a:pt x="2166" y="294"/>
                  </a:lnTo>
                  <a:lnTo>
                    <a:pt x="2154" y="282"/>
                  </a:lnTo>
                  <a:lnTo>
                    <a:pt x="2136" y="276"/>
                  </a:lnTo>
                  <a:lnTo>
                    <a:pt x="2088" y="270"/>
                  </a:lnTo>
                  <a:lnTo>
                    <a:pt x="2046" y="276"/>
                  </a:lnTo>
                  <a:lnTo>
                    <a:pt x="2016" y="288"/>
                  </a:lnTo>
                  <a:lnTo>
                    <a:pt x="1980" y="300"/>
                  </a:lnTo>
                  <a:lnTo>
                    <a:pt x="1938" y="318"/>
                  </a:lnTo>
                  <a:lnTo>
                    <a:pt x="1860" y="318"/>
                  </a:lnTo>
                  <a:lnTo>
                    <a:pt x="1842" y="312"/>
                  </a:lnTo>
                  <a:lnTo>
                    <a:pt x="1824" y="312"/>
                  </a:lnTo>
                  <a:lnTo>
                    <a:pt x="1806" y="336"/>
                  </a:lnTo>
                  <a:lnTo>
                    <a:pt x="1782" y="318"/>
                  </a:lnTo>
                  <a:lnTo>
                    <a:pt x="1728" y="342"/>
                  </a:lnTo>
                  <a:lnTo>
                    <a:pt x="1698" y="342"/>
                  </a:lnTo>
                  <a:lnTo>
                    <a:pt x="1668" y="366"/>
                  </a:lnTo>
                  <a:lnTo>
                    <a:pt x="1692" y="372"/>
                  </a:lnTo>
                  <a:lnTo>
                    <a:pt x="1644" y="372"/>
                  </a:lnTo>
                  <a:lnTo>
                    <a:pt x="1614" y="378"/>
                  </a:lnTo>
                  <a:lnTo>
                    <a:pt x="1614" y="396"/>
                  </a:lnTo>
                  <a:lnTo>
                    <a:pt x="1638" y="378"/>
                  </a:lnTo>
                  <a:lnTo>
                    <a:pt x="1644" y="396"/>
                  </a:lnTo>
                  <a:lnTo>
                    <a:pt x="1668" y="396"/>
                  </a:lnTo>
                  <a:lnTo>
                    <a:pt x="1662" y="408"/>
                  </a:lnTo>
                  <a:lnTo>
                    <a:pt x="1620" y="408"/>
                  </a:lnTo>
                  <a:lnTo>
                    <a:pt x="1614" y="420"/>
                  </a:lnTo>
                  <a:lnTo>
                    <a:pt x="1644" y="426"/>
                  </a:lnTo>
                  <a:lnTo>
                    <a:pt x="1596" y="432"/>
                  </a:lnTo>
                  <a:lnTo>
                    <a:pt x="1632" y="438"/>
                  </a:lnTo>
                  <a:lnTo>
                    <a:pt x="1584" y="444"/>
                  </a:lnTo>
                  <a:lnTo>
                    <a:pt x="1584" y="462"/>
                  </a:lnTo>
                  <a:lnTo>
                    <a:pt x="1554" y="474"/>
                  </a:lnTo>
                  <a:lnTo>
                    <a:pt x="1560" y="486"/>
                  </a:lnTo>
                  <a:lnTo>
                    <a:pt x="1602" y="468"/>
                  </a:lnTo>
                  <a:lnTo>
                    <a:pt x="1590" y="498"/>
                  </a:lnTo>
                  <a:lnTo>
                    <a:pt x="1554" y="498"/>
                  </a:lnTo>
                  <a:lnTo>
                    <a:pt x="1542" y="504"/>
                  </a:lnTo>
                  <a:lnTo>
                    <a:pt x="1542" y="522"/>
                  </a:lnTo>
                  <a:close/>
                  <a:moveTo>
                    <a:pt x="5778" y="498"/>
                  </a:moveTo>
                  <a:lnTo>
                    <a:pt x="5850" y="486"/>
                  </a:lnTo>
                  <a:lnTo>
                    <a:pt x="5958" y="504"/>
                  </a:lnTo>
                  <a:lnTo>
                    <a:pt x="5952" y="492"/>
                  </a:lnTo>
                  <a:lnTo>
                    <a:pt x="5940" y="486"/>
                  </a:lnTo>
                  <a:lnTo>
                    <a:pt x="5928" y="474"/>
                  </a:lnTo>
                  <a:lnTo>
                    <a:pt x="5904" y="462"/>
                  </a:lnTo>
                  <a:lnTo>
                    <a:pt x="5844" y="462"/>
                  </a:lnTo>
                  <a:lnTo>
                    <a:pt x="5808" y="468"/>
                  </a:lnTo>
                  <a:lnTo>
                    <a:pt x="5796" y="468"/>
                  </a:lnTo>
                  <a:lnTo>
                    <a:pt x="5778" y="498"/>
                  </a:lnTo>
                  <a:close/>
                  <a:moveTo>
                    <a:pt x="5784" y="378"/>
                  </a:moveTo>
                  <a:lnTo>
                    <a:pt x="5838" y="384"/>
                  </a:lnTo>
                  <a:lnTo>
                    <a:pt x="5844" y="378"/>
                  </a:lnTo>
                  <a:lnTo>
                    <a:pt x="5850" y="366"/>
                  </a:lnTo>
                  <a:lnTo>
                    <a:pt x="5838" y="354"/>
                  </a:lnTo>
                  <a:lnTo>
                    <a:pt x="5802" y="354"/>
                  </a:lnTo>
                  <a:lnTo>
                    <a:pt x="5742" y="342"/>
                  </a:lnTo>
                  <a:lnTo>
                    <a:pt x="5724" y="342"/>
                  </a:lnTo>
                  <a:lnTo>
                    <a:pt x="5718" y="348"/>
                  </a:lnTo>
                  <a:lnTo>
                    <a:pt x="5730" y="354"/>
                  </a:lnTo>
                  <a:lnTo>
                    <a:pt x="5742" y="366"/>
                  </a:lnTo>
                  <a:lnTo>
                    <a:pt x="5754" y="372"/>
                  </a:lnTo>
                  <a:lnTo>
                    <a:pt x="5772" y="372"/>
                  </a:lnTo>
                  <a:lnTo>
                    <a:pt x="5778" y="378"/>
                  </a:lnTo>
                  <a:lnTo>
                    <a:pt x="5784" y="378"/>
                  </a:lnTo>
                  <a:close/>
                  <a:moveTo>
                    <a:pt x="5724" y="432"/>
                  </a:moveTo>
                  <a:lnTo>
                    <a:pt x="5712" y="444"/>
                  </a:lnTo>
                  <a:lnTo>
                    <a:pt x="5712" y="456"/>
                  </a:lnTo>
                  <a:lnTo>
                    <a:pt x="5724" y="462"/>
                  </a:lnTo>
                  <a:lnTo>
                    <a:pt x="5772" y="462"/>
                  </a:lnTo>
                  <a:lnTo>
                    <a:pt x="5778" y="456"/>
                  </a:lnTo>
                  <a:lnTo>
                    <a:pt x="5778" y="450"/>
                  </a:lnTo>
                  <a:lnTo>
                    <a:pt x="5766" y="438"/>
                  </a:lnTo>
                  <a:lnTo>
                    <a:pt x="5742" y="426"/>
                  </a:lnTo>
                  <a:lnTo>
                    <a:pt x="5730" y="426"/>
                  </a:lnTo>
                  <a:lnTo>
                    <a:pt x="5724" y="432"/>
                  </a:lnTo>
                  <a:close/>
                  <a:moveTo>
                    <a:pt x="3072" y="96"/>
                  </a:moveTo>
                  <a:lnTo>
                    <a:pt x="3192" y="96"/>
                  </a:lnTo>
                  <a:lnTo>
                    <a:pt x="3204" y="90"/>
                  </a:lnTo>
                  <a:lnTo>
                    <a:pt x="3228" y="90"/>
                  </a:lnTo>
                  <a:lnTo>
                    <a:pt x="3240" y="84"/>
                  </a:lnTo>
                  <a:lnTo>
                    <a:pt x="3240" y="72"/>
                  </a:lnTo>
                  <a:lnTo>
                    <a:pt x="3222" y="60"/>
                  </a:lnTo>
                  <a:lnTo>
                    <a:pt x="3192" y="42"/>
                  </a:lnTo>
                  <a:lnTo>
                    <a:pt x="3156" y="30"/>
                  </a:lnTo>
                  <a:lnTo>
                    <a:pt x="3132" y="24"/>
                  </a:lnTo>
                  <a:lnTo>
                    <a:pt x="3120" y="18"/>
                  </a:lnTo>
                  <a:lnTo>
                    <a:pt x="3108" y="18"/>
                  </a:lnTo>
                  <a:lnTo>
                    <a:pt x="3096" y="12"/>
                  </a:lnTo>
                  <a:lnTo>
                    <a:pt x="3060" y="12"/>
                  </a:lnTo>
                  <a:lnTo>
                    <a:pt x="3048" y="18"/>
                  </a:lnTo>
                  <a:lnTo>
                    <a:pt x="3036" y="18"/>
                  </a:lnTo>
                  <a:lnTo>
                    <a:pt x="3030" y="30"/>
                  </a:lnTo>
                  <a:lnTo>
                    <a:pt x="3030" y="42"/>
                  </a:lnTo>
                  <a:lnTo>
                    <a:pt x="3036" y="54"/>
                  </a:lnTo>
                  <a:lnTo>
                    <a:pt x="3048" y="66"/>
                  </a:lnTo>
                  <a:lnTo>
                    <a:pt x="3054" y="78"/>
                  </a:lnTo>
                  <a:lnTo>
                    <a:pt x="3072" y="96"/>
                  </a:lnTo>
                  <a:close/>
                  <a:moveTo>
                    <a:pt x="6138" y="408"/>
                  </a:moveTo>
                  <a:lnTo>
                    <a:pt x="6144" y="402"/>
                  </a:lnTo>
                  <a:lnTo>
                    <a:pt x="6132" y="396"/>
                  </a:lnTo>
                  <a:lnTo>
                    <a:pt x="6102" y="390"/>
                  </a:lnTo>
                  <a:lnTo>
                    <a:pt x="6036" y="390"/>
                  </a:lnTo>
                  <a:lnTo>
                    <a:pt x="6012" y="366"/>
                  </a:lnTo>
                  <a:lnTo>
                    <a:pt x="6000" y="360"/>
                  </a:lnTo>
                  <a:lnTo>
                    <a:pt x="5970" y="360"/>
                  </a:lnTo>
                  <a:lnTo>
                    <a:pt x="5958" y="366"/>
                  </a:lnTo>
                  <a:lnTo>
                    <a:pt x="5910" y="366"/>
                  </a:lnTo>
                  <a:lnTo>
                    <a:pt x="5946" y="390"/>
                  </a:lnTo>
                  <a:lnTo>
                    <a:pt x="5964" y="396"/>
                  </a:lnTo>
                  <a:lnTo>
                    <a:pt x="6000" y="402"/>
                  </a:lnTo>
                  <a:lnTo>
                    <a:pt x="6054" y="414"/>
                  </a:lnTo>
                  <a:lnTo>
                    <a:pt x="6102" y="414"/>
                  </a:lnTo>
                  <a:lnTo>
                    <a:pt x="6138" y="408"/>
                  </a:lnTo>
                  <a:close/>
                  <a:moveTo>
                    <a:pt x="7602" y="744"/>
                  </a:moveTo>
                  <a:lnTo>
                    <a:pt x="7596" y="732"/>
                  </a:lnTo>
                  <a:lnTo>
                    <a:pt x="7572" y="726"/>
                  </a:lnTo>
                  <a:lnTo>
                    <a:pt x="7512" y="714"/>
                  </a:lnTo>
                  <a:lnTo>
                    <a:pt x="7500" y="714"/>
                  </a:lnTo>
                  <a:lnTo>
                    <a:pt x="7512" y="726"/>
                  </a:lnTo>
                  <a:lnTo>
                    <a:pt x="7548" y="738"/>
                  </a:lnTo>
                  <a:lnTo>
                    <a:pt x="7584" y="744"/>
                  </a:lnTo>
                  <a:lnTo>
                    <a:pt x="7602" y="744"/>
                  </a:lnTo>
                  <a:close/>
                  <a:moveTo>
                    <a:pt x="3162" y="120"/>
                  </a:moveTo>
                  <a:lnTo>
                    <a:pt x="3216" y="138"/>
                  </a:lnTo>
                  <a:lnTo>
                    <a:pt x="3246" y="144"/>
                  </a:lnTo>
                  <a:lnTo>
                    <a:pt x="3264" y="144"/>
                  </a:lnTo>
                  <a:lnTo>
                    <a:pt x="3312" y="138"/>
                  </a:lnTo>
                  <a:lnTo>
                    <a:pt x="3372" y="156"/>
                  </a:lnTo>
                  <a:lnTo>
                    <a:pt x="3432" y="156"/>
                  </a:lnTo>
                  <a:lnTo>
                    <a:pt x="3426" y="138"/>
                  </a:lnTo>
                  <a:lnTo>
                    <a:pt x="3402" y="102"/>
                  </a:lnTo>
                  <a:lnTo>
                    <a:pt x="3384" y="96"/>
                  </a:lnTo>
                  <a:lnTo>
                    <a:pt x="3372" y="90"/>
                  </a:lnTo>
                  <a:lnTo>
                    <a:pt x="3354" y="96"/>
                  </a:lnTo>
                  <a:lnTo>
                    <a:pt x="3318" y="114"/>
                  </a:lnTo>
                  <a:lnTo>
                    <a:pt x="3294" y="90"/>
                  </a:lnTo>
                  <a:lnTo>
                    <a:pt x="3282" y="90"/>
                  </a:lnTo>
                  <a:lnTo>
                    <a:pt x="3210" y="102"/>
                  </a:lnTo>
                  <a:lnTo>
                    <a:pt x="3174" y="114"/>
                  </a:lnTo>
                  <a:lnTo>
                    <a:pt x="3162" y="120"/>
                  </a:lnTo>
                  <a:close/>
                  <a:moveTo>
                    <a:pt x="3582" y="198"/>
                  </a:moveTo>
                  <a:lnTo>
                    <a:pt x="3744" y="192"/>
                  </a:lnTo>
                  <a:lnTo>
                    <a:pt x="3702" y="168"/>
                  </a:lnTo>
                  <a:lnTo>
                    <a:pt x="3696" y="168"/>
                  </a:lnTo>
                  <a:lnTo>
                    <a:pt x="3690" y="162"/>
                  </a:lnTo>
                  <a:lnTo>
                    <a:pt x="3666" y="150"/>
                  </a:lnTo>
                  <a:lnTo>
                    <a:pt x="3648" y="144"/>
                  </a:lnTo>
                  <a:lnTo>
                    <a:pt x="3636" y="138"/>
                  </a:lnTo>
                  <a:lnTo>
                    <a:pt x="3618" y="138"/>
                  </a:lnTo>
                  <a:lnTo>
                    <a:pt x="3606" y="144"/>
                  </a:lnTo>
                  <a:lnTo>
                    <a:pt x="3600" y="150"/>
                  </a:lnTo>
                  <a:lnTo>
                    <a:pt x="3588" y="156"/>
                  </a:lnTo>
                  <a:lnTo>
                    <a:pt x="3588" y="150"/>
                  </a:lnTo>
                  <a:lnTo>
                    <a:pt x="3582" y="144"/>
                  </a:lnTo>
                  <a:lnTo>
                    <a:pt x="3576" y="132"/>
                  </a:lnTo>
                  <a:lnTo>
                    <a:pt x="3570" y="126"/>
                  </a:lnTo>
                  <a:lnTo>
                    <a:pt x="3546" y="114"/>
                  </a:lnTo>
                  <a:lnTo>
                    <a:pt x="3522" y="126"/>
                  </a:lnTo>
                  <a:lnTo>
                    <a:pt x="3504" y="162"/>
                  </a:lnTo>
                  <a:lnTo>
                    <a:pt x="3498" y="192"/>
                  </a:lnTo>
                  <a:lnTo>
                    <a:pt x="3492" y="210"/>
                  </a:lnTo>
                  <a:lnTo>
                    <a:pt x="3516" y="222"/>
                  </a:lnTo>
                  <a:lnTo>
                    <a:pt x="3534" y="216"/>
                  </a:lnTo>
                  <a:lnTo>
                    <a:pt x="3546" y="216"/>
                  </a:lnTo>
                  <a:lnTo>
                    <a:pt x="3582" y="198"/>
                  </a:lnTo>
                  <a:close/>
                  <a:moveTo>
                    <a:pt x="5622" y="420"/>
                  </a:moveTo>
                  <a:lnTo>
                    <a:pt x="5640" y="390"/>
                  </a:lnTo>
                  <a:lnTo>
                    <a:pt x="5754" y="390"/>
                  </a:lnTo>
                  <a:lnTo>
                    <a:pt x="5688" y="360"/>
                  </a:lnTo>
                  <a:lnTo>
                    <a:pt x="5700" y="336"/>
                  </a:lnTo>
                  <a:lnTo>
                    <a:pt x="5610" y="318"/>
                  </a:lnTo>
                  <a:lnTo>
                    <a:pt x="5628" y="348"/>
                  </a:lnTo>
                  <a:lnTo>
                    <a:pt x="5616" y="342"/>
                  </a:lnTo>
                  <a:lnTo>
                    <a:pt x="5592" y="336"/>
                  </a:lnTo>
                  <a:lnTo>
                    <a:pt x="5556" y="330"/>
                  </a:lnTo>
                  <a:lnTo>
                    <a:pt x="5514" y="318"/>
                  </a:lnTo>
                  <a:lnTo>
                    <a:pt x="5454" y="318"/>
                  </a:lnTo>
                  <a:lnTo>
                    <a:pt x="5448" y="330"/>
                  </a:lnTo>
                  <a:lnTo>
                    <a:pt x="5460" y="354"/>
                  </a:lnTo>
                  <a:lnTo>
                    <a:pt x="5496" y="372"/>
                  </a:lnTo>
                  <a:lnTo>
                    <a:pt x="5538" y="390"/>
                  </a:lnTo>
                  <a:lnTo>
                    <a:pt x="5574" y="408"/>
                  </a:lnTo>
                  <a:lnTo>
                    <a:pt x="5610" y="414"/>
                  </a:lnTo>
                  <a:lnTo>
                    <a:pt x="5622" y="420"/>
                  </a:lnTo>
                  <a:close/>
                  <a:moveTo>
                    <a:pt x="4320" y="432"/>
                  </a:moveTo>
                  <a:lnTo>
                    <a:pt x="4368" y="444"/>
                  </a:lnTo>
                  <a:lnTo>
                    <a:pt x="4380" y="444"/>
                  </a:lnTo>
                  <a:lnTo>
                    <a:pt x="4392" y="438"/>
                  </a:lnTo>
                  <a:lnTo>
                    <a:pt x="4398" y="438"/>
                  </a:lnTo>
                  <a:lnTo>
                    <a:pt x="4404" y="432"/>
                  </a:lnTo>
                  <a:lnTo>
                    <a:pt x="4404" y="426"/>
                  </a:lnTo>
                  <a:lnTo>
                    <a:pt x="4398" y="426"/>
                  </a:lnTo>
                  <a:lnTo>
                    <a:pt x="4362" y="414"/>
                  </a:lnTo>
                  <a:lnTo>
                    <a:pt x="4344" y="420"/>
                  </a:lnTo>
                  <a:lnTo>
                    <a:pt x="4332" y="420"/>
                  </a:lnTo>
                  <a:lnTo>
                    <a:pt x="4320" y="432"/>
                  </a:lnTo>
                  <a:close/>
                  <a:moveTo>
                    <a:pt x="5424" y="354"/>
                  </a:moveTo>
                  <a:lnTo>
                    <a:pt x="5370" y="336"/>
                  </a:lnTo>
                  <a:lnTo>
                    <a:pt x="5394" y="366"/>
                  </a:lnTo>
                  <a:lnTo>
                    <a:pt x="5424" y="354"/>
                  </a:lnTo>
                  <a:close/>
                  <a:moveTo>
                    <a:pt x="7986" y="666"/>
                  </a:moveTo>
                  <a:lnTo>
                    <a:pt x="8034" y="654"/>
                  </a:lnTo>
                  <a:lnTo>
                    <a:pt x="8088" y="654"/>
                  </a:lnTo>
                  <a:lnTo>
                    <a:pt x="8100" y="648"/>
                  </a:lnTo>
                  <a:lnTo>
                    <a:pt x="8106" y="642"/>
                  </a:lnTo>
                  <a:lnTo>
                    <a:pt x="8106" y="636"/>
                  </a:lnTo>
                  <a:lnTo>
                    <a:pt x="8100" y="630"/>
                  </a:lnTo>
                  <a:lnTo>
                    <a:pt x="8088" y="630"/>
                  </a:lnTo>
                  <a:lnTo>
                    <a:pt x="8052" y="618"/>
                  </a:lnTo>
                  <a:lnTo>
                    <a:pt x="8028" y="612"/>
                  </a:lnTo>
                  <a:lnTo>
                    <a:pt x="8010" y="606"/>
                  </a:lnTo>
                  <a:lnTo>
                    <a:pt x="7968" y="606"/>
                  </a:lnTo>
                  <a:lnTo>
                    <a:pt x="7944" y="618"/>
                  </a:lnTo>
                  <a:lnTo>
                    <a:pt x="7938" y="630"/>
                  </a:lnTo>
                  <a:lnTo>
                    <a:pt x="7938" y="654"/>
                  </a:lnTo>
                  <a:lnTo>
                    <a:pt x="7944" y="666"/>
                  </a:lnTo>
                  <a:lnTo>
                    <a:pt x="7950" y="666"/>
                  </a:lnTo>
                  <a:lnTo>
                    <a:pt x="7962" y="672"/>
                  </a:lnTo>
                  <a:lnTo>
                    <a:pt x="7968" y="672"/>
                  </a:lnTo>
                  <a:lnTo>
                    <a:pt x="7980" y="666"/>
                  </a:lnTo>
                  <a:lnTo>
                    <a:pt x="7986" y="666"/>
                  </a:lnTo>
                  <a:close/>
                  <a:moveTo>
                    <a:pt x="162" y="1788"/>
                  </a:moveTo>
                  <a:lnTo>
                    <a:pt x="150" y="1788"/>
                  </a:lnTo>
                  <a:lnTo>
                    <a:pt x="138" y="1794"/>
                  </a:lnTo>
                  <a:lnTo>
                    <a:pt x="114" y="1794"/>
                  </a:lnTo>
                  <a:lnTo>
                    <a:pt x="108" y="1788"/>
                  </a:lnTo>
                  <a:lnTo>
                    <a:pt x="96" y="1788"/>
                  </a:lnTo>
                  <a:lnTo>
                    <a:pt x="96" y="1782"/>
                  </a:lnTo>
                  <a:lnTo>
                    <a:pt x="84" y="1782"/>
                  </a:lnTo>
                  <a:lnTo>
                    <a:pt x="84" y="1788"/>
                  </a:lnTo>
                  <a:lnTo>
                    <a:pt x="72" y="1800"/>
                  </a:lnTo>
                  <a:lnTo>
                    <a:pt x="12" y="1800"/>
                  </a:lnTo>
                  <a:lnTo>
                    <a:pt x="0" y="1812"/>
                  </a:lnTo>
                  <a:lnTo>
                    <a:pt x="0" y="1818"/>
                  </a:lnTo>
                  <a:lnTo>
                    <a:pt x="12" y="1830"/>
                  </a:lnTo>
                  <a:lnTo>
                    <a:pt x="6" y="1842"/>
                  </a:lnTo>
                  <a:lnTo>
                    <a:pt x="12" y="1848"/>
                  </a:lnTo>
                  <a:lnTo>
                    <a:pt x="18" y="1848"/>
                  </a:lnTo>
                  <a:lnTo>
                    <a:pt x="24" y="1842"/>
                  </a:lnTo>
                  <a:lnTo>
                    <a:pt x="48" y="1842"/>
                  </a:lnTo>
                  <a:lnTo>
                    <a:pt x="54" y="1848"/>
                  </a:lnTo>
                  <a:lnTo>
                    <a:pt x="66" y="1848"/>
                  </a:lnTo>
                  <a:lnTo>
                    <a:pt x="72" y="1854"/>
                  </a:lnTo>
                  <a:lnTo>
                    <a:pt x="162" y="1854"/>
                  </a:lnTo>
                  <a:lnTo>
                    <a:pt x="162" y="1848"/>
                  </a:lnTo>
                  <a:lnTo>
                    <a:pt x="168" y="1848"/>
                  </a:lnTo>
                  <a:lnTo>
                    <a:pt x="162" y="1830"/>
                  </a:lnTo>
                  <a:lnTo>
                    <a:pt x="174" y="1818"/>
                  </a:lnTo>
                  <a:lnTo>
                    <a:pt x="174" y="1800"/>
                  </a:lnTo>
                  <a:lnTo>
                    <a:pt x="168" y="1788"/>
                  </a:lnTo>
                  <a:lnTo>
                    <a:pt x="162" y="1788"/>
                  </a:lnTo>
                  <a:close/>
                  <a:moveTo>
                    <a:pt x="1038" y="90"/>
                  </a:moveTo>
                  <a:lnTo>
                    <a:pt x="1062" y="72"/>
                  </a:lnTo>
                  <a:lnTo>
                    <a:pt x="1032" y="72"/>
                  </a:lnTo>
                  <a:lnTo>
                    <a:pt x="1032" y="84"/>
                  </a:lnTo>
                  <a:lnTo>
                    <a:pt x="1038" y="90"/>
                  </a:lnTo>
                  <a:close/>
                  <a:moveTo>
                    <a:pt x="990" y="72"/>
                  </a:moveTo>
                  <a:lnTo>
                    <a:pt x="1074" y="54"/>
                  </a:lnTo>
                  <a:lnTo>
                    <a:pt x="1044" y="42"/>
                  </a:lnTo>
                  <a:lnTo>
                    <a:pt x="996" y="54"/>
                  </a:lnTo>
                  <a:lnTo>
                    <a:pt x="948" y="54"/>
                  </a:lnTo>
                  <a:lnTo>
                    <a:pt x="966" y="66"/>
                  </a:lnTo>
                  <a:lnTo>
                    <a:pt x="990" y="72"/>
                  </a:lnTo>
                  <a:close/>
                  <a:moveTo>
                    <a:pt x="1122" y="90"/>
                  </a:moveTo>
                  <a:lnTo>
                    <a:pt x="1128" y="78"/>
                  </a:lnTo>
                  <a:lnTo>
                    <a:pt x="1152" y="78"/>
                  </a:lnTo>
                  <a:lnTo>
                    <a:pt x="1164" y="66"/>
                  </a:lnTo>
                  <a:lnTo>
                    <a:pt x="1218" y="66"/>
                  </a:lnTo>
                  <a:lnTo>
                    <a:pt x="1218" y="60"/>
                  </a:lnTo>
                  <a:lnTo>
                    <a:pt x="1206" y="54"/>
                  </a:lnTo>
                  <a:lnTo>
                    <a:pt x="1182" y="54"/>
                  </a:lnTo>
                  <a:lnTo>
                    <a:pt x="1182" y="48"/>
                  </a:lnTo>
                  <a:lnTo>
                    <a:pt x="1176" y="48"/>
                  </a:lnTo>
                  <a:lnTo>
                    <a:pt x="1164" y="42"/>
                  </a:lnTo>
                  <a:lnTo>
                    <a:pt x="1140" y="42"/>
                  </a:lnTo>
                  <a:lnTo>
                    <a:pt x="1134" y="48"/>
                  </a:lnTo>
                  <a:lnTo>
                    <a:pt x="1128" y="60"/>
                  </a:lnTo>
                  <a:lnTo>
                    <a:pt x="1128" y="66"/>
                  </a:lnTo>
                  <a:lnTo>
                    <a:pt x="1122" y="66"/>
                  </a:lnTo>
                  <a:lnTo>
                    <a:pt x="1116" y="72"/>
                  </a:lnTo>
                  <a:lnTo>
                    <a:pt x="1104" y="72"/>
                  </a:lnTo>
                  <a:lnTo>
                    <a:pt x="1086" y="78"/>
                  </a:lnTo>
                  <a:lnTo>
                    <a:pt x="1080" y="78"/>
                  </a:lnTo>
                  <a:lnTo>
                    <a:pt x="1074" y="84"/>
                  </a:lnTo>
                  <a:lnTo>
                    <a:pt x="1080" y="84"/>
                  </a:lnTo>
                  <a:lnTo>
                    <a:pt x="1092" y="90"/>
                  </a:lnTo>
                  <a:lnTo>
                    <a:pt x="1122" y="90"/>
                  </a:lnTo>
                  <a:close/>
                  <a:moveTo>
                    <a:pt x="1176" y="78"/>
                  </a:moveTo>
                  <a:lnTo>
                    <a:pt x="1158" y="90"/>
                  </a:lnTo>
                  <a:lnTo>
                    <a:pt x="1176" y="102"/>
                  </a:lnTo>
                  <a:lnTo>
                    <a:pt x="1194" y="108"/>
                  </a:lnTo>
                  <a:lnTo>
                    <a:pt x="1248" y="102"/>
                  </a:lnTo>
                  <a:lnTo>
                    <a:pt x="1242" y="90"/>
                  </a:lnTo>
                  <a:lnTo>
                    <a:pt x="1212" y="90"/>
                  </a:lnTo>
                  <a:lnTo>
                    <a:pt x="1176" y="78"/>
                  </a:lnTo>
                  <a:close/>
                  <a:moveTo>
                    <a:pt x="7812" y="2436"/>
                  </a:moveTo>
                  <a:lnTo>
                    <a:pt x="7782" y="2400"/>
                  </a:lnTo>
                  <a:lnTo>
                    <a:pt x="7776" y="2400"/>
                  </a:lnTo>
                  <a:lnTo>
                    <a:pt x="7770" y="2394"/>
                  </a:lnTo>
                  <a:lnTo>
                    <a:pt x="7752" y="2388"/>
                  </a:lnTo>
                  <a:lnTo>
                    <a:pt x="7728" y="2364"/>
                  </a:lnTo>
                  <a:lnTo>
                    <a:pt x="7722" y="2352"/>
                  </a:lnTo>
                  <a:lnTo>
                    <a:pt x="7704" y="2298"/>
                  </a:lnTo>
                  <a:lnTo>
                    <a:pt x="7698" y="2286"/>
                  </a:lnTo>
                  <a:lnTo>
                    <a:pt x="7698" y="2274"/>
                  </a:lnTo>
                  <a:lnTo>
                    <a:pt x="7674" y="2250"/>
                  </a:lnTo>
                  <a:lnTo>
                    <a:pt x="7680" y="2244"/>
                  </a:lnTo>
                  <a:lnTo>
                    <a:pt x="7698" y="2244"/>
                  </a:lnTo>
                  <a:lnTo>
                    <a:pt x="7770" y="2268"/>
                  </a:lnTo>
                  <a:lnTo>
                    <a:pt x="7800" y="2280"/>
                  </a:lnTo>
                  <a:lnTo>
                    <a:pt x="7812" y="2286"/>
                  </a:lnTo>
                  <a:lnTo>
                    <a:pt x="7740" y="2232"/>
                  </a:lnTo>
                  <a:lnTo>
                    <a:pt x="7734" y="2226"/>
                  </a:lnTo>
                  <a:lnTo>
                    <a:pt x="7722" y="2202"/>
                  </a:lnTo>
                  <a:lnTo>
                    <a:pt x="7710" y="2196"/>
                  </a:lnTo>
                  <a:lnTo>
                    <a:pt x="7704" y="2184"/>
                  </a:lnTo>
                  <a:lnTo>
                    <a:pt x="7698" y="2178"/>
                  </a:lnTo>
                  <a:lnTo>
                    <a:pt x="7674" y="2166"/>
                  </a:lnTo>
                  <a:lnTo>
                    <a:pt x="7668" y="2160"/>
                  </a:lnTo>
                  <a:lnTo>
                    <a:pt x="7656" y="2154"/>
                  </a:lnTo>
                  <a:lnTo>
                    <a:pt x="7578" y="2070"/>
                  </a:lnTo>
                  <a:lnTo>
                    <a:pt x="7554" y="2070"/>
                  </a:lnTo>
                  <a:lnTo>
                    <a:pt x="7542" y="2040"/>
                  </a:lnTo>
                  <a:lnTo>
                    <a:pt x="7524" y="2040"/>
                  </a:lnTo>
                  <a:lnTo>
                    <a:pt x="7512" y="2028"/>
                  </a:lnTo>
                  <a:lnTo>
                    <a:pt x="7500" y="2004"/>
                  </a:lnTo>
                  <a:lnTo>
                    <a:pt x="7500" y="1980"/>
                  </a:lnTo>
                  <a:lnTo>
                    <a:pt x="7470" y="1944"/>
                  </a:lnTo>
                  <a:lnTo>
                    <a:pt x="7446" y="1950"/>
                  </a:lnTo>
                  <a:lnTo>
                    <a:pt x="7434" y="1920"/>
                  </a:lnTo>
                  <a:lnTo>
                    <a:pt x="7392" y="1890"/>
                  </a:lnTo>
                  <a:lnTo>
                    <a:pt x="7380" y="1866"/>
                  </a:lnTo>
                  <a:lnTo>
                    <a:pt x="7368" y="1860"/>
                  </a:lnTo>
                  <a:lnTo>
                    <a:pt x="7362" y="1854"/>
                  </a:lnTo>
                  <a:lnTo>
                    <a:pt x="7344" y="1854"/>
                  </a:lnTo>
                  <a:lnTo>
                    <a:pt x="7344" y="1860"/>
                  </a:lnTo>
                  <a:lnTo>
                    <a:pt x="7392" y="1908"/>
                  </a:lnTo>
                  <a:lnTo>
                    <a:pt x="7392" y="1914"/>
                  </a:lnTo>
                  <a:lnTo>
                    <a:pt x="7386" y="1914"/>
                  </a:lnTo>
                  <a:lnTo>
                    <a:pt x="7380" y="1908"/>
                  </a:lnTo>
                  <a:lnTo>
                    <a:pt x="7368" y="1908"/>
                  </a:lnTo>
                  <a:lnTo>
                    <a:pt x="7362" y="1914"/>
                  </a:lnTo>
                  <a:lnTo>
                    <a:pt x="7362" y="1926"/>
                  </a:lnTo>
                  <a:lnTo>
                    <a:pt x="7374" y="1950"/>
                  </a:lnTo>
                  <a:lnTo>
                    <a:pt x="7386" y="1962"/>
                  </a:lnTo>
                  <a:lnTo>
                    <a:pt x="7392" y="1974"/>
                  </a:lnTo>
                  <a:lnTo>
                    <a:pt x="7404" y="1980"/>
                  </a:lnTo>
                  <a:lnTo>
                    <a:pt x="7404" y="1992"/>
                  </a:lnTo>
                  <a:lnTo>
                    <a:pt x="7416" y="2016"/>
                  </a:lnTo>
                  <a:lnTo>
                    <a:pt x="7422" y="2022"/>
                  </a:lnTo>
                  <a:lnTo>
                    <a:pt x="7440" y="2034"/>
                  </a:lnTo>
                  <a:lnTo>
                    <a:pt x="7470" y="2052"/>
                  </a:lnTo>
                  <a:lnTo>
                    <a:pt x="7500" y="2076"/>
                  </a:lnTo>
                  <a:lnTo>
                    <a:pt x="7518" y="2100"/>
                  </a:lnTo>
                  <a:lnTo>
                    <a:pt x="7524" y="2112"/>
                  </a:lnTo>
                  <a:lnTo>
                    <a:pt x="7536" y="2130"/>
                  </a:lnTo>
                  <a:lnTo>
                    <a:pt x="7536" y="2142"/>
                  </a:lnTo>
                  <a:lnTo>
                    <a:pt x="7548" y="2154"/>
                  </a:lnTo>
                  <a:lnTo>
                    <a:pt x="7554" y="2166"/>
                  </a:lnTo>
                  <a:lnTo>
                    <a:pt x="7572" y="2184"/>
                  </a:lnTo>
                  <a:lnTo>
                    <a:pt x="7590" y="2208"/>
                  </a:lnTo>
                  <a:lnTo>
                    <a:pt x="7608" y="2238"/>
                  </a:lnTo>
                  <a:lnTo>
                    <a:pt x="7620" y="2262"/>
                  </a:lnTo>
                  <a:lnTo>
                    <a:pt x="7626" y="2268"/>
                  </a:lnTo>
                  <a:lnTo>
                    <a:pt x="7626" y="2280"/>
                  </a:lnTo>
                  <a:lnTo>
                    <a:pt x="7632" y="2292"/>
                  </a:lnTo>
                  <a:lnTo>
                    <a:pt x="7644" y="2304"/>
                  </a:lnTo>
                  <a:lnTo>
                    <a:pt x="7656" y="2304"/>
                  </a:lnTo>
                  <a:lnTo>
                    <a:pt x="7668" y="2310"/>
                  </a:lnTo>
                  <a:lnTo>
                    <a:pt x="7674" y="2322"/>
                  </a:lnTo>
                  <a:lnTo>
                    <a:pt x="7686" y="2334"/>
                  </a:lnTo>
                  <a:lnTo>
                    <a:pt x="7698" y="2358"/>
                  </a:lnTo>
                  <a:lnTo>
                    <a:pt x="7698" y="2376"/>
                  </a:lnTo>
                  <a:lnTo>
                    <a:pt x="7740" y="2412"/>
                  </a:lnTo>
                  <a:lnTo>
                    <a:pt x="7752" y="2466"/>
                  </a:lnTo>
                  <a:lnTo>
                    <a:pt x="7794" y="2508"/>
                  </a:lnTo>
                  <a:lnTo>
                    <a:pt x="7794" y="2502"/>
                  </a:lnTo>
                  <a:lnTo>
                    <a:pt x="7788" y="2496"/>
                  </a:lnTo>
                  <a:lnTo>
                    <a:pt x="7788" y="2484"/>
                  </a:lnTo>
                  <a:lnTo>
                    <a:pt x="7782" y="2472"/>
                  </a:lnTo>
                  <a:lnTo>
                    <a:pt x="7782" y="2460"/>
                  </a:lnTo>
                  <a:lnTo>
                    <a:pt x="7776" y="2448"/>
                  </a:lnTo>
                  <a:lnTo>
                    <a:pt x="7782" y="2442"/>
                  </a:lnTo>
                  <a:lnTo>
                    <a:pt x="7788" y="2442"/>
                  </a:lnTo>
                  <a:lnTo>
                    <a:pt x="7800" y="2454"/>
                  </a:lnTo>
                  <a:lnTo>
                    <a:pt x="7830" y="2454"/>
                  </a:lnTo>
                  <a:lnTo>
                    <a:pt x="7866" y="2496"/>
                  </a:lnTo>
                  <a:lnTo>
                    <a:pt x="7866" y="2472"/>
                  </a:lnTo>
                  <a:lnTo>
                    <a:pt x="7836" y="2430"/>
                  </a:lnTo>
                  <a:lnTo>
                    <a:pt x="7812" y="2436"/>
                  </a:lnTo>
                  <a:close/>
                  <a:moveTo>
                    <a:pt x="1344" y="84"/>
                  </a:moveTo>
                  <a:lnTo>
                    <a:pt x="1350" y="72"/>
                  </a:lnTo>
                  <a:lnTo>
                    <a:pt x="1308" y="66"/>
                  </a:lnTo>
                  <a:lnTo>
                    <a:pt x="1284" y="78"/>
                  </a:lnTo>
                  <a:lnTo>
                    <a:pt x="1290" y="90"/>
                  </a:lnTo>
                  <a:lnTo>
                    <a:pt x="1344" y="84"/>
                  </a:lnTo>
                  <a:close/>
                  <a:moveTo>
                    <a:pt x="9048" y="996"/>
                  </a:moveTo>
                  <a:lnTo>
                    <a:pt x="9036" y="984"/>
                  </a:lnTo>
                  <a:lnTo>
                    <a:pt x="9024" y="978"/>
                  </a:lnTo>
                  <a:lnTo>
                    <a:pt x="9006" y="972"/>
                  </a:lnTo>
                  <a:lnTo>
                    <a:pt x="8994" y="966"/>
                  </a:lnTo>
                  <a:lnTo>
                    <a:pt x="8982" y="966"/>
                  </a:lnTo>
                  <a:lnTo>
                    <a:pt x="8940" y="948"/>
                  </a:lnTo>
                  <a:lnTo>
                    <a:pt x="8898" y="948"/>
                  </a:lnTo>
                  <a:lnTo>
                    <a:pt x="8868" y="930"/>
                  </a:lnTo>
                  <a:lnTo>
                    <a:pt x="8778" y="924"/>
                  </a:lnTo>
                  <a:lnTo>
                    <a:pt x="8736" y="906"/>
                  </a:lnTo>
                  <a:lnTo>
                    <a:pt x="8700" y="906"/>
                  </a:lnTo>
                  <a:lnTo>
                    <a:pt x="8754" y="942"/>
                  </a:lnTo>
                  <a:lnTo>
                    <a:pt x="8808" y="966"/>
                  </a:lnTo>
                  <a:lnTo>
                    <a:pt x="8796" y="966"/>
                  </a:lnTo>
                  <a:lnTo>
                    <a:pt x="8784" y="972"/>
                  </a:lnTo>
                  <a:lnTo>
                    <a:pt x="8754" y="972"/>
                  </a:lnTo>
                  <a:lnTo>
                    <a:pt x="8730" y="960"/>
                  </a:lnTo>
                  <a:lnTo>
                    <a:pt x="8676" y="906"/>
                  </a:lnTo>
                  <a:lnTo>
                    <a:pt x="8580" y="870"/>
                  </a:lnTo>
                  <a:lnTo>
                    <a:pt x="8496" y="846"/>
                  </a:lnTo>
                  <a:lnTo>
                    <a:pt x="8442" y="834"/>
                  </a:lnTo>
                  <a:lnTo>
                    <a:pt x="8370" y="822"/>
                  </a:lnTo>
                  <a:lnTo>
                    <a:pt x="8280" y="804"/>
                  </a:lnTo>
                  <a:lnTo>
                    <a:pt x="8190" y="780"/>
                  </a:lnTo>
                  <a:lnTo>
                    <a:pt x="8112" y="762"/>
                  </a:lnTo>
                  <a:lnTo>
                    <a:pt x="8052" y="750"/>
                  </a:lnTo>
                  <a:lnTo>
                    <a:pt x="7998" y="738"/>
                  </a:lnTo>
                  <a:lnTo>
                    <a:pt x="7956" y="732"/>
                  </a:lnTo>
                  <a:lnTo>
                    <a:pt x="7758" y="732"/>
                  </a:lnTo>
                  <a:lnTo>
                    <a:pt x="7746" y="714"/>
                  </a:lnTo>
                  <a:lnTo>
                    <a:pt x="7698" y="720"/>
                  </a:lnTo>
                  <a:lnTo>
                    <a:pt x="7680" y="708"/>
                  </a:lnTo>
                  <a:lnTo>
                    <a:pt x="7626" y="708"/>
                  </a:lnTo>
                  <a:lnTo>
                    <a:pt x="7650" y="726"/>
                  </a:lnTo>
                  <a:lnTo>
                    <a:pt x="7644" y="744"/>
                  </a:lnTo>
                  <a:lnTo>
                    <a:pt x="7656" y="744"/>
                  </a:lnTo>
                  <a:lnTo>
                    <a:pt x="7680" y="756"/>
                  </a:lnTo>
                  <a:lnTo>
                    <a:pt x="7716" y="762"/>
                  </a:lnTo>
                  <a:lnTo>
                    <a:pt x="7740" y="774"/>
                  </a:lnTo>
                  <a:lnTo>
                    <a:pt x="7758" y="786"/>
                  </a:lnTo>
                  <a:lnTo>
                    <a:pt x="7752" y="798"/>
                  </a:lnTo>
                  <a:lnTo>
                    <a:pt x="7728" y="804"/>
                  </a:lnTo>
                  <a:lnTo>
                    <a:pt x="7698" y="804"/>
                  </a:lnTo>
                  <a:lnTo>
                    <a:pt x="7686" y="798"/>
                  </a:lnTo>
                  <a:lnTo>
                    <a:pt x="7680" y="792"/>
                  </a:lnTo>
                  <a:lnTo>
                    <a:pt x="7656" y="774"/>
                  </a:lnTo>
                  <a:lnTo>
                    <a:pt x="7584" y="774"/>
                  </a:lnTo>
                  <a:lnTo>
                    <a:pt x="7530" y="738"/>
                  </a:lnTo>
                  <a:lnTo>
                    <a:pt x="7524" y="738"/>
                  </a:lnTo>
                  <a:lnTo>
                    <a:pt x="7518" y="744"/>
                  </a:lnTo>
                  <a:lnTo>
                    <a:pt x="7506" y="744"/>
                  </a:lnTo>
                  <a:lnTo>
                    <a:pt x="7500" y="750"/>
                  </a:lnTo>
                  <a:lnTo>
                    <a:pt x="7446" y="750"/>
                  </a:lnTo>
                  <a:lnTo>
                    <a:pt x="7440" y="738"/>
                  </a:lnTo>
                  <a:lnTo>
                    <a:pt x="7344" y="744"/>
                  </a:lnTo>
                  <a:lnTo>
                    <a:pt x="7320" y="726"/>
                  </a:lnTo>
                  <a:lnTo>
                    <a:pt x="7314" y="732"/>
                  </a:lnTo>
                  <a:lnTo>
                    <a:pt x="7212" y="732"/>
                  </a:lnTo>
                  <a:lnTo>
                    <a:pt x="7206" y="738"/>
                  </a:lnTo>
                  <a:lnTo>
                    <a:pt x="7212" y="744"/>
                  </a:lnTo>
                  <a:lnTo>
                    <a:pt x="7218" y="756"/>
                  </a:lnTo>
                  <a:lnTo>
                    <a:pt x="7254" y="792"/>
                  </a:lnTo>
                  <a:lnTo>
                    <a:pt x="7248" y="792"/>
                  </a:lnTo>
                  <a:lnTo>
                    <a:pt x="7242" y="786"/>
                  </a:lnTo>
                  <a:lnTo>
                    <a:pt x="7230" y="780"/>
                  </a:lnTo>
                  <a:lnTo>
                    <a:pt x="7218" y="768"/>
                  </a:lnTo>
                  <a:lnTo>
                    <a:pt x="7206" y="762"/>
                  </a:lnTo>
                  <a:lnTo>
                    <a:pt x="7194" y="750"/>
                  </a:lnTo>
                  <a:lnTo>
                    <a:pt x="7176" y="744"/>
                  </a:lnTo>
                  <a:lnTo>
                    <a:pt x="7104" y="732"/>
                  </a:lnTo>
                  <a:lnTo>
                    <a:pt x="7086" y="732"/>
                  </a:lnTo>
                  <a:lnTo>
                    <a:pt x="7086" y="726"/>
                  </a:lnTo>
                  <a:lnTo>
                    <a:pt x="7056" y="696"/>
                  </a:lnTo>
                  <a:lnTo>
                    <a:pt x="7032" y="684"/>
                  </a:lnTo>
                  <a:lnTo>
                    <a:pt x="6990" y="666"/>
                  </a:lnTo>
                  <a:lnTo>
                    <a:pt x="6948" y="660"/>
                  </a:lnTo>
                  <a:lnTo>
                    <a:pt x="6912" y="654"/>
                  </a:lnTo>
                  <a:lnTo>
                    <a:pt x="6882" y="654"/>
                  </a:lnTo>
                  <a:lnTo>
                    <a:pt x="6864" y="648"/>
                  </a:lnTo>
                  <a:lnTo>
                    <a:pt x="6834" y="648"/>
                  </a:lnTo>
                  <a:lnTo>
                    <a:pt x="6786" y="636"/>
                  </a:lnTo>
                  <a:lnTo>
                    <a:pt x="6774" y="642"/>
                  </a:lnTo>
                  <a:lnTo>
                    <a:pt x="6714" y="642"/>
                  </a:lnTo>
                  <a:lnTo>
                    <a:pt x="6696" y="660"/>
                  </a:lnTo>
                  <a:lnTo>
                    <a:pt x="6684" y="666"/>
                  </a:lnTo>
                  <a:lnTo>
                    <a:pt x="6648" y="666"/>
                  </a:lnTo>
                  <a:lnTo>
                    <a:pt x="6630" y="660"/>
                  </a:lnTo>
                  <a:lnTo>
                    <a:pt x="6594" y="660"/>
                  </a:lnTo>
                  <a:lnTo>
                    <a:pt x="6582" y="654"/>
                  </a:lnTo>
                  <a:lnTo>
                    <a:pt x="6576" y="648"/>
                  </a:lnTo>
                  <a:lnTo>
                    <a:pt x="6552" y="636"/>
                  </a:lnTo>
                  <a:lnTo>
                    <a:pt x="6534" y="630"/>
                  </a:lnTo>
                  <a:lnTo>
                    <a:pt x="6522" y="624"/>
                  </a:lnTo>
                  <a:lnTo>
                    <a:pt x="6498" y="624"/>
                  </a:lnTo>
                  <a:lnTo>
                    <a:pt x="6486" y="630"/>
                  </a:lnTo>
                  <a:lnTo>
                    <a:pt x="6474" y="612"/>
                  </a:lnTo>
                  <a:lnTo>
                    <a:pt x="6438" y="612"/>
                  </a:lnTo>
                  <a:lnTo>
                    <a:pt x="6372" y="606"/>
                  </a:lnTo>
                  <a:lnTo>
                    <a:pt x="6408" y="594"/>
                  </a:lnTo>
                  <a:lnTo>
                    <a:pt x="6372" y="570"/>
                  </a:lnTo>
                  <a:lnTo>
                    <a:pt x="6360" y="570"/>
                  </a:lnTo>
                  <a:lnTo>
                    <a:pt x="6324" y="564"/>
                  </a:lnTo>
                  <a:lnTo>
                    <a:pt x="6282" y="558"/>
                  </a:lnTo>
                  <a:lnTo>
                    <a:pt x="6246" y="558"/>
                  </a:lnTo>
                  <a:lnTo>
                    <a:pt x="6228" y="564"/>
                  </a:lnTo>
                  <a:lnTo>
                    <a:pt x="6228" y="594"/>
                  </a:lnTo>
                  <a:lnTo>
                    <a:pt x="6222" y="600"/>
                  </a:lnTo>
                  <a:lnTo>
                    <a:pt x="6192" y="600"/>
                  </a:lnTo>
                  <a:lnTo>
                    <a:pt x="6180" y="594"/>
                  </a:lnTo>
                  <a:lnTo>
                    <a:pt x="6168" y="594"/>
                  </a:lnTo>
                  <a:lnTo>
                    <a:pt x="6186" y="582"/>
                  </a:lnTo>
                  <a:lnTo>
                    <a:pt x="6168" y="570"/>
                  </a:lnTo>
                  <a:lnTo>
                    <a:pt x="6096" y="570"/>
                  </a:lnTo>
                  <a:lnTo>
                    <a:pt x="6114" y="558"/>
                  </a:lnTo>
                  <a:lnTo>
                    <a:pt x="6156" y="558"/>
                  </a:lnTo>
                  <a:lnTo>
                    <a:pt x="6216" y="588"/>
                  </a:lnTo>
                  <a:lnTo>
                    <a:pt x="6216" y="564"/>
                  </a:lnTo>
                  <a:lnTo>
                    <a:pt x="6162" y="540"/>
                  </a:lnTo>
                  <a:lnTo>
                    <a:pt x="6048" y="546"/>
                  </a:lnTo>
                  <a:lnTo>
                    <a:pt x="6048" y="534"/>
                  </a:lnTo>
                  <a:lnTo>
                    <a:pt x="5928" y="540"/>
                  </a:lnTo>
                  <a:lnTo>
                    <a:pt x="5880" y="522"/>
                  </a:lnTo>
                  <a:lnTo>
                    <a:pt x="5862" y="522"/>
                  </a:lnTo>
                  <a:lnTo>
                    <a:pt x="5898" y="546"/>
                  </a:lnTo>
                  <a:lnTo>
                    <a:pt x="5850" y="546"/>
                  </a:lnTo>
                  <a:lnTo>
                    <a:pt x="5838" y="552"/>
                  </a:lnTo>
                  <a:lnTo>
                    <a:pt x="5832" y="552"/>
                  </a:lnTo>
                  <a:lnTo>
                    <a:pt x="5832" y="558"/>
                  </a:lnTo>
                  <a:lnTo>
                    <a:pt x="5844" y="564"/>
                  </a:lnTo>
                  <a:lnTo>
                    <a:pt x="5850" y="570"/>
                  </a:lnTo>
                  <a:lnTo>
                    <a:pt x="5862" y="576"/>
                  </a:lnTo>
                  <a:lnTo>
                    <a:pt x="5892" y="576"/>
                  </a:lnTo>
                  <a:lnTo>
                    <a:pt x="5892" y="582"/>
                  </a:lnTo>
                  <a:lnTo>
                    <a:pt x="5952" y="618"/>
                  </a:lnTo>
                  <a:lnTo>
                    <a:pt x="5904" y="618"/>
                  </a:lnTo>
                  <a:lnTo>
                    <a:pt x="5898" y="612"/>
                  </a:lnTo>
                  <a:lnTo>
                    <a:pt x="5886" y="606"/>
                  </a:lnTo>
                  <a:lnTo>
                    <a:pt x="5874" y="606"/>
                  </a:lnTo>
                  <a:lnTo>
                    <a:pt x="5862" y="600"/>
                  </a:lnTo>
                  <a:lnTo>
                    <a:pt x="5844" y="618"/>
                  </a:lnTo>
                  <a:lnTo>
                    <a:pt x="5868" y="636"/>
                  </a:lnTo>
                  <a:lnTo>
                    <a:pt x="5814" y="630"/>
                  </a:lnTo>
                  <a:lnTo>
                    <a:pt x="5808" y="630"/>
                  </a:lnTo>
                  <a:lnTo>
                    <a:pt x="5802" y="624"/>
                  </a:lnTo>
                  <a:lnTo>
                    <a:pt x="5784" y="618"/>
                  </a:lnTo>
                  <a:lnTo>
                    <a:pt x="5766" y="618"/>
                  </a:lnTo>
                  <a:lnTo>
                    <a:pt x="5754" y="612"/>
                  </a:lnTo>
                  <a:lnTo>
                    <a:pt x="5736" y="606"/>
                  </a:lnTo>
                  <a:lnTo>
                    <a:pt x="5724" y="606"/>
                  </a:lnTo>
                  <a:lnTo>
                    <a:pt x="5712" y="612"/>
                  </a:lnTo>
                  <a:lnTo>
                    <a:pt x="5700" y="612"/>
                  </a:lnTo>
                  <a:lnTo>
                    <a:pt x="5688" y="618"/>
                  </a:lnTo>
                  <a:lnTo>
                    <a:pt x="5682" y="624"/>
                  </a:lnTo>
                  <a:lnTo>
                    <a:pt x="5676" y="624"/>
                  </a:lnTo>
                  <a:lnTo>
                    <a:pt x="5610" y="618"/>
                  </a:lnTo>
                  <a:lnTo>
                    <a:pt x="5604" y="618"/>
                  </a:lnTo>
                  <a:lnTo>
                    <a:pt x="5598" y="612"/>
                  </a:lnTo>
                  <a:lnTo>
                    <a:pt x="5562" y="594"/>
                  </a:lnTo>
                  <a:lnTo>
                    <a:pt x="5556" y="594"/>
                  </a:lnTo>
                  <a:lnTo>
                    <a:pt x="5550" y="588"/>
                  </a:lnTo>
                  <a:lnTo>
                    <a:pt x="5538" y="588"/>
                  </a:lnTo>
                  <a:lnTo>
                    <a:pt x="5538" y="606"/>
                  </a:lnTo>
                  <a:lnTo>
                    <a:pt x="5544" y="612"/>
                  </a:lnTo>
                  <a:lnTo>
                    <a:pt x="5550" y="624"/>
                  </a:lnTo>
                  <a:lnTo>
                    <a:pt x="5556" y="630"/>
                  </a:lnTo>
                  <a:lnTo>
                    <a:pt x="5562" y="642"/>
                  </a:lnTo>
                  <a:lnTo>
                    <a:pt x="5562" y="660"/>
                  </a:lnTo>
                  <a:lnTo>
                    <a:pt x="5556" y="666"/>
                  </a:lnTo>
                  <a:lnTo>
                    <a:pt x="5532" y="660"/>
                  </a:lnTo>
                  <a:lnTo>
                    <a:pt x="5424" y="624"/>
                  </a:lnTo>
                  <a:lnTo>
                    <a:pt x="5412" y="618"/>
                  </a:lnTo>
                  <a:lnTo>
                    <a:pt x="5406" y="618"/>
                  </a:lnTo>
                  <a:lnTo>
                    <a:pt x="5400" y="612"/>
                  </a:lnTo>
                  <a:lnTo>
                    <a:pt x="5394" y="600"/>
                  </a:lnTo>
                  <a:lnTo>
                    <a:pt x="5382" y="594"/>
                  </a:lnTo>
                  <a:lnTo>
                    <a:pt x="5376" y="588"/>
                  </a:lnTo>
                  <a:lnTo>
                    <a:pt x="5376" y="606"/>
                  </a:lnTo>
                  <a:lnTo>
                    <a:pt x="5322" y="588"/>
                  </a:lnTo>
                  <a:lnTo>
                    <a:pt x="5292" y="570"/>
                  </a:lnTo>
                  <a:lnTo>
                    <a:pt x="5298" y="570"/>
                  </a:lnTo>
                  <a:lnTo>
                    <a:pt x="5304" y="576"/>
                  </a:lnTo>
                  <a:lnTo>
                    <a:pt x="5328" y="576"/>
                  </a:lnTo>
                  <a:lnTo>
                    <a:pt x="5340" y="582"/>
                  </a:lnTo>
                  <a:lnTo>
                    <a:pt x="5352" y="582"/>
                  </a:lnTo>
                  <a:lnTo>
                    <a:pt x="5358" y="576"/>
                  </a:lnTo>
                  <a:lnTo>
                    <a:pt x="5358" y="570"/>
                  </a:lnTo>
                  <a:lnTo>
                    <a:pt x="5346" y="564"/>
                  </a:lnTo>
                  <a:lnTo>
                    <a:pt x="5334" y="552"/>
                  </a:lnTo>
                  <a:lnTo>
                    <a:pt x="5292" y="552"/>
                  </a:lnTo>
                  <a:lnTo>
                    <a:pt x="5304" y="540"/>
                  </a:lnTo>
                  <a:lnTo>
                    <a:pt x="5298" y="534"/>
                  </a:lnTo>
                  <a:lnTo>
                    <a:pt x="5286" y="528"/>
                  </a:lnTo>
                  <a:lnTo>
                    <a:pt x="5256" y="528"/>
                  </a:lnTo>
                  <a:lnTo>
                    <a:pt x="5268" y="510"/>
                  </a:lnTo>
                  <a:lnTo>
                    <a:pt x="5262" y="510"/>
                  </a:lnTo>
                  <a:lnTo>
                    <a:pt x="5256" y="504"/>
                  </a:lnTo>
                  <a:lnTo>
                    <a:pt x="5232" y="504"/>
                  </a:lnTo>
                  <a:lnTo>
                    <a:pt x="5220" y="498"/>
                  </a:lnTo>
                  <a:lnTo>
                    <a:pt x="5208" y="498"/>
                  </a:lnTo>
                  <a:lnTo>
                    <a:pt x="5202" y="492"/>
                  </a:lnTo>
                  <a:lnTo>
                    <a:pt x="5190" y="492"/>
                  </a:lnTo>
                  <a:lnTo>
                    <a:pt x="5184" y="486"/>
                  </a:lnTo>
                  <a:lnTo>
                    <a:pt x="5142" y="486"/>
                  </a:lnTo>
                  <a:lnTo>
                    <a:pt x="5130" y="492"/>
                  </a:lnTo>
                  <a:lnTo>
                    <a:pt x="5094" y="492"/>
                  </a:lnTo>
                  <a:lnTo>
                    <a:pt x="5076" y="486"/>
                  </a:lnTo>
                  <a:lnTo>
                    <a:pt x="5070" y="480"/>
                  </a:lnTo>
                  <a:lnTo>
                    <a:pt x="5064" y="480"/>
                  </a:lnTo>
                  <a:lnTo>
                    <a:pt x="5040" y="486"/>
                  </a:lnTo>
                  <a:lnTo>
                    <a:pt x="5040" y="474"/>
                  </a:lnTo>
                  <a:lnTo>
                    <a:pt x="4992" y="468"/>
                  </a:lnTo>
                  <a:lnTo>
                    <a:pt x="4980" y="456"/>
                  </a:lnTo>
                  <a:lnTo>
                    <a:pt x="4974" y="474"/>
                  </a:lnTo>
                  <a:lnTo>
                    <a:pt x="4956" y="480"/>
                  </a:lnTo>
                  <a:lnTo>
                    <a:pt x="4986" y="498"/>
                  </a:lnTo>
                  <a:lnTo>
                    <a:pt x="5010" y="528"/>
                  </a:lnTo>
                  <a:lnTo>
                    <a:pt x="4962" y="522"/>
                  </a:lnTo>
                  <a:lnTo>
                    <a:pt x="4956" y="516"/>
                  </a:lnTo>
                  <a:lnTo>
                    <a:pt x="4890" y="522"/>
                  </a:lnTo>
                  <a:lnTo>
                    <a:pt x="4872" y="528"/>
                  </a:lnTo>
                  <a:lnTo>
                    <a:pt x="4872" y="516"/>
                  </a:lnTo>
                  <a:lnTo>
                    <a:pt x="4824" y="522"/>
                  </a:lnTo>
                  <a:lnTo>
                    <a:pt x="4818" y="510"/>
                  </a:lnTo>
                  <a:lnTo>
                    <a:pt x="4764" y="510"/>
                  </a:lnTo>
                  <a:lnTo>
                    <a:pt x="4728" y="504"/>
                  </a:lnTo>
                  <a:lnTo>
                    <a:pt x="4746" y="480"/>
                  </a:lnTo>
                  <a:lnTo>
                    <a:pt x="4620" y="480"/>
                  </a:lnTo>
                  <a:lnTo>
                    <a:pt x="4608" y="468"/>
                  </a:lnTo>
                  <a:lnTo>
                    <a:pt x="4602" y="474"/>
                  </a:lnTo>
                  <a:lnTo>
                    <a:pt x="4590" y="468"/>
                  </a:lnTo>
                  <a:lnTo>
                    <a:pt x="4542" y="474"/>
                  </a:lnTo>
                  <a:lnTo>
                    <a:pt x="4548" y="486"/>
                  </a:lnTo>
                  <a:lnTo>
                    <a:pt x="4488" y="480"/>
                  </a:lnTo>
                  <a:lnTo>
                    <a:pt x="4476" y="486"/>
                  </a:lnTo>
                  <a:lnTo>
                    <a:pt x="4506" y="498"/>
                  </a:lnTo>
                  <a:lnTo>
                    <a:pt x="4464" y="492"/>
                  </a:lnTo>
                  <a:lnTo>
                    <a:pt x="4464" y="474"/>
                  </a:lnTo>
                  <a:lnTo>
                    <a:pt x="4434" y="456"/>
                  </a:lnTo>
                  <a:lnTo>
                    <a:pt x="4416" y="456"/>
                  </a:lnTo>
                  <a:lnTo>
                    <a:pt x="4428" y="474"/>
                  </a:lnTo>
                  <a:lnTo>
                    <a:pt x="4374" y="474"/>
                  </a:lnTo>
                  <a:lnTo>
                    <a:pt x="4368" y="468"/>
                  </a:lnTo>
                  <a:lnTo>
                    <a:pt x="4356" y="468"/>
                  </a:lnTo>
                  <a:lnTo>
                    <a:pt x="4350" y="456"/>
                  </a:lnTo>
                  <a:lnTo>
                    <a:pt x="4320" y="456"/>
                  </a:lnTo>
                  <a:lnTo>
                    <a:pt x="4296" y="444"/>
                  </a:lnTo>
                  <a:lnTo>
                    <a:pt x="4266" y="468"/>
                  </a:lnTo>
                  <a:lnTo>
                    <a:pt x="4320" y="474"/>
                  </a:lnTo>
                  <a:lnTo>
                    <a:pt x="4332" y="474"/>
                  </a:lnTo>
                  <a:lnTo>
                    <a:pt x="4326" y="480"/>
                  </a:lnTo>
                  <a:lnTo>
                    <a:pt x="4314" y="486"/>
                  </a:lnTo>
                  <a:lnTo>
                    <a:pt x="4308" y="492"/>
                  </a:lnTo>
                  <a:lnTo>
                    <a:pt x="4272" y="492"/>
                  </a:lnTo>
                  <a:lnTo>
                    <a:pt x="4266" y="498"/>
                  </a:lnTo>
                  <a:lnTo>
                    <a:pt x="4254" y="504"/>
                  </a:lnTo>
                  <a:lnTo>
                    <a:pt x="4182" y="504"/>
                  </a:lnTo>
                  <a:lnTo>
                    <a:pt x="4146" y="510"/>
                  </a:lnTo>
                  <a:lnTo>
                    <a:pt x="4134" y="534"/>
                  </a:lnTo>
                  <a:lnTo>
                    <a:pt x="4110" y="528"/>
                  </a:lnTo>
                  <a:lnTo>
                    <a:pt x="4110" y="516"/>
                  </a:lnTo>
                  <a:lnTo>
                    <a:pt x="4116" y="504"/>
                  </a:lnTo>
                  <a:lnTo>
                    <a:pt x="4122" y="498"/>
                  </a:lnTo>
                  <a:lnTo>
                    <a:pt x="4134" y="492"/>
                  </a:lnTo>
                  <a:lnTo>
                    <a:pt x="4152" y="492"/>
                  </a:lnTo>
                  <a:lnTo>
                    <a:pt x="4164" y="480"/>
                  </a:lnTo>
                  <a:lnTo>
                    <a:pt x="4206" y="474"/>
                  </a:lnTo>
                  <a:lnTo>
                    <a:pt x="4248" y="438"/>
                  </a:lnTo>
                  <a:lnTo>
                    <a:pt x="4248" y="426"/>
                  </a:lnTo>
                  <a:lnTo>
                    <a:pt x="4254" y="420"/>
                  </a:lnTo>
                  <a:lnTo>
                    <a:pt x="4266" y="414"/>
                  </a:lnTo>
                  <a:lnTo>
                    <a:pt x="4278" y="414"/>
                  </a:lnTo>
                  <a:lnTo>
                    <a:pt x="4290" y="408"/>
                  </a:lnTo>
                  <a:lnTo>
                    <a:pt x="4302" y="408"/>
                  </a:lnTo>
                  <a:lnTo>
                    <a:pt x="4320" y="402"/>
                  </a:lnTo>
                  <a:lnTo>
                    <a:pt x="4332" y="402"/>
                  </a:lnTo>
                  <a:lnTo>
                    <a:pt x="4344" y="396"/>
                  </a:lnTo>
                  <a:lnTo>
                    <a:pt x="4350" y="390"/>
                  </a:lnTo>
                  <a:lnTo>
                    <a:pt x="4356" y="378"/>
                  </a:lnTo>
                  <a:lnTo>
                    <a:pt x="4350" y="366"/>
                  </a:lnTo>
                  <a:lnTo>
                    <a:pt x="4344" y="360"/>
                  </a:lnTo>
                  <a:lnTo>
                    <a:pt x="4332" y="354"/>
                  </a:lnTo>
                  <a:lnTo>
                    <a:pt x="4326" y="348"/>
                  </a:lnTo>
                  <a:lnTo>
                    <a:pt x="4290" y="348"/>
                  </a:lnTo>
                  <a:lnTo>
                    <a:pt x="4320" y="336"/>
                  </a:lnTo>
                  <a:lnTo>
                    <a:pt x="4314" y="330"/>
                  </a:lnTo>
                  <a:lnTo>
                    <a:pt x="4302" y="324"/>
                  </a:lnTo>
                  <a:lnTo>
                    <a:pt x="4290" y="312"/>
                  </a:lnTo>
                  <a:lnTo>
                    <a:pt x="4284" y="312"/>
                  </a:lnTo>
                  <a:lnTo>
                    <a:pt x="4278" y="318"/>
                  </a:lnTo>
                  <a:lnTo>
                    <a:pt x="4254" y="318"/>
                  </a:lnTo>
                  <a:lnTo>
                    <a:pt x="4248" y="312"/>
                  </a:lnTo>
                  <a:lnTo>
                    <a:pt x="4242" y="300"/>
                  </a:lnTo>
                  <a:lnTo>
                    <a:pt x="4236" y="294"/>
                  </a:lnTo>
                  <a:lnTo>
                    <a:pt x="4194" y="294"/>
                  </a:lnTo>
                  <a:lnTo>
                    <a:pt x="4188" y="300"/>
                  </a:lnTo>
                  <a:lnTo>
                    <a:pt x="4182" y="300"/>
                  </a:lnTo>
                  <a:lnTo>
                    <a:pt x="4128" y="288"/>
                  </a:lnTo>
                  <a:lnTo>
                    <a:pt x="3990" y="282"/>
                  </a:lnTo>
                  <a:lnTo>
                    <a:pt x="3990" y="300"/>
                  </a:lnTo>
                  <a:lnTo>
                    <a:pt x="3924" y="300"/>
                  </a:lnTo>
                  <a:lnTo>
                    <a:pt x="3942" y="282"/>
                  </a:lnTo>
                  <a:lnTo>
                    <a:pt x="3942" y="276"/>
                  </a:lnTo>
                  <a:lnTo>
                    <a:pt x="3936" y="270"/>
                  </a:lnTo>
                  <a:lnTo>
                    <a:pt x="3912" y="264"/>
                  </a:lnTo>
                  <a:lnTo>
                    <a:pt x="3882" y="264"/>
                  </a:lnTo>
                  <a:lnTo>
                    <a:pt x="3852" y="270"/>
                  </a:lnTo>
                  <a:lnTo>
                    <a:pt x="3840" y="270"/>
                  </a:lnTo>
                  <a:lnTo>
                    <a:pt x="3780" y="264"/>
                  </a:lnTo>
                  <a:lnTo>
                    <a:pt x="3792" y="264"/>
                  </a:lnTo>
                  <a:lnTo>
                    <a:pt x="3810" y="258"/>
                  </a:lnTo>
                  <a:lnTo>
                    <a:pt x="3822" y="258"/>
                  </a:lnTo>
                  <a:lnTo>
                    <a:pt x="3834" y="252"/>
                  </a:lnTo>
                  <a:lnTo>
                    <a:pt x="3840" y="252"/>
                  </a:lnTo>
                  <a:lnTo>
                    <a:pt x="3840" y="246"/>
                  </a:lnTo>
                  <a:lnTo>
                    <a:pt x="3834" y="240"/>
                  </a:lnTo>
                  <a:lnTo>
                    <a:pt x="3822" y="240"/>
                  </a:lnTo>
                  <a:lnTo>
                    <a:pt x="3804" y="234"/>
                  </a:lnTo>
                  <a:lnTo>
                    <a:pt x="3762" y="234"/>
                  </a:lnTo>
                  <a:lnTo>
                    <a:pt x="3720" y="228"/>
                  </a:lnTo>
                  <a:lnTo>
                    <a:pt x="3714" y="240"/>
                  </a:lnTo>
                  <a:lnTo>
                    <a:pt x="3684" y="240"/>
                  </a:lnTo>
                  <a:lnTo>
                    <a:pt x="3672" y="246"/>
                  </a:lnTo>
                  <a:lnTo>
                    <a:pt x="3660" y="246"/>
                  </a:lnTo>
                  <a:lnTo>
                    <a:pt x="3648" y="252"/>
                  </a:lnTo>
                  <a:lnTo>
                    <a:pt x="3648" y="258"/>
                  </a:lnTo>
                  <a:lnTo>
                    <a:pt x="3654" y="270"/>
                  </a:lnTo>
                  <a:lnTo>
                    <a:pt x="3678" y="282"/>
                  </a:lnTo>
                  <a:lnTo>
                    <a:pt x="3696" y="294"/>
                  </a:lnTo>
                  <a:lnTo>
                    <a:pt x="3708" y="294"/>
                  </a:lnTo>
                  <a:lnTo>
                    <a:pt x="3714" y="300"/>
                  </a:lnTo>
                  <a:lnTo>
                    <a:pt x="3720" y="300"/>
                  </a:lnTo>
                  <a:lnTo>
                    <a:pt x="3576" y="294"/>
                  </a:lnTo>
                  <a:lnTo>
                    <a:pt x="3630" y="312"/>
                  </a:lnTo>
                  <a:lnTo>
                    <a:pt x="3576" y="324"/>
                  </a:lnTo>
                  <a:lnTo>
                    <a:pt x="3564" y="330"/>
                  </a:lnTo>
                  <a:lnTo>
                    <a:pt x="3534" y="336"/>
                  </a:lnTo>
                  <a:lnTo>
                    <a:pt x="3498" y="342"/>
                  </a:lnTo>
                  <a:lnTo>
                    <a:pt x="3474" y="342"/>
                  </a:lnTo>
                  <a:lnTo>
                    <a:pt x="3468" y="336"/>
                  </a:lnTo>
                  <a:lnTo>
                    <a:pt x="3474" y="324"/>
                  </a:lnTo>
                  <a:lnTo>
                    <a:pt x="3486" y="312"/>
                  </a:lnTo>
                  <a:lnTo>
                    <a:pt x="3420" y="312"/>
                  </a:lnTo>
                  <a:lnTo>
                    <a:pt x="3408" y="318"/>
                  </a:lnTo>
                  <a:lnTo>
                    <a:pt x="3390" y="318"/>
                  </a:lnTo>
                  <a:lnTo>
                    <a:pt x="3378" y="324"/>
                  </a:lnTo>
                  <a:lnTo>
                    <a:pt x="3366" y="336"/>
                  </a:lnTo>
                  <a:lnTo>
                    <a:pt x="3348" y="336"/>
                  </a:lnTo>
                  <a:lnTo>
                    <a:pt x="3318" y="342"/>
                  </a:lnTo>
                  <a:lnTo>
                    <a:pt x="3276" y="342"/>
                  </a:lnTo>
                  <a:lnTo>
                    <a:pt x="3246" y="348"/>
                  </a:lnTo>
                  <a:lnTo>
                    <a:pt x="3234" y="354"/>
                  </a:lnTo>
                  <a:lnTo>
                    <a:pt x="3216" y="354"/>
                  </a:lnTo>
                  <a:lnTo>
                    <a:pt x="3204" y="360"/>
                  </a:lnTo>
                  <a:lnTo>
                    <a:pt x="3186" y="360"/>
                  </a:lnTo>
                  <a:lnTo>
                    <a:pt x="3180" y="366"/>
                  </a:lnTo>
                  <a:lnTo>
                    <a:pt x="3174" y="366"/>
                  </a:lnTo>
                  <a:lnTo>
                    <a:pt x="3132" y="396"/>
                  </a:lnTo>
                  <a:lnTo>
                    <a:pt x="3114" y="396"/>
                  </a:lnTo>
                  <a:lnTo>
                    <a:pt x="3108" y="402"/>
                  </a:lnTo>
                  <a:lnTo>
                    <a:pt x="3102" y="402"/>
                  </a:lnTo>
                  <a:lnTo>
                    <a:pt x="3096" y="408"/>
                  </a:lnTo>
                  <a:lnTo>
                    <a:pt x="3102" y="414"/>
                  </a:lnTo>
                  <a:lnTo>
                    <a:pt x="3120" y="426"/>
                  </a:lnTo>
                  <a:lnTo>
                    <a:pt x="3132" y="438"/>
                  </a:lnTo>
                  <a:lnTo>
                    <a:pt x="3150" y="444"/>
                  </a:lnTo>
                  <a:lnTo>
                    <a:pt x="3156" y="450"/>
                  </a:lnTo>
                  <a:lnTo>
                    <a:pt x="3162" y="450"/>
                  </a:lnTo>
                  <a:lnTo>
                    <a:pt x="3120" y="462"/>
                  </a:lnTo>
                  <a:lnTo>
                    <a:pt x="3096" y="474"/>
                  </a:lnTo>
                  <a:lnTo>
                    <a:pt x="2994" y="474"/>
                  </a:lnTo>
                  <a:lnTo>
                    <a:pt x="2988" y="480"/>
                  </a:lnTo>
                  <a:lnTo>
                    <a:pt x="2952" y="468"/>
                  </a:lnTo>
                  <a:lnTo>
                    <a:pt x="2934" y="474"/>
                  </a:lnTo>
                  <a:lnTo>
                    <a:pt x="2880" y="474"/>
                  </a:lnTo>
                  <a:lnTo>
                    <a:pt x="2874" y="480"/>
                  </a:lnTo>
                  <a:lnTo>
                    <a:pt x="2874" y="498"/>
                  </a:lnTo>
                  <a:lnTo>
                    <a:pt x="2880" y="510"/>
                  </a:lnTo>
                  <a:lnTo>
                    <a:pt x="2892" y="522"/>
                  </a:lnTo>
                  <a:lnTo>
                    <a:pt x="2898" y="522"/>
                  </a:lnTo>
                  <a:lnTo>
                    <a:pt x="2904" y="528"/>
                  </a:lnTo>
                  <a:lnTo>
                    <a:pt x="2910" y="540"/>
                  </a:lnTo>
                  <a:lnTo>
                    <a:pt x="2916" y="546"/>
                  </a:lnTo>
                  <a:lnTo>
                    <a:pt x="2922" y="546"/>
                  </a:lnTo>
                  <a:lnTo>
                    <a:pt x="2928" y="552"/>
                  </a:lnTo>
                  <a:lnTo>
                    <a:pt x="2940" y="552"/>
                  </a:lnTo>
                  <a:lnTo>
                    <a:pt x="2952" y="558"/>
                  </a:lnTo>
                  <a:lnTo>
                    <a:pt x="2964" y="558"/>
                  </a:lnTo>
                  <a:lnTo>
                    <a:pt x="2976" y="564"/>
                  </a:lnTo>
                  <a:lnTo>
                    <a:pt x="2994" y="564"/>
                  </a:lnTo>
                  <a:lnTo>
                    <a:pt x="3012" y="570"/>
                  </a:lnTo>
                  <a:lnTo>
                    <a:pt x="3024" y="570"/>
                  </a:lnTo>
                  <a:lnTo>
                    <a:pt x="3036" y="576"/>
                  </a:lnTo>
                  <a:lnTo>
                    <a:pt x="3042" y="576"/>
                  </a:lnTo>
                  <a:lnTo>
                    <a:pt x="3054" y="588"/>
                  </a:lnTo>
                  <a:lnTo>
                    <a:pt x="3054" y="594"/>
                  </a:lnTo>
                  <a:lnTo>
                    <a:pt x="3060" y="600"/>
                  </a:lnTo>
                  <a:lnTo>
                    <a:pt x="3030" y="600"/>
                  </a:lnTo>
                  <a:lnTo>
                    <a:pt x="3012" y="606"/>
                  </a:lnTo>
                  <a:lnTo>
                    <a:pt x="3000" y="606"/>
                  </a:lnTo>
                  <a:lnTo>
                    <a:pt x="2964" y="588"/>
                  </a:lnTo>
                  <a:lnTo>
                    <a:pt x="2928" y="576"/>
                  </a:lnTo>
                  <a:lnTo>
                    <a:pt x="2904" y="570"/>
                  </a:lnTo>
                  <a:lnTo>
                    <a:pt x="2886" y="564"/>
                  </a:lnTo>
                  <a:lnTo>
                    <a:pt x="2862" y="564"/>
                  </a:lnTo>
                  <a:lnTo>
                    <a:pt x="2844" y="558"/>
                  </a:lnTo>
                  <a:lnTo>
                    <a:pt x="2802" y="558"/>
                  </a:lnTo>
                  <a:lnTo>
                    <a:pt x="2796" y="564"/>
                  </a:lnTo>
                  <a:lnTo>
                    <a:pt x="2796" y="576"/>
                  </a:lnTo>
                  <a:lnTo>
                    <a:pt x="2802" y="582"/>
                  </a:lnTo>
                  <a:lnTo>
                    <a:pt x="2808" y="582"/>
                  </a:lnTo>
                  <a:lnTo>
                    <a:pt x="2820" y="594"/>
                  </a:lnTo>
                  <a:lnTo>
                    <a:pt x="2784" y="594"/>
                  </a:lnTo>
                  <a:lnTo>
                    <a:pt x="2772" y="582"/>
                  </a:lnTo>
                  <a:lnTo>
                    <a:pt x="2754" y="582"/>
                  </a:lnTo>
                  <a:lnTo>
                    <a:pt x="2748" y="576"/>
                  </a:lnTo>
                  <a:lnTo>
                    <a:pt x="2724" y="576"/>
                  </a:lnTo>
                  <a:lnTo>
                    <a:pt x="2724" y="582"/>
                  </a:lnTo>
                  <a:lnTo>
                    <a:pt x="2730" y="600"/>
                  </a:lnTo>
                  <a:lnTo>
                    <a:pt x="2736" y="612"/>
                  </a:lnTo>
                  <a:lnTo>
                    <a:pt x="2748" y="618"/>
                  </a:lnTo>
                  <a:lnTo>
                    <a:pt x="2766" y="624"/>
                  </a:lnTo>
                  <a:lnTo>
                    <a:pt x="2802" y="624"/>
                  </a:lnTo>
                  <a:lnTo>
                    <a:pt x="2820" y="630"/>
                  </a:lnTo>
                  <a:lnTo>
                    <a:pt x="2844" y="630"/>
                  </a:lnTo>
                  <a:lnTo>
                    <a:pt x="2856" y="636"/>
                  </a:lnTo>
                  <a:lnTo>
                    <a:pt x="2862" y="648"/>
                  </a:lnTo>
                  <a:lnTo>
                    <a:pt x="2874" y="654"/>
                  </a:lnTo>
                  <a:lnTo>
                    <a:pt x="2844" y="654"/>
                  </a:lnTo>
                  <a:lnTo>
                    <a:pt x="2838" y="648"/>
                  </a:lnTo>
                  <a:lnTo>
                    <a:pt x="2826" y="642"/>
                  </a:lnTo>
                  <a:lnTo>
                    <a:pt x="2772" y="642"/>
                  </a:lnTo>
                  <a:lnTo>
                    <a:pt x="2760" y="636"/>
                  </a:lnTo>
                  <a:lnTo>
                    <a:pt x="2730" y="636"/>
                  </a:lnTo>
                  <a:lnTo>
                    <a:pt x="2724" y="624"/>
                  </a:lnTo>
                  <a:lnTo>
                    <a:pt x="2700" y="624"/>
                  </a:lnTo>
                  <a:lnTo>
                    <a:pt x="2694" y="606"/>
                  </a:lnTo>
                  <a:lnTo>
                    <a:pt x="2664" y="594"/>
                  </a:lnTo>
                  <a:lnTo>
                    <a:pt x="2670" y="588"/>
                  </a:lnTo>
                  <a:lnTo>
                    <a:pt x="2682" y="582"/>
                  </a:lnTo>
                  <a:lnTo>
                    <a:pt x="2688" y="576"/>
                  </a:lnTo>
                  <a:lnTo>
                    <a:pt x="2688" y="564"/>
                  </a:lnTo>
                  <a:lnTo>
                    <a:pt x="2658" y="534"/>
                  </a:lnTo>
                  <a:lnTo>
                    <a:pt x="2646" y="528"/>
                  </a:lnTo>
                  <a:lnTo>
                    <a:pt x="2616" y="528"/>
                  </a:lnTo>
                  <a:lnTo>
                    <a:pt x="2628" y="534"/>
                  </a:lnTo>
                  <a:lnTo>
                    <a:pt x="2652" y="558"/>
                  </a:lnTo>
                  <a:lnTo>
                    <a:pt x="2640" y="570"/>
                  </a:lnTo>
                  <a:lnTo>
                    <a:pt x="2616" y="582"/>
                  </a:lnTo>
                  <a:lnTo>
                    <a:pt x="2604" y="582"/>
                  </a:lnTo>
                  <a:lnTo>
                    <a:pt x="2586" y="624"/>
                  </a:lnTo>
                  <a:lnTo>
                    <a:pt x="2658" y="660"/>
                  </a:lnTo>
                  <a:lnTo>
                    <a:pt x="2676" y="660"/>
                  </a:lnTo>
                  <a:lnTo>
                    <a:pt x="2676" y="696"/>
                  </a:lnTo>
                  <a:lnTo>
                    <a:pt x="2670" y="708"/>
                  </a:lnTo>
                  <a:lnTo>
                    <a:pt x="2670" y="720"/>
                  </a:lnTo>
                  <a:lnTo>
                    <a:pt x="2676" y="738"/>
                  </a:lnTo>
                  <a:lnTo>
                    <a:pt x="2712" y="744"/>
                  </a:lnTo>
                  <a:lnTo>
                    <a:pt x="2712" y="768"/>
                  </a:lnTo>
                  <a:lnTo>
                    <a:pt x="2772" y="780"/>
                  </a:lnTo>
                  <a:lnTo>
                    <a:pt x="2778" y="780"/>
                  </a:lnTo>
                  <a:lnTo>
                    <a:pt x="2784" y="774"/>
                  </a:lnTo>
                  <a:lnTo>
                    <a:pt x="2796" y="774"/>
                  </a:lnTo>
                  <a:lnTo>
                    <a:pt x="2814" y="768"/>
                  </a:lnTo>
                  <a:lnTo>
                    <a:pt x="2850" y="768"/>
                  </a:lnTo>
                  <a:lnTo>
                    <a:pt x="2868" y="774"/>
                  </a:lnTo>
                  <a:lnTo>
                    <a:pt x="2874" y="780"/>
                  </a:lnTo>
                  <a:lnTo>
                    <a:pt x="2886" y="786"/>
                  </a:lnTo>
                  <a:lnTo>
                    <a:pt x="2904" y="786"/>
                  </a:lnTo>
                  <a:lnTo>
                    <a:pt x="2916" y="792"/>
                  </a:lnTo>
                  <a:lnTo>
                    <a:pt x="2952" y="804"/>
                  </a:lnTo>
                  <a:lnTo>
                    <a:pt x="2976" y="828"/>
                  </a:lnTo>
                  <a:lnTo>
                    <a:pt x="2976" y="834"/>
                  </a:lnTo>
                  <a:lnTo>
                    <a:pt x="2964" y="834"/>
                  </a:lnTo>
                  <a:lnTo>
                    <a:pt x="2958" y="840"/>
                  </a:lnTo>
                  <a:lnTo>
                    <a:pt x="2946" y="840"/>
                  </a:lnTo>
                  <a:lnTo>
                    <a:pt x="2940" y="846"/>
                  </a:lnTo>
                  <a:lnTo>
                    <a:pt x="2946" y="852"/>
                  </a:lnTo>
                  <a:lnTo>
                    <a:pt x="2958" y="858"/>
                  </a:lnTo>
                  <a:lnTo>
                    <a:pt x="2976" y="876"/>
                  </a:lnTo>
                  <a:lnTo>
                    <a:pt x="3024" y="876"/>
                  </a:lnTo>
                  <a:lnTo>
                    <a:pt x="3012" y="882"/>
                  </a:lnTo>
                  <a:lnTo>
                    <a:pt x="3006" y="882"/>
                  </a:lnTo>
                  <a:lnTo>
                    <a:pt x="2994" y="888"/>
                  </a:lnTo>
                  <a:lnTo>
                    <a:pt x="2970" y="888"/>
                  </a:lnTo>
                  <a:lnTo>
                    <a:pt x="2958" y="882"/>
                  </a:lnTo>
                  <a:lnTo>
                    <a:pt x="2952" y="876"/>
                  </a:lnTo>
                  <a:lnTo>
                    <a:pt x="2940" y="870"/>
                  </a:lnTo>
                  <a:lnTo>
                    <a:pt x="2940" y="858"/>
                  </a:lnTo>
                  <a:lnTo>
                    <a:pt x="2928" y="834"/>
                  </a:lnTo>
                  <a:lnTo>
                    <a:pt x="2916" y="822"/>
                  </a:lnTo>
                  <a:lnTo>
                    <a:pt x="2892" y="810"/>
                  </a:lnTo>
                  <a:lnTo>
                    <a:pt x="2886" y="804"/>
                  </a:lnTo>
                  <a:lnTo>
                    <a:pt x="2880" y="804"/>
                  </a:lnTo>
                  <a:lnTo>
                    <a:pt x="2874" y="798"/>
                  </a:lnTo>
                  <a:lnTo>
                    <a:pt x="2874" y="786"/>
                  </a:lnTo>
                  <a:lnTo>
                    <a:pt x="2868" y="780"/>
                  </a:lnTo>
                  <a:lnTo>
                    <a:pt x="2844" y="780"/>
                  </a:lnTo>
                  <a:lnTo>
                    <a:pt x="2832" y="786"/>
                  </a:lnTo>
                  <a:lnTo>
                    <a:pt x="2814" y="786"/>
                  </a:lnTo>
                  <a:lnTo>
                    <a:pt x="2802" y="792"/>
                  </a:lnTo>
                  <a:lnTo>
                    <a:pt x="2778" y="792"/>
                  </a:lnTo>
                  <a:lnTo>
                    <a:pt x="2760" y="810"/>
                  </a:lnTo>
                  <a:lnTo>
                    <a:pt x="2766" y="816"/>
                  </a:lnTo>
                  <a:lnTo>
                    <a:pt x="2772" y="828"/>
                  </a:lnTo>
                  <a:lnTo>
                    <a:pt x="2784" y="834"/>
                  </a:lnTo>
                  <a:lnTo>
                    <a:pt x="2802" y="852"/>
                  </a:lnTo>
                  <a:lnTo>
                    <a:pt x="2814" y="858"/>
                  </a:lnTo>
                  <a:lnTo>
                    <a:pt x="2814" y="864"/>
                  </a:lnTo>
                  <a:lnTo>
                    <a:pt x="2790" y="888"/>
                  </a:lnTo>
                  <a:lnTo>
                    <a:pt x="2784" y="888"/>
                  </a:lnTo>
                  <a:lnTo>
                    <a:pt x="2778" y="930"/>
                  </a:lnTo>
                  <a:lnTo>
                    <a:pt x="2736" y="948"/>
                  </a:lnTo>
                  <a:lnTo>
                    <a:pt x="2736" y="954"/>
                  </a:lnTo>
                  <a:lnTo>
                    <a:pt x="2730" y="966"/>
                  </a:lnTo>
                  <a:lnTo>
                    <a:pt x="2724" y="972"/>
                  </a:lnTo>
                  <a:lnTo>
                    <a:pt x="2694" y="972"/>
                  </a:lnTo>
                  <a:lnTo>
                    <a:pt x="2682" y="966"/>
                  </a:lnTo>
                  <a:lnTo>
                    <a:pt x="2652" y="966"/>
                  </a:lnTo>
                  <a:lnTo>
                    <a:pt x="2592" y="960"/>
                  </a:lnTo>
                  <a:lnTo>
                    <a:pt x="2586" y="960"/>
                  </a:lnTo>
                  <a:lnTo>
                    <a:pt x="2580" y="954"/>
                  </a:lnTo>
                  <a:lnTo>
                    <a:pt x="2568" y="948"/>
                  </a:lnTo>
                  <a:lnTo>
                    <a:pt x="2556" y="948"/>
                  </a:lnTo>
                  <a:lnTo>
                    <a:pt x="2544" y="936"/>
                  </a:lnTo>
                  <a:lnTo>
                    <a:pt x="2598" y="936"/>
                  </a:lnTo>
                  <a:lnTo>
                    <a:pt x="2616" y="942"/>
                  </a:lnTo>
                  <a:lnTo>
                    <a:pt x="2640" y="924"/>
                  </a:lnTo>
                  <a:lnTo>
                    <a:pt x="2652" y="924"/>
                  </a:lnTo>
                  <a:lnTo>
                    <a:pt x="2664" y="930"/>
                  </a:lnTo>
                  <a:lnTo>
                    <a:pt x="2682" y="930"/>
                  </a:lnTo>
                  <a:lnTo>
                    <a:pt x="2694" y="924"/>
                  </a:lnTo>
                  <a:lnTo>
                    <a:pt x="2694" y="906"/>
                  </a:lnTo>
                  <a:lnTo>
                    <a:pt x="2700" y="894"/>
                  </a:lnTo>
                  <a:lnTo>
                    <a:pt x="2700" y="882"/>
                  </a:lnTo>
                  <a:lnTo>
                    <a:pt x="2724" y="876"/>
                  </a:lnTo>
                  <a:lnTo>
                    <a:pt x="2724" y="852"/>
                  </a:lnTo>
                  <a:lnTo>
                    <a:pt x="2712" y="852"/>
                  </a:lnTo>
                  <a:lnTo>
                    <a:pt x="2718" y="846"/>
                  </a:lnTo>
                  <a:lnTo>
                    <a:pt x="2724" y="834"/>
                  </a:lnTo>
                  <a:lnTo>
                    <a:pt x="2724" y="822"/>
                  </a:lnTo>
                  <a:lnTo>
                    <a:pt x="2718" y="816"/>
                  </a:lnTo>
                  <a:lnTo>
                    <a:pt x="2712" y="816"/>
                  </a:lnTo>
                  <a:lnTo>
                    <a:pt x="2700" y="810"/>
                  </a:lnTo>
                  <a:lnTo>
                    <a:pt x="2682" y="810"/>
                  </a:lnTo>
                  <a:lnTo>
                    <a:pt x="2664" y="804"/>
                  </a:lnTo>
                  <a:lnTo>
                    <a:pt x="2652" y="804"/>
                  </a:lnTo>
                  <a:lnTo>
                    <a:pt x="2634" y="786"/>
                  </a:lnTo>
                  <a:lnTo>
                    <a:pt x="2634" y="744"/>
                  </a:lnTo>
                  <a:lnTo>
                    <a:pt x="2628" y="732"/>
                  </a:lnTo>
                  <a:lnTo>
                    <a:pt x="2616" y="720"/>
                  </a:lnTo>
                  <a:lnTo>
                    <a:pt x="2604" y="714"/>
                  </a:lnTo>
                  <a:lnTo>
                    <a:pt x="2598" y="702"/>
                  </a:lnTo>
                  <a:lnTo>
                    <a:pt x="2592" y="696"/>
                  </a:lnTo>
                  <a:lnTo>
                    <a:pt x="2586" y="660"/>
                  </a:lnTo>
                  <a:lnTo>
                    <a:pt x="2520" y="624"/>
                  </a:lnTo>
                  <a:lnTo>
                    <a:pt x="2532" y="612"/>
                  </a:lnTo>
                  <a:lnTo>
                    <a:pt x="2544" y="588"/>
                  </a:lnTo>
                  <a:lnTo>
                    <a:pt x="2544" y="576"/>
                  </a:lnTo>
                  <a:lnTo>
                    <a:pt x="2538" y="564"/>
                  </a:lnTo>
                  <a:lnTo>
                    <a:pt x="2514" y="540"/>
                  </a:lnTo>
                  <a:lnTo>
                    <a:pt x="2496" y="540"/>
                  </a:lnTo>
                  <a:lnTo>
                    <a:pt x="2484" y="534"/>
                  </a:lnTo>
                  <a:lnTo>
                    <a:pt x="2472" y="534"/>
                  </a:lnTo>
                  <a:lnTo>
                    <a:pt x="2340" y="522"/>
                  </a:lnTo>
                  <a:lnTo>
                    <a:pt x="2328" y="552"/>
                  </a:lnTo>
                  <a:lnTo>
                    <a:pt x="2346" y="570"/>
                  </a:lnTo>
                  <a:lnTo>
                    <a:pt x="2334" y="600"/>
                  </a:lnTo>
                  <a:lnTo>
                    <a:pt x="2280" y="624"/>
                  </a:lnTo>
                  <a:lnTo>
                    <a:pt x="2268" y="654"/>
                  </a:lnTo>
                  <a:lnTo>
                    <a:pt x="2304" y="660"/>
                  </a:lnTo>
                  <a:lnTo>
                    <a:pt x="2334" y="708"/>
                  </a:lnTo>
                  <a:lnTo>
                    <a:pt x="2322" y="726"/>
                  </a:lnTo>
                  <a:lnTo>
                    <a:pt x="2352" y="750"/>
                  </a:lnTo>
                  <a:lnTo>
                    <a:pt x="2388" y="744"/>
                  </a:lnTo>
                  <a:lnTo>
                    <a:pt x="2394" y="750"/>
                  </a:lnTo>
                  <a:lnTo>
                    <a:pt x="2400" y="762"/>
                  </a:lnTo>
                  <a:lnTo>
                    <a:pt x="2412" y="768"/>
                  </a:lnTo>
                  <a:lnTo>
                    <a:pt x="2418" y="774"/>
                  </a:lnTo>
                  <a:lnTo>
                    <a:pt x="2430" y="780"/>
                  </a:lnTo>
                  <a:lnTo>
                    <a:pt x="2472" y="780"/>
                  </a:lnTo>
                  <a:lnTo>
                    <a:pt x="2466" y="840"/>
                  </a:lnTo>
                  <a:lnTo>
                    <a:pt x="2448" y="816"/>
                  </a:lnTo>
                  <a:lnTo>
                    <a:pt x="2430" y="828"/>
                  </a:lnTo>
                  <a:lnTo>
                    <a:pt x="2418" y="822"/>
                  </a:lnTo>
                  <a:lnTo>
                    <a:pt x="2388" y="804"/>
                  </a:lnTo>
                  <a:lnTo>
                    <a:pt x="2352" y="792"/>
                  </a:lnTo>
                  <a:lnTo>
                    <a:pt x="2328" y="780"/>
                  </a:lnTo>
                  <a:lnTo>
                    <a:pt x="2268" y="780"/>
                  </a:lnTo>
                  <a:lnTo>
                    <a:pt x="2250" y="762"/>
                  </a:lnTo>
                  <a:lnTo>
                    <a:pt x="2244" y="780"/>
                  </a:lnTo>
                  <a:lnTo>
                    <a:pt x="2220" y="756"/>
                  </a:lnTo>
                  <a:lnTo>
                    <a:pt x="2214" y="756"/>
                  </a:lnTo>
                  <a:lnTo>
                    <a:pt x="2208" y="750"/>
                  </a:lnTo>
                  <a:lnTo>
                    <a:pt x="2196" y="744"/>
                  </a:lnTo>
                  <a:lnTo>
                    <a:pt x="2178" y="744"/>
                  </a:lnTo>
                  <a:lnTo>
                    <a:pt x="2154" y="732"/>
                  </a:lnTo>
                  <a:lnTo>
                    <a:pt x="2130" y="732"/>
                  </a:lnTo>
                  <a:lnTo>
                    <a:pt x="2118" y="738"/>
                  </a:lnTo>
                  <a:lnTo>
                    <a:pt x="2088" y="738"/>
                  </a:lnTo>
                  <a:lnTo>
                    <a:pt x="2076" y="732"/>
                  </a:lnTo>
                  <a:lnTo>
                    <a:pt x="2022" y="732"/>
                  </a:lnTo>
                  <a:lnTo>
                    <a:pt x="2016" y="738"/>
                  </a:lnTo>
                  <a:lnTo>
                    <a:pt x="2010" y="738"/>
                  </a:lnTo>
                  <a:lnTo>
                    <a:pt x="2004" y="744"/>
                  </a:lnTo>
                  <a:lnTo>
                    <a:pt x="2004" y="750"/>
                  </a:lnTo>
                  <a:lnTo>
                    <a:pt x="2016" y="762"/>
                  </a:lnTo>
                  <a:lnTo>
                    <a:pt x="2028" y="768"/>
                  </a:lnTo>
                  <a:lnTo>
                    <a:pt x="2040" y="780"/>
                  </a:lnTo>
                  <a:lnTo>
                    <a:pt x="2046" y="780"/>
                  </a:lnTo>
                  <a:lnTo>
                    <a:pt x="2022" y="810"/>
                  </a:lnTo>
                  <a:lnTo>
                    <a:pt x="2010" y="798"/>
                  </a:lnTo>
                  <a:lnTo>
                    <a:pt x="2010" y="828"/>
                  </a:lnTo>
                  <a:lnTo>
                    <a:pt x="1998" y="828"/>
                  </a:lnTo>
                  <a:lnTo>
                    <a:pt x="1986" y="822"/>
                  </a:lnTo>
                  <a:lnTo>
                    <a:pt x="1980" y="822"/>
                  </a:lnTo>
                  <a:lnTo>
                    <a:pt x="1974" y="816"/>
                  </a:lnTo>
                  <a:lnTo>
                    <a:pt x="1974" y="786"/>
                  </a:lnTo>
                  <a:lnTo>
                    <a:pt x="1968" y="780"/>
                  </a:lnTo>
                  <a:lnTo>
                    <a:pt x="1950" y="780"/>
                  </a:lnTo>
                  <a:lnTo>
                    <a:pt x="1938" y="786"/>
                  </a:lnTo>
                  <a:lnTo>
                    <a:pt x="1920" y="792"/>
                  </a:lnTo>
                  <a:lnTo>
                    <a:pt x="1908" y="804"/>
                  </a:lnTo>
                  <a:lnTo>
                    <a:pt x="1884" y="816"/>
                  </a:lnTo>
                  <a:lnTo>
                    <a:pt x="1866" y="816"/>
                  </a:lnTo>
                  <a:lnTo>
                    <a:pt x="1842" y="804"/>
                  </a:lnTo>
                  <a:lnTo>
                    <a:pt x="1824" y="804"/>
                  </a:lnTo>
                  <a:lnTo>
                    <a:pt x="1800" y="810"/>
                  </a:lnTo>
                  <a:lnTo>
                    <a:pt x="1782" y="816"/>
                  </a:lnTo>
                  <a:lnTo>
                    <a:pt x="1764" y="828"/>
                  </a:lnTo>
                  <a:lnTo>
                    <a:pt x="1752" y="834"/>
                  </a:lnTo>
                  <a:lnTo>
                    <a:pt x="1746" y="840"/>
                  </a:lnTo>
                  <a:lnTo>
                    <a:pt x="1680" y="840"/>
                  </a:lnTo>
                  <a:lnTo>
                    <a:pt x="1692" y="816"/>
                  </a:lnTo>
                  <a:lnTo>
                    <a:pt x="1692" y="780"/>
                  </a:lnTo>
                  <a:lnTo>
                    <a:pt x="1680" y="780"/>
                  </a:lnTo>
                  <a:lnTo>
                    <a:pt x="1668" y="786"/>
                  </a:lnTo>
                  <a:lnTo>
                    <a:pt x="1650" y="792"/>
                  </a:lnTo>
                  <a:lnTo>
                    <a:pt x="1638" y="792"/>
                  </a:lnTo>
                  <a:lnTo>
                    <a:pt x="1626" y="804"/>
                  </a:lnTo>
                  <a:lnTo>
                    <a:pt x="1626" y="816"/>
                  </a:lnTo>
                  <a:lnTo>
                    <a:pt x="1632" y="822"/>
                  </a:lnTo>
                  <a:lnTo>
                    <a:pt x="1632" y="828"/>
                  </a:lnTo>
                  <a:lnTo>
                    <a:pt x="1608" y="834"/>
                  </a:lnTo>
                  <a:lnTo>
                    <a:pt x="1608" y="810"/>
                  </a:lnTo>
                  <a:lnTo>
                    <a:pt x="1584" y="816"/>
                  </a:lnTo>
                  <a:lnTo>
                    <a:pt x="1530" y="822"/>
                  </a:lnTo>
                  <a:lnTo>
                    <a:pt x="1488" y="852"/>
                  </a:lnTo>
                  <a:lnTo>
                    <a:pt x="1440" y="858"/>
                  </a:lnTo>
                  <a:lnTo>
                    <a:pt x="1452" y="876"/>
                  </a:lnTo>
                  <a:lnTo>
                    <a:pt x="1440" y="876"/>
                  </a:lnTo>
                  <a:lnTo>
                    <a:pt x="1428" y="870"/>
                  </a:lnTo>
                  <a:lnTo>
                    <a:pt x="1422" y="870"/>
                  </a:lnTo>
                  <a:lnTo>
                    <a:pt x="1410" y="876"/>
                  </a:lnTo>
                  <a:lnTo>
                    <a:pt x="1404" y="882"/>
                  </a:lnTo>
                  <a:lnTo>
                    <a:pt x="1404" y="924"/>
                  </a:lnTo>
                  <a:lnTo>
                    <a:pt x="1332" y="930"/>
                  </a:lnTo>
                  <a:lnTo>
                    <a:pt x="1326" y="924"/>
                  </a:lnTo>
                  <a:lnTo>
                    <a:pt x="1314" y="918"/>
                  </a:lnTo>
                  <a:lnTo>
                    <a:pt x="1308" y="912"/>
                  </a:lnTo>
                  <a:lnTo>
                    <a:pt x="1266" y="912"/>
                  </a:lnTo>
                  <a:lnTo>
                    <a:pt x="1260" y="906"/>
                  </a:lnTo>
                  <a:lnTo>
                    <a:pt x="1260" y="876"/>
                  </a:lnTo>
                  <a:lnTo>
                    <a:pt x="1266" y="870"/>
                  </a:lnTo>
                  <a:lnTo>
                    <a:pt x="1266" y="864"/>
                  </a:lnTo>
                  <a:lnTo>
                    <a:pt x="1272" y="858"/>
                  </a:lnTo>
                  <a:lnTo>
                    <a:pt x="1284" y="864"/>
                  </a:lnTo>
                  <a:lnTo>
                    <a:pt x="1344" y="864"/>
                  </a:lnTo>
                  <a:lnTo>
                    <a:pt x="1332" y="858"/>
                  </a:lnTo>
                  <a:lnTo>
                    <a:pt x="1326" y="846"/>
                  </a:lnTo>
                  <a:lnTo>
                    <a:pt x="1314" y="840"/>
                  </a:lnTo>
                  <a:lnTo>
                    <a:pt x="1302" y="828"/>
                  </a:lnTo>
                  <a:lnTo>
                    <a:pt x="1290" y="822"/>
                  </a:lnTo>
                  <a:lnTo>
                    <a:pt x="1278" y="810"/>
                  </a:lnTo>
                  <a:lnTo>
                    <a:pt x="1152" y="810"/>
                  </a:lnTo>
                  <a:lnTo>
                    <a:pt x="1164" y="822"/>
                  </a:lnTo>
                  <a:lnTo>
                    <a:pt x="1188" y="822"/>
                  </a:lnTo>
                  <a:lnTo>
                    <a:pt x="1200" y="828"/>
                  </a:lnTo>
                  <a:lnTo>
                    <a:pt x="1200" y="846"/>
                  </a:lnTo>
                  <a:lnTo>
                    <a:pt x="1194" y="864"/>
                  </a:lnTo>
                  <a:lnTo>
                    <a:pt x="1194" y="876"/>
                  </a:lnTo>
                  <a:lnTo>
                    <a:pt x="1188" y="894"/>
                  </a:lnTo>
                  <a:lnTo>
                    <a:pt x="1188" y="918"/>
                  </a:lnTo>
                  <a:lnTo>
                    <a:pt x="1194" y="918"/>
                  </a:lnTo>
                  <a:lnTo>
                    <a:pt x="1206" y="924"/>
                  </a:lnTo>
                  <a:lnTo>
                    <a:pt x="1230" y="924"/>
                  </a:lnTo>
                  <a:lnTo>
                    <a:pt x="1236" y="930"/>
                  </a:lnTo>
                  <a:lnTo>
                    <a:pt x="1242" y="930"/>
                  </a:lnTo>
                  <a:lnTo>
                    <a:pt x="1236" y="966"/>
                  </a:lnTo>
                  <a:lnTo>
                    <a:pt x="1248" y="996"/>
                  </a:lnTo>
                  <a:lnTo>
                    <a:pt x="1212" y="972"/>
                  </a:lnTo>
                  <a:lnTo>
                    <a:pt x="1194" y="996"/>
                  </a:lnTo>
                  <a:lnTo>
                    <a:pt x="1188" y="966"/>
                  </a:lnTo>
                  <a:lnTo>
                    <a:pt x="1116" y="948"/>
                  </a:lnTo>
                  <a:lnTo>
                    <a:pt x="1086" y="984"/>
                  </a:lnTo>
                  <a:lnTo>
                    <a:pt x="1062" y="984"/>
                  </a:lnTo>
                  <a:lnTo>
                    <a:pt x="1056" y="996"/>
                  </a:lnTo>
                  <a:lnTo>
                    <a:pt x="1044" y="1002"/>
                  </a:lnTo>
                  <a:lnTo>
                    <a:pt x="1038" y="1008"/>
                  </a:lnTo>
                  <a:lnTo>
                    <a:pt x="1026" y="1014"/>
                  </a:lnTo>
                  <a:lnTo>
                    <a:pt x="1014" y="1014"/>
                  </a:lnTo>
                  <a:lnTo>
                    <a:pt x="1002" y="1020"/>
                  </a:lnTo>
                  <a:lnTo>
                    <a:pt x="1002" y="1032"/>
                  </a:lnTo>
                  <a:lnTo>
                    <a:pt x="1008" y="1038"/>
                  </a:lnTo>
                  <a:lnTo>
                    <a:pt x="1020" y="1044"/>
                  </a:lnTo>
                  <a:lnTo>
                    <a:pt x="1032" y="1056"/>
                  </a:lnTo>
                  <a:lnTo>
                    <a:pt x="1044" y="1062"/>
                  </a:lnTo>
                  <a:lnTo>
                    <a:pt x="1050" y="1068"/>
                  </a:lnTo>
                  <a:lnTo>
                    <a:pt x="1062" y="1074"/>
                  </a:lnTo>
                  <a:lnTo>
                    <a:pt x="1080" y="1104"/>
                  </a:lnTo>
                  <a:lnTo>
                    <a:pt x="1050" y="1086"/>
                  </a:lnTo>
                  <a:lnTo>
                    <a:pt x="1038" y="1092"/>
                  </a:lnTo>
                  <a:lnTo>
                    <a:pt x="1032" y="1098"/>
                  </a:lnTo>
                  <a:lnTo>
                    <a:pt x="1020" y="1098"/>
                  </a:lnTo>
                  <a:lnTo>
                    <a:pt x="1008" y="1092"/>
                  </a:lnTo>
                  <a:lnTo>
                    <a:pt x="996" y="1092"/>
                  </a:lnTo>
                  <a:lnTo>
                    <a:pt x="978" y="1086"/>
                  </a:lnTo>
                  <a:lnTo>
                    <a:pt x="966" y="1080"/>
                  </a:lnTo>
                  <a:lnTo>
                    <a:pt x="948" y="1080"/>
                  </a:lnTo>
                  <a:lnTo>
                    <a:pt x="936" y="1074"/>
                  </a:lnTo>
                  <a:lnTo>
                    <a:pt x="924" y="1074"/>
                  </a:lnTo>
                  <a:lnTo>
                    <a:pt x="918" y="1068"/>
                  </a:lnTo>
                  <a:lnTo>
                    <a:pt x="918" y="1056"/>
                  </a:lnTo>
                  <a:lnTo>
                    <a:pt x="906" y="1050"/>
                  </a:lnTo>
                  <a:lnTo>
                    <a:pt x="888" y="1050"/>
                  </a:lnTo>
                  <a:lnTo>
                    <a:pt x="864" y="1062"/>
                  </a:lnTo>
                  <a:lnTo>
                    <a:pt x="858" y="1068"/>
                  </a:lnTo>
                  <a:lnTo>
                    <a:pt x="840" y="1068"/>
                  </a:lnTo>
                  <a:lnTo>
                    <a:pt x="882" y="1104"/>
                  </a:lnTo>
                  <a:lnTo>
                    <a:pt x="900" y="1104"/>
                  </a:lnTo>
                  <a:lnTo>
                    <a:pt x="912" y="1110"/>
                  </a:lnTo>
                  <a:lnTo>
                    <a:pt x="924" y="1110"/>
                  </a:lnTo>
                  <a:lnTo>
                    <a:pt x="936" y="1116"/>
                  </a:lnTo>
                  <a:lnTo>
                    <a:pt x="942" y="1116"/>
                  </a:lnTo>
                  <a:lnTo>
                    <a:pt x="942" y="1122"/>
                  </a:lnTo>
                  <a:lnTo>
                    <a:pt x="936" y="1134"/>
                  </a:lnTo>
                  <a:lnTo>
                    <a:pt x="924" y="1140"/>
                  </a:lnTo>
                  <a:lnTo>
                    <a:pt x="918" y="1146"/>
                  </a:lnTo>
                  <a:lnTo>
                    <a:pt x="852" y="1128"/>
                  </a:lnTo>
                  <a:lnTo>
                    <a:pt x="840" y="1122"/>
                  </a:lnTo>
                  <a:lnTo>
                    <a:pt x="834" y="1116"/>
                  </a:lnTo>
                  <a:lnTo>
                    <a:pt x="822" y="1110"/>
                  </a:lnTo>
                  <a:lnTo>
                    <a:pt x="762" y="1110"/>
                  </a:lnTo>
                  <a:lnTo>
                    <a:pt x="756" y="1104"/>
                  </a:lnTo>
                  <a:lnTo>
                    <a:pt x="756" y="1056"/>
                  </a:lnTo>
                  <a:lnTo>
                    <a:pt x="738" y="1044"/>
                  </a:lnTo>
                  <a:lnTo>
                    <a:pt x="750" y="1032"/>
                  </a:lnTo>
                  <a:lnTo>
                    <a:pt x="756" y="1020"/>
                  </a:lnTo>
                  <a:lnTo>
                    <a:pt x="756" y="1002"/>
                  </a:lnTo>
                  <a:lnTo>
                    <a:pt x="738" y="990"/>
                  </a:lnTo>
                  <a:lnTo>
                    <a:pt x="702" y="978"/>
                  </a:lnTo>
                  <a:lnTo>
                    <a:pt x="672" y="972"/>
                  </a:lnTo>
                  <a:lnTo>
                    <a:pt x="660" y="966"/>
                  </a:lnTo>
                  <a:lnTo>
                    <a:pt x="630" y="948"/>
                  </a:lnTo>
                  <a:lnTo>
                    <a:pt x="606" y="930"/>
                  </a:lnTo>
                  <a:lnTo>
                    <a:pt x="594" y="912"/>
                  </a:lnTo>
                  <a:lnTo>
                    <a:pt x="630" y="912"/>
                  </a:lnTo>
                  <a:lnTo>
                    <a:pt x="630" y="924"/>
                  </a:lnTo>
                  <a:lnTo>
                    <a:pt x="642" y="924"/>
                  </a:lnTo>
                  <a:lnTo>
                    <a:pt x="654" y="930"/>
                  </a:lnTo>
                  <a:lnTo>
                    <a:pt x="672" y="930"/>
                  </a:lnTo>
                  <a:lnTo>
                    <a:pt x="690" y="936"/>
                  </a:lnTo>
                  <a:lnTo>
                    <a:pt x="720" y="936"/>
                  </a:lnTo>
                  <a:lnTo>
                    <a:pt x="732" y="942"/>
                  </a:lnTo>
                  <a:lnTo>
                    <a:pt x="738" y="954"/>
                  </a:lnTo>
                  <a:lnTo>
                    <a:pt x="762" y="966"/>
                  </a:lnTo>
                  <a:lnTo>
                    <a:pt x="816" y="966"/>
                  </a:lnTo>
                  <a:lnTo>
                    <a:pt x="846" y="972"/>
                  </a:lnTo>
                  <a:lnTo>
                    <a:pt x="858" y="972"/>
                  </a:lnTo>
                  <a:lnTo>
                    <a:pt x="870" y="978"/>
                  </a:lnTo>
                  <a:lnTo>
                    <a:pt x="894" y="984"/>
                  </a:lnTo>
                  <a:lnTo>
                    <a:pt x="930" y="990"/>
                  </a:lnTo>
                  <a:lnTo>
                    <a:pt x="978" y="984"/>
                  </a:lnTo>
                  <a:lnTo>
                    <a:pt x="1026" y="972"/>
                  </a:lnTo>
                  <a:lnTo>
                    <a:pt x="1062" y="954"/>
                  </a:lnTo>
                  <a:lnTo>
                    <a:pt x="1080" y="936"/>
                  </a:lnTo>
                  <a:lnTo>
                    <a:pt x="1074" y="912"/>
                  </a:lnTo>
                  <a:lnTo>
                    <a:pt x="1032" y="870"/>
                  </a:lnTo>
                  <a:lnTo>
                    <a:pt x="1014" y="858"/>
                  </a:lnTo>
                  <a:lnTo>
                    <a:pt x="996" y="852"/>
                  </a:lnTo>
                  <a:lnTo>
                    <a:pt x="948" y="840"/>
                  </a:lnTo>
                  <a:lnTo>
                    <a:pt x="900" y="822"/>
                  </a:lnTo>
                  <a:lnTo>
                    <a:pt x="828" y="798"/>
                  </a:lnTo>
                  <a:lnTo>
                    <a:pt x="792" y="780"/>
                  </a:lnTo>
                  <a:lnTo>
                    <a:pt x="756" y="774"/>
                  </a:lnTo>
                  <a:lnTo>
                    <a:pt x="624" y="774"/>
                  </a:lnTo>
                  <a:lnTo>
                    <a:pt x="612" y="756"/>
                  </a:lnTo>
                  <a:lnTo>
                    <a:pt x="588" y="762"/>
                  </a:lnTo>
                  <a:lnTo>
                    <a:pt x="552" y="744"/>
                  </a:lnTo>
                  <a:lnTo>
                    <a:pt x="588" y="738"/>
                  </a:lnTo>
                  <a:lnTo>
                    <a:pt x="606" y="726"/>
                  </a:lnTo>
                  <a:lnTo>
                    <a:pt x="600" y="726"/>
                  </a:lnTo>
                  <a:lnTo>
                    <a:pt x="594" y="720"/>
                  </a:lnTo>
                  <a:lnTo>
                    <a:pt x="582" y="720"/>
                  </a:lnTo>
                  <a:lnTo>
                    <a:pt x="564" y="714"/>
                  </a:lnTo>
                  <a:lnTo>
                    <a:pt x="546" y="714"/>
                  </a:lnTo>
                  <a:lnTo>
                    <a:pt x="534" y="708"/>
                  </a:lnTo>
                  <a:lnTo>
                    <a:pt x="522" y="720"/>
                  </a:lnTo>
                  <a:lnTo>
                    <a:pt x="522" y="726"/>
                  </a:lnTo>
                  <a:lnTo>
                    <a:pt x="516" y="732"/>
                  </a:lnTo>
                  <a:lnTo>
                    <a:pt x="498" y="732"/>
                  </a:lnTo>
                  <a:lnTo>
                    <a:pt x="486" y="744"/>
                  </a:lnTo>
                  <a:lnTo>
                    <a:pt x="450" y="744"/>
                  </a:lnTo>
                  <a:lnTo>
                    <a:pt x="444" y="756"/>
                  </a:lnTo>
                  <a:lnTo>
                    <a:pt x="420" y="762"/>
                  </a:lnTo>
                  <a:lnTo>
                    <a:pt x="420" y="768"/>
                  </a:lnTo>
                  <a:lnTo>
                    <a:pt x="414" y="780"/>
                  </a:lnTo>
                  <a:lnTo>
                    <a:pt x="390" y="780"/>
                  </a:lnTo>
                  <a:lnTo>
                    <a:pt x="384" y="792"/>
                  </a:lnTo>
                  <a:lnTo>
                    <a:pt x="396" y="804"/>
                  </a:lnTo>
                  <a:lnTo>
                    <a:pt x="396" y="810"/>
                  </a:lnTo>
                  <a:lnTo>
                    <a:pt x="378" y="810"/>
                  </a:lnTo>
                  <a:lnTo>
                    <a:pt x="378" y="822"/>
                  </a:lnTo>
                  <a:lnTo>
                    <a:pt x="384" y="834"/>
                  </a:lnTo>
                  <a:lnTo>
                    <a:pt x="384" y="840"/>
                  </a:lnTo>
                  <a:lnTo>
                    <a:pt x="390" y="846"/>
                  </a:lnTo>
                  <a:lnTo>
                    <a:pt x="396" y="846"/>
                  </a:lnTo>
                  <a:lnTo>
                    <a:pt x="402" y="840"/>
                  </a:lnTo>
                  <a:lnTo>
                    <a:pt x="420" y="840"/>
                  </a:lnTo>
                  <a:lnTo>
                    <a:pt x="468" y="888"/>
                  </a:lnTo>
                  <a:lnTo>
                    <a:pt x="468" y="900"/>
                  </a:lnTo>
                  <a:lnTo>
                    <a:pt x="462" y="900"/>
                  </a:lnTo>
                  <a:lnTo>
                    <a:pt x="450" y="906"/>
                  </a:lnTo>
                  <a:lnTo>
                    <a:pt x="444" y="906"/>
                  </a:lnTo>
                  <a:lnTo>
                    <a:pt x="444" y="918"/>
                  </a:lnTo>
                  <a:lnTo>
                    <a:pt x="438" y="918"/>
                  </a:lnTo>
                  <a:lnTo>
                    <a:pt x="426" y="924"/>
                  </a:lnTo>
                  <a:lnTo>
                    <a:pt x="420" y="930"/>
                  </a:lnTo>
                  <a:lnTo>
                    <a:pt x="438" y="948"/>
                  </a:lnTo>
                  <a:lnTo>
                    <a:pt x="450" y="954"/>
                  </a:lnTo>
                  <a:lnTo>
                    <a:pt x="456" y="966"/>
                  </a:lnTo>
                  <a:lnTo>
                    <a:pt x="468" y="972"/>
                  </a:lnTo>
                  <a:lnTo>
                    <a:pt x="492" y="996"/>
                  </a:lnTo>
                  <a:lnTo>
                    <a:pt x="504" y="1002"/>
                  </a:lnTo>
                  <a:lnTo>
                    <a:pt x="510" y="1008"/>
                  </a:lnTo>
                  <a:lnTo>
                    <a:pt x="510" y="1014"/>
                  </a:lnTo>
                  <a:lnTo>
                    <a:pt x="504" y="1020"/>
                  </a:lnTo>
                  <a:lnTo>
                    <a:pt x="492" y="1020"/>
                  </a:lnTo>
                  <a:lnTo>
                    <a:pt x="480" y="1014"/>
                  </a:lnTo>
                  <a:lnTo>
                    <a:pt x="474" y="1014"/>
                  </a:lnTo>
                  <a:lnTo>
                    <a:pt x="468" y="1044"/>
                  </a:lnTo>
                  <a:lnTo>
                    <a:pt x="480" y="1056"/>
                  </a:lnTo>
                  <a:lnTo>
                    <a:pt x="480" y="1068"/>
                  </a:lnTo>
                  <a:lnTo>
                    <a:pt x="492" y="1068"/>
                  </a:lnTo>
                  <a:lnTo>
                    <a:pt x="498" y="1074"/>
                  </a:lnTo>
                  <a:lnTo>
                    <a:pt x="504" y="1074"/>
                  </a:lnTo>
                  <a:lnTo>
                    <a:pt x="510" y="1080"/>
                  </a:lnTo>
                  <a:lnTo>
                    <a:pt x="510" y="1086"/>
                  </a:lnTo>
                  <a:lnTo>
                    <a:pt x="504" y="1092"/>
                  </a:lnTo>
                  <a:lnTo>
                    <a:pt x="498" y="1104"/>
                  </a:lnTo>
                  <a:lnTo>
                    <a:pt x="522" y="1110"/>
                  </a:lnTo>
                  <a:lnTo>
                    <a:pt x="534" y="1116"/>
                  </a:lnTo>
                  <a:lnTo>
                    <a:pt x="540" y="1122"/>
                  </a:lnTo>
                  <a:lnTo>
                    <a:pt x="540" y="1128"/>
                  </a:lnTo>
                  <a:lnTo>
                    <a:pt x="516" y="1152"/>
                  </a:lnTo>
                  <a:lnTo>
                    <a:pt x="510" y="1152"/>
                  </a:lnTo>
                  <a:lnTo>
                    <a:pt x="582" y="1188"/>
                  </a:lnTo>
                  <a:lnTo>
                    <a:pt x="588" y="1200"/>
                  </a:lnTo>
                  <a:lnTo>
                    <a:pt x="594" y="1206"/>
                  </a:lnTo>
                  <a:lnTo>
                    <a:pt x="600" y="1218"/>
                  </a:lnTo>
                  <a:lnTo>
                    <a:pt x="600" y="1230"/>
                  </a:lnTo>
                  <a:lnTo>
                    <a:pt x="594" y="1236"/>
                  </a:lnTo>
                  <a:lnTo>
                    <a:pt x="588" y="1248"/>
                  </a:lnTo>
                  <a:lnTo>
                    <a:pt x="552" y="1284"/>
                  </a:lnTo>
                  <a:lnTo>
                    <a:pt x="546" y="1284"/>
                  </a:lnTo>
                  <a:lnTo>
                    <a:pt x="486" y="1344"/>
                  </a:lnTo>
                  <a:lnTo>
                    <a:pt x="426" y="1374"/>
                  </a:lnTo>
                  <a:lnTo>
                    <a:pt x="432" y="1386"/>
                  </a:lnTo>
                  <a:lnTo>
                    <a:pt x="462" y="1368"/>
                  </a:lnTo>
                  <a:lnTo>
                    <a:pt x="468" y="1386"/>
                  </a:lnTo>
                  <a:lnTo>
                    <a:pt x="480" y="1398"/>
                  </a:lnTo>
                  <a:lnTo>
                    <a:pt x="492" y="1404"/>
                  </a:lnTo>
                  <a:lnTo>
                    <a:pt x="498" y="1410"/>
                  </a:lnTo>
                  <a:lnTo>
                    <a:pt x="546" y="1410"/>
                  </a:lnTo>
                  <a:lnTo>
                    <a:pt x="558" y="1428"/>
                  </a:lnTo>
                  <a:lnTo>
                    <a:pt x="546" y="1428"/>
                  </a:lnTo>
                  <a:lnTo>
                    <a:pt x="534" y="1422"/>
                  </a:lnTo>
                  <a:lnTo>
                    <a:pt x="504" y="1422"/>
                  </a:lnTo>
                  <a:lnTo>
                    <a:pt x="492" y="1434"/>
                  </a:lnTo>
                  <a:lnTo>
                    <a:pt x="492" y="1440"/>
                  </a:lnTo>
                  <a:lnTo>
                    <a:pt x="456" y="1440"/>
                  </a:lnTo>
                  <a:lnTo>
                    <a:pt x="450" y="1470"/>
                  </a:lnTo>
                  <a:lnTo>
                    <a:pt x="438" y="1470"/>
                  </a:lnTo>
                  <a:lnTo>
                    <a:pt x="432" y="1482"/>
                  </a:lnTo>
                  <a:lnTo>
                    <a:pt x="438" y="1494"/>
                  </a:lnTo>
                  <a:lnTo>
                    <a:pt x="432" y="1500"/>
                  </a:lnTo>
                  <a:lnTo>
                    <a:pt x="426" y="1500"/>
                  </a:lnTo>
                  <a:lnTo>
                    <a:pt x="414" y="1512"/>
                  </a:lnTo>
                  <a:lnTo>
                    <a:pt x="414" y="1530"/>
                  </a:lnTo>
                  <a:lnTo>
                    <a:pt x="432" y="1536"/>
                  </a:lnTo>
                  <a:lnTo>
                    <a:pt x="420" y="1560"/>
                  </a:lnTo>
                  <a:lnTo>
                    <a:pt x="432" y="1566"/>
                  </a:lnTo>
                  <a:lnTo>
                    <a:pt x="444" y="1584"/>
                  </a:lnTo>
                  <a:lnTo>
                    <a:pt x="426" y="1596"/>
                  </a:lnTo>
                  <a:lnTo>
                    <a:pt x="426" y="1608"/>
                  </a:lnTo>
                  <a:lnTo>
                    <a:pt x="432" y="1608"/>
                  </a:lnTo>
                  <a:lnTo>
                    <a:pt x="444" y="1620"/>
                  </a:lnTo>
                  <a:lnTo>
                    <a:pt x="456" y="1626"/>
                  </a:lnTo>
                  <a:lnTo>
                    <a:pt x="462" y="1632"/>
                  </a:lnTo>
                  <a:lnTo>
                    <a:pt x="462" y="1638"/>
                  </a:lnTo>
                  <a:lnTo>
                    <a:pt x="444" y="1638"/>
                  </a:lnTo>
                  <a:lnTo>
                    <a:pt x="438" y="1656"/>
                  </a:lnTo>
                  <a:lnTo>
                    <a:pt x="462" y="1662"/>
                  </a:lnTo>
                  <a:lnTo>
                    <a:pt x="468" y="1668"/>
                  </a:lnTo>
                  <a:lnTo>
                    <a:pt x="474" y="1680"/>
                  </a:lnTo>
                  <a:lnTo>
                    <a:pt x="486" y="1692"/>
                  </a:lnTo>
                  <a:lnTo>
                    <a:pt x="486" y="1716"/>
                  </a:lnTo>
                  <a:lnTo>
                    <a:pt x="510" y="1716"/>
                  </a:lnTo>
                  <a:lnTo>
                    <a:pt x="516" y="1722"/>
                  </a:lnTo>
                  <a:lnTo>
                    <a:pt x="516" y="1728"/>
                  </a:lnTo>
                  <a:lnTo>
                    <a:pt x="528" y="1722"/>
                  </a:lnTo>
                  <a:lnTo>
                    <a:pt x="564" y="1728"/>
                  </a:lnTo>
                  <a:lnTo>
                    <a:pt x="570" y="1746"/>
                  </a:lnTo>
                  <a:lnTo>
                    <a:pt x="600" y="1728"/>
                  </a:lnTo>
                  <a:lnTo>
                    <a:pt x="606" y="1728"/>
                  </a:lnTo>
                  <a:lnTo>
                    <a:pt x="612" y="1734"/>
                  </a:lnTo>
                  <a:lnTo>
                    <a:pt x="648" y="1752"/>
                  </a:lnTo>
                  <a:lnTo>
                    <a:pt x="654" y="1758"/>
                  </a:lnTo>
                  <a:lnTo>
                    <a:pt x="654" y="1770"/>
                  </a:lnTo>
                  <a:lnTo>
                    <a:pt x="648" y="1776"/>
                  </a:lnTo>
                  <a:lnTo>
                    <a:pt x="660" y="1794"/>
                  </a:lnTo>
                  <a:lnTo>
                    <a:pt x="654" y="1812"/>
                  </a:lnTo>
                  <a:lnTo>
                    <a:pt x="660" y="1818"/>
                  </a:lnTo>
                  <a:lnTo>
                    <a:pt x="672" y="1824"/>
                  </a:lnTo>
                  <a:lnTo>
                    <a:pt x="690" y="1842"/>
                  </a:lnTo>
                  <a:lnTo>
                    <a:pt x="690" y="1854"/>
                  </a:lnTo>
                  <a:lnTo>
                    <a:pt x="720" y="1866"/>
                  </a:lnTo>
                  <a:lnTo>
                    <a:pt x="720" y="1890"/>
                  </a:lnTo>
                  <a:lnTo>
                    <a:pt x="756" y="1890"/>
                  </a:lnTo>
                  <a:lnTo>
                    <a:pt x="762" y="1896"/>
                  </a:lnTo>
                  <a:lnTo>
                    <a:pt x="768" y="1896"/>
                  </a:lnTo>
                  <a:lnTo>
                    <a:pt x="768" y="1902"/>
                  </a:lnTo>
                  <a:lnTo>
                    <a:pt x="762" y="1908"/>
                  </a:lnTo>
                  <a:lnTo>
                    <a:pt x="786" y="1920"/>
                  </a:lnTo>
                  <a:lnTo>
                    <a:pt x="774" y="1926"/>
                  </a:lnTo>
                  <a:lnTo>
                    <a:pt x="768" y="1938"/>
                  </a:lnTo>
                  <a:lnTo>
                    <a:pt x="744" y="1950"/>
                  </a:lnTo>
                  <a:lnTo>
                    <a:pt x="738" y="1950"/>
                  </a:lnTo>
                  <a:lnTo>
                    <a:pt x="732" y="1944"/>
                  </a:lnTo>
                  <a:lnTo>
                    <a:pt x="726" y="1944"/>
                  </a:lnTo>
                  <a:lnTo>
                    <a:pt x="726" y="1938"/>
                  </a:lnTo>
                  <a:lnTo>
                    <a:pt x="702" y="1938"/>
                  </a:lnTo>
                  <a:lnTo>
                    <a:pt x="696" y="1944"/>
                  </a:lnTo>
                  <a:lnTo>
                    <a:pt x="696" y="1950"/>
                  </a:lnTo>
                  <a:lnTo>
                    <a:pt x="720" y="1974"/>
                  </a:lnTo>
                  <a:lnTo>
                    <a:pt x="720" y="1992"/>
                  </a:lnTo>
                  <a:lnTo>
                    <a:pt x="726" y="1998"/>
                  </a:lnTo>
                  <a:lnTo>
                    <a:pt x="732" y="2010"/>
                  </a:lnTo>
                  <a:lnTo>
                    <a:pt x="732" y="2028"/>
                  </a:lnTo>
                  <a:lnTo>
                    <a:pt x="720" y="2028"/>
                  </a:lnTo>
                  <a:lnTo>
                    <a:pt x="714" y="2022"/>
                  </a:lnTo>
                  <a:lnTo>
                    <a:pt x="708" y="2022"/>
                  </a:lnTo>
                  <a:lnTo>
                    <a:pt x="720" y="2028"/>
                  </a:lnTo>
                  <a:lnTo>
                    <a:pt x="768" y="2028"/>
                  </a:lnTo>
                  <a:lnTo>
                    <a:pt x="774" y="2022"/>
                  </a:lnTo>
                  <a:lnTo>
                    <a:pt x="774" y="2010"/>
                  </a:lnTo>
                  <a:lnTo>
                    <a:pt x="804" y="2010"/>
                  </a:lnTo>
                  <a:lnTo>
                    <a:pt x="816" y="2004"/>
                  </a:lnTo>
                  <a:lnTo>
                    <a:pt x="864" y="2004"/>
                  </a:lnTo>
                  <a:lnTo>
                    <a:pt x="870" y="2022"/>
                  </a:lnTo>
                  <a:lnTo>
                    <a:pt x="876" y="2022"/>
                  </a:lnTo>
                  <a:lnTo>
                    <a:pt x="882" y="2028"/>
                  </a:lnTo>
                  <a:lnTo>
                    <a:pt x="894" y="2034"/>
                  </a:lnTo>
                  <a:lnTo>
                    <a:pt x="900" y="2034"/>
                  </a:lnTo>
                  <a:lnTo>
                    <a:pt x="900" y="2046"/>
                  </a:lnTo>
                  <a:lnTo>
                    <a:pt x="894" y="2052"/>
                  </a:lnTo>
                  <a:lnTo>
                    <a:pt x="888" y="2052"/>
                  </a:lnTo>
                  <a:lnTo>
                    <a:pt x="894" y="2070"/>
                  </a:lnTo>
                  <a:lnTo>
                    <a:pt x="894" y="2088"/>
                  </a:lnTo>
                  <a:lnTo>
                    <a:pt x="930" y="2088"/>
                  </a:lnTo>
                  <a:lnTo>
                    <a:pt x="972" y="2106"/>
                  </a:lnTo>
                  <a:lnTo>
                    <a:pt x="984" y="2154"/>
                  </a:lnTo>
                  <a:lnTo>
                    <a:pt x="990" y="2154"/>
                  </a:lnTo>
                  <a:lnTo>
                    <a:pt x="1014" y="2148"/>
                  </a:lnTo>
                  <a:lnTo>
                    <a:pt x="1020" y="2154"/>
                  </a:lnTo>
                  <a:lnTo>
                    <a:pt x="1032" y="2154"/>
                  </a:lnTo>
                  <a:lnTo>
                    <a:pt x="1038" y="2160"/>
                  </a:lnTo>
                  <a:lnTo>
                    <a:pt x="1086" y="2160"/>
                  </a:lnTo>
                  <a:lnTo>
                    <a:pt x="1092" y="2166"/>
                  </a:lnTo>
                  <a:lnTo>
                    <a:pt x="1092" y="2160"/>
                  </a:lnTo>
                  <a:lnTo>
                    <a:pt x="1098" y="2154"/>
                  </a:lnTo>
                  <a:lnTo>
                    <a:pt x="1110" y="2154"/>
                  </a:lnTo>
                  <a:lnTo>
                    <a:pt x="1116" y="2166"/>
                  </a:lnTo>
                  <a:lnTo>
                    <a:pt x="1140" y="2190"/>
                  </a:lnTo>
                  <a:lnTo>
                    <a:pt x="1152" y="2184"/>
                  </a:lnTo>
                  <a:lnTo>
                    <a:pt x="1170" y="2184"/>
                  </a:lnTo>
                  <a:lnTo>
                    <a:pt x="1176" y="2190"/>
                  </a:lnTo>
                  <a:lnTo>
                    <a:pt x="1188" y="2196"/>
                  </a:lnTo>
                  <a:lnTo>
                    <a:pt x="1230" y="2196"/>
                  </a:lnTo>
                  <a:lnTo>
                    <a:pt x="1230" y="2202"/>
                  </a:lnTo>
                  <a:lnTo>
                    <a:pt x="1236" y="2208"/>
                  </a:lnTo>
                  <a:lnTo>
                    <a:pt x="1254" y="2220"/>
                  </a:lnTo>
                  <a:lnTo>
                    <a:pt x="1278" y="2220"/>
                  </a:lnTo>
                  <a:lnTo>
                    <a:pt x="1284" y="2226"/>
                  </a:lnTo>
                  <a:lnTo>
                    <a:pt x="1284" y="2250"/>
                  </a:lnTo>
                  <a:lnTo>
                    <a:pt x="1266" y="2262"/>
                  </a:lnTo>
                  <a:lnTo>
                    <a:pt x="1272" y="2262"/>
                  </a:lnTo>
                  <a:lnTo>
                    <a:pt x="1278" y="2268"/>
                  </a:lnTo>
                  <a:lnTo>
                    <a:pt x="1284" y="2268"/>
                  </a:lnTo>
                  <a:lnTo>
                    <a:pt x="1290" y="2274"/>
                  </a:lnTo>
                  <a:lnTo>
                    <a:pt x="1284" y="2280"/>
                  </a:lnTo>
                  <a:lnTo>
                    <a:pt x="1266" y="2280"/>
                  </a:lnTo>
                  <a:lnTo>
                    <a:pt x="1260" y="2286"/>
                  </a:lnTo>
                  <a:lnTo>
                    <a:pt x="1272" y="2298"/>
                  </a:lnTo>
                  <a:lnTo>
                    <a:pt x="1284" y="2304"/>
                  </a:lnTo>
                  <a:lnTo>
                    <a:pt x="1284" y="2316"/>
                  </a:lnTo>
                  <a:lnTo>
                    <a:pt x="1290" y="2328"/>
                  </a:lnTo>
                  <a:lnTo>
                    <a:pt x="1290" y="2334"/>
                  </a:lnTo>
                  <a:lnTo>
                    <a:pt x="1278" y="2346"/>
                  </a:lnTo>
                  <a:lnTo>
                    <a:pt x="1266" y="2346"/>
                  </a:lnTo>
                  <a:lnTo>
                    <a:pt x="1254" y="2352"/>
                  </a:lnTo>
                  <a:lnTo>
                    <a:pt x="1224" y="2352"/>
                  </a:lnTo>
                  <a:lnTo>
                    <a:pt x="1212" y="2364"/>
                  </a:lnTo>
                  <a:lnTo>
                    <a:pt x="1212" y="2370"/>
                  </a:lnTo>
                  <a:lnTo>
                    <a:pt x="1206" y="2376"/>
                  </a:lnTo>
                  <a:lnTo>
                    <a:pt x="1188" y="2376"/>
                  </a:lnTo>
                  <a:lnTo>
                    <a:pt x="1188" y="2412"/>
                  </a:lnTo>
                  <a:lnTo>
                    <a:pt x="1194" y="2412"/>
                  </a:lnTo>
                  <a:lnTo>
                    <a:pt x="1200" y="2406"/>
                  </a:lnTo>
                  <a:lnTo>
                    <a:pt x="1212" y="2406"/>
                  </a:lnTo>
                  <a:lnTo>
                    <a:pt x="1224" y="2400"/>
                  </a:lnTo>
                  <a:lnTo>
                    <a:pt x="1254" y="2400"/>
                  </a:lnTo>
                  <a:lnTo>
                    <a:pt x="1254" y="2412"/>
                  </a:lnTo>
                  <a:lnTo>
                    <a:pt x="1248" y="2418"/>
                  </a:lnTo>
                  <a:lnTo>
                    <a:pt x="1242" y="2430"/>
                  </a:lnTo>
                  <a:lnTo>
                    <a:pt x="1230" y="2436"/>
                  </a:lnTo>
                  <a:lnTo>
                    <a:pt x="1224" y="2442"/>
                  </a:lnTo>
                  <a:lnTo>
                    <a:pt x="1170" y="2454"/>
                  </a:lnTo>
                  <a:lnTo>
                    <a:pt x="1218" y="2490"/>
                  </a:lnTo>
                  <a:lnTo>
                    <a:pt x="1212" y="2490"/>
                  </a:lnTo>
                  <a:lnTo>
                    <a:pt x="1206" y="2496"/>
                  </a:lnTo>
                  <a:lnTo>
                    <a:pt x="1194" y="2496"/>
                  </a:lnTo>
                  <a:lnTo>
                    <a:pt x="1188" y="2502"/>
                  </a:lnTo>
                  <a:lnTo>
                    <a:pt x="1176" y="2526"/>
                  </a:lnTo>
                  <a:lnTo>
                    <a:pt x="1176" y="2544"/>
                  </a:lnTo>
                  <a:lnTo>
                    <a:pt x="1164" y="2550"/>
                  </a:lnTo>
                  <a:lnTo>
                    <a:pt x="1158" y="2556"/>
                  </a:lnTo>
                  <a:lnTo>
                    <a:pt x="1146" y="2556"/>
                  </a:lnTo>
                  <a:lnTo>
                    <a:pt x="1140" y="2550"/>
                  </a:lnTo>
                  <a:lnTo>
                    <a:pt x="1128" y="2544"/>
                  </a:lnTo>
                  <a:lnTo>
                    <a:pt x="1122" y="2538"/>
                  </a:lnTo>
                  <a:lnTo>
                    <a:pt x="1116" y="2556"/>
                  </a:lnTo>
                  <a:lnTo>
                    <a:pt x="1122" y="2562"/>
                  </a:lnTo>
                  <a:lnTo>
                    <a:pt x="1128" y="2574"/>
                  </a:lnTo>
                  <a:lnTo>
                    <a:pt x="1134" y="2580"/>
                  </a:lnTo>
                  <a:lnTo>
                    <a:pt x="1146" y="2580"/>
                  </a:lnTo>
                  <a:lnTo>
                    <a:pt x="1146" y="2586"/>
                  </a:lnTo>
                  <a:lnTo>
                    <a:pt x="1152" y="2598"/>
                  </a:lnTo>
                  <a:lnTo>
                    <a:pt x="1158" y="2604"/>
                  </a:lnTo>
                  <a:lnTo>
                    <a:pt x="1194" y="2604"/>
                  </a:lnTo>
                  <a:lnTo>
                    <a:pt x="1200" y="2610"/>
                  </a:lnTo>
                  <a:lnTo>
                    <a:pt x="1212" y="2616"/>
                  </a:lnTo>
                  <a:lnTo>
                    <a:pt x="1218" y="2628"/>
                  </a:lnTo>
                  <a:lnTo>
                    <a:pt x="1224" y="2634"/>
                  </a:lnTo>
                  <a:lnTo>
                    <a:pt x="1254" y="2634"/>
                  </a:lnTo>
                  <a:lnTo>
                    <a:pt x="1272" y="2652"/>
                  </a:lnTo>
                  <a:lnTo>
                    <a:pt x="1278" y="2664"/>
                  </a:lnTo>
                  <a:lnTo>
                    <a:pt x="1290" y="2670"/>
                  </a:lnTo>
                  <a:lnTo>
                    <a:pt x="1314" y="2694"/>
                  </a:lnTo>
                  <a:lnTo>
                    <a:pt x="1320" y="2694"/>
                  </a:lnTo>
                  <a:lnTo>
                    <a:pt x="1332" y="2700"/>
                  </a:lnTo>
                  <a:lnTo>
                    <a:pt x="1338" y="2700"/>
                  </a:lnTo>
                  <a:lnTo>
                    <a:pt x="1350" y="2706"/>
                  </a:lnTo>
                  <a:lnTo>
                    <a:pt x="1344" y="2706"/>
                  </a:lnTo>
                  <a:lnTo>
                    <a:pt x="1368" y="2688"/>
                  </a:lnTo>
                  <a:lnTo>
                    <a:pt x="1380" y="2688"/>
                  </a:lnTo>
                  <a:lnTo>
                    <a:pt x="1398" y="2694"/>
                  </a:lnTo>
                  <a:lnTo>
                    <a:pt x="1410" y="2700"/>
                  </a:lnTo>
                  <a:lnTo>
                    <a:pt x="1428" y="2706"/>
                  </a:lnTo>
                  <a:lnTo>
                    <a:pt x="1488" y="2718"/>
                  </a:lnTo>
                  <a:lnTo>
                    <a:pt x="1524" y="2718"/>
                  </a:lnTo>
                  <a:lnTo>
                    <a:pt x="1530" y="2724"/>
                  </a:lnTo>
                  <a:lnTo>
                    <a:pt x="1536" y="2724"/>
                  </a:lnTo>
                  <a:lnTo>
                    <a:pt x="1584" y="2754"/>
                  </a:lnTo>
                  <a:lnTo>
                    <a:pt x="1584" y="2760"/>
                  </a:lnTo>
                  <a:lnTo>
                    <a:pt x="1590" y="2760"/>
                  </a:lnTo>
                  <a:lnTo>
                    <a:pt x="1602" y="2766"/>
                  </a:lnTo>
                  <a:lnTo>
                    <a:pt x="1626" y="2766"/>
                  </a:lnTo>
                  <a:lnTo>
                    <a:pt x="1632" y="2760"/>
                  </a:lnTo>
                  <a:lnTo>
                    <a:pt x="1644" y="2760"/>
                  </a:lnTo>
                  <a:lnTo>
                    <a:pt x="1644" y="2754"/>
                  </a:lnTo>
                  <a:lnTo>
                    <a:pt x="1674" y="2754"/>
                  </a:lnTo>
                  <a:lnTo>
                    <a:pt x="1686" y="2760"/>
                  </a:lnTo>
                  <a:lnTo>
                    <a:pt x="1698" y="2772"/>
                  </a:lnTo>
                  <a:lnTo>
                    <a:pt x="1728" y="2778"/>
                  </a:lnTo>
                  <a:lnTo>
                    <a:pt x="1728" y="2790"/>
                  </a:lnTo>
                  <a:lnTo>
                    <a:pt x="1722" y="2796"/>
                  </a:lnTo>
                  <a:lnTo>
                    <a:pt x="1722" y="2802"/>
                  </a:lnTo>
                  <a:lnTo>
                    <a:pt x="1740" y="2802"/>
                  </a:lnTo>
                  <a:lnTo>
                    <a:pt x="1752" y="2814"/>
                  </a:lnTo>
                  <a:lnTo>
                    <a:pt x="1764" y="2820"/>
                  </a:lnTo>
                  <a:lnTo>
                    <a:pt x="1776" y="2832"/>
                  </a:lnTo>
                  <a:lnTo>
                    <a:pt x="1788" y="2826"/>
                  </a:lnTo>
                  <a:lnTo>
                    <a:pt x="1794" y="2826"/>
                  </a:lnTo>
                  <a:lnTo>
                    <a:pt x="1818" y="2838"/>
                  </a:lnTo>
                  <a:lnTo>
                    <a:pt x="1836" y="2856"/>
                  </a:lnTo>
                  <a:lnTo>
                    <a:pt x="1842" y="2868"/>
                  </a:lnTo>
                  <a:lnTo>
                    <a:pt x="1854" y="2874"/>
                  </a:lnTo>
                  <a:lnTo>
                    <a:pt x="1860" y="2880"/>
                  </a:lnTo>
                  <a:lnTo>
                    <a:pt x="1884" y="2880"/>
                  </a:lnTo>
                  <a:lnTo>
                    <a:pt x="1890" y="2874"/>
                  </a:lnTo>
                  <a:lnTo>
                    <a:pt x="1890" y="2862"/>
                  </a:lnTo>
                  <a:lnTo>
                    <a:pt x="1908" y="2862"/>
                  </a:lnTo>
                  <a:lnTo>
                    <a:pt x="1914" y="2856"/>
                  </a:lnTo>
                  <a:lnTo>
                    <a:pt x="1914" y="2826"/>
                  </a:lnTo>
                  <a:lnTo>
                    <a:pt x="1908" y="2820"/>
                  </a:lnTo>
                  <a:lnTo>
                    <a:pt x="1908" y="2814"/>
                  </a:lnTo>
                  <a:lnTo>
                    <a:pt x="1896" y="2802"/>
                  </a:lnTo>
                  <a:lnTo>
                    <a:pt x="1890" y="2790"/>
                  </a:lnTo>
                  <a:lnTo>
                    <a:pt x="1884" y="2784"/>
                  </a:lnTo>
                  <a:lnTo>
                    <a:pt x="1872" y="2778"/>
                  </a:lnTo>
                  <a:lnTo>
                    <a:pt x="1866" y="2772"/>
                  </a:lnTo>
                  <a:lnTo>
                    <a:pt x="1854" y="2772"/>
                  </a:lnTo>
                  <a:lnTo>
                    <a:pt x="1854" y="2748"/>
                  </a:lnTo>
                  <a:lnTo>
                    <a:pt x="1848" y="2742"/>
                  </a:lnTo>
                  <a:lnTo>
                    <a:pt x="1836" y="2736"/>
                  </a:lnTo>
                  <a:lnTo>
                    <a:pt x="1830" y="2724"/>
                  </a:lnTo>
                  <a:lnTo>
                    <a:pt x="1824" y="2718"/>
                  </a:lnTo>
                  <a:lnTo>
                    <a:pt x="1824" y="2706"/>
                  </a:lnTo>
                  <a:lnTo>
                    <a:pt x="1830" y="2694"/>
                  </a:lnTo>
                  <a:lnTo>
                    <a:pt x="1830" y="2682"/>
                  </a:lnTo>
                  <a:lnTo>
                    <a:pt x="1818" y="2658"/>
                  </a:lnTo>
                  <a:lnTo>
                    <a:pt x="1812" y="2652"/>
                  </a:lnTo>
                  <a:lnTo>
                    <a:pt x="1806" y="2640"/>
                  </a:lnTo>
                  <a:lnTo>
                    <a:pt x="1794" y="2634"/>
                  </a:lnTo>
                  <a:lnTo>
                    <a:pt x="1788" y="2628"/>
                  </a:lnTo>
                  <a:lnTo>
                    <a:pt x="1776" y="2628"/>
                  </a:lnTo>
                  <a:lnTo>
                    <a:pt x="1758" y="2622"/>
                  </a:lnTo>
                  <a:lnTo>
                    <a:pt x="1758" y="2604"/>
                  </a:lnTo>
                  <a:lnTo>
                    <a:pt x="1794" y="2568"/>
                  </a:lnTo>
                  <a:lnTo>
                    <a:pt x="1800" y="2556"/>
                  </a:lnTo>
                  <a:lnTo>
                    <a:pt x="1806" y="2550"/>
                  </a:lnTo>
                  <a:lnTo>
                    <a:pt x="1806" y="2544"/>
                  </a:lnTo>
                  <a:lnTo>
                    <a:pt x="1800" y="2532"/>
                  </a:lnTo>
                  <a:lnTo>
                    <a:pt x="1788" y="2520"/>
                  </a:lnTo>
                  <a:lnTo>
                    <a:pt x="1800" y="2520"/>
                  </a:lnTo>
                  <a:lnTo>
                    <a:pt x="1812" y="2526"/>
                  </a:lnTo>
                  <a:lnTo>
                    <a:pt x="1830" y="2526"/>
                  </a:lnTo>
                  <a:lnTo>
                    <a:pt x="1842" y="2514"/>
                  </a:lnTo>
                  <a:lnTo>
                    <a:pt x="1872" y="2514"/>
                  </a:lnTo>
                  <a:lnTo>
                    <a:pt x="1878" y="2508"/>
                  </a:lnTo>
                  <a:lnTo>
                    <a:pt x="1860" y="2490"/>
                  </a:lnTo>
                  <a:lnTo>
                    <a:pt x="1890" y="2490"/>
                  </a:lnTo>
                  <a:lnTo>
                    <a:pt x="1890" y="2472"/>
                  </a:lnTo>
                  <a:lnTo>
                    <a:pt x="1878" y="2472"/>
                  </a:lnTo>
                  <a:lnTo>
                    <a:pt x="1854" y="2460"/>
                  </a:lnTo>
                  <a:lnTo>
                    <a:pt x="1842" y="2448"/>
                  </a:lnTo>
                  <a:lnTo>
                    <a:pt x="1842" y="2442"/>
                  </a:lnTo>
                  <a:lnTo>
                    <a:pt x="1878" y="2442"/>
                  </a:lnTo>
                  <a:lnTo>
                    <a:pt x="1878" y="2430"/>
                  </a:lnTo>
                  <a:lnTo>
                    <a:pt x="1866" y="2418"/>
                  </a:lnTo>
                  <a:lnTo>
                    <a:pt x="1860" y="2406"/>
                  </a:lnTo>
                  <a:lnTo>
                    <a:pt x="1812" y="2358"/>
                  </a:lnTo>
                  <a:lnTo>
                    <a:pt x="1800" y="2358"/>
                  </a:lnTo>
                  <a:lnTo>
                    <a:pt x="1788" y="2364"/>
                  </a:lnTo>
                  <a:lnTo>
                    <a:pt x="1746" y="2364"/>
                  </a:lnTo>
                  <a:lnTo>
                    <a:pt x="1740" y="2358"/>
                  </a:lnTo>
                  <a:lnTo>
                    <a:pt x="1740" y="2328"/>
                  </a:lnTo>
                  <a:lnTo>
                    <a:pt x="1734" y="2322"/>
                  </a:lnTo>
                  <a:lnTo>
                    <a:pt x="1710" y="2322"/>
                  </a:lnTo>
                  <a:lnTo>
                    <a:pt x="1704" y="2316"/>
                  </a:lnTo>
                  <a:lnTo>
                    <a:pt x="1698" y="2316"/>
                  </a:lnTo>
                  <a:lnTo>
                    <a:pt x="1698" y="2286"/>
                  </a:lnTo>
                  <a:lnTo>
                    <a:pt x="1710" y="2262"/>
                  </a:lnTo>
                  <a:lnTo>
                    <a:pt x="1710" y="2238"/>
                  </a:lnTo>
                  <a:lnTo>
                    <a:pt x="1704" y="2232"/>
                  </a:lnTo>
                  <a:lnTo>
                    <a:pt x="1698" y="2196"/>
                  </a:lnTo>
                  <a:lnTo>
                    <a:pt x="1722" y="2196"/>
                  </a:lnTo>
                  <a:lnTo>
                    <a:pt x="1722" y="2172"/>
                  </a:lnTo>
                  <a:lnTo>
                    <a:pt x="1716" y="2166"/>
                  </a:lnTo>
                  <a:lnTo>
                    <a:pt x="1716" y="2154"/>
                  </a:lnTo>
                  <a:lnTo>
                    <a:pt x="1722" y="2148"/>
                  </a:lnTo>
                  <a:lnTo>
                    <a:pt x="1734" y="2148"/>
                  </a:lnTo>
                  <a:lnTo>
                    <a:pt x="1746" y="2154"/>
                  </a:lnTo>
                  <a:lnTo>
                    <a:pt x="1758" y="2166"/>
                  </a:lnTo>
                  <a:lnTo>
                    <a:pt x="1770" y="2172"/>
                  </a:lnTo>
                  <a:lnTo>
                    <a:pt x="1776" y="2184"/>
                  </a:lnTo>
                  <a:lnTo>
                    <a:pt x="1788" y="2190"/>
                  </a:lnTo>
                  <a:lnTo>
                    <a:pt x="1800" y="2190"/>
                  </a:lnTo>
                  <a:lnTo>
                    <a:pt x="1806" y="2184"/>
                  </a:lnTo>
                  <a:lnTo>
                    <a:pt x="1812" y="2172"/>
                  </a:lnTo>
                  <a:lnTo>
                    <a:pt x="1818" y="2166"/>
                  </a:lnTo>
                  <a:lnTo>
                    <a:pt x="1812" y="2154"/>
                  </a:lnTo>
                  <a:lnTo>
                    <a:pt x="1800" y="2142"/>
                  </a:lnTo>
                  <a:lnTo>
                    <a:pt x="1830" y="2130"/>
                  </a:lnTo>
                  <a:lnTo>
                    <a:pt x="1830" y="2106"/>
                  </a:lnTo>
                  <a:lnTo>
                    <a:pt x="1836" y="2106"/>
                  </a:lnTo>
                  <a:lnTo>
                    <a:pt x="1848" y="2100"/>
                  </a:lnTo>
                  <a:lnTo>
                    <a:pt x="1860" y="2100"/>
                  </a:lnTo>
                  <a:lnTo>
                    <a:pt x="1872" y="2094"/>
                  </a:lnTo>
                  <a:lnTo>
                    <a:pt x="1884" y="2082"/>
                  </a:lnTo>
                  <a:lnTo>
                    <a:pt x="1884" y="2064"/>
                  </a:lnTo>
                  <a:lnTo>
                    <a:pt x="1878" y="2058"/>
                  </a:lnTo>
                  <a:lnTo>
                    <a:pt x="1878" y="2052"/>
                  </a:lnTo>
                  <a:lnTo>
                    <a:pt x="1908" y="2052"/>
                  </a:lnTo>
                  <a:lnTo>
                    <a:pt x="1920" y="2058"/>
                  </a:lnTo>
                  <a:lnTo>
                    <a:pt x="1926" y="2058"/>
                  </a:lnTo>
                  <a:lnTo>
                    <a:pt x="1926" y="2064"/>
                  </a:lnTo>
                  <a:lnTo>
                    <a:pt x="1932" y="2070"/>
                  </a:lnTo>
                  <a:lnTo>
                    <a:pt x="1962" y="2070"/>
                  </a:lnTo>
                  <a:lnTo>
                    <a:pt x="1974" y="2058"/>
                  </a:lnTo>
                  <a:lnTo>
                    <a:pt x="1986" y="2052"/>
                  </a:lnTo>
                  <a:lnTo>
                    <a:pt x="2004" y="2052"/>
                  </a:lnTo>
                  <a:lnTo>
                    <a:pt x="2010" y="2058"/>
                  </a:lnTo>
                  <a:lnTo>
                    <a:pt x="2016" y="2070"/>
                  </a:lnTo>
                  <a:lnTo>
                    <a:pt x="2076" y="2070"/>
                  </a:lnTo>
                  <a:lnTo>
                    <a:pt x="2082" y="2076"/>
                  </a:lnTo>
                  <a:lnTo>
                    <a:pt x="2082" y="2082"/>
                  </a:lnTo>
                  <a:lnTo>
                    <a:pt x="2088" y="2094"/>
                  </a:lnTo>
                  <a:lnTo>
                    <a:pt x="2124" y="2094"/>
                  </a:lnTo>
                  <a:lnTo>
                    <a:pt x="2136" y="2124"/>
                  </a:lnTo>
                  <a:lnTo>
                    <a:pt x="2136" y="2130"/>
                  </a:lnTo>
                  <a:lnTo>
                    <a:pt x="2148" y="2142"/>
                  </a:lnTo>
                  <a:lnTo>
                    <a:pt x="2160" y="2142"/>
                  </a:lnTo>
                  <a:lnTo>
                    <a:pt x="2160" y="2124"/>
                  </a:lnTo>
                  <a:lnTo>
                    <a:pt x="2148" y="2112"/>
                  </a:lnTo>
                  <a:lnTo>
                    <a:pt x="2148" y="2106"/>
                  </a:lnTo>
                  <a:lnTo>
                    <a:pt x="2160" y="2106"/>
                  </a:lnTo>
                  <a:lnTo>
                    <a:pt x="2232" y="2142"/>
                  </a:lnTo>
                  <a:lnTo>
                    <a:pt x="2238" y="2136"/>
                  </a:lnTo>
                  <a:lnTo>
                    <a:pt x="2244" y="2124"/>
                  </a:lnTo>
                  <a:lnTo>
                    <a:pt x="2256" y="2118"/>
                  </a:lnTo>
                  <a:lnTo>
                    <a:pt x="2268" y="2106"/>
                  </a:lnTo>
                  <a:lnTo>
                    <a:pt x="2280" y="2100"/>
                  </a:lnTo>
                  <a:lnTo>
                    <a:pt x="2286" y="2100"/>
                  </a:lnTo>
                  <a:lnTo>
                    <a:pt x="2322" y="2118"/>
                  </a:lnTo>
                  <a:lnTo>
                    <a:pt x="2334" y="2118"/>
                  </a:lnTo>
                  <a:lnTo>
                    <a:pt x="2352" y="2112"/>
                  </a:lnTo>
                  <a:lnTo>
                    <a:pt x="2364" y="2106"/>
                  </a:lnTo>
                  <a:lnTo>
                    <a:pt x="2370" y="2100"/>
                  </a:lnTo>
                  <a:lnTo>
                    <a:pt x="2382" y="2100"/>
                  </a:lnTo>
                  <a:lnTo>
                    <a:pt x="2388" y="2106"/>
                  </a:lnTo>
                  <a:lnTo>
                    <a:pt x="2400" y="2112"/>
                  </a:lnTo>
                  <a:lnTo>
                    <a:pt x="2406" y="2124"/>
                  </a:lnTo>
                  <a:lnTo>
                    <a:pt x="2430" y="2136"/>
                  </a:lnTo>
                  <a:lnTo>
                    <a:pt x="2454" y="2136"/>
                  </a:lnTo>
                  <a:lnTo>
                    <a:pt x="2466" y="2142"/>
                  </a:lnTo>
                  <a:lnTo>
                    <a:pt x="2478" y="2142"/>
                  </a:lnTo>
                  <a:lnTo>
                    <a:pt x="2490" y="2118"/>
                  </a:lnTo>
                  <a:lnTo>
                    <a:pt x="2496" y="2124"/>
                  </a:lnTo>
                  <a:lnTo>
                    <a:pt x="2508" y="2124"/>
                  </a:lnTo>
                  <a:lnTo>
                    <a:pt x="2514" y="2130"/>
                  </a:lnTo>
                  <a:lnTo>
                    <a:pt x="2526" y="2136"/>
                  </a:lnTo>
                  <a:lnTo>
                    <a:pt x="2562" y="2136"/>
                  </a:lnTo>
                  <a:lnTo>
                    <a:pt x="2568" y="2130"/>
                  </a:lnTo>
                  <a:lnTo>
                    <a:pt x="2574" y="2118"/>
                  </a:lnTo>
                  <a:lnTo>
                    <a:pt x="2574" y="2106"/>
                  </a:lnTo>
                  <a:lnTo>
                    <a:pt x="2568" y="2088"/>
                  </a:lnTo>
                  <a:lnTo>
                    <a:pt x="2544" y="2064"/>
                  </a:lnTo>
                  <a:lnTo>
                    <a:pt x="2532" y="2058"/>
                  </a:lnTo>
                  <a:lnTo>
                    <a:pt x="2514" y="2052"/>
                  </a:lnTo>
                  <a:lnTo>
                    <a:pt x="2490" y="2052"/>
                  </a:lnTo>
                  <a:lnTo>
                    <a:pt x="2460" y="2022"/>
                  </a:lnTo>
                  <a:lnTo>
                    <a:pt x="2472" y="2022"/>
                  </a:lnTo>
                  <a:lnTo>
                    <a:pt x="2484" y="2016"/>
                  </a:lnTo>
                  <a:lnTo>
                    <a:pt x="2496" y="2016"/>
                  </a:lnTo>
                  <a:lnTo>
                    <a:pt x="2508" y="2004"/>
                  </a:lnTo>
                  <a:lnTo>
                    <a:pt x="2508" y="1992"/>
                  </a:lnTo>
                  <a:lnTo>
                    <a:pt x="2502" y="1986"/>
                  </a:lnTo>
                  <a:lnTo>
                    <a:pt x="2496" y="1974"/>
                  </a:lnTo>
                  <a:lnTo>
                    <a:pt x="2490" y="1968"/>
                  </a:lnTo>
                  <a:lnTo>
                    <a:pt x="2502" y="1956"/>
                  </a:lnTo>
                  <a:lnTo>
                    <a:pt x="2556" y="1956"/>
                  </a:lnTo>
                  <a:lnTo>
                    <a:pt x="2544" y="1944"/>
                  </a:lnTo>
                  <a:lnTo>
                    <a:pt x="2532" y="1944"/>
                  </a:lnTo>
                  <a:lnTo>
                    <a:pt x="2508" y="1932"/>
                  </a:lnTo>
                  <a:lnTo>
                    <a:pt x="2496" y="1932"/>
                  </a:lnTo>
                  <a:lnTo>
                    <a:pt x="2508" y="1914"/>
                  </a:lnTo>
                  <a:lnTo>
                    <a:pt x="2484" y="1914"/>
                  </a:lnTo>
                  <a:lnTo>
                    <a:pt x="2484" y="1908"/>
                  </a:lnTo>
                  <a:lnTo>
                    <a:pt x="2478" y="1902"/>
                  </a:lnTo>
                  <a:lnTo>
                    <a:pt x="2478" y="1896"/>
                  </a:lnTo>
                  <a:lnTo>
                    <a:pt x="2490" y="1884"/>
                  </a:lnTo>
                  <a:lnTo>
                    <a:pt x="2526" y="1872"/>
                  </a:lnTo>
                  <a:lnTo>
                    <a:pt x="2586" y="1866"/>
                  </a:lnTo>
                  <a:lnTo>
                    <a:pt x="2640" y="1866"/>
                  </a:lnTo>
                  <a:lnTo>
                    <a:pt x="2646" y="1848"/>
                  </a:lnTo>
                  <a:lnTo>
                    <a:pt x="2712" y="1848"/>
                  </a:lnTo>
                  <a:lnTo>
                    <a:pt x="2712" y="1830"/>
                  </a:lnTo>
                  <a:lnTo>
                    <a:pt x="2718" y="1824"/>
                  </a:lnTo>
                  <a:lnTo>
                    <a:pt x="2808" y="1824"/>
                  </a:lnTo>
                  <a:lnTo>
                    <a:pt x="2862" y="1806"/>
                  </a:lnTo>
                  <a:lnTo>
                    <a:pt x="2874" y="1806"/>
                  </a:lnTo>
                  <a:lnTo>
                    <a:pt x="2874" y="1794"/>
                  </a:lnTo>
                  <a:lnTo>
                    <a:pt x="2886" y="1782"/>
                  </a:lnTo>
                  <a:lnTo>
                    <a:pt x="2898" y="1776"/>
                  </a:lnTo>
                  <a:lnTo>
                    <a:pt x="2916" y="1770"/>
                  </a:lnTo>
                  <a:lnTo>
                    <a:pt x="2940" y="1770"/>
                  </a:lnTo>
                  <a:lnTo>
                    <a:pt x="2958" y="1776"/>
                  </a:lnTo>
                  <a:lnTo>
                    <a:pt x="2976" y="1776"/>
                  </a:lnTo>
                  <a:lnTo>
                    <a:pt x="2988" y="1788"/>
                  </a:lnTo>
                  <a:lnTo>
                    <a:pt x="3000" y="1788"/>
                  </a:lnTo>
                  <a:lnTo>
                    <a:pt x="3012" y="1776"/>
                  </a:lnTo>
                  <a:lnTo>
                    <a:pt x="3018" y="1776"/>
                  </a:lnTo>
                  <a:lnTo>
                    <a:pt x="3036" y="1794"/>
                  </a:lnTo>
                  <a:lnTo>
                    <a:pt x="3042" y="1806"/>
                  </a:lnTo>
                  <a:lnTo>
                    <a:pt x="3048" y="1812"/>
                  </a:lnTo>
                  <a:lnTo>
                    <a:pt x="3060" y="1812"/>
                  </a:lnTo>
                  <a:lnTo>
                    <a:pt x="3066" y="1818"/>
                  </a:lnTo>
                  <a:lnTo>
                    <a:pt x="3066" y="1860"/>
                  </a:lnTo>
                  <a:lnTo>
                    <a:pt x="3072" y="1866"/>
                  </a:lnTo>
                  <a:lnTo>
                    <a:pt x="3090" y="1866"/>
                  </a:lnTo>
                  <a:lnTo>
                    <a:pt x="3102" y="1860"/>
                  </a:lnTo>
                  <a:lnTo>
                    <a:pt x="3120" y="1860"/>
                  </a:lnTo>
                  <a:lnTo>
                    <a:pt x="3132" y="1842"/>
                  </a:lnTo>
                  <a:lnTo>
                    <a:pt x="3156" y="1878"/>
                  </a:lnTo>
                  <a:lnTo>
                    <a:pt x="3180" y="1866"/>
                  </a:lnTo>
                  <a:lnTo>
                    <a:pt x="3204" y="1878"/>
                  </a:lnTo>
                  <a:lnTo>
                    <a:pt x="3210" y="1872"/>
                  </a:lnTo>
                  <a:lnTo>
                    <a:pt x="3216" y="1872"/>
                  </a:lnTo>
                  <a:lnTo>
                    <a:pt x="3228" y="1878"/>
                  </a:lnTo>
                  <a:lnTo>
                    <a:pt x="3228" y="1902"/>
                  </a:lnTo>
                  <a:lnTo>
                    <a:pt x="3222" y="1908"/>
                  </a:lnTo>
                  <a:lnTo>
                    <a:pt x="3222" y="1914"/>
                  </a:lnTo>
                  <a:lnTo>
                    <a:pt x="3228" y="1914"/>
                  </a:lnTo>
                  <a:lnTo>
                    <a:pt x="3234" y="1908"/>
                  </a:lnTo>
                  <a:lnTo>
                    <a:pt x="3240" y="1908"/>
                  </a:lnTo>
                  <a:lnTo>
                    <a:pt x="3246" y="1902"/>
                  </a:lnTo>
                  <a:lnTo>
                    <a:pt x="3252" y="1902"/>
                  </a:lnTo>
                  <a:lnTo>
                    <a:pt x="3258" y="1908"/>
                  </a:lnTo>
                  <a:lnTo>
                    <a:pt x="3270" y="1914"/>
                  </a:lnTo>
                  <a:lnTo>
                    <a:pt x="3276" y="1920"/>
                  </a:lnTo>
                  <a:lnTo>
                    <a:pt x="3288" y="1926"/>
                  </a:lnTo>
                  <a:lnTo>
                    <a:pt x="3300" y="1914"/>
                  </a:lnTo>
                  <a:lnTo>
                    <a:pt x="3300" y="1896"/>
                  </a:lnTo>
                  <a:lnTo>
                    <a:pt x="3306" y="1890"/>
                  </a:lnTo>
                  <a:lnTo>
                    <a:pt x="3318" y="1884"/>
                  </a:lnTo>
                  <a:lnTo>
                    <a:pt x="3330" y="1884"/>
                  </a:lnTo>
                  <a:lnTo>
                    <a:pt x="3342" y="1866"/>
                  </a:lnTo>
                  <a:lnTo>
                    <a:pt x="3378" y="1854"/>
                  </a:lnTo>
                  <a:lnTo>
                    <a:pt x="3396" y="1836"/>
                  </a:lnTo>
                  <a:lnTo>
                    <a:pt x="3402" y="1836"/>
                  </a:lnTo>
                  <a:lnTo>
                    <a:pt x="3408" y="1842"/>
                  </a:lnTo>
                  <a:lnTo>
                    <a:pt x="3408" y="1860"/>
                  </a:lnTo>
                  <a:lnTo>
                    <a:pt x="3396" y="1872"/>
                  </a:lnTo>
                  <a:lnTo>
                    <a:pt x="3390" y="1872"/>
                  </a:lnTo>
                  <a:lnTo>
                    <a:pt x="3426" y="1890"/>
                  </a:lnTo>
                  <a:lnTo>
                    <a:pt x="3456" y="1902"/>
                  </a:lnTo>
                  <a:lnTo>
                    <a:pt x="3486" y="1920"/>
                  </a:lnTo>
                  <a:lnTo>
                    <a:pt x="3498" y="1926"/>
                  </a:lnTo>
                  <a:lnTo>
                    <a:pt x="3516" y="1938"/>
                  </a:lnTo>
                  <a:lnTo>
                    <a:pt x="3546" y="1968"/>
                  </a:lnTo>
                  <a:lnTo>
                    <a:pt x="3618" y="2028"/>
                  </a:lnTo>
                  <a:lnTo>
                    <a:pt x="3636" y="2052"/>
                  </a:lnTo>
                  <a:lnTo>
                    <a:pt x="3672" y="2088"/>
                  </a:lnTo>
                  <a:lnTo>
                    <a:pt x="3684" y="2106"/>
                  </a:lnTo>
                  <a:lnTo>
                    <a:pt x="3696" y="2118"/>
                  </a:lnTo>
                  <a:lnTo>
                    <a:pt x="3708" y="2124"/>
                  </a:lnTo>
                  <a:lnTo>
                    <a:pt x="3720" y="2124"/>
                  </a:lnTo>
                  <a:lnTo>
                    <a:pt x="3732" y="2118"/>
                  </a:lnTo>
                  <a:lnTo>
                    <a:pt x="3744" y="2106"/>
                  </a:lnTo>
                  <a:lnTo>
                    <a:pt x="3744" y="2094"/>
                  </a:lnTo>
                  <a:lnTo>
                    <a:pt x="3750" y="2088"/>
                  </a:lnTo>
                  <a:lnTo>
                    <a:pt x="3750" y="2082"/>
                  </a:lnTo>
                  <a:lnTo>
                    <a:pt x="3762" y="2082"/>
                  </a:lnTo>
                  <a:lnTo>
                    <a:pt x="3768" y="2088"/>
                  </a:lnTo>
                  <a:lnTo>
                    <a:pt x="3768" y="2100"/>
                  </a:lnTo>
                  <a:lnTo>
                    <a:pt x="3774" y="2106"/>
                  </a:lnTo>
                  <a:lnTo>
                    <a:pt x="3774" y="2112"/>
                  </a:lnTo>
                  <a:lnTo>
                    <a:pt x="3804" y="2112"/>
                  </a:lnTo>
                  <a:lnTo>
                    <a:pt x="3816" y="2118"/>
                  </a:lnTo>
                  <a:lnTo>
                    <a:pt x="3822" y="2130"/>
                  </a:lnTo>
                  <a:lnTo>
                    <a:pt x="3834" y="2136"/>
                  </a:lnTo>
                  <a:lnTo>
                    <a:pt x="3858" y="2136"/>
                  </a:lnTo>
                  <a:lnTo>
                    <a:pt x="3864" y="2124"/>
                  </a:lnTo>
                  <a:lnTo>
                    <a:pt x="3876" y="2118"/>
                  </a:lnTo>
                  <a:lnTo>
                    <a:pt x="3894" y="2112"/>
                  </a:lnTo>
                  <a:lnTo>
                    <a:pt x="3906" y="2106"/>
                  </a:lnTo>
                  <a:lnTo>
                    <a:pt x="3924" y="2106"/>
                  </a:lnTo>
                  <a:lnTo>
                    <a:pt x="3948" y="2118"/>
                  </a:lnTo>
                  <a:lnTo>
                    <a:pt x="3972" y="2142"/>
                  </a:lnTo>
                  <a:lnTo>
                    <a:pt x="3984" y="2148"/>
                  </a:lnTo>
                  <a:lnTo>
                    <a:pt x="3990" y="2160"/>
                  </a:lnTo>
                  <a:lnTo>
                    <a:pt x="4002" y="2160"/>
                  </a:lnTo>
                  <a:lnTo>
                    <a:pt x="4014" y="2166"/>
                  </a:lnTo>
                  <a:lnTo>
                    <a:pt x="4026" y="2166"/>
                  </a:lnTo>
                  <a:lnTo>
                    <a:pt x="4038" y="2172"/>
                  </a:lnTo>
                  <a:lnTo>
                    <a:pt x="4044" y="2172"/>
                  </a:lnTo>
                  <a:lnTo>
                    <a:pt x="4044" y="2178"/>
                  </a:lnTo>
                  <a:lnTo>
                    <a:pt x="4050" y="2190"/>
                  </a:lnTo>
                  <a:lnTo>
                    <a:pt x="4056" y="2196"/>
                  </a:lnTo>
                  <a:lnTo>
                    <a:pt x="4062" y="2208"/>
                  </a:lnTo>
                  <a:lnTo>
                    <a:pt x="4068" y="2214"/>
                  </a:lnTo>
                  <a:lnTo>
                    <a:pt x="4068" y="2220"/>
                  </a:lnTo>
                  <a:lnTo>
                    <a:pt x="4140" y="2226"/>
                  </a:lnTo>
                  <a:lnTo>
                    <a:pt x="4152" y="2190"/>
                  </a:lnTo>
                  <a:lnTo>
                    <a:pt x="4176" y="2214"/>
                  </a:lnTo>
                  <a:lnTo>
                    <a:pt x="4212" y="2256"/>
                  </a:lnTo>
                  <a:lnTo>
                    <a:pt x="4254" y="2256"/>
                  </a:lnTo>
                  <a:lnTo>
                    <a:pt x="4266" y="2244"/>
                  </a:lnTo>
                  <a:lnTo>
                    <a:pt x="4266" y="2226"/>
                  </a:lnTo>
                  <a:lnTo>
                    <a:pt x="4326" y="2226"/>
                  </a:lnTo>
                  <a:lnTo>
                    <a:pt x="4320" y="2214"/>
                  </a:lnTo>
                  <a:lnTo>
                    <a:pt x="4344" y="2214"/>
                  </a:lnTo>
                  <a:lnTo>
                    <a:pt x="4338" y="2208"/>
                  </a:lnTo>
                  <a:lnTo>
                    <a:pt x="4338" y="2202"/>
                  </a:lnTo>
                  <a:lnTo>
                    <a:pt x="4374" y="2166"/>
                  </a:lnTo>
                  <a:lnTo>
                    <a:pt x="4392" y="2166"/>
                  </a:lnTo>
                  <a:lnTo>
                    <a:pt x="4404" y="2148"/>
                  </a:lnTo>
                  <a:lnTo>
                    <a:pt x="4428" y="2148"/>
                  </a:lnTo>
                  <a:lnTo>
                    <a:pt x="4428" y="2142"/>
                  </a:lnTo>
                  <a:lnTo>
                    <a:pt x="4434" y="2136"/>
                  </a:lnTo>
                  <a:lnTo>
                    <a:pt x="4434" y="2130"/>
                  </a:lnTo>
                  <a:lnTo>
                    <a:pt x="4440" y="2124"/>
                  </a:lnTo>
                  <a:lnTo>
                    <a:pt x="4458" y="2124"/>
                  </a:lnTo>
                  <a:lnTo>
                    <a:pt x="4464" y="2130"/>
                  </a:lnTo>
                  <a:lnTo>
                    <a:pt x="4482" y="2124"/>
                  </a:lnTo>
                  <a:lnTo>
                    <a:pt x="4482" y="2130"/>
                  </a:lnTo>
                  <a:lnTo>
                    <a:pt x="4518" y="2130"/>
                  </a:lnTo>
                  <a:lnTo>
                    <a:pt x="4524" y="2148"/>
                  </a:lnTo>
                  <a:lnTo>
                    <a:pt x="4548" y="2148"/>
                  </a:lnTo>
                  <a:lnTo>
                    <a:pt x="4566" y="2142"/>
                  </a:lnTo>
                  <a:lnTo>
                    <a:pt x="4608" y="2142"/>
                  </a:lnTo>
                  <a:lnTo>
                    <a:pt x="4608" y="2148"/>
                  </a:lnTo>
                  <a:lnTo>
                    <a:pt x="4614" y="2154"/>
                  </a:lnTo>
                  <a:lnTo>
                    <a:pt x="4614" y="2166"/>
                  </a:lnTo>
                  <a:lnTo>
                    <a:pt x="4620" y="2172"/>
                  </a:lnTo>
                  <a:lnTo>
                    <a:pt x="4638" y="2178"/>
                  </a:lnTo>
                  <a:lnTo>
                    <a:pt x="4668" y="2178"/>
                  </a:lnTo>
                  <a:lnTo>
                    <a:pt x="4674" y="2190"/>
                  </a:lnTo>
                  <a:lnTo>
                    <a:pt x="4698" y="2184"/>
                  </a:lnTo>
                  <a:lnTo>
                    <a:pt x="4704" y="2196"/>
                  </a:lnTo>
                  <a:lnTo>
                    <a:pt x="4704" y="2190"/>
                  </a:lnTo>
                  <a:lnTo>
                    <a:pt x="4710" y="2184"/>
                  </a:lnTo>
                  <a:lnTo>
                    <a:pt x="4752" y="2184"/>
                  </a:lnTo>
                  <a:lnTo>
                    <a:pt x="4752" y="2196"/>
                  </a:lnTo>
                  <a:lnTo>
                    <a:pt x="4800" y="2190"/>
                  </a:lnTo>
                  <a:lnTo>
                    <a:pt x="4800" y="2202"/>
                  </a:lnTo>
                  <a:lnTo>
                    <a:pt x="4806" y="2208"/>
                  </a:lnTo>
                  <a:lnTo>
                    <a:pt x="4830" y="2196"/>
                  </a:lnTo>
                  <a:lnTo>
                    <a:pt x="4836" y="2190"/>
                  </a:lnTo>
                  <a:lnTo>
                    <a:pt x="4836" y="2184"/>
                  </a:lnTo>
                  <a:lnTo>
                    <a:pt x="4854" y="2184"/>
                  </a:lnTo>
                  <a:lnTo>
                    <a:pt x="4854" y="2160"/>
                  </a:lnTo>
                  <a:lnTo>
                    <a:pt x="4848" y="2148"/>
                  </a:lnTo>
                  <a:lnTo>
                    <a:pt x="4842" y="2142"/>
                  </a:lnTo>
                  <a:lnTo>
                    <a:pt x="4836" y="2142"/>
                  </a:lnTo>
                  <a:lnTo>
                    <a:pt x="4812" y="2106"/>
                  </a:lnTo>
                  <a:lnTo>
                    <a:pt x="4806" y="2088"/>
                  </a:lnTo>
                  <a:lnTo>
                    <a:pt x="4794" y="2076"/>
                  </a:lnTo>
                  <a:lnTo>
                    <a:pt x="4794" y="2064"/>
                  </a:lnTo>
                  <a:lnTo>
                    <a:pt x="4812" y="2064"/>
                  </a:lnTo>
                  <a:lnTo>
                    <a:pt x="4806" y="2052"/>
                  </a:lnTo>
                  <a:lnTo>
                    <a:pt x="4812" y="2052"/>
                  </a:lnTo>
                  <a:lnTo>
                    <a:pt x="4824" y="2046"/>
                  </a:lnTo>
                  <a:lnTo>
                    <a:pt x="4830" y="2034"/>
                  </a:lnTo>
                  <a:lnTo>
                    <a:pt x="4830" y="2016"/>
                  </a:lnTo>
                  <a:lnTo>
                    <a:pt x="4890" y="2046"/>
                  </a:lnTo>
                  <a:lnTo>
                    <a:pt x="4902" y="2046"/>
                  </a:lnTo>
                  <a:lnTo>
                    <a:pt x="4926" y="2052"/>
                  </a:lnTo>
                  <a:lnTo>
                    <a:pt x="4962" y="2052"/>
                  </a:lnTo>
                  <a:lnTo>
                    <a:pt x="4974" y="2058"/>
                  </a:lnTo>
                  <a:lnTo>
                    <a:pt x="4980" y="2064"/>
                  </a:lnTo>
                  <a:lnTo>
                    <a:pt x="5004" y="2076"/>
                  </a:lnTo>
                  <a:lnTo>
                    <a:pt x="5010" y="2076"/>
                  </a:lnTo>
                  <a:lnTo>
                    <a:pt x="5022" y="2070"/>
                  </a:lnTo>
                  <a:lnTo>
                    <a:pt x="5040" y="2070"/>
                  </a:lnTo>
                  <a:lnTo>
                    <a:pt x="5052" y="2076"/>
                  </a:lnTo>
                  <a:lnTo>
                    <a:pt x="5058" y="2082"/>
                  </a:lnTo>
                  <a:lnTo>
                    <a:pt x="5064" y="2094"/>
                  </a:lnTo>
                  <a:lnTo>
                    <a:pt x="5076" y="2106"/>
                  </a:lnTo>
                  <a:lnTo>
                    <a:pt x="5088" y="2130"/>
                  </a:lnTo>
                  <a:lnTo>
                    <a:pt x="5094" y="2136"/>
                  </a:lnTo>
                  <a:lnTo>
                    <a:pt x="5094" y="2142"/>
                  </a:lnTo>
                  <a:lnTo>
                    <a:pt x="5118" y="2136"/>
                  </a:lnTo>
                  <a:lnTo>
                    <a:pt x="5118" y="2142"/>
                  </a:lnTo>
                  <a:lnTo>
                    <a:pt x="5136" y="2160"/>
                  </a:lnTo>
                  <a:lnTo>
                    <a:pt x="5166" y="2160"/>
                  </a:lnTo>
                  <a:lnTo>
                    <a:pt x="5172" y="2166"/>
                  </a:lnTo>
                  <a:lnTo>
                    <a:pt x="5184" y="2166"/>
                  </a:lnTo>
                  <a:lnTo>
                    <a:pt x="5196" y="2172"/>
                  </a:lnTo>
                  <a:lnTo>
                    <a:pt x="5208" y="2172"/>
                  </a:lnTo>
                  <a:lnTo>
                    <a:pt x="5220" y="2166"/>
                  </a:lnTo>
                  <a:lnTo>
                    <a:pt x="5274" y="2148"/>
                  </a:lnTo>
                  <a:lnTo>
                    <a:pt x="5322" y="2148"/>
                  </a:lnTo>
                  <a:lnTo>
                    <a:pt x="5334" y="2154"/>
                  </a:lnTo>
                  <a:lnTo>
                    <a:pt x="5340" y="2154"/>
                  </a:lnTo>
                  <a:lnTo>
                    <a:pt x="5346" y="2160"/>
                  </a:lnTo>
                  <a:lnTo>
                    <a:pt x="5382" y="2160"/>
                  </a:lnTo>
                  <a:lnTo>
                    <a:pt x="5406" y="2184"/>
                  </a:lnTo>
                  <a:lnTo>
                    <a:pt x="5466" y="2184"/>
                  </a:lnTo>
                  <a:lnTo>
                    <a:pt x="5472" y="2190"/>
                  </a:lnTo>
                  <a:lnTo>
                    <a:pt x="5472" y="2196"/>
                  </a:lnTo>
                  <a:lnTo>
                    <a:pt x="5484" y="2208"/>
                  </a:lnTo>
                  <a:lnTo>
                    <a:pt x="5484" y="2214"/>
                  </a:lnTo>
                  <a:lnTo>
                    <a:pt x="5502" y="2214"/>
                  </a:lnTo>
                  <a:lnTo>
                    <a:pt x="5514" y="2220"/>
                  </a:lnTo>
                  <a:lnTo>
                    <a:pt x="5514" y="2232"/>
                  </a:lnTo>
                  <a:lnTo>
                    <a:pt x="5520" y="2238"/>
                  </a:lnTo>
                  <a:lnTo>
                    <a:pt x="5586" y="2238"/>
                  </a:lnTo>
                  <a:lnTo>
                    <a:pt x="5592" y="2244"/>
                  </a:lnTo>
                  <a:lnTo>
                    <a:pt x="5598" y="2244"/>
                  </a:lnTo>
                  <a:lnTo>
                    <a:pt x="5610" y="2250"/>
                  </a:lnTo>
                  <a:lnTo>
                    <a:pt x="5634" y="2250"/>
                  </a:lnTo>
                  <a:lnTo>
                    <a:pt x="5646" y="2244"/>
                  </a:lnTo>
                  <a:lnTo>
                    <a:pt x="5664" y="2244"/>
                  </a:lnTo>
                  <a:lnTo>
                    <a:pt x="5670" y="2250"/>
                  </a:lnTo>
                  <a:lnTo>
                    <a:pt x="5670" y="2256"/>
                  </a:lnTo>
                  <a:lnTo>
                    <a:pt x="5676" y="2256"/>
                  </a:lnTo>
                  <a:lnTo>
                    <a:pt x="5694" y="2238"/>
                  </a:lnTo>
                  <a:lnTo>
                    <a:pt x="5694" y="2232"/>
                  </a:lnTo>
                  <a:lnTo>
                    <a:pt x="5742" y="2232"/>
                  </a:lnTo>
                  <a:lnTo>
                    <a:pt x="5754" y="2220"/>
                  </a:lnTo>
                  <a:lnTo>
                    <a:pt x="5790" y="2220"/>
                  </a:lnTo>
                  <a:lnTo>
                    <a:pt x="5802" y="2208"/>
                  </a:lnTo>
                  <a:lnTo>
                    <a:pt x="5802" y="2196"/>
                  </a:lnTo>
                  <a:lnTo>
                    <a:pt x="5832" y="2166"/>
                  </a:lnTo>
                  <a:lnTo>
                    <a:pt x="5850" y="2166"/>
                  </a:lnTo>
                  <a:lnTo>
                    <a:pt x="5862" y="2172"/>
                  </a:lnTo>
                  <a:lnTo>
                    <a:pt x="5898" y="2172"/>
                  </a:lnTo>
                  <a:lnTo>
                    <a:pt x="5916" y="2190"/>
                  </a:lnTo>
                  <a:lnTo>
                    <a:pt x="5928" y="2196"/>
                  </a:lnTo>
                  <a:lnTo>
                    <a:pt x="5952" y="2196"/>
                  </a:lnTo>
                  <a:lnTo>
                    <a:pt x="5964" y="2190"/>
                  </a:lnTo>
                  <a:lnTo>
                    <a:pt x="5970" y="2184"/>
                  </a:lnTo>
                  <a:lnTo>
                    <a:pt x="5994" y="2190"/>
                  </a:lnTo>
                  <a:lnTo>
                    <a:pt x="6012" y="2190"/>
                  </a:lnTo>
                  <a:lnTo>
                    <a:pt x="6048" y="2214"/>
                  </a:lnTo>
                  <a:lnTo>
                    <a:pt x="6084" y="2214"/>
                  </a:lnTo>
                  <a:lnTo>
                    <a:pt x="6090" y="2220"/>
                  </a:lnTo>
                  <a:lnTo>
                    <a:pt x="6102" y="2220"/>
                  </a:lnTo>
                  <a:lnTo>
                    <a:pt x="6120" y="2202"/>
                  </a:lnTo>
                  <a:lnTo>
                    <a:pt x="6120" y="2190"/>
                  </a:lnTo>
                  <a:lnTo>
                    <a:pt x="6144" y="2190"/>
                  </a:lnTo>
                  <a:lnTo>
                    <a:pt x="6156" y="2184"/>
                  </a:lnTo>
                  <a:lnTo>
                    <a:pt x="6162" y="2178"/>
                  </a:lnTo>
                  <a:lnTo>
                    <a:pt x="6162" y="2166"/>
                  </a:lnTo>
                  <a:lnTo>
                    <a:pt x="6150" y="2166"/>
                  </a:lnTo>
                  <a:lnTo>
                    <a:pt x="6144" y="2160"/>
                  </a:lnTo>
                  <a:lnTo>
                    <a:pt x="6138" y="2118"/>
                  </a:lnTo>
                  <a:lnTo>
                    <a:pt x="6138" y="2046"/>
                  </a:lnTo>
                  <a:lnTo>
                    <a:pt x="6156" y="2028"/>
                  </a:lnTo>
                  <a:lnTo>
                    <a:pt x="6156" y="2016"/>
                  </a:lnTo>
                  <a:lnTo>
                    <a:pt x="6150" y="2010"/>
                  </a:lnTo>
                  <a:lnTo>
                    <a:pt x="6138" y="2004"/>
                  </a:lnTo>
                  <a:lnTo>
                    <a:pt x="6126" y="1992"/>
                  </a:lnTo>
                  <a:lnTo>
                    <a:pt x="6114" y="1992"/>
                  </a:lnTo>
                  <a:lnTo>
                    <a:pt x="6108" y="1986"/>
                  </a:lnTo>
                  <a:lnTo>
                    <a:pt x="6096" y="1986"/>
                  </a:lnTo>
                  <a:lnTo>
                    <a:pt x="6078" y="1980"/>
                  </a:lnTo>
                  <a:lnTo>
                    <a:pt x="6072" y="1980"/>
                  </a:lnTo>
                  <a:lnTo>
                    <a:pt x="6072" y="1968"/>
                  </a:lnTo>
                  <a:lnTo>
                    <a:pt x="6078" y="1968"/>
                  </a:lnTo>
                  <a:lnTo>
                    <a:pt x="6120" y="1926"/>
                  </a:lnTo>
                  <a:lnTo>
                    <a:pt x="6156" y="1920"/>
                  </a:lnTo>
                  <a:lnTo>
                    <a:pt x="6162" y="1908"/>
                  </a:lnTo>
                  <a:lnTo>
                    <a:pt x="6204" y="1914"/>
                  </a:lnTo>
                  <a:lnTo>
                    <a:pt x="6258" y="1902"/>
                  </a:lnTo>
                  <a:lnTo>
                    <a:pt x="6294" y="1920"/>
                  </a:lnTo>
                  <a:lnTo>
                    <a:pt x="6330" y="1944"/>
                  </a:lnTo>
                  <a:lnTo>
                    <a:pt x="6402" y="1944"/>
                  </a:lnTo>
                  <a:lnTo>
                    <a:pt x="6408" y="1950"/>
                  </a:lnTo>
                  <a:lnTo>
                    <a:pt x="6420" y="1956"/>
                  </a:lnTo>
                  <a:lnTo>
                    <a:pt x="6426" y="1962"/>
                  </a:lnTo>
                  <a:lnTo>
                    <a:pt x="6438" y="1968"/>
                  </a:lnTo>
                  <a:lnTo>
                    <a:pt x="6438" y="1980"/>
                  </a:lnTo>
                  <a:lnTo>
                    <a:pt x="6444" y="1980"/>
                  </a:lnTo>
                  <a:lnTo>
                    <a:pt x="6456" y="1992"/>
                  </a:lnTo>
                  <a:lnTo>
                    <a:pt x="6468" y="1998"/>
                  </a:lnTo>
                  <a:lnTo>
                    <a:pt x="6480" y="2010"/>
                  </a:lnTo>
                  <a:lnTo>
                    <a:pt x="6492" y="2010"/>
                  </a:lnTo>
                  <a:lnTo>
                    <a:pt x="6498" y="2016"/>
                  </a:lnTo>
                  <a:lnTo>
                    <a:pt x="6504" y="2016"/>
                  </a:lnTo>
                  <a:lnTo>
                    <a:pt x="6510" y="2046"/>
                  </a:lnTo>
                  <a:lnTo>
                    <a:pt x="6558" y="2070"/>
                  </a:lnTo>
                  <a:lnTo>
                    <a:pt x="6570" y="2100"/>
                  </a:lnTo>
                  <a:lnTo>
                    <a:pt x="6582" y="2100"/>
                  </a:lnTo>
                  <a:lnTo>
                    <a:pt x="6630" y="2124"/>
                  </a:lnTo>
                  <a:lnTo>
                    <a:pt x="6636" y="2136"/>
                  </a:lnTo>
                  <a:lnTo>
                    <a:pt x="6654" y="2154"/>
                  </a:lnTo>
                  <a:lnTo>
                    <a:pt x="6660" y="2166"/>
                  </a:lnTo>
                  <a:lnTo>
                    <a:pt x="6672" y="2166"/>
                  </a:lnTo>
                  <a:lnTo>
                    <a:pt x="6678" y="2190"/>
                  </a:lnTo>
                  <a:lnTo>
                    <a:pt x="6684" y="2190"/>
                  </a:lnTo>
                  <a:lnTo>
                    <a:pt x="6690" y="2196"/>
                  </a:lnTo>
                  <a:lnTo>
                    <a:pt x="6714" y="2208"/>
                  </a:lnTo>
                  <a:lnTo>
                    <a:pt x="6720" y="2214"/>
                  </a:lnTo>
                  <a:lnTo>
                    <a:pt x="6732" y="2220"/>
                  </a:lnTo>
                  <a:lnTo>
                    <a:pt x="6780" y="2220"/>
                  </a:lnTo>
                  <a:lnTo>
                    <a:pt x="6792" y="2226"/>
                  </a:lnTo>
                  <a:lnTo>
                    <a:pt x="6798" y="2232"/>
                  </a:lnTo>
                  <a:lnTo>
                    <a:pt x="6810" y="2238"/>
                  </a:lnTo>
                  <a:lnTo>
                    <a:pt x="6822" y="2226"/>
                  </a:lnTo>
                  <a:lnTo>
                    <a:pt x="6834" y="2226"/>
                  </a:lnTo>
                  <a:lnTo>
                    <a:pt x="6852" y="2244"/>
                  </a:lnTo>
                  <a:lnTo>
                    <a:pt x="6864" y="2250"/>
                  </a:lnTo>
                  <a:lnTo>
                    <a:pt x="6882" y="2268"/>
                  </a:lnTo>
                  <a:lnTo>
                    <a:pt x="6924" y="2268"/>
                  </a:lnTo>
                  <a:lnTo>
                    <a:pt x="6942" y="2298"/>
                  </a:lnTo>
                  <a:lnTo>
                    <a:pt x="6960" y="2298"/>
                  </a:lnTo>
                  <a:lnTo>
                    <a:pt x="6966" y="2304"/>
                  </a:lnTo>
                  <a:lnTo>
                    <a:pt x="6966" y="2310"/>
                  </a:lnTo>
                  <a:lnTo>
                    <a:pt x="6972" y="2322"/>
                  </a:lnTo>
                  <a:lnTo>
                    <a:pt x="6972" y="2334"/>
                  </a:lnTo>
                  <a:lnTo>
                    <a:pt x="7014" y="2364"/>
                  </a:lnTo>
                  <a:lnTo>
                    <a:pt x="7038" y="2358"/>
                  </a:lnTo>
                  <a:lnTo>
                    <a:pt x="7050" y="2370"/>
                  </a:lnTo>
                  <a:lnTo>
                    <a:pt x="7068" y="2370"/>
                  </a:lnTo>
                  <a:lnTo>
                    <a:pt x="7068" y="2358"/>
                  </a:lnTo>
                  <a:lnTo>
                    <a:pt x="7098" y="2364"/>
                  </a:lnTo>
                  <a:lnTo>
                    <a:pt x="7098" y="2346"/>
                  </a:lnTo>
                  <a:lnTo>
                    <a:pt x="7104" y="2340"/>
                  </a:lnTo>
                  <a:lnTo>
                    <a:pt x="7110" y="2340"/>
                  </a:lnTo>
                  <a:lnTo>
                    <a:pt x="7122" y="2334"/>
                  </a:lnTo>
                  <a:lnTo>
                    <a:pt x="7152" y="2334"/>
                  </a:lnTo>
                  <a:lnTo>
                    <a:pt x="7158" y="2310"/>
                  </a:lnTo>
                  <a:lnTo>
                    <a:pt x="7200" y="2310"/>
                  </a:lnTo>
                  <a:lnTo>
                    <a:pt x="7212" y="2316"/>
                  </a:lnTo>
                  <a:lnTo>
                    <a:pt x="7218" y="2328"/>
                  </a:lnTo>
                  <a:lnTo>
                    <a:pt x="7218" y="2346"/>
                  </a:lnTo>
                  <a:lnTo>
                    <a:pt x="7242" y="2358"/>
                  </a:lnTo>
                  <a:lnTo>
                    <a:pt x="7242" y="2388"/>
                  </a:lnTo>
                  <a:lnTo>
                    <a:pt x="7224" y="2394"/>
                  </a:lnTo>
                  <a:lnTo>
                    <a:pt x="7236" y="2412"/>
                  </a:lnTo>
                  <a:lnTo>
                    <a:pt x="7236" y="2430"/>
                  </a:lnTo>
                  <a:lnTo>
                    <a:pt x="7248" y="2442"/>
                  </a:lnTo>
                  <a:lnTo>
                    <a:pt x="7248" y="2466"/>
                  </a:lnTo>
                  <a:lnTo>
                    <a:pt x="7266" y="2472"/>
                  </a:lnTo>
                  <a:lnTo>
                    <a:pt x="7260" y="2502"/>
                  </a:lnTo>
                  <a:lnTo>
                    <a:pt x="7266" y="2526"/>
                  </a:lnTo>
                  <a:lnTo>
                    <a:pt x="7260" y="2532"/>
                  </a:lnTo>
                  <a:lnTo>
                    <a:pt x="7254" y="2532"/>
                  </a:lnTo>
                  <a:lnTo>
                    <a:pt x="7254" y="2550"/>
                  </a:lnTo>
                  <a:lnTo>
                    <a:pt x="7260" y="2562"/>
                  </a:lnTo>
                  <a:lnTo>
                    <a:pt x="7260" y="2574"/>
                  </a:lnTo>
                  <a:lnTo>
                    <a:pt x="7254" y="2580"/>
                  </a:lnTo>
                  <a:lnTo>
                    <a:pt x="7248" y="2580"/>
                  </a:lnTo>
                  <a:lnTo>
                    <a:pt x="7236" y="2574"/>
                  </a:lnTo>
                  <a:lnTo>
                    <a:pt x="7224" y="2574"/>
                  </a:lnTo>
                  <a:lnTo>
                    <a:pt x="7206" y="2568"/>
                  </a:lnTo>
                  <a:lnTo>
                    <a:pt x="7194" y="2562"/>
                  </a:lnTo>
                  <a:lnTo>
                    <a:pt x="7170" y="2562"/>
                  </a:lnTo>
                  <a:lnTo>
                    <a:pt x="7164" y="2568"/>
                  </a:lnTo>
                  <a:lnTo>
                    <a:pt x="7170" y="2574"/>
                  </a:lnTo>
                  <a:lnTo>
                    <a:pt x="7170" y="2586"/>
                  </a:lnTo>
                  <a:lnTo>
                    <a:pt x="7146" y="2586"/>
                  </a:lnTo>
                  <a:lnTo>
                    <a:pt x="7146" y="2598"/>
                  </a:lnTo>
                  <a:lnTo>
                    <a:pt x="7152" y="2610"/>
                  </a:lnTo>
                  <a:lnTo>
                    <a:pt x="7158" y="2610"/>
                  </a:lnTo>
                  <a:lnTo>
                    <a:pt x="7170" y="2622"/>
                  </a:lnTo>
                  <a:lnTo>
                    <a:pt x="7182" y="2628"/>
                  </a:lnTo>
                  <a:lnTo>
                    <a:pt x="7194" y="2646"/>
                  </a:lnTo>
                  <a:lnTo>
                    <a:pt x="7206" y="2658"/>
                  </a:lnTo>
                  <a:lnTo>
                    <a:pt x="7212" y="2676"/>
                  </a:lnTo>
                  <a:lnTo>
                    <a:pt x="7212" y="2688"/>
                  </a:lnTo>
                  <a:lnTo>
                    <a:pt x="7224" y="2700"/>
                  </a:lnTo>
                  <a:lnTo>
                    <a:pt x="7230" y="2712"/>
                  </a:lnTo>
                  <a:lnTo>
                    <a:pt x="7236" y="2748"/>
                  </a:lnTo>
                  <a:lnTo>
                    <a:pt x="7206" y="2742"/>
                  </a:lnTo>
                  <a:lnTo>
                    <a:pt x="7200" y="2766"/>
                  </a:lnTo>
                  <a:lnTo>
                    <a:pt x="7224" y="2778"/>
                  </a:lnTo>
                  <a:lnTo>
                    <a:pt x="7260" y="2778"/>
                  </a:lnTo>
                  <a:lnTo>
                    <a:pt x="7260" y="2718"/>
                  </a:lnTo>
                  <a:lnTo>
                    <a:pt x="7266" y="2712"/>
                  </a:lnTo>
                  <a:lnTo>
                    <a:pt x="7272" y="2712"/>
                  </a:lnTo>
                  <a:lnTo>
                    <a:pt x="7284" y="2718"/>
                  </a:lnTo>
                  <a:lnTo>
                    <a:pt x="7290" y="2724"/>
                  </a:lnTo>
                  <a:lnTo>
                    <a:pt x="7302" y="2712"/>
                  </a:lnTo>
                  <a:lnTo>
                    <a:pt x="7308" y="2724"/>
                  </a:lnTo>
                  <a:lnTo>
                    <a:pt x="7314" y="2730"/>
                  </a:lnTo>
                  <a:lnTo>
                    <a:pt x="7320" y="2742"/>
                  </a:lnTo>
                  <a:lnTo>
                    <a:pt x="7332" y="2754"/>
                  </a:lnTo>
                  <a:lnTo>
                    <a:pt x="7344" y="2754"/>
                  </a:lnTo>
                  <a:lnTo>
                    <a:pt x="7356" y="2748"/>
                  </a:lnTo>
                  <a:lnTo>
                    <a:pt x="7368" y="2748"/>
                  </a:lnTo>
                  <a:lnTo>
                    <a:pt x="7374" y="2742"/>
                  </a:lnTo>
                  <a:lnTo>
                    <a:pt x="7380" y="2742"/>
                  </a:lnTo>
                  <a:lnTo>
                    <a:pt x="7380" y="2760"/>
                  </a:lnTo>
                  <a:lnTo>
                    <a:pt x="7386" y="2760"/>
                  </a:lnTo>
                  <a:lnTo>
                    <a:pt x="7392" y="2754"/>
                  </a:lnTo>
                  <a:lnTo>
                    <a:pt x="7404" y="2748"/>
                  </a:lnTo>
                  <a:lnTo>
                    <a:pt x="7422" y="2742"/>
                  </a:lnTo>
                  <a:lnTo>
                    <a:pt x="7440" y="2730"/>
                  </a:lnTo>
                  <a:lnTo>
                    <a:pt x="7452" y="2724"/>
                  </a:lnTo>
                  <a:lnTo>
                    <a:pt x="7464" y="2700"/>
                  </a:lnTo>
                  <a:lnTo>
                    <a:pt x="7464" y="2682"/>
                  </a:lnTo>
                  <a:lnTo>
                    <a:pt x="7470" y="2664"/>
                  </a:lnTo>
                  <a:lnTo>
                    <a:pt x="7470" y="2628"/>
                  </a:lnTo>
                  <a:lnTo>
                    <a:pt x="7494" y="2622"/>
                  </a:lnTo>
                  <a:lnTo>
                    <a:pt x="7494" y="2562"/>
                  </a:lnTo>
                  <a:lnTo>
                    <a:pt x="7500" y="2550"/>
                  </a:lnTo>
                  <a:lnTo>
                    <a:pt x="7506" y="2544"/>
                  </a:lnTo>
                  <a:lnTo>
                    <a:pt x="7518" y="2520"/>
                  </a:lnTo>
                  <a:lnTo>
                    <a:pt x="7518" y="2490"/>
                  </a:lnTo>
                  <a:lnTo>
                    <a:pt x="7524" y="2472"/>
                  </a:lnTo>
                  <a:lnTo>
                    <a:pt x="7524" y="2454"/>
                  </a:lnTo>
                  <a:lnTo>
                    <a:pt x="7518" y="2442"/>
                  </a:lnTo>
                  <a:lnTo>
                    <a:pt x="7518" y="2424"/>
                  </a:lnTo>
                  <a:lnTo>
                    <a:pt x="7512" y="2418"/>
                  </a:lnTo>
                  <a:lnTo>
                    <a:pt x="7512" y="2412"/>
                  </a:lnTo>
                  <a:lnTo>
                    <a:pt x="7518" y="2400"/>
                  </a:lnTo>
                  <a:lnTo>
                    <a:pt x="7524" y="2394"/>
                  </a:lnTo>
                  <a:lnTo>
                    <a:pt x="7524" y="2382"/>
                  </a:lnTo>
                  <a:lnTo>
                    <a:pt x="7530" y="2376"/>
                  </a:lnTo>
                  <a:lnTo>
                    <a:pt x="7530" y="2364"/>
                  </a:lnTo>
                  <a:lnTo>
                    <a:pt x="7524" y="2358"/>
                  </a:lnTo>
                  <a:lnTo>
                    <a:pt x="7518" y="2346"/>
                  </a:lnTo>
                  <a:lnTo>
                    <a:pt x="7524" y="2334"/>
                  </a:lnTo>
                  <a:lnTo>
                    <a:pt x="7530" y="2328"/>
                  </a:lnTo>
                  <a:lnTo>
                    <a:pt x="7536" y="2316"/>
                  </a:lnTo>
                  <a:lnTo>
                    <a:pt x="7536" y="2298"/>
                  </a:lnTo>
                  <a:lnTo>
                    <a:pt x="7530" y="2292"/>
                  </a:lnTo>
                  <a:lnTo>
                    <a:pt x="7530" y="2280"/>
                  </a:lnTo>
                  <a:lnTo>
                    <a:pt x="7518" y="2256"/>
                  </a:lnTo>
                  <a:lnTo>
                    <a:pt x="7512" y="2250"/>
                  </a:lnTo>
                  <a:lnTo>
                    <a:pt x="7512" y="2238"/>
                  </a:lnTo>
                  <a:lnTo>
                    <a:pt x="7506" y="2232"/>
                  </a:lnTo>
                  <a:lnTo>
                    <a:pt x="7506" y="2220"/>
                  </a:lnTo>
                  <a:lnTo>
                    <a:pt x="7500" y="2214"/>
                  </a:lnTo>
                  <a:lnTo>
                    <a:pt x="7500" y="2202"/>
                  </a:lnTo>
                  <a:lnTo>
                    <a:pt x="7494" y="2196"/>
                  </a:lnTo>
                  <a:lnTo>
                    <a:pt x="7482" y="2190"/>
                  </a:lnTo>
                  <a:lnTo>
                    <a:pt x="7476" y="2184"/>
                  </a:lnTo>
                  <a:lnTo>
                    <a:pt x="7482" y="2178"/>
                  </a:lnTo>
                  <a:lnTo>
                    <a:pt x="7476" y="2178"/>
                  </a:lnTo>
                  <a:lnTo>
                    <a:pt x="7470" y="2172"/>
                  </a:lnTo>
                  <a:lnTo>
                    <a:pt x="7458" y="2166"/>
                  </a:lnTo>
                  <a:lnTo>
                    <a:pt x="7446" y="2154"/>
                  </a:lnTo>
                  <a:lnTo>
                    <a:pt x="7440" y="2142"/>
                  </a:lnTo>
                  <a:lnTo>
                    <a:pt x="7434" y="2124"/>
                  </a:lnTo>
                  <a:lnTo>
                    <a:pt x="7434" y="2112"/>
                  </a:lnTo>
                  <a:lnTo>
                    <a:pt x="7428" y="2106"/>
                  </a:lnTo>
                  <a:lnTo>
                    <a:pt x="7428" y="2100"/>
                  </a:lnTo>
                  <a:lnTo>
                    <a:pt x="7416" y="2094"/>
                  </a:lnTo>
                  <a:lnTo>
                    <a:pt x="7416" y="2082"/>
                  </a:lnTo>
                  <a:lnTo>
                    <a:pt x="7422" y="2070"/>
                  </a:lnTo>
                  <a:lnTo>
                    <a:pt x="7422" y="2040"/>
                  </a:lnTo>
                  <a:lnTo>
                    <a:pt x="7410" y="2028"/>
                  </a:lnTo>
                  <a:lnTo>
                    <a:pt x="7404" y="2016"/>
                  </a:lnTo>
                  <a:lnTo>
                    <a:pt x="7398" y="2010"/>
                  </a:lnTo>
                  <a:lnTo>
                    <a:pt x="7380" y="2004"/>
                  </a:lnTo>
                  <a:lnTo>
                    <a:pt x="7380" y="1998"/>
                  </a:lnTo>
                  <a:lnTo>
                    <a:pt x="7374" y="1992"/>
                  </a:lnTo>
                  <a:lnTo>
                    <a:pt x="7368" y="1980"/>
                  </a:lnTo>
                  <a:lnTo>
                    <a:pt x="7356" y="1968"/>
                  </a:lnTo>
                  <a:lnTo>
                    <a:pt x="7344" y="1968"/>
                  </a:lnTo>
                  <a:lnTo>
                    <a:pt x="7332" y="1956"/>
                  </a:lnTo>
                  <a:lnTo>
                    <a:pt x="7326" y="1956"/>
                  </a:lnTo>
                  <a:lnTo>
                    <a:pt x="7308" y="1950"/>
                  </a:lnTo>
                  <a:lnTo>
                    <a:pt x="7302" y="1938"/>
                  </a:lnTo>
                  <a:lnTo>
                    <a:pt x="7308" y="1938"/>
                  </a:lnTo>
                  <a:lnTo>
                    <a:pt x="7314" y="1944"/>
                  </a:lnTo>
                  <a:lnTo>
                    <a:pt x="7326" y="1944"/>
                  </a:lnTo>
                  <a:lnTo>
                    <a:pt x="7332" y="1950"/>
                  </a:lnTo>
                  <a:lnTo>
                    <a:pt x="7344" y="1950"/>
                  </a:lnTo>
                  <a:lnTo>
                    <a:pt x="7350" y="1944"/>
                  </a:lnTo>
                  <a:lnTo>
                    <a:pt x="7350" y="1938"/>
                  </a:lnTo>
                  <a:lnTo>
                    <a:pt x="7344" y="1938"/>
                  </a:lnTo>
                  <a:lnTo>
                    <a:pt x="7332" y="1932"/>
                  </a:lnTo>
                  <a:lnTo>
                    <a:pt x="7326" y="1926"/>
                  </a:lnTo>
                  <a:lnTo>
                    <a:pt x="7320" y="1926"/>
                  </a:lnTo>
                  <a:lnTo>
                    <a:pt x="7242" y="1890"/>
                  </a:lnTo>
                  <a:lnTo>
                    <a:pt x="7236" y="1890"/>
                  </a:lnTo>
                  <a:lnTo>
                    <a:pt x="7230" y="1884"/>
                  </a:lnTo>
                  <a:lnTo>
                    <a:pt x="7218" y="1878"/>
                  </a:lnTo>
                  <a:lnTo>
                    <a:pt x="7206" y="1866"/>
                  </a:lnTo>
                  <a:lnTo>
                    <a:pt x="7194" y="1860"/>
                  </a:lnTo>
                  <a:lnTo>
                    <a:pt x="7188" y="1854"/>
                  </a:lnTo>
                  <a:lnTo>
                    <a:pt x="7170" y="1854"/>
                  </a:lnTo>
                  <a:lnTo>
                    <a:pt x="7164" y="1860"/>
                  </a:lnTo>
                  <a:lnTo>
                    <a:pt x="7152" y="1866"/>
                  </a:lnTo>
                  <a:lnTo>
                    <a:pt x="7116" y="1854"/>
                  </a:lnTo>
                  <a:lnTo>
                    <a:pt x="7152" y="1896"/>
                  </a:lnTo>
                  <a:lnTo>
                    <a:pt x="7146" y="1920"/>
                  </a:lnTo>
                  <a:lnTo>
                    <a:pt x="7134" y="1920"/>
                  </a:lnTo>
                  <a:lnTo>
                    <a:pt x="7134" y="1890"/>
                  </a:lnTo>
                  <a:lnTo>
                    <a:pt x="7116" y="1878"/>
                  </a:lnTo>
                  <a:lnTo>
                    <a:pt x="7116" y="1908"/>
                  </a:lnTo>
                  <a:lnTo>
                    <a:pt x="7068" y="1908"/>
                  </a:lnTo>
                  <a:lnTo>
                    <a:pt x="7074" y="1902"/>
                  </a:lnTo>
                  <a:lnTo>
                    <a:pt x="7074" y="1884"/>
                  </a:lnTo>
                  <a:lnTo>
                    <a:pt x="7068" y="1878"/>
                  </a:lnTo>
                  <a:lnTo>
                    <a:pt x="7044" y="1878"/>
                  </a:lnTo>
                  <a:lnTo>
                    <a:pt x="7038" y="1890"/>
                  </a:lnTo>
                  <a:lnTo>
                    <a:pt x="7014" y="1890"/>
                  </a:lnTo>
                  <a:lnTo>
                    <a:pt x="7002" y="1854"/>
                  </a:lnTo>
                  <a:lnTo>
                    <a:pt x="6996" y="1854"/>
                  </a:lnTo>
                  <a:lnTo>
                    <a:pt x="6984" y="1830"/>
                  </a:lnTo>
                  <a:lnTo>
                    <a:pt x="6912" y="1836"/>
                  </a:lnTo>
                  <a:lnTo>
                    <a:pt x="6906" y="1824"/>
                  </a:lnTo>
                  <a:lnTo>
                    <a:pt x="6882" y="1824"/>
                  </a:lnTo>
                  <a:lnTo>
                    <a:pt x="6870" y="1818"/>
                  </a:lnTo>
                  <a:lnTo>
                    <a:pt x="6864" y="1812"/>
                  </a:lnTo>
                  <a:lnTo>
                    <a:pt x="6864" y="1794"/>
                  </a:lnTo>
                  <a:lnTo>
                    <a:pt x="6876" y="1788"/>
                  </a:lnTo>
                  <a:lnTo>
                    <a:pt x="6888" y="1776"/>
                  </a:lnTo>
                  <a:lnTo>
                    <a:pt x="6900" y="1776"/>
                  </a:lnTo>
                  <a:lnTo>
                    <a:pt x="6900" y="1752"/>
                  </a:lnTo>
                  <a:lnTo>
                    <a:pt x="6906" y="1752"/>
                  </a:lnTo>
                  <a:lnTo>
                    <a:pt x="6918" y="1746"/>
                  </a:lnTo>
                  <a:lnTo>
                    <a:pt x="6930" y="1734"/>
                  </a:lnTo>
                  <a:lnTo>
                    <a:pt x="6930" y="1728"/>
                  </a:lnTo>
                  <a:lnTo>
                    <a:pt x="6936" y="1716"/>
                  </a:lnTo>
                  <a:lnTo>
                    <a:pt x="6936" y="1710"/>
                  </a:lnTo>
                  <a:lnTo>
                    <a:pt x="6942" y="1698"/>
                  </a:lnTo>
                  <a:lnTo>
                    <a:pt x="6930" y="1686"/>
                  </a:lnTo>
                  <a:lnTo>
                    <a:pt x="6942" y="1662"/>
                  </a:lnTo>
                  <a:lnTo>
                    <a:pt x="6930" y="1650"/>
                  </a:lnTo>
                  <a:lnTo>
                    <a:pt x="6948" y="1632"/>
                  </a:lnTo>
                  <a:lnTo>
                    <a:pt x="6972" y="1626"/>
                  </a:lnTo>
                  <a:lnTo>
                    <a:pt x="6960" y="1596"/>
                  </a:lnTo>
                  <a:lnTo>
                    <a:pt x="6984" y="1590"/>
                  </a:lnTo>
                  <a:lnTo>
                    <a:pt x="6960" y="1554"/>
                  </a:lnTo>
                  <a:lnTo>
                    <a:pt x="6990" y="1542"/>
                  </a:lnTo>
                  <a:lnTo>
                    <a:pt x="6990" y="1500"/>
                  </a:lnTo>
                  <a:lnTo>
                    <a:pt x="6996" y="1488"/>
                  </a:lnTo>
                  <a:lnTo>
                    <a:pt x="7002" y="1482"/>
                  </a:lnTo>
                  <a:lnTo>
                    <a:pt x="7020" y="1470"/>
                  </a:lnTo>
                  <a:lnTo>
                    <a:pt x="7032" y="1464"/>
                  </a:lnTo>
                  <a:lnTo>
                    <a:pt x="7050" y="1464"/>
                  </a:lnTo>
                  <a:lnTo>
                    <a:pt x="7068" y="1470"/>
                  </a:lnTo>
                  <a:lnTo>
                    <a:pt x="7188" y="1470"/>
                  </a:lnTo>
                  <a:lnTo>
                    <a:pt x="7206" y="1488"/>
                  </a:lnTo>
                  <a:lnTo>
                    <a:pt x="7224" y="1482"/>
                  </a:lnTo>
                  <a:lnTo>
                    <a:pt x="7218" y="1464"/>
                  </a:lnTo>
                  <a:lnTo>
                    <a:pt x="7290" y="1482"/>
                  </a:lnTo>
                  <a:lnTo>
                    <a:pt x="7320" y="1464"/>
                  </a:lnTo>
                  <a:lnTo>
                    <a:pt x="7350" y="1488"/>
                  </a:lnTo>
                  <a:lnTo>
                    <a:pt x="7356" y="1452"/>
                  </a:lnTo>
                  <a:lnTo>
                    <a:pt x="7434" y="1452"/>
                  </a:lnTo>
                  <a:lnTo>
                    <a:pt x="7446" y="1458"/>
                  </a:lnTo>
                  <a:lnTo>
                    <a:pt x="7452" y="1470"/>
                  </a:lnTo>
                  <a:lnTo>
                    <a:pt x="7458" y="1470"/>
                  </a:lnTo>
                  <a:lnTo>
                    <a:pt x="7464" y="1464"/>
                  </a:lnTo>
                  <a:lnTo>
                    <a:pt x="7476" y="1464"/>
                  </a:lnTo>
                  <a:lnTo>
                    <a:pt x="7482" y="1458"/>
                  </a:lnTo>
                  <a:lnTo>
                    <a:pt x="7494" y="1452"/>
                  </a:lnTo>
                  <a:lnTo>
                    <a:pt x="7518" y="1470"/>
                  </a:lnTo>
                  <a:lnTo>
                    <a:pt x="7560" y="1476"/>
                  </a:lnTo>
                  <a:lnTo>
                    <a:pt x="7506" y="1488"/>
                  </a:lnTo>
                  <a:lnTo>
                    <a:pt x="7506" y="1494"/>
                  </a:lnTo>
                  <a:lnTo>
                    <a:pt x="7512" y="1500"/>
                  </a:lnTo>
                  <a:lnTo>
                    <a:pt x="7524" y="1506"/>
                  </a:lnTo>
                  <a:lnTo>
                    <a:pt x="7530" y="1512"/>
                  </a:lnTo>
                  <a:lnTo>
                    <a:pt x="7542" y="1512"/>
                  </a:lnTo>
                  <a:lnTo>
                    <a:pt x="7548" y="1506"/>
                  </a:lnTo>
                  <a:lnTo>
                    <a:pt x="7560" y="1506"/>
                  </a:lnTo>
                  <a:lnTo>
                    <a:pt x="7572" y="1500"/>
                  </a:lnTo>
                  <a:lnTo>
                    <a:pt x="7578" y="1494"/>
                  </a:lnTo>
                  <a:lnTo>
                    <a:pt x="7584" y="1494"/>
                  </a:lnTo>
                  <a:lnTo>
                    <a:pt x="7614" y="1506"/>
                  </a:lnTo>
                  <a:lnTo>
                    <a:pt x="7638" y="1488"/>
                  </a:lnTo>
                  <a:lnTo>
                    <a:pt x="7644" y="1488"/>
                  </a:lnTo>
                  <a:lnTo>
                    <a:pt x="7650" y="1494"/>
                  </a:lnTo>
                  <a:lnTo>
                    <a:pt x="7686" y="1494"/>
                  </a:lnTo>
                  <a:lnTo>
                    <a:pt x="7692" y="1488"/>
                  </a:lnTo>
                  <a:lnTo>
                    <a:pt x="7692" y="1476"/>
                  </a:lnTo>
                  <a:lnTo>
                    <a:pt x="7728" y="1482"/>
                  </a:lnTo>
                  <a:lnTo>
                    <a:pt x="7680" y="1452"/>
                  </a:lnTo>
                  <a:lnTo>
                    <a:pt x="7650" y="1464"/>
                  </a:lnTo>
                  <a:lnTo>
                    <a:pt x="7644" y="1446"/>
                  </a:lnTo>
                  <a:lnTo>
                    <a:pt x="7638" y="1434"/>
                  </a:lnTo>
                  <a:lnTo>
                    <a:pt x="7632" y="1428"/>
                  </a:lnTo>
                  <a:lnTo>
                    <a:pt x="7626" y="1416"/>
                  </a:lnTo>
                  <a:lnTo>
                    <a:pt x="7626" y="1398"/>
                  </a:lnTo>
                  <a:lnTo>
                    <a:pt x="7650" y="1374"/>
                  </a:lnTo>
                  <a:lnTo>
                    <a:pt x="7644" y="1344"/>
                  </a:lnTo>
                  <a:lnTo>
                    <a:pt x="7662" y="1332"/>
                  </a:lnTo>
                  <a:lnTo>
                    <a:pt x="7650" y="1326"/>
                  </a:lnTo>
                  <a:lnTo>
                    <a:pt x="7638" y="1314"/>
                  </a:lnTo>
                  <a:lnTo>
                    <a:pt x="7638" y="1302"/>
                  </a:lnTo>
                  <a:lnTo>
                    <a:pt x="7644" y="1296"/>
                  </a:lnTo>
                  <a:lnTo>
                    <a:pt x="7662" y="1290"/>
                  </a:lnTo>
                  <a:lnTo>
                    <a:pt x="7698" y="1290"/>
                  </a:lnTo>
                  <a:lnTo>
                    <a:pt x="7710" y="1296"/>
                  </a:lnTo>
                  <a:lnTo>
                    <a:pt x="7728" y="1296"/>
                  </a:lnTo>
                  <a:lnTo>
                    <a:pt x="7746" y="1278"/>
                  </a:lnTo>
                  <a:lnTo>
                    <a:pt x="7782" y="1308"/>
                  </a:lnTo>
                  <a:lnTo>
                    <a:pt x="7806" y="1290"/>
                  </a:lnTo>
                  <a:lnTo>
                    <a:pt x="7812" y="1302"/>
                  </a:lnTo>
                  <a:lnTo>
                    <a:pt x="7818" y="1308"/>
                  </a:lnTo>
                  <a:lnTo>
                    <a:pt x="7830" y="1332"/>
                  </a:lnTo>
                  <a:lnTo>
                    <a:pt x="7830" y="1338"/>
                  </a:lnTo>
                  <a:lnTo>
                    <a:pt x="7836" y="1344"/>
                  </a:lnTo>
                  <a:lnTo>
                    <a:pt x="7878" y="1344"/>
                  </a:lnTo>
                  <a:lnTo>
                    <a:pt x="7878" y="1362"/>
                  </a:lnTo>
                  <a:lnTo>
                    <a:pt x="7884" y="1374"/>
                  </a:lnTo>
                  <a:lnTo>
                    <a:pt x="7890" y="1380"/>
                  </a:lnTo>
                  <a:lnTo>
                    <a:pt x="7896" y="1380"/>
                  </a:lnTo>
                  <a:lnTo>
                    <a:pt x="7914" y="1362"/>
                  </a:lnTo>
                  <a:lnTo>
                    <a:pt x="7932" y="1326"/>
                  </a:lnTo>
                  <a:lnTo>
                    <a:pt x="7938" y="1320"/>
                  </a:lnTo>
                  <a:lnTo>
                    <a:pt x="7938" y="1314"/>
                  </a:lnTo>
                  <a:lnTo>
                    <a:pt x="7962" y="1302"/>
                  </a:lnTo>
                  <a:lnTo>
                    <a:pt x="7992" y="1314"/>
                  </a:lnTo>
                  <a:lnTo>
                    <a:pt x="7986" y="1302"/>
                  </a:lnTo>
                  <a:lnTo>
                    <a:pt x="7962" y="1284"/>
                  </a:lnTo>
                  <a:lnTo>
                    <a:pt x="7956" y="1278"/>
                  </a:lnTo>
                  <a:lnTo>
                    <a:pt x="7932" y="1266"/>
                  </a:lnTo>
                  <a:lnTo>
                    <a:pt x="7926" y="1254"/>
                  </a:lnTo>
                  <a:lnTo>
                    <a:pt x="7914" y="1248"/>
                  </a:lnTo>
                  <a:lnTo>
                    <a:pt x="7908" y="1242"/>
                  </a:lnTo>
                  <a:lnTo>
                    <a:pt x="7908" y="1230"/>
                  </a:lnTo>
                  <a:lnTo>
                    <a:pt x="7962" y="1230"/>
                  </a:lnTo>
                  <a:lnTo>
                    <a:pt x="7992" y="1236"/>
                  </a:lnTo>
                  <a:lnTo>
                    <a:pt x="8052" y="1236"/>
                  </a:lnTo>
                  <a:lnTo>
                    <a:pt x="8052" y="1254"/>
                  </a:lnTo>
                  <a:lnTo>
                    <a:pt x="8040" y="1254"/>
                  </a:lnTo>
                  <a:lnTo>
                    <a:pt x="8028" y="1248"/>
                  </a:lnTo>
                  <a:lnTo>
                    <a:pt x="7992" y="1248"/>
                  </a:lnTo>
                  <a:lnTo>
                    <a:pt x="7992" y="1266"/>
                  </a:lnTo>
                  <a:lnTo>
                    <a:pt x="8016" y="1290"/>
                  </a:lnTo>
                  <a:lnTo>
                    <a:pt x="8028" y="1296"/>
                  </a:lnTo>
                  <a:lnTo>
                    <a:pt x="8034" y="1320"/>
                  </a:lnTo>
                  <a:lnTo>
                    <a:pt x="8064" y="1326"/>
                  </a:lnTo>
                  <a:lnTo>
                    <a:pt x="8058" y="1344"/>
                  </a:lnTo>
                  <a:lnTo>
                    <a:pt x="8076" y="1362"/>
                  </a:lnTo>
                  <a:lnTo>
                    <a:pt x="8046" y="1368"/>
                  </a:lnTo>
                  <a:lnTo>
                    <a:pt x="8040" y="1380"/>
                  </a:lnTo>
                  <a:lnTo>
                    <a:pt x="8022" y="1386"/>
                  </a:lnTo>
                  <a:lnTo>
                    <a:pt x="8028" y="1398"/>
                  </a:lnTo>
                  <a:lnTo>
                    <a:pt x="8028" y="1404"/>
                  </a:lnTo>
                  <a:lnTo>
                    <a:pt x="8034" y="1416"/>
                  </a:lnTo>
                  <a:lnTo>
                    <a:pt x="8034" y="1440"/>
                  </a:lnTo>
                  <a:lnTo>
                    <a:pt x="8028" y="1452"/>
                  </a:lnTo>
                  <a:lnTo>
                    <a:pt x="8016" y="1464"/>
                  </a:lnTo>
                  <a:lnTo>
                    <a:pt x="8004" y="1488"/>
                  </a:lnTo>
                  <a:lnTo>
                    <a:pt x="8004" y="1506"/>
                  </a:lnTo>
                  <a:lnTo>
                    <a:pt x="8010" y="1506"/>
                  </a:lnTo>
                  <a:lnTo>
                    <a:pt x="8016" y="1512"/>
                  </a:lnTo>
                  <a:lnTo>
                    <a:pt x="8022" y="1524"/>
                  </a:lnTo>
                  <a:lnTo>
                    <a:pt x="8016" y="1530"/>
                  </a:lnTo>
                  <a:lnTo>
                    <a:pt x="8010" y="1542"/>
                  </a:lnTo>
                  <a:lnTo>
                    <a:pt x="7986" y="1566"/>
                  </a:lnTo>
                  <a:lnTo>
                    <a:pt x="7974" y="1572"/>
                  </a:lnTo>
                  <a:lnTo>
                    <a:pt x="7968" y="1578"/>
                  </a:lnTo>
                  <a:lnTo>
                    <a:pt x="7962" y="1578"/>
                  </a:lnTo>
                  <a:lnTo>
                    <a:pt x="7962" y="1596"/>
                  </a:lnTo>
                  <a:lnTo>
                    <a:pt x="7944" y="1596"/>
                  </a:lnTo>
                  <a:lnTo>
                    <a:pt x="7950" y="1596"/>
                  </a:lnTo>
                  <a:lnTo>
                    <a:pt x="7956" y="1602"/>
                  </a:lnTo>
                  <a:lnTo>
                    <a:pt x="7968" y="1608"/>
                  </a:lnTo>
                  <a:lnTo>
                    <a:pt x="7980" y="1632"/>
                  </a:lnTo>
                  <a:lnTo>
                    <a:pt x="7974" y="1650"/>
                  </a:lnTo>
                  <a:lnTo>
                    <a:pt x="7974" y="1662"/>
                  </a:lnTo>
                  <a:lnTo>
                    <a:pt x="7968" y="1674"/>
                  </a:lnTo>
                  <a:lnTo>
                    <a:pt x="7968" y="1686"/>
                  </a:lnTo>
                  <a:lnTo>
                    <a:pt x="7974" y="1704"/>
                  </a:lnTo>
                  <a:lnTo>
                    <a:pt x="7992" y="1722"/>
                  </a:lnTo>
                  <a:lnTo>
                    <a:pt x="8016" y="1752"/>
                  </a:lnTo>
                  <a:lnTo>
                    <a:pt x="8046" y="1776"/>
                  </a:lnTo>
                  <a:lnTo>
                    <a:pt x="8070" y="1800"/>
                  </a:lnTo>
                  <a:lnTo>
                    <a:pt x="8082" y="1806"/>
                  </a:lnTo>
                  <a:lnTo>
                    <a:pt x="8142" y="1872"/>
                  </a:lnTo>
                  <a:lnTo>
                    <a:pt x="8154" y="1866"/>
                  </a:lnTo>
                  <a:lnTo>
                    <a:pt x="8238" y="1962"/>
                  </a:lnTo>
                  <a:lnTo>
                    <a:pt x="8286" y="1980"/>
                  </a:lnTo>
                  <a:lnTo>
                    <a:pt x="8310" y="2004"/>
                  </a:lnTo>
                  <a:lnTo>
                    <a:pt x="8316" y="2016"/>
                  </a:lnTo>
                  <a:lnTo>
                    <a:pt x="8328" y="2022"/>
                  </a:lnTo>
                  <a:lnTo>
                    <a:pt x="8334" y="2034"/>
                  </a:lnTo>
                  <a:lnTo>
                    <a:pt x="8388" y="2088"/>
                  </a:lnTo>
                  <a:lnTo>
                    <a:pt x="8406" y="2088"/>
                  </a:lnTo>
                  <a:lnTo>
                    <a:pt x="8406" y="2106"/>
                  </a:lnTo>
                  <a:lnTo>
                    <a:pt x="8418" y="2106"/>
                  </a:lnTo>
                  <a:lnTo>
                    <a:pt x="8430" y="2100"/>
                  </a:lnTo>
                  <a:lnTo>
                    <a:pt x="8436" y="2094"/>
                  </a:lnTo>
                  <a:lnTo>
                    <a:pt x="8442" y="2082"/>
                  </a:lnTo>
                  <a:lnTo>
                    <a:pt x="8442" y="2076"/>
                  </a:lnTo>
                  <a:lnTo>
                    <a:pt x="8430" y="2064"/>
                  </a:lnTo>
                  <a:lnTo>
                    <a:pt x="8436" y="2058"/>
                  </a:lnTo>
                  <a:lnTo>
                    <a:pt x="8442" y="2046"/>
                  </a:lnTo>
                  <a:lnTo>
                    <a:pt x="8448" y="2040"/>
                  </a:lnTo>
                  <a:lnTo>
                    <a:pt x="8448" y="2022"/>
                  </a:lnTo>
                  <a:lnTo>
                    <a:pt x="8430" y="2004"/>
                  </a:lnTo>
                  <a:lnTo>
                    <a:pt x="8418" y="1998"/>
                  </a:lnTo>
                  <a:lnTo>
                    <a:pt x="8406" y="1974"/>
                  </a:lnTo>
                  <a:lnTo>
                    <a:pt x="8406" y="1962"/>
                  </a:lnTo>
                  <a:lnTo>
                    <a:pt x="8412" y="1950"/>
                  </a:lnTo>
                  <a:lnTo>
                    <a:pt x="8430" y="1932"/>
                  </a:lnTo>
                  <a:lnTo>
                    <a:pt x="8442" y="1932"/>
                  </a:lnTo>
                  <a:lnTo>
                    <a:pt x="8454" y="1938"/>
                  </a:lnTo>
                  <a:lnTo>
                    <a:pt x="8460" y="1938"/>
                  </a:lnTo>
                  <a:lnTo>
                    <a:pt x="8466" y="1944"/>
                  </a:lnTo>
                  <a:lnTo>
                    <a:pt x="8472" y="1944"/>
                  </a:lnTo>
                  <a:lnTo>
                    <a:pt x="8466" y="1938"/>
                  </a:lnTo>
                  <a:lnTo>
                    <a:pt x="8460" y="1926"/>
                  </a:lnTo>
                  <a:lnTo>
                    <a:pt x="8448" y="1920"/>
                  </a:lnTo>
                  <a:lnTo>
                    <a:pt x="8442" y="1908"/>
                  </a:lnTo>
                  <a:lnTo>
                    <a:pt x="8424" y="1890"/>
                  </a:lnTo>
                  <a:lnTo>
                    <a:pt x="8412" y="1890"/>
                  </a:lnTo>
                  <a:lnTo>
                    <a:pt x="8406" y="1884"/>
                  </a:lnTo>
                  <a:lnTo>
                    <a:pt x="8400" y="1872"/>
                  </a:lnTo>
                  <a:lnTo>
                    <a:pt x="8400" y="1860"/>
                  </a:lnTo>
                  <a:lnTo>
                    <a:pt x="8406" y="1848"/>
                  </a:lnTo>
                  <a:lnTo>
                    <a:pt x="8412" y="1842"/>
                  </a:lnTo>
                  <a:lnTo>
                    <a:pt x="8424" y="1836"/>
                  </a:lnTo>
                  <a:lnTo>
                    <a:pt x="8430" y="1830"/>
                  </a:lnTo>
                  <a:lnTo>
                    <a:pt x="8442" y="1836"/>
                  </a:lnTo>
                  <a:lnTo>
                    <a:pt x="8466" y="1836"/>
                  </a:lnTo>
                  <a:lnTo>
                    <a:pt x="8472" y="1830"/>
                  </a:lnTo>
                  <a:lnTo>
                    <a:pt x="8472" y="1812"/>
                  </a:lnTo>
                  <a:lnTo>
                    <a:pt x="8454" y="1794"/>
                  </a:lnTo>
                  <a:lnTo>
                    <a:pt x="8436" y="1788"/>
                  </a:lnTo>
                  <a:lnTo>
                    <a:pt x="8424" y="1782"/>
                  </a:lnTo>
                  <a:lnTo>
                    <a:pt x="8406" y="1770"/>
                  </a:lnTo>
                  <a:lnTo>
                    <a:pt x="8394" y="1758"/>
                  </a:lnTo>
                  <a:lnTo>
                    <a:pt x="8388" y="1740"/>
                  </a:lnTo>
                  <a:lnTo>
                    <a:pt x="8376" y="1716"/>
                  </a:lnTo>
                  <a:lnTo>
                    <a:pt x="8376" y="1704"/>
                  </a:lnTo>
                  <a:lnTo>
                    <a:pt x="8370" y="1698"/>
                  </a:lnTo>
                  <a:lnTo>
                    <a:pt x="8370" y="1692"/>
                  </a:lnTo>
                  <a:lnTo>
                    <a:pt x="8382" y="1686"/>
                  </a:lnTo>
                  <a:lnTo>
                    <a:pt x="8406" y="1710"/>
                  </a:lnTo>
                  <a:lnTo>
                    <a:pt x="8418" y="1716"/>
                  </a:lnTo>
                  <a:lnTo>
                    <a:pt x="8430" y="1716"/>
                  </a:lnTo>
                  <a:lnTo>
                    <a:pt x="8430" y="1710"/>
                  </a:lnTo>
                  <a:lnTo>
                    <a:pt x="8424" y="1704"/>
                  </a:lnTo>
                  <a:lnTo>
                    <a:pt x="8418" y="1692"/>
                  </a:lnTo>
                  <a:lnTo>
                    <a:pt x="8412" y="1686"/>
                  </a:lnTo>
                  <a:lnTo>
                    <a:pt x="8406" y="1674"/>
                  </a:lnTo>
                  <a:lnTo>
                    <a:pt x="8400" y="1668"/>
                  </a:lnTo>
                  <a:lnTo>
                    <a:pt x="8364" y="1668"/>
                  </a:lnTo>
                  <a:lnTo>
                    <a:pt x="8316" y="1626"/>
                  </a:lnTo>
                  <a:lnTo>
                    <a:pt x="8316" y="1596"/>
                  </a:lnTo>
                  <a:lnTo>
                    <a:pt x="8310" y="1590"/>
                  </a:lnTo>
                  <a:lnTo>
                    <a:pt x="8298" y="1584"/>
                  </a:lnTo>
                  <a:lnTo>
                    <a:pt x="8280" y="1578"/>
                  </a:lnTo>
                  <a:lnTo>
                    <a:pt x="8268" y="1572"/>
                  </a:lnTo>
                  <a:lnTo>
                    <a:pt x="8256" y="1572"/>
                  </a:lnTo>
                  <a:lnTo>
                    <a:pt x="8256" y="1590"/>
                  </a:lnTo>
                  <a:lnTo>
                    <a:pt x="8250" y="1590"/>
                  </a:lnTo>
                  <a:lnTo>
                    <a:pt x="8244" y="1584"/>
                  </a:lnTo>
                  <a:lnTo>
                    <a:pt x="8232" y="1584"/>
                  </a:lnTo>
                  <a:lnTo>
                    <a:pt x="8214" y="1572"/>
                  </a:lnTo>
                  <a:lnTo>
                    <a:pt x="8202" y="1566"/>
                  </a:lnTo>
                  <a:lnTo>
                    <a:pt x="8196" y="1560"/>
                  </a:lnTo>
                  <a:lnTo>
                    <a:pt x="8190" y="1548"/>
                  </a:lnTo>
                  <a:lnTo>
                    <a:pt x="8190" y="1536"/>
                  </a:lnTo>
                  <a:lnTo>
                    <a:pt x="8196" y="1524"/>
                  </a:lnTo>
                  <a:lnTo>
                    <a:pt x="8196" y="1500"/>
                  </a:lnTo>
                  <a:lnTo>
                    <a:pt x="8184" y="1476"/>
                  </a:lnTo>
                  <a:lnTo>
                    <a:pt x="8166" y="1458"/>
                  </a:lnTo>
                  <a:lnTo>
                    <a:pt x="8154" y="1452"/>
                  </a:lnTo>
                  <a:lnTo>
                    <a:pt x="8154" y="1434"/>
                  </a:lnTo>
                  <a:lnTo>
                    <a:pt x="8160" y="1428"/>
                  </a:lnTo>
                  <a:lnTo>
                    <a:pt x="8172" y="1428"/>
                  </a:lnTo>
                  <a:lnTo>
                    <a:pt x="8184" y="1434"/>
                  </a:lnTo>
                  <a:lnTo>
                    <a:pt x="8196" y="1416"/>
                  </a:lnTo>
                  <a:lnTo>
                    <a:pt x="8232" y="1446"/>
                  </a:lnTo>
                  <a:lnTo>
                    <a:pt x="8238" y="1440"/>
                  </a:lnTo>
                  <a:lnTo>
                    <a:pt x="8226" y="1428"/>
                  </a:lnTo>
                  <a:lnTo>
                    <a:pt x="8226" y="1422"/>
                  </a:lnTo>
                  <a:lnTo>
                    <a:pt x="8232" y="1416"/>
                  </a:lnTo>
                  <a:lnTo>
                    <a:pt x="8232" y="1404"/>
                  </a:lnTo>
                  <a:lnTo>
                    <a:pt x="8238" y="1392"/>
                  </a:lnTo>
                  <a:lnTo>
                    <a:pt x="8250" y="1386"/>
                  </a:lnTo>
                  <a:lnTo>
                    <a:pt x="8256" y="1386"/>
                  </a:lnTo>
                  <a:lnTo>
                    <a:pt x="8274" y="1404"/>
                  </a:lnTo>
                  <a:lnTo>
                    <a:pt x="8280" y="1416"/>
                  </a:lnTo>
                  <a:lnTo>
                    <a:pt x="8292" y="1428"/>
                  </a:lnTo>
                  <a:lnTo>
                    <a:pt x="8304" y="1434"/>
                  </a:lnTo>
                  <a:lnTo>
                    <a:pt x="8310" y="1446"/>
                  </a:lnTo>
                  <a:lnTo>
                    <a:pt x="8322" y="1398"/>
                  </a:lnTo>
                  <a:lnTo>
                    <a:pt x="8334" y="1398"/>
                  </a:lnTo>
                  <a:lnTo>
                    <a:pt x="8364" y="1392"/>
                  </a:lnTo>
                  <a:lnTo>
                    <a:pt x="8400" y="1386"/>
                  </a:lnTo>
                  <a:lnTo>
                    <a:pt x="8430" y="1386"/>
                  </a:lnTo>
                  <a:lnTo>
                    <a:pt x="8478" y="1410"/>
                  </a:lnTo>
                  <a:lnTo>
                    <a:pt x="8484" y="1416"/>
                  </a:lnTo>
                  <a:lnTo>
                    <a:pt x="8490" y="1416"/>
                  </a:lnTo>
                  <a:lnTo>
                    <a:pt x="8532" y="1434"/>
                  </a:lnTo>
                  <a:lnTo>
                    <a:pt x="8502" y="1374"/>
                  </a:lnTo>
                  <a:lnTo>
                    <a:pt x="8526" y="1374"/>
                  </a:lnTo>
                  <a:lnTo>
                    <a:pt x="8538" y="1368"/>
                  </a:lnTo>
                  <a:lnTo>
                    <a:pt x="8550" y="1356"/>
                  </a:lnTo>
                  <a:lnTo>
                    <a:pt x="8550" y="1332"/>
                  </a:lnTo>
                  <a:lnTo>
                    <a:pt x="8544" y="1326"/>
                  </a:lnTo>
                  <a:lnTo>
                    <a:pt x="8538" y="1314"/>
                  </a:lnTo>
                  <a:lnTo>
                    <a:pt x="8562" y="1314"/>
                  </a:lnTo>
                  <a:lnTo>
                    <a:pt x="8562" y="1290"/>
                  </a:lnTo>
                  <a:lnTo>
                    <a:pt x="8574" y="1290"/>
                  </a:lnTo>
                  <a:lnTo>
                    <a:pt x="8586" y="1296"/>
                  </a:lnTo>
                  <a:lnTo>
                    <a:pt x="8616" y="1296"/>
                  </a:lnTo>
                  <a:lnTo>
                    <a:pt x="8628" y="1290"/>
                  </a:lnTo>
                  <a:lnTo>
                    <a:pt x="8634" y="1284"/>
                  </a:lnTo>
                  <a:lnTo>
                    <a:pt x="8640" y="1272"/>
                  </a:lnTo>
                  <a:lnTo>
                    <a:pt x="8652" y="1260"/>
                  </a:lnTo>
                  <a:lnTo>
                    <a:pt x="8658" y="1248"/>
                  </a:lnTo>
                  <a:lnTo>
                    <a:pt x="8664" y="1242"/>
                  </a:lnTo>
                  <a:lnTo>
                    <a:pt x="8670" y="1242"/>
                  </a:lnTo>
                  <a:lnTo>
                    <a:pt x="8652" y="1218"/>
                  </a:lnTo>
                  <a:lnTo>
                    <a:pt x="8682" y="1218"/>
                  </a:lnTo>
                  <a:lnTo>
                    <a:pt x="8688" y="1236"/>
                  </a:lnTo>
                  <a:lnTo>
                    <a:pt x="8748" y="1242"/>
                  </a:lnTo>
                  <a:lnTo>
                    <a:pt x="8760" y="1242"/>
                  </a:lnTo>
                  <a:lnTo>
                    <a:pt x="8772" y="1248"/>
                  </a:lnTo>
                  <a:lnTo>
                    <a:pt x="8808" y="1248"/>
                  </a:lnTo>
                  <a:lnTo>
                    <a:pt x="8808" y="1230"/>
                  </a:lnTo>
                  <a:lnTo>
                    <a:pt x="8802" y="1218"/>
                  </a:lnTo>
                  <a:lnTo>
                    <a:pt x="8766" y="1218"/>
                  </a:lnTo>
                  <a:lnTo>
                    <a:pt x="8760" y="1194"/>
                  </a:lnTo>
                  <a:lnTo>
                    <a:pt x="8754" y="1194"/>
                  </a:lnTo>
                  <a:lnTo>
                    <a:pt x="8748" y="1188"/>
                  </a:lnTo>
                  <a:lnTo>
                    <a:pt x="8736" y="1188"/>
                  </a:lnTo>
                  <a:lnTo>
                    <a:pt x="8712" y="1176"/>
                  </a:lnTo>
                  <a:lnTo>
                    <a:pt x="8700" y="1176"/>
                  </a:lnTo>
                  <a:lnTo>
                    <a:pt x="8688" y="1170"/>
                  </a:lnTo>
                  <a:lnTo>
                    <a:pt x="8658" y="1170"/>
                  </a:lnTo>
                  <a:lnTo>
                    <a:pt x="8664" y="1152"/>
                  </a:lnTo>
                  <a:lnTo>
                    <a:pt x="8592" y="1104"/>
                  </a:lnTo>
                  <a:lnTo>
                    <a:pt x="8574" y="1122"/>
                  </a:lnTo>
                  <a:lnTo>
                    <a:pt x="8568" y="1122"/>
                  </a:lnTo>
                  <a:lnTo>
                    <a:pt x="8562" y="1116"/>
                  </a:lnTo>
                  <a:lnTo>
                    <a:pt x="8550" y="1116"/>
                  </a:lnTo>
                  <a:lnTo>
                    <a:pt x="8538" y="1110"/>
                  </a:lnTo>
                  <a:lnTo>
                    <a:pt x="8532" y="1110"/>
                  </a:lnTo>
                  <a:lnTo>
                    <a:pt x="8520" y="1104"/>
                  </a:lnTo>
                  <a:lnTo>
                    <a:pt x="8508" y="1092"/>
                  </a:lnTo>
                  <a:lnTo>
                    <a:pt x="8502" y="1092"/>
                  </a:lnTo>
                  <a:lnTo>
                    <a:pt x="8466" y="1098"/>
                  </a:lnTo>
                  <a:lnTo>
                    <a:pt x="8442" y="1092"/>
                  </a:lnTo>
                  <a:lnTo>
                    <a:pt x="8430" y="1086"/>
                  </a:lnTo>
                  <a:lnTo>
                    <a:pt x="8412" y="1068"/>
                  </a:lnTo>
                  <a:lnTo>
                    <a:pt x="8406" y="1068"/>
                  </a:lnTo>
                  <a:lnTo>
                    <a:pt x="8412" y="1062"/>
                  </a:lnTo>
                  <a:lnTo>
                    <a:pt x="8436" y="1062"/>
                  </a:lnTo>
                  <a:lnTo>
                    <a:pt x="8460" y="1074"/>
                  </a:lnTo>
                  <a:lnTo>
                    <a:pt x="8478" y="1074"/>
                  </a:lnTo>
                  <a:lnTo>
                    <a:pt x="8496" y="1080"/>
                  </a:lnTo>
                  <a:lnTo>
                    <a:pt x="8514" y="1080"/>
                  </a:lnTo>
                  <a:lnTo>
                    <a:pt x="8526" y="1086"/>
                  </a:lnTo>
                  <a:lnTo>
                    <a:pt x="8544" y="1086"/>
                  </a:lnTo>
                  <a:lnTo>
                    <a:pt x="8550" y="1080"/>
                  </a:lnTo>
                  <a:lnTo>
                    <a:pt x="8562" y="1080"/>
                  </a:lnTo>
                  <a:lnTo>
                    <a:pt x="8580" y="1074"/>
                  </a:lnTo>
                  <a:lnTo>
                    <a:pt x="8604" y="1062"/>
                  </a:lnTo>
                  <a:lnTo>
                    <a:pt x="8616" y="1050"/>
                  </a:lnTo>
                  <a:lnTo>
                    <a:pt x="8604" y="1038"/>
                  </a:lnTo>
                  <a:lnTo>
                    <a:pt x="8592" y="1032"/>
                  </a:lnTo>
                  <a:lnTo>
                    <a:pt x="8586" y="1026"/>
                  </a:lnTo>
                  <a:lnTo>
                    <a:pt x="8574" y="1020"/>
                  </a:lnTo>
                  <a:lnTo>
                    <a:pt x="8568" y="1014"/>
                  </a:lnTo>
                  <a:lnTo>
                    <a:pt x="8562" y="1014"/>
                  </a:lnTo>
                  <a:lnTo>
                    <a:pt x="8556" y="1008"/>
                  </a:lnTo>
                  <a:lnTo>
                    <a:pt x="8520" y="990"/>
                  </a:lnTo>
                  <a:lnTo>
                    <a:pt x="8508" y="978"/>
                  </a:lnTo>
                  <a:lnTo>
                    <a:pt x="8514" y="972"/>
                  </a:lnTo>
                  <a:lnTo>
                    <a:pt x="8538" y="972"/>
                  </a:lnTo>
                  <a:lnTo>
                    <a:pt x="8556" y="978"/>
                  </a:lnTo>
                  <a:lnTo>
                    <a:pt x="8562" y="984"/>
                  </a:lnTo>
                  <a:lnTo>
                    <a:pt x="8574" y="990"/>
                  </a:lnTo>
                  <a:lnTo>
                    <a:pt x="8580" y="990"/>
                  </a:lnTo>
                  <a:lnTo>
                    <a:pt x="8586" y="996"/>
                  </a:lnTo>
                  <a:lnTo>
                    <a:pt x="8610" y="1008"/>
                  </a:lnTo>
                  <a:lnTo>
                    <a:pt x="8628" y="1020"/>
                  </a:lnTo>
                  <a:lnTo>
                    <a:pt x="8652" y="1032"/>
                  </a:lnTo>
                  <a:lnTo>
                    <a:pt x="8664" y="1032"/>
                  </a:lnTo>
                  <a:lnTo>
                    <a:pt x="8676" y="1026"/>
                  </a:lnTo>
                  <a:lnTo>
                    <a:pt x="8682" y="1026"/>
                  </a:lnTo>
                  <a:lnTo>
                    <a:pt x="8688" y="1020"/>
                  </a:lnTo>
                  <a:lnTo>
                    <a:pt x="8730" y="1020"/>
                  </a:lnTo>
                  <a:lnTo>
                    <a:pt x="8754" y="1026"/>
                  </a:lnTo>
                  <a:lnTo>
                    <a:pt x="8808" y="1044"/>
                  </a:lnTo>
                  <a:lnTo>
                    <a:pt x="8850" y="1062"/>
                  </a:lnTo>
                  <a:lnTo>
                    <a:pt x="8880" y="1068"/>
                  </a:lnTo>
                  <a:lnTo>
                    <a:pt x="8886" y="1074"/>
                  </a:lnTo>
                  <a:lnTo>
                    <a:pt x="8898" y="1074"/>
                  </a:lnTo>
                  <a:lnTo>
                    <a:pt x="8934" y="1086"/>
                  </a:lnTo>
                  <a:lnTo>
                    <a:pt x="8946" y="1086"/>
                  </a:lnTo>
                  <a:lnTo>
                    <a:pt x="8952" y="1092"/>
                  </a:lnTo>
                  <a:lnTo>
                    <a:pt x="8958" y="1092"/>
                  </a:lnTo>
                  <a:lnTo>
                    <a:pt x="8970" y="1098"/>
                  </a:lnTo>
                  <a:lnTo>
                    <a:pt x="8976" y="1104"/>
                  </a:lnTo>
                  <a:lnTo>
                    <a:pt x="8988" y="1110"/>
                  </a:lnTo>
                  <a:lnTo>
                    <a:pt x="9000" y="1110"/>
                  </a:lnTo>
                  <a:lnTo>
                    <a:pt x="9018" y="1116"/>
                  </a:lnTo>
                  <a:lnTo>
                    <a:pt x="9024" y="1122"/>
                  </a:lnTo>
                  <a:lnTo>
                    <a:pt x="9042" y="1122"/>
                  </a:lnTo>
                  <a:lnTo>
                    <a:pt x="9042" y="1116"/>
                  </a:lnTo>
                  <a:lnTo>
                    <a:pt x="9036" y="1098"/>
                  </a:lnTo>
                  <a:lnTo>
                    <a:pt x="9012" y="1074"/>
                  </a:lnTo>
                  <a:lnTo>
                    <a:pt x="9006" y="1074"/>
                  </a:lnTo>
                  <a:lnTo>
                    <a:pt x="9024" y="1056"/>
                  </a:lnTo>
                  <a:lnTo>
                    <a:pt x="8976" y="1038"/>
                  </a:lnTo>
                  <a:lnTo>
                    <a:pt x="8988" y="1032"/>
                  </a:lnTo>
                  <a:lnTo>
                    <a:pt x="8940" y="1008"/>
                  </a:lnTo>
                  <a:lnTo>
                    <a:pt x="8994" y="1020"/>
                  </a:lnTo>
                  <a:lnTo>
                    <a:pt x="8988" y="996"/>
                  </a:lnTo>
                  <a:lnTo>
                    <a:pt x="9000" y="996"/>
                  </a:lnTo>
                  <a:lnTo>
                    <a:pt x="9012" y="1002"/>
                  </a:lnTo>
                  <a:lnTo>
                    <a:pt x="9048" y="1002"/>
                  </a:lnTo>
                  <a:lnTo>
                    <a:pt x="9048" y="996"/>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49" name="Romania" descr="© INSCALE GmbH, 05.05.2010&#10;http://www.presentationload.com/">
              <a:extLst>
                <a:ext uri="{FF2B5EF4-FFF2-40B4-BE49-F238E27FC236}">
                  <a16:creationId xmlns:a16="http://schemas.microsoft.com/office/drawing/2014/main" id="{FD250BD9-7CB0-29B0-E975-D04D0EDACDF0}"/>
                </a:ext>
              </a:extLst>
            </p:cNvPr>
            <p:cNvSpPr>
              <a:spLocks/>
            </p:cNvSpPr>
            <p:nvPr/>
          </p:nvSpPr>
          <p:spPr bwMode="gray">
            <a:xfrm>
              <a:off x="4749775" y="1747960"/>
              <a:ext cx="232733" cy="139343"/>
            </a:xfrm>
            <a:custGeom>
              <a:avLst/>
              <a:gdLst>
                <a:gd name="T0" fmla="*/ 2147483647 w 612"/>
                <a:gd name="T1" fmla="*/ 2147483647 h 366"/>
                <a:gd name="T2" fmla="*/ 2147483647 w 612"/>
                <a:gd name="T3" fmla="*/ 2147483647 h 366"/>
                <a:gd name="T4" fmla="*/ 2147483647 w 612"/>
                <a:gd name="T5" fmla="*/ 2147483647 h 366"/>
                <a:gd name="T6" fmla="*/ 2147483647 w 612"/>
                <a:gd name="T7" fmla="*/ 2147483647 h 366"/>
                <a:gd name="T8" fmla="*/ 2147483647 w 612"/>
                <a:gd name="T9" fmla="*/ 2147483647 h 366"/>
                <a:gd name="T10" fmla="*/ 2147483647 w 612"/>
                <a:gd name="T11" fmla="*/ 2147483647 h 366"/>
                <a:gd name="T12" fmla="*/ 2147483647 w 612"/>
                <a:gd name="T13" fmla="*/ 2147483647 h 366"/>
                <a:gd name="T14" fmla="*/ 2147483647 w 612"/>
                <a:gd name="T15" fmla="*/ 2147483647 h 366"/>
                <a:gd name="T16" fmla="*/ 2147483647 w 612"/>
                <a:gd name="T17" fmla="*/ 2147483647 h 366"/>
                <a:gd name="T18" fmla="*/ 2147483647 w 612"/>
                <a:gd name="T19" fmla="*/ 2147483647 h 366"/>
                <a:gd name="T20" fmla="*/ 2147483647 w 612"/>
                <a:gd name="T21" fmla="*/ 2147483647 h 366"/>
                <a:gd name="T22" fmla="*/ 2147483647 w 612"/>
                <a:gd name="T23" fmla="*/ 2147483647 h 366"/>
                <a:gd name="T24" fmla="*/ 2147483647 w 612"/>
                <a:gd name="T25" fmla="*/ 2147483647 h 366"/>
                <a:gd name="T26" fmla="*/ 2147483647 w 612"/>
                <a:gd name="T27" fmla="*/ 0 h 366"/>
                <a:gd name="T28" fmla="*/ 2147483647 w 612"/>
                <a:gd name="T29" fmla="*/ 2147483647 h 366"/>
                <a:gd name="T30" fmla="*/ 2147483647 w 612"/>
                <a:gd name="T31" fmla="*/ 2147483647 h 366"/>
                <a:gd name="T32" fmla="*/ 2147483647 w 612"/>
                <a:gd name="T33" fmla="*/ 2147483647 h 366"/>
                <a:gd name="T34" fmla="*/ 2147483647 w 612"/>
                <a:gd name="T35" fmla="*/ 2147483647 h 366"/>
                <a:gd name="T36" fmla="*/ 2147483647 w 612"/>
                <a:gd name="T37" fmla="*/ 2147483647 h 366"/>
                <a:gd name="T38" fmla="*/ 2147483647 w 612"/>
                <a:gd name="T39" fmla="*/ 2147483647 h 366"/>
                <a:gd name="T40" fmla="*/ 2147483647 w 612"/>
                <a:gd name="T41" fmla="*/ 2147483647 h 366"/>
                <a:gd name="T42" fmla="*/ 2147483647 w 612"/>
                <a:gd name="T43" fmla="*/ 2147483647 h 366"/>
                <a:gd name="T44" fmla="*/ 2147483647 w 612"/>
                <a:gd name="T45" fmla="*/ 2147483647 h 366"/>
                <a:gd name="T46" fmla="*/ 2147483647 w 612"/>
                <a:gd name="T47" fmla="*/ 2147483647 h 366"/>
                <a:gd name="T48" fmla="*/ 0 w 612"/>
                <a:gd name="T49" fmla="*/ 2147483647 h 366"/>
                <a:gd name="T50" fmla="*/ 2147483647 w 612"/>
                <a:gd name="T51" fmla="*/ 2147483647 h 366"/>
                <a:gd name="T52" fmla="*/ 2147483647 w 612"/>
                <a:gd name="T53" fmla="*/ 2147483647 h 366"/>
                <a:gd name="T54" fmla="*/ 2147483647 w 612"/>
                <a:gd name="T55" fmla="*/ 2147483647 h 366"/>
                <a:gd name="T56" fmla="*/ 2147483647 w 612"/>
                <a:gd name="T57" fmla="*/ 2147483647 h 366"/>
                <a:gd name="T58" fmla="*/ 2147483647 w 612"/>
                <a:gd name="T59" fmla="*/ 2147483647 h 366"/>
                <a:gd name="T60" fmla="*/ 2147483647 w 612"/>
                <a:gd name="T61" fmla="*/ 2147483647 h 366"/>
                <a:gd name="T62" fmla="*/ 2147483647 w 612"/>
                <a:gd name="T63" fmla="*/ 2147483647 h 366"/>
                <a:gd name="T64" fmla="*/ 2147483647 w 612"/>
                <a:gd name="T65" fmla="*/ 2147483647 h 366"/>
                <a:gd name="T66" fmla="*/ 2147483647 w 612"/>
                <a:gd name="T67" fmla="*/ 2147483647 h 366"/>
                <a:gd name="T68" fmla="*/ 2147483647 w 612"/>
                <a:gd name="T69" fmla="*/ 2147483647 h 366"/>
                <a:gd name="T70" fmla="*/ 2147483647 w 612"/>
                <a:gd name="T71" fmla="*/ 2147483647 h 366"/>
                <a:gd name="T72" fmla="*/ 2147483647 w 612"/>
                <a:gd name="T73" fmla="*/ 2147483647 h 366"/>
                <a:gd name="T74" fmla="*/ 2147483647 w 612"/>
                <a:gd name="T75" fmla="*/ 2147483647 h 366"/>
                <a:gd name="T76" fmla="*/ 2147483647 w 612"/>
                <a:gd name="T77" fmla="*/ 2147483647 h 366"/>
                <a:gd name="T78" fmla="*/ 2147483647 w 612"/>
                <a:gd name="T79" fmla="*/ 2147483647 h 366"/>
                <a:gd name="T80" fmla="*/ 2147483647 w 612"/>
                <a:gd name="T81" fmla="*/ 2147483647 h 366"/>
                <a:gd name="T82" fmla="*/ 2147483647 w 612"/>
                <a:gd name="T83" fmla="*/ 2147483647 h 366"/>
                <a:gd name="T84" fmla="*/ 2147483647 w 612"/>
                <a:gd name="T85" fmla="*/ 2147483647 h 36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12"/>
                <a:gd name="T130" fmla="*/ 0 h 366"/>
                <a:gd name="T131" fmla="*/ 612 w 612"/>
                <a:gd name="T132" fmla="*/ 366 h 36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12" h="366">
                  <a:moveTo>
                    <a:pt x="516" y="354"/>
                  </a:moveTo>
                  <a:lnTo>
                    <a:pt x="522" y="360"/>
                  </a:lnTo>
                  <a:lnTo>
                    <a:pt x="540" y="360"/>
                  </a:lnTo>
                  <a:lnTo>
                    <a:pt x="540" y="318"/>
                  </a:lnTo>
                  <a:lnTo>
                    <a:pt x="546" y="312"/>
                  </a:lnTo>
                  <a:lnTo>
                    <a:pt x="558" y="294"/>
                  </a:lnTo>
                  <a:lnTo>
                    <a:pt x="564" y="282"/>
                  </a:lnTo>
                  <a:lnTo>
                    <a:pt x="570" y="276"/>
                  </a:lnTo>
                  <a:lnTo>
                    <a:pt x="606" y="276"/>
                  </a:lnTo>
                  <a:lnTo>
                    <a:pt x="612" y="270"/>
                  </a:lnTo>
                  <a:lnTo>
                    <a:pt x="612" y="258"/>
                  </a:lnTo>
                  <a:lnTo>
                    <a:pt x="600" y="222"/>
                  </a:lnTo>
                  <a:lnTo>
                    <a:pt x="600" y="216"/>
                  </a:lnTo>
                  <a:lnTo>
                    <a:pt x="594" y="216"/>
                  </a:lnTo>
                  <a:lnTo>
                    <a:pt x="588" y="222"/>
                  </a:lnTo>
                  <a:lnTo>
                    <a:pt x="570" y="222"/>
                  </a:lnTo>
                  <a:lnTo>
                    <a:pt x="564" y="228"/>
                  </a:lnTo>
                  <a:lnTo>
                    <a:pt x="558" y="228"/>
                  </a:lnTo>
                  <a:lnTo>
                    <a:pt x="552" y="234"/>
                  </a:lnTo>
                  <a:lnTo>
                    <a:pt x="522" y="234"/>
                  </a:lnTo>
                  <a:lnTo>
                    <a:pt x="510" y="222"/>
                  </a:lnTo>
                  <a:lnTo>
                    <a:pt x="510" y="198"/>
                  </a:lnTo>
                  <a:lnTo>
                    <a:pt x="504" y="192"/>
                  </a:lnTo>
                  <a:lnTo>
                    <a:pt x="498" y="180"/>
                  </a:lnTo>
                  <a:lnTo>
                    <a:pt x="498" y="168"/>
                  </a:lnTo>
                  <a:lnTo>
                    <a:pt x="504" y="162"/>
                  </a:lnTo>
                  <a:lnTo>
                    <a:pt x="504" y="150"/>
                  </a:lnTo>
                  <a:lnTo>
                    <a:pt x="510" y="144"/>
                  </a:lnTo>
                  <a:lnTo>
                    <a:pt x="504" y="144"/>
                  </a:lnTo>
                  <a:lnTo>
                    <a:pt x="504" y="102"/>
                  </a:lnTo>
                  <a:lnTo>
                    <a:pt x="498" y="96"/>
                  </a:lnTo>
                  <a:lnTo>
                    <a:pt x="480" y="96"/>
                  </a:lnTo>
                  <a:lnTo>
                    <a:pt x="474" y="78"/>
                  </a:lnTo>
                  <a:lnTo>
                    <a:pt x="462" y="78"/>
                  </a:lnTo>
                  <a:lnTo>
                    <a:pt x="456" y="54"/>
                  </a:lnTo>
                  <a:lnTo>
                    <a:pt x="432" y="42"/>
                  </a:lnTo>
                  <a:lnTo>
                    <a:pt x="432" y="30"/>
                  </a:lnTo>
                  <a:lnTo>
                    <a:pt x="426" y="24"/>
                  </a:lnTo>
                  <a:lnTo>
                    <a:pt x="420" y="12"/>
                  </a:lnTo>
                  <a:lnTo>
                    <a:pt x="414" y="6"/>
                  </a:lnTo>
                  <a:lnTo>
                    <a:pt x="396" y="0"/>
                  </a:lnTo>
                  <a:lnTo>
                    <a:pt x="384" y="0"/>
                  </a:lnTo>
                  <a:lnTo>
                    <a:pt x="378" y="6"/>
                  </a:lnTo>
                  <a:lnTo>
                    <a:pt x="378" y="12"/>
                  </a:lnTo>
                  <a:lnTo>
                    <a:pt x="366" y="24"/>
                  </a:lnTo>
                  <a:lnTo>
                    <a:pt x="348" y="24"/>
                  </a:lnTo>
                  <a:lnTo>
                    <a:pt x="342" y="18"/>
                  </a:lnTo>
                  <a:lnTo>
                    <a:pt x="336" y="30"/>
                  </a:lnTo>
                  <a:lnTo>
                    <a:pt x="312" y="24"/>
                  </a:lnTo>
                  <a:lnTo>
                    <a:pt x="312" y="30"/>
                  </a:lnTo>
                  <a:lnTo>
                    <a:pt x="300" y="42"/>
                  </a:lnTo>
                  <a:lnTo>
                    <a:pt x="288" y="42"/>
                  </a:lnTo>
                  <a:lnTo>
                    <a:pt x="264" y="18"/>
                  </a:lnTo>
                  <a:lnTo>
                    <a:pt x="258" y="18"/>
                  </a:lnTo>
                  <a:lnTo>
                    <a:pt x="246" y="24"/>
                  </a:lnTo>
                  <a:lnTo>
                    <a:pt x="240" y="24"/>
                  </a:lnTo>
                  <a:lnTo>
                    <a:pt x="228" y="30"/>
                  </a:lnTo>
                  <a:lnTo>
                    <a:pt x="222" y="24"/>
                  </a:lnTo>
                  <a:lnTo>
                    <a:pt x="198" y="24"/>
                  </a:lnTo>
                  <a:lnTo>
                    <a:pt x="192" y="18"/>
                  </a:lnTo>
                  <a:lnTo>
                    <a:pt x="168" y="18"/>
                  </a:lnTo>
                  <a:lnTo>
                    <a:pt x="150" y="36"/>
                  </a:lnTo>
                  <a:lnTo>
                    <a:pt x="120" y="36"/>
                  </a:lnTo>
                  <a:lnTo>
                    <a:pt x="108" y="48"/>
                  </a:lnTo>
                  <a:lnTo>
                    <a:pt x="108" y="90"/>
                  </a:lnTo>
                  <a:lnTo>
                    <a:pt x="90" y="108"/>
                  </a:lnTo>
                  <a:lnTo>
                    <a:pt x="78" y="114"/>
                  </a:lnTo>
                  <a:lnTo>
                    <a:pt x="72" y="120"/>
                  </a:lnTo>
                  <a:lnTo>
                    <a:pt x="72" y="138"/>
                  </a:lnTo>
                  <a:lnTo>
                    <a:pt x="66" y="144"/>
                  </a:lnTo>
                  <a:lnTo>
                    <a:pt x="54" y="150"/>
                  </a:lnTo>
                  <a:lnTo>
                    <a:pt x="48" y="156"/>
                  </a:lnTo>
                  <a:lnTo>
                    <a:pt x="30" y="150"/>
                  </a:lnTo>
                  <a:lnTo>
                    <a:pt x="30" y="168"/>
                  </a:lnTo>
                  <a:lnTo>
                    <a:pt x="0" y="174"/>
                  </a:lnTo>
                  <a:lnTo>
                    <a:pt x="6" y="174"/>
                  </a:lnTo>
                  <a:lnTo>
                    <a:pt x="30" y="192"/>
                  </a:lnTo>
                  <a:lnTo>
                    <a:pt x="36" y="192"/>
                  </a:lnTo>
                  <a:lnTo>
                    <a:pt x="48" y="228"/>
                  </a:lnTo>
                  <a:lnTo>
                    <a:pt x="54" y="234"/>
                  </a:lnTo>
                  <a:lnTo>
                    <a:pt x="60" y="234"/>
                  </a:lnTo>
                  <a:lnTo>
                    <a:pt x="66" y="228"/>
                  </a:lnTo>
                  <a:lnTo>
                    <a:pt x="72" y="228"/>
                  </a:lnTo>
                  <a:lnTo>
                    <a:pt x="84" y="234"/>
                  </a:lnTo>
                  <a:lnTo>
                    <a:pt x="84" y="252"/>
                  </a:lnTo>
                  <a:lnTo>
                    <a:pt x="78" y="258"/>
                  </a:lnTo>
                  <a:lnTo>
                    <a:pt x="90" y="276"/>
                  </a:lnTo>
                  <a:lnTo>
                    <a:pt x="114" y="282"/>
                  </a:lnTo>
                  <a:lnTo>
                    <a:pt x="120" y="288"/>
                  </a:lnTo>
                  <a:lnTo>
                    <a:pt x="144" y="282"/>
                  </a:lnTo>
                  <a:lnTo>
                    <a:pt x="168" y="288"/>
                  </a:lnTo>
                  <a:lnTo>
                    <a:pt x="162" y="294"/>
                  </a:lnTo>
                  <a:lnTo>
                    <a:pt x="156" y="306"/>
                  </a:lnTo>
                  <a:lnTo>
                    <a:pt x="162" y="312"/>
                  </a:lnTo>
                  <a:lnTo>
                    <a:pt x="162" y="324"/>
                  </a:lnTo>
                  <a:lnTo>
                    <a:pt x="186" y="324"/>
                  </a:lnTo>
                  <a:lnTo>
                    <a:pt x="192" y="330"/>
                  </a:lnTo>
                  <a:lnTo>
                    <a:pt x="186" y="336"/>
                  </a:lnTo>
                  <a:lnTo>
                    <a:pt x="186" y="342"/>
                  </a:lnTo>
                  <a:lnTo>
                    <a:pt x="180" y="348"/>
                  </a:lnTo>
                  <a:lnTo>
                    <a:pt x="186" y="354"/>
                  </a:lnTo>
                  <a:lnTo>
                    <a:pt x="204" y="354"/>
                  </a:lnTo>
                  <a:lnTo>
                    <a:pt x="216" y="342"/>
                  </a:lnTo>
                  <a:lnTo>
                    <a:pt x="240" y="354"/>
                  </a:lnTo>
                  <a:lnTo>
                    <a:pt x="252" y="354"/>
                  </a:lnTo>
                  <a:lnTo>
                    <a:pt x="258" y="360"/>
                  </a:lnTo>
                  <a:lnTo>
                    <a:pt x="282" y="360"/>
                  </a:lnTo>
                  <a:lnTo>
                    <a:pt x="288" y="354"/>
                  </a:lnTo>
                  <a:lnTo>
                    <a:pt x="288" y="348"/>
                  </a:lnTo>
                  <a:lnTo>
                    <a:pt x="306" y="354"/>
                  </a:lnTo>
                  <a:lnTo>
                    <a:pt x="330" y="354"/>
                  </a:lnTo>
                  <a:lnTo>
                    <a:pt x="336" y="360"/>
                  </a:lnTo>
                  <a:lnTo>
                    <a:pt x="348" y="366"/>
                  </a:lnTo>
                  <a:lnTo>
                    <a:pt x="366" y="366"/>
                  </a:lnTo>
                  <a:lnTo>
                    <a:pt x="372" y="360"/>
                  </a:lnTo>
                  <a:lnTo>
                    <a:pt x="372" y="348"/>
                  </a:lnTo>
                  <a:lnTo>
                    <a:pt x="378" y="342"/>
                  </a:lnTo>
                  <a:lnTo>
                    <a:pt x="384" y="342"/>
                  </a:lnTo>
                  <a:lnTo>
                    <a:pt x="396" y="336"/>
                  </a:lnTo>
                  <a:lnTo>
                    <a:pt x="402" y="336"/>
                  </a:lnTo>
                  <a:lnTo>
                    <a:pt x="402" y="330"/>
                  </a:lnTo>
                  <a:lnTo>
                    <a:pt x="432" y="336"/>
                  </a:lnTo>
                  <a:lnTo>
                    <a:pt x="432" y="324"/>
                  </a:lnTo>
                  <a:lnTo>
                    <a:pt x="438" y="324"/>
                  </a:lnTo>
                  <a:lnTo>
                    <a:pt x="450" y="330"/>
                  </a:lnTo>
                  <a:lnTo>
                    <a:pt x="462" y="330"/>
                  </a:lnTo>
                  <a:lnTo>
                    <a:pt x="474" y="336"/>
                  </a:lnTo>
                  <a:lnTo>
                    <a:pt x="498" y="336"/>
                  </a:lnTo>
                  <a:lnTo>
                    <a:pt x="516" y="354"/>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50" name="Qatar" descr="© INSCALE GmbH, 05.05.2010&#10;http://www.presentationload.com/">
              <a:extLst>
                <a:ext uri="{FF2B5EF4-FFF2-40B4-BE49-F238E27FC236}">
                  <a16:creationId xmlns:a16="http://schemas.microsoft.com/office/drawing/2014/main" id="{8D9572A6-B2F9-1AA7-FA41-FDBF40B9EE1D}"/>
                </a:ext>
              </a:extLst>
            </p:cNvPr>
            <p:cNvSpPr>
              <a:spLocks/>
            </p:cNvSpPr>
            <p:nvPr/>
          </p:nvSpPr>
          <p:spPr bwMode="gray">
            <a:xfrm>
              <a:off x="5579903" y="2416512"/>
              <a:ext cx="25201" cy="54848"/>
            </a:xfrm>
            <a:custGeom>
              <a:avLst/>
              <a:gdLst>
                <a:gd name="T0" fmla="*/ 2147483647 w 66"/>
                <a:gd name="T1" fmla="*/ 2147483647 h 144"/>
                <a:gd name="T2" fmla="*/ 2147483647 w 66"/>
                <a:gd name="T3" fmla="*/ 2147483647 h 144"/>
                <a:gd name="T4" fmla="*/ 2147483647 w 66"/>
                <a:gd name="T5" fmla="*/ 2147483647 h 144"/>
                <a:gd name="T6" fmla="*/ 2147483647 w 66"/>
                <a:gd name="T7" fmla="*/ 2147483647 h 144"/>
                <a:gd name="T8" fmla="*/ 2147483647 w 66"/>
                <a:gd name="T9" fmla="*/ 2147483647 h 144"/>
                <a:gd name="T10" fmla="*/ 2147483647 w 66"/>
                <a:gd name="T11" fmla="*/ 2147483647 h 144"/>
                <a:gd name="T12" fmla="*/ 2147483647 w 66"/>
                <a:gd name="T13" fmla="*/ 2147483647 h 144"/>
                <a:gd name="T14" fmla="*/ 2147483647 w 66"/>
                <a:gd name="T15" fmla="*/ 2147483647 h 144"/>
                <a:gd name="T16" fmla="*/ 2147483647 w 66"/>
                <a:gd name="T17" fmla="*/ 2147483647 h 144"/>
                <a:gd name="T18" fmla="*/ 2147483647 w 66"/>
                <a:gd name="T19" fmla="*/ 0 h 144"/>
                <a:gd name="T20" fmla="*/ 2147483647 w 66"/>
                <a:gd name="T21" fmla="*/ 0 h 144"/>
                <a:gd name="T22" fmla="*/ 2147483647 w 66"/>
                <a:gd name="T23" fmla="*/ 2147483647 h 144"/>
                <a:gd name="T24" fmla="*/ 2147483647 w 66"/>
                <a:gd name="T25" fmla="*/ 2147483647 h 144"/>
                <a:gd name="T26" fmla="*/ 2147483647 w 66"/>
                <a:gd name="T27" fmla="*/ 2147483647 h 144"/>
                <a:gd name="T28" fmla="*/ 2147483647 w 66"/>
                <a:gd name="T29" fmla="*/ 2147483647 h 144"/>
                <a:gd name="T30" fmla="*/ 0 w 66"/>
                <a:gd name="T31" fmla="*/ 2147483647 h 144"/>
                <a:gd name="T32" fmla="*/ 2147483647 w 66"/>
                <a:gd name="T33" fmla="*/ 2147483647 h 144"/>
                <a:gd name="T34" fmla="*/ 2147483647 w 66"/>
                <a:gd name="T35" fmla="*/ 2147483647 h 1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6"/>
                <a:gd name="T55" fmla="*/ 0 h 144"/>
                <a:gd name="T56" fmla="*/ 66 w 66"/>
                <a:gd name="T57" fmla="*/ 144 h 14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6" h="144">
                  <a:moveTo>
                    <a:pt x="24" y="132"/>
                  </a:moveTo>
                  <a:lnTo>
                    <a:pt x="36" y="144"/>
                  </a:lnTo>
                  <a:lnTo>
                    <a:pt x="48" y="132"/>
                  </a:lnTo>
                  <a:lnTo>
                    <a:pt x="54" y="114"/>
                  </a:lnTo>
                  <a:lnTo>
                    <a:pt x="60" y="102"/>
                  </a:lnTo>
                  <a:lnTo>
                    <a:pt x="66" y="84"/>
                  </a:lnTo>
                  <a:lnTo>
                    <a:pt x="66" y="30"/>
                  </a:lnTo>
                  <a:lnTo>
                    <a:pt x="54" y="18"/>
                  </a:lnTo>
                  <a:lnTo>
                    <a:pt x="48" y="6"/>
                  </a:lnTo>
                  <a:lnTo>
                    <a:pt x="36" y="0"/>
                  </a:lnTo>
                  <a:lnTo>
                    <a:pt x="30" y="0"/>
                  </a:lnTo>
                  <a:lnTo>
                    <a:pt x="24" y="6"/>
                  </a:lnTo>
                  <a:lnTo>
                    <a:pt x="18" y="18"/>
                  </a:lnTo>
                  <a:lnTo>
                    <a:pt x="12" y="36"/>
                  </a:lnTo>
                  <a:lnTo>
                    <a:pt x="12" y="108"/>
                  </a:lnTo>
                  <a:lnTo>
                    <a:pt x="0" y="120"/>
                  </a:lnTo>
                  <a:lnTo>
                    <a:pt x="6" y="132"/>
                  </a:lnTo>
                  <a:lnTo>
                    <a:pt x="24" y="132"/>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51" name="Puerto Rico" descr="© INSCALE GmbH, 05.05.2010&#10;http://www.presentationload.com/">
              <a:extLst>
                <a:ext uri="{FF2B5EF4-FFF2-40B4-BE49-F238E27FC236}">
                  <a16:creationId xmlns:a16="http://schemas.microsoft.com/office/drawing/2014/main" id="{408B32A0-F7F1-EC0F-D12C-32CCDB0F19C9}"/>
                </a:ext>
              </a:extLst>
            </p:cNvPr>
            <p:cNvSpPr>
              <a:spLocks/>
            </p:cNvSpPr>
            <p:nvPr/>
          </p:nvSpPr>
          <p:spPr bwMode="gray">
            <a:xfrm>
              <a:off x="2453580" y="2656657"/>
              <a:ext cx="51884" cy="22236"/>
            </a:xfrm>
            <a:custGeom>
              <a:avLst/>
              <a:gdLst>
                <a:gd name="T0" fmla="*/ 2147483647 w 138"/>
                <a:gd name="T1" fmla="*/ 2147483647 h 60"/>
                <a:gd name="T2" fmla="*/ 2147483647 w 138"/>
                <a:gd name="T3" fmla="*/ 2147483647 h 60"/>
                <a:gd name="T4" fmla="*/ 2147483647 w 138"/>
                <a:gd name="T5" fmla="*/ 0 h 60"/>
                <a:gd name="T6" fmla="*/ 2147483647 w 138"/>
                <a:gd name="T7" fmla="*/ 0 h 60"/>
                <a:gd name="T8" fmla="*/ 2147483647 w 138"/>
                <a:gd name="T9" fmla="*/ 2147483647 h 60"/>
                <a:gd name="T10" fmla="*/ 0 w 138"/>
                <a:gd name="T11" fmla="*/ 2147483647 h 60"/>
                <a:gd name="T12" fmla="*/ 0 w 138"/>
                <a:gd name="T13" fmla="*/ 2147483647 h 60"/>
                <a:gd name="T14" fmla="*/ 2147483647 w 138"/>
                <a:gd name="T15" fmla="*/ 2147483647 h 60"/>
                <a:gd name="T16" fmla="*/ 2147483647 w 138"/>
                <a:gd name="T17" fmla="*/ 2147483647 h 60"/>
                <a:gd name="T18" fmla="*/ 2147483647 w 138"/>
                <a:gd name="T19" fmla="*/ 2147483647 h 60"/>
                <a:gd name="T20" fmla="*/ 2147483647 w 138"/>
                <a:gd name="T21" fmla="*/ 2147483647 h 60"/>
                <a:gd name="T22" fmla="*/ 2147483647 w 138"/>
                <a:gd name="T23" fmla="*/ 2147483647 h 60"/>
                <a:gd name="T24" fmla="*/ 2147483647 w 138"/>
                <a:gd name="T25" fmla="*/ 2147483647 h 60"/>
                <a:gd name="T26" fmla="*/ 2147483647 w 138"/>
                <a:gd name="T27" fmla="*/ 2147483647 h 60"/>
                <a:gd name="T28" fmla="*/ 2147483647 w 138"/>
                <a:gd name="T29" fmla="*/ 2147483647 h 60"/>
                <a:gd name="T30" fmla="*/ 2147483647 w 138"/>
                <a:gd name="T31" fmla="*/ 2147483647 h 60"/>
                <a:gd name="T32" fmla="*/ 2147483647 w 138"/>
                <a:gd name="T33" fmla="*/ 2147483647 h 60"/>
                <a:gd name="T34" fmla="*/ 2147483647 w 138"/>
                <a:gd name="T35" fmla="*/ 2147483647 h 6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8"/>
                <a:gd name="T55" fmla="*/ 0 h 60"/>
                <a:gd name="T56" fmla="*/ 138 w 138"/>
                <a:gd name="T57" fmla="*/ 60 h 6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8" h="60">
                  <a:moveTo>
                    <a:pt x="84" y="12"/>
                  </a:moveTo>
                  <a:lnTo>
                    <a:pt x="72" y="12"/>
                  </a:lnTo>
                  <a:lnTo>
                    <a:pt x="36" y="0"/>
                  </a:lnTo>
                  <a:lnTo>
                    <a:pt x="12" y="0"/>
                  </a:lnTo>
                  <a:lnTo>
                    <a:pt x="6" y="12"/>
                  </a:lnTo>
                  <a:lnTo>
                    <a:pt x="0" y="18"/>
                  </a:lnTo>
                  <a:lnTo>
                    <a:pt x="0" y="48"/>
                  </a:lnTo>
                  <a:lnTo>
                    <a:pt x="36" y="60"/>
                  </a:lnTo>
                  <a:lnTo>
                    <a:pt x="48" y="48"/>
                  </a:lnTo>
                  <a:lnTo>
                    <a:pt x="102" y="48"/>
                  </a:lnTo>
                  <a:lnTo>
                    <a:pt x="120" y="36"/>
                  </a:lnTo>
                  <a:lnTo>
                    <a:pt x="132" y="30"/>
                  </a:lnTo>
                  <a:lnTo>
                    <a:pt x="138" y="18"/>
                  </a:lnTo>
                  <a:lnTo>
                    <a:pt x="138" y="12"/>
                  </a:lnTo>
                  <a:lnTo>
                    <a:pt x="132" y="6"/>
                  </a:lnTo>
                  <a:lnTo>
                    <a:pt x="114" y="6"/>
                  </a:lnTo>
                  <a:lnTo>
                    <a:pt x="102" y="12"/>
                  </a:lnTo>
                  <a:lnTo>
                    <a:pt x="84" y="12"/>
                  </a:lnTo>
                  <a:close/>
                </a:path>
              </a:pathLst>
            </a:custGeom>
            <a:grp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52" name="Portugal" descr="© INSCALE GmbH, 05.05.2010&#10;http://www.presentationload.com/">
              <a:extLst>
                <a:ext uri="{FF2B5EF4-FFF2-40B4-BE49-F238E27FC236}">
                  <a16:creationId xmlns:a16="http://schemas.microsoft.com/office/drawing/2014/main" id="{95EE0D66-06E4-4C4A-6188-AB06B4572D37}"/>
                </a:ext>
              </a:extLst>
            </p:cNvPr>
            <p:cNvSpPr>
              <a:spLocks/>
            </p:cNvSpPr>
            <p:nvPr/>
          </p:nvSpPr>
          <p:spPr bwMode="gray">
            <a:xfrm>
              <a:off x="4017483" y="1933256"/>
              <a:ext cx="85978" cy="155651"/>
            </a:xfrm>
            <a:custGeom>
              <a:avLst/>
              <a:gdLst>
                <a:gd name="T0" fmla="*/ 2147483647 w 228"/>
                <a:gd name="T1" fmla="*/ 2147483647 h 414"/>
                <a:gd name="T2" fmla="*/ 2147483647 w 228"/>
                <a:gd name="T3" fmla="*/ 2147483647 h 414"/>
                <a:gd name="T4" fmla="*/ 2147483647 w 228"/>
                <a:gd name="T5" fmla="*/ 2147483647 h 414"/>
                <a:gd name="T6" fmla="*/ 2147483647 w 228"/>
                <a:gd name="T7" fmla="*/ 2147483647 h 414"/>
                <a:gd name="T8" fmla="*/ 2147483647 w 228"/>
                <a:gd name="T9" fmla="*/ 2147483647 h 414"/>
                <a:gd name="T10" fmla="*/ 2147483647 w 228"/>
                <a:gd name="T11" fmla="*/ 2147483647 h 414"/>
                <a:gd name="T12" fmla="*/ 2147483647 w 228"/>
                <a:gd name="T13" fmla="*/ 0 h 414"/>
                <a:gd name="T14" fmla="*/ 2147483647 w 228"/>
                <a:gd name="T15" fmla="*/ 2147483647 h 414"/>
                <a:gd name="T16" fmla="*/ 2147483647 w 228"/>
                <a:gd name="T17" fmla="*/ 2147483647 h 414"/>
                <a:gd name="T18" fmla="*/ 2147483647 w 228"/>
                <a:gd name="T19" fmla="*/ 2147483647 h 414"/>
                <a:gd name="T20" fmla="*/ 2147483647 w 228"/>
                <a:gd name="T21" fmla="*/ 2147483647 h 414"/>
                <a:gd name="T22" fmla="*/ 2147483647 w 228"/>
                <a:gd name="T23" fmla="*/ 2147483647 h 414"/>
                <a:gd name="T24" fmla="*/ 2147483647 w 228"/>
                <a:gd name="T25" fmla="*/ 2147483647 h 414"/>
                <a:gd name="T26" fmla="*/ 0 w 228"/>
                <a:gd name="T27" fmla="*/ 2147483647 h 414"/>
                <a:gd name="T28" fmla="*/ 2147483647 w 228"/>
                <a:gd name="T29" fmla="*/ 2147483647 h 414"/>
                <a:gd name="T30" fmla="*/ 2147483647 w 228"/>
                <a:gd name="T31" fmla="*/ 2147483647 h 414"/>
                <a:gd name="T32" fmla="*/ 2147483647 w 228"/>
                <a:gd name="T33" fmla="*/ 2147483647 h 414"/>
                <a:gd name="T34" fmla="*/ 2147483647 w 228"/>
                <a:gd name="T35" fmla="*/ 2147483647 h 414"/>
                <a:gd name="T36" fmla="*/ 2147483647 w 228"/>
                <a:gd name="T37" fmla="*/ 2147483647 h 414"/>
                <a:gd name="T38" fmla="*/ 2147483647 w 228"/>
                <a:gd name="T39" fmla="*/ 2147483647 h 414"/>
                <a:gd name="T40" fmla="*/ 2147483647 w 228"/>
                <a:gd name="T41" fmla="*/ 2147483647 h 414"/>
                <a:gd name="T42" fmla="*/ 2147483647 w 228"/>
                <a:gd name="T43" fmla="*/ 2147483647 h 414"/>
                <a:gd name="T44" fmla="*/ 2147483647 w 228"/>
                <a:gd name="T45" fmla="*/ 2147483647 h 414"/>
                <a:gd name="T46" fmla="*/ 2147483647 w 228"/>
                <a:gd name="T47" fmla="*/ 2147483647 h 414"/>
                <a:gd name="T48" fmla="*/ 2147483647 w 228"/>
                <a:gd name="T49" fmla="*/ 2147483647 h 414"/>
                <a:gd name="T50" fmla="*/ 2147483647 w 228"/>
                <a:gd name="T51" fmla="*/ 2147483647 h 414"/>
                <a:gd name="T52" fmla="*/ 2147483647 w 228"/>
                <a:gd name="T53" fmla="*/ 2147483647 h 414"/>
                <a:gd name="T54" fmla="*/ 2147483647 w 228"/>
                <a:gd name="T55" fmla="*/ 2147483647 h 414"/>
                <a:gd name="T56" fmla="*/ 2147483647 w 228"/>
                <a:gd name="T57" fmla="*/ 2147483647 h 414"/>
                <a:gd name="T58" fmla="*/ 2147483647 w 228"/>
                <a:gd name="T59" fmla="*/ 2147483647 h 414"/>
                <a:gd name="T60" fmla="*/ 2147483647 w 228"/>
                <a:gd name="T61" fmla="*/ 2147483647 h 414"/>
                <a:gd name="T62" fmla="*/ 2147483647 w 228"/>
                <a:gd name="T63" fmla="*/ 2147483647 h 414"/>
                <a:gd name="T64" fmla="*/ 2147483647 w 228"/>
                <a:gd name="T65" fmla="*/ 2147483647 h 414"/>
                <a:gd name="T66" fmla="*/ 2147483647 w 228"/>
                <a:gd name="T67" fmla="*/ 2147483647 h 414"/>
                <a:gd name="T68" fmla="*/ 2147483647 w 228"/>
                <a:gd name="T69" fmla="*/ 2147483647 h 414"/>
                <a:gd name="T70" fmla="*/ 2147483647 w 228"/>
                <a:gd name="T71" fmla="*/ 2147483647 h 414"/>
                <a:gd name="T72" fmla="*/ 2147483647 w 228"/>
                <a:gd name="T73" fmla="*/ 2147483647 h 414"/>
                <a:gd name="T74" fmla="*/ 2147483647 w 228"/>
                <a:gd name="T75" fmla="*/ 2147483647 h 414"/>
                <a:gd name="T76" fmla="*/ 2147483647 w 228"/>
                <a:gd name="T77" fmla="*/ 2147483647 h 414"/>
                <a:gd name="T78" fmla="*/ 2147483647 w 228"/>
                <a:gd name="T79" fmla="*/ 2147483647 h 414"/>
                <a:gd name="T80" fmla="*/ 2147483647 w 228"/>
                <a:gd name="T81" fmla="*/ 2147483647 h 414"/>
                <a:gd name="T82" fmla="*/ 2147483647 w 228"/>
                <a:gd name="T83" fmla="*/ 2147483647 h 41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28"/>
                <a:gd name="T127" fmla="*/ 0 h 414"/>
                <a:gd name="T128" fmla="*/ 228 w 228"/>
                <a:gd name="T129" fmla="*/ 414 h 41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28" h="414">
                  <a:moveTo>
                    <a:pt x="210" y="30"/>
                  </a:moveTo>
                  <a:lnTo>
                    <a:pt x="210" y="12"/>
                  </a:lnTo>
                  <a:lnTo>
                    <a:pt x="156" y="12"/>
                  </a:lnTo>
                  <a:lnTo>
                    <a:pt x="156" y="18"/>
                  </a:lnTo>
                  <a:lnTo>
                    <a:pt x="150" y="24"/>
                  </a:lnTo>
                  <a:lnTo>
                    <a:pt x="138" y="24"/>
                  </a:lnTo>
                  <a:lnTo>
                    <a:pt x="132" y="18"/>
                  </a:lnTo>
                  <a:lnTo>
                    <a:pt x="114" y="18"/>
                  </a:lnTo>
                  <a:lnTo>
                    <a:pt x="108" y="24"/>
                  </a:lnTo>
                  <a:lnTo>
                    <a:pt x="96" y="24"/>
                  </a:lnTo>
                  <a:lnTo>
                    <a:pt x="96" y="18"/>
                  </a:lnTo>
                  <a:lnTo>
                    <a:pt x="102" y="18"/>
                  </a:lnTo>
                  <a:lnTo>
                    <a:pt x="114" y="6"/>
                  </a:lnTo>
                  <a:lnTo>
                    <a:pt x="114" y="0"/>
                  </a:lnTo>
                  <a:lnTo>
                    <a:pt x="90" y="0"/>
                  </a:lnTo>
                  <a:lnTo>
                    <a:pt x="66" y="12"/>
                  </a:lnTo>
                  <a:lnTo>
                    <a:pt x="60" y="18"/>
                  </a:lnTo>
                  <a:lnTo>
                    <a:pt x="60" y="36"/>
                  </a:lnTo>
                  <a:lnTo>
                    <a:pt x="66" y="60"/>
                  </a:lnTo>
                  <a:lnTo>
                    <a:pt x="66" y="78"/>
                  </a:lnTo>
                  <a:lnTo>
                    <a:pt x="60" y="108"/>
                  </a:lnTo>
                  <a:lnTo>
                    <a:pt x="48" y="138"/>
                  </a:lnTo>
                  <a:lnTo>
                    <a:pt x="30" y="174"/>
                  </a:lnTo>
                  <a:lnTo>
                    <a:pt x="12" y="222"/>
                  </a:lnTo>
                  <a:lnTo>
                    <a:pt x="6" y="234"/>
                  </a:lnTo>
                  <a:lnTo>
                    <a:pt x="6" y="240"/>
                  </a:lnTo>
                  <a:lnTo>
                    <a:pt x="0" y="252"/>
                  </a:lnTo>
                  <a:lnTo>
                    <a:pt x="0" y="264"/>
                  </a:lnTo>
                  <a:lnTo>
                    <a:pt x="18" y="282"/>
                  </a:lnTo>
                  <a:lnTo>
                    <a:pt x="30" y="288"/>
                  </a:lnTo>
                  <a:lnTo>
                    <a:pt x="42" y="342"/>
                  </a:lnTo>
                  <a:lnTo>
                    <a:pt x="42" y="348"/>
                  </a:lnTo>
                  <a:lnTo>
                    <a:pt x="36" y="354"/>
                  </a:lnTo>
                  <a:lnTo>
                    <a:pt x="36" y="366"/>
                  </a:lnTo>
                  <a:lnTo>
                    <a:pt x="30" y="384"/>
                  </a:lnTo>
                  <a:lnTo>
                    <a:pt x="24" y="396"/>
                  </a:lnTo>
                  <a:lnTo>
                    <a:pt x="24" y="408"/>
                  </a:lnTo>
                  <a:lnTo>
                    <a:pt x="48" y="408"/>
                  </a:lnTo>
                  <a:lnTo>
                    <a:pt x="60" y="402"/>
                  </a:lnTo>
                  <a:lnTo>
                    <a:pt x="72" y="402"/>
                  </a:lnTo>
                  <a:lnTo>
                    <a:pt x="84" y="414"/>
                  </a:lnTo>
                  <a:lnTo>
                    <a:pt x="96" y="414"/>
                  </a:lnTo>
                  <a:lnTo>
                    <a:pt x="108" y="408"/>
                  </a:lnTo>
                  <a:lnTo>
                    <a:pt x="114" y="402"/>
                  </a:lnTo>
                  <a:lnTo>
                    <a:pt x="120" y="402"/>
                  </a:lnTo>
                  <a:lnTo>
                    <a:pt x="126" y="396"/>
                  </a:lnTo>
                  <a:lnTo>
                    <a:pt x="126" y="348"/>
                  </a:lnTo>
                  <a:lnTo>
                    <a:pt x="132" y="342"/>
                  </a:lnTo>
                  <a:lnTo>
                    <a:pt x="138" y="330"/>
                  </a:lnTo>
                  <a:lnTo>
                    <a:pt x="150" y="330"/>
                  </a:lnTo>
                  <a:lnTo>
                    <a:pt x="162" y="318"/>
                  </a:lnTo>
                  <a:lnTo>
                    <a:pt x="162" y="312"/>
                  </a:lnTo>
                  <a:lnTo>
                    <a:pt x="150" y="312"/>
                  </a:lnTo>
                  <a:lnTo>
                    <a:pt x="144" y="306"/>
                  </a:lnTo>
                  <a:lnTo>
                    <a:pt x="138" y="294"/>
                  </a:lnTo>
                  <a:lnTo>
                    <a:pt x="138" y="288"/>
                  </a:lnTo>
                  <a:lnTo>
                    <a:pt x="132" y="282"/>
                  </a:lnTo>
                  <a:lnTo>
                    <a:pt x="132" y="276"/>
                  </a:lnTo>
                  <a:lnTo>
                    <a:pt x="144" y="264"/>
                  </a:lnTo>
                  <a:lnTo>
                    <a:pt x="156" y="258"/>
                  </a:lnTo>
                  <a:lnTo>
                    <a:pt x="168" y="246"/>
                  </a:lnTo>
                  <a:lnTo>
                    <a:pt x="168" y="240"/>
                  </a:lnTo>
                  <a:lnTo>
                    <a:pt x="156" y="234"/>
                  </a:lnTo>
                  <a:lnTo>
                    <a:pt x="150" y="228"/>
                  </a:lnTo>
                  <a:lnTo>
                    <a:pt x="150" y="216"/>
                  </a:lnTo>
                  <a:lnTo>
                    <a:pt x="126" y="192"/>
                  </a:lnTo>
                  <a:lnTo>
                    <a:pt x="162" y="192"/>
                  </a:lnTo>
                  <a:lnTo>
                    <a:pt x="174" y="180"/>
                  </a:lnTo>
                  <a:lnTo>
                    <a:pt x="174" y="168"/>
                  </a:lnTo>
                  <a:lnTo>
                    <a:pt x="168" y="162"/>
                  </a:lnTo>
                  <a:lnTo>
                    <a:pt x="168" y="150"/>
                  </a:lnTo>
                  <a:lnTo>
                    <a:pt x="174" y="144"/>
                  </a:lnTo>
                  <a:lnTo>
                    <a:pt x="180" y="144"/>
                  </a:lnTo>
                  <a:lnTo>
                    <a:pt x="180" y="126"/>
                  </a:lnTo>
                  <a:lnTo>
                    <a:pt x="186" y="108"/>
                  </a:lnTo>
                  <a:lnTo>
                    <a:pt x="186" y="96"/>
                  </a:lnTo>
                  <a:lnTo>
                    <a:pt x="180" y="90"/>
                  </a:lnTo>
                  <a:lnTo>
                    <a:pt x="174" y="90"/>
                  </a:lnTo>
                  <a:lnTo>
                    <a:pt x="174" y="84"/>
                  </a:lnTo>
                  <a:lnTo>
                    <a:pt x="180" y="78"/>
                  </a:lnTo>
                  <a:lnTo>
                    <a:pt x="204" y="66"/>
                  </a:lnTo>
                  <a:lnTo>
                    <a:pt x="228" y="42"/>
                  </a:lnTo>
                  <a:lnTo>
                    <a:pt x="228" y="36"/>
                  </a:lnTo>
                  <a:lnTo>
                    <a:pt x="216" y="30"/>
                  </a:lnTo>
                  <a:lnTo>
                    <a:pt x="210" y="30"/>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53" name="Poland" descr="© INSCALE GmbH, 05.05.2010&#10;http://www.presentationload.com/">
              <a:extLst>
                <a:ext uri="{FF2B5EF4-FFF2-40B4-BE49-F238E27FC236}">
                  <a16:creationId xmlns:a16="http://schemas.microsoft.com/office/drawing/2014/main" id="{1EC02E13-1498-B14E-3801-5E51C21CCE8D}"/>
                </a:ext>
              </a:extLst>
            </p:cNvPr>
            <p:cNvSpPr>
              <a:spLocks/>
            </p:cNvSpPr>
            <p:nvPr/>
          </p:nvSpPr>
          <p:spPr bwMode="gray">
            <a:xfrm>
              <a:off x="4600055" y="1555250"/>
              <a:ext cx="237180" cy="170474"/>
            </a:xfrm>
            <a:custGeom>
              <a:avLst/>
              <a:gdLst>
                <a:gd name="T0" fmla="*/ 2147483647 w 624"/>
                <a:gd name="T1" fmla="*/ 2147483647 h 450"/>
                <a:gd name="T2" fmla="*/ 2147483647 w 624"/>
                <a:gd name="T3" fmla="*/ 2147483647 h 450"/>
                <a:gd name="T4" fmla="*/ 2147483647 w 624"/>
                <a:gd name="T5" fmla="*/ 2147483647 h 450"/>
                <a:gd name="T6" fmla="*/ 2147483647 w 624"/>
                <a:gd name="T7" fmla="*/ 2147483647 h 450"/>
                <a:gd name="T8" fmla="*/ 2147483647 w 624"/>
                <a:gd name="T9" fmla="*/ 2147483647 h 450"/>
                <a:gd name="T10" fmla="*/ 2147483647 w 624"/>
                <a:gd name="T11" fmla="*/ 2147483647 h 450"/>
                <a:gd name="T12" fmla="*/ 2147483647 w 624"/>
                <a:gd name="T13" fmla="*/ 2147483647 h 450"/>
                <a:gd name="T14" fmla="*/ 2147483647 w 624"/>
                <a:gd name="T15" fmla="*/ 2147483647 h 450"/>
                <a:gd name="T16" fmla="*/ 2147483647 w 624"/>
                <a:gd name="T17" fmla="*/ 2147483647 h 450"/>
                <a:gd name="T18" fmla="*/ 2147483647 w 624"/>
                <a:gd name="T19" fmla="*/ 2147483647 h 450"/>
                <a:gd name="T20" fmla="*/ 2147483647 w 624"/>
                <a:gd name="T21" fmla="*/ 2147483647 h 450"/>
                <a:gd name="T22" fmla="*/ 2147483647 w 624"/>
                <a:gd name="T23" fmla="*/ 2147483647 h 450"/>
                <a:gd name="T24" fmla="*/ 2147483647 w 624"/>
                <a:gd name="T25" fmla="*/ 2147483647 h 450"/>
                <a:gd name="T26" fmla="*/ 2147483647 w 624"/>
                <a:gd name="T27" fmla="*/ 2147483647 h 450"/>
                <a:gd name="T28" fmla="*/ 2147483647 w 624"/>
                <a:gd name="T29" fmla="*/ 2147483647 h 450"/>
                <a:gd name="T30" fmla="*/ 2147483647 w 624"/>
                <a:gd name="T31" fmla="*/ 2147483647 h 450"/>
                <a:gd name="T32" fmla="*/ 2147483647 w 624"/>
                <a:gd name="T33" fmla="*/ 2147483647 h 450"/>
                <a:gd name="T34" fmla="*/ 2147483647 w 624"/>
                <a:gd name="T35" fmla="*/ 2147483647 h 450"/>
                <a:gd name="T36" fmla="*/ 2147483647 w 624"/>
                <a:gd name="T37" fmla="*/ 2147483647 h 450"/>
                <a:gd name="T38" fmla="*/ 2147483647 w 624"/>
                <a:gd name="T39" fmla="*/ 2147483647 h 450"/>
                <a:gd name="T40" fmla="*/ 2147483647 w 624"/>
                <a:gd name="T41" fmla="*/ 2147483647 h 450"/>
                <a:gd name="T42" fmla="*/ 2147483647 w 624"/>
                <a:gd name="T43" fmla="*/ 2147483647 h 450"/>
                <a:gd name="T44" fmla="*/ 2147483647 w 624"/>
                <a:gd name="T45" fmla="*/ 2147483647 h 450"/>
                <a:gd name="T46" fmla="*/ 2147483647 w 624"/>
                <a:gd name="T47" fmla="*/ 2147483647 h 450"/>
                <a:gd name="T48" fmla="*/ 2147483647 w 624"/>
                <a:gd name="T49" fmla="*/ 2147483647 h 450"/>
                <a:gd name="T50" fmla="*/ 2147483647 w 624"/>
                <a:gd name="T51" fmla="*/ 2147483647 h 450"/>
                <a:gd name="T52" fmla="*/ 2147483647 w 624"/>
                <a:gd name="T53" fmla="*/ 2147483647 h 450"/>
                <a:gd name="T54" fmla="*/ 2147483647 w 624"/>
                <a:gd name="T55" fmla="*/ 2147483647 h 450"/>
                <a:gd name="T56" fmla="*/ 2147483647 w 624"/>
                <a:gd name="T57" fmla="*/ 2147483647 h 450"/>
                <a:gd name="T58" fmla="*/ 0 w 624"/>
                <a:gd name="T59" fmla="*/ 2147483647 h 450"/>
                <a:gd name="T60" fmla="*/ 2147483647 w 624"/>
                <a:gd name="T61" fmla="*/ 2147483647 h 450"/>
                <a:gd name="T62" fmla="*/ 2147483647 w 624"/>
                <a:gd name="T63" fmla="*/ 2147483647 h 450"/>
                <a:gd name="T64" fmla="*/ 2147483647 w 624"/>
                <a:gd name="T65" fmla="*/ 2147483647 h 450"/>
                <a:gd name="T66" fmla="*/ 2147483647 w 624"/>
                <a:gd name="T67" fmla="*/ 2147483647 h 450"/>
                <a:gd name="T68" fmla="*/ 2147483647 w 624"/>
                <a:gd name="T69" fmla="*/ 2147483647 h 450"/>
                <a:gd name="T70" fmla="*/ 2147483647 w 624"/>
                <a:gd name="T71" fmla="*/ 2147483647 h 450"/>
                <a:gd name="T72" fmla="*/ 2147483647 w 624"/>
                <a:gd name="T73" fmla="*/ 2147483647 h 450"/>
                <a:gd name="T74" fmla="*/ 2147483647 w 624"/>
                <a:gd name="T75" fmla="*/ 2147483647 h 450"/>
                <a:gd name="T76" fmla="*/ 2147483647 w 624"/>
                <a:gd name="T77" fmla="*/ 2147483647 h 450"/>
                <a:gd name="T78" fmla="*/ 2147483647 w 624"/>
                <a:gd name="T79" fmla="*/ 2147483647 h 450"/>
                <a:gd name="T80" fmla="*/ 2147483647 w 624"/>
                <a:gd name="T81" fmla="*/ 2147483647 h 450"/>
                <a:gd name="T82" fmla="*/ 2147483647 w 624"/>
                <a:gd name="T83" fmla="*/ 2147483647 h 450"/>
                <a:gd name="T84" fmla="*/ 2147483647 w 624"/>
                <a:gd name="T85" fmla="*/ 2147483647 h 450"/>
                <a:gd name="T86" fmla="*/ 2147483647 w 624"/>
                <a:gd name="T87" fmla="*/ 2147483647 h 450"/>
                <a:gd name="T88" fmla="*/ 2147483647 w 624"/>
                <a:gd name="T89" fmla="*/ 2147483647 h 450"/>
                <a:gd name="T90" fmla="*/ 2147483647 w 624"/>
                <a:gd name="T91" fmla="*/ 2147483647 h 450"/>
                <a:gd name="T92" fmla="*/ 2147483647 w 624"/>
                <a:gd name="T93" fmla="*/ 2147483647 h 450"/>
                <a:gd name="T94" fmla="*/ 2147483647 w 624"/>
                <a:gd name="T95" fmla="*/ 2147483647 h 450"/>
                <a:gd name="T96" fmla="*/ 2147483647 w 624"/>
                <a:gd name="T97" fmla="*/ 2147483647 h 450"/>
                <a:gd name="T98" fmla="*/ 2147483647 w 624"/>
                <a:gd name="T99" fmla="*/ 2147483647 h 450"/>
                <a:gd name="T100" fmla="*/ 2147483647 w 624"/>
                <a:gd name="T101" fmla="*/ 2147483647 h 450"/>
                <a:gd name="T102" fmla="*/ 2147483647 w 624"/>
                <a:gd name="T103" fmla="*/ 2147483647 h 450"/>
                <a:gd name="T104" fmla="*/ 2147483647 w 624"/>
                <a:gd name="T105" fmla="*/ 2147483647 h 450"/>
                <a:gd name="T106" fmla="*/ 2147483647 w 624"/>
                <a:gd name="T107" fmla="*/ 2147483647 h 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24"/>
                <a:gd name="T163" fmla="*/ 0 h 450"/>
                <a:gd name="T164" fmla="*/ 624 w 624"/>
                <a:gd name="T165" fmla="*/ 450 h 45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24" h="450">
                  <a:moveTo>
                    <a:pt x="426" y="426"/>
                  </a:moveTo>
                  <a:lnTo>
                    <a:pt x="432" y="426"/>
                  </a:lnTo>
                  <a:lnTo>
                    <a:pt x="444" y="420"/>
                  </a:lnTo>
                  <a:lnTo>
                    <a:pt x="450" y="414"/>
                  </a:lnTo>
                  <a:lnTo>
                    <a:pt x="474" y="414"/>
                  </a:lnTo>
                  <a:lnTo>
                    <a:pt x="498" y="438"/>
                  </a:lnTo>
                  <a:lnTo>
                    <a:pt x="528" y="438"/>
                  </a:lnTo>
                  <a:lnTo>
                    <a:pt x="528" y="450"/>
                  </a:lnTo>
                  <a:lnTo>
                    <a:pt x="552" y="450"/>
                  </a:lnTo>
                  <a:lnTo>
                    <a:pt x="540" y="438"/>
                  </a:lnTo>
                  <a:lnTo>
                    <a:pt x="540" y="396"/>
                  </a:lnTo>
                  <a:lnTo>
                    <a:pt x="594" y="348"/>
                  </a:lnTo>
                  <a:lnTo>
                    <a:pt x="606" y="348"/>
                  </a:lnTo>
                  <a:lnTo>
                    <a:pt x="612" y="342"/>
                  </a:lnTo>
                  <a:lnTo>
                    <a:pt x="618" y="342"/>
                  </a:lnTo>
                  <a:lnTo>
                    <a:pt x="624" y="336"/>
                  </a:lnTo>
                  <a:lnTo>
                    <a:pt x="618" y="330"/>
                  </a:lnTo>
                  <a:lnTo>
                    <a:pt x="618" y="324"/>
                  </a:lnTo>
                  <a:lnTo>
                    <a:pt x="612" y="318"/>
                  </a:lnTo>
                  <a:lnTo>
                    <a:pt x="618" y="306"/>
                  </a:lnTo>
                  <a:lnTo>
                    <a:pt x="612" y="300"/>
                  </a:lnTo>
                  <a:lnTo>
                    <a:pt x="600" y="294"/>
                  </a:lnTo>
                  <a:lnTo>
                    <a:pt x="600" y="288"/>
                  </a:lnTo>
                  <a:lnTo>
                    <a:pt x="582" y="270"/>
                  </a:lnTo>
                  <a:lnTo>
                    <a:pt x="576" y="252"/>
                  </a:lnTo>
                  <a:lnTo>
                    <a:pt x="582" y="252"/>
                  </a:lnTo>
                  <a:lnTo>
                    <a:pt x="576" y="240"/>
                  </a:lnTo>
                  <a:lnTo>
                    <a:pt x="576" y="210"/>
                  </a:lnTo>
                  <a:lnTo>
                    <a:pt x="564" y="198"/>
                  </a:lnTo>
                  <a:lnTo>
                    <a:pt x="558" y="198"/>
                  </a:lnTo>
                  <a:lnTo>
                    <a:pt x="552" y="192"/>
                  </a:lnTo>
                  <a:lnTo>
                    <a:pt x="552" y="186"/>
                  </a:lnTo>
                  <a:lnTo>
                    <a:pt x="564" y="186"/>
                  </a:lnTo>
                  <a:lnTo>
                    <a:pt x="564" y="168"/>
                  </a:lnTo>
                  <a:lnTo>
                    <a:pt x="588" y="162"/>
                  </a:lnTo>
                  <a:lnTo>
                    <a:pt x="588" y="150"/>
                  </a:lnTo>
                  <a:lnTo>
                    <a:pt x="594" y="144"/>
                  </a:lnTo>
                  <a:lnTo>
                    <a:pt x="594" y="138"/>
                  </a:lnTo>
                  <a:lnTo>
                    <a:pt x="588" y="132"/>
                  </a:lnTo>
                  <a:lnTo>
                    <a:pt x="576" y="108"/>
                  </a:lnTo>
                  <a:lnTo>
                    <a:pt x="570" y="102"/>
                  </a:lnTo>
                  <a:lnTo>
                    <a:pt x="570" y="90"/>
                  </a:lnTo>
                  <a:lnTo>
                    <a:pt x="564" y="84"/>
                  </a:lnTo>
                  <a:lnTo>
                    <a:pt x="558" y="72"/>
                  </a:lnTo>
                  <a:lnTo>
                    <a:pt x="558" y="48"/>
                  </a:lnTo>
                  <a:lnTo>
                    <a:pt x="546" y="42"/>
                  </a:lnTo>
                  <a:lnTo>
                    <a:pt x="540" y="42"/>
                  </a:lnTo>
                  <a:lnTo>
                    <a:pt x="522" y="36"/>
                  </a:lnTo>
                  <a:lnTo>
                    <a:pt x="498" y="36"/>
                  </a:lnTo>
                  <a:lnTo>
                    <a:pt x="498" y="42"/>
                  </a:lnTo>
                  <a:lnTo>
                    <a:pt x="408" y="42"/>
                  </a:lnTo>
                  <a:lnTo>
                    <a:pt x="402" y="36"/>
                  </a:lnTo>
                  <a:lnTo>
                    <a:pt x="390" y="36"/>
                  </a:lnTo>
                  <a:lnTo>
                    <a:pt x="384" y="30"/>
                  </a:lnTo>
                  <a:lnTo>
                    <a:pt x="360" y="30"/>
                  </a:lnTo>
                  <a:lnTo>
                    <a:pt x="354" y="36"/>
                  </a:lnTo>
                  <a:lnTo>
                    <a:pt x="348" y="36"/>
                  </a:lnTo>
                  <a:lnTo>
                    <a:pt x="342" y="30"/>
                  </a:lnTo>
                  <a:lnTo>
                    <a:pt x="312" y="30"/>
                  </a:lnTo>
                  <a:lnTo>
                    <a:pt x="300" y="36"/>
                  </a:lnTo>
                  <a:lnTo>
                    <a:pt x="282" y="36"/>
                  </a:lnTo>
                  <a:lnTo>
                    <a:pt x="276" y="30"/>
                  </a:lnTo>
                  <a:lnTo>
                    <a:pt x="270" y="18"/>
                  </a:lnTo>
                  <a:lnTo>
                    <a:pt x="264" y="12"/>
                  </a:lnTo>
                  <a:lnTo>
                    <a:pt x="264" y="6"/>
                  </a:lnTo>
                  <a:lnTo>
                    <a:pt x="258" y="6"/>
                  </a:lnTo>
                  <a:lnTo>
                    <a:pt x="252" y="0"/>
                  </a:lnTo>
                  <a:lnTo>
                    <a:pt x="210" y="0"/>
                  </a:lnTo>
                  <a:lnTo>
                    <a:pt x="192" y="6"/>
                  </a:lnTo>
                  <a:lnTo>
                    <a:pt x="180" y="12"/>
                  </a:lnTo>
                  <a:lnTo>
                    <a:pt x="162" y="12"/>
                  </a:lnTo>
                  <a:lnTo>
                    <a:pt x="150" y="18"/>
                  </a:lnTo>
                  <a:lnTo>
                    <a:pt x="144" y="24"/>
                  </a:lnTo>
                  <a:lnTo>
                    <a:pt x="138" y="24"/>
                  </a:lnTo>
                  <a:lnTo>
                    <a:pt x="120" y="42"/>
                  </a:lnTo>
                  <a:lnTo>
                    <a:pt x="60" y="48"/>
                  </a:lnTo>
                  <a:lnTo>
                    <a:pt x="54" y="48"/>
                  </a:lnTo>
                  <a:lnTo>
                    <a:pt x="48" y="54"/>
                  </a:lnTo>
                  <a:lnTo>
                    <a:pt x="24" y="66"/>
                  </a:lnTo>
                  <a:lnTo>
                    <a:pt x="18" y="66"/>
                  </a:lnTo>
                  <a:lnTo>
                    <a:pt x="12" y="72"/>
                  </a:lnTo>
                  <a:lnTo>
                    <a:pt x="18" y="78"/>
                  </a:lnTo>
                  <a:lnTo>
                    <a:pt x="18" y="96"/>
                  </a:lnTo>
                  <a:lnTo>
                    <a:pt x="6" y="90"/>
                  </a:lnTo>
                  <a:lnTo>
                    <a:pt x="6" y="108"/>
                  </a:lnTo>
                  <a:lnTo>
                    <a:pt x="12" y="108"/>
                  </a:lnTo>
                  <a:lnTo>
                    <a:pt x="18" y="114"/>
                  </a:lnTo>
                  <a:lnTo>
                    <a:pt x="18" y="132"/>
                  </a:lnTo>
                  <a:lnTo>
                    <a:pt x="6" y="144"/>
                  </a:lnTo>
                  <a:lnTo>
                    <a:pt x="0" y="144"/>
                  </a:lnTo>
                  <a:lnTo>
                    <a:pt x="0" y="156"/>
                  </a:lnTo>
                  <a:lnTo>
                    <a:pt x="6" y="162"/>
                  </a:lnTo>
                  <a:lnTo>
                    <a:pt x="12" y="162"/>
                  </a:lnTo>
                  <a:lnTo>
                    <a:pt x="18" y="168"/>
                  </a:lnTo>
                  <a:lnTo>
                    <a:pt x="30" y="168"/>
                  </a:lnTo>
                  <a:lnTo>
                    <a:pt x="30" y="186"/>
                  </a:lnTo>
                  <a:lnTo>
                    <a:pt x="24" y="186"/>
                  </a:lnTo>
                  <a:lnTo>
                    <a:pt x="24" y="198"/>
                  </a:lnTo>
                  <a:lnTo>
                    <a:pt x="36" y="198"/>
                  </a:lnTo>
                  <a:lnTo>
                    <a:pt x="36" y="204"/>
                  </a:lnTo>
                  <a:lnTo>
                    <a:pt x="30" y="210"/>
                  </a:lnTo>
                  <a:lnTo>
                    <a:pt x="36" y="210"/>
                  </a:lnTo>
                  <a:lnTo>
                    <a:pt x="42" y="216"/>
                  </a:lnTo>
                  <a:lnTo>
                    <a:pt x="36" y="222"/>
                  </a:lnTo>
                  <a:lnTo>
                    <a:pt x="24" y="228"/>
                  </a:lnTo>
                  <a:lnTo>
                    <a:pt x="24" y="234"/>
                  </a:lnTo>
                  <a:lnTo>
                    <a:pt x="30" y="240"/>
                  </a:lnTo>
                  <a:lnTo>
                    <a:pt x="36" y="240"/>
                  </a:lnTo>
                  <a:lnTo>
                    <a:pt x="42" y="246"/>
                  </a:lnTo>
                  <a:lnTo>
                    <a:pt x="42" y="264"/>
                  </a:lnTo>
                  <a:lnTo>
                    <a:pt x="48" y="258"/>
                  </a:lnTo>
                  <a:lnTo>
                    <a:pt x="54" y="258"/>
                  </a:lnTo>
                  <a:lnTo>
                    <a:pt x="54" y="270"/>
                  </a:lnTo>
                  <a:lnTo>
                    <a:pt x="48" y="276"/>
                  </a:lnTo>
                  <a:lnTo>
                    <a:pt x="60" y="276"/>
                  </a:lnTo>
                  <a:lnTo>
                    <a:pt x="60" y="282"/>
                  </a:lnTo>
                  <a:lnTo>
                    <a:pt x="54" y="282"/>
                  </a:lnTo>
                  <a:lnTo>
                    <a:pt x="54" y="294"/>
                  </a:lnTo>
                  <a:lnTo>
                    <a:pt x="72" y="294"/>
                  </a:lnTo>
                  <a:lnTo>
                    <a:pt x="78" y="312"/>
                  </a:lnTo>
                  <a:lnTo>
                    <a:pt x="96" y="312"/>
                  </a:lnTo>
                  <a:lnTo>
                    <a:pt x="108" y="318"/>
                  </a:lnTo>
                  <a:lnTo>
                    <a:pt x="114" y="318"/>
                  </a:lnTo>
                  <a:lnTo>
                    <a:pt x="114" y="324"/>
                  </a:lnTo>
                  <a:lnTo>
                    <a:pt x="138" y="324"/>
                  </a:lnTo>
                  <a:lnTo>
                    <a:pt x="144" y="330"/>
                  </a:lnTo>
                  <a:lnTo>
                    <a:pt x="132" y="336"/>
                  </a:lnTo>
                  <a:lnTo>
                    <a:pt x="144" y="342"/>
                  </a:lnTo>
                  <a:lnTo>
                    <a:pt x="144" y="354"/>
                  </a:lnTo>
                  <a:lnTo>
                    <a:pt x="150" y="354"/>
                  </a:lnTo>
                  <a:lnTo>
                    <a:pt x="156" y="360"/>
                  </a:lnTo>
                  <a:lnTo>
                    <a:pt x="174" y="360"/>
                  </a:lnTo>
                  <a:lnTo>
                    <a:pt x="174" y="354"/>
                  </a:lnTo>
                  <a:lnTo>
                    <a:pt x="180" y="354"/>
                  </a:lnTo>
                  <a:lnTo>
                    <a:pt x="192" y="348"/>
                  </a:lnTo>
                  <a:lnTo>
                    <a:pt x="210" y="348"/>
                  </a:lnTo>
                  <a:lnTo>
                    <a:pt x="204" y="354"/>
                  </a:lnTo>
                  <a:lnTo>
                    <a:pt x="222" y="354"/>
                  </a:lnTo>
                  <a:lnTo>
                    <a:pt x="228" y="360"/>
                  </a:lnTo>
                  <a:lnTo>
                    <a:pt x="234" y="372"/>
                  </a:lnTo>
                  <a:lnTo>
                    <a:pt x="240" y="378"/>
                  </a:lnTo>
                  <a:lnTo>
                    <a:pt x="246" y="366"/>
                  </a:lnTo>
                  <a:lnTo>
                    <a:pt x="252" y="372"/>
                  </a:lnTo>
                  <a:lnTo>
                    <a:pt x="252" y="378"/>
                  </a:lnTo>
                  <a:lnTo>
                    <a:pt x="270" y="378"/>
                  </a:lnTo>
                  <a:lnTo>
                    <a:pt x="282" y="384"/>
                  </a:lnTo>
                  <a:lnTo>
                    <a:pt x="282" y="390"/>
                  </a:lnTo>
                  <a:lnTo>
                    <a:pt x="288" y="402"/>
                  </a:lnTo>
                  <a:lnTo>
                    <a:pt x="306" y="420"/>
                  </a:lnTo>
                  <a:lnTo>
                    <a:pt x="318" y="420"/>
                  </a:lnTo>
                  <a:lnTo>
                    <a:pt x="330" y="408"/>
                  </a:lnTo>
                  <a:lnTo>
                    <a:pt x="342" y="408"/>
                  </a:lnTo>
                  <a:lnTo>
                    <a:pt x="354" y="420"/>
                  </a:lnTo>
                  <a:lnTo>
                    <a:pt x="360" y="420"/>
                  </a:lnTo>
                  <a:lnTo>
                    <a:pt x="360" y="426"/>
                  </a:lnTo>
                  <a:lnTo>
                    <a:pt x="366" y="432"/>
                  </a:lnTo>
                  <a:lnTo>
                    <a:pt x="378" y="432"/>
                  </a:lnTo>
                  <a:lnTo>
                    <a:pt x="384" y="426"/>
                  </a:lnTo>
                  <a:lnTo>
                    <a:pt x="384" y="420"/>
                  </a:lnTo>
                  <a:lnTo>
                    <a:pt x="414" y="420"/>
                  </a:lnTo>
                  <a:lnTo>
                    <a:pt x="420" y="426"/>
                  </a:lnTo>
                  <a:lnTo>
                    <a:pt x="426" y="426"/>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54" name="Philippines" descr="© INSCALE GmbH, 05.05.2010&#10;http://www.presentationload.com/">
              <a:extLst>
                <a:ext uri="{FF2B5EF4-FFF2-40B4-BE49-F238E27FC236}">
                  <a16:creationId xmlns:a16="http://schemas.microsoft.com/office/drawing/2014/main" id="{9E8DD8A7-F1AF-5667-2275-DA70629AD6BF}"/>
                </a:ext>
              </a:extLst>
            </p:cNvPr>
            <p:cNvSpPr>
              <a:spLocks noEditPoints="1"/>
            </p:cNvSpPr>
            <p:nvPr/>
          </p:nvSpPr>
          <p:spPr bwMode="gray">
            <a:xfrm>
              <a:off x="7388398" y="2646281"/>
              <a:ext cx="271275" cy="455091"/>
            </a:xfrm>
            <a:custGeom>
              <a:avLst/>
              <a:gdLst>
                <a:gd name="T0" fmla="*/ 2147483647 w 714"/>
                <a:gd name="T1" fmla="*/ 2147483647 h 1200"/>
                <a:gd name="T2" fmla="*/ 2147483647 w 714"/>
                <a:gd name="T3" fmla="*/ 2147483647 h 1200"/>
                <a:gd name="T4" fmla="*/ 2147483647 w 714"/>
                <a:gd name="T5" fmla="*/ 2147483647 h 1200"/>
                <a:gd name="T6" fmla="*/ 2147483647 w 714"/>
                <a:gd name="T7" fmla="*/ 2147483647 h 1200"/>
                <a:gd name="T8" fmla="*/ 2147483647 w 714"/>
                <a:gd name="T9" fmla="*/ 2147483647 h 1200"/>
                <a:gd name="T10" fmla="*/ 2147483647 w 714"/>
                <a:gd name="T11" fmla="*/ 2147483647 h 1200"/>
                <a:gd name="T12" fmla="*/ 2147483647 w 714"/>
                <a:gd name="T13" fmla="*/ 2147483647 h 1200"/>
                <a:gd name="T14" fmla="*/ 2147483647 w 714"/>
                <a:gd name="T15" fmla="*/ 2147483647 h 1200"/>
                <a:gd name="T16" fmla="*/ 2147483647 w 714"/>
                <a:gd name="T17" fmla="*/ 2147483647 h 1200"/>
                <a:gd name="T18" fmla="*/ 2147483647 w 714"/>
                <a:gd name="T19" fmla="*/ 2147483647 h 1200"/>
                <a:gd name="T20" fmla="*/ 2147483647 w 714"/>
                <a:gd name="T21" fmla="*/ 2147483647 h 1200"/>
                <a:gd name="T22" fmla="*/ 2147483647 w 714"/>
                <a:gd name="T23" fmla="*/ 2147483647 h 1200"/>
                <a:gd name="T24" fmla="*/ 2147483647 w 714"/>
                <a:gd name="T25" fmla="*/ 2147483647 h 1200"/>
                <a:gd name="T26" fmla="*/ 2147483647 w 714"/>
                <a:gd name="T27" fmla="*/ 2147483647 h 1200"/>
                <a:gd name="T28" fmla="*/ 2147483647 w 714"/>
                <a:gd name="T29" fmla="*/ 2147483647 h 1200"/>
                <a:gd name="T30" fmla="*/ 2147483647 w 714"/>
                <a:gd name="T31" fmla="*/ 2147483647 h 1200"/>
                <a:gd name="T32" fmla="*/ 2147483647 w 714"/>
                <a:gd name="T33" fmla="*/ 2147483647 h 1200"/>
                <a:gd name="T34" fmla="*/ 2147483647 w 714"/>
                <a:gd name="T35" fmla="*/ 2147483647 h 1200"/>
                <a:gd name="T36" fmla="*/ 2147483647 w 714"/>
                <a:gd name="T37" fmla="*/ 2147483647 h 1200"/>
                <a:gd name="T38" fmla="*/ 2147483647 w 714"/>
                <a:gd name="T39" fmla="*/ 2147483647 h 1200"/>
                <a:gd name="T40" fmla="*/ 2147483647 w 714"/>
                <a:gd name="T41" fmla="*/ 2147483647 h 1200"/>
                <a:gd name="T42" fmla="*/ 2147483647 w 714"/>
                <a:gd name="T43" fmla="*/ 2147483647 h 1200"/>
                <a:gd name="T44" fmla="*/ 2147483647 w 714"/>
                <a:gd name="T45" fmla="*/ 2147483647 h 1200"/>
                <a:gd name="T46" fmla="*/ 2147483647 w 714"/>
                <a:gd name="T47" fmla="*/ 2147483647 h 1200"/>
                <a:gd name="T48" fmla="*/ 2147483647 w 714"/>
                <a:gd name="T49" fmla="*/ 2147483647 h 1200"/>
                <a:gd name="T50" fmla="*/ 2147483647 w 714"/>
                <a:gd name="T51" fmla="*/ 2147483647 h 1200"/>
                <a:gd name="T52" fmla="*/ 2147483647 w 714"/>
                <a:gd name="T53" fmla="*/ 2147483647 h 1200"/>
                <a:gd name="T54" fmla="*/ 2147483647 w 714"/>
                <a:gd name="T55" fmla="*/ 2147483647 h 1200"/>
                <a:gd name="T56" fmla="*/ 2147483647 w 714"/>
                <a:gd name="T57" fmla="*/ 2147483647 h 1200"/>
                <a:gd name="T58" fmla="*/ 2147483647 w 714"/>
                <a:gd name="T59" fmla="*/ 2147483647 h 1200"/>
                <a:gd name="T60" fmla="*/ 2147483647 w 714"/>
                <a:gd name="T61" fmla="*/ 2147483647 h 1200"/>
                <a:gd name="T62" fmla="*/ 2147483647 w 714"/>
                <a:gd name="T63" fmla="*/ 2147483647 h 1200"/>
                <a:gd name="T64" fmla="*/ 2147483647 w 714"/>
                <a:gd name="T65" fmla="*/ 2147483647 h 1200"/>
                <a:gd name="T66" fmla="*/ 2147483647 w 714"/>
                <a:gd name="T67" fmla="*/ 2147483647 h 1200"/>
                <a:gd name="T68" fmla="*/ 2147483647 w 714"/>
                <a:gd name="T69" fmla="*/ 2147483647 h 1200"/>
                <a:gd name="T70" fmla="*/ 2147483647 w 714"/>
                <a:gd name="T71" fmla="*/ 2147483647 h 1200"/>
                <a:gd name="T72" fmla="*/ 2147483647 w 714"/>
                <a:gd name="T73" fmla="*/ 2147483647 h 1200"/>
                <a:gd name="T74" fmla="*/ 2147483647 w 714"/>
                <a:gd name="T75" fmla="*/ 2147483647 h 1200"/>
                <a:gd name="T76" fmla="*/ 2147483647 w 714"/>
                <a:gd name="T77" fmla="*/ 2147483647 h 1200"/>
                <a:gd name="T78" fmla="*/ 2147483647 w 714"/>
                <a:gd name="T79" fmla="*/ 0 h 1200"/>
                <a:gd name="T80" fmla="*/ 2147483647 w 714"/>
                <a:gd name="T81" fmla="*/ 2147483647 h 1200"/>
                <a:gd name="T82" fmla="*/ 2147483647 w 714"/>
                <a:gd name="T83" fmla="*/ 2147483647 h 1200"/>
                <a:gd name="T84" fmla="*/ 2147483647 w 714"/>
                <a:gd name="T85" fmla="*/ 2147483647 h 1200"/>
                <a:gd name="T86" fmla="*/ 2147483647 w 714"/>
                <a:gd name="T87" fmla="*/ 2147483647 h 1200"/>
                <a:gd name="T88" fmla="*/ 2147483647 w 714"/>
                <a:gd name="T89" fmla="*/ 2147483647 h 1200"/>
                <a:gd name="T90" fmla="*/ 2147483647 w 714"/>
                <a:gd name="T91" fmla="*/ 2147483647 h 1200"/>
                <a:gd name="T92" fmla="*/ 2147483647 w 714"/>
                <a:gd name="T93" fmla="*/ 2147483647 h 1200"/>
                <a:gd name="T94" fmla="*/ 2147483647 w 714"/>
                <a:gd name="T95" fmla="*/ 2147483647 h 1200"/>
                <a:gd name="T96" fmla="*/ 2147483647 w 714"/>
                <a:gd name="T97" fmla="*/ 2147483647 h 1200"/>
                <a:gd name="T98" fmla="*/ 2147483647 w 714"/>
                <a:gd name="T99" fmla="*/ 2147483647 h 1200"/>
                <a:gd name="T100" fmla="*/ 2147483647 w 714"/>
                <a:gd name="T101" fmla="*/ 2147483647 h 1200"/>
                <a:gd name="T102" fmla="*/ 2147483647 w 714"/>
                <a:gd name="T103" fmla="*/ 2147483647 h 1200"/>
                <a:gd name="T104" fmla="*/ 2147483647 w 714"/>
                <a:gd name="T105" fmla="*/ 2147483647 h 1200"/>
                <a:gd name="T106" fmla="*/ 2147483647 w 714"/>
                <a:gd name="T107" fmla="*/ 2147483647 h 1200"/>
                <a:gd name="T108" fmla="*/ 2147483647 w 714"/>
                <a:gd name="T109" fmla="*/ 2147483647 h 1200"/>
                <a:gd name="T110" fmla="*/ 2147483647 w 714"/>
                <a:gd name="T111" fmla="*/ 2147483647 h 1200"/>
                <a:gd name="T112" fmla="*/ 2147483647 w 714"/>
                <a:gd name="T113" fmla="*/ 2147483647 h 1200"/>
                <a:gd name="T114" fmla="*/ 2147483647 w 714"/>
                <a:gd name="T115" fmla="*/ 2147483647 h 1200"/>
                <a:gd name="T116" fmla="*/ 2147483647 w 714"/>
                <a:gd name="T117" fmla="*/ 2147483647 h 12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14"/>
                <a:gd name="T178" fmla="*/ 0 h 1200"/>
                <a:gd name="T179" fmla="*/ 714 w 714"/>
                <a:gd name="T180" fmla="*/ 1200 h 120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714" h="1200">
                  <a:moveTo>
                    <a:pt x="702" y="1140"/>
                  </a:moveTo>
                  <a:lnTo>
                    <a:pt x="690" y="1170"/>
                  </a:lnTo>
                  <a:lnTo>
                    <a:pt x="696" y="1200"/>
                  </a:lnTo>
                  <a:lnTo>
                    <a:pt x="714" y="1182"/>
                  </a:lnTo>
                  <a:lnTo>
                    <a:pt x="714" y="1140"/>
                  </a:lnTo>
                  <a:lnTo>
                    <a:pt x="702" y="1140"/>
                  </a:lnTo>
                  <a:close/>
                  <a:moveTo>
                    <a:pt x="582" y="1176"/>
                  </a:moveTo>
                  <a:lnTo>
                    <a:pt x="600" y="1140"/>
                  </a:lnTo>
                  <a:lnTo>
                    <a:pt x="576" y="1134"/>
                  </a:lnTo>
                  <a:lnTo>
                    <a:pt x="582" y="1176"/>
                  </a:lnTo>
                  <a:close/>
                  <a:moveTo>
                    <a:pt x="246" y="1038"/>
                  </a:moveTo>
                  <a:lnTo>
                    <a:pt x="264" y="1050"/>
                  </a:lnTo>
                  <a:lnTo>
                    <a:pt x="282" y="1020"/>
                  </a:lnTo>
                  <a:lnTo>
                    <a:pt x="258" y="1008"/>
                  </a:lnTo>
                  <a:lnTo>
                    <a:pt x="246" y="1038"/>
                  </a:lnTo>
                  <a:close/>
                  <a:moveTo>
                    <a:pt x="504" y="558"/>
                  </a:moveTo>
                  <a:lnTo>
                    <a:pt x="540" y="576"/>
                  </a:lnTo>
                  <a:lnTo>
                    <a:pt x="540" y="582"/>
                  </a:lnTo>
                  <a:lnTo>
                    <a:pt x="534" y="588"/>
                  </a:lnTo>
                  <a:lnTo>
                    <a:pt x="504" y="588"/>
                  </a:lnTo>
                  <a:lnTo>
                    <a:pt x="570" y="642"/>
                  </a:lnTo>
                  <a:lnTo>
                    <a:pt x="570" y="618"/>
                  </a:lnTo>
                  <a:lnTo>
                    <a:pt x="600" y="624"/>
                  </a:lnTo>
                  <a:lnTo>
                    <a:pt x="576" y="588"/>
                  </a:lnTo>
                  <a:lnTo>
                    <a:pt x="576" y="582"/>
                  </a:lnTo>
                  <a:lnTo>
                    <a:pt x="570" y="576"/>
                  </a:lnTo>
                  <a:lnTo>
                    <a:pt x="570" y="558"/>
                  </a:lnTo>
                  <a:lnTo>
                    <a:pt x="564" y="546"/>
                  </a:lnTo>
                  <a:lnTo>
                    <a:pt x="534" y="516"/>
                  </a:lnTo>
                  <a:lnTo>
                    <a:pt x="522" y="510"/>
                  </a:lnTo>
                  <a:lnTo>
                    <a:pt x="504" y="504"/>
                  </a:lnTo>
                  <a:lnTo>
                    <a:pt x="492" y="498"/>
                  </a:lnTo>
                  <a:lnTo>
                    <a:pt x="474" y="498"/>
                  </a:lnTo>
                  <a:lnTo>
                    <a:pt x="468" y="504"/>
                  </a:lnTo>
                  <a:lnTo>
                    <a:pt x="468" y="528"/>
                  </a:lnTo>
                  <a:lnTo>
                    <a:pt x="492" y="552"/>
                  </a:lnTo>
                  <a:lnTo>
                    <a:pt x="504" y="558"/>
                  </a:lnTo>
                  <a:close/>
                  <a:moveTo>
                    <a:pt x="462" y="666"/>
                  </a:moveTo>
                  <a:lnTo>
                    <a:pt x="474" y="750"/>
                  </a:lnTo>
                  <a:lnTo>
                    <a:pt x="486" y="672"/>
                  </a:lnTo>
                  <a:lnTo>
                    <a:pt x="462" y="618"/>
                  </a:lnTo>
                  <a:lnTo>
                    <a:pt x="438" y="618"/>
                  </a:lnTo>
                  <a:lnTo>
                    <a:pt x="462" y="666"/>
                  </a:lnTo>
                  <a:close/>
                  <a:moveTo>
                    <a:pt x="492" y="738"/>
                  </a:moveTo>
                  <a:lnTo>
                    <a:pt x="522" y="738"/>
                  </a:lnTo>
                  <a:lnTo>
                    <a:pt x="528" y="708"/>
                  </a:lnTo>
                  <a:lnTo>
                    <a:pt x="498" y="702"/>
                  </a:lnTo>
                  <a:lnTo>
                    <a:pt x="492" y="738"/>
                  </a:lnTo>
                  <a:close/>
                  <a:moveTo>
                    <a:pt x="570" y="660"/>
                  </a:moveTo>
                  <a:lnTo>
                    <a:pt x="546" y="648"/>
                  </a:lnTo>
                  <a:lnTo>
                    <a:pt x="528" y="630"/>
                  </a:lnTo>
                  <a:lnTo>
                    <a:pt x="528" y="624"/>
                  </a:lnTo>
                  <a:lnTo>
                    <a:pt x="522" y="618"/>
                  </a:lnTo>
                  <a:lnTo>
                    <a:pt x="486" y="618"/>
                  </a:lnTo>
                  <a:lnTo>
                    <a:pt x="492" y="660"/>
                  </a:lnTo>
                  <a:lnTo>
                    <a:pt x="510" y="654"/>
                  </a:lnTo>
                  <a:lnTo>
                    <a:pt x="522" y="678"/>
                  </a:lnTo>
                  <a:lnTo>
                    <a:pt x="570" y="714"/>
                  </a:lnTo>
                  <a:lnTo>
                    <a:pt x="570" y="660"/>
                  </a:lnTo>
                  <a:close/>
                  <a:moveTo>
                    <a:pt x="162" y="600"/>
                  </a:moveTo>
                  <a:lnTo>
                    <a:pt x="144" y="582"/>
                  </a:lnTo>
                  <a:lnTo>
                    <a:pt x="138" y="606"/>
                  </a:lnTo>
                  <a:lnTo>
                    <a:pt x="132" y="618"/>
                  </a:lnTo>
                  <a:lnTo>
                    <a:pt x="126" y="624"/>
                  </a:lnTo>
                  <a:lnTo>
                    <a:pt x="120" y="642"/>
                  </a:lnTo>
                  <a:lnTo>
                    <a:pt x="120" y="654"/>
                  </a:lnTo>
                  <a:lnTo>
                    <a:pt x="126" y="660"/>
                  </a:lnTo>
                  <a:lnTo>
                    <a:pt x="138" y="666"/>
                  </a:lnTo>
                  <a:lnTo>
                    <a:pt x="150" y="678"/>
                  </a:lnTo>
                  <a:lnTo>
                    <a:pt x="144" y="684"/>
                  </a:lnTo>
                  <a:lnTo>
                    <a:pt x="120" y="696"/>
                  </a:lnTo>
                  <a:lnTo>
                    <a:pt x="114" y="702"/>
                  </a:lnTo>
                  <a:lnTo>
                    <a:pt x="102" y="708"/>
                  </a:lnTo>
                  <a:lnTo>
                    <a:pt x="96" y="732"/>
                  </a:lnTo>
                  <a:lnTo>
                    <a:pt x="72" y="750"/>
                  </a:lnTo>
                  <a:lnTo>
                    <a:pt x="72" y="762"/>
                  </a:lnTo>
                  <a:lnTo>
                    <a:pt x="60" y="774"/>
                  </a:lnTo>
                  <a:lnTo>
                    <a:pt x="48" y="780"/>
                  </a:lnTo>
                  <a:lnTo>
                    <a:pt x="42" y="786"/>
                  </a:lnTo>
                  <a:lnTo>
                    <a:pt x="30" y="792"/>
                  </a:lnTo>
                  <a:lnTo>
                    <a:pt x="24" y="798"/>
                  </a:lnTo>
                  <a:lnTo>
                    <a:pt x="18" y="798"/>
                  </a:lnTo>
                  <a:lnTo>
                    <a:pt x="18" y="804"/>
                  </a:lnTo>
                  <a:lnTo>
                    <a:pt x="12" y="810"/>
                  </a:lnTo>
                  <a:lnTo>
                    <a:pt x="0" y="834"/>
                  </a:lnTo>
                  <a:lnTo>
                    <a:pt x="0" y="864"/>
                  </a:lnTo>
                  <a:lnTo>
                    <a:pt x="30" y="834"/>
                  </a:lnTo>
                  <a:lnTo>
                    <a:pt x="30" y="816"/>
                  </a:lnTo>
                  <a:lnTo>
                    <a:pt x="36" y="810"/>
                  </a:lnTo>
                  <a:lnTo>
                    <a:pt x="42" y="810"/>
                  </a:lnTo>
                  <a:lnTo>
                    <a:pt x="78" y="798"/>
                  </a:lnTo>
                  <a:lnTo>
                    <a:pt x="84" y="792"/>
                  </a:lnTo>
                  <a:lnTo>
                    <a:pt x="84" y="762"/>
                  </a:lnTo>
                  <a:lnTo>
                    <a:pt x="90" y="750"/>
                  </a:lnTo>
                  <a:lnTo>
                    <a:pt x="96" y="744"/>
                  </a:lnTo>
                  <a:lnTo>
                    <a:pt x="114" y="738"/>
                  </a:lnTo>
                  <a:lnTo>
                    <a:pt x="126" y="732"/>
                  </a:lnTo>
                  <a:lnTo>
                    <a:pt x="144" y="720"/>
                  </a:lnTo>
                  <a:lnTo>
                    <a:pt x="162" y="714"/>
                  </a:lnTo>
                  <a:lnTo>
                    <a:pt x="168" y="702"/>
                  </a:lnTo>
                  <a:lnTo>
                    <a:pt x="174" y="696"/>
                  </a:lnTo>
                  <a:lnTo>
                    <a:pt x="174" y="684"/>
                  </a:lnTo>
                  <a:lnTo>
                    <a:pt x="156" y="648"/>
                  </a:lnTo>
                  <a:lnTo>
                    <a:pt x="156" y="624"/>
                  </a:lnTo>
                  <a:lnTo>
                    <a:pt x="162" y="612"/>
                  </a:lnTo>
                  <a:lnTo>
                    <a:pt x="162" y="600"/>
                  </a:lnTo>
                  <a:close/>
                  <a:moveTo>
                    <a:pt x="330" y="1026"/>
                  </a:moveTo>
                  <a:lnTo>
                    <a:pt x="372" y="1056"/>
                  </a:lnTo>
                  <a:lnTo>
                    <a:pt x="372" y="1020"/>
                  </a:lnTo>
                  <a:lnTo>
                    <a:pt x="348" y="1002"/>
                  </a:lnTo>
                  <a:lnTo>
                    <a:pt x="330" y="1026"/>
                  </a:lnTo>
                  <a:close/>
                  <a:moveTo>
                    <a:pt x="660" y="840"/>
                  </a:moveTo>
                  <a:lnTo>
                    <a:pt x="660" y="816"/>
                  </a:lnTo>
                  <a:lnTo>
                    <a:pt x="654" y="804"/>
                  </a:lnTo>
                  <a:lnTo>
                    <a:pt x="654" y="792"/>
                  </a:lnTo>
                  <a:lnTo>
                    <a:pt x="642" y="780"/>
                  </a:lnTo>
                  <a:lnTo>
                    <a:pt x="630" y="774"/>
                  </a:lnTo>
                  <a:lnTo>
                    <a:pt x="600" y="744"/>
                  </a:lnTo>
                  <a:lnTo>
                    <a:pt x="588" y="738"/>
                  </a:lnTo>
                  <a:lnTo>
                    <a:pt x="582" y="738"/>
                  </a:lnTo>
                  <a:lnTo>
                    <a:pt x="576" y="744"/>
                  </a:lnTo>
                  <a:lnTo>
                    <a:pt x="582" y="750"/>
                  </a:lnTo>
                  <a:lnTo>
                    <a:pt x="588" y="762"/>
                  </a:lnTo>
                  <a:lnTo>
                    <a:pt x="594" y="768"/>
                  </a:lnTo>
                  <a:lnTo>
                    <a:pt x="606" y="774"/>
                  </a:lnTo>
                  <a:lnTo>
                    <a:pt x="606" y="786"/>
                  </a:lnTo>
                  <a:lnTo>
                    <a:pt x="600" y="786"/>
                  </a:lnTo>
                  <a:lnTo>
                    <a:pt x="588" y="792"/>
                  </a:lnTo>
                  <a:lnTo>
                    <a:pt x="570" y="792"/>
                  </a:lnTo>
                  <a:lnTo>
                    <a:pt x="558" y="798"/>
                  </a:lnTo>
                  <a:lnTo>
                    <a:pt x="546" y="798"/>
                  </a:lnTo>
                  <a:lnTo>
                    <a:pt x="546" y="828"/>
                  </a:lnTo>
                  <a:lnTo>
                    <a:pt x="528" y="828"/>
                  </a:lnTo>
                  <a:lnTo>
                    <a:pt x="522" y="846"/>
                  </a:lnTo>
                  <a:lnTo>
                    <a:pt x="498" y="864"/>
                  </a:lnTo>
                  <a:lnTo>
                    <a:pt x="492" y="864"/>
                  </a:lnTo>
                  <a:lnTo>
                    <a:pt x="486" y="858"/>
                  </a:lnTo>
                  <a:lnTo>
                    <a:pt x="474" y="852"/>
                  </a:lnTo>
                  <a:lnTo>
                    <a:pt x="462" y="852"/>
                  </a:lnTo>
                  <a:lnTo>
                    <a:pt x="450" y="846"/>
                  </a:lnTo>
                  <a:lnTo>
                    <a:pt x="438" y="858"/>
                  </a:lnTo>
                  <a:lnTo>
                    <a:pt x="432" y="870"/>
                  </a:lnTo>
                  <a:lnTo>
                    <a:pt x="420" y="882"/>
                  </a:lnTo>
                  <a:lnTo>
                    <a:pt x="414" y="894"/>
                  </a:lnTo>
                  <a:lnTo>
                    <a:pt x="408" y="900"/>
                  </a:lnTo>
                  <a:lnTo>
                    <a:pt x="408" y="906"/>
                  </a:lnTo>
                  <a:lnTo>
                    <a:pt x="408" y="900"/>
                  </a:lnTo>
                  <a:lnTo>
                    <a:pt x="396" y="888"/>
                  </a:lnTo>
                  <a:lnTo>
                    <a:pt x="384" y="888"/>
                  </a:lnTo>
                  <a:lnTo>
                    <a:pt x="378" y="900"/>
                  </a:lnTo>
                  <a:lnTo>
                    <a:pt x="378" y="912"/>
                  </a:lnTo>
                  <a:lnTo>
                    <a:pt x="372" y="924"/>
                  </a:lnTo>
                  <a:lnTo>
                    <a:pt x="366" y="930"/>
                  </a:lnTo>
                  <a:lnTo>
                    <a:pt x="360" y="942"/>
                  </a:lnTo>
                  <a:lnTo>
                    <a:pt x="384" y="960"/>
                  </a:lnTo>
                  <a:lnTo>
                    <a:pt x="402" y="942"/>
                  </a:lnTo>
                  <a:lnTo>
                    <a:pt x="414" y="966"/>
                  </a:lnTo>
                  <a:lnTo>
                    <a:pt x="420" y="960"/>
                  </a:lnTo>
                  <a:lnTo>
                    <a:pt x="432" y="954"/>
                  </a:lnTo>
                  <a:lnTo>
                    <a:pt x="450" y="936"/>
                  </a:lnTo>
                  <a:lnTo>
                    <a:pt x="462" y="930"/>
                  </a:lnTo>
                  <a:lnTo>
                    <a:pt x="474" y="930"/>
                  </a:lnTo>
                  <a:lnTo>
                    <a:pt x="498" y="954"/>
                  </a:lnTo>
                  <a:lnTo>
                    <a:pt x="510" y="960"/>
                  </a:lnTo>
                  <a:lnTo>
                    <a:pt x="492" y="978"/>
                  </a:lnTo>
                  <a:lnTo>
                    <a:pt x="492" y="990"/>
                  </a:lnTo>
                  <a:lnTo>
                    <a:pt x="510" y="1026"/>
                  </a:lnTo>
                  <a:lnTo>
                    <a:pt x="522" y="1044"/>
                  </a:lnTo>
                  <a:lnTo>
                    <a:pt x="534" y="1056"/>
                  </a:lnTo>
                  <a:lnTo>
                    <a:pt x="546" y="1062"/>
                  </a:lnTo>
                  <a:lnTo>
                    <a:pt x="558" y="1062"/>
                  </a:lnTo>
                  <a:lnTo>
                    <a:pt x="570" y="1068"/>
                  </a:lnTo>
                  <a:lnTo>
                    <a:pt x="582" y="1068"/>
                  </a:lnTo>
                  <a:lnTo>
                    <a:pt x="606" y="1050"/>
                  </a:lnTo>
                  <a:lnTo>
                    <a:pt x="606" y="1074"/>
                  </a:lnTo>
                  <a:lnTo>
                    <a:pt x="630" y="1074"/>
                  </a:lnTo>
                  <a:lnTo>
                    <a:pt x="630" y="1038"/>
                  </a:lnTo>
                  <a:lnTo>
                    <a:pt x="624" y="1032"/>
                  </a:lnTo>
                  <a:lnTo>
                    <a:pt x="606" y="996"/>
                  </a:lnTo>
                  <a:lnTo>
                    <a:pt x="606" y="984"/>
                  </a:lnTo>
                  <a:lnTo>
                    <a:pt x="612" y="972"/>
                  </a:lnTo>
                  <a:lnTo>
                    <a:pt x="624" y="960"/>
                  </a:lnTo>
                  <a:lnTo>
                    <a:pt x="654" y="1014"/>
                  </a:lnTo>
                  <a:lnTo>
                    <a:pt x="654" y="1008"/>
                  </a:lnTo>
                  <a:lnTo>
                    <a:pt x="660" y="1002"/>
                  </a:lnTo>
                  <a:lnTo>
                    <a:pt x="672" y="978"/>
                  </a:lnTo>
                  <a:lnTo>
                    <a:pt x="678" y="960"/>
                  </a:lnTo>
                  <a:lnTo>
                    <a:pt x="678" y="936"/>
                  </a:lnTo>
                  <a:lnTo>
                    <a:pt x="672" y="918"/>
                  </a:lnTo>
                  <a:lnTo>
                    <a:pt x="666" y="912"/>
                  </a:lnTo>
                  <a:lnTo>
                    <a:pt x="660" y="900"/>
                  </a:lnTo>
                  <a:lnTo>
                    <a:pt x="660" y="840"/>
                  </a:lnTo>
                  <a:close/>
                  <a:moveTo>
                    <a:pt x="330" y="384"/>
                  </a:moveTo>
                  <a:lnTo>
                    <a:pt x="348" y="384"/>
                  </a:lnTo>
                  <a:lnTo>
                    <a:pt x="354" y="390"/>
                  </a:lnTo>
                  <a:lnTo>
                    <a:pt x="366" y="396"/>
                  </a:lnTo>
                  <a:lnTo>
                    <a:pt x="366" y="408"/>
                  </a:lnTo>
                  <a:lnTo>
                    <a:pt x="372" y="420"/>
                  </a:lnTo>
                  <a:lnTo>
                    <a:pt x="384" y="438"/>
                  </a:lnTo>
                  <a:lnTo>
                    <a:pt x="396" y="450"/>
                  </a:lnTo>
                  <a:lnTo>
                    <a:pt x="414" y="462"/>
                  </a:lnTo>
                  <a:lnTo>
                    <a:pt x="432" y="462"/>
                  </a:lnTo>
                  <a:lnTo>
                    <a:pt x="444" y="438"/>
                  </a:lnTo>
                  <a:lnTo>
                    <a:pt x="444" y="426"/>
                  </a:lnTo>
                  <a:lnTo>
                    <a:pt x="432" y="402"/>
                  </a:lnTo>
                  <a:lnTo>
                    <a:pt x="420" y="396"/>
                  </a:lnTo>
                  <a:lnTo>
                    <a:pt x="408" y="396"/>
                  </a:lnTo>
                  <a:lnTo>
                    <a:pt x="408" y="390"/>
                  </a:lnTo>
                  <a:lnTo>
                    <a:pt x="414" y="384"/>
                  </a:lnTo>
                  <a:lnTo>
                    <a:pt x="414" y="378"/>
                  </a:lnTo>
                  <a:lnTo>
                    <a:pt x="420" y="372"/>
                  </a:lnTo>
                  <a:lnTo>
                    <a:pt x="408" y="372"/>
                  </a:lnTo>
                  <a:lnTo>
                    <a:pt x="396" y="366"/>
                  </a:lnTo>
                  <a:lnTo>
                    <a:pt x="390" y="360"/>
                  </a:lnTo>
                  <a:lnTo>
                    <a:pt x="372" y="360"/>
                  </a:lnTo>
                  <a:lnTo>
                    <a:pt x="366" y="366"/>
                  </a:lnTo>
                  <a:lnTo>
                    <a:pt x="354" y="372"/>
                  </a:lnTo>
                  <a:lnTo>
                    <a:pt x="342" y="360"/>
                  </a:lnTo>
                  <a:lnTo>
                    <a:pt x="330" y="354"/>
                  </a:lnTo>
                  <a:lnTo>
                    <a:pt x="312" y="354"/>
                  </a:lnTo>
                  <a:lnTo>
                    <a:pt x="300" y="366"/>
                  </a:lnTo>
                  <a:lnTo>
                    <a:pt x="288" y="372"/>
                  </a:lnTo>
                  <a:lnTo>
                    <a:pt x="282" y="372"/>
                  </a:lnTo>
                  <a:lnTo>
                    <a:pt x="264" y="354"/>
                  </a:lnTo>
                  <a:lnTo>
                    <a:pt x="258" y="342"/>
                  </a:lnTo>
                  <a:lnTo>
                    <a:pt x="258" y="252"/>
                  </a:lnTo>
                  <a:lnTo>
                    <a:pt x="270" y="228"/>
                  </a:lnTo>
                  <a:lnTo>
                    <a:pt x="270" y="222"/>
                  </a:lnTo>
                  <a:lnTo>
                    <a:pt x="288" y="204"/>
                  </a:lnTo>
                  <a:lnTo>
                    <a:pt x="288" y="174"/>
                  </a:lnTo>
                  <a:lnTo>
                    <a:pt x="276" y="150"/>
                  </a:lnTo>
                  <a:lnTo>
                    <a:pt x="276" y="126"/>
                  </a:lnTo>
                  <a:lnTo>
                    <a:pt x="282" y="108"/>
                  </a:lnTo>
                  <a:lnTo>
                    <a:pt x="282" y="72"/>
                  </a:lnTo>
                  <a:lnTo>
                    <a:pt x="264" y="54"/>
                  </a:lnTo>
                  <a:lnTo>
                    <a:pt x="264" y="36"/>
                  </a:lnTo>
                  <a:lnTo>
                    <a:pt x="258" y="30"/>
                  </a:lnTo>
                  <a:lnTo>
                    <a:pt x="258" y="6"/>
                  </a:lnTo>
                  <a:lnTo>
                    <a:pt x="252" y="0"/>
                  </a:lnTo>
                  <a:lnTo>
                    <a:pt x="240" y="0"/>
                  </a:lnTo>
                  <a:lnTo>
                    <a:pt x="234" y="6"/>
                  </a:lnTo>
                  <a:lnTo>
                    <a:pt x="234" y="12"/>
                  </a:lnTo>
                  <a:lnTo>
                    <a:pt x="228" y="18"/>
                  </a:lnTo>
                  <a:lnTo>
                    <a:pt x="216" y="24"/>
                  </a:lnTo>
                  <a:lnTo>
                    <a:pt x="204" y="24"/>
                  </a:lnTo>
                  <a:lnTo>
                    <a:pt x="192" y="18"/>
                  </a:lnTo>
                  <a:lnTo>
                    <a:pt x="186" y="12"/>
                  </a:lnTo>
                  <a:lnTo>
                    <a:pt x="174" y="12"/>
                  </a:lnTo>
                  <a:lnTo>
                    <a:pt x="162" y="18"/>
                  </a:lnTo>
                  <a:lnTo>
                    <a:pt x="162" y="36"/>
                  </a:lnTo>
                  <a:lnTo>
                    <a:pt x="156" y="42"/>
                  </a:lnTo>
                  <a:lnTo>
                    <a:pt x="156" y="48"/>
                  </a:lnTo>
                  <a:lnTo>
                    <a:pt x="144" y="72"/>
                  </a:lnTo>
                  <a:lnTo>
                    <a:pt x="132" y="84"/>
                  </a:lnTo>
                  <a:lnTo>
                    <a:pt x="132" y="96"/>
                  </a:lnTo>
                  <a:lnTo>
                    <a:pt x="138" y="102"/>
                  </a:lnTo>
                  <a:lnTo>
                    <a:pt x="144" y="114"/>
                  </a:lnTo>
                  <a:lnTo>
                    <a:pt x="150" y="132"/>
                  </a:lnTo>
                  <a:lnTo>
                    <a:pt x="156" y="138"/>
                  </a:lnTo>
                  <a:lnTo>
                    <a:pt x="156" y="150"/>
                  </a:lnTo>
                  <a:lnTo>
                    <a:pt x="150" y="162"/>
                  </a:lnTo>
                  <a:lnTo>
                    <a:pt x="150" y="168"/>
                  </a:lnTo>
                  <a:lnTo>
                    <a:pt x="144" y="174"/>
                  </a:lnTo>
                  <a:lnTo>
                    <a:pt x="138" y="186"/>
                  </a:lnTo>
                  <a:lnTo>
                    <a:pt x="138" y="198"/>
                  </a:lnTo>
                  <a:lnTo>
                    <a:pt x="150" y="210"/>
                  </a:lnTo>
                  <a:lnTo>
                    <a:pt x="150" y="216"/>
                  </a:lnTo>
                  <a:lnTo>
                    <a:pt x="144" y="222"/>
                  </a:lnTo>
                  <a:lnTo>
                    <a:pt x="138" y="222"/>
                  </a:lnTo>
                  <a:lnTo>
                    <a:pt x="126" y="228"/>
                  </a:lnTo>
                  <a:lnTo>
                    <a:pt x="120" y="228"/>
                  </a:lnTo>
                  <a:lnTo>
                    <a:pt x="120" y="210"/>
                  </a:lnTo>
                  <a:lnTo>
                    <a:pt x="114" y="204"/>
                  </a:lnTo>
                  <a:lnTo>
                    <a:pt x="114" y="252"/>
                  </a:lnTo>
                  <a:lnTo>
                    <a:pt x="150" y="306"/>
                  </a:lnTo>
                  <a:lnTo>
                    <a:pt x="174" y="330"/>
                  </a:lnTo>
                  <a:lnTo>
                    <a:pt x="186" y="348"/>
                  </a:lnTo>
                  <a:lnTo>
                    <a:pt x="204" y="384"/>
                  </a:lnTo>
                  <a:lnTo>
                    <a:pt x="216" y="402"/>
                  </a:lnTo>
                  <a:lnTo>
                    <a:pt x="228" y="408"/>
                  </a:lnTo>
                  <a:lnTo>
                    <a:pt x="252" y="408"/>
                  </a:lnTo>
                  <a:lnTo>
                    <a:pt x="258" y="396"/>
                  </a:lnTo>
                  <a:lnTo>
                    <a:pt x="270" y="390"/>
                  </a:lnTo>
                  <a:lnTo>
                    <a:pt x="276" y="384"/>
                  </a:lnTo>
                  <a:lnTo>
                    <a:pt x="288" y="384"/>
                  </a:lnTo>
                  <a:lnTo>
                    <a:pt x="294" y="396"/>
                  </a:lnTo>
                  <a:lnTo>
                    <a:pt x="306" y="402"/>
                  </a:lnTo>
                  <a:lnTo>
                    <a:pt x="324" y="420"/>
                  </a:lnTo>
                  <a:lnTo>
                    <a:pt x="342" y="420"/>
                  </a:lnTo>
                  <a:lnTo>
                    <a:pt x="342" y="402"/>
                  </a:lnTo>
                  <a:lnTo>
                    <a:pt x="336" y="396"/>
                  </a:lnTo>
                  <a:lnTo>
                    <a:pt x="330" y="384"/>
                  </a:lnTo>
                  <a:close/>
                  <a:moveTo>
                    <a:pt x="258" y="432"/>
                  </a:moveTo>
                  <a:lnTo>
                    <a:pt x="246" y="426"/>
                  </a:lnTo>
                  <a:lnTo>
                    <a:pt x="204" y="426"/>
                  </a:lnTo>
                  <a:lnTo>
                    <a:pt x="234" y="468"/>
                  </a:lnTo>
                  <a:lnTo>
                    <a:pt x="258" y="534"/>
                  </a:lnTo>
                  <a:lnTo>
                    <a:pt x="270" y="528"/>
                  </a:lnTo>
                  <a:lnTo>
                    <a:pt x="276" y="516"/>
                  </a:lnTo>
                  <a:lnTo>
                    <a:pt x="282" y="510"/>
                  </a:lnTo>
                  <a:lnTo>
                    <a:pt x="282" y="486"/>
                  </a:lnTo>
                  <a:lnTo>
                    <a:pt x="276" y="480"/>
                  </a:lnTo>
                  <a:lnTo>
                    <a:pt x="270" y="468"/>
                  </a:lnTo>
                  <a:lnTo>
                    <a:pt x="270" y="450"/>
                  </a:lnTo>
                  <a:lnTo>
                    <a:pt x="264" y="438"/>
                  </a:lnTo>
                  <a:lnTo>
                    <a:pt x="258" y="432"/>
                  </a:lnTo>
                  <a:close/>
                  <a:moveTo>
                    <a:pt x="330" y="648"/>
                  </a:moveTo>
                  <a:lnTo>
                    <a:pt x="336" y="660"/>
                  </a:lnTo>
                  <a:lnTo>
                    <a:pt x="354" y="678"/>
                  </a:lnTo>
                  <a:lnTo>
                    <a:pt x="360" y="672"/>
                  </a:lnTo>
                  <a:lnTo>
                    <a:pt x="372" y="666"/>
                  </a:lnTo>
                  <a:lnTo>
                    <a:pt x="378" y="660"/>
                  </a:lnTo>
                  <a:lnTo>
                    <a:pt x="384" y="660"/>
                  </a:lnTo>
                  <a:lnTo>
                    <a:pt x="390" y="666"/>
                  </a:lnTo>
                  <a:lnTo>
                    <a:pt x="390" y="696"/>
                  </a:lnTo>
                  <a:lnTo>
                    <a:pt x="402" y="708"/>
                  </a:lnTo>
                  <a:lnTo>
                    <a:pt x="396" y="720"/>
                  </a:lnTo>
                  <a:lnTo>
                    <a:pt x="390" y="726"/>
                  </a:lnTo>
                  <a:lnTo>
                    <a:pt x="372" y="762"/>
                  </a:lnTo>
                  <a:lnTo>
                    <a:pt x="372" y="786"/>
                  </a:lnTo>
                  <a:lnTo>
                    <a:pt x="378" y="792"/>
                  </a:lnTo>
                  <a:lnTo>
                    <a:pt x="384" y="804"/>
                  </a:lnTo>
                  <a:lnTo>
                    <a:pt x="396" y="804"/>
                  </a:lnTo>
                  <a:lnTo>
                    <a:pt x="408" y="798"/>
                  </a:lnTo>
                  <a:lnTo>
                    <a:pt x="420" y="798"/>
                  </a:lnTo>
                  <a:lnTo>
                    <a:pt x="432" y="792"/>
                  </a:lnTo>
                  <a:lnTo>
                    <a:pt x="438" y="786"/>
                  </a:lnTo>
                  <a:lnTo>
                    <a:pt x="438" y="768"/>
                  </a:lnTo>
                  <a:lnTo>
                    <a:pt x="432" y="756"/>
                  </a:lnTo>
                  <a:lnTo>
                    <a:pt x="426" y="738"/>
                  </a:lnTo>
                  <a:lnTo>
                    <a:pt x="426" y="726"/>
                  </a:lnTo>
                  <a:lnTo>
                    <a:pt x="432" y="714"/>
                  </a:lnTo>
                  <a:lnTo>
                    <a:pt x="444" y="678"/>
                  </a:lnTo>
                  <a:lnTo>
                    <a:pt x="444" y="660"/>
                  </a:lnTo>
                  <a:lnTo>
                    <a:pt x="438" y="648"/>
                  </a:lnTo>
                  <a:lnTo>
                    <a:pt x="432" y="642"/>
                  </a:lnTo>
                  <a:lnTo>
                    <a:pt x="426" y="642"/>
                  </a:lnTo>
                  <a:lnTo>
                    <a:pt x="414" y="654"/>
                  </a:lnTo>
                  <a:lnTo>
                    <a:pt x="402" y="660"/>
                  </a:lnTo>
                  <a:lnTo>
                    <a:pt x="396" y="660"/>
                  </a:lnTo>
                  <a:lnTo>
                    <a:pt x="396" y="648"/>
                  </a:lnTo>
                  <a:lnTo>
                    <a:pt x="408" y="624"/>
                  </a:lnTo>
                  <a:lnTo>
                    <a:pt x="408" y="612"/>
                  </a:lnTo>
                  <a:lnTo>
                    <a:pt x="414" y="600"/>
                  </a:lnTo>
                  <a:lnTo>
                    <a:pt x="414" y="594"/>
                  </a:lnTo>
                  <a:lnTo>
                    <a:pt x="408" y="588"/>
                  </a:lnTo>
                  <a:lnTo>
                    <a:pt x="372" y="570"/>
                  </a:lnTo>
                  <a:lnTo>
                    <a:pt x="366" y="564"/>
                  </a:lnTo>
                  <a:lnTo>
                    <a:pt x="330" y="564"/>
                  </a:lnTo>
                  <a:lnTo>
                    <a:pt x="324" y="570"/>
                  </a:lnTo>
                  <a:lnTo>
                    <a:pt x="324" y="576"/>
                  </a:lnTo>
                  <a:lnTo>
                    <a:pt x="330" y="582"/>
                  </a:lnTo>
                  <a:lnTo>
                    <a:pt x="336" y="582"/>
                  </a:lnTo>
                  <a:lnTo>
                    <a:pt x="342" y="594"/>
                  </a:lnTo>
                  <a:lnTo>
                    <a:pt x="342" y="600"/>
                  </a:lnTo>
                  <a:lnTo>
                    <a:pt x="336" y="606"/>
                  </a:lnTo>
                  <a:lnTo>
                    <a:pt x="336" y="618"/>
                  </a:lnTo>
                  <a:lnTo>
                    <a:pt x="330" y="630"/>
                  </a:lnTo>
                  <a:lnTo>
                    <a:pt x="330" y="648"/>
                  </a:lnTo>
                  <a:close/>
                </a:path>
              </a:pathLst>
            </a:custGeom>
            <a:solidFill>
              <a:srgbClr val="7030A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55" name="Peru" descr="© INSCALE GmbH, 05.05.2010&#10;http://www.presentationload.com/">
              <a:extLst>
                <a:ext uri="{FF2B5EF4-FFF2-40B4-BE49-F238E27FC236}">
                  <a16:creationId xmlns:a16="http://schemas.microsoft.com/office/drawing/2014/main" id="{5A5469CB-3E4D-F640-4BDA-6E8554785CAB}"/>
                </a:ext>
              </a:extLst>
            </p:cNvPr>
            <p:cNvSpPr>
              <a:spLocks/>
            </p:cNvSpPr>
            <p:nvPr/>
          </p:nvSpPr>
          <p:spPr bwMode="gray">
            <a:xfrm>
              <a:off x="2041480" y="3216997"/>
              <a:ext cx="357252" cy="564787"/>
            </a:xfrm>
            <a:custGeom>
              <a:avLst/>
              <a:gdLst>
                <a:gd name="T0" fmla="*/ 2147483647 w 942"/>
                <a:gd name="T1" fmla="*/ 2147483647 h 1488"/>
                <a:gd name="T2" fmla="*/ 2147483647 w 942"/>
                <a:gd name="T3" fmla="*/ 2147483647 h 1488"/>
                <a:gd name="T4" fmla="*/ 2147483647 w 942"/>
                <a:gd name="T5" fmla="*/ 2147483647 h 1488"/>
                <a:gd name="T6" fmla="*/ 2147483647 w 942"/>
                <a:gd name="T7" fmla="*/ 2147483647 h 1488"/>
                <a:gd name="T8" fmla="*/ 2147483647 w 942"/>
                <a:gd name="T9" fmla="*/ 2147483647 h 1488"/>
                <a:gd name="T10" fmla="*/ 2147483647 w 942"/>
                <a:gd name="T11" fmla="*/ 2147483647 h 1488"/>
                <a:gd name="T12" fmla="*/ 2147483647 w 942"/>
                <a:gd name="T13" fmla="*/ 2147483647 h 1488"/>
                <a:gd name="T14" fmla="*/ 2147483647 w 942"/>
                <a:gd name="T15" fmla="*/ 2147483647 h 1488"/>
                <a:gd name="T16" fmla="*/ 2147483647 w 942"/>
                <a:gd name="T17" fmla="*/ 2147483647 h 1488"/>
                <a:gd name="T18" fmla="*/ 2147483647 w 942"/>
                <a:gd name="T19" fmla="*/ 2147483647 h 1488"/>
                <a:gd name="T20" fmla="*/ 2147483647 w 942"/>
                <a:gd name="T21" fmla="*/ 2147483647 h 1488"/>
                <a:gd name="T22" fmla="*/ 2147483647 w 942"/>
                <a:gd name="T23" fmla="*/ 2147483647 h 1488"/>
                <a:gd name="T24" fmla="*/ 2147483647 w 942"/>
                <a:gd name="T25" fmla="*/ 2147483647 h 1488"/>
                <a:gd name="T26" fmla="*/ 2147483647 w 942"/>
                <a:gd name="T27" fmla="*/ 2147483647 h 1488"/>
                <a:gd name="T28" fmla="*/ 2147483647 w 942"/>
                <a:gd name="T29" fmla="*/ 2147483647 h 1488"/>
                <a:gd name="T30" fmla="*/ 2147483647 w 942"/>
                <a:gd name="T31" fmla="*/ 2147483647 h 1488"/>
                <a:gd name="T32" fmla="*/ 2147483647 w 942"/>
                <a:gd name="T33" fmla="*/ 2147483647 h 1488"/>
                <a:gd name="T34" fmla="*/ 2147483647 w 942"/>
                <a:gd name="T35" fmla="*/ 2147483647 h 1488"/>
                <a:gd name="T36" fmla="*/ 2147483647 w 942"/>
                <a:gd name="T37" fmla="*/ 2147483647 h 1488"/>
                <a:gd name="T38" fmla="*/ 2147483647 w 942"/>
                <a:gd name="T39" fmla="*/ 2147483647 h 1488"/>
                <a:gd name="T40" fmla="*/ 2147483647 w 942"/>
                <a:gd name="T41" fmla="*/ 2147483647 h 1488"/>
                <a:gd name="T42" fmla="*/ 2147483647 w 942"/>
                <a:gd name="T43" fmla="*/ 2147483647 h 1488"/>
                <a:gd name="T44" fmla="*/ 2147483647 w 942"/>
                <a:gd name="T45" fmla="*/ 2147483647 h 1488"/>
                <a:gd name="T46" fmla="*/ 2147483647 w 942"/>
                <a:gd name="T47" fmla="*/ 2147483647 h 1488"/>
                <a:gd name="T48" fmla="*/ 2147483647 w 942"/>
                <a:gd name="T49" fmla="*/ 2147483647 h 1488"/>
                <a:gd name="T50" fmla="*/ 2147483647 w 942"/>
                <a:gd name="T51" fmla="*/ 2147483647 h 1488"/>
                <a:gd name="T52" fmla="*/ 2147483647 w 942"/>
                <a:gd name="T53" fmla="*/ 2147483647 h 1488"/>
                <a:gd name="T54" fmla="*/ 2147483647 w 942"/>
                <a:gd name="T55" fmla="*/ 2147483647 h 1488"/>
                <a:gd name="T56" fmla="*/ 2147483647 w 942"/>
                <a:gd name="T57" fmla="*/ 2147483647 h 1488"/>
                <a:gd name="T58" fmla="*/ 2147483647 w 942"/>
                <a:gd name="T59" fmla="*/ 2147483647 h 1488"/>
                <a:gd name="T60" fmla="*/ 2147483647 w 942"/>
                <a:gd name="T61" fmla="*/ 2147483647 h 1488"/>
                <a:gd name="T62" fmla="*/ 2147483647 w 942"/>
                <a:gd name="T63" fmla="*/ 0 h 1488"/>
                <a:gd name="T64" fmla="*/ 2147483647 w 942"/>
                <a:gd name="T65" fmla="*/ 2147483647 h 1488"/>
                <a:gd name="T66" fmla="*/ 2147483647 w 942"/>
                <a:gd name="T67" fmla="*/ 2147483647 h 1488"/>
                <a:gd name="T68" fmla="*/ 2147483647 w 942"/>
                <a:gd name="T69" fmla="*/ 2147483647 h 1488"/>
                <a:gd name="T70" fmla="*/ 2147483647 w 942"/>
                <a:gd name="T71" fmla="*/ 2147483647 h 1488"/>
                <a:gd name="T72" fmla="*/ 2147483647 w 942"/>
                <a:gd name="T73" fmla="*/ 2147483647 h 1488"/>
                <a:gd name="T74" fmla="*/ 2147483647 w 942"/>
                <a:gd name="T75" fmla="*/ 2147483647 h 1488"/>
                <a:gd name="T76" fmla="*/ 2147483647 w 942"/>
                <a:gd name="T77" fmla="*/ 2147483647 h 1488"/>
                <a:gd name="T78" fmla="*/ 2147483647 w 942"/>
                <a:gd name="T79" fmla="*/ 2147483647 h 1488"/>
                <a:gd name="T80" fmla="*/ 2147483647 w 942"/>
                <a:gd name="T81" fmla="*/ 2147483647 h 1488"/>
                <a:gd name="T82" fmla="*/ 2147483647 w 942"/>
                <a:gd name="T83" fmla="*/ 2147483647 h 1488"/>
                <a:gd name="T84" fmla="*/ 0 w 942"/>
                <a:gd name="T85" fmla="*/ 2147483647 h 1488"/>
                <a:gd name="T86" fmla="*/ 2147483647 w 942"/>
                <a:gd name="T87" fmla="*/ 2147483647 h 1488"/>
                <a:gd name="T88" fmla="*/ 2147483647 w 942"/>
                <a:gd name="T89" fmla="*/ 2147483647 h 1488"/>
                <a:gd name="T90" fmla="*/ 2147483647 w 942"/>
                <a:gd name="T91" fmla="*/ 2147483647 h 1488"/>
                <a:gd name="T92" fmla="*/ 2147483647 w 942"/>
                <a:gd name="T93" fmla="*/ 2147483647 h 1488"/>
                <a:gd name="T94" fmla="*/ 2147483647 w 942"/>
                <a:gd name="T95" fmla="*/ 2147483647 h 1488"/>
                <a:gd name="T96" fmla="*/ 2147483647 w 942"/>
                <a:gd name="T97" fmla="*/ 2147483647 h 1488"/>
                <a:gd name="T98" fmla="*/ 2147483647 w 942"/>
                <a:gd name="T99" fmla="*/ 2147483647 h 1488"/>
                <a:gd name="T100" fmla="*/ 2147483647 w 942"/>
                <a:gd name="T101" fmla="*/ 2147483647 h 1488"/>
                <a:gd name="T102" fmla="*/ 2147483647 w 942"/>
                <a:gd name="T103" fmla="*/ 2147483647 h 1488"/>
                <a:gd name="T104" fmla="*/ 2147483647 w 942"/>
                <a:gd name="T105" fmla="*/ 2147483647 h 1488"/>
                <a:gd name="T106" fmla="*/ 2147483647 w 942"/>
                <a:gd name="T107" fmla="*/ 2147483647 h 1488"/>
                <a:gd name="T108" fmla="*/ 2147483647 w 942"/>
                <a:gd name="T109" fmla="*/ 2147483647 h 1488"/>
                <a:gd name="T110" fmla="*/ 2147483647 w 942"/>
                <a:gd name="T111" fmla="*/ 2147483647 h 1488"/>
                <a:gd name="T112" fmla="*/ 2147483647 w 942"/>
                <a:gd name="T113" fmla="*/ 2147483647 h 1488"/>
                <a:gd name="T114" fmla="*/ 2147483647 w 942"/>
                <a:gd name="T115" fmla="*/ 2147483647 h 1488"/>
                <a:gd name="T116" fmla="*/ 2147483647 w 942"/>
                <a:gd name="T117" fmla="*/ 2147483647 h 1488"/>
                <a:gd name="T118" fmla="*/ 2147483647 w 942"/>
                <a:gd name="T119" fmla="*/ 2147483647 h 1488"/>
                <a:gd name="T120" fmla="*/ 2147483647 w 942"/>
                <a:gd name="T121" fmla="*/ 2147483647 h 14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42"/>
                <a:gd name="T184" fmla="*/ 0 h 1488"/>
                <a:gd name="T185" fmla="*/ 942 w 942"/>
                <a:gd name="T186" fmla="*/ 1488 h 14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42" h="1488">
                  <a:moveTo>
                    <a:pt x="930" y="1320"/>
                  </a:moveTo>
                  <a:lnTo>
                    <a:pt x="924" y="1314"/>
                  </a:lnTo>
                  <a:lnTo>
                    <a:pt x="912" y="1308"/>
                  </a:lnTo>
                  <a:lnTo>
                    <a:pt x="888" y="1284"/>
                  </a:lnTo>
                  <a:lnTo>
                    <a:pt x="864" y="1284"/>
                  </a:lnTo>
                  <a:lnTo>
                    <a:pt x="858" y="1278"/>
                  </a:lnTo>
                  <a:lnTo>
                    <a:pt x="870" y="1260"/>
                  </a:lnTo>
                  <a:lnTo>
                    <a:pt x="870" y="1230"/>
                  </a:lnTo>
                  <a:lnTo>
                    <a:pt x="882" y="1230"/>
                  </a:lnTo>
                  <a:lnTo>
                    <a:pt x="906" y="1254"/>
                  </a:lnTo>
                  <a:lnTo>
                    <a:pt x="918" y="1236"/>
                  </a:lnTo>
                  <a:lnTo>
                    <a:pt x="918" y="1230"/>
                  </a:lnTo>
                  <a:lnTo>
                    <a:pt x="912" y="1224"/>
                  </a:lnTo>
                  <a:lnTo>
                    <a:pt x="906" y="1212"/>
                  </a:lnTo>
                  <a:lnTo>
                    <a:pt x="900" y="1194"/>
                  </a:lnTo>
                  <a:lnTo>
                    <a:pt x="912" y="1170"/>
                  </a:lnTo>
                  <a:lnTo>
                    <a:pt x="924" y="1158"/>
                  </a:lnTo>
                  <a:lnTo>
                    <a:pt x="930" y="1146"/>
                  </a:lnTo>
                  <a:lnTo>
                    <a:pt x="930" y="1140"/>
                  </a:lnTo>
                  <a:lnTo>
                    <a:pt x="924" y="1128"/>
                  </a:lnTo>
                  <a:lnTo>
                    <a:pt x="912" y="1116"/>
                  </a:lnTo>
                  <a:lnTo>
                    <a:pt x="906" y="1116"/>
                  </a:lnTo>
                  <a:lnTo>
                    <a:pt x="924" y="1086"/>
                  </a:lnTo>
                  <a:lnTo>
                    <a:pt x="912" y="1038"/>
                  </a:lnTo>
                  <a:lnTo>
                    <a:pt x="918" y="1032"/>
                  </a:lnTo>
                  <a:lnTo>
                    <a:pt x="924" y="1020"/>
                  </a:lnTo>
                  <a:lnTo>
                    <a:pt x="930" y="1014"/>
                  </a:lnTo>
                  <a:lnTo>
                    <a:pt x="930" y="1002"/>
                  </a:lnTo>
                  <a:lnTo>
                    <a:pt x="918" y="978"/>
                  </a:lnTo>
                  <a:lnTo>
                    <a:pt x="906" y="960"/>
                  </a:lnTo>
                  <a:lnTo>
                    <a:pt x="894" y="948"/>
                  </a:lnTo>
                  <a:lnTo>
                    <a:pt x="882" y="930"/>
                  </a:lnTo>
                  <a:lnTo>
                    <a:pt x="870" y="918"/>
                  </a:lnTo>
                  <a:lnTo>
                    <a:pt x="864" y="900"/>
                  </a:lnTo>
                  <a:lnTo>
                    <a:pt x="864" y="882"/>
                  </a:lnTo>
                  <a:lnTo>
                    <a:pt x="828" y="882"/>
                  </a:lnTo>
                  <a:lnTo>
                    <a:pt x="822" y="888"/>
                  </a:lnTo>
                  <a:lnTo>
                    <a:pt x="816" y="888"/>
                  </a:lnTo>
                  <a:lnTo>
                    <a:pt x="816" y="894"/>
                  </a:lnTo>
                  <a:lnTo>
                    <a:pt x="804" y="894"/>
                  </a:lnTo>
                  <a:lnTo>
                    <a:pt x="798" y="888"/>
                  </a:lnTo>
                  <a:lnTo>
                    <a:pt x="798" y="882"/>
                  </a:lnTo>
                  <a:lnTo>
                    <a:pt x="786" y="888"/>
                  </a:lnTo>
                  <a:lnTo>
                    <a:pt x="786" y="858"/>
                  </a:lnTo>
                  <a:lnTo>
                    <a:pt x="780" y="840"/>
                  </a:lnTo>
                  <a:lnTo>
                    <a:pt x="780" y="828"/>
                  </a:lnTo>
                  <a:lnTo>
                    <a:pt x="786" y="816"/>
                  </a:lnTo>
                  <a:lnTo>
                    <a:pt x="786" y="804"/>
                  </a:lnTo>
                  <a:lnTo>
                    <a:pt x="792" y="798"/>
                  </a:lnTo>
                  <a:lnTo>
                    <a:pt x="792" y="780"/>
                  </a:lnTo>
                  <a:lnTo>
                    <a:pt x="786" y="768"/>
                  </a:lnTo>
                  <a:lnTo>
                    <a:pt x="786" y="756"/>
                  </a:lnTo>
                  <a:lnTo>
                    <a:pt x="732" y="804"/>
                  </a:lnTo>
                  <a:lnTo>
                    <a:pt x="672" y="810"/>
                  </a:lnTo>
                  <a:lnTo>
                    <a:pt x="672" y="804"/>
                  </a:lnTo>
                  <a:lnTo>
                    <a:pt x="666" y="798"/>
                  </a:lnTo>
                  <a:lnTo>
                    <a:pt x="660" y="786"/>
                  </a:lnTo>
                  <a:lnTo>
                    <a:pt x="660" y="774"/>
                  </a:lnTo>
                  <a:lnTo>
                    <a:pt x="654" y="768"/>
                  </a:lnTo>
                  <a:lnTo>
                    <a:pt x="648" y="768"/>
                  </a:lnTo>
                  <a:lnTo>
                    <a:pt x="636" y="762"/>
                  </a:lnTo>
                  <a:lnTo>
                    <a:pt x="594" y="762"/>
                  </a:lnTo>
                  <a:lnTo>
                    <a:pt x="600" y="756"/>
                  </a:lnTo>
                  <a:lnTo>
                    <a:pt x="612" y="750"/>
                  </a:lnTo>
                  <a:lnTo>
                    <a:pt x="618" y="738"/>
                  </a:lnTo>
                  <a:lnTo>
                    <a:pt x="624" y="732"/>
                  </a:lnTo>
                  <a:lnTo>
                    <a:pt x="600" y="708"/>
                  </a:lnTo>
                  <a:lnTo>
                    <a:pt x="588" y="702"/>
                  </a:lnTo>
                  <a:lnTo>
                    <a:pt x="576" y="690"/>
                  </a:lnTo>
                  <a:lnTo>
                    <a:pt x="564" y="666"/>
                  </a:lnTo>
                  <a:lnTo>
                    <a:pt x="558" y="660"/>
                  </a:lnTo>
                  <a:lnTo>
                    <a:pt x="558" y="654"/>
                  </a:lnTo>
                  <a:lnTo>
                    <a:pt x="552" y="630"/>
                  </a:lnTo>
                  <a:lnTo>
                    <a:pt x="540" y="624"/>
                  </a:lnTo>
                  <a:lnTo>
                    <a:pt x="534" y="618"/>
                  </a:lnTo>
                  <a:lnTo>
                    <a:pt x="534" y="606"/>
                  </a:lnTo>
                  <a:lnTo>
                    <a:pt x="540" y="600"/>
                  </a:lnTo>
                  <a:lnTo>
                    <a:pt x="552" y="594"/>
                  </a:lnTo>
                  <a:lnTo>
                    <a:pt x="546" y="588"/>
                  </a:lnTo>
                  <a:lnTo>
                    <a:pt x="546" y="564"/>
                  </a:lnTo>
                  <a:lnTo>
                    <a:pt x="552" y="552"/>
                  </a:lnTo>
                  <a:lnTo>
                    <a:pt x="582" y="522"/>
                  </a:lnTo>
                  <a:lnTo>
                    <a:pt x="588" y="528"/>
                  </a:lnTo>
                  <a:lnTo>
                    <a:pt x="594" y="528"/>
                  </a:lnTo>
                  <a:lnTo>
                    <a:pt x="588" y="522"/>
                  </a:lnTo>
                  <a:lnTo>
                    <a:pt x="588" y="504"/>
                  </a:lnTo>
                  <a:lnTo>
                    <a:pt x="582" y="498"/>
                  </a:lnTo>
                  <a:lnTo>
                    <a:pt x="582" y="486"/>
                  </a:lnTo>
                  <a:lnTo>
                    <a:pt x="600" y="468"/>
                  </a:lnTo>
                  <a:lnTo>
                    <a:pt x="600" y="414"/>
                  </a:lnTo>
                  <a:lnTo>
                    <a:pt x="624" y="414"/>
                  </a:lnTo>
                  <a:lnTo>
                    <a:pt x="624" y="408"/>
                  </a:lnTo>
                  <a:lnTo>
                    <a:pt x="630" y="402"/>
                  </a:lnTo>
                  <a:lnTo>
                    <a:pt x="630" y="396"/>
                  </a:lnTo>
                  <a:lnTo>
                    <a:pt x="642" y="384"/>
                  </a:lnTo>
                  <a:lnTo>
                    <a:pt x="654" y="378"/>
                  </a:lnTo>
                  <a:lnTo>
                    <a:pt x="660" y="372"/>
                  </a:lnTo>
                  <a:lnTo>
                    <a:pt x="672" y="366"/>
                  </a:lnTo>
                  <a:lnTo>
                    <a:pt x="702" y="366"/>
                  </a:lnTo>
                  <a:lnTo>
                    <a:pt x="708" y="354"/>
                  </a:lnTo>
                  <a:lnTo>
                    <a:pt x="738" y="360"/>
                  </a:lnTo>
                  <a:lnTo>
                    <a:pt x="744" y="354"/>
                  </a:lnTo>
                  <a:lnTo>
                    <a:pt x="750" y="342"/>
                  </a:lnTo>
                  <a:lnTo>
                    <a:pt x="756" y="336"/>
                  </a:lnTo>
                  <a:lnTo>
                    <a:pt x="774" y="336"/>
                  </a:lnTo>
                  <a:lnTo>
                    <a:pt x="786" y="348"/>
                  </a:lnTo>
                  <a:lnTo>
                    <a:pt x="786" y="354"/>
                  </a:lnTo>
                  <a:lnTo>
                    <a:pt x="804" y="354"/>
                  </a:lnTo>
                  <a:lnTo>
                    <a:pt x="816" y="342"/>
                  </a:lnTo>
                  <a:lnTo>
                    <a:pt x="798" y="330"/>
                  </a:lnTo>
                  <a:lnTo>
                    <a:pt x="786" y="312"/>
                  </a:lnTo>
                  <a:lnTo>
                    <a:pt x="768" y="312"/>
                  </a:lnTo>
                  <a:lnTo>
                    <a:pt x="762" y="306"/>
                  </a:lnTo>
                  <a:lnTo>
                    <a:pt x="762" y="288"/>
                  </a:lnTo>
                  <a:lnTo>
                    <a:pt x="774" y="264"/>
                  </a:lnTo>
                  <a:lnTo>
                    <a:pt x="774" y="258"/>
                  </a:lnTo>
                  <a:lnTo>
                    <a:pt x="780" y="252"/>
                  </a:lnTo>
                  <a:lnTo>
                    <a:pt x="786" y="252"/>
                  </a:lnTo>
                  <a:lnTo>
                    <a:pt x="792" y="246"/>
                  </a:lnTo>
                  <a:lnTo>
                    <a:pt x="798" y="234"/>
                  </a:lnTo>
                  <a:lnTo>
                    <a:pt x="798" y="216"/>
                  </a:lnTo>
                  <a:lnTo>
                    <a:pt x="792" y="210"/>
                  </a:lnTo>
                  <a:lnTo>
                    <a:pt x="780" y="204"/>
                  </a:lnTo>
                  <a:lnTo>
                    <a:pt x="756" y="204"/>
                  </a:lnTo>
                  <a:lnTo>
                    <a:pt x="750" y="198"/>
                  </a:lnTo>
                  <a:lnTo>
                    <a:pt x="744" y="186"/>
                  </a:lnTo>
                  <a:lnTo>
                    <a:pt x="744" y="180"/>
                  </a:lnTo>
                  <a:lnTo>
                    <a:pt x="732" y="180"/>
                  </a:lnTo>
                  <a:lnTo>
                    <a:pt x="726" y="186"/>
                  </a:lnTo>
                  <a:lnTo>
                    <a:pt x="714" y="192"/>
                  </a:lnTo>
                  <a:lnTo>
                    <a:pt x="702" y="192"/>
                  </a:lnTo>
                  <a:lnTo>
                    <a:pt x="696" y="186"/>
                  </a:lnTo>
                  <a:lnTo>
                    <a:pt x="690" y="186"/>
                  </a:lnTo>
                  <a:lnTo>
                    <a:pt x="684" y="180"/>
                  </a:lnTo>
                  <a:lnTo>
                    <a:pt x="660" y="180"/>
                  </a:lnTo>
                  <a:lnTo>
                    <a:pt x="648" y="192"/>
                  </a:lnTo>
                  <a:lnTo>
                    <a:pt x="648" y="204"/>
                  </a:lnTo>
                  <a:lnTo>
                    <a:pt x="612" y="204"/>
                  </a:lnTo>
                  <a:lnTo>
                    <a:pt x="588" y="198"/>
                  </a:lnTo>
                  <a:lnTo>
                    <a:pt x="576" y="192"/>
                  </a:lnTo>
                  <a:lnTo>
                    <a:pt x="576" y="168"/>
                  </a:lnTo>
                  <a:lnTo>
                    <a:pt x="582" y="162"/>
                  </a:lnTo>
                  <a:lnTo>
                    <a:pt x="582" y="156"/>
                  </a:lnTo>
                  <a:lnTo>
                    <a:pt x="576" y="150"/>
                  </a:lnTo>
                  <a:lnTo>
                    <a:pt x="564" y="144"/>
                  </a:lnTo>
                  <a:lnTo>
                    <a:pt x="552" y="144"/>
                  </a:lnTo>
                  <a:lnTo>
                    <a:pt x="552" y="138"/>
                  </a:lnTo>
                  <a:lnTo>
                    <a:pt x="546" y="132"/>
                  </a:lnTo>
                  <a:lnTo>
                    <a:pt x="546" y="108"/>
                  </a:lnTo>
                  <a:lnTo>
                    <a:pt x="540" y="102"/>
                  </a:lnTo>
                  <a:lnTo>
                    <a:pt x="528" y="102"/>
                  </a:lnTo>
                  <a:lnTo>
                    <a:pt x="516" y="84"/>
                  </a:lnTo>
                  <a:lnTo>
                    <a:pt x="498" y="84"/>
                  </a:lnTo>
                  <a:lnTo>
                    <a:pt x="486" y="48"/>
                  </a:lnTo>
                  <a:lnTo>
                    <a:pt x="480" y="42"/>
                  </a:lnTo>
                  <a:lnTo>
                    <a:pt x="468" y="36"/>
                  </a:lnTo>
                  <a:lnTo>
                    <a:pt x="450" y="18"/>
                  </a:lnTo>
                  <a:lnTo>
                    <a:pt x="438" y="12"/>
                  </a:lnTo>
                  <a:lnTo>
                    <a:pt x="426" y="0"/>
                  </a:lnTo>
                  <a:lnTo>
                    <a:pt x="396" y="0"/>
                  </a:lnTo>
                  <a:lnTo>
                    <a:pt x="414" y="0"/>
                  </a:lnTo>
                  <a:lnTo>
                    <a:pt x="414" y="24"/>
                  </a:lnTo>
                  <a:lnTo>
                    <a:pt x="408" y="24"/>
                  </a:lnTo>
                  <a:lnTo>
                    <a:pt x="408" y="30"/>
                  </a:lnTo>
                  <a:lnTo>
                    <a:pt x="402" y="30"/>
                  </a:lnTo>
                  <a:lnTo>
                    <a:pt x="426" y="48"/>
                  </a:lnTo>
                  <a:lnTo>
                    <a:pt x="426" y="78"/>
                  </a:lnTo>
                  <a:lnTo>
                    <a:pt x="414" y="84"/>
                  </a:lnTo>
                  <a:lnTo>
                    <a:pt x="402" y="126"/>
                  </a:lnTo>
                  <a:lnTo>
                    <a:pt x="396" y="138"/>
                  </a:lnTo>
                  <a:lnTo>
                    <a:pt x="384" y="150"/>
                  </a:lnTo>
                  <a:lnTo>
                    <a:pt x="378" y="162"/>
                  </a:lnTo>
                  <a:lnTo>
                    <a:pt x="366" y="174"/>
                  </a:lnTo>
                  <a:lnTo>
                    <a:pt x="354" y="192"/>
                  </a:lnTo>
                  <a:lnTo>
                    <a:pt x="336" y="204"/>
                  </a:lnTo>
                  <a:lnTo>
                    <a:pt x="276" y="234"/>
                  </a:lnTo>
                  <a:lnTo>
                    <a:pt x="258" y="240"/>
                  </a:lnTo>
                  <a:lnTo>
                    <a:pt x="240" y="252"/>
                  </a:lnTo>
                  <a:lnTo>
                    <a:pt x="222" y="270"/>
                  </a:lnTo>
                  <a:lnTo>
                    <a:pt x="222" y="276"/>
                  </a:lnTo>
                  <a:lnTo>
                    <a:pt x="210" y="282"/>
                  </a:lnTo>
                  <a:lnTo>
                    <a:pt x="210" y="300"/>
                  </a:lnTo>
                  <a:lnTo>
                    <a:pt x="198" y="312"/>
                  </a:lnTo>
                  <a:lnTo>
                    <a:pt x="198" y="336"/>
                  </a:lnTo>
                  <a:lnTo>
                    <a:pt x="192" y="348"/>
                  </a:lnTo>
                  <a:lnTo>
                    <a:pt x="192" y="378"/>
                  </a:lnTo>
                  <a:lnTo>
                    <a:pt x="174" y="378"/>
                  </a:lnTo>
                  <a:lnTo>
                    <a:pt x="168" y="384"/>
                  </a:lnTo>
                  <a:lnTo>
                    <a:pt x="168" y="390"/>
                  </a:lnTo>
                  <a:lnTo>
                    <a:pt x="162" y="396"/>
                  </a:lnTo>
                  <a:lnTo>
                    <a:pt x="162" y="402"/>
                  </a:lnTo>
                  <a:lnTo>
                    <a:pt x="144" y="402"/>
                  </a:lnTo>
                  <a:lnTo>
                    <a:pt x="138" y="390"/>
                  </a:lnTo>
                  <a:lnTo>
                    <a:pt x="138" y="372"/>
                  </a:lnTo>
                  <a:lnTo>
                    <a:pt x="132" y="366"/>
                  </a:lnTo>
                  <a:lnTo>
                    <a:pt x="132" y="360"/>
                  </a:lnTo>
                  <a:lnTo>
                    <a:pt x="102" y="360"/>
                  </a:lnTo>
                  <a:lnTo>
                    <a:pt x="90" y="348"/>
                  </a:lnTo>
                  <a:lnTo>
                    <a:pt x="78" y="360"/>
                  </a:lnTo>
                  <a:lnTo>
                    <a:pt x="66" y="366"/>
                  </a:lnTo>
                  <a:lnTo>
                    <a:pt x="60" y="366"/>
                  </a:lnTo>
                  <a:lnTo>
                    <a:pt x="54" y="360"/>
                  </a:lnTo>
                  <a:lnTo>
                    <a:pt x="66" y="348"/>
                  </a:lnTo>
                  <a:lnTo>
                    <a:pt x="54" y="336"/>
                  </a:lnTo>
                  <a:lnTo>
                    <a:pt x="60" y="330"/>
                  </a:lnTo>
                  <a:lnTo>
                    <a:pt x="66" y="318"/>
                  </a:lnTo>
                  <a:lnTo>
                    <a:pt x="78" y="312"/>
                  </a:lnTo>
                  <a:lnTo>
                    <a:pt x="84" y="300"/>
                  </a:lnTo>
                  <a:lnTo>
                    <a:pt x="90" y="294"/>
                  </a:lnTo>
                  <a:lnTo>
                    <a:pt x="90" y="288"/>
                  </a:lnTo>
                  <a:lnTo>
                    <a:pt x="84" y="288"/>
                  </a:lnTo>
                  <a:lnTo>
                    <a:pt x="72" y="282"/>
                  </a:lnTo>
                  <a:lnTo>
                    <a:pt x="66" y="282"/>
                  </a:lnTo>
                  <a:lnTo>
                    <a:pt x="6" y="342"/>
                  </a:lnTo>
                  <a:lnTo>
                    <a:pt x="0" y="354"/>
                  </a:lnTo>
                  <a:lnTo>
                    <a:pt x="0" y="390"/>
                  </a:lnTo>
                  <a:lnTo>
                    <a:pt x="6" y="396"/>
                  </a:lnTo>
                  <a:lnTo>
                    <a:pt x="18" y="396"/>
                  </a:lnTo>
                  <a:lnTo>
                    <a:pt x="12" y="420"/>
                  </a:lnTo>
                  <a:lnTo>
                    <a:pt x="36" y="444"/>
                  </a:lnTo>
                  <a:lnTo>
                    <a:pt x="36" y="462"/>
                  </a:lnTo>
                  <a:lnTo>
                    <a:pt x="12" y="486"/>
                  </a:lnTo>
                  <a:lnTo>
                    <a:pt x="12" y="492"/>
                  </a:lnTo>
                  <a:lnTo>
                    <a:pt x="18" y="504"/>
                  </a:lnTo>
                  <a:lnTo>
                    <a:pt x="24" y="510"/>
                  </a:lnTo>
                  <a:lnTo>
                    <a:pt x="36" y="516"/>
                  </a:lnTo>
                  <a:lnTo>
                    <a:pt x="54" y="522"/>
                  </a:lnTo>
                  <a:lnTo>
                    <a:pt x="66" y="522"/>
                  </a:lnTo>
                  <a:lnTo>
                    <a:pt x="108" y="564"/>
                  </a:lnTo>
                  <a:lnTo>
                    <a:pt x="114" y="576"/>
                  </a:lnTo>
                  <a:lnTo>
                    <a:pt x="132" y="594"/>
                  </a:lnTo>
                  <a:lnTo>
                    <a:pt x="138" y="612"/>
                  </a:lnTo>
                  <a:lnTo>
                    <a:pt x="144" y="624"/>
                  </a:lnTo>
                  <a:lnTo>
                    <a:pt x="144" y="642"/>
                  </a:lnTo>
                  <a:lnTo>
                    <a:pt x="150" y="648"/>
                  </a:lnTo>
                  <a:lnTo>
                    <a:pt x="156" y="660"/>
                  </a:lnTo>
                  <a:lnTo>
                    <a:pt x="168" y="666"/>
                  </a:lnTo>
                  <a:lnTo>
                    <a:pt x="174" y="678"/>
                  </a:lnTo>
                  <a:lnTo>
                    <a:pt x="192" y="696"/>
                  </a:lnTo>
                  <a:lnTo>
                    <a:pt x="204" y="720"/>
                  </a:lnTo>
                  <a:lnTo>
                    <a:pt x="216" y="732"/>
                  </a:lnTo>
                  <a:lnTo>
                    <a:pt x="222" y="744"/>
                  </a:lnTo>
                  <a:lnTo>
                    <a:pt x="234" y="762"/>
                  </a:lnTo>
                  <a:lnTo>
                    <a:pt x="240" y="768"/>
                  </a:lnTo>
                  <a:lnTo>
                    <a:pt x="246" y="780"/>
                  </a:lnTo>
                  <a:lnTo>
                    <a:pt x="252" y="822"/>
                  </a:lnTo>
                  <a:lnTo>
                    <a:pt x="252" y="828"/>
                  </a:lnTo>
                  <a:lnTo>
                    <a:pt x="258" y="834"/>
                  </a:lnTo>
                  <a:lnTo>
                    <a:pt x="264" y="846"/>
                  </a:lnTo>
                  <a:lnTo>
                    <a:pt x="270" y="864"/>
                  </a:lnTo>
                  <a:lnTo>
                    <a:pt x="282" y="876"/>
                  </a:lnTo>
                  <a:lnTo>
                    <a:pt x="288" y="894"/>
                  </a:lnTo>
                  <a:lnTo>
                    <a:pt x="294" y="906"/>
                  </a:lnTo>
                  <a:lnTo>
                    <a:pt x="294" y="918"/>
                  </a:lnTo>
                  <a:lnTo>
                    <a:pt x="300" y="924"/>
                  </a:lnTo>
                  <a:lnTo>
                    <a:pt x="312" y="924"/>
                  </a:lnTo>
                  <a:lnTo>
                    <a:pt x="324" y="936"/>
                  </a:lnTo>
                  <a:lnTo>
                    <a:pt x="324" y="948"/>
                  </a:lnTo>
                  <a:lnTo>
                    <a:pt x="330" y="954"/>
                  </a:lnTo>
                  <a:lnTo>
                    <a:pt x="330" y="966"/>
                  </a:lnTo>
                  <a:lnTo>
                    <a:pt x="336" y="984"/>
                  </a:lnTo>
                  <a:lnTo>
                    <a:pt x="360" y="1014"/>
                  </a:lnTo>
                  <a:lnTo>
                    <a:pt x="378" y="1050"/>
                  </a:lnTo>
                  <a:lnTo>
                    <a:pt x="396" y="1074"/>
                  </a:lnTo>
                  <a:lnTo>
                    <a:pt x="402" y="1086"/>
                  </a:lnTo>
                  <a:lnTo>
                    <a:pt x="408" y="1104"/>
                  </a:lnTo>
                  <a:lnTo>
                    <a:pt x="408" y="1116"/>
                  </a:lnTo>
                  <a:lnTo>
                    <a:pt x="402" y="1128"/>
                  </a:lnTo>
                  <a:lnTo>
                    <a:pt x="402" y="1146"/>
                  </a:lnTo>
                  <a:lnTo>
                    <a:pt x="414" y="1158"/>
                  </a:lnTo>
                  <a:lnTo>
                    <a:pt x="420" y="1170"/>
                  </a:lnTo>
                  <a:lnTo>
                    <a:pt x="444" y="1194"/>
                  </a:lnTo>
                  <a:lnTo>
                    <a:pt x="456" y="1200"/>
                  </a:lnTo>
                  <a:lnTo>
                    <a:pt x="468" y="1212"/>
                  </a:lnTo>
                  <a:lnTo>
                    <a:pt x="474" y="1224"/>
                  </a:lnTo>
                  <a:lnTo>
                    <a:pt x="498" y="1248"/>
                  </a:lnTo>
                  <a:lnTo>
                    <a:pt x="516" y="1260"/>
                  </a:lnTo>
                  <a:lnTo>
                    <a:pt x="546" y="1278"/>
                  </a:lnTo>
                  <a:lnTo>
                    <a:pt x="576" y="1290"/>
                  </a:lnTo>
                  <a:lnTo>
                    <a:pt x="600" y="1302"/>
                  </a:lnTo>
                  <a:lnTo>
                    <a:pt x="642" y="1320"/>
                  </a:lnTo>
                  <a:lnTo>
                    <a:pt x="696" y="1350"/>
                  </a:lnTo>
                  <a:lnTo>
                    <a:pt x="708" y="1362"/>
                  </a:lnTo>
                  <a:lnTo>
                    <a:pt x="726" y="1374"/>
                  </a:lnTo>
                  <a:lnTo>
                    <a:pt x="738" y="1380"/>
                  </a:lnTo>
                  <a:lnTo>
                    <a:pt x="750" y="1392"/>
                  </a:lnTo>
                  <a:lnTo>
                    <a:pt x="774" y="1404"/>
                  </a:lnTo>
                  <a:lnTo>
                    <a:pt x="780" y="1428"/>
                  </a:lnTo>
                  <a:lnTo>
                    <a:pt x="792" y="1434"/>
                  </a:lnTo>
                  <a:lnTo>
                    <a:pt x="798" y="1446"/>
                  </a:lnTo>
                  <a:lnTo>
                    <a:pt x="810" y="1452"/>
                  </a:lnTo>
                  <a:lnTo>
                    <a:pt x="816" y="1458"/>
                  </a:lnTo>
                  <a:lnTo>
                    <a:pt x="840" y="1470"/>
                  </a:lnTo>
                  <a:lnTo>
                    <a:pt x="846" y="1482"/>
                  </a:lnTo>
                  <a:lnTo>
                    <a:pt x="858" y="1488"/>
                  </a:lnTo>
                  <a:lnTo>
                    <a:pt x="894" y="1464"/>
                  </a:lnTo>
                  <a:lnTo>
                    <a:pt x="900" y="1458"/>
                  </a:lnTo>
                  <a:lnTo>
                    <a:pt x="900" y="1440"/>
                  </a:lnTo>
                  <a:lnTo>
                    <a:pt x="894" y="1428"/>
                  </a:lnTo>
                  <a:lnTo>
                    <a:pt x="912" y="1416"/>
                  </a:lnTo>
                  <a:lnTo>
                    <a:pt x="900" y="1392"/>
                  </a:lnTo>
                  <a:lnTo>
                    <a:pt x="918" y="1374"/>
                  </a:lnTo>
                  <a:lnTo>
                    <a:pt x="930" y="1368"/>
                  </a:lnTo>
                  <a:lnTo>
                    <a:pt x="942" y="1344"/>
                  </a:lnTo>
                  <a:lnTo>
                    <a:pt x="942" y="1332"/>
                  </a:lnTo>
                  <a:lnTo>
                    <a:pt x="930" y="1320"/>
                  </a:lnTo>
                  <a:close/>
                </a:path>
              </a:pathLst>
            </a:custGeom>
            <a:solidFill>
              <a:srgbClr val="FFFF0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56" name="Paraguay" descr="© INSCALE GmbH, 05.05.2010&#10;http://www.presentationload.com/">
              <a:extLst>
                <a:ext uri="{FF2B5EF4-FFF2-40B4-BE49-F238E27FC236}">
                  <a16:creationId xmlns:a16="http://schemas.microsoft.com/office/drawing/2014/main" id="{60F15636-6EB1-A11C-203A-5E8C4D3F32BE}"/>
                </a:ext>
              </a:extLst>
            </p:cNvPr>
            <p:cNvSpPr>
              <a:spLocks/>
            </p:cNvSpPr>
            <p:nvPr/>
          </p:nvSpPr>
          <p:spPr bwMode="gray">
            <a:xfrm>
              <a:off x="2586993" y="3806984"/>
              <a:ext cx="226803" cy="256451"/>
            </a:xfrm>
            <a:custGeom>
              <a:avLst/>
              <a:gdLst>
                <a:gd name="T0" fmla="*/ 2147483647 w 600"/>
                <a:gd name="T1" fmla="*/ 2147483647 h 678"/>
                <a:gd name="T2" fmla="*/ 2147483647 w 600"/>
                <a:gd name="T3" fmla="*/ 2147483647 h 678"/>
                <a:gd name="T4" fmla="*/ 2147483647 w 600"/>
                <a:gd name="T5" fmla="*/ 2147483647 h 678"/>
                <a:gd name="T6" fmla="*/ 2147483647 w 600"/>
                <a:gd name="T7" fmla="*/ 2147483647 h 678"/>
                <a:gd name="T8" fmla="*/ 2147483647 w 600"/>
                <a:gd name="T9" fmla="*/ 2147483647 h 678"/>
                <a:gd name="T10" fmla="*/ 2147483647 w 600"/>
                <a:gd name="T11" fmla="*/ 2147483647 h 678"/>
                <a:gd name="T12" fmla="*/ 2147483647 w 600"/>
                <a:gd name="T13" fmla="*/ 2147483647 h 678"/>
                <a:gd name="T14" fmla="*/ 2147483647 w 600"/>
                <a:gd name="T15" fmla="*/ 2147483647 h 678"/>
                <a:gd name="T16" fmla="*/ 2147483647 w 600"/>
                <a:gd name="T17" fmla="*/ 2147483647 h 678"/>
                <a:gd name="T18" fmla="*/ 2147483647 w 600"/>
                <a:gd name="T19" fmla="*/ 2147483647 h 678"/>
                <a:gd name="T20" fmla="*/ 2147483647 w 600"/>
                <a:gd name="T21" fmla="*/ 2147483647 h 678"/>
                <a:gd name="T22" fmla="*/ 2147483647 w 600"/>
                <a:gd name="T23" fmla="*/ 2147483647 h 678"/>
                <a:gd name="T24" fmla="*/ 2147483647 w 600"/>
                <a:gd name="T25" fmla="*/ 2147483647 h 678"/>
                <a:gd name="T26" fmla="*/ 2147483647 w 600"/>
                <a:gd name="T27" fmla="*/ 2147483647 h 678"/>
                <a:gd name="T28" fmla="*/ 2147483647 w 600"/>
                <a:gd name="T29" fmla="*/ 2147483647 h 678"/>
                <a:gd name="T30" fmla="*/ 2147483647 w 600"/>
                <a:gd name="T31" fmla="*/ 2147483647 h 678"/>
                <a:gd name="T32" fmla="*/ 2147483647 w 600"/>
                <a:gd name="T33" fmla="*/ 2147483647 h 678"/>
                <a:gd name="T34" fmla="*/ 2147483647 w 600"/>
                <a:gd name="T35" fmla="*/ 2147483647 h 678"/>
                <a:gd name="T36" fmla="*/ 2147483647 w 600"/>
                <a:gd name="T37" fmla="*/ 2147483647 h 678"/>
                <a:gd name="T38" fmla="*/ 2147483647 w 600"/>
                <a:gd name="T39" fmla="*/ 2147483647 h 678"/>
                <a:gd name="T40" fmla="*/ 2147483647 w 600"/>
                <a:gd name="T41" fmla="*/ 2147483647 h 678"/>
                <a:gd name="T42" fmla="*/ 2147483647 w 600"/>
                <a:gd name="T43" fmla="*/ 2147483647 h 678"/>
                <a:gd name="T44" fmla="*/ 2147483647 w 600"/>
                <a:gd name="T45" fmla="*/ 2147483647 h 678"/>
                <a:gd name="T46" fmla="*/ 2147483647 w 600"/>
                <a:gd name="T47" fmla="*/ 2147483647 h 678"/>
                <a:gd name="T48" fmla="*/ 2147483647 w 600"/>
                <a:gd name="T49" fmla="*/ 2147483647 h 678"/>
                <a:gd name="T50" fmla="*/ 2147483647 w 600"/>
                <a:gd name="T51" fmla="*/ 2147483647 h 678"/>
                <a:gd name="T52" fmla="*/ 2147483647 w 600"/>
                <a:gd name="T53" fmla="*/ 0 h 678"/>
                <a:gd name="T54" fmla="*/ 2147483647 w 600"/>
                <a:gd name="T55" fmla="*/ 2147483647 h 678"/>
                <a:gd name="T56" fmla="*/ 2147483647 w 600"/>
                <a:gd name="T57" fmla="*/ 2147483647 h 678"/>
                <a:gd name="T58" fmla="*/ 0 w 600"/>
                <a:gd name="T59" fmla="*/ 2147483647 h 678"/>
                <a:gd name="T60" fmla="*/ 2147483647 w 600"/>
                <a:gd name="T61" fmla="*/ 2147483647 h 678"/>
                <a:gd name="T62" fmla="*/ 2147483647 w 600"/>
                <a:gd name="T63" fmla="*/ 2147483647 h 678"/>
                <a:gd name="T64" fmla="*/ 2147483647 w 600"/>
                <a:gd name="T65" fmla="*/ 2147483647 h 678"/>
                <a:gd name="T66" fmla="*/ 2147483647 w 600"/>
                <a:gd name="T67" fmla="*/ 2147483647 h 678"/>
                <a:gd name="T68" fmla="*/ 2147483647 w 600"/>
                <a:gd name="T69" fmla="*/ 2147483647 h 678"/>
                <a:gd name="T70" fmla="*/ 2147483647 w 600"/>
                <a:gd name="T71" fmla="*/ 2147483647 h 678"/>
                <a:gd name="T72" fmla="*/ 2147483647 w 600"/>
                <a:gd name="T73" fmla="*/ 2147483647 h 678"/>
                <a:gd name="T74" fmla="*/ 2147483647 w 600"/>
                <a:gd name="T75" fmla="*/ 2147483647 h 678"/>
                <a:gd name="T76" fmla="*/ 2147483647 w 600"/>
                <a:gd name="T77" fmla="*/ 2147483647 h 678"/>
                <a:gd name="T78" fmla="*/ 2147483647 w 600"/>
                <a:gd name="T79" fmla="*/ 2147483647 h 678"/>
                <a:gd name="T80" fmla="*/ 2147483647 w 600"/>
                <a:gd name="T81" fmla="*/ 2147483647 h 678"/>
                <a:gd name="T82" fmla="*/ 2147483647 w 600"/>
                <a:gd name="T83" fmla="*/ 2147483647 h 678"/>
                <a:gd name="T84" fmla="*/ 2147483647 w 600"/>
                <a:gd name="T85" fmla="*/ 2147483647 h 678"/>
                <a:gd name="T86" fmla="*/ 2147483647 w 600"/>
                <a:gd name="T87" fmla="*/ 2147483647 h 678"/>
                <a:gd name="T88" fmla="*/ 2147483647 w 600"/>
                <a:gd name="T89" fmla="*/ 2147483647 h 678"/>
                <a:gd name="T90" fmla="*/ 2147483647 w 600"/>
                <a:gd name="T91" fmla="*/ 2147483647 h 678"/>
                <a:gd name="T92" fmla="*/ 2147483647 w 600"/>
                <a:gd name="T93" fmla="*/ 2147483647 h 678"/>
                <a:gd name="T94" fmla="*/ 2147483647 w 600"/>
                <a:gd name="T95" fmla="*/ 2147483647 h 678"/>
                <a:gd name="T96" fmla="*/ 2147483647 w 600"/>
                <a:gd name="T97" fmla="*/ 2147483647 h 678"/>
                <a:gd name="T98" fmla="*/ 2147483647 w 600"/>
                <a:gd name="T99" fmla="*/ 2147483647 h 678"/>
                <a:gd name="T100" fmla="*/ 2147483647 w 600"/>
                <a:gd name="T101" fmla="*/ 2147483647 h 678"/>
                <a:gd name="T102" fmla="*/ 2147483647 w 600"/>
                <a:gd name="T103" fmla="*/ 2147483647 h 678"/>
                <a:gd name="T104" fmla="*/ 2147483647 w 600"/>
                <a:gd name="T105" fmla="*/ 2147483647 h 678"/>
                <a:gd name="T106" fmla="*/ 2147483647 w 600"/>
                <a:gd name="T107" fmla="*/ 2147483647 h 678"/>
                <a:gd name="T108" fmla="*/ 2147483647 w 600"/>
                <a:gd name="T109" fmla="*/ 2147483647 h 678"/>
                <a:gd name="T110" fmla="*/ 2147483647 w 600"/>
                <a:gd name="T111" fmla="*/ 2147483647 h 678"/>
                <a:gd name="T112" fmla="*/ 2147483647 w 600"/>
                <a:gd name="T113" fmla="*/ 2147483647 h 678"/>
                <a:gd name="T114" fmla="*/ 2147483647 w 600"/>
                <a:gd name="T115" fmla="*/ 2147483647 h 678"/>
                <a:gd name="T116" fmla="*/ 2147483647 w 600"/>
                <a:gd name="T117" fmla="*/ 2147483647 h 678"/>
                <a:gd name="T118" fmla="*/ 2147483647 w 600"/>
                <a:gd name="T119" fmla="*/ 2147483647 h 67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00"/>
                <a:gd name="T181" fmla="*/ 0 h 678"/>
                <a:gd name="T182" fmla="*/ 600 w 600"/>
                <a:gd name="T183" fmla="*/ 678 h 67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00" h="678">
                  <a:moveTo>
                    <a:pt x="480" y="660"/>
                  </a:moveTo>
                  <a:lnTo>
                    <a:pt x="492" y="678"/>
                  </a:lnTo>
                  <a:lnTo>
                    <a:pt x="492" y="660"/>
                  </a:lnTo>
                  <a:lnTo>
                    <a:pt x="498" y="654"/>
                  </a:lnTo>
                  <a:lnTo>
                    <a:pt x="510" y="654"/>
                  </a:lnTo>
                  <a:lnTo>
                    <a:pt x="516" y="660"/>
                  </a:lnTo>
                  <a:lnTo>
                    <a:pt x="516" y="666"/>
                  </a:lnTo>
                  <a:lnTo>
                    <a:pt x="522" y="660"/>
                  </a:lnTo>
                  <a:lnTo>
                    <a:pt x="534" y="636"/>
                  </a:lnTo>
                  <a:lnTo>
                    <a:pt x="546" y="624"/>
                  </a:lnTo>
                  <a:lnTo>
                    <a:pt x="552" y="624"/>
                  </a:lnTo>
                  <a:lnTo>
                    <a:pt x="558" y="618"/>
                  </a:lnTo>
                  <a:lnTo>
                    <a:pt x="570" y="612"/>
                  </a:lnTo>
                  <a:lnTo>
                    <a:pt x="576" y="600"/>
                  </a:lnTo>
                  <a:lnTo>
                    <a:pt x="588" y="594"/>
                  </a:lnTo>
                  <a:lnTo>
                    <a:pt x="588" y="516"/>
                  </a:lnTo>
                  <a:lnTo>
                    <a:pt x="582" y="498"/>
                  </a:lnTo>
                  <a:lnTo>
                    <a:pt x="582" y="486"/>
                  </a:lnTo>
                  <a:lnTo>
                    <a:pt x="588" y="474"/>
                  </a:lnTo>
                  <a:lnTo>
                    <a:pt x="588" y="468"/>
                  </a:lnTo>
                  <a:lnTo>
                    <a:pt x="594" y="462"/>
                  </a:lnTo>
                  <a:lnTo>
                    <a:pt x="594" y="432"/>
                  </a:lnTo>
                  <a:lnTo>
                    <a:pt x="600" y="414"/>
                  </a:lnTo>
                  <a:lnTo>
                    <a:pt x="600" y="396"/>
                  </a:lnTo>
                  <a:lnTo>
                    <a:pt x="594" y="384"/>
                  </a:lnTo>
                  <a:lnTo>
                    <a:pt x="582" y="372"/>
                  </a:lnTo>
                  <a:lnTo>
                    <a:pt x="570" y="366"/>
                  </a:lnTo>
                  <a:lnTo>
                    <a:pt x="558" y="366"/>
                  </a:lnTo>
                  <a:lnTo>
                    <a:pt x="540" y="384"/>
                  </a:lnTo>
                  <a:lnTo>
                    <a:pt x="528" y="384"/>
                  </a:lnTo>
                  <a:lnTo>
                    <a:pt x="516" y="378"/>
                  </a:lnTo>
                  <a:lnTo>
                    <a:pt x="504" y="354"/>
                  </a:lnTo>
                  <a:lnTo>
                    <a:pt x="504" y="336"/>
                  </a:lnTo>
                  <a:lnTo>
                    <a:pt x="498" y="318"/>
                  </a:lnTo>
                  <a:lnTo>
                    <a:pt x="498" y="294"/>
                  </a:lnTo>
                  <a:lnTo>
                    <a:pt x="492" y="276"/>
                  </a:lnTo>
                  <a:lnTo>
                    <a:pt x="492" y="252"/>
                  </a:lnTo>
                  <a:lnTo>
                    <a:pt x="486" y="246"/>
                  </a:lnTo>
                  <a:lnTo>
                    <a:pt x="474" y="240"/>
                  </a:lnTo>
                  <a:lnTo>
                    <a:pt x="402" y="240"/>
                  </a:lnTo>
                  <a:lnTo>
                    <a:pt x="360" y="234"/>
                  </a:lnTo>
                  <a:lnTo>
                    <a:pt x="324" y="222"/>
                  </a:lnTo>
                  <a:lnTo>
                    <a:pt x="318" y="216"/>
                  </a:lnTo>
                  <a:lnTo>
                    <a:pt x="312" y="204"/>
                  </a:lnTo>
                  <a:lnTo>
                    <a:pt x="312" y="162"/>
                  </a:lnTo>
                  <a:lnTo>
                    <a:pt x="318" y="150"/>
                  </a:lnTo>
                  <a:lnTo>
                    <a:pt x="318" y="132"/>
                  </a:lnTo>
                  <a:lnTo>
                    <a:pt x="306" y="132"/>
                  </a:lnTo>
                  <a:lnTo>
                    <a:pt x="306" y="96"/>
                  </a:lnTo>
                  <a:lnTo>
                    <a:pt x="294" y="90"/>
                  </a:lnTo>
                  <a:lnTo>
                    <a:pt x="288" y="84"/>
                  </a:lnTo>
                  <a:lnTo>
                    <a:pt x="288" y="78"/>
                  </a:lnTo>
                  <a:lnTo>
                    <a:pt x="270" y="42"/>
                  </a:lnTo>
                  <a:lnTo>
                    <a:pt x="216" y="0"/>
                  </a:lnTo>
                  <a:lnTo>
                    <a:pt x="138" y="12"/>
                  </a:lnTo>
                  <a:lnTo>
                    <a:pt x="36" y="30"/>
                  </a:lnTo>
                  <a:lnTo>
                    <a:pt x="30" y="60"/>
                  </a:lnTo>
                  <a:lnTo>
                    <a:pt x="18" y="72"/>
                  </a:lnTo>
                  <a:lnTo>
                    <a:pt x="6" y="78"/>
                  </a:lnTo>
                  <a:lnTo>
                    <a:pt x="0" y="84"/>
                  </a:lnTo>
                  <a:lnTo>
                    <a:pt x="0" y="96"/>
                  </a:lnTo>
                  <a:lnTo>
                    <a:pt x="12" y="120"/>
                  </a:lnTo>
                  <a:lnTo>
                    <a:pt x="12" y="126"/>
                  </a:lnTo>
                  <a:lnTo>
                    <a:pt x="18" y="132"/>
                  </a:lnTo>
                  <a:lnTo>
                    <a:pt x="18" y="156"/>
                  </a:lnTo>
                  <a:lnTo>
                    <a:pt x="6" y="228"/>
                  </a:lnTo>
                  <a:lnTo>
                    <a:pt x="6" y="246"/>
                  </a:lnTo>
                  <a:lnTo>
                    <a:pt x="24" y="264"/>
                  </a:lnTo>
                  <a:lnTo>
                    <a:pt x="24" y="270"/>
                  </a:lnTo>
                  <a:lnTo>
                    <a:pt x="30" y="276"/>
                  </a:lnTo>
                  <a:lnTo>
                    <a:pt x="36" y="288"/>
                  </a:lnTo>
                  <a:lnTo>
                    <a:pt x="48" y="294"/>
                  </a:lnTo>
                  <a:lnTo>
                    <a:pt x="54" y="306"/>
                  </a:lnTo>
                  <a:lnTo>
                    <a:pt x="60" y="312"/>
                  </a:lnTo>
                  <a:lnTo>
                    <a:pt x="84" y="324"/>
                  </a:lnTo>
                  <a:lnTo>
                    <a:pt x="102" y="342"/>
                  </a:lnTo>
                  <a:lnTo>
                    <a:pt x="114" y="348"/>
                  </a:lnTo>
                  <a:lnTo>
                    <a:pt x="120" y="366"/>
                  </a:lnTo>
                  <a:lnTo>
                    <a:pt x="126" y="366"/>
                  </a:lnTo>
                  <a:lnTo>
                    <a:pt x="132" y="372"/>
                  </a:lnTo>
                  <a:lnTo>
                    <a:pt x="168" y="390"/>
                  </a:lnTo>
                  <a:lnTo>
                    <a:pt x="198" y="390"/>
                  </a:lnTo>
                  <a:lnTo>
                    <a:pt x="210" y="396"/>
                  </a:lnTo>
                  <a:lnTo>
                    <a:pt x="216" y="402"/>
                  </a:lnTo>
                  <a:lnTo>
                    <a:pt x="228" y="408"/>
                  </a:lnTo>
                  <a:lnTo>
                    <a:pt x="234" y="414"/>
                  </a:lnTo>
                  <a:lnTo>
                    <a:pt x="240" y="414"/>
                  </a:lnTo>
                  <a:lnTo>
                    <a:pt x="246" y="420"/>
                  </a:lnTo>
                  <a:lnTo>
                    <a:pt x="258" y="426"/>
                  </a:lnTo>
                  <a:lnTo>
                    <a:pt x="276" y="438"/>
                  </a:lnTo>
                  <a:lnTo>
                    <a:pt x="312" y="456"/>
                  </a:lnTo>
                  <a:lnTo>
                    <a:pt x="318" y="462"/>
                  </a:lnTo>
                  <a:lnTo>
                    <a:pt x="330" y="462"/>
                  </a:lnTo>
                  <a:lnTo>
                    <a:pt x="342" y="468"/>
                  </a:lnTo>
                  <a:lnTo>
                    <a:pt x="360" y="474"/>
                  </a:lnTo>
                  <a:lnTo>
                    <a:pt x="372" y="480"/>
                  </a:lnTo>
                  <a:lnTo>
                    <a:pt x="378" y="486"/>
                  </a:lnTo>
                  <a:lnTo>
                    <a:pt x="372" y="492"/>
                  </a:lnTo>
                  <a:lnTo>
                    <a:pt x="372" y="504"/>
                  </a:lnTo>
                  <a:lnTo>
                    <a:pt x="366" y="510"/>
                  </a:lnTo>
                  <a:lnTo>
                    <a:pt x="360" y="522"/>
                  </a:lnTo>
                  <a:lnTo>
                    <a:pt x="366" y="528"/>
                  </a:lnTo>
                  <a:lnTo>
                    <a:pt x="372" y="540"/>
                  </a:lnTo>
                  <a:lnTo>
                    <a:pt x="372" y="546"/>
                  </a:lnTo>
                  <a:lnTo>
                    <a:pt x="366" y="552"/>
                  </a:lnTo>
                  <a:lnTo>
                    <a:pt x="348" y="552"/>
                  </a:lnTo>
                  <a:lnTo>
                    <a:pt x="348" y="588"/>
                  </a:lnTo>
                  <a:lnTo>
                    <a:pt x="342" y="594"/>
                  </a:lnTo>
                  <a:lnTo>
                    <a:pt x="336" y="606"/>
                  </a:lnTo>
                  <a:lnTo>
                    <a:pt x="330" y="612"/>
                  </a:lnTo>
                  <a:lnTo>
                    <a:pt x="324" y="624"/>
                  </a:lnTo>
                  <a:lnTo>
                    <a:pt x="324" y="636"/>
                  </a:lnTo>
                  <a:lnTo>
                    <a:pt x="330" y="642"/>
                  </a:lnTo>
                  <a:lnTo>
                    <a:pt x="354" y="642"/>
                  </a:lnTo>
                  <a:lnTo>
                    <a:pt x="366" y="636"/>
                  </a:lnTo>
                  <a:lnTo>
                    <a:pt x="372" y="636"/>
                  </a:lnTo>
                  <a:lnTo>
                    <a:pt x="384" y="642"/>
                  </a:lnTo>
                  <a:lnTo>
                    <a:pt x="390" y="648"/>
                  </a:lnTo>
                  <a:lnTo>
                    <a:pt x="402" y="654"/>
                  </a:lnTo>
                  <a:lnTo>
                    <a:pt x="420" y="660"/>
                  </a:lnTo>
                  <a:lnTo>
                    <a:pt x="480" y="660"/>
                  </a:lnTo>
                  <a:close/>
                </a:path>
              </a:pathLst>
            </a:custGeom>
            <a:grp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57" name="Papua New Guinea" descr="© INSCALE GmbH, 05.05.2010&#10;http://www.presentationload.com/">
              <a:extLst>
                <a:ext uri="{FF2B5EF4-FFF2-40B4-BE49-F238E27FC236}">
                  <a16:creationId xmlns:a16="http://schemas.microsoft.com/office/drawing/2014/main" id="{DF6C1F58-10FD-A1C1-1233-34E7CD24B854}"/>
                </a:ext>
              </a:extLst>
            </p:cNvPr>
            <p:cNvSpPr>
              <a:spLocks noEditPoints="1"/>
            </p:cNvSpPr>
            <p:nvPr/>
          </p:nvSpPr>
          <p:spPr bwMode="gray">
            <a:xfrm>
              <a:off x="8022853" y="3274809"/>
              <a:ext cx="412099" cy="275723"/>
            </a:xfrm>
            <a:custGeom>
              <a:avLst/>
              <a:gdLst>
                <a:gd name="T0" fmla="*/ 2147483647 w 1086"/>
                <a:gd name="T1" fmla="*/ 2147483647 h 726"/>
                <a:gd name="T2" fmla="*/ 2147483647 w 1086"/>
                <a:gd name="T3" fmla="*/ 2147483647 h 726"/>
                <a:gd name="T4" fmla="*/ 2147483647 w 1086"/>
                <a:gd name="T5" fmla="*/ 2147483647 h 726"/>
                <a:gd name="T6" fmla="*/ 2147483647 w 1086"/>
                <a:gd name="T7" fmla="*/ 2147483647 h 726"/>
                <a:gd name="T8" fmla="*/ 2147483647 w 1086"/>
                <a:gd name="T9" fmla="*/ 2147483647 h 726"/>
                <a:gd name="T10" fmla="*/ 2147483647 w 1086"/>
                <a:gd name="T11" fmla="*/ 2147483647 h 726"/>
                <a:gd name="T12" fmla="*/ 2147483647 w 1086"/>
                <a:gd name="T13" fmla="*/ 2147483647 h 726"/>
                <a:gd name="T14" fmla="*/ 2147483647 w 1086"/>
                <a:gd name="T15" fmla="*/ 2147483647 h 726"/>
                <a:gd name="T16" fmla="*/ 2147483647 w 1086"/>
                <a:gd name="T17" fmla="*/ 2147483647 h 726"/>
                <a:gd name="T18" fmla="*/ 2147483647 w 1086"/>
                <a:gd name="T19" fmla="*/ 2147483647 h 726"/>
                <a:gd name="T20" fmla="*/ 2147483647 w 1086"/>
                <a:gd name="T21" fmla="*/ 2147483647 h 726"/>
                <a:gd name="T22" fmla="*/ 2147483647 w 1086"/>
                <a:gd name="T23" fmla="*/ 2147483647 h 726"/>
                <a:gd name="T24" fmla="*/ 2147483647 w 1086"/>
                <a:gd name="T25" fmla="*/ 2147483647 h 726"/>
                <a:gd name="T26" fmla="*/ 2147483647 w 1086"/>
                <a:gd name="T27" fmla="*/ 2147483647 h 726"/>
                <a:gd name="T28" fmla="*/ 2147483647 w 1086"/>
                <a:gd name="T29" fmla="*/ 2147483647 h 726"/>
                <a:gd name="T30" fmla="*/ 2147483647 w 1086"/>
                <a:gd name="T31" fmla="*/ 2147483647 h 726"/>
                <a:gd name="T32" fmla="*/ 2147483647 w 1086"/>
                <a:gd name="T33" fmla="*/ 2147483647 h 726"/>
                <a:gd name="T34" fmla="*/ 2147483647 w 1086"/>
                <a:gd name="T35" fmla="*/ 2147483647 h 726"/>
                <a:gd name="T36" fmla="*/ 2147483647 w 1086"/>
                <a:gd name="T37" fmla="*/ 2147483647 h 726"/>
                <a:gd name="T38" fmla="*/ 2147483647 w 1086"/>
                <a:gd name="T39" fmla="*/ 2147483647 h 726"/>
                <a:gd name="T40" fmla="*/ 2147483647 w 1086"/>
                <a:gd name="T41" fmla="*/ 2147483647 h 726"/>
                <a:gd name="T42" fmla="*/ 2147483647 w 1086"/>
                <a:gd name="T43" fmla="*/ 2147483647 h 726"/>
                <a:gd name="T44" fmla="*/ 2147483647 w 1086"/>
                <a:gd name="T45" fmla="*/ 2147483647 h 726"/>
                <a:gd name="T46" fmla="*/ 2147483647 w 1086"/>
                <a:gd name="T47" fmla="*/ 2147483647 h 726"/>
                <a:gd name="T48" fmla="*/ 2147483647 w 1086"/>
                <a:gd name="T49" fmla="*/ 2147483647 h 726"/>
                <a:gd name="T50" fmla="*/ 2147483647 w 1086"/>
                <a:gd name="T51" fmla="*/ 2147483647 h 726"/>
                <a:gd name="T52" fmla="*/ 2147483647 w 1086"/>
                <a:gd name="T53" fmla="*/ 2147483647 h 726"/>
                <a:gd name="T54" fmla="*/ 2147483647 w 1086"/>
                <a:gd name="T55" fmla="*/ 2147483647 h 726"/>
                <a:gd name="T56" fmla="*/ 2147483647 w 1086"/>
                <a:gd name="T57" fmla="*/ 2147483647 h 726"/>
                <a:gd name="T58" fmla="*/ 2147483647 w 1086"/>
                <a:gd name="T59" fmla="*/ 2147483647 h 726"/>
                <a:gd name="T60" fmla="*/ 2147483647 w 1086"/>
                <a:gd name="T61" fmla="*/ 2147483647 h 726"/>
                <a:gd name="T62" fmla="*/ 2147483647 w 1086"/>
                <a:gd name="T63" fmla="*/ 2147483647 h 726"/>
                <a:gd name="T64" fmla="*/ 2147483647 w 1086"/>
                <a:gd name="T65" fmla="*/ 2147483647 h 726"/>
                <a:gd name="T66" fmla="*/ 2147483647 w 1086"/>
                <a:gd name="T67" fmla="*/ 2147483647 h 726"/>
                <a:gd name="T68" fmla="*/ 2147483647 w 1086"/>
                <a:gd name="T69" fmla="*/ 2147483647 h 726"/>
                <a:gd name="T70" fmla="*/ 2147483647 w 1086"/>
                <a:gd name="T71" fmla="*/ 2147483647 h 726"/>
                <a:gd name="T72" fmla="*/ 2147483647 w 1086"/>
                <a:gd name="T73" fmla="*/ 2147483647 h 726"/>
                <a:gd name="T74" fmla="*/ 2147483647 w 1086"/>
                <a:gd name="T75" fmla="*/ 2147483647 h 726"/>
                <a:gd name="T76" fmla="*/ 2147483647 w 1086"/>
                <a:gd name="T77" fmla="*/ 2147483647 h 726"/>
                <a:gd name="T78" fmla="*/ 2147483647 w 1086"/>
                <a:gd name="T79" fmla="*/ 2147483647 h 726"/>
                <a:gd name="T80" fmla="*/ 2147483647 w 1086"/>
                <a:gd name="T81" fmla="*/ 2147483647 h 726"/>
                <a:gd name="T82" fmla="*/ 2147483647 w 1086"/>
                <a:gd name="T83" fmla="*/ 2147483647 h 726"/>
                <a:gd name="T84" fmla="*/ 2147483647 w 1086"/>
                <a:gd name="T85" fmla="*/ 2147483647 h 726"/>
                <a:gd name="T86" fmla="*/ 2147483647 w 1086"/>
                <a:gd name="T87" fmla="*/ 2147483647 h 726"/>
                <a:gd name="T88" fmla="*/ 2147483647 w 1086"/>
                <a:gd name="T89" fmla="*/ 2147483647 h 726"/>
                <a:gd name="T90" fmla="*/ 2147483647 w 1086"/>
                <a:gd name="T91" fmla="*/ 2147483647 h 726"/>
                <a:gd name="T92" fmla="*/ 2147483647 w 1086"/>
                <a:gd name="T93" fmla="*/ 2147483647 h 726"/>
                <a:gd name="T94" fmla="*/ 2147483647 w 1086"/>
                <a:gd name="T95" fmla="*/ 2147483647 h 726"/>
                <a:gd name="T96" fmla="*/ 2147483647 w 1086"/>
                <a:gd name="T97" fmla="*/ 2147483647 h 726"/>
                <a:gd name="T98" fmla="*/ 2147483647 w 1086"/>
                <a:gd name="T99" fmla="*/ 2147483647 h 726"/>
                <a:gd name="T100" fmla="*/ 2147483647 w 1086"/>
                <a:gd name="T101" fmla="*/ 2147483647 h 726"/>
                <a:gd name="T102" fmla="*/ 2147483647 w 1086"/>
                <a:gd name="T103" fmla="*/ 2147483647 h 726"/>
                <a:gd name="T104" fmla="*/ 2147483647 w 1086"/>
                <a:gd name="T105" fmla="*/ 2147483647 h 726"/>
                <a:gd name="T106" fmla="*/ 2147483647 w 1086"/>
                <a:gd name="T107" fmla="*/ 2147483647 h 726"/>
                <a:gd name="T108" fmla="*/ 2147483647 w 1086"/>
                <a:gd name="T109" fmla="*/ 2147483647 h 726"/>
                <a:gd name="T110" fmla="*/ 2147483647 w 1086"/>
                <a:gd name="T111" fmla="*/ 2147483647 h 726"/>
                <a:gd name="T112" fmla="*/ 2147483647 w 1086"/>
                <a:gd name="T113" fmla="*/ 2147483647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86"/>
                <a:gd name="T172" fmla="*/ 0 h 726"/>
                <a:gd name="T173" fmla="*/ 1086 w 1086"/>
                <a:gd name="T174" fmla="*/ 726 h 7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86" h="726">
                  <a:moveTo>
                    <a:pt x="486" y="0"/>
                  </a:moveTo>
                  <a:lnTo>
                    <a:pt x="462" y="0"/>
                  </a:lnTo>
                  <a:lnTo>
                    <a:pt x="450" y="6"/>
                  </a:lnTo>
                  <a:lnTo>
                    <a:pt x="444" y="12"/>
                  </a:lnTo>
                  <a:lnTo>
                    <a:pt x="432" y="18"/>
                  </a:lnTo>
                  <a:lnTo>
                    <a:pt x="462" y="36"/>
                  </a:lnTo>
                  <a:lnTo>
                    <a:pt x="474" y="36"/>
                  </a:lnTo>
                  <a:lnTo>
                    <a:pt x="486" y="30"/>
                  </a:lnTo>
                  <a:lnTo>
                    <a:pt x="498" y="18"/>
                  </a:lnTo>
                  <a:lnTo>
                    <a:pt x="492" y="6"/>
                  </a:lnTo>
                  <a:lnTo>
                    <a:pt x="486" y="0"/>
                  </a:lnTo>
                  <a:close/>
                  <a:moveTo>
                    <a:pt x="756" y="216"/>
                  </a:moveTo>
                  <a:lnTo>
                    <a:pt x="750" y="222"/>
                  </a:lnTo>
                  <a:lnTo>
                    <a:pt x="750" y="228"/>
                  </a:lnTo>
                  <a:lnTo>
                    <a:pt x="756" y="234"/>
                  </a:lnTo>
                  <a:lnTo>
                    <a:pt x="768" y="240"/>
                  </a:lnTo>
                  <a:lnTo>
                    <a:pt x="774" y="246"/>
                  </a:lnTo>
                  <a:lnTo>
                    <a:pt x="774" y="264"/>
                  </a:lnTo>
                  <a:lnTo>
                    <a:pt x="702" y="300"/>
                  </a:lnTo>
                  <a:lnTo>
                    <a:pt x="666" y="300"/>
                  </a:lnTo>
                  <a:lnTo>
                    <a:pt x="630" y="312"/>
                  </a:lnTo>
                  <a:lnTo>
                    <a:pt x="594" y="330"/>
                  </a:lnTo>
                  <a:lnTo>
                    <a:pt x="588" y="336"/>
                  </a:lnTo>
                  <a:lnTo>
                    <a:pt x="570" y="336"/>
                  </a:lnTo>
                  <a:lnTo>
                    <a:pt x="564" y="342"/>
                  </a:lnTo>
                  <a:lnTo>
                    <a:pt x="588" y="378"/>
                  </a:lnTo>
                  <a:lnTo>
                    <a:pt x="684" y="378"/>
                  </a:lnTo>
                  <a:lnTo>
                    <a:pt x="702" y="366"/>
                  </a:lnTo>
                  <a:lnTo>
                    <a:pt x="738" y="366"/>
                  </a:lnTo>
                  <a:lnTo>
                    <a:pt x="750" y="360"/>
                  </a:lnTo>
                  <a:lnTo>
                    <a:pt x="774" y="336"/>
                  </a:lnTo>
                  <a:lnTo>
                    <a:pt x="774" y="330"/>
                  </a:lnTo>
                  <a:lnTo>
                    <a:pt x="804" y="324"/>
                  </a:lnTo>
                  <a:lnTo>
                    <a:pt x="798" y="300"/>
                  </a:lnTo>
                  <a:lnTo>
                    <a:pt x="822" y="300"/>
                  </a:lnTo>
                  <a:lnTo>
                    <a:pt x="822" y="288"/>
                  </a:lnTo>
                  <a:lnTo>
                    <a:pt x="828" y="258"/>
                  </a:lnTo>
                  <a:lnTo>
                    <a:pt x="828" y="228"/>
                  </a:lnTo>
                  <a:lnTo>
                    <a:pt x="822" y="198"/>
                  </a:lnTo>
                  <a:lnTo>
                    <a:pt x="816" y="192"/>
                  </a:lnTo>
                  <a:lnTo>
                    <a:pt x="804" y="186"/>
                  </a:lnTo>
                  <a:lnTo>
                    <a:pt x="792" y="192"/>
                  </a:lnTo>
                  <a:lnTo>
                    <a:pt x="786" y="198"/>
                  </a:lnTo>
                  <a:lnTo>
                    <a:pt x="762" y="210"/>
                  </a:lnTo>
                  <a:lnTo>
                    <a:pt x="756" y="216"/>
                  </a:lnTo>
                  <a:close/>
                  <a:moveTo>
                    <a:pt x="834" y="132"/>
                  </a:moveTo>
                  <a:lnTo>
                    <a:pt x="822" y="132"/>
                  </a:lnTo>
                  <a:lnTo>
                    <a:pt x="816" y="120"/>
                  </a:lnTo>
                  <a:lnTo>
                    <a:pt x="804" y="108"/>
                  </a:lnTo>
                  <a:lnTo>
                    <a:pt x="792" y="102"/>
                  </a:lnTo>
                  <a:lnTo>
                    <a:pt x="786" y="90"/>
                  </a:lnTo>
                  <a:lnTo>
                    <a:pt x="774" y="78"/>
                  </a:lnTo>
                  <a:lnTo>
                    <a:pt x="768" y="78"/>
                  </a:lnTo>
                  <a:lnTo>
                    <a:pt x="762" y="72"/>
                  </a:lnTo>
                  <a:lnTo>
                    <a:pt x="756" y="72"/>
                  </a:lnTo>
                  <a:lnTo>
                    <a:pt x="732" y="36"/>
                  </a:lnTo>
                  <a:lnTo>
                    <a:pt x="720" y="84"/>
                  </a:lnTo>
                  <a:lnTo>
                    <a:pt x="762" y="96"/>
                  </a:lnTo>
                  <a:lnTo>
                    <a:pt x="816" y="150"/>
                  </a:lnTo>
                  <a:lnTo>
                    <a:pt x="828" y="150"/>
                  </a:lnTo>
                  <a:lnTo>
                    <a:pt x="834" y="156"/>
                  </a:lnTo>
                  <a:lnTo>
                    <a:pt x="846" y="162"/>
                  </a:lnTo>
                  <a:lnTo>
                    <a:pt x="852" y="174"/>
                  </a:lnTo>
                  <a:lnTo>
                    <a:pt x="852" y="180"/>
                  </a:lnTo>
                  <a:lnTo>
                    <a:pt x="858" y="192"/>
                  </a:lnTo>
                  <a:lnTo>
                    <a:pt x="852" y="204"/>
                  </a:lnTo>
                  <a:lnTo>
                    <a:pt x="852" y="240"/>
                  </a:lnTo>
                  <a:lnTo>
                    <a:pt x="858" y="252"/>
                  </a:lnTo>
                  <a:lnTo>
                    <a:pt x="864" y="258"/>
                  </a:lnTo>
                  <a:lnTo>
                    <a:pt x="882" y="258"/>
                  </a:lnTo>
                  <a:lnTo>
                    <a:pt x="894" y="246"/>
                  </a:lnTo>
                  <a:lnTo>
                    <a:pt x="900" y="234"/>
                  </a:lnTo>
                  <a:lnTo>
                    <a:pt x="900" y="222"/>
                  </a:lnTo>
                  <a:lnTo>
                    <a:pt x="888" y="186"/>
                  </a:lnTo>
                  <a:lnTo>
                    <a:pt x="876" y="174"/>
                  </a:lnTo>
                  <a:lnTo>
                    <a:pt x="864" y="156"/>
                  </a:lnTo>
                  <a:lnTo>
                    <a:pt x="852" y="150"/>
                  </a:lnTo>
                  <a:lnTo>
                    <a:pt x="846" y="138"/>
                  </a:lnTo>
                  <a:lnTo>
                    <a:pt x="834" y="132"/>
                  </a:lnTo>
                  <a:close/>
                  <a:moveTo>
                    <a:pt x="1086" y="360"/>
                  </a:moveTo>
                  <a:lnTo>
                    <a:pt x="1020" y="294"/>
                  </a:lnTo>
                  <a:lnTo>
                    <a:pt x="1020" y="288"/>
                  </a:lnTo>
                  <a:lnTo>
                    <a:pt x="1002" y="270"/>
                  </a:lnTo>
                  <a:lnTo>
                    <a:pt x="984" y="270"/>
                  </a:lnTo>
                  <a:lnTo>
                    <a:pt x="978" y="276"/>
                  </a:lnTo>
                  <a:lnTo>
                    <a:pt x="978" y="300"/>
                  </a:lnTo>
                  <a:lnTo>
                    <a:pt x="996" y="330"/>
                  </a:lnTo>
                  <a:lnTo>
                    <a:pt x="1020" y="378"/>
                  </a:lnTo>
                  <a:lnTo>
                    <a:pt x="1086" y="438"/>
                  </a:lnTo>
                  <a:lnTo>
                    <a:pt x="1086" y="360"/>
                  </a:lnTo>
                  <a:close/>
                  <a:moveTo>
                    <a:pt x="672" y="672"/>
                  </a:moveTo>
                  <a:lnTo>
                    <a:pt x="630" y="642"/>
                  </a:lnTo>
                  <a:lnTo>
                    <a:pt x="648" y="630"/>
                  </a:lnTo>
                  <a:lnTo>
                    <a:pt x="636" y="630"/>
                  </a:lnTo>
                  <a:lnTo>
                    <a:pt x="624" y="624"/>
                  </a:lnTo>
                  <a:lnTo>
                    <a:pt x="612" y="624"/>
                  </a:lnTo>
                  <a:lnTo>
                    <a:pt x="600" y="618"/>
                  </a:lnTo>
                  <a:lnTo>
                    <a:pt x="594" y="606"/>
                  </a:lnTo>
                  <a:lnTo>
                    <a:pt x="594" y="594"/>
                  </a:lnTo>
                  <a:lnTo>
                    <a:pt x="600" y="582"/>
                  </a:lnTo>
                  <a:lnTo>
                    <a:pt x="600" y="564"/>
                  </a:lnTo>
                  <a:lnTo>
                    <a:pt x="588" y="570"/>
                  </a:lnTo>
                  <a:lnTo>
                    <a:pt x="582" y="570"/>
                  </a:lnTo>
                  <a:lnTo>
                    <a:pt x="570" y="576"/>
                  </a:lnTo>
                  <a:lnTo>
                    <a:pt x="564" y="576"/>
                  </a:lnTo>
                  <a:lnTo>
                    <a:pt x="552" y="582"/>
                  </a:lnTo>
                  <a:lnTo>
                    <a:pt x="552" y="552"/>
                  </a:lnTo>
                  <a:lnTo>
                    <a:pt x="528" y="540"/>
                  </a:lnTo>
                  <a:lnTo>
                    <a:pt x="528" y="492"/>
                  </a:lnTo>
                  <a:lnTo>
                    <a:pt x="474" y="456"/>
                  </a:lnTo>
                  <a:lnTo>
                    <a:pt x="450" y="402"/>
                  </a:lnTo>
                  <a:lnTo>
                    <a:pt x="474" y="390"/>
                  </a:lnTo>
                  <a:lnTo>
                    <a:pt x="480" y="384"/>
                  </a:lnTo>
                  <a:lnTo>
                    <a:pt x="492" y="378"/>
                  </a:lnTo>
                  <a:lnTo>
                    <a:pt x="504" y="366"/>
                  </a:lnTo>
                  <a:lnTo>
                    <a:pt x="504" y="360"/>
                  </a:lnTo>
                  <a:lnTo>
                    <a:pt x="492" y="336"/>
                  </a:lnTo>
                  <a:lnTo>
                    <a:pt x="468" y="324"/>
                  </a:lnTo>
                  <a:lnTo>
                    <a:pt x="462" y="318"/>
                  </a:lnTo>
                  <a:lnTo>
                    <a:pt x="456" y="318"/>
                  </a:lnTo>
                  <a:lnTo>
                    <a:pt x="450" y="312"/>
                  </a:lnTo>
                  <a:lnTo>
                    <a:pt x="438" y="312"/>
                  </a:lnTo>
                  <a:lnTo>
                    <a:pt x="402" y="300"/>
                  </a:lnTo>
                  <a:lnTo>
                    <a:pt x="390" y="300"/>
                  </a:lnTo>
                  <a:lnTo>
                    <a:pt x="378" y="294"/>
                  </a:lnTo>
                  <a:lnTo>
                    <a:pt x="372" y="294"/>
                  </a:lnTo>
                  <a:lnTo>
                    <a:pt x="372" y="234"/>
                  </a:lnTo>
                  <a:lnTo>
                    <a:pt x="366" y="222"/>
                  </a:lnTo>
                  <a:lnTo>
                    <a:pt x="354" y="210"/>
                  </a:lnTo>
                  <a:lnTo>
                    <a:pt x="342" y="210"/>
                  </a:lnTo>
                  <a:lnTo>
                    <a:pt x="288" y="156"/>
                  </a:lnTo>
                  <a:lnTo>
                    <a:pt x="252" y="162"/>
                  </a:lnTo>
                  <a:lnTo>
                    <a:pt x="216" y="126"/>
                  </a:lnTo>
                  <a:lnTo>
                    <a:pt x="186" y="120"/>
                  </a:lnTo>
                  <a:lnTo>
                    <a:pt x="66" y="60"/>
                  </a:lnTo>
                  <a:lnTo>
                    <a:pt x="42" y="72"/>
                  </a:lnTo>
                  <a:lnTo>
                    <a:pt x="0" y="42"/>
                  </a:lnTo>
                  <a:lnTo>
                    <a:pt x="42" y="72"/>
                  </a:lnTo>
                  <a:lnTo>
                    <a:pt x="36" y="102"/>
                  </a:lnTo>
                  <a:lnTo>
                    <a:pt x="36" y="240"/>
                  </a:lnTo>
                  <a:lnTo>
                    <a:pt x="30" y="258"/>
                  </a:lnTo>
                  <a:lnTo>
                    <a:pt x="30" y="372"/>
                  </a:lnTo>
                  <a:lnTo>
                    <a:pt x="24" y="378"/>
                  </a:lnTo>
                  <a:lnTo>
                    <a:pt x="12" y="384"/>
                  </a:lnTo>
                  <a:lnTo>
                    <a:pt x="0" y="396"/>
                  </a:lnTo>
                  <a:lnTo>
                    <a:pt x="0" y="402"/>
                  </a:lnTo>
                  <a:lnTo>
                    <a:pt x="6" y="408"/>
                  </a:lnTo>
                  <a:lnTo>
                    <a:pt x="18" y="414"/>
                  </a:lnTo>
                  <a:lnTo>
                    <a:pt x="30" y="414"/>
                  </a:lnTo>
                  <a:lnTo>
                    <a:pt x="30" y="444"/>
                  </a:lnTo>
                  <a:lnTo>
                    <a:pt x="24" y="456"/>
                  </a:lnTo>
                  <a:lnTo>
                    <a:pt x="24" y="480"/>
                  </a:lnTo>
                  <a:lnTo>
                    <a:pt x="18" y="492"/>
                  </a:lnTo>
                  <a:lnTo>
                    <a:pt x="18" y="504"/>
                  </a:lnTo>
                  <a:lnTo>
                    <a:pt x="12" y="510"/>
                  </a:lnTo>
                  <a:lnTo>
                    <a:pt x="12" y="516"/>
                  </a:lnTo>
                  <a:lnTo>
                    <a:pt x="18" y="540"/>
                  </a:lnTo>
                  <a:lnTo>
                    <a:pt x="18" y="588"/>
                  </a:lnTo>
                  <a:lnTo>
                    <a:pt x="30" y="594"/>
                  </a:lnTo>
                  <a:lnTo>
                    <a:pt x="48" y="594"/>
                  </a:lnTo>
                  <a:lnTo>
                    <a:pt x="60" y="588"/>
                  </a:lnTo>
                  <a:lnTo>
                    <a:pt x="90" y="588"/>
                  </a:lnTo>
                  <a:lnTo>
                    <a:pt x="96" y="582"/>
                  </a:lnTo>
                  <a:lnTo>
                    <a:pt x="102" y="582"/>
                  </a:lnTo>
                  <a:lnTo>
                    <a:pt x="126" y="600"/>
                  </a:lnTo>
                  <a:lnTo>
                    <a:pt x="132" y="600"/>
                  </a:lnTo>
                  <a:lnTo>
                    <a:pt x="138" y="594"/>
                  </a:lnTo>
                  <a:lnTo>
                    <a:pt x="156" y="588"/>
                  </a:lnTo>
                  <a:lnTo>
                    <a:pt x="168" y="582"/>
                  </a:lnTo>
                  <a:lnTo>
                    <a:pt x="180" y="570"/>
                  </a:lnTo>
                  <a:lnTo>
                    <a:pt x="180" y="564"/>
                  </a:lnTo>
                  <a:lnTo>
                    <a:pt x="168" y="552"/>
                  </a:lnTo>
                  <a:lnTo>
                    <a:pt x="150" y="540"/>
                  </a:lnTo>
                  <a:lnTo>
                    <a:pt x="138" y="534"/>
                  </a:lnTo>
                  <a:lnTo>
                    <a:pt x="120" y="522"/>
                  </a:lnTo>
                  <a:lnTo>
                    <a:pt x="108" y="516"/>
                  </a:lnTo>
                  <a:lnTo>
                    <a:pt x="102" y="510"/>
                  </a:lnTo>
                  <a:lnTo>
                    <a:pt x="96" y="510"/>
                  </a:lnTo>
                  <a:lnTo>
                    <a:pt x="108" y="510"/>
                  </a:lnTo>
                  <a:lnTo>
                    <a:pt x="138" y="516"/>
                  </a:lnTo>
                  <a:lnTo>
                    <a:pt x="204" y="516"/>
                  </a:lnTo>
                  <a:lnTo>
                    <a:pt x="204" y="510"/>
                  </a:lnTo>
                  <a:lnTo>
                    <a:pt x="198" y="504"/>
                  </a:lnTo>
                  <a:lnTo>
                    <a:pt x="198" y="498"/>
                  </a:lnTo>
                  <a:lnTo>
                    <a:pt x="186" y="486"/>
                  </a:lnTo>
                  <a:lnTo>
                    <a:pt x="192" y="492"/>
                  </a:lnTo>
                  <a:lnTo>
                    <a:pt x="204" y="492"/>
                  </a:lnTo>
                  <a:lnTo>
                    <a:pt x="210" y="498"/>
                  </a:lnTo>
                  <a:lnTo>
                    <a:pt x="216" y="498"/>
                  </a:lnTo>
                  <a:lnTo>
                    <a:pt x="222" y="492"/>
                  </a:lnTo>
                  <a:lnTo>
                    <a:pt x="222" y="486"/>
                  </a:lnTo>
                  <a:lnTo>
                    <a:pt x="216" y="480"/>
                  </a:lnTo>
                  <a:lnTo>
                    <a:pt x="216" y="468"/>
                  </a:lnTo>
                  <a:lnTo>
                    <a:pt x="210" y="462"/>
                  </a:lnTo>
                  <a:lnTo>
                    <a:pt x="222" y="468"/>
                  </a:lnTo>
                  <a:lnTo>
                    <a:pt x="228" y="474"/>
                  </a:lnTo>
                  <a:lnTo>
                    <a:pt x="246" y="474"/>
                  </a:lnTo>
                  <a:lnTo>
                    <a:pt x="252" y="468"/>
                  </a:lnTo>
                  <a:lnTo>
                    <a:pt x="264" y="462"/>
                  </a:lnTo>
                  <a:lnTo>
                    <a:pt x="270" y="456"/>
                  </a:lnTo>
                  <a:lnTo>
                    <a:pt x="288" y="474"/>
                  </a:lnTo>
                  <a:lnTo>
                    <a:pt x="300" y="480"/>
                  </a:lnTo>
                  <a:lnTo>
                    <a:pt x="306" y="486"/>
                  </a:lnTo>
                  <a:lnTo>
                    <a:pt x="312" y="486"/>
                  </a:lnTo>
                  <a:lnTo>
                    <a:pt x="330" y="492"/>
                  </a:lnTo>
                  <a:lnTo>
                    <a:pt x="342" y="492"/>
                  </a:lnTo>
                  <a:lnTo>
                    <a:pt x="378" y="504"/>
                  </a:lnTo>
                  <a:lnTo>
                    <a:pt x="390" y="510"/>
                  </a:lnTo>
                  <a:lnTo>
                    <a:pt x="402" y="534"/>
                  </a:lnTo>
                  <a:lnTo>
                    <a:pt x="402" y="558"/>
                  </a:lnTo>
                  <a:lnTo>
                    <a:pt x="408" y="570"/>
                  </a:lnTo>
                  <a:lnTo>
                    <a:pt x="420" y="582"/>
                  </a:lnTo>
                  <a:lnTo>
                    <a:pt x="438" y="582"/>
                  </a:lnTo>
                  <a:lnTo>
                    <a:pt x="450" y="594"/>
                  </a:lnTo>
                  <a:lnTo>
                    <a:pt x="450" y="606"/>
                  </a:lnTo>
                  <a:lnTo>
                    <a:pt x="456" y="618"/>
                  </a:lnTo>
                  <a:lnTo>
                    <a:pt x="468" y="654"/>
                  </a:lnTo>
                  <a:lnTo>
                    <a:pt x="486" y="672"/>
                  </a:lnTo>
                  <a:lnTo>
                    <a:pt x="516" y="678"/>
                  </a:lnTo>
                  <a:lnTo>
                    <a:pt x="558" y="684"/>
                  </a:lnTo>
                  <a:lnTo>
                    <a:pt x="618" y="684"/>
                  </a:lnTo>
                  <a:lnTo>
                    <a:pt x="630" y="690"/>
                  </a:lnTo>
                  <a:lnTo>
                    <a:pt x="654" y="714"/>
                  </a:lnTo>
                  <a:lnTo>
                    <a:pt x="678" y="726"/>
                  </a:lnTo>
                  <a:lnTo>
                    <a:pt x="684" y="726"/>
                  </a:lnTo>
                  <a:lnTo>
                    <a:pt x="684" y="720"/>
                  </a:lnTo>
                  <a:lnTo>
                    <a:pt x="678" y="708"/>
                  </a:lnTo>
                  <a:lnTo>
                    <a:pt x="678" y="702"/>
                  </a:lnTo>
                  <a:lnTo>
                    <a:pt x="672" y="690"/>
                  </a:lnTo>
                  <a:lnTo>
                    <a:pt x="666" y="684"/>
                  </a:lnTo>
                  <a:lnTo>
                    <a:pt x="672" y="672"/>
                  </a:lnTo>
                  <a:close/>
                </a:path>
              </a:pathLst>
            </a:custGeom>
            <a:solidFill>
              <a:srgbClr val="7030A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58" name="Panama" descr="© INSCALE GmbH, 05.05.2010&#10;http://www.presentationload.com/">
              <a:extLst>
                <a:ext uri="{FF2B5EF4-FFF2-40B4-BE49-F238E27FC236}">
                  <a16:creationId xmlns:a16="http://schemas.microsoft.com/office/drawing/2014/main" id="{971AC9A2-C20E-285B-1023-C734403D63F9}"/>
                </a:ext>
              </a:extLst>
            </p:cNvPr>
            <p:cNvSpPr>
              <a:spLocks/>
            </p:cNvSpPr>
            <p:nvPr/>
          </p:nvSpPr>
          <p:spPr bwMode="gray">
            <a:xfrm>
              <a:off x="2002938" y="2924967"/>
              <a:ext cx="154167" cy="74119"/>
            </a:xfrm>
            <a:custGeom>
              <a:avLst/>
              <a:gdLst>
                <a:gd name="T0" fmla="*/ 2147483647 w 408"/>
                <a:gd name="T1" fmla="*/ 2147483647 h 198"/>
                <a:gd name="T2" fmla="*/ 2147483647 w 408"/>
                <a:gd name="T3" fmla="*/ 2147483647 h 198"/>
                <a:gd name="T4" fmla="*/ 2147483647 w 408"/>
                <a:gd name="T5" fmla="*/ 2147483647 h 198"/>
                <a:gd name="T6" fmla="*/ 2147483647 w 408"/>
                <a:gd name="T7" fmla="*/ 2147483647 h 198"/>
                <a:gd name="T8" fmla="*/ 2147483647 w 408"/>
                <a:gd name="T9" fmla="*/ 2147483647 h 198"/>
                <a:gd name="T10" fmla="*/ 2147483647 w 408"/>
                <a:gd name="T11" fmla="*/ 2147483647 h 198"/>
                <a:gd name="T12" fmla="*/ 2147483647 w 408"/>
                <a:gd name="T13" fmla="*/ 2147483647 h 198"/>
                <a:gd name="T14" fmla="*/ 2147483647 w 408"/>
                <a:gd name="T15" fmla="*/ 2147483647 h 198"/>
                <a:gd name="T16" fmla="*/ 2147483647 w 408"/>
                <a:gd name="T17" fmla="*/ 2147483647 h 198"/>
                <a:gd name="T18" fmla="*/ 2147483647 w 408"/>
                <a:gd name="T19" fmla="*/ 2147483647 h 198"/>
                <a:gd name="T20" fmla="*/ 2147483647 w 408"/>
                <a:gd name="T21" fmla="*/ 2147483647 h 198"/>
                <a:gd name="T22" fmla="*/ 2147483647 w 408"/>
                <a:gd name="T23" fmla="*/ 2147483647 h 198"/>
                <a:gd name="T24" fmla="*/ 2147483647 w 408"/>
                <a:gd name="T25" fmla="*/ 2147483647 h 198"/>
                <a:gd name="T26" fmla="*/ 2147483647 w 408"/>
                <a:gd name="T27" fmla="*/ 2147483647 h 198"/>
                <a:gd name="T28" fmla="*/ 2147483647 w 408"/>
                <a:gd name="T29" fmla="*/ 2147483647 h 198"/>
                <a:gd name="T30" fmla="*/ 2147483647 w 408"/>
                <a:gd name="T31" fmla="*/ 2147483647 h 198"/>
                <a:gd name="T32" fmla="*/ 2147483647 w 408"/>
                <a:gd name="T33" fmla="*/ 0 h 198"/>
                <a:gd name="T34" fmla="*/ 2147483647 w 408"/>
                <a:gd name="T35" fmla="*/ 2147483647 h 198"/>
                <a:gd name="T36" fmla="*/ 2147483647 w 408"/>
                <a:gd name="T37" fmla="*/ 2147483647 h 198"/>
                <a:gd name="T38" fmla="*/ 2147483647 w 408"/>
                <a:gd name="T39" fmla="*/ 2147483647 h 198"/>
                <a:gd name="T40" fmla="*/ 2147483647 w 408"/>
                <a:gd name="T41" fmla="*/ 2147483647 h 198"/>
                <a:gd name="T42" fmla="*/ 2147483647 w 408"/>
                <a:gd name="T43" fmla="*/ 2147483647 h 198"/>
                <a:gd name="T44" fmla="*/ 2147483647 w 408"/>
                <a:gd name="T45" fmla="*/ 2147483647 h 198"/>
                <a:gd name="T46" fmla="*/ 2147483647 w 408"/>
                <a:gd name="T47" fmla="*/ 2147483647 h 198"/>
                <a:gd name="T48" fmla="*/ 2147483647 w 408"/>
                <a:gd name="T49" fmla="*/ 2147483647 h 198"/>
                <a:gd name="T50" fmla="*/ 2147483647 w 408"/>
                <a:gd name="T51" fmla="*/ 2147483647 h 198"/>
                <a:gd name="T52" fmla="*/ 2147483647 w 408"/>
                <a:gd name="T53" fmla="*/ 2147483647 h 198"/>
                <a:gd name="T54" fmla="*/ 2147483647 w 408"/>
                <a:gd name="T55" fmla="*/ 2147483647 h 198"/>
                <a:gd name="T56" fmla="*/ 0 w 408"/>
                <a:gd name="T57" fmla="*/ 2147483647 h 198"/>
                <a:gd name="T58" fmla="*/ 2147483647 w 408"/>
                <a:gd name="T59" fmla="*/ 2147483647 h 198"/>
                <a:gd name="T60" fmla="*/ 2147483647 w 408"/>
                <a:gd name="T61" fmla="*/ 2147483647 h 198"/>
                <a:gd name="T62" fmla="*/ 2147483647 w 408"/>
                <a:gd name="T63" fmla="*/ 2147483647 h 198"/>
                <a:gd name="T64" fmla="*/ 0 w 408"/>
                <a:gd name="T65" fmla="*/ 2147483647 h 198"/>
                <a:gd name="T66" fmla="*/ 2147483647 w 408"/>
                <a:gd name="T67" fmla="*/ 2147483647 h 198"/>
                <a:gd name="T68" fmla="*/ 2147483647 w 408"/>
                <a:gd name="T69" fmla="*/ 2147483647 h 198"/>
                <a:gd name="T70" fmla="*/ 2147483647 w 408"/>
                <a:gd name="T71" fmla="*/ 2147483647 h 198"/>
                <a:gd name="T72" fmla="*/ 2147483647 w 408"/>
                <a:gd name="T73" fmla="*/ 2147483647 h 198"/>
                <a:gd name="T74" fmla="*/ 2147483647 w 408"/>
                <a:gd name="T75" fmla="*/ 2147483647 h 198"/>
                <a:gd name="T76" fmla="*/ 2147483647 w 408"/>
                <a:gd name="T77" fmla="*/ 2147483647 h 198"/>
                <a:gd name="T78" fmla="*/ 2147483647 w 408"/>
                <a:gd name="T79" fmla="*/ 2147483647 h 198"/>
                <a:gd name="T80" fmla="*/ 2147483647 w 408"/>
                <a:gd name="T81" fmla="*/ 2147483647 h 198"/>
                <a:gd name="T82" fmla="*/ 2147483647 w 408"/>
                <a:gd name="T83" fmla="*/ 2147483647 h 198"/>
                <a:gd name="T84" fmla="*/ 2147483647 w 408"/>
                <a:gd name="T85" fmla="*/ 2147483647 h 198"/>
                <a:gd name="T86" fmla="*/ 2147483647 w 408"/>
                <a:gd name="T87" fmla="*/ 2147483647 h 198"/>
                <a:gd name="T88" fmla="*/ 2147483647 w 408"/>
                <a:gd name="T89" fmla="*/ 2147483647 h 198"/>
                <a:gd name="T90" fmla="*/ 2147483647 w 408"/>
                <a:gd name="T91" fmla="*/ 2147483647 h 198"/>
                <a:gd name="T92" fmla="*/ 2147483647 w 408"/>
                <a:gd name="T93" fmla="*/ 2147483647 h 198"/>
                <a:gd name="T94" fmla="*/ 2147483647 w 408"/>
                <a:gd name="T95" fmla="*/ 2147483647 h 198"/>
                <a:gd name="T96" fmla="*/ 2147483647 w 408"/>
                <a:gd name="T97" fmla="*/ 2147483647 h 198"/>
                <a:gd name="T98" fmla="*/ 2147483647 w 408"/>
                <a:gd name="T99" fmla="*/ 2147483647 h 198"/>
                <a:gd name="T100" fmla="*/ 2147483647 w 408"/>
                <a:gd name="T101" fmla="*/ 2147483647 h 19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08"/>
                <a:gd name="T154" fmla="*/ 0 h 198"/>
                <a:gd name="T155" fmla="*/ 408 w 408"/>
                <a:gd name="T156" fmla="*/ 198 h 19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08" h="198">
                  <a:moveTo>
                    <a:pt x="306" y="66"/>
                  </a:moveTo>
                  <a:lnTo>
                    <a:pt x="318" y="78"/>
                  </a:lnTo>
                  <a:lnTo>
                    <a:pt x="324" y="90"/>
                  </a:lnTo>
                  <a:lnTo>
                    <a:pt x="330" y="96"/>
                  </a:lnTo>
                  <a:lnTo>
                    <a:pt x="342" y="90"/>
                  </a:lnTo>
                  <a:lnTo>
                    <a:pt x="372" y="120"/>
                  </a:lnTo>
                  <a:lnTo>
                    <a:pt x="342" y="102"/>
                  </a:lnTo>
                  <a:lnTo>
                    <a:pt x="342" y="120"/>
                  </a:lnTo>
                  <a:lnTo>
                    <a:pt x="336" y="132"/>
                  </a:lnTo>
                  <a:lnTo>
                    <a:pt x="336" y="162"/>
                  </a:lnTo>
                  <a:lnTo>
                    <a:pt x="342" y="168"/>
                  </a:lnTo>
                  <a:lnTo>
                    <a:pt x="348" y="180"/>
                  </a:lnTo>
                  <a:lnTo>
                    <a:pt x="354" y="186"/>
                  </a:lnTo>
                  <a:lnTo>
                    <a:pt x="360" y="186"/>
                  </a:lnTo>
                  <a:lnTo>
                    <a:pt x="372" y="156"/>
                  </a:lnTo>
                  <a:lnTo>
                    <a:pt x="378" y="162"/>
                  </a:lnTo>
                  <a:lnTo>
                    <a:pt x="390" y="168"/>
                  </a:lnTo>
                  <a:lnTo>
                    <a:pt x="396" y="162"/>
                  </a:lnTo>
                  <a:lnTo>
                    <a:pt x="408" y="138"/>
                  </a:lnTo>
                  <a:lnTo>
                    <a:pt x="408" y="126"/>
                  </a:lnTo>
                  <a:lnTo>
                    <a:pt x="396" y="120"/>
                  </a:lnTo>
                  <a:lnTo>
                    <a:pt x="390" y="108"/>
                  </a:lnTo>
                  <a:lnTo>
                    <a:pt x="390" y="90"/>
                  </a:lnTo>
                  <a:lnTo>
                    <a:pt x="396" y="84"/>
                  </a:lnTo>
                  <a:lnTo>
                    <a:pt x="372" y="66"/>
                  </a:lnTo>
                  <a:lnTo>
                    <a:pt x="372" y="60"/>
                  </a:lnTo>
                  <a:lnTo>
                    <a:pt x="366" y="54"/>
                  </a:lnTo>
                  <a:lnTo>
                    <a:pt x="366" y="42"/>
                  </a:lnTo>
                  <a:lnTo>
                    <a:pt x="360" y="30"/>
                  </a:lnTo>
                  <a:lnTo>
                    <a:pt x="348" y="24"/>
                  </a:lnTo>
                  <a:lnTo>
                    <a:pt x="330" y="18"/>
                  </a:lnTo>
                  <a:lnTo>
                    <a:pt x="288" y="18"/>
                  </a:lnTo>
                  <a:lnTo>
                    <a:pt x="282" y="0"/>
                  </a:lnTo>
                  <a:lnTo>
                    <a:pt x="246" y="0"/>
                  </a:lnTo>
                  <a:lnTo>
                    <a:pt x="234" y="6"/>
                  </a:lnTo>
                  <a:lnTo>
                    <a:pt x="228" y="12"/>
                  </a:lnTo>
                  <a:lnTo>
                    <a:pt x="222" y="24"/>
                  </a:lnTo>
                  <a:lnTo>
                    <a:pt x="210" y="36"/>
                  </a:lnTo>
                  <a:lnTo>
                    <a:pt x="204" y="36"/>
                  </a:lnTo>
                  <a:lnTo>
                    <a:pt x="198" y="30"/>
                  </a:lnTo>
                  <a:lnTo>
                    <a:pt x="192" y="30"/>
                  </a:lnTo>
                  <a:lnTo>
                    <a:pt x="168" y="42"/>
                  </a:lnTo>
                  <a:lnTo>
                    <a:pt x="144" y="66"/>
                  </a:lnTo>
                  <a:lnTo>
                    <a:pt x="132" y="72"/>
                  </a:lnTo>
                  <a:lnTo>
                    <a:pt x="120" y="72"/>
                  </a:lnTo>
                  <a:lnTo>
                    <a:pt x="114" y="66"/>
                  </a:lnTo>
                  <a:lnTo>
                    <a:pt x="102" y="60"/>
                  </a:lnTo>
                  <a:lnTo>
                    <a:pt x="90" y="42"/>
                  </a:lnTo>
                  <a:lnTo>
                    <a:pt x="78" y="54"/>
                  </a:lnTo>
                  <a:lnTo>
                    <a:pt x="60" y="54"/>
                  </a:lnTo>
                  <a:lnTo>
                    <a:pt x="48" y="42"/>
                  </a:lnTo>
                  <a:lnTo>
                    <a:pt x="48" y="18"/>
                  </a:lnTo>
                  <a:lnTo>
                    <a:pt x="36" y="6"/>
                  </a:lnTo>
                  <a:lnTo>
                    <a:pt x="24" y="6"/>
                  </a:lnTo>
                  <a:lnTo>
                    <a:pt x="18" y="12"/>
                  </a:lnTo>
                  <a:lnTo>
                    <a:pt x="6" y="12"/>
                  </a:lnTo>
                  <a:lnTo>
                    <a:pt x="0" y="18"/>
                  </a:lnTo>
                  <a:lnTo>
                    <a:pt x="0" y="36"/>
                  </a:lnTo>
                  <a:lnTo>
                    <a:pt x="6" y="42"/>
                  </a:lnTo>
                  <a:lnTo>
                    <a:pt x="6" y="48"/>
                  </a:lnTo>
                  <a:lnTo>
                    <a:pt x="24" y="48"/>
                  </a:lnTo>
                  <a:lnTo>
                    <a:pt x="30" y="54"/>
                  </a:lnTo>
                  <a:lnTo>
                    <a:pt x="12" y="72"/>
                  </a:lnTo>
                  <a:lnTo>
                    <a:pt x="6" y="72"/>
                  </a:lnTo>
                  <a:lnTo>
                    <a:pt x="6" y="96"/>
                  </a:lnTo>
                  <a:lnTo>
                    <a:pt x="0" y="102"/>
                  </a:lnTo>
                  <a:lnTo>
                    <a:pt x="6" y="108"/>
                  </a:lnTo>
                  <a:lnTo>
                    <a:pt x="48" y="102"/>
                  </a:lnTo>
                  <a:lnTo>
                    <a:pt x="60" y="120"/>
                  </a:lnTo>
                  <a:lnTo>
                    <a:pt x="90" y="114"/>
                  </a:lnTo>
                  <a:lnTo>
                    <a:pt x="90" y="126"/>
                  </a:lnTo>
                  <a:lnTo>
                    <a:pt x="84" y="132"/>
                  </a:lnTo>
                  <a:lnTo>
                    <a:pt x="84" y="150"/>
                  </a:lnTo>
                  <a:lnTo>
                    <a:pt x="90" y="156"/>
                  </a:lnTo>
                  <a:lnTo>
                    <a:pt x="108" y="156"/>
                  </a:lnTo>
                  <a:lnTo>
                    <a:pt x="114" y="150"/>
                  </a:lnTo>
                  <a:lnTo>
                    <a:pt x="120" y="150"/>
                  </a:lnTo>
                  <a:lnTo>
                    <a:pt x="120" y="132"/>
                  </a:lnTo>
                  <a:lnTo>
                    <a:pt x="138" y="126"/>
                  </a:lnTo>
                  <a:lnTo>
                    <a:pt x="138" y="150"/>
                  </a:lnTo>
                  <a:lnTo>
                    <a:pt x="144" y="168"/>
                  </a:lnTo>
                  <a:lnTo>
                    <a:pt x="144" y="180"/>
                  </a:lnTo>
                  <a:lnTo>
                    <a:pt x="150" y="192"/>
                  </a:lnTo>
                  <a:lnTo>
                    <a:pt x="156" y="198"/>
                  </a:lnTo>
                  <a:lnTo>
                    <a:pt x="162" y="198"/>
                  </a:lnTo>
                  <a:lnTo>
                    <a:pt x="180" y="192"/>
                  </a:lnTo>
                  <a:lnTo>
                    <a:pt x="198" y="174"/>
                  </a:lnTo>
                  <a:lnTo>
                    <a:pt x="204" y="174"/>
                  </a:lnTo>
                  <a:lnTo>
                    <a:pt x="198" y="168"/>
                  </a:lnTo>
                  <a:lnTo>
                    <a:pt x="186" y="162"/>
                  </a:lnTo>
                  <a:lnTo>
                    <a:pt x="180" y="150"/>
                  </a:lnTo>
                  <a:lnTo>
                    <a:pt x="174" y="144"/>
                  </a:lnTo>
                  <a:lnTo>
                    <a:pt x="168" y="132"/>
                  </a:lnTo>
                  <a:lnTo>
                    <a:pt x="162" y="126"/>
                  </a:lnTo>
                  <a:lnTo>
                    <a:pt x="186" y="102"/>
                  </a:lnTo>
                  <a:lnTo>
                    <a:pt x="222" y="84"/>
                  </a:lnTo>
                  <a:lnTo>
                    <a:pt x="228" y="72"/>
                  </a:lnTo>
                  <a:lnTo>
                    <a:pt x="246" y="54"/>
                  </a:lnTo>
                  <a:lnTo>
                    <a:pt x="258" y="48"/>
                  </a:lnTo>
                  <a:lnTo>
                    <a:pt x="276" y="54"/>
                  </a:lnTo>
                  <a:lnTo>
                    <a:pt x="288" y="60"/>
                  </a:lnTo>
                  <a:lnTo>
                    <a:pt x="306" y="66"/>
                  </a:lnTo>
                  <a:close/>
                </a:path>
              </a:pathLst>
            </a:custGeom>
            <a:grp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59" name="Pakistan" descr="© INSCALE GmbH, 05.05.2010&#10;http://www.presentationload.com/">
              <a:extLst>
                <a:ext uri="{FF2B5EF4-FFF2-40B4-BE49-F238E27FC236}">
                  <a16:creationId xmlns:a16="http://schemas.microsoft.com/office/drawing/2014/main" id="{015B961B-C14B-CB12-DBEB-FB2F75E9F50C}"/>
                </a:ext>
              </a:extLst>
            </p:cNvPr>
            <p:cNvSpPr>
              <a:spLocks/>
            </p:cNvSpPr>
            <p:nvPr/>
          </p:nvSpPr>
          <p:spPr bwMode="gray">
            <a:xfrm>
              <a:off x="5825977" y="2087424"/>
              <a:ext cx="398759" cy="400242"/>
            </a:xfrm>
            <a:custGeom>
              <a:avLst/>
              <a:gdLst>
                <a:gd name="T0" fmla="*/ 2147483647 w 1050"/>
                <a:gd name="T1" fmla="*/ 2147483647 h 1056"/>
                <a:gd name="T2" fmla="*/ 2147483647 w 1050"/>
                <a:gd name="T3" fmla="*/ 2147483647 h 1056"/>
                <a:gd name="T4" fmla="*/ 2147483647 w 1050"/>
                <a:gd name="T5" fmla="*/ 2147483647 h 1056"/>
                <a:gd name="T6" fmla="*/ 2147483647 w 1050"/>
                <a:gd name="T7" fmla="*/ 2147483647 h 1056"/>
                <a:gd name="T8" fmla="*/ 2147483647 w 1050"/>
                <a:gd name="T9" fmla="*/ 2147483647 h 1056"/>
                <a:gd name="T10" fmla="*/ 2147483647 w 1050"/>
                <a:gd name="T11" fmla="*/ 2147483647 h 1056"/>
                <a:gd name="T12" fmla="*/ 2147483647 w 1050"/>
                <a:gd name="T13" fmla="*/ 2147483647 h 1056"/>
                <a:gd name="T14" fmla="*/ 2147483647 w 1050"/>
                <a:gd name="T15" fmla="*/ 2147483647 h 1056"/>
                <a:gd name="T16" fmla="*/ 2147483647 w 1050"/>
                <a:gd name="T17" fmla="*/ 2147483647 h 1056"/>
                <a:gd name="T18" fmla="*/ 2147483647 w 1050"/>
                <a:gd name="T19" fmla="*/ 2147483647 h 1056"/>
                <a:gd name="T20" fmla="*/ 2147483647 w 1050"/>
                <a:gd name="T21" fmla="*/ 2147483647 h 1056"/>
                <a:gd name="T22" fmla="*/ 2147483647 w 1050"/>
                <a:gd name="T23" fmla="*/ 2147483647 h 1056"/>
                <a:gd name="T24" fmla="*/ 2147483647 w 1050"/>
                <a:gd name="T25" fmla="*/ 2147483647 h 1056"/>
                <a:gd name="T26" fmla="*/ 2147483647 w 1050"/>
                <a:gd name="T27" fmla="*/ 2147483647 h 1056"/>
                <a:gd name="T28" fmla="*/ 2147483647 w 1050"/>
                <a:gd name="T29" fmla="*/ 2147483647 h 1056"/>
                <a:gd name="T30" fmla="*/ 2147483647 w 1050"/>
                <a:gd name="T31" fmla="*/ 2147483647 h 1056"/>
                <a:gd name="T32" fmla="*/ 2147483647 w 1050"/>
                <a:gd name="T33" fmla="*/ 2147483647 h 1056"/>
                <a:gd name="T34" fmla="*/ 2147483647 w 1050"/>
                <a:gd name="T35" fmla="*/ 2147483647 h 1056"/>
                <a:gd name="T36" fmla="*/ 2147483647 w 1050"/>
                <a:gd name="T37" fmla="*/ 2147483647 h 1056"/>
                <a:gd name="T38" fmla="*/ 2147483647 w 1050"/>
                <a:gd name="T39" fmla="*/ 2147483647 h 1056"/>
                <a:gd name="T40" fmla="*/ 2147483647 w 1050"/>
                <a:gd name="T41" fmla="*/ 2147483647 h 1056"/>
                <a:gd name="T42" fmla="*/ 2147483647 w 1050"/>
                <a:gd name="T43" fmla="*/ 2147483647 h 1056"/>
                <a:gd name="T44" fmla="*/ 0 w 1050"/>
                <a:gd name="T45" fmla="*/ 2147483647 h 1056"/>
                <a:gd name="T46" fmla="*/ 2147483647 w 1050"/>
                <a:gd name="T47" fmla="*/ 2147483647 h 1056"/>
                <a:gd name="T48" fmla="*/ 2147483647 w 1050"/>
                <a:gd name="T49" fmla="*/ 2147483647 h 1056"/>
                <a:gd name="T50" fmla="*/ 2147483647 w 1050"/>
                <a:gd name="T51" fmla="*/ 2147483647 h 1056"/>
                <a:gd name="T52" fmla="*/ 2147483647 w 1050"/>
                <a:gd name="T53" fmla="*/ 2147483647 h 1056"/>
                <a:gd name="T54" fmla="*/ 2147483647 w 1050"/>
                <a:gd name="T55" fmla="*/ 2147483647 h 1056"/>
                <a:gd name="T56" fmla="*/ 2147483647 w 1050"/>
                <a:gd name="T57" fmla="*/ 2147483647 h 1056"/>
                <a:gd name="T58" fmla="*/ 2147483647 w 1050"/>
                <a:gd name="T59" fmla="*/ 2147483647 h 1056"/>
                <a:gd name="T60" fmla="*/ 2147483647 w 1050"/>
                <a:gd name="T61" fmla="*/ 2147483647 h 1056"/>
                <a:gd name="T62" fmla="*/ 2147483647 w 1050"/>
                <a:gd name="T63" fmla="*/ 2147483647 h 1056"/>
                <a:gd name="T64" fmla="*/ 2147483647 w 1050"/>
                <a:gd name="T65" fmla="*/ 2147483647 h 1056"/>
                <a:gd name="T66" fmla="*/ 2147483647 w 1050"/>
                <a:gd name="T67" fmla="*/ 2147483647 h 1056"/>
                <a:gd name="T68" fmla="*/ 2147483647 w 1050"/>
                <a:gd name="T69" fmla="*/ 2147483647 h 1056"/>
                <a:gd name="T70" fmla="*/ 2147483647 w 1050"/>
                <a:gd name="T71" fmla="*/ 2147483647 h 1056"/>
                <a:gd name="T72" fmla="*/ 2147483647 w 1050"/>
                <a:gd name="T73" fmla="*/ 2147483647 h 1056"/>
                <a:gd name="T74" fmla="*/ 2147483647 w 1050"/>
                <a:gd name="T75" fmla="*/ 2147483647 h 1056"/>
                <a:gd name="T76" fmla="*/ 2147483647 w 1050"/>
                <a:gd name="T77" fmla="*/ 2147483647 h 1056"/>
                <a:gd name="T78" fmla="*/ 2147483647 w 1050"/>
                <a:gd name="T79" fmla="*/ 2147483647 h 1056"/>
                <a:gd name="T80" fmla="*/ 2147483647 w 1050"/>
                <a:gd name="T81" fmla="*/ 2147483647 h 1056"/>
                <a:gd name="T82" fmla="*/ 2147483647 w 1050"/>
                <a:gd name="T83" fmla="*/ 2147483647 h 1056"/>
                <a:gd name="T84" fmla="*/ 2147483647 w 1050"/>
                <a:gd name="T85" fmla="*/ 2147483647 h 1056"/>
                <a:gd name="T86" fmla="*/ 2147483647 w 1050"/>
                <a:gd name="T87" fmla="*/ 2147483647 h 1056"/>
                <a:gd name="T88" fmla="*/ 2147483647 w 1050"/>
                <a:gd name="T89" fmla="*/ 2147483647 h 1056"/>
                <a:gd name="T90" fmla="*/ 2147483647 w 1050"/>
                <a:gd name="T91" fmla="*/ 2147483647 h 1056"/>
                <a:gd name="T92" fmla="*/ 2147483647 w 1050"/>
                <a:gd name="T93" fmla="*/ 2147483647 h 1056"/>
                <a:gd name="T94" fmla="*/ 2147483647 w 1050"/>
                <a:gd name="T95" fmla="*/ 2147483647 h 1056"/>
                <a:gd name="T96" fmla="*/ 2147483647 w 1050"/>
                <a:gd name="T97" fmla="*/ 2147483647 h 1056"/>
                <a:gd name="T98" fmla="*/ 2147483647 w 1050"/>
                <a:gd name="T99" fmla="*/ 2147483647 h 1056"/>
                <a:gd name="T100" fmla="*/ 2147483647 w 1050"/>
                <a:gd name="T101" fmla="*/ 2147483647 h 1056"/>
                <a:gd name="T102" fmla="*/ 2147483647 w 1050"/>
                <a:gd name="T103" fmla="*/ 2147483647 h 1056"/>
                <a:gd name="T104" fmla="*/ 2147483647 w 1050"/>
                <a:gd name="T105" fmla="*/ 2147483647 h 1056"/>
                <a:gd name="T106" fmla="*/ 2147483647 w 1050"/>
                <a:gd name="T107" fmla="*/ 2147483647 h 1056"/>
                <a:gd name="T108" fmla="*/ 2147483647 w 1050"/>
                <a:gd name="T109" fmla="*/ 2147483647 h 1056"/>
                <a:gd name="T110" fmla="*/ 2147483647 w 1050"/>
                <a:gd name="T111" fmla="*/ 2147483647 h 1056"/>
                <a:gd name="T112" fmla="*/ 2147483647 w 1050"/>
                <a:gd name="T113" fmla="*/ 2147483647 h 1056"/>
                <a:gd name="T114" fmla="*/ 2147483647 w 1050"/>
                <a:gd name="T115" fmla="*/ 2147483647 h 1056"/>
                <a:gd name="T116" fmla="*/ 2147483647 w 1050"/>
                <a:gd name="T117" fmla="*/ 2147483647 h 1056"/>
                <a:gd name="T118" fmla="*/ 2147483647 w 1050"/>
                <a:gd name="T119" fmla="*/ 2147483647 h 1056"/>
                <a:gd name="T120" fmla="*/ 2147483647 w 1050"/>
                <a:gd name="T121" fmla="*/ 2147483647 h 1056"/>
                <a:gd name="T122" fmla="*/ 2147483647 w 1050"/>
                <a:gd name="T123" fmla="*/ 2147483647 h 105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50"/>
                <a:gd name="T187" fmla="*/ 0 h 1056"/>
                <a:gd name="T188" fmla="*/ 1050 w 1050"/>
                <a:gd name="T189" fmla="*/ 1056 h 105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50" h="1056">
                  <a:moveTo>
                    <a:pt x="1008" y="120"/>
                  </a:moveTo>
                  <a:lnTo>
                    <a:pt x="996" y="120"/>
                  </a:lnTo>
                  <a:lnTo>
                    <a:pt x="984" y="114"/>
                  </a:lnTo>
                  <a:lnTo>
                    <a:pt x="978" y="102"/>
                  </a:lnTo>
                  <a:lnTo>
                    <a:pt x="972" y="96"/>
                  </a:lnTo>
                  <a:lnTo>
                    <a:pt x="972" y="90"/>
                  </a:lnTo>
                  <a:lnTo>
                    <a:pt x="960" y="96"/>
                  </a:lnTo>
                  <a:lnTo>
                    <a:pt x="924" y="84"/>
                  </a:lnTo>
                  <a:lnTo>
                    <a:pt x="924" y="60"/>
                  </a:lnTo>
                  <a:lnTo>
                    <a:pt x="912" y="36"/>
                  </a:lnTo>
                  <a:lnTo>
                    <a:pt x="900" y="24"/>
                  </a:lnTo>
                  <a:lnTo>
                    <a:pt x="888" y="18"/>
                  </a:lnTo>
                  <a:lnTo>
                    <a:pt x="876" y="18"/>
                  </a:lnTo>
                  <a:lnTo>
                    <a:pt x="870" y="6"/>
                  </a:lnTo>
                  <a:lnTo>
                    <a:pt x="822" y="6"/>
                  </a:lnTo>
                  <a:lnTo>
                    <a:pt x="810" y="0"/>
                  </a:lnTo>
                  <a:lnTo>
                    <a:pt x="804" y="6"/>
                  </a:lnTo>
                  <a:lnTo>
                    <a:pt x="792" y="6"/>
                  </a:lnTo>
                  <a:lnTo>
                    <a:pt x="786" y="12"/>
                  </a:lnTo>
                  <a:lnTo>
                    <a:pt x="774" y="12"/>
                  </a:lnTo>
                  <a:lnTo>
                    <a:pt x="762" y="6"/>
                  </a:lnTo>
                  <a:lnTo>
                    <a:pt x="738" y="6"/>
                  </a:lnTo>
                  <a:lnTo>
                    <a:pt x="732" y="12"/>
                  </a:lnTo>
                  <a:lnTo>
                    <a:pt x="690" y="12"/>
                  </a:lnTo>
                  <a:lnTo>
                    <a:pt x="684" y="18"/>
                  </a:lnTo>
                  <a:lnTo>
                    <a:pt x="678" y="18"/>
                  </a:lnTo>
                  <a:lnTo>
                    <a:pt x="654" y="30"/>
                  </a:lnTo>
                  <a:lnTo>
                    <a:pt x="648" y="36"/>
                  </a:lnTo>
                  <a:lnTo>
                    <a:pt x="624" y="48"/>
                  </a:lnTo>
                  <a:lnTo>
                    <a:pt x="618" y="54"/>
                  </a:lnTo>
                  <a:lnTo>
                    <a:pt x="612" y="66"/>
                  </a:lnTo>
                  <a:lnTo>
                    <a:pt x="606" y="72"/>
                  </a:lnTo>
                  <a:lnTo>
                    <a:pt x="606" y="78"/>
                  </a:lnTo>
                  <a:lnTo>
                    <a:pt x="636" y="108"/>
                  </a:lnTo>
                  <a:lnTo>
                    <a:pt x="636" y="138"/>
                  </a:lnTo>
                  <a:lnTo>
                    <a:pt x="642" y="144"/>
                  </a:lnTo>
                  <a:lnTo>
                    <a:pt x="648" y="156"/>
                  </a:lnTo>
                  <a:lnTo>
                    <a:pt x="648" y="162"/>
                  </a:lnTo>
                  <a:lnTo>
                    <a:pt x="624" y="186"/>
                  </a:lnTo>
                  <a:lnTo>
                    <a:pt x="618" y="198"/>
                  </a:lnTo>
                  <a:lnTo>
                    <a:pt x="618" y="210"/>
                  </a:lnTo>
                  <a:lnTo>
                    <a:pt x="624" y="216"/>
                  </a:lnTo>
                  <a:lnTo>
                    <a:pt x="624" y="246"/>
                  </a:lnTo>
                  <a:lnTo>
                    <a:pt x="606" y="246"/>
                  </a:lnTo>
                  <a:lnTo>
                    <a:pt x="600" y="252"/>
                  </a:lnTo>
                  <a:lnTo>
                    <a:pt x="594" y="252"/>
                  </a:lnTo>
                  <a:lnTo>
                    <a:pt x="576" y="246"/>
                  </a:lnTo>
                  <a:lnTo>
                    <a:pt x="570" y="240"/>
                  </a:lnTo>
                  <a:lnTo>
                    <a:pt x="552" y="240"/>
                  </a:lnTo>
                  <a:lnTo>
                    <a:pt x="552" y="252"/>
                  </a:lnTo>
                  <a:lnTo>
                    <a:pt x="564" y="264"/>
                  </a:lnTo>
                  <a:lnTo>
                    <a:pt x="576" y="270"/>
                  </a:lnTo>
                  <a:lnTo>
                    <a:pt x="576" y="276"/>
                  </a:lnTo>
                  <a:lnTo>
                    <a:pt x="582" y="282"/>
                  </a:lnTo>
                  <a:lnTo>
                    <a:pt x="582" y="288"/>
                  </a:lnTo>
                  <a:lnTo>
                    <a:pt x="594" y="294"/>
                  </a:lnTo>
                  <a:lnTo>
                    <a:pt x="600" y="294"/>
                  </a:lnTo>
                  <a:lnTo>
                    <a:pt x="570" y="312"/>
                  </a:lnTo>
                  <a:lnTo>
                    <a:pt x="552" y="312"/>
                  </a:lnTo>
                  <a:lnTo>
                    <a:pt x="546" y="318"/>
                  </a:lnTo>
                  <a:lnTo>
                    <a:pt x="546" y="354"/>
                  </a:lnTo>
                  <a:lnTo>
                    <a:pt x="540" y="354"/>
                  </a:lnTo>
                  <a:lnTo>
                    <a:pt x="534" y="360"/>
                  </a:lnTo>
                  <a:lnTo>
                    <a:pt x="534" y="378"/>
                  </a:lnTo>
                  <a:lnTo>
                    <a:pt x="540" y="390"/>
                  </a:lnTo>
                  <a:lnTo>
                    <a:pt x="540" y="402"/>
                  </a:lnTo>
                  <a:lnTo>
                    <a:pt x="546" y="408"/>
                  </a:lnTo>
                  <a:lnTo>
                    <a:pt x="546" y="414"/>
                  </a:lnTo>
                  <a:lnTo>
                    <a:pt x="540" y="420"/>
                  </a:lnTo>
                  <a:lnTo>
                    <a:pt x="534" y="432"/>
                  </a:lnTo>
                  <a:lnTo>
                    <a:pt x="522" y="438"/>
                  </a:lnTo>
                  <a:lnTo>
                    <a:pt x="510" y="438"/>
                  </a:lnTo>
                  <a:lnTo>
                    <a:pt x="504" y="432"/>
                  </a:lnTo>
                  <a:lnTo>
                    <a:pt x="504" y="420"/>
                  </a:lnTo>
                  <a:lnTo>
                    <a:pt x="474" y="420"/>
                  </a:lnTo>
                  <a:lnTo>
                    <a:pt x="462" y="426"/>
                  </a:lnTo>
                  <a:lnTo>
                    <a:pt x="456" y="432"/>
                  </a:lnTo>
                  <a:lnTo>
                    <a:pt x="444" y="438"/>
                  </a:lnTo>
                  <a:lnTo>
                    <a:pt x="438" y="438"/>
                  </a:lnTo>
                  <a:lnTo>
                    <a:pt x="432" y="444"/>
                  </a:lnTo>
                  <a:lnTo>
                    <a:pt x="432" y="450"/>
                  </a:lnTo>
                  <a:lnTo>
                    <a:pt x="438" y="450"/>
                  </a:lnTo>
                  <a:lnTo>
                    <a:pt x="444" y="456"/>
                  </a:lnTo>
                  <a:lnTo>
                    <a:pt x="444" y="462"/>
                  </a:lnTo>
                  <a:lnTo>
                    <a:pt x="438" y="468"/>
                  </a:lnTo>
                  <a:lnTo>
                    <a:pt x="396" y="468"/>
                  </a:lnTo>
                  <a:lnTo>
                    <a:pt x="396" y="456"/>
                  </a:lnTo>
                  <a:lnTo>
                    <a:pt x="378" y="456"/>
                  </a:lnTo>
                  <a:lnTo>
                    <a:pt x="372" y="468"/>
                  </a:lnTo>
                  <a:lnTo>
                    <a:pt x="360" y="474"/>
                  </a:lnTo>
                  <a:lnTo>
                    <a:pt x="354" y="486"/>
                  </a:lnTo>
                  <a:lnTo>
                    <a:pt x="354" y="504"/>
                  </a:lnTo>
                  <a:lnTo>
                    <a:pt x="360" y="516"/>
                  </a:lnTo>
                  <a:lnTo>
                    <a:pt x="360" y="534"/>
                  </a:lnTo>
                  <a:lnTo>
                    <a:pt x="366" y="540"/>
                  </a:lnTo>
                  <a:lnTo>
                    <a:pt x="366" y="570"/>
                  </a:lnTo>
                  <a:lnTo>
                    <a:pt x="360" y="576"/>
                  </a:lnTo>
                  <a:lnTo>
                    <a:pt x="354" y="576"/>
                  </a:lnTo>
                  <a:lnTo>
                    <a:pt x="306" y="600"/>
                  </a:lnTo>
                  <a:lnTo>
                    <a:pt x="276" y="600"/>
                  </a:lnTo>
                  <a:lnTo>
                    <a:pt x="258" y="606"/>
                  </a:lnTo>
                  <a:lnTo>
                    <a:pt x="234" y="606"/>
                  </a:lnTo>
                  <a:lnTo>
                    <a:pt x="228" y="612"/>
                  </a:lnTo>
                  <a:lnTo>
                    <a:pt x="204" y="612"/>
                  </a:lnTo>
                  <a:lnTo>
                    <a:pt x="204" y="606"/>
                  </a:lnTo>
                  <a:lnTo>
                    <a:pt x="150" y="606"/>
                  </a:lnTo>
                  <a:lnTo>
                    <a:pt x="144" y="612"/>
                  </a:lnTo>
                  <a:lnTo>
                    <a:pt x="138" y="612"/>
                  </a:lnTo>
                  <a:lnTo>
                    <a:pt x="120" y="618"/>
                  </a:lnTo>
                  <a:lnTo>
                    <a:pt x="102" y="618"/>
                  </a:lnTo>
                  <a:lnTo>
                    <a:pt x="78" y="606"/>
                  </a:lnTo>
                  <a:lnTo>
                    <a:pt x="60" y="600"/>
                  </a:lnTo>
                  <a:lnTo>
                    <a:pt x="42" y="588"/>
                  </a:lnTo>
                  <a:lnTo>
                    <a:pt x="30" y="582"/>
                  </a:lnTo>
                  <a:lnTo>
                    <a:pt x="0" y="582"/>
                  </a:lnTo>
                  <a:lnTo>
                    <a:pt x="24" y="606"/>
                  </a:lnTo>
                  <a:lnTo>
                    <a:pt x="30" y="618"/>
                  </a:lnTo>
                  <a:lnTo>
                    <a:pt x="36" y="624"/>
                  </a:lnTo>
                  <a:lnTo>
                    <a:pt x="48" y="642"/>
                  </a:lnTo>
                  <a:lnTo>
                    <a:pt x="60" y="654"/>
                  </a:lnTo>
                  <a:lnTo>
                    <a:pt x="66" y="672"/>
                  </a:lnTo>
                  <a:lnTo>
                    <a:pt x="78" y="690"/>
                  </a:lnTo>
                  <a:lnTo>
                    <a:pt x="84" y="696"/>
                  </a:lnTo>
                  <a:lnTo>
                    <a:pt x="102" y="696"/>
                  </a:lnTo>
                  <a:lnTo>
                    <a:pt x="114" y="690"/>
                  </a:lnTo>
                  <a:lnTo>
                    <a:pt x="126" y="708"/>
                  </a:lnTo>
                  <a:lnTo>
                    <a:pt x="150" y="708"/>
                  </a:lnTo>
                  <a:lnTo>
                    <a:pt x="144" y="738"/>
                  </a:lnTo>
                  <a:lnTo>
                    <a:pt x="150" y="738"/>
                  </a:lnTo>
                  <a:lnTo>
                    <a:pt x="150" y="762"/>
                  </a:lnTo>
                  <a:lnTo>
                    <a:pt x="156" y="774"/>
                  </a:lnTo>
                  <a:lnTo>
                    <a:pt x="156" y="786"/>
                  </a:lnTo>
                  <a:lnTo>
                    <a:pt x="174" y="786"/>
                  </a:lnTo>
                  <a:lnTo>
                    <a:pt x="180" y="792"/>
                  </a:lnTo>
                  <a:lnTo>
                    <a:pt x="186" y="804"/>
                  </a:lnTo>
                  <a:lnTo>
                    <a:pt x="192" y="822"/>
                  </a:lnTo>
                  <a:lnTo>
                    <a:pt x="192" y="834"/>
                  </a:lnTo>
                  <a:lnTo>
                    <a:pt x="186" y="840"/>
                  </a:lnTo>
                  <a:lnTo>
                    <a:pt x="180" y="840"/>
                  </a:lnTo>
                  <a:lnTo>
                    <a:pt x="180" y="834"/>
                  </a:lnTo>
                  <a:lnTo>
                    <a:pt x="150" y="834"/>
                  </a:lnTo>
                  <a:lnTo>
                    <a:pt x="138" y="840"/>
                  </a:lnTo>
                  <a:lnTo>
                    <a:pt x="132" y="846"/>
                  </a:lnTo>
                  <a:lnTo>
                    <a:pt x="132" y="852"/>
                  </a:lnTo>
                  <a:lnTo>
                    <a:pt x="126" y="852"/>
                  </a:lnTo>
                  <a:lnTo>
                    <a:pt x="126" y="858"/>
                  </a:lnTo>
                  <a:lnTo>
                    <a:pt x="120" y="864"/>
                  </a:lnTo>
                  <a:lnTo>
                    <a:pt x="108" y="864"/>
                  </a:lnTo>
                  <a:lnTo>
                    <a:pt x="102" y="882"/>
                  </a:lnTo>
                  <a:lnTo>
                    <a:pt x="96" y="888"/>
                  </a:lnTo>
                  <a:lnTo>
                    <a:pt x="96" y="894"/>
                  </a:lnTo>
                  <a:lnTo>
                    <a:pt x="84" y="906"/>
                  </a:lnTo>
                  <a:lnTo>
                    <a:pt x="84" y="936"/>
                  </a:lnTo>
                  <a:lnTo>
                    <a:pt x="90" y="948"/>
                  </a:lnTo>
                  <a:lnTo>
                    <a:pt x="90" y="954"/>
                  </a:lnTo>
                  <a:lnTo>
                    <a:pt x="96" y="948"/>
                  </a:lnTo>
                  <a:lnTo>
                    <a:pt x="108" y="948"/>
                  </a:lnTo>
                  <a:lnTo>
                    <a:pt x="114" y="942"/>
                  </a:lnTo>
                  <a:lnTo>
                    <a:pt x="120" y="942"/>
                  </a:lnTo>
                  <a:lnTo>
                    <a:pt x="126" y="948"/>
                  </a:lnTo>
                  <a:lnTo>
                    <a:pt x="138" y="948"/>
                  </a:lnTo>
                  <a:lnTo>
                    <a:pt x="150" y="954"/>
                  </a:lnTo>
                  <a:lnTo>
                    <a:pt x="174" y="954"/>
                  </a:lnTo>
                  <a:lnTo>
                    <a:pt x="210" y="936"/>
                  </a:lnTo>
                  <a:lnTo>
                    <a:pt x="216" y="930"/>
                  </a:lnTo>
                  <a:lnTo>
                    <a:pt x="222" y="930"/>
                  </a:lnTo>
                  <a:lnTo>
                    <a:pt x="234" y="936"/>
                  </a:lnTo>
                  <a:lnTo>
                    <a:pt x="276" y="936"/>
                  </a:lnTo>
                  <a:lnTo>
                    <a:pt x="288" y="930"/>
                  </a:lnTo>
                  <a:lnTo>
                    <a:pt x="300" y="930"/>
                  </a:lnTo>
                  <a:lnTo>
                    <a:pt x="306" y="924"/>
                  </a:lnTo>
                  <a:lnTo>
                    <a:pt x="312" y="924"/>
                  </a:lnTo>
                  <a:lnTo>
                    <a:pt x="348" y="930"/>
                  </a:lnTo>
                  <a:lnTo>
                    <a:pt x="354" y="924"/>
                  </a:lnTo>
                  <a:lnTo>
                    <a:pt x="366" y="918"/>
                  </a:lnTo>
                  <a:lnTo>
                    <a:pt x="372" y="912"/>
                  </a:lnTo>
                  <a:lnTo>
                    <a:pt x="384" y="912"/>
                  </a:lnTo>
                  <a:lnTo>
                    <a:pt x="396" y="918"/>
                  </a:lnTo>
                  <a:lnTo>
                    <a:pt x="408" y="930"/>
                  </a:lnTo>
                  <a:lnTo>
                    <a:pt x="432" y="978"/>
                  </a:lnTo>
                  <a:lnTo>
                    <a:pt x="444" y="984"/>
                  </a:lnTo>
                  <a:lnTo>
                    <a:pt x="450" y="990"/>
                  </a:lnTo>
                  <a:lnTo>
                    <a:pt x="468" y="996"/>
                  </a:lnTo>
                  <a:lnTo>
                    <a:pt x="486" y="996"/>
                  </a:lnTo>
                  <a:lnTo>
                    <a:pt x="522" y="1008"/>
                  </a:lnTo>
                  <a:lnTo>
                    <a:pt x="540" y="1044"/>
                  </a:lnTo>
                  <a:lnTo>
                    <a:pt x="552" y="1056"/>
                  </a:lnTo>
                  <a:lnTo>
                    <a:pt x="570" y="1056"/>
                  </a:lnTo>
                  <a:lnTo>
                    <a:pt x="588" y="1050"/>
                  </a:lnTo>
                  <a:lnTo>
                    <a:pt x="582" y="1044"/>
                  </a:lnTo>
                  <a:lnTo>
                    <a:pt x="582" y="1032"/>
                  </a:lnTo>
                  <a:lnTo>
                    <a:pt x="594" y="1020"/>
                  </a:lnTo>
                  <a:lnTo>
                    <a:pt x="606" y="1020"/>
                  </a:lnTo>
                  <a:lnTo>
                    <a:pt x="618" y="1026"/>
                  </a:lnTo>
                  <a:lnTo>
                    <a:pt x="624" y="1032"/>
                  </a:lnTo>
                  <a:lnTo>
                    <a:pt x="648" y="1020"/>
                  </a:lnTo>
                  <a:lnTo>
                    <a:pt x="648" y="1026"/>
                  </a:lnTo>
                  <a:lnTo>
                    <a:pt x="654" y="1032"/>
                  </a:lnTo>
                  <a:lnTo>
                    <a:pt x="678" y="1032"/>
                  </a:lnTo>
                  <a:lnTo>
                    <a:pt x="690" y="1020"/>
                  </a:lnTo>
                  <a:lnTo>
                    <a:pt x="702" y="1014"/>
                  </a:lnTo>
                  <a:lnTo>
                    <a:pt x="708" y="1014"/>
                  </a:lnTo>
                  <a:lnTo>
                    <a:pt x="708" y="1026"/>
                  </a:lnTo>
                  <a:lnTo>
                    <a:pt x="714" y="1032"/>
                  </a:lnTo>
                  <a:lnTo>
                    <a:pt x="732" y="1032"/>
                  </a:lnTo>
                  <a:lnTo>
                    <a:pt x="738" y="1026"/>
                  </a:lnTo>
                  <a:lnTo>
                    <a:pt x="750" y="1020"/>
                  </a:lnTo>
                  <a:lnTo>
                    <a:pt x="750" y="996"/>
                  </a:lnTo>
                  <a:lnTo>
                    <a:pt x="744" y="990"/>
                  </a:lnTo>
                  <a:lnTo>
                    <a:pt x="738" y="978"/>
                  </a:lnTo>
                  <a:lnTo>
                    <a:pt x="714" y="936"/>
                  </a:lnTo>
                  <a:lnTo>
                    <a:pt x="714" y="912"/>
                  </a:lnTo>
                  <a:lnTo>
                    <a:pt x="690" y="912"/>
                  </a:lnTo>
                  <a:lnTo>
                    <a:pt x="678" y="900"/>
                  </a:lnTo>
                  <a:lnTo>
                    <a:pt x="672" y="888"/>
                  </a:lnTo>
                  <a:lnTo>
                    <a:pt x="666" y="882"/>
                  </a:lnTo>
                  <a:lnTo>
                    <a:pt x="672" y="852"/>
                  </a:lnTo>
                  <a:lnTo>
                    <a:pt x="672" y="834"/>
                  </a:lnTo>
                  <a:lnTo>
                    <a:pt x="642" y="840"/>
                  </a:lnTo>
                  <a:lnTo>
                    <a:pt x="636" y="840"/>
                  </a:lnTo>
                  <a:lnTo>
                    <a:pt x="624" y="834"/>
                  </a:lnTo>
                  <a:lnTo>
                    <a:pt x="618" y="828"/>
                  </a:lnTo>
                  <a:lnTo>
                    <a:pt x="618" y="804"/>
                  </a:lnTo>
                  <a:lnTo>
                    <a:pt x="624" y="792"/>
                  </a:lnTo>
                  <a:lnTo>
                    <a:pt x="636" y="780"/>
                  </a:lnTo>
                  <a:lnTo>
                    <a:pt x="642" y="768"/>
                  </a:lnTo>
                  <a:lnTo>
                    <a:pt x="648" y="762"/>
                  </a:lnTo>
                  <a:lnTo>
                    <a:pt x="654" y="750"/>
                  </a:lnTo>
                  <a:lnTo>
                    <a:pt x="654" y="744"/>
                  </a:lnTo>
                  <a:lnTo>
                    <a:pt x="666" y="732"/>
                  </a:lnTo>
                  <a:lnTo>
                    <a:pt x="678" y="726"/>
                  </a:lnTo>
                  <a:lnTo>
                    <a:pt x="684" y="726"/>
                  </a:lnTo>
                  <a:lnTo>
                    <a:pt x="690" y="732"/>
                  </a:lnTo>
                  <a:lnTo>
                    <a:pt x="690" y="744"/>
                  </a:lnTo>
                  <a:lnTo>
                    <a:pt x="696" y="750"/>
                  </a:lnTo>
                  <a:lnTo>
                    <a:pt x="702" y="750"/>
                  </a:lnTo>
                  <a:lnTo>
                    <a:pt x="726" y="738"/>
                  </a:lnTo>
                  <a:lnTo>
                    <a:pt x="732" y="732"/>
                  </a:lnTo>
                  <a:lnTo>
                    <a:pt x="738" y="738"/>
                  </a:lnTo>
                  <a:lnTo>
                    <a:pt x="756" y="738"/>
                  </a:lnTo>
                  <a:lnTo>
                    <a:pt x="762" y="732"/>
                  </a:lnTo>
                  <a:lnTo>
                    <a:pt x="768" y="720"/>
                  </a:lnTo>
                  <a:lnTo>
                    <a:pt x="774" y="714"/>
                  </a:lnTo>
                  <a:lnTo>
                    <a:pt x="774" y="708"/>
                  </a:lnTo>
                  <a:lnTo>
                    <a:pt x="792" y="696"/>
                  </a:lnTo>
                  <a:lnTo>
                    <a:pt x="792" y="678"/>
                  </a:lnTo>
                  <a:lnTo>
                    <a:pt x="798" y="672"/>
                  </a:lnTo>
                  <a:lnTo>
                    <a:pt x="798" y="666"/>
                  </a:lnTo>
                  <a:lnTo>
                    <a:pt x="804" y="660"/>
                  </a:lnTo>
                  <a:lnTo>
                    <a:pt x="828" y="648"/>
                  </a:lnTo>
                  <a:lnTo>
                    <a:pt x="840" y="636"/>
                  </a:lnTo>
                  <a:lnTo>
                    <a:pt x="846" y="618"/>
                  </a:lnTo>
                  <a:lnTo>
                    <a:pt x="846" y="606"/>
                  </a:lnTo>
                  <a:lnTo>
                    <a:pt x="852" y="588"/>
                  </a:lnTo>
                  <a:lnTo>
                    <a:pt x="852" y="576"/>
                  </a:lnTo>
                  <a:lnTo>
                    <a:pt x="858" y="570"/>
                  </a:lnTo>
                  <a:lnTo>
                    <a:pt x="870" y="564"/>
                  </a:lnTo>
                  <a:lnTo>
                    <a:pt x="876" y="558"/>
                  </a:lnTo>
                  <a:lnTo>
                    <a:pt x="888" y="558"/>
                  </a:lnTo>
                  <a:lnTo>
                    <a:pt x="870" y="534"/>
                  </a:lnTo>
                  <a:lnTo>
                    <a:pt x="894" y="498"/>
                  </a:lnTo>
                  <a:lnTo>
                    <a:pt x="924" y="480"/>
                  </a:lnTo>
                  <a:lnTo>
                    <a:pt x="924" y="474"/>
                  </a:lnTo>
                  <a:lnTo>
                    <a:pt x="912" y="462"/>
                  </a:lnTo>
                  <a:lnTo>
                    <a:pt x="906" y="450"/>
                  </a:lnTo>
                  <a:lnTo>
                    <a:pt x="906" y="414"/>
                  </a:lnTo>
                  <a:lnTo>
                    <a:pt x="912" y="408"/>
                  </a:lnTo>
                  <a:lnTo>
                    <a:pt x="924" y="408"/>
                  </a:lnTo>
                  <a:lnTo>
                    <a:pt x="948" y="396"/>
                  </a:lnTo>
                  <a:lnTo>
                    <a:pt x="954" y="390"/>
                  </a:lnTo>
                  <a:lnTo>
                    <a:pt x="954" y="384"/>
                  </a:lnTo>
                  <a:lnTo>
                    <a:pt x="948" y="378"/>
                  </a:lnTo>
                  <a:lnTo>
                    <a:pt x="936" y="372"/>
                  </a:lnTo>
                  <a:lnTo>
                    <a:pt x="900" y="372"/>
                  </a:lnTo>
                  <a:lnTo>
                    <a:pt x="894" y="336"/>
                  </a:lnTo>
                  <a:lnTo>
                    <a:pt x="876" y="336"/>
                  </a:lnTo>
                  <a:lnTo>
                    <a:pt x="864" y="318"/>
                  </a:lnTo>
                  <a:lnTo>
                    <a:pt x="846" y="318"/>
                  </a:lnTo>
                  <a:lnTo>
                    <a:pt x="846" y="306"/>
                  </a:lnTo>
                  <a:lnTo>
                    <a:pt x="852" y="294"/>
                  </a:lnTo>
                  <a:lnTo>
                    <a:pt x="852" y="288"/>
                  </a:lnTo>
                  <a:lnTo>
                    <a:pt x="846" y="288"/>
                  </a:lnTo>
                  <a:lnTo>
                    <a:pt x="834" y="276"/>
                  </a:lnTo>
                  <a:lnTo>
                    <a:pt x="834" y="270"/>
                  </a:lnTo>
                  <a:lnTo>
                    <a:pt x="840" y="264"/>
                  </a:lnTo>
                  <a:lnTo>
                    <a:pt x="846" y="252"/>
                  </a:lnTo>
                  <a:lnTo>
                    <a:pt x="852" y="246"/>
                  </a:lnTo>
                  <a:lnTo>
                    <a:pt x="822" y="240"/>
                  </a:lnTo>
                  <a:lnTo>
                    <a:pt x="828" y="228"/>
                  </a:lnTo>
                  <a:lnTo>
                    <a:pt x="804" y="210"/>
                  </a:lnTo>
                  <a:lnTo>
                    <a:pt x="804" y="204"/>
                  </a:lnTo>
                  <a:lnTo>
                    <a:pt x="810" y="192"/>
                  </a:lnTo>
                  <a:lnTo>
                    <a:pt x="834" y="180"/>
                  </a:lnTo>
                  <a:lnTo>
                    <a:pt x="876" y="180"/>
                  </a:lnTo>
                  <a:lnTo>
                    <a:pt x="894" y="186"/>
                  </a:lnTo>
                  <a:lnTo>
                    <a:pt x="912" y="186"/>
                  </a:lnTo>
                  <a:lnTo>
                    <a:pt x="918" y="192"/>
                  </a:lnTo>
                  <a:lnTo>
                    <a:pt x="918" y="204"/>
                  </a:lnTo>
                  <a:lnTo>
                    <a:pt x="930" y="204"/>
                  </a:lnTo>
                  <a:lnTo>
                    <a:pt x="942" y="198"/>
                  </a:lnTo>
                  <a:lnTo>
                    <a:pt x="948" y="192"/>
                  </a:lnTo>
                  <a:lnTo>
                    <a:pt x="960" y="186"/>
                  </a:lnTo>
                  <a:lnTo>
                    <a:pt x="966" y="180"/>
                  </a:lnTo>
                  <a:lnTo>
                    <a:pt x="972" y="186"/>
                  </a:lnTo>
                  <a:lnTo>
                    <a:pt x="978" y="180"/>
                  </a:lnTo>
                  <a:lnTo>
                    <a:pt x="1002" y="180"/>
                  </a:lnTo>
                  <a:lnTo>
                    <a:pt x="1002" y="162"/>
                  </a:lnTo>
                  <a:lnTo>
                    <a:pt x="1026" y="156"/>
                  </a:lnTo>
                  <a:lnTo>
                    <a:pt x="1050" y="120"/>
                  </a:lnTo>
                  <a:lnTo>
                    <a:pt x="1008" y="120"/>
                  </a:lnTo>
                  <a:close/>
                </a:path>
              </a:pathLst>
            </a:custGeom>
            <a:solidFill>
              <a:srgbClr val="7030A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60" name="Parcel Islands" descr="© INSCALE GmbH, 05.05.2010&#10;http://www.presentationload.com/">
              <a:extLst>
                <a:ext uri="{FF2B5EF4-FFF2-40B4-BE49-F238E27FC236}">
                  <a16:creationId xmlns:a16="http://schemas.microsoft.com/office/drawing/2014/main" id="{09225CFB-54A4-7CDC-7B44-8BE8A12D116B}"/>
                </a:ext>
              </a:extLst>
            </p:cNvPr>
            <p:cNvSpPr>
              <a:spLocks noEditPoints="1"/>
            </p:cNvSpPr>
            <p:nvPr/>
          </p:nvSpPr>
          <p:spPr bwMode="gray">
            <a:xfrm>
              <a:off x="7204583" y="2690751"/>
              <a:ext cx="35577" cy="23718"/>
            </a:xfrm>
            <a:custGeom>
              <a:avLst/>
              <a:gdLst>
                <a:gd name="T0" fmla="*/ 2147483647 w 96"/>
                <a:gd name="T1" fmla="*/ 2147483647 h 66"/>
                <a:gd name="T2" fmla="*/ 2147483647 w 96"/>
                <a:gd name="T3" fmla="*/ 2147483647 h 66"/>
                <a:gd name="T4" fmla="*/ 0 w 96"/>
                <a:gd name="T5" fmla="*/ 2147483647 h 66"/>
                <a:gd name="T6" fmla="*/ 0 w 96"/>
                <a:gd name="T7" fmla="*/ 2147483647 h 66"/>
                <a:gd name="T8" fmla="*/ 2147483647 w 96"/>
                <a:gd name="T9" fmla="*/ 2147483647 h 66"/>
                <a:gd name="T10" fmla="*/ 2147483647 w 96"/>
                <a:gd name="T11" fmla="*/ 2147483647 h 66"/>
                <a:gd name="T12" fmla="*/ 2147483647 w 96"/>
                <a:gd name="T13" fmla="*/ 2147483647 h 66"/>
                <a:gd name="T14" fmla="*/ 2147483647 w 96"/>
                <a:gd name="T15" fmla="*/ 2147483647 h 66"/>
                <a:gd name="T16" fmla="*/ 2147483647 w 96"/>
                <a:gd name="T17" fmla="*/ 2147483647 h 66"/>
                <a:gd name="T18" fmla="*/ 2147483647 w 96"/>
                <a:gd name="T19" fmla="*/ 0 h 66"/>
                <a:gd name="T20" fmla="*/ 2147483647 w 96"/>
                <a:gd name="T21" fmla="*/ 2147483647 h 66"/>
                <a:gd name="T22" fmla="*/ 2147483647 w 96"/>
                <a:gd name="T23" fmla="*/ 2147483647 h 66"/>
                <a:gd name="T24" fmla="*/ 2147483647 w 96"/>
                <a:gd name="T25" fmla="*/ 2147483647 h 66"/>
                <a:gd name="T26" fmla="*/ 2147483647 w 96"/>
                <a:gd name="T27" fmla="*/ 2147483647 h 66"/>
                <a:gd name="T28" fmla="*/ 2147483647 w 96"/>
                <a:gd name="T29" fmla="*/ 0 h 66"/>
                <a:gd name="T30" fmla="*/ 2147483647 w 96"/>
                <a:gd name="T31" fmla="*/ 0 h 66"/>
                <a:gd name="T32" fmla="*/ 2147483647 w 96"/>
                <a:gd name="T33" fmla="*/ 2147483647 h 66"/>
                <a:gd name="T34" fmla="*/ 2147483647 w 96"/>
                <a:gd name="T35" fmla="*/ 2147483647 h 66"/>
                <a:gd name="T36" fmla="*/ 2147483647 w 96"/>
                <a:gd name="T37" fmla="*/ 2147483647 h 66"/>
                <a:gd name="T38" fmla="*/ 2147483647 w 96"/>
                <a:gd name="T39" fmla="*/ 2147483647 h 66"/>
                <a:gd name="T40" fmla="*/ 2147483647 w 96"/>
                <a:gd name="T41" fmla="*/ 2147483647 h 66"/>
                <a:gd name="T42" fmla="*/ 2147483647 w 96"/>
                <a:gd name="T43" fmla="*/ 2147483647 h 66"/>
                <a:gd name="T44" fmla="*/ 2147483647 w 96"/>
                <a:gd name="T45" fmla="*/ 2147483647 h 6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6"/>
                <a:gd name="T70" fmla="*/ 0 h 66"/>
                <a:gd name="T71" fmla="*/ 96 w 96"/>
                <a:gd name="T72" fmla="*/ 66 h 6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6" h="66">
                  <a:moveTo>
                    <a:pt x="12" y="42"/>
                  </a:moveTo>
                  <a:lnTo>
                    <a:pt x="6" y="42"/>
                  </a:lnTo>
                  <a:lnTo>
                    <a:pt x="0" y="48"/>
                  </a:lnTo>
                  <a:lnTo>
                    <a:pt x="0" y="60"/>
                  </a:lnTo>
                  <a:lnTo>
                    <a:pt x="6" y="66"/>
                  </a:lnTo>
                  <a:lnTo>
                    <a:pt x="12" y="66"/>
                  </a:lnTo>
                  <a:lnTo>
                    <a:pt x="24" y="54"/>
                  </a:lnTo>
                  <a:lnTo>
                    <a:pt x="24" y="42"/>
                  </a:lnTo>
                  <a:lnTo>
                    <a:pt x="12" y="42"/>
                  </a:lnTo>
                  <a:close/>
                  <a:moveTo>
                    <a:pt x="42" y="0"/>
                  </a:moveTo>
                  <a:lnTo>
                    <a:pt x="42" y="18"/>
                  </a:lnTo>
                  <a:lnTo>
                    <a:pt x="54" y="30"/>
                  </a:lnTo>
                  <a:lnTo>
                    <a:pt x="60" y="30"/>
                  </a:lnTo>
                  <a:lnTo>
                    <a:pt x="72" y="24"/>
                  </a:lnTo>
                  <a:lnTo>
                    <a:pt x="48" y="0"/>
                  </a:lnTo>
                  <a:lnTo>
                    <a:pt x="42" y="0"/>
                  </a:lnTo>
                  <a:close/>
                  <a:moveTo>
                    <a:pt x="96" y="36"/>
                  </a:moveTo>
                  <a:lnTo>
                    <a:pt x="78" y="36"/>
                  </a:lnTo>
                  <a:lnTo>
                    <a:pt x="72" y="42"/>
                  </a:lnTo>
                  <a:lnTo>
                    <a:pt x="72" y="54"/>
                  </a:lnTo>
                  <a:lnTo>
                    <a:pt x="84" y="60"/>
                  </a:lnTo>
                  <a:lnTo>
                    <a:pt x="96" y="48"/>
                  </a:lnTo>
                  <a:lnTo>
                    <a:pt x="96" y="36"/>
                  </a:lnTo>
                  <a:close/>
                </a:path>
              </a:pathLst>
            </a:custGeom>
            <a:grp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61" name="Oman" descr="© INSCALE GmbH, 05.05.2010&#10;http://www.presentationload.com/">
              <a:extLst>
                <a:ext uri="{FF2B5EF4-FFF2-40B4-BE49-F238E27FC236}">
                  <a16:creationId xmlns:a16="http://schemas.microsoft.com/office/drawing/2014/main" id="{FC2650B7-8185-2031-F6A0-956677DCE672}"/>
                </a:ext>
              </a:extLst>
            </p:cNvPr>
            <p:cNvSpPr>
              <a:spLocks/>
            </p:cNvSpPr>
            <p:nvPr/>
          </p:nvSpPr>
          <p:spPr bwMode="gray">
            <a:xfrm>
              <a:off x="5621409" y="2453571"/>
              <a:ext cx="204568" cy="254968"/>
            </a:xfrm>
            <a:custGeom>
              <a:avLst/>
              <a:gdLst>
                <a:gd name="T0" fmla="*/ 2147483647 w 540"/>
                <a:gd name="T1" fmla="*/ 2147483647 h 672"/>
                <a:gd name="T2" fmla="*/ 2147483647 w 540"/>
                <a:gd name="T3" fmla="*/ 2147483647 h 672"/>
                <a:gd name="T4" fmla="*/ 2147483647 w 540"/>
                <a:gd name="T5" fmla="*/ 2147483647 h 672"/>
                <a:gd name="T6" fmla="*/ 2147483647 w 540"/>
                <a:gd name="T7" fmla="*/ 2147483647 h 672"/>
                <a:gd name="T8" fmla="*/ 2147483647 w 540"/>
                <a:gd name="T9" fmla="*/ 2147483647 h 672"/>
                <a:gd name="T10" fmla="*/ 2147483647 w 540"/>
                <a:gd name="T11" fmla="*/ 2147483647 h 672"/>
                <a:gd name="T12" fmla="*/ 2147483647 w 540"/>
                <a:gd name="T13" fmla="*/ 2147483647 h 672"/>
                <a:gd name="T14" fmla="*/ 2147483647 w 540"/>
                <a:gd name="T15" fmla="*/ 2147483647 h 672"/>
                <a:gd name="T16" fmla="*/ 2147483647 w 540"/>
                <a:gd name="T17" fmla="*/ 2147483647 h 672"/>
                <a:gd name="T18" fmla="*/ 2147483647 w 540"/>
                <a:gd name="T19" fmla="*/ 2147483647 h 672"/>
                <a:gd name="T20" fmla="*/ 2147483647 w 540"/>
                <a:gd name="T21" fmla="*/ 2147483647 h 672"/>
                <a:gd name="T22" fmla="*/ 2147483647 w 540"/>
                <a:gd name="T23" fmla="*/ 2147483647 h 672"/>
                <a:gd name="T24" fmla="*/ 2147483647 w 540"/>
                <a:gd name="T25" fmla="*/ 2147483647 h 672"/>
                <a:gd name="T26" fmla="*/ 2147483647 w 540"/>
                <a:gd name="T27" fmla="*/ 2147483647 h 672"/>
                <a:gd name="T28" fmla="*/ 2147483647 w 540"/>
                <a:gd name="T29" fmla="*/ 2147483647 h 672"/>
                <a:gd name="T30" fmla="*/ 2147483647 w 540"/>
                <a:gd name="T31" fmla="*/ 2147483647 h 672"/>
                <a:gd name="T32" fmla="*/ 2147483647 w 540"/>
                <a:gd name="T33" fmla="*/ 2147483647 h 672"/>
                <a:gd name="T34" fmla="*/ 2147483647 w 540"/>
                <a:gd name="T35" fmla="*/ 2147483647 h 672"/>
                <a:gd name="T36" fmla="*/ 2147483647 w 540"/>
                <a:gd name="T37" fmla="*/ 2147483647 h 672"/>
                <a:gd name="T38" fmla="*/ 2147483647 w 540"/>
                <a:gd name="T39" fmla="*/ 2147483647 h 672"/>
                <a:gd name="T40" fmla="*/ 2147483647 w 540"/>
                <a:gd name="T41" fmla="*/ 2147483647 h 672"/>
                <a:gd name="T42" fmla="*/ 2147483647 w 540"/>
                <a:gd name="T43" fmla="*/ 2147483647 h 672"/>
                <a:gd name="T44" fmla="*/ 2147483647 w 540"/>
                <a:gd name="T45" fmla="*/ 2147483647 h 672"/>
                <a:gd name="T46" fmla="*/ 2147483647 w 540"/>
                <a:gd name="T47" fmla="*/ 2147483647 h 672"/>
                <a:gd name="T48" fmla="*/ 2147483647 w 540"/>
                <a:gd name="T49" fmla="*/ 2147483647 h 672"/>
                <a:gd name="T50" fmla="*/ 2147483647 w 540"/>
                <a:gd name="T51" fmla="*/ 0 h 672"/>
                <a:gd name="T52" fmla="*/ 2147483647 w 540"/>
                <a:gd name="T53" fmla="*/ 2147483647 h 672"/>
                <a:gd name="T54" fmla="*/ 2147483647 w 540"/>
                <a:gd name="T55" fmla="*/ 2147483647 h 672"/>
                <a:gd name="T56" fmla="*/ 2147483647 w 540"/>
                <a:gd name="T57" fmla="*/ 2147483647 h 672"/>
                <a:gd name="T58" fmla="*/ 2147483647 w 540"/>
                <a:gd name="T59" fmla="*/ 2147483647 h 672"/>
                <a:gd name="T60" fmla="*/ 2147483647 w 540"/>
                <a:gd name="T61" fmla="*/ 2147483647 h 672"/>
                <a:gd name="T62" fmla="*/ 2147483647 w 540"/>
                <a:gd name="T63" fmla="*/ 2147483647 h 672"/>
                <a:gd name="T64" fmla="*/ 2147483647 w 540"/>
                <a:gd name="T65" fmla="*/ 2147483647 h 672"/>
                <a:gd name="T66" fmla="*/ 2147483647 w 540"/>
                <a:gd name="T67" fmla="*/ 2147483647 h 672"/>
                <a:gd name="T68" fmla="*/ 2147483647 w 540"/>
                <a:gd name="T69" fmla="*/ 2147483647 h 672"/>
                <a:gd name="T70" fmla="*/ 2147483647 w 540"/>
                <a:gd name="T71" fmla="*/ 2147483647 h 672"/>
                <a:gd name="T72" fmla="*/ 2147483647 w 540"/>
                <a:gd name="T73" fmla="*/ 2147483647 h 672"/>
                <a:gd name="T74" fmla="*/ 2147483647 w 540"/>
                <a:gd name="T75" fmla="*/ 2147483647 h 672"/>
                <a:gd name="T76" fmla="*/ 2147483647 w 540"/>
                <a:gd name="T77" fmla="*/ 2147483647 h 672"/>
                <a:gd name="T78" fmla="*/ 2147483647 w 540"/>
                <a:gd name="T79" fmla="*/ 2147483647 h 672"/>
                <a:gd name="T80" fmla="*/ 2147483647 w 540"/>
                <a:gd name="T81" fmla="*/ 2147483647 h 672"/>
                <a:gd name="T82" fmla="*/ 2147483647 w 540"/>
                <a:gd name="T83" fmla="*/ 2147483647 h 672"/>
                <a:gd name="T84" fmla="*/ 2147483647 w 540"/>
                <a:gd name="T85" fmla="*/ 2147483647 h 672"/>
                <a:gd name="T86" fmla="*/ 2147483647 w 540"/>
                <a:gd name="T87" fmla="*/ 2147483647 h 67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40"/>
                <a:gd name="T133" fmla="*/ 0 h 672"/>
                <a:gd name="T134" fmla="*/ 540 w 540"/>
                <a:gd name="T135" fmla="*/ 672 h 67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40" h="672">
                  <a:moveTo>
                    <a:pt x="258" y="564"/>
                  </a:moveTo>
                  <a:lnTo>
                    <a:pt x="276" y="564"/>
                  </a:lnTo>
                  <a:lnTo>
                    <a:pt x="288" y="558"/>
                  </a:lnTo>
                  <a:lnTo>
                    <a:pt x="306" y="552"/>
                  </a:lnTo>
                  <a:lnTo>
                    <a:pt x="330" y="540"/>
                  </a:lnTo>
                  <a:lnTo>
                    <a:pt x="336" y="528"/>
                  </a:lnTo>
                  <a:lnTo>
                    <a:pt x="342" y="510"/>
                  </a:lnTo>
                  <a:lnTo>
                    <a:pt x="342" y="498"/>
                  </a:lnTo>
                  <a:lnTo>
                    <a:pt x="348" y="498"/>
                  </a:lnTo>
                  <a:lnTo>
                    <a:pt x="354" y="492"/>
                  </a:lnTo>
                  <a:lnTo>
                    <a:pt x="366" y="486"/>
                  </a:lnTo>
                  <a:lnTo>
                    <a:pt x="384" y="480"/>
                  </a:lnTo>
                  <a:lnTo>
                    <a:pt x="408" y="456"/>
                  </a:lnTo>
                  <a:lnTo>
                    <a:pt x="414" y="444"/>
                  </a:lnTo>
                  <a:lnTo>
                    <a:pt x="414" y="426"/>
                  </a:lnTo>
                  <a:lnTo>
                    <a:pt x="420" y="408"/>
                  </a:lnTo>
                  <a:lnTo>
                    <a:pt x="420" y="378"/>
                  </a:lnTo>
                  <a:lnTo>
                    <a:pt x="426" y="372"/>
                  </a:lnTo>
                  <a:lnTo>
                    <a:pt x="432" y="372"/>
                  </a:lnTo>
                  <a:lnTo>
                    <a:pt x="444" y="378"/>
                  </a:lnTo>
                  <a:lnTo>
                    <a:pt x="450" y="384"/>
                  </a:lnTo>
                  <a:lnTo>
                    <a:pt x="462" y="384"/>
                  </a:lnTo>
                  <a:lnTo>
                    <a:pt x="468" y="378"/>
                  </a:lnTo>
                  <a:lnTo>
                    <a:pt x="480" y="354"/>
                  </a:lnTo>
                  <a:lnTo>
                    <a:pt x="480" y="330"/>
                  </a:lnTo>
                  <a:lnTo>
                    <a:pt x="534" y="276"/>
                  </a:lnTo>
                  <a:lnTo>
                    <a:pt x="534" y="264"/>
                  </a:lnTo>
                  <a:lnTo>
                    <a:pt x="540" y="252"/>
                  </a:lnTo>
                  <a:lnTo>
                    <a:pt x="540" y="204"/>
                  </a:lnTo>
                  <a:lnTo>
                    <a:pt x="528" y="192"/>
                  </a:lnTo>
                  <a:lnTo>
                    <a:pt x="510" y="192"/>
                  </a:lnTo>
                  <a:lnTo>
                    <a:pt x="510" y="186"/>
                  </a:lnTo>
                  <a:lnTo>
                    <a:pt x="492" y="168"/>
                  </a:lnTo>
                  <a:lnTo>
                    <a:pt x="486" y="150"/>
                  </a:lnTo>
                  <a:lnTo>
                    <a:pt x="462" y="126"/>
                  </a:lnTo>
                  <a:lnTo>
                    <a:pt x="456" y="114"/>
                  </a:lnTo>
                  <a:lnTo>
                    <a:pt x="432" y="96"/>
                  </a:lnTo>
                  <a:lnTo>
                    <a:pt x="396" y="84"/>
                  </a:lnTo>
                  <a:lnTo>
                    <a:pt x="366" y="78"/>
                  </a:lnTo>
                  <a:lnTo>
                    <a:pt x="348" y="78"/>
                  </a:lnTo>
                  <a:lnTo>
                    <a:pt x="342" y="72"/>
                  </a:lnTo>
                  <a:lnTo>
                    <a:pt x="330" y="72"/>
                  </a:lnTo>
                  <a:lnTo>
                    <a:pt x="318" y="60"/>
                  </a:lnTo>
                  <a:lnTo>
                    <a:pt x="294" y="48"/>
                  </a:lnTo>
                  <a:lnTo>
                    <a:pt x="288" y="36"/>
                  </a:lnTo>
                  <a:lnTo>
                    <a:pt x="288" y="30"/>
                  </a:lnTo>
                  <a:lnTo>
                    <a:pt x="282" y="18"/>
                  </a:lnTo>
                  <a:lnTo>
                    <a:pt x="276" y="12"/>
                  </a:lnTo>
                  <a:lnTo>
                    <a:pt x="252" y="18"/>
                  </a:lnTo>
                  <a:lnTo>
                    <a:pt x="246" y="6"/>
                  </a:lnTo>
                  <a:lnTo>
                    <a:pt x="246" y="0"/>
                  </a:lnTo>
                  <a:lnTo>
                    <a:pt x="240" y="0"/>
                  </a:lnTo>
                  <a:lnTo>
                    <a:pt x="234" y="6"/>
                  </a:lnTo>
                  <a:lnTo>
                    <a:pt x="234" y="12"/>
                  </a:lnTo>
                  <a:lnTo>
                    <a:pt x="228" y="24"/>
                  </a:lnTo>
                  <a:lnTo>
                    <a:pt x="228" y="54"/>
                  </a:lnTo>
                  <a:lnTo>
                    <a:pt x="246" y="72"/>
                  </a:lnTo>
                  <a:lnTo>
                    <a:pt x="246" y="78"/>
                  </a:lnTo>
                  <a:lnTo>
                    <a:pt x="240" y="78"/>
                  </a:lnTo>
                  <a:lnTo>
                    <a:pt x="240" y="72"/>
                  </a:lnTo>
                  <a:lnTo>
                    <a:pt x="228" y="72"/>
                  </a:lnTo>
                  <a:lnTo>
                    <a:pt x="228" y="78"/>
                  </a:lnTo>
                  <a:lnTo>
                    <a:pt x="222" y="84"/>
                  </a:lnTo>
                  <a:lnTo>
                    <a:pt x="222" y="96"/>
                  </a:lnTo>
                  <a:lnTo>
                    <a:pt x="216" y="108"/>
                  </a:lnTo>
                  <a:lnTo>
                    <a:pt x="216" y="120"/>
                  </a:lnTo>
                  <a:lnTo>
                    <a:pt x="210" y="132"/>
                  </a:lnTo>
                  <a:lnTo>
                    <a:pt x="204" y="138"/>
                  </a:lnTo>
                  <a:lnTo>
                    <a:pt x="198" y="150"/>
                  </a:lnTo>
                  <a:lnTo>
                    <a:pt x="192" y="156"/>
                  </a:lnTo>
                  <a:lnTo>
                    <a:pt x="192" y="168"/>
                  </a:lnTo>
                  <a:lnTo>
                    <a:pt x="210" y="204"/>
                  </a:lnTo>
                  <a:lnTo>
                    <a:pt x="216" y="210"/>
                  </a:lnTo>
                  <a:lnTo>
                    <a:pt x="216" y="222"/>
                  </a:lnTo>
                  <a:lnTo>
                    <a:pt x="222" y="228"/>
                  </a:lnTo>
                  <a:lnTo>
                    <a:pt x="234" y="234"/>
                  </a:lnTo>
                  <a:lnTo>
                    <a:pt x="240" y="240"/>
                  </a:lnTo>
                  <a:lnTo>
                    <a:pt x="204" y="414"/>
                  </a:lnTo>
                  <a:lnTo>
                    <a:pt x="0" y="486"/>
                  </a:lnTo>
                  <a:lnTo>
                    <a:pt x="84" y="672"/>
                  </a:lnTo>
                  <a:lnTo>
                    <a:pt x="114" y="660"/>
                  </a:lnTo>
                  <a:lnTo>
                    <a:pt x="198" y="636"/>
                  </a:lnTo>
                  <a:lnTo>
                    <a:pt x="228" y="624"/>
                  </a:lnTo>
                  <a:lnTo>
                    <a:pt x="246" y="618"/>
                  </a:lnTo>
                  <a:lnTo>
                    <a:pt x="252" y="606"/>
                  </a:lnTo>
                  <a:lnTo>
                    <a:pt x="252" y="594"/>
                  </a:lnTo>
                  <a:lnTo>
                    <a:pt x="258" y="582"/>
                  </a:lnTo>
                  <a:lnTo>
                    <a:pt x="258" y="564"/>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62" name="Norway" descr="© INSCALE GmbH, 05.05.2010&#10;http://www.presentationload.com/">
              <a:extLst>
                <a:ext uri="{FF2B5EF4-FFF2-40B4-BE49-F238E27FC236}">
                  <a16:creationId xmlns:a16="http://schemas.microsoft.com/office/drawing/2014/main" id="{B6EC0FAF-8EFD-6CF1-A567-7846479B87E9}"/>
                </a:ext>
              </a:extLst>
            </p:cNvPr>
            <p:cNvSpPr>
              <a:spLocks noEditPoints="1"/>
            </p:cNvSpPr>
            <p:nvPr/>
          </p:nvSpPr>
          <p:spPr bwMode="gray">
            <a:xfrm>
              <a:off x="4399935" y="895592"/>
              <a:ext cx="515865" cy="567751"/>
            </a:xfrm>
            <a:custGeom>
              <a:avLst/>
              <a:gdLst>
                <a:gd name="T0" fmla="*/ 2147483647 w 1362"/>
                <a:gd name="T1" fmla="*/ 2147483647 h 1500"/>
                <a:gd name="T2" fmla="*/ 2147483647 w 1362"/>
                <a:gd name="T3" fmla="*/ 2147483647 h 1500"/>
                <a:gd name="T4" fmla="*/ 2147483647 w 1362"/>
                <a:gd name="T5" fmla="*/ 2147483647 h 1500"/>
                <a:gd name="T6" fmla="*/ 2147483647 w 1362"/>
                <a:gd name="T7" fmla="*/ 2147483647 h 1500"/>
                <a:gd name="T8" fmla="*/ 2147483647 w 1362"/>
                <a:gd name="T9" fmla="*/ 0 h 1500"/>
                <a:gd name="T10" fmla="*/ 2147483647 w 1362"/>
                <a:gd name="T11" fmla="*/ 2147483647 h 1500"/>
                <a:gd name="T12" fmla="*/ 2147483647 w 1362"/>
                <a:gd name="T13" fmla="*/ 2147483647 h 1500"/>
                <a:gd name="T14" fmla="*/ 2147483647 w 1362"/>
                <a:gd name="T15" fmla="*/ 2147483647 h 1500"/>
                <a:gd name="T16" fmla="*/ 2147483647 w 1362"/>
                <a:gd name="T17" fmla="*/ 2147483647 h 1500"/>
                <a:gd name="T18" fmla="*/ 2147483647 w 1362"/>
                <a:gd name="T19" fmla="*/ 2147483647 h 1500"/>
                <a:gd name="T20" fmla="*/ 2147483647 w 1362"/>
                <a:gd name="T21" fmla="*/ 2147483647 h 1500"/>
                <a:gd name="T22" fmla="*/ 2147483647 w 1362"/>
                <a:gd name="T23" fmla="*/ 2147483647 h 1500"/>
                <a:gd name="T24" fmla="*/ 2147483647 w 1362"/>
                <a:gd name="T25" fmla="*/ 2147483647 h 1500"/>
                <a:gd name="T26" fmla="*/ 2147483647 w 1362"/>
                <a:gd name="T27" fmla="*/ 2147483647 h 1500"/>
                <a:gd name="T28" fmla="*/ 2147483647 w 1362"/>
                <a:gd name="T29" fmla="*/ 2147483647 h 1500"/>
                <a:gd name="T30" fmla="*/ 2147483647 w 1362"/>
                <a:gd name="T31" fmla="*/ 2147483647 h 1500"/>
                <a:gd name="T32" fmla="*/ 2147483647 w 1362"/>
                <a:gd name="T33" fmla="*/ 2147483647 h 1500"/>
                <a:gd name="T34" fmla="*/ 2147483647 w 1362"/>
                <a:gd name="T35" fmla="*/ 2147483647 h 1500"/>
                <a:gd name="T36" fmla="*/ 2147483647 w 1362"/>
                <a:gd name="T37" fmla="*/ 2147483647 h 1500"/>
                <a:gd name="T38" fmla="*/ 2147483647 w 1362"/>
                <a:gd name="T39" fmla="*/ 2147483647 h 1500"/>
                <a:gd name="T40" fmla="*/ 2147483647 w 1362"/>
                <a:gd name="T41" fmla="*/ 2147483647 h 1500"/>
                <a:gd name="T42" fmla="*/ 2147483647 w 1362"/>
                <a:gd name="T43" fmla="*/ 2147483647 h 1500"/>
                <a:gd name="T44" fmla="*/ 2147483647 w 1362"/>
                <a:gd name="T45" fmla="*/ 2147483647 h 1500"/>
                <a:gd name="T46" fmla="*/ 2147483647 w 1362"/>
                <a:gd name="T47" fmla="*/ 2147483647 h 1500"/>
                <a:gd name="T48" fmla="*/ 2147483647 w 1362"/>
                <a:gd name="T49" fmla="*/ 2147483647 h 1500"/>
                <a:gd name="T50" fmla="*/ 2147483647 w 1362"/>
                <a:gd name="T51" fmla="*/ 2147483647 h 1500"/>
                <a:gd name="T52" fmla="*/ 2147483647 w 1362"/>
                <a:gd name="T53" fmla="*/ 2147483647 h 1500"/>
                <a:gd name="T54" fmla="*/ 2147483647 w 1362"/>
                <a:gd name="T55" fmla="*/ 2147483647 h 1500"/>
                <a:gd name="T56" fmla="*/ 2147483647 w 1362"/>
                <a:gd name="T57" fmla="*/ 2147483647 h 1500"/>
                <a:gd name="T58" fmla="*/ 2147483647 w 1362"/>
                <a:gd name="T59" fmla="*/ 2147483647 h 1500"/>
                <a:gd name="T60" fmla="*/ 2147483647 w 1362"/>
                <a:gd name="T61" fmla="*/ 2147483647 h 1500"/>
                <a:gd name="T62" fmla="*/ 2147483647 w 1362"/>
                <a:gd name="T63" fmla="*/ 2147483647 h 1500"/>
                <a:gd name="T64" fmla="*/ 2147483647 w 1362"/>
                <a:gd name="T65" fmla="*/ 2147483647 h 1500"/>
                <a:gd name="T66" fmla="*/ 2147483647 w 1362"/>
                <a:gd name="T67" fmla="*/ 2147483647 h 1500"/>
                <a:gd name="T68" fmla="*/ 2147483647 w 1362"/>
                <a:gd name="T69" fmla="*/ 2147483647 h 1500"/>
                <a:gd name="T70" fmla="*/ 2147483647 w 1362"/>
                <a:gd name="T71" fmla="*/ 2147483647 h 1500"/>
                <a:gd name="T72" fmla="*/ 2147483647 w 1362"/>
                <a:gd name="T73" fmla="*/ 2147483647 h 1500"/>
                <a:gd name="T74" fmla="*/ 2147483647 w 1362"/>
                <a:gd name="T75" fmla="*/ 2147483647 h 1500"/>
                <a:gd name="T76" fmla="*/ 2147483647 w 1362"/>
                <a:gd name="T77" fmla="*/ 2147483647 h 1500"/>
                <a:gd name="T78" fmla="*/ 2147483647 w 1362"/>
                <a:gd name="T79" fmla="*/ 2147483647 h 1500"/>
                <a:gd name="T80" fmla="*/ 2147483647 w 1362"/>
                <a:gd name="T81" fmla="*/ 2147483647 h 1500"/>
                <a:gd name="T82" fmla="*/ 2147483647 w 1362"/>
                <a:gd name="T83" fmla="*/ 2147483647 h 1500"/>
                <a:gd name="T84" fmla="*/ 2147483647 w 1362"/>
                <a:gd name="T85" fmla="*/ 2147483647 h 1500"/>
                <a:gd name="T86" fmla="*/ 2147483647 w 1362"/>
                <a:gd name="T87" fmla="*/ 2147483647 h 1500"/>
                <a:gd name="T88" fmla="*/ 2147483647 w 1362"/>
                <a:gd name="T89" fmla="*/ 2147483647 h 1500"/>
                <a:gd name="T90" fmla="*/ 2147483647 w 1362"/>
                <a:gd name="T91" fmla="*/ 2147483647 h 1500"/>
                <a:gd name="T92" fmla="*/ 2147483647 w 1362"/>
                <a:gd name="T93" fmla="*/ 2147483647 h 1500"/>
                <a:gd name="T94" fmla="*/ 2147483647 w 1362"/>
                <a:gd name="T95" fmla="*/ 2147483647 h 1500"/>
                <a:gd name="T96" fmla="*/ 2147483647 w 1362"/>
                <a:gd name="T97" fmla="*/ 2147483647 h 1500"/>
                <a:gd name="T98" fmla="*/ 2147483647 w 1362"/>
                <a:gd name="T99" fmla="*/ 2147483647 h 1500"/>
                <a:gd name="T100" fmla="*/ 2147483647 w 1362"/>
                <a:gd name="T101" fmla="*/ 2147483647 h 1500"/>
                <a:gd name="T102" fmla="*/ 2147483647 w 1362"/>
                <a:gd name="T103" fmla="*/ 2147483647 h 1500"/>
                <a:gd name="T104" fmla="*/ 2147483647 w 1362"/>
                <a:gd name="T105" fmla="*/ 2147483647 h 1500"/>
                <a:gd name="T106" fmla="*/ 2147483647 w 1362"/>
                <a:gd name="T107" fmla="*/ 2147483647 h 1500"/>
                <a:gd name="T108" fmla="*/ 2147483647 w 1362"/>
                <a:gd name="T109" fmla="*/ 2147483647 h 1500"/>
                <a:gd name="T110" fmla="*/ 2147483647 w 1362"/>
                <a:gd name="T111" fmla="*/ 2147483647 h 1500"/>
                <a:gd name="T112" fmla="*/ 2147483647 w 1362"/>
                <a:gd name="T113" fmla="*/ 2147483647 h 1500"/>
                <a:gd name="T114" fmla="*/ 2147483647 w 1362"/>
                <a:gd name="T115" fmla="*/ 2147483647 h 150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62"/>
                <a:gd name="T175" fmla="*/ 0 h 1500"/>
                <a:gd name="T176" fmla="*/ 1362 w 1362"/>
                <a:gd name="T177" fmla="*/ 1500 h 150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62" h="1500">
                  <a:moveTo>
                    <a:pt x="324" y="120"/>
                  </a:moveTo>
                  <a:lnTo>
                    <a:pt x="336" y="126"/>
                  </a:lnTo>
                  <a:lnTo>
                    <a:pt x="354" y="132"/>
                  </a:lnTo>
                  <a:lnTo>
                    <a:pt x="378" y="132"/>
                  </a:lnTo>
                  <a:lnTo>
                    <a:pt x="294" y="90"/>
                  </a:lnTo>
                  <a:lnTo>
                    <a:pt x="294" y="102"/>
                  </a:lnTo>
                  <a:lnTo>
                    <a:pt x="306" y="108"/>
                  </a:lnTo>
                  <a:lnTo>
                    <a:pt x="312" y="114"/>
                  </a:lnTo>
                  <a:lnTo>
                    <a:pt x="324" y="120"/>
                  </a:lnTo>
                  <a:close/>
                  <a:moveTo>
                    <a:pt x="684" y="48"/>
                  </a:moveTo>
                  <a:lnTo>
                    <a:pt x="732" y="48"/>
                  </a:lnTo>
                  <a:lnTo>
                    <a:pt x="738" y="54"/>
                  </a:lnTo>
                  <a:lnTo>
                    <a:pt x="750" y="54"/>
                  </a:lnTo>
                  <a:lnTo>
                    <a:pt x="774" y="66"/>
                  </a:lnTo>
                  <a:lnTo>
                    <a:pt x="786" y="66"/>
                  </a:lnTo>
                  <a:lnTo>
                    <a:pt x="798" y="60"/>
                  </a:lnTo>
                  <a:lnTo>
                    <a:pt x="804" y="60"/>
                  </a:lnTo>
                  <a:lnTo>
                    <a:pt x="816" y="54"/>
                  </a:lnTo>
                  <a:lnTo>
                    <a:pt x="828" y="54"/>
                  </a:lnTo>
                  <a:lnTo>
                    <a:pt x="840" y="60"/>
                  </a:lnTo>
                  <a:lnTo>
                    <a:pt x="876" y="72"/>
                  </a:lnTo>
                  <a:lnTo>
                    <a:pt x="888" y="78"/>
                  </a:lnTo>
                  <a:lnTo>
                    <a:pt x="894" y="84"/>
                  </a:lnTo>
                  <a:lnTo>
                    <a:pt x="900" y="84"/>
                  </a:lnTo>
                  <a:lnTo>
                    <a:pt x="924" y="60"/>
                  </a:lnTo>
                  <a:lnTo>
                    <a:pt x="984" y="66"/>
                  </a:lnTo>
                  <a:lnTo>
                    <a:pt x="984" y="42"/>
                  </a:lnTo>
                  <a:lnTo>
                    <a:pt x="1014" y="42"/>
                  </a:lnTo>
                  <a:lnTo>
                    <a:pt x="1026" y="36"/>
                  </a:lnTo>
                  <a:lnTo>
                    <a:pt x="1032" y="24"/>
                  </a:lnTo>
                  <a:lnTo>
                    <a:pt x="1038" y="18"/>
                  </a:lnTo>
                  <a:lnTo>
                    <a:pt x="1032" y="12"/>
                  </a:lnTo>
                  <a:lnTo>
                    <a:pt x="1002" y="12"/>
                  </a:lnTo>
                  <a:lnTo>
                    <a:pt x="990" y="18"/>
                  </a:lnTo>
                  <a:lnTo>
                    <a:pt x="984" y="18"/>
                  </a:lnTo>
                  <a:lnTo>
                    <a:pt x="972" y="6"/>
                  </a:lnTo>
                  <a:lnTo>
                    <a:pt x="960" y="0"/>
                  </a:lnTo>
                  <a:lnTo>
                    <a:pt x="918" y="0"/>
                  </a:lnTo>
                  <a:lnTo>
                    <a:pt x="900" y="6"/>
                  </a:lnTo>
                  <a:lnTo>
                    <a:pt x="882" y="18"/>
                  </a:lnTo>
                  <a:lnTo>
                    <a:pt x="870" y="18"/>
                  </a:lnTo>
                  <a:lnTo>
                    <a:pt x="864" y="12"/>
                  </a:lnTo>
                  <a:lnTo>
                    <a:pt x="864" y="6"/>
                  </a:lnTo>
                  <a:lnTo>
                    <a:pt x="858" y="6"/>
                  </a:lnTo>
                  <a:lnTo>
                    <a:pt x="852" y="0"/>
                  </a:lnTo>
                  <a:lnTo>
                    <a:pt x="822" y="0"/>
                  </a:lnTo>
                  <a:lnTo>
                    <a:pt x="804" y="18"/>
                  </a:lnTo>
                  <a:lnTo>
                    <a:pt x="738" y="0"/>
                  </a:lnTo>
                  <a:lnTo>
                    <a:pt x="726" y="0"/>
                  </a:lnTo>
                  <a:lnTo>
                    <a:pt x="708" y="6"/>
                  </a:lnTo>
                  <a:lnTo>
                    <a:pt x="690" y="6"/>
                  </a:lnTo>
                  <a:lnTo>
                    <a:pt x="672" y="12"/>
                  </a:lnTo>
                  <a:lnTo>
                    <a:pt x="660" y="12"/>
                  </a:lnTo>
                  <a:lnTo>
                    <a:pt x="660" y="6"/>
                  </a:lnTo>
                  <a:lnTo>
                    <a:pt x="666" y="0"/>
                  </a:lnTo>
                  <a:lnTo>
                    <a:pt x="630" y="12"/>
                  </a:lnTo>
                  <a:lnTo>
                    <a:pt x="648" y="36"/>
                  </a:lnTo>
                  <a:lnTo>
                    <a:pt x="684" y="48"/>
                  </a:lnTo>
                  <a:close/>
                  <a:moveTo>
                    <a:pt x="324" y="66"/>
                  </a:moveTo>
                  <a:lnTo>
                    <a:pt x="342" y="66"/>
                  </a:lnTo>
                  <a:lnTo>
                    <a:pt x="348" y="72"/>
                  </a:lnTo>
                  <a:lnTo>
                    <a:pt x="360" y="72"/>
                  </a:lnTo>
                  <a:lnTo>
                    <a:pt x="360" y="78"/>
                  </a:lnTo>
                  <a:lnTo>
                    <a:pt x="342" y="96"/>
                  </a:lnTo>
                  <a:lnTo>
                    <a:pt x="336" y="96"/>
                  </a:lnTo>
                  <a:lnTo>
                    <a:pt x="378" y="114"/>
                  </a:lnTo>
                  <a:lnTo>
                    <a:pt x="390" y="120"/>
                  </a:lnTo>
                  <a:lnTo>
                    <a:pt x="396" y="126"/>
                  </a:lnTo>
                  <a:lnTo>
                    <a:pt x="414" y="126"/>
                  </a:lnTo>
                  <a:lnTo>
                    <a:pt x="426" y="132"/>
                  </a:lnTo>
                  <a:lnTo>
                    <a:pt x="438" y="132"/>
                  </a:lnTo>
                  <a:lnTo>
                    <a:pt x="462" y="108"/>
                  </a:lnTo>
                  <a:lnTo>
                    <a:pt x="504" y="96"/>
                  </a:lnTo>
                  <a:lnTo>
                    <a:pt x="534" y="120"/>
                  </a:lnTo>
                  <a:lnTo>
                    <a:pt x="528" y="120"/>
                  </a:lnTo>
                  <a:lnTo>
                    <a:pt x="516" y="126"/>
                  </a:lnTo>
                  <a:lnTo>
                    <a:pt x="504" y="126"/>
                  </a:lnTo>
                  <a:lnTo>
                    <a:pt x="480" y="132"/>
                  </a:lnTo>
                  <a:lnTo>
                    <a:pt x="468" y="138"/>
                  </a:lnTo>
                  <a:lnTo>
                    <a:pt x="456" y="150"/>
                  </a:lnTo>
                  <a:lnTo>
                    <a:pt x="486" y="150"/>
                  </a:lnTo>
                  <a:lnTo>
                    <a:pt x="498" y="156"/>
                  </a:lnTo>
                  <a:lnTo>
                    <a:pt x="522" y="156"/>
                  </a:lnTo>
                  <a:lnTo>
                    <a:pt x="516" y="162"/>
                  </a:lnTo>
                  <a:lnTo>
                    <a:pt x="504" y="162"/>
                  </a:lnTo>
                  <a:lnTo>
                    <a:pt x="486" y="168"/>
                  </a:lnTo>
                  <a:lnTo>
                    <a:pt x="474" y="174"/>
                  </a:lnTo>
                  <a:lnTo>
                    <a:pt x="468" y="180"/>
                  </a:lnTo>
                  <a:lnTo>
                    <a:pt x="462" y="180"/>
                  </a:lnTo>
                  <a:lnTo>
                    <a:pt x="516" y="198"/>
                  </a:lnTo>
                  <a:lnTo>
                    <a:pt x="522" y="198"/>
                  </a:lnTo>
                  <a:lnTo>
                    <a:pt x="528" y="204"/>
                  </a:lnTo>
                  <a:lnTo>
                    <a:pt x="540" y="210"/>
                  </a:lnTo>
                  <a:lnTo>
                    <a:pt x="558" y="210"/>
                  </a:lnTo>
                  <a:lnTo>
                    <a:pt x="576" y="216"/>
                  </a:lnTo>
                  <a:lnTo>
                    <a:pt x="594" y="210"/>
                  </a:lnTo>
                  <a:lnTo>
                    <a:pt x="606" y="204"/>
                  </a:lnTo>
                  <a:lnTo>
                    <a:pt x="612" y="204"/>
                  </a:lnTo>
                  <a:lnTo>
                    <a:pt x="618" y="198"/>
                  </a:lnTo>
                  <a:lnTo>
                    <a:pt x="612" y="192"/>
                  </a:lnTo>
                  <a:lnTo>
                    <a:pt x="612" y="186"/>
                  </a:lnTo>
                  <a:lnTo>
                    <a:pt x="606" y="180"/>
                  </a:lnTo>
                  <a:lnTo>
                    <a:pt x="606" y="174"/>
                  </a:lnTo>
                  <a:lnTo>
                    <a:pt x="612" y="168"/>
                  </a:lnTo>
                  <a:lnTo>
                    <a:pt x="618" y="168"/>
                  </a:lnTo>
                  <a:lnTo>
                    <a:pt x="630" y="162"/>
                  </a:lnTo>
                  <a:lnTo>
                    <a:pt x="648" y="162"/>
                  </a:lnTo>
                  <a:lnTo>
                    <a:pt x="648" y="144"/>
                  </a:lnTo>
                  <a:lnTo>
                    <a:pt x="678" y="132"/>
                  </a:lnTo>
                  <a:lnTo>
                    <a:pt x="690" y="102"/>
                  </a:lnTo>
                  <a:lnTo>
                    <a:pt x="714" y="114"/>
                  </a:lnTo>
                  <a:lnTo>
                    <a:pt x="738" y="102"/>
                  </a:lnTo>
                  <a:lnTo>
                    <a:pt x="750" y="114"/>
                  </a:lnTo>
                  <a:lnTo>
                    <a:pt x="762" y="120"/>
                  </a:lnTo>
                  <a:lnTo>
                    <a:pt x="780" y="126"/>
                  </a:lnTo>
                  <a:lnTo>
                    <a:pt x="792" y="138"/>
                  </a:lnTo>
                  <a:lnTo>
                    <a:pt x="792" y="144"/>
                  </a:lnTo>
                  <a:lnTo>
                    <a:pt x="786" y="150"/>
                  </a:lnTo>
                  <a:lnTo>
                    <a:pt x="786" y="162"/>
                  </a:lnTo>
                  <a:lnTo>
                    <a:pt x="774" y="174"/>
                  </a:lnTo>
                  <a:lnTo>
                    <a:pt x="828" y="174"/>
                  </a:lnTo>
                  <a:lnTo>
                    <a:pt x="834" y="180"/>
                  </a:lnTo>
                  <a:lnTo>
                    <a:pt x="846" y="186"/>
                  </a:lnTo>
                  <a:lnTo>
                    <a:pt x="852" y="192"/>
                  </a:lnTo>
                  <a:lnTo>
                    <a:pt x="858" y="192"/>
                  </a:lnTo>
                  <a:lnTo>
                    <a:pt x="864" y="186"/>
                  </a:lnTo>
                  <a:lnTo>
                    <a:pt x="876" y="186"/>
                  </a:lnTo>
                  <a:lnTo>
                    <a:pt x="894" y="174"/>
                  </a:lnTo>
                  <a:lnTo>
                    <a:pt x="906" y="168"/>
                  </a:lnTo>
                  <a:lnTo>
                    <a:pt x="924" y="162"/>
                  </a:lnTo>
                  <a:lnTo>
                    <a:pt x="936" y="156"/>
                  </a:lnTo>
                  <a:lnTo>
                    <a:pt x="942" y="150"/>
                  </a:lnTo>
                  <a:lnTo>
                    <a:pt x="942" y="144"/>
                  </a:lnTo>
                  <a:lnTo>
                    <a:pt x="936" y="144"/>
                  </a:lnTo>
                  <a:lnTo>
                    <a:pt x="924" y="138"/>
                  </a:lnTo>
                  <a:lnTo>
                    <a:pt x="888" y="138"/>
                  </a:lnTo>
                  <a:lnTo>
                    <a:pt x="882" y="120"/>
                  </a:lnTo>
                  <a:lnTo>
                    <a:pt x="828" y="114"/>
                  </a:lnTo>
                  <a:lnTo>
                    <a:pt x="828" y="96"/>
                  </a:lnTo>
                  <a:lnTo>
                    <a:pt x="798" y="102"/>
                  </a:lnTo>
                  <a:lnTo>
                    <a:pt x="798" y="84"/>
                  </a:lnTo>
                  <a:lnTo>
                    <a:pt x="726" y="84"/>
                  </a:lnTo>
                  <a:lnTo>
                    <a:pt x="720" y="72"/>
                  </a:lnTo>
                  <a:lnTo>
                    <a:pt x="684" y="72"/>
                  </a:lnTo>
                  <a:lnTo>
                    <a:pt x="678" y="60"/>
                  </a:lnTo>
                  <a:lnTo>
                    <a:pt x="654" y="48"/>
                  </a:lnTo>
                  <a:lnTo>
                    <a:pt x="624" y="48"/>
                  </a:lnTo>
                  <a:lnTo>
                    <a:pt x="624" y="30"/>
                  </a:lnTo>
                  <a:lnTo>
                    <a:pt x="618" y="30"/>
                  </a:lnTo>
                  <a:lnTo>
                    <a:pt x="612" y="24"/>
                  </a:lnTo>
                  <a:lnTo>
                    <a:pt x="540" y="24"/>
                  </a:lnTo>
                  <a:lnTo>
                    <a:pt x="534" y="30"/>
                  </a:lnTo>
                  <a:lnTo>
                    <a:pt x="534" y="36"/>
                  </a:lnTo>
                  <a:lnTo>
                    <a:pt x="540" y="42"/>
                  </a:lnTo>
                  <a:lnTo>
                    <a:pt x="546" y="54"/>
                  </a:lnTo>
                  <a:lnTo>
                    <a:pt x="564" y="72"/>
                  </a:lnTo>
                  <a:lnTo>
                    <a:pt x="552" y="66"/>
                  </a:lnTo>
                  <a:lnTo>
                    <a:pt x="546" y="60"/>
                  </a:lnTo>
                  <a:lnTo>
                    <a:pt x="528" y="48"/>
                  </a:lnTo>
                  <a:lnTo>
                    <a:pt x="492" y="30"/>
                  </a:lnTo>
                  <a:lnTo>
                    <a:pt x="480" y="30"/>
                  </a:lnTo>
                  <a:lnTo>
                    <a:pt x="474" y="36"/>
                  </a:lnTo>
                  <a:lnTo>
                    <a:pt x="468" y="48"/>
                  </a:lnTo>
                  <a:lnTo>
                    <a:pt x="462" y="54"/>
                  </a:lnTo>
                  <a:lnTo>
                    <a:pt x="450" y="54"/>
                  </a:lnTo>
                  <a:lnTo>
                    <a:pt x="438" y="48"/>
                  </a:lnTo>
                  <a:lnTo>
                    <a:pt x="420" y="48"/>
                  </a:lnTo>
                  <a:lnTo>
                    <a:pt x="420" y="42"/>
                  </a:lnTo>
                  <a:lnTo>
                    <a:pt x="426" y="42"/>
                  </a:lnTo>
                  <a:lnTo>
                    <a:pt x="438" y="30"/>
                  </a:lnTo>
                  <a:lnTo>
                    <a:pt x="384" y="30"/>
                  </a:lnTo>
                  <a:lnTo>
                    <a:pt x="372" y="42"/>
                  </a:lnTo>
                  <a:lnTo>
                    <a:pt x="366" y="30"/>
                  </a:lnTo>
                  <a:lnTo>
                    <a:pt x="354" y="30"/>
                  </a:lnTo>
                  <a:lnTo>
                    <a:pt x="318" y="48"/>
                  </a:lnTo>
                  <a:lnTo>
                    <a:pt x="318" y="60"/>
                  </a:lnTo>
                  <a:lnTo>
                    <a:pt x="324" y="66"/>
                  </a:lnTo>
                  <a:close/>
                  <a:moveTo>
                    <a:pt x="642" y="708"/>
                  </a:moveTo>
                  <a:lnTo>
                    <a:pt x="666" y="696"/>
                  </a:lnTo>
                  <a:lnTo>
                    <a:pt x="666" y="690"/>
                  </a:lnTo>
                  <a:lnTo>
                    <a:pt x="678" y="690"/>
                  </a:lnTo>
                  <a:lnTo>
                    <a:pt x="678" y="678"/>
                  </a:lnTo>
                  <a:lnTo>
                    <a:pt x="672" y="672"/>
                  </a:lnTo>
                  <a:lnTo>
                    <a:pt x="630" y="690"/>
                  </a:lnTo>
                  <a:lnTo>
                    <a:pt x="642" y="708"/>
                  </a:lnTo>
                  <a:close/>
                  <a:moveTo>
                    <a:pt x="774" y="648"/>
                  </a:moveTo>
                  <a:lnTo>
                    <a:pt x="780" y="642"/>
                  </a:lnTo>
                  <a:lnTo>
                    <a:pt x="786" y="642"/>
                  </a:lnTo>
                  <a:lnTo>
                    <a:pt x="792" y="636"/>
                  </a:lnTo>
                  <a:lnTo>
                    <a:pt x="792" y="630"/>
                  </a:lnTo>
                  <a:lnTo>
                    <a:pt x="786" y="624"/>
                  </a:lnTo>
                  <a:lnTo>
                    <a:pt x="774" y="624"/>
                  </a:lnTo>
                  <a:lnTo>
                    <a:pt x="768" y="630"/>
                  </a:lnTo>
                  <a:lnTo>
                    <a:pt x="768" y="642"/>
                  </a:lnTo>
                  <a:lnTo>
                    <a:pt x="774" y="648"/>
                  </a:lnTo>
                  <a:close/>
                  <a:moveTo>
                    <a:pt x="594" y="696"/>
                  </a:moveTo>
                  <a:lnTo>
                    <a:pt x="576" y="696"/>
                  </a:lnTo>
                  <a:lnTo>
                    <a:pt x="552" y="708"/>
                  </a:lnTo>
                  <a:lnTo>
                    <a:pt x="546" y="714"/>
                  </a:lnTo>
                  <a:lnTo>
                    <a:pt x="570" y="720"/>
                  </a:lnTo>
                  <a:lnTo>
                    <a:pt x="576" y="714"/>
                  </a:lnTo>
                  <a:lnTo>
                    <a:pt x="588" y="714"/>
                  </a:lnTo>
                  <a:lnTo>
                    <a:pt x="600" y="702"/>
                  </a:lnTo>
                  <a:lnTo>
                    <a:pt x="594" y="696"/>
                  </a:lnTo>
                  <a:close/>
                  <a:moveTo>
                    <a:pt x="918" y="612"/>
                  </a:moveTo>
                  <a:lnTo>
                    <a:pt x="936" y="618"/>
                  </a:lnTo>
                  <a:lnTo>
                    <a:pt x="942" y="606"/>
                  </a:lnTo>
                  <a:lnTo>
                    <a:pt x="948" y="600"/>
                  </a:lnTo>
                  <a:lnTo>
                    <a:pt x="948" y="594"/>
                  </a:lnTo>
                  <a:lnTo>
                    <a:pt x="918" y="594"/>
                  </a:lnTo>
                  <a:lnTo>
                    <a:pt x="918" y="612"/>
                  </a:lnTo>
                  <a:close/>
                  <a:moveTo>
                    <a:pt x="486" y="756"/>
                  </a:moveTo>
                  <a:lnTo>
                    <a:pt x="474" y="756"/>
                  </a:lnTo>
                  <a:lnTo>
                    <a:pt x="438" y="774"/>
                  </a:lnTo>
                  <a:lnTo>
                    <a:pt x="432" y="780"/>
                  </a:lnTo>
                  <a:lnTo>
                    <a:pt x="432" y="786"/>
                  </a:lnTo>
                  <a:lnTo>
                    <a:pt x="444" y="786"/>
                  </a:lnTo>
                  <a:lnTo>
                    <a:pt x="456" y="780"/>
                  </a:lnTo>
                  <a:lnTo>
                    <a:pt x="462" y="774"/>
                  </a:lnTo>
                  <a:lnTo>
                    <a:pt x="474" y="768"/>
                  </a:lnTo>
                  <a:lnTo>
                    <a:pt x="510" y="768"/>
                  </a:lnTo>
                  <a:lnTo>
                    <a:pt x="510" y="762"/>
                  </a:lnTo>
                  <a:lnTo>
                    <a:pt x="504" y="762"/>
                  </a:lnTo>
                  <a:lnTo>
                    <a:pt x="504" y="756"/>
                  </a:lnTo>
                  <a:lnTo>
                    <a:pt x="486" y="756"/>
                  </a:lnTo>
                  <a:close/>
                  <a:moveTo>
                    <a:pt x="1356" y="660"/>
                  </a:moveTo>
                  <a:lnTo>
                    <a:pt x="1326" y="666"/>
                  </a:lnTo>
                  <a:lnTo>
                    <a:pt x="1290" y="654"/>
                  </a:lnTo>
                  <a:lnTo>
                    <a:pt x="1260" y="642"/>
                  </a:lnTo>
                  <a:lnTo>
                    <a:pt x="1302" y="642"/>
                  </a:lnTo>
                  <a:lnTo>
                    <a:pt x="1326" y="630"/>
                  </a:lnTo>
                  <a:lnTo>
                    <a:pt x="1344" y="630"/>
                  </a:lnTo>
                  <a:lnTo>
                    <a:pt x="1350" y="624"/>
                  </a:lnTo>
                  <a:lnTo>
                    <a:pt x="1356" y="624"/>
                  </a:lnTo>
                  <a:lnTo>
                    <a:pt x="1344" y="618"/>
                  </a:lnTo>
                  <a:lnTo>
                    <a:pt x="1338" y="612"/>
                  </a:lnTo>
                  <a:lnTo>
                    <a:pt x="1320" y="606"/>
                  </a:lnTo>
                  <a:lnTo>
                    <a:pt x="1308" y="600"/>
                  </a:lnTo>
                  <a:lnTo>
                    <a:pt x="1284" y="600"/>
                  </a:lnTo>
                  <a:lnTo>
                    <a:pt x="1260" y="588"/>
                  </a:lnTo>
                  <a:lnTo>
                    <a:pt x="1254" y="588"/>
                  </a:lnTo>
                  <a:lnTo>
                    <a:pt x="1242" y="582"/>
                  </a:lnTo>
                  <a:lnTo>
                    <a:pt x="1242" y="588"/>
                  </a:lnTo>
                  <a:lnTo>
                    <a:pt x="1236" y="594"/>
                  </a:lnTo>
                  <a:lnTo>
                    <a:pt x="1236" y="600"/>
                  </a:lnTo>
                  <a:lnTo>
                    <a:pt x="1218" y="618"/>
                  </a:lnTo>
                  <a:lnTo>
                    <a:pt x="1206" y="618"/>
                  </a:lnTo>
                  <a:lnTo>
                    <a:pt x="1200" y="612"/>
                  </a:lnTo>
                  <a:lnTo>
                    <a:pt x="1224" y="588"/>
                  </a:lnTo>
                  <a:lnTo>
                    <a:pt x="1158" y="564"/>
                  </a:lnTo>
                  <a:lnTo>
                    <a:pt x="1158" y="576"/>
                  </a:lnTo>
                  <a:lnTo>
                    <a:pt x="1152" y="594"/>
                  </a:lnTo>
                  <a:lnTo>
                    <a:pt x="1134" y="630"/>
                  </a:lnTo>
                  <a:lnTo>
                    <a:pt x="1128" y="630"/>
                  </a:lnTo>
                  <a:lnTo>
                    <a:pt x="1122" y="624"/>
                  </a:lnTo>
                  <a:lnTo>
                    <a:pt x="1116" y="612"/>
                  </a:lnTo>
                  <a:lnTo>
                    <a:pt x="1116" y="594"/>
                  </a:lnTo>
                  <a:lnTo>
                    <a:pt x="1122" y="582"/>
                  </a:lnTo>
                  <a:lnTo>
                    <a:pt x="1116" y="594"/>
                  </a:lnTo>
                  <a:lnTo>
                    <a:pt x="1104" y="600"/>
                  </a:lnTo>
                  <a:lnTo>
                    <a:pt x="1080" y="624"/>
                  </a:lnTo>
                  <a:lnTo>
                    <a:pt x="1056" y="636"/>
                  </a:lnTo>
                  <a:lnTo>
                    <a:pt x="1050" y="636"/>
                  </a:lnTo>
                  <a:lnTo>
                    <a:pt x="1050" y="630"/>
                  </a:lnTo>
                  <a:lnTo>
                    <a:pt x="1056" y="618"/>
                  </a:lnTo>
                  <a:lnTo>
                    <a:pt x="1086" y="588"/>
                  </a:lnTo>
                  <a:lnTo>
                    <a:pt x="1092" y="576"/>
                  </a:lnTo>
                  <a:lnTo>
                    <a:pt x="1104" y="570"/>
                  </a:lnTo>
                  <a:lnTo>
                    <a:pt x="1068" y="570"/>
                  </a:lnTo>
                  <a:lnTo>
                    <a:pt x="1050" y="582"/>
                  </a:lnTo>
                  <a:lnTo>
                    <a:pt x="1026" y="582"/>
                  </a:lnTo>
                  <a:lnTo>
                    <a:pt x="984" y="606"/>
                  </a:lnTo>
                  <a:lnTo>
                    <a:pt x="960" y="606"/>
                  </a:lnTo>
                  <a:lnTo>
                    <a:pt x="954" y="636"/>
                  </a:lnTo>
                  <a:lnTo>
                    <a:pt x="918" y="624"/>
                  </a:lnTo>
                  <a:lnTo>
                    <a:pt x="882" y="630"/>
                  </a:lnTo>
                  <a:lnTo>
                    <a:pt x="894" y="660"/>
                  </a:lnTo>
                  <a:lnTo>
                    <a:pt x="846" y="648"/>
                  </a:lnTo>
                  <a:lnTo>
                    <a:pt x="828" y="654"/>
                  </a:lnTo>
                  <a:lnTo>
                    <a:pt x="834" y="678"/>
                  </a:lnTo>
                  <a:lnTo>
                    <a:pt x="792" y="690"/>
                  </a:lnTo>
                  <a:lnTo>
                    <a:pt x="792" y="654"/>
                  </a:lnTo>
                  <a:lnTo>
                    <a:pt x="762" y="654"/>
                  </a:lnTo>
                  <a:lnTo>
                    <a:pt x="774" y="678"/>
                  </a:lnTo>
                  <a:lnTo>
                    <a:pt x="750" y="660"/>
                  </a:lnTo>
                  <a:lnTo>
                    <a:pt x="750" y="690"/>
                  </a:lnTo>
                  <a:lnTo>
                    <a:pt x="726" y="690"/>
                  </a:lnTo>
                  <a:lnTo>
                    <a:pt x="726" y="660"/>
                  </a:lnTo>
                  <a:lnTo>
                    <a:pt x="738" y="654"/>
                  </a:lnTo>
                  <a:lnTo>
                    <a:pt x="744" y="648"/>
                  </a:lnTo>
                  <a:lnTo>
                    <a:pt x="708" y="642"/>
                  </a:lnTo>
                  <a:lnTo>
                    <a:pt x="708" y="684"/>
                  </a:lnTo>
                  <a:lnTo>
                    <a:pt x="678" y="696"/>
                  </a:lnTo>
                  <a:lnTo>
                    <a:pt x="696" y="708"/>
                  </a:lnTo>
                  <a:lnTo>
                    <a:pt x="660" y="714"/>
                  </a:lnTo>
                  <a:lnTo>
                    <a:pt x="672" y="726"/>
                  </a:lnTo>
                  <a:lnTo>
                    <a:pt x="630" y="726"/>
                  </a:lnTo>
                  <a:lnTo>
                    <a:pt x="630" y="738"/>
                  </a:lnTo>
                  <a:lnTo>
                    <a:pt x="660" y="750"/>
                  </a:lnTo>
                  <a:lnTo>
                    <a:pt x="654" y="762"/>
                  </a:lnTo>
                  <a:lnTo>
                    <a:pt x="618" y="744"/>
                  </a:lnTo>
                  <a:lnTo>
                    <a:pt x="600" y="750"/>
                  </a:lnTo>
                  <a:lnTo>
                    <a:pt x="624" y="762"/>
                  </a:lnTo>
                  <a:lnTo>
                    <a:pt x="606" y="780"/>
                  </a:lnTo>
                  <a:lnTo>
                    <a:pt x="594" y="762"/>
                  </a:lnTo>
                  <a:lnTo>
                    <a:pt x="576" y="768"/>
                  </a:lnTo>
                  <a:lnTo>
                    <a:pt x="576" y="780"/>
                  </a:lnTo>
                  <a:lnTo>
                    <a:pt x="546" y="780"/>
                  </a:lnTo>
                  <a:lnTo>
                    <a:pt x="540" y="792"/>
                  </a:lnTo>
                  <a:lnTo>
                    <a:pt x="564" y="804"/>
                  </a:lnTo>
                  <a:lnTo>
                    <a:pt x="564" y="822"/>
                  </a:lnTo>
                  <a:lnTo>
                    <a:pt x="528" y="810"/>
                  </a:lnTo>
                  <a:lnTo>
                    <a:pt x="522" y="822"/>
                  </a:lnTo>
                  <a:lnTo>
                    <a:pt x="552" y="834"/>
                  </a:lnTo>
                  <a:lnTo>
                    <a:pt x="504" y="834"/>
                  </a:lnTo>
                  <a:lnTo>
                    <a:pt x="504" y="852"/>
                  </a:lnTo>
                  <a:lnTo>
                    <a:pt x="492" y="846"/>
                  </a:lnTo>
                  <a:lnTo>
                    <a:pt x="486" y="846"/>
                  </a:lnTo>
                  <a:lnTo>
                    <a:pt x="474" y="852"/>
                  </a:lnTo>
                  <a:lnTo>
                    <a:pt x="468" y="858"/>
                  </a:lnTo>
                  <a:lnTo>
                    <a:pt x="456" y="858"/>
                  </a:lnTo>
                  <a:lnTo>
                    <a:pt x="456" y="870"/>
                  </a:lnTo>
                  <a:lnTo>
                    <a:pt x="462" y="876"/>
                  </a:lnTo>
                  <a:lnTo>
                    <a:pt x="456" y="876"/>
                  </a:lnTo>
                  <a:lnTo>
                    <a:pt x="450" y="882"/>
                  </a:lnTo>
                  <a:lnTo>
                    <a:pt x="444" y="882"/>
                  </a:lnTo>
                  <a:lnTo>
                    <a:pt x="444" y="900"/>
                  </a:lnTo>
                  <a:lnTo>
                    <a:pt x="480" y="900"/>
                  </a:lnTo>
                  <a:lnTo>
                    <a:pt x="468" y="912"/>
                  </a:lnTo>
                  <a:lnTo>
                    <a:pt x="432" y="906"/>
                  </a:lnTo>
                  <a:lnTo>
                    <a:pt x="420" y="912"/>
                  </a:lnTo>
                  <a:lnTo>
                    <a:pt x="414" y="918"/>
                  </a:lnTo>
                  <a:lnTo>
                    <a:pt x="414" y="930"/>
                  </a:lnTo>
                  <a:lnTo>
                    <a:pt x="420" y="936"/>
                  </a:lnTo>
                  <a:lnTo>
                    <a:pt x="420" y="948"/>
                  </a:lnTo>
                  <a:lnTo>
                    <a:pt x="408" y="954"/>
                  </a:lnTo>
                  <a:lnTo>
                    <a:pt x="390" y="954"/>
                  </a:lnTo>
                  <a:lnTo>
                    <a:pt x="390" y="972"/>
                  </a:lnTo>
                  <a:lnTo>
                    <a:pt x="408" y="990"/>
                  </a:lnTo>
                  <a:lnTo>
                    <a:pt x="408" y="996"/>
                  </a:lnTo>
                  <a:lnTo>
                    <a:pt x="402" y="1002"/>
                  </a:lnTo>
                  <a:lnTo>
                    <a:pt x="366" y="1002"/>
                  </a:lnTo>
                  <a:lnTo>
                    <a:pt x="360" y="1008"/>
                  </a:lnTo>
                  <a:lnTo>
                    <a:pt x="360" y="1026"/>
                  </a:lnTo>
                  <a:lnTo>
                    <a:pt x="354" y="1032"/>
                  </a:lnTo>
                  <a:lnTo>
                    <a:pt x="342" y="1032"/>
                  </a:lnTo>
                  <a:lnTo>
                    <a:pt x="336" y="1026"/>
                  </a:lnTo>
                  <a:lnTo>
                    <a:pt x="318" y="1026"/>
                  </a:lnTo>
                  <a:lnTo>
                    <a:pt x="294" y="1050"/>
                  </a:lnTo>
                  <a:lnTo>
                    <a:pt x="282" y="1050"/>
                  </a:lnTo>
                  <a:lnTo>
                    <a:pt x="270" y="1062"/>
                  </a:lnTo>
                  <a:lnTo>
                    <a:pt x="270" y="1068"/>
                  </a:lnTo>
                  <a:lnTo>
                    <a:pt x="276" y="1074"/>
                  </a:lnTo>
                  <a:lnTo>
                    <a:pt x="276" y="1080"/>
                  </a:lnTo>
                  <a:lnTo>
                    <a:pt x="264" y="1092"/>
                  </a:lnTo>
                  <a:lnTo>
                    <a:pt x="252" y="1092"/>
                  </a:lnTo>
                  <a:lnTo>
                    <a:pt x="246" y="1086"/>
                  </a:lnTo>
                  <a:lnTo>
                    <a:pt x="234" y="1080"/>
                  </a:lnTo>
                  <a:lnTo>
                    <a:pt x="234" y="1074"/>
                  </a:lnTo>
                  <a:lnTo>
                    <a:pt x="228" y="1074"/>
                  </a:lnTo>
                  <a:lnTo>
                    <a:pt x="204" y="1086"/>
                  </a:lnTo>
                  <a:lnTo>
                    <a:pt x="198" y="1092"/>
                  </a:lnTo>
                  <a:lnTo>
                    <a:pt x="180" y="1092"/>
                  </a:lnTo>
                  <a:lnTo>
                    <a:pt x="180" y="1110"/>
                  </a:lnTo>
                  <a:lnTo>
                    <a:pt x="186" y="1116"/>
                  </a:lnTo>
                  <a:lnTo>
                    <a:pt x="192" y="1116"/>
                  </a:lnTo>
                  <a:lnTo>
                    <a:pt x="192" y="1128"/>
                  </a:lnTo>
                  <a:lnTo>
                    <a:pt x="186" y="1128"/>
                  </a:lnTo>
                  <a:lnTo>
                    <a:pt x="174" y="1116"/>
                  </a:lnTo>
                  <a:lnTo>
                    <a:pt x="162" y="1116"/>
                  </a:lnTo>
                  <a:lnTo>
                    <a:pt x="156" y="1122"/>
                  </a:lnTo>
                  <a:lnTo>
                    <a:pt x="156" y="1134"/>
                  </a:lnTo>
                  <a:lnTo>
                    <a:pt x="168" y="1134"/>
                  </a:lnTo>
                  <a:lnTo>
                    <a:pt x="174" y="1140"/>
                  </a:lnTo>
                  <a:lnTo>
                    <a:pt x="180" y="1140"/>
                  </a:lnTo>
                  <a:lnTo>
                    <a:pt x="180" y="1152"/>
                  </a:lnTo>
                  <a:lnTo>
                    <a:pt x="138" y="1152"/>
                  </a:lnTo>
                  <a:lnTo>
                    <a:pt x="138" y="1146"/>
                  </a:lnTo>
                  <a:lnTo>
                    <a:pt x="132" y="1146"/>
                  </a:lnTo>
                  <a:lnTo>
                    <a:pt x="126" y="1158"/>
                  </a:lnTo>
                  <a:lnTo>
                    <a:pt x="126" y="1170"/>
                  </a:lnTo>
                  <a:lnTo>
                    <a:pt x="120" y="1164"/>
                  </a:lnTo>
                  <a:lnTo>
                    <a:pt x="102" y="1164"/>
                  </a:lnTo>
                  <a:lnTo>
                    <a:pt x="96" y="1158"/>
                  </a:lnTo>
                  <a:lnTo>
                    <a:pt x="90" y="1158"/>
                  </a:lnTo>
                  <a:lnTo>
                    <a:pt x="90" y="1164"/>
                  </a:lnTo>
                  <a:lnTo>
                    <a:pt x="96" y="1170"/>
                  </a:lnTo>
                  <a:lnTo>
                    <a:pt x="120" y="1182"/>
                  </a:lnTo>
                  <a:lnTo>
                    <a:pt x="132" y="1182"/>
                  </a:lnTo>
                  <a:lnTo>
                    <a:pt x="108" y="1200"/>
                  </a:lnTo>
                  <a:lnTo>
                    <a:pt x="108" y="1188"/>
                  </a:lnTo>
                  <a:lnTo>
                    <a:pt x="90" y="1188"/>
                  </a:lnTo>
                  <a:lnTo>
                    <a:pt x="84" y="1194"/>
                  </a:lnTo>
                  <a:lnTo>
                    <a:pt x="60" y="1182"/>
                  </a:lnTo>
                  <a:lnTo>
                    <a:pt x="54" y="1194"/>
                  </a:lnTo>
                  <a:lnTo>
                    <a:pt x="66" y="1200"/>
                  </a:lnTo>
                  <a:lnTo>
                    <a:pt x="30" y="1194"/>
                  </a:lnTo>
                  <a:lnTo>
                    <a:pt x="30" y="1212"/>
                  </a:lnTo>
                  <a:lnTo>
                    <a:pt x="78" y="1212"/>
                  </a:lnTo>
                  <a:lnTo>
                    <a:pt x="54" y="1218"/>
                  </a:lnTo>
                  <a:lnTo>
                    <a:pt x="18" y="1212"/>
                  </a:lnTo>
                  <a:lnTo>
                    <a:pt x="6" y="1224"/>
                  </a:lnTo>
                  <a:lnTo>
                    <a:pt x="6" y="1230"/>
                  </a:lnTo>
                  <a:lnTo>
                    <a:pt x="18" y="1242"/>
                  </a:lnTo>
                  <a:lnTo>
                    <a:pt x="36" y="1242"/>
                  </a:lnTo>
                  <a:lnTo>
                    <a:pt x="18" y="1248"/>
                  </a:lnTo>
                  <a:lnTo>
                    <a:pt x="12" y="1254"/>
                  </a:lnTo>
                  <a:lnTo>
                    <a:pt x="12" y="1260"/>
                  </a:lnTo>
                  <a:lnTo>
                    <a:pt x="66" y="1260"/>
                  </a:lnTo>
                  <a:lnTo>
                    <a:pt x="78" y="1272"/>
                  </a:lnTo>
                  <a:lnTo>
                    <a:pt x="96" y="1260"/>
                  </a:lnTo>
                  <a:lnTo>
                    <a:pt x="108" y="1272"/>
                  </a:lnTo>
                  <a:lnTo>
                    <a:pt x="138" y="1260"/>
                  </a:lnTo>
                  <a:lnTo>
                    <a:pt x="132" y="1266"/>
                  </a:lnTo>
                  <a:lnTo>
                    <a:pt x="126" y="1278"/>
                  </a:lnTo>
                  <a:lnTo>
                    <a:pt x="60" y="1278"/>
                  </a:lnTo>
                  <a:lnTo>
                    <a:pt x="54" y="1272"/>
                  </a:lnTo>
                  <a:lnTo>
                    <a:pt x="24" y="1272"/>
                  </a:lnTo>
                  <a:lnTo>
                    <a:pt x="12" y="1278"/>
                  </a:lnTo>
                  <a:lnTo>
                    <a:pt x="0" y="1278"/>
                  </a:lnTo>
                  <a:lnTo>
                    <a:pt x="6" y="1284"/>
                  </a:lnTo>
                  <a:lnTo>
                    <a:pt x="6" y="1296"/>
                  </a:lnTo>
                  <a:lnTo>
                    <a:pt x="12" y="1296"/>
                  </a:lnTo>
                  <a:lnTo>
                    <a:pt x="18" y="1302"/>
                  </a:lnTo>
                  <a:lnTo>
                    <a:pt x="30" y="1302"/>
                  </a:lnTo>
                  <a:lnTo>
                    <a:pt x="24" y="1308"/>
                  </a:lnTo>
                  <a:lnTo>
                    <a:pt x="18" y="1320"/>
                  </a:lnTo>
                  <a:lnTo>
                    <a:pt x="36" y="1338"/>
                  </a:lnTo>
                  <a:lnTo>
                    <a:pt x="48" y="1338"/>
                  </a:lnTo>
                  <a:lnTo>
                    <a:pt x="72" y="1320"/>
                  </a:lnTo>
                  <a:lnTo>
                    <a:pt x="102" y="1314"/>
                  </a:lnTo>
                  <a:lnTo>
                    <a:pt x="90" y="1338"/>
                  </a:lnTo>
                  <a:lnTo>
                    <a:pt x="78" y="1332"/>
                  </a:lnTo>
                  <a:lnTo>
                    <a:pt x="66" y="1350"/>
                  </a:lnTo>
                  <a:lnTo>
                    <a:pt x="30" y="1350"/>
                  </a:lnTo>
                  <a:lnTo>
                    <a:pt x="48" y="1368"/>
                  </a:lnTo>
                  <a:lnTo>
                    <a:pt x="24" y="1380"/>
                  </a:lnTo>
                  <a:lnTo>
                    <a:pt x="6" y="1380"/>
                  </a:lnTo>
                  <a:lnTo>
                    <a:pt x="6" y="1398"/>
                  </a:lnTo>
                  <a:lnTo>
                    <a:pt x="66" y="1398"/>
                  </a:lnTo>
                  <a:lnTo>
                    <a:pt x="54" y="1422"/>
                  </a:lnTo>
                  <a:lnTo>
                    <a:pt x="66" y="1422"/>
                  </a:lnTo>
                  <a:lnTo>
                    <a:pt x="54" y="1440"/>
                  </a:lnTo>
                  <a:lnTo>
                    <a:pt x="42" y="1434"/>
                  </a:lnTo>
                  <a:lnTo>
                    <a:pt x="36" y="1434"/>
                  </a:lnTo>
                  <a:lnTo>
                    <a:pt x="30" y="1428"/>
                  </a:lnTo>
                  <a:lnTo>
                    <a:pt x="18" y="1428"/>
                  </a:lnTo>
                  <a:lnTo>
                    <a:pt x="18" y="1440"/>
                  </a:lnTo>
                  <a:lnTo>
                    <a:pt x="24" y="1452"/>
                  </a:lnTo>
                  <a:lnTo>
                    <a:pt x="36" y="1464"/>
                  </a:lnTo>
                  <a:lnTo>
                    <a:pt x="84" y="1482"/>
                  </a:lnTo>
                  <a:lnTo>
                    <a:pt x="78" y="1488"/>
                  </a:lnTo>
                  <a:lnTo>
                    <a:pt x="84" y="1494"/>
                  </a:lnTo>
                  <a:lnTo>
                    <a:pt x="126" y="1494"/>
                  </a:lnTo>
                  <a:lnTo>
                    <a:pt x="132" y="1500"/>
                  </a:lnTo>
                  <a:lnTo>
                    <a:pt x="144" y="1500"/>
                  </a:lnTo>
                  <a:lnTo>
                    <a:pt x="192" y="1476"/>
                  </a:lnTo>
                  <a:lnTo>
                    <a:pt x="204" y="1464"/>
                  </a:lnTo>
                  <a:lnTo>
                    <a:pt x="216" y="1458"/>
                  </a:lnTo>
                  <a:lnTo>
                    <a:pt x="222" y="1452"/>
                  </a:lnTo>
                  <a:lnTo>
                    <a:pt x="258" y="1422"/>
                  </a:lnTo>
                  <a:lnTo>
                    <a:pt x="282" y="1422"/>
                  </a:lnTo>
                  <a:lnTo>
                    <a:pt x="294" y="1416"/>
                  </a:lnTo>
                  <a:lnTo>
                    <a:pt x="300" y="1410"/>
                  </a:lnTo>
                  <a:lnTo>
                    <a:pt x="300" y="1386"/>
                  </a:lnTo>
                  <a:lnTo>
                    <a:pt x="294" y="1380"/>
                  </a:lnTo>
                  <a:lnTo>
                    <a:pt x="294" y="1374"/>
                  </a:lnTo>
                  <a:lnTo>
                    <a:pt x="312" y="1368"/>
                  </a:lnTo>
                  <a:lnTo>
                    <a:pt x="306" y="1374"/>
                  </a:lnTo>
                  <a:lnTo>
                    <a:pt x="306" y="1380"/>
                  </a:lnTo>
                  <a:lnTo>
                    <a:pt x="300" y="1386"/>
                  </a:lnTo>
                  <a:lnTo>
                    <a:pt x="300" y="1392"/>
                  </a:lnTo>
                  <a:lnTo>
                    <a:pt x="312" y="1404"/>
                  </a:lnTo>
                  <a:lnTo>
                    <a:pt x="330" y="1410"/>
                  </a:lnTo>
                  <a:lnTo>
                    <a:pt x="342" y="1410"/>
                  </a:lnTo>
                  <a:lnTo>
                    <a:pt x="348" y="1416"/>
                  </a:lnTo>
                  <a:lnTo>
                    <a:pt x="354" y="1416"/>
                  </a:lnTo>
                  <a:lnTo>
                    <a:pt x="372" y="1434"/>
                  </a:lnTo>
                  <a:lnTo>
                    <a:pt x="378" y="1422"/>
                  </a:lnTo>
                  <a:lnTo>
                    <a:pt x="384" y="1416"/>
                  </a:lnTo>
                  <a:lnTo>
                    <a:pt x="384" y="1398"/>
                  </a:lnTo>
                  <a:lnTo>
                    <a:pt x="372" y="1386"/>
                  </a:lnTo>
                  <a:lnTo>
                    <a:pt x="372" y="1380"/>
                  </a:lnTo>
                  <a:lnTo>
                    <a:pt x="378" y="1374"/>
                  </a:lnTo>
                  <a:lnTo>
                    <a:pt x="384" y="1374"/>
                  </a:lnTo>
                  <a:lnTo>
                    <a:pt x="384" y="1368"/>
                  </a:lnTo>
                  <a:lnTo>
                    <a:pt x="378" y="1356"/>
                  </a:lnTo>
                  <a:lnTo>
                    <a:pt x="414" y="1356"/>
                  </a:lnTo>
                  <a:lnTo>
                    <a:pt x="420" y="1350"/>
                  </a:lnTo>
                  <a:lnTo>
                    <a:pt x="420" y="1326"/>
                  </a:lnTo>
                  <a:lnTo>
                    <a:pt x="426" y="1326"/>
                  </a:lnTo>
                  <a:lnTo>
                    <a:pt x="420" y="1314"/>
                  </a:lnTo>
                  <a:lnTo>
                    <a:pt x="420" y="1308"/>
                  </a:lnTo>
                  <a:lnTo>
                    <a:pt x="414" y="1302"/>
                  </a:lnTo>
                  <a:lnTo>
                    <a:pt x="414" y="1296"/>
                  </a:lnTo>
                  <a:lnTo>
                    <a:pt x="408" y="1284"/>
                  </a:lnTo>
                  <a:lnTo>
                    <a:pt x="402" y="1278"/>
                  </a:lnTo>
                  <a:lnTo>
                    <a:pt x="426" y="1272"/>
                  </a:lnTo>
                  <a:lnTo>
                    <a:pt x="438" y="1260"/>
                  </a:lnTo>
                  <a:lnTo>
                    <a:pt x="438" y="1248"/>
                  </a:lnTo>
                  <a:lnTo>
                    <a:pt x="420" y="1230"/>
                  </a:lnTo>
                  <a:lnTo>
                    <a:pt x="414" y="1230"/>
                  </a:lnTo>
                  <a:lnTo>
                    <a:pt x="402" y="1218"/>
                  </a:lnTo>
                  <a:lnTo>
                    <a:pt x="402" y="1200"/>
                  </a:lnTo>
                  <a:lnTo>
                    <a:pt x="408" y="1188"/>
                  </a:lnTo>
                  <a:lnTo>
                    <a:pt x="408" y="1176"/>
                  </a:lnTo>
                  <a:lnTo>
                    <a:pt x="384" y="1152"/>
                  </a:lnTo>
                  <a:lnTo>
                    <a:pt x="384" y="1140"/>
                  </a:lnTo>
                  <a:lnTo>
                    <a:pt x="390" y="1134"/>
                  </a:lnTo>
                  <a:lnTo>
                    <a:pt x="396" y="1134"/>
                  </a:lnTo>
                  <a:lnTo>
                    <a:pt x="402" y="1128"/>
                  </a:lnTo>
                  <a:lnTo>
                    <a:pt x="402" y="1122"/>
                  </a:lnTo>
                  <a:lnTo>
                    <a:pt x="396" y="1116"/>
                  </a:lnTo>
                  <a:lnTo>
                    <a:pt x="390" y="1116"/>
                  </a:lnTo>
                  <a:lnTo>
                    <a:pt x="384" y="1110"/>
                  </a:lnTo>
                  <a:lnTo>
                    <a:pt x="426" y="1068"/>
                  </a:lnTo>
                  <a:lnTo>
                    <a:pt x="438" y="1062"/>
                  </a:lnTo>
                  <a:lnTo>
                    <a:pt x="444" y="1056"/>
                  </a:lnTo>
                  <a:lnTo>
                    <a:pt x="456" y="1050"/>
                  </a:lnTo>
                  <a:lnTo>
                    <a:pt x="498" y="1050"/>
                  </a:lnTo>
                  <a:lnTo>
                    <a:pt x="504" y="1044"/>
                  </a:lnTo>
                  <a:lnTo>
                    <a:pt x="504" y="1038"/>
                  </a:lnTo>
                  <a:lnTo>
                    <a:pt x="486" y="1020"/>
                  </a:lnTo>
                  <a:lnTo>
                    <a:pt x="474" y="1014"/>
                  </a:lnTo>
                  <a:lnTo>
                    <a:pt x="486" y="1008"/>
                  </a:lnTo>
                  <a:lnTo>
                    <a:pt x="492" y="1008"/>
                  </a:lnTo>
                  <a:lnTo>
                    <a:pt x="522" y="978"/>
                  </a:lnTo>
                  <a:lnTo>
                    <a:pt x="528" y="936"/>
                  </a:lnTo>
                  <a:lnTo>
                    <a:pt x="528" y="900"/>
                  </a:lnTo>
                  <a:lnTo>
                    <a:pt x="546" y="912"/>
                  </a:lnTo>
                  <a:lnTo>
                    <a:pt x="558" y="906"/>
                  </a:lnTo>
                  <a:lnTo>
                    <a:pt x="564" y="906"/>
                  </a:lnTo>
                  <a:lnTo>
                    <a:pt x="570" y="900"/>
                  </a:lnTo>
                  <a:lnTo>
                    <a:pt x="576" y="900"/>
                  </a:lnTo>
                  <a:lnTo>
                    <a:pt x="576" y="894"/>
                  </a:lnTo>
                  <a:lnTo>
                    <a:pt x="570" y="888"/>
                  </a:lnTo>
                  <a:lnTo>
                    <a:pt x="570" y="882"/>
                  </a:lnTo>
                  <a:lnTo>
                    <a:pt x="564" y="876"/>
                  </a:lnTo>
                  <a:lnTo>
                    <a:pt x="582" y="876"/>
                  </a:lnTo>
                  <a:lnTo>
                    <a:pt x="588" y="870"/>
                  </a:lnTo>
                  <a:lnTo>
                    <a:pt x="588" y="864"/>
                  </a:lnTo>
                  <a:lnTo>
                    <a:pt x="594" y="858"/>
                  </a:lnTo>
                  <a:lnTo>
                    <a:pt x="606" y="852"/>
                  </a:lnTo>
                  <a:lnTo>
                    <a:pt x="612" y="852"/>
                  </a:lnTo>
                  <a:lnTo>
                    <a:pt x="618" y="834"/>
                  </a:lnTo>
                  <a:lnTo>
                    <a:pt x="612" y="828"/>
                  </a:lnTo>
                  <a:lnTo>
                    <a:pt x="600" y="822"/>
                  </a:lnTo>
                  <a:lnTo>
                    <a:pt x="600" y="810"/>
                  </a:lnTo>
                  <a:lnTo>
                    <a:pt x="606" y="810"/>
                  </a:lnTo>
                  <a:lnTo>
                    <a:pt x="618" y="804"/>
                  </a:lnTo>
                  <a:lnTo>
                    <a:pt x="636" y="786"/>
                  </a:lnTo>
                  <a:lnTo>
                    <a:pt x="678" y="780"/>
                  </a:lnTo>
                  <a:lnTo>
                    <a:pt x="696" y="780"/>
                  </a:lnTo>
                  <a:lnTo>
                    <a:pt x="702" y="774"/>
                  </a:lnTo>
                  <a:lnTo>
                    <a:pt x="702" y="744"/>
                  </a:lnTo>
                  <a:lnTo>
                    <a:pt x="714" y="732"/>
                  </a:lnTo>
                  <a:lnTo>
                    <a:pt x="720" y="738"/>
                  </a:lnTo>
                  <a:lnTo>
                    <a:pt x="720" y="750"/>
                  </a:lnTo>
                  <a:lnTo>
                    <a:pt x="744" y="744"/>
                  </a:lnTo>
                  <a:lnTo>
                    <a:pt x="768" y="750"/>
                  </a:lnTo>
                  <a:lnTo>
                    <a:pt x="792" y="750"/>
                  </a:lnTo>
                  <a:lnTo>
                    <a:pt x="798" y="756"/>
                  </a:lnTo>
                  <a:lnTo>
                    <a:pt x="810" y="756"/>
                  </a:lnTo>
                  <a:lnTo>
                    <a:pt x="816" y="750"/>
                  </a:lnTo>
                  <a:lnTo>
                    <a:pt x="810" y="750"/>
                  </a:lnTo>
                  <a:lnTo>
                    <a:pt x="798" y="738"/>
                  </a:lnTo>
                  <a:lnTo>
                    <a:pt x="798" y="732"/>
                  </a:lnTo>
                  <a:lnTo>
                    <a:pt x="810" y="732"/>
                  </a:lnTo>
                  <a:lnTo>
                    <a:pt x="810" y="708"/>
                  </a:lnTo>
                  <a:lnTo>
                    <a:pt x="840" y="714"/>
                  </a:lnTo>
                  <a:lnTo>
                    <a:pt x="834" y="708"/>
                  </a:lnTo>
                  <a:lnTo>
                    <a:pt x="840" y="702"/>
                  </a:lnTo>
                  <a:lnTo>
                    <a:pt x="858" y="708"/>
                  </a:lnTo>
                  <a:lnTo>
                    <a:pt x="858" y="696"/>
                  </a:lnTo>
                  <a:lnTo>
                    <a:pt x="864" y="690"/>
                  </a:lnTo>
                  <a:lnTo>
                    <a:pt x="882" y="690"/>
                  </a:lnTo>
                  <a:lnTo>
                    <a:pt x="888" y="696"/>
                  </a:lnTo>
                  <a:lnTo>
                    <a:pt x="894" y="708"/>
                  </a:lnTo>
                  <a:lnTo>
                    <a:pt x="906" y="714"/>
                  </a:lnTo>
                  <a:lnTo>
                    <a:pt x="918" y="726"/>
                  </a:lnTo>
                  <a:lnTo>
                    <a:pt x="930" y="726"/>
                  </a:lnTo>
                  <a:lnTo>
                    <a:pt x="942" y="732"/>
                  </a:lnTo>
                  <a:lnTo>
                    <a:pt x="960" y="732"/>
                  </a:lnTo>
                  <a:lnTo>
                    <a:pt x="966" y="738"/>
                  </a:lnTo>
                  <a:lnTo>
                    <a:pt x="978" y="738"/>
                  </a:lnTo>
                  <a:lnTo>
                    <a:pt x="990" y="732"/>
                  </a:lnTo>
                  <a:lnTo>
                    <a:pt x="996" y="726"/>
                  </a:lnTo>
                  <a:lnTo>
                    <a:pt x="1026" y="726"/>
                  </a:lnTo>
                  <a:lnTo>
                    <a:pt x="1038" y="732"/>
                  </a:lnTo>
                  <a:lnTo>
                    <a:pt x="1044" y="738"/>
                  </a:lnTo>
                  <a:lnTo>
                    <a:pt x="1062" y="738"/>
                  </a:lnTo>
                  <a:lnTo>
                    <a:pt x="1062" y="726"/>
                  </a:lnTo>
                  <a:lnTo>
                    <a:pt x="1068" y="720"/>
                  </a:lnTo>
                  <a:lnTo>
                    <a:pt x="1068" y="714"/>
                  </a:lnTo>
                  <a:lnTo>
                    <a:pt x="1092" y="714"/>
                  </a:lnTo>
                  <a:lnTo>
                    <a:pt x="1092" y="678"/>
                  </a:lnTo>
                  <a:lnTo>
                    <a:pt x="1098" y="672"/>
                  </a:lnTo>
                  <a:lnTo>
                    <a:pt x="1098" y="660"/>
                  </a:lnTo>
                  <a:lnTo>
                    <a:pt x="1110" y="654"/>
                  </a:lnTo>
                  <a:lnTo>
                    <a:pt x="1116" y="654"/>
                  </a:lnTo>
                  <a:lnTo>
                    <a:pt x="1128" y="648"/>
                  </a:lnTo>
                  <a:lnTo>
                    <a:pt x="1158" y="648"/>
                  </a:lnTo>
                  <a:lnTo>
                    <a:pt x="1170" y="642"/>
                  </a:lnTo>
                  <a:lnTo>
                    <a:pt x="1206" y="642"/>
                  </a:lnTo>
                  <a:lnTo>
                    <a:pt x="1206" y="654"/>
                  </a:lnTo>
                  <a:lnTo>
                    <a:pt x="1242" y="660"/>
                  </a:lnTo>
                  <a:lnTo>
                    <a:pt x="1248" y="660"/>
                  </a:lnTo>
                  <a:lnTo>
                    <a:pt x="1260" y="672"/>
                  </a:lnTo>
                  <a:lnTo>
                    <a:pt x="1266" y="684"/>
                  </a:lnTo>
                  <a:lnTo>
                    <a:pt x="1266" y="702"/>
                  </a:lnTo>
                  <a:lnTo>
                    <a:pt x="1260" y="702"/>
                  </a:lnTo>
                  <a:lnTo>
                    <a:pt x="1260" y="696"/>
                  </a:lnTo>
                  <a:lnTo>
                    <a:pt x="1254" y="696"/>
                  </a:lnTo>
                  <a:lnTo>
                    <a:pt x="1254" y="708"/>
                  </a:lnTo>
                  <a:lnTo>
                    <a:pt x="1278" y="708"/>
                  </a:lnTo>
                  <a:lnTo>
                    <a:pt x="1284" y="696"/>
                  </a:lnTo>
                  <a:lnTo>
                    <a:pt x="1284" y="690"/>
                  </a:lnTo>
                  <a:lnTo>
                    <a:pt x="1308" y="684"/>
                  </a:lnTo>
                  <a:lnTo>
                    <a:pt x="1314" y="672"/>
                  </a:lnTo>
                  <a:lnTo>
                    <a:pt x="1350" y="672"/>
                  </a:lnTo>
                  <a:lnTo>
                    <a:pt x="1362" y="660"/>
                  </a:lnTo>
                  <a:lnTo>
                    <a:pt x="1356" y="660"/>
                  </a:lnTo>
                  <a:close/>
                  <a:moveTo>
                    <a:pt x="564" y="726"/>
                  </a:moveTo>
                  <a:lnTo>
                    <a:pt x="540" y="738"/>
                  </a:lnTo>
                  <a:lnTo>
                    <a:pt x="546" y="756"/>
                  </a:lnTo>
                  <a:lnTo>
                    <a:pt x="576" y="756"/>
                  </a:lnTo>
                  <a:lnTo>
                    <a:pt x="570" y="738"/>
                  </a:lnTo>
                  <a:lnTo>
                    <a:pt x="564" y="726"/>
                  </a:lnTo>
                  <a:close/>
                  <a:moveTo>
                    <a:pt x="522" y="714"/>
                  </a:moveTo>
                  <a:lnTo>
                    <a:pt x="516" y="720"/>
                  </a:lnTo>
                  <a:lnTo>
                    <a:pt x="510" y="732"/>
                  </a:lnTo>
                  <a:lnTo>
                    <a:pt x="510" y="750"/>
                  </a:lnTo>
                  <a:lnTo>
                    <a:pt x="528" y="768"/>
                  </a:lnTo>
                  <a:lnTo>
                    <a:pt x="528" y="756"/>
                  </a:lnTo>
                  <a:lnTo>
                    <a:pt x="534" y="744"/>
                  </a:lnTo>
                  <a:lnTo>
                    <a:pt x="534" y="720"/>
                  </a:lnTo>
                  <a:lnTo>
                    <a:pt x="528" y="714"/>
                  </a:lnTo>
                  <a:lnTo>
                    <a:pt x="522" y="714"/>
                  </a:lnTo>
                  <a:close/>
                  <a:moveTo>
                    <a:pt x="606" y="738"/>
                  </a:moveTo>
                  <a:lnTo>
                    <a:pt x="618" y="732"/>
                  </a:lnTo>
                  <a:lnTo>
                    <a:pt x="624" y="732"/>
                  </a:lnTo>
                  <a:lnTo>
                    <a:pt x="630" y="726"/>
                  </a:lnTo>
                  <a:lnTo>
                    <a:pt x="618" y="720"/>
                  </a:lnTo>
                  <a:lnTo>
                    <a:pt x="588" y="720"/>
                  </a:lnTo>
                  <a:lnTo>
                    <a:pt x="576" y="732"/>
                  </a:lnTo>
                  <a:lnTo>
                    <a:pt x="582" y="744"/>
                  </a:lnTo>
                  <a:lnTo>
                    <a:pt x="606" y="738"/>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63" name="Nigeria" descr="© INSCALE GmbH, 05.05.2010&#10;http://www.presentationload.com/">
              <a:extLst>
                <a:ext uri="{FF2B5EF4-FFF2-40B4-BE49-F238E27FC236}">
                  <a16:creationId xmlns:a16="http://schemas.microsoft.com/office/drawing/2014/main" id="{70883D2E-21F9-C0F9-14ED-2137DA7CDEAF}"/>
                </a:ext>
              </a:extLst>
            </p:cNvPr>
            <p:cNvSpPr>
              <a:spLocks/>
            </p:cNvSpPr>
            <p:nvPr/>
          </p:nvSpPr>
          <p:spPr bwMode="gray">
            <a:xfrm>
              <a:off x="4309510" y="2794518"/>
              <a:ext cx="317228" cy="292029"/>
            </a:xfrm>
            <a:custGeom>
              <a:avLst/>
              <a:gdLst>
                <a:gd name="T0" fmla="*/ 2147483647 w 840"/>
                <a:gd name="T1" fmla="*/ 2147483647 h 768"/>
                <a:gd name="T2" fmla="*/ 2147483647 w 840"/>
                <a:gd name="T3" fmla="*/ 2147483647 h 768"/>
                <a:gd name="T4" fmla="*/ 2147483647 w 840"/>
                <a:gd name="T5" fmla="*/ 2147483647 h 768"/>
                <a:gd name="T6" fmla="*/ 2147483647 w 840"/>
                <a:gd name="T7" fmla="*/ 2147483647 h 768"/>
                <a:gd name="T8" fmla="*/ 2147483647 w 840"/>
                <a:gd name="T9" fmla="*/ 2147483647 h 768"/>
                <a:gd name="T10" fmla="*/ 2147483647 w 840"/>
                <a:gd name="T11" fmla="*/ 2147483647 h 768"/>
                <a:gd name="T12" fmla="*/ 2147483647 w 840"/>
                <a:gd name="T13" fmla="*/ 2147483647 h 768"/>
                <a:gd name="T14" fmla="*/ 2147483647 w 840"/>
                <a:gd name="T15" fmla="*/ 2147483647 h 768"/>
                <a:gd name="T16" fmla="*/ 2147483647 w 840"/>
                <a:gd name="T17" fmla="*/ 2147483647 h 768"/>
                <a:gd name="T18" fmla="*/ 2147483647 w 840"/>
                <a:gd name="T19" fmla="*/ 2147483647 h 768"/>
                <a:gd name="T20" fmla="*/ 2147483647 w 840"/>
                <a:gd name="T21" fmla="*/ 2147483647 h 768"/>
                <a:gd name="T22" fmla="*/ 2147483647 w 840"/>
                <a:gd name="T23" fmla="*/ 2147483647 h 768"/>
                <a:gd name="T24" fmla="*/ 2147483647 w 840"/>
                <a:gd name="T25" fmla="*/ 2147483647 h 768"/>
                <a:gd name="T26" fmla="*/ 2147483647 w 840"/>
                <a:gd name="T27" fmla="*/ 2147483647 h 768"/>
                <a:gd name="T28" fmla="*/ 2147483647 w 840"/>
                <a:gd name="T29" fmla="*/ 2147483647 h 768"/>
                <a:gd name="T30" fmla="*/ 2147483647 w 840"/>
                <a:gd name="T31" fmla="*/ 2147483647 h 768"/>
                <a:gd name="T32" fmla="*/ 2147483647 w 840"/>
                <a:gd name="T33" fmla="*/ 2147483647 h 768"/>
                <a:gd name="T34" fmla="*/ 2147483647 w 840"/>
                <a:gd name="T35" fmla="*/ 2147483647 h 768"/>
                <a:gd name="T36" fmla="*/ 2147483647 w 840"/>
                <a:gd name="T37" fmla="*/ 2147483647 h 768"/>
                <a:gd name="T38" fmla="*/ 2147483647 w 840"/>
                <a:gd name="T39" fmla="*/ 2147483647 h 768"/>
                <a:gd name="T40" fmla="*/ 2147483647 w 840"/>
                <a:gd name="T41" fmla="*/ 2147483647 h 768"/>
                <a:gd name="T42" fmla="*/ 2147483647 w 840"/>
                <a:gd name="T43" fmla="*/ 2147483647 h 768"/>
                <a:gd name="T44" fmla="*/ 2147483647 w 840"/>
                <a:gd name="T45" fmla="*/ 2147483647 h 768"/>
                <a:gd name="T46" fmla="*/ 2147483647 w 840"/>
                <a:gd name="T47" fmla="*/ 2147483647 h 768"/>
                <a:gd name="T48" fmla="*/ 2147483647 w 840"/>
                <a:gd name="T49" fmla="*/ 2147483647 h 768"/>
                <a:gd name="T50" fmla="*/ 2147483647 w 840"/>
                <a:gd name="T51" fmla="*/ 2147483647 h 768"/>
                <a:gd name="T52" fmla="*/ 2147483647 w 840"/>
                <a:gd name="T53" fmla="*/ 2147483647 h 768"/>
                <a:gd name="T54" fmla="*/ 2147483647 w 840"/>
                <a:gd name="T55" fmla="*/ 2147483647 h 768"/>
                <a:gd name="T56" fmla="*/ 2147483647 w 840"/>
                <a:gd name="T57" fmla="*/ 2147483647 h 768"/>
                <a:gd name="T58" fmla="*/ 2147483647 w 840"/>
                <a:gd name="T59" fmla="*/ 2147483647 h 768"/>
                <a:gd name="T60" fmla="*/ 2147483647 w 840"/>
                <a:gd name="T61" fmla="*/ 2147483647 h 768"/>
                <a:gd name="T62" fmla="*/ 2147483647 w 840"/>
                <a:gd name="T63" fmla="*/ 2147483647 h 768"/>
                <a:gd name="T64" fmla="*/ 2147483647 w 840"/>
                <a:gd name="T65" fmla="*/ 2147483647 h 768"/>
                <a:gd name="T66" fmla="*/ 2147483647 w 840"/>
                <a:gd name="T67" fmla="*/ 2147483647 h 768"/>
                <a:gd name="T68" fmla="*/ 2147483647 w 840"/>
                <a:gd name="T69" fmla="*/ 2147483647 h 768"/>
                <a:gd name="T70" fmla="*/ 2147483647 w 840"/>
                <a:gd name="T71" fmla="*/ 2147483647 h 768"/>
                <a:gd name="T72" fmla="*/ 2147483647 w 840"/>
                <a:gd name="T73" fmla="*/ 2147483647 h 768"/>
                <a:gd name="T74" fmla="*/ 2147483647 w 840"/>
                <a:gd name="T75" fmla="*/ 2147483647 h 768"/>
                <a:gd name="T76" fmla="*/ 2147483647 w 840"/>
                <a:gd name="T77" fmla="*/ 2147483647 h 768"/>
                <a:gd name="T78" fmla="*/ 2147483647 w 840"/>
                <a:gd name="T79" fmla="*/ 2147483647 h 768"/>
                <a:gd name="T80" fmla="*/ 2147483647 w 840"/>
                <a:gd name="T81" fmla="*/ 2147483647 h 768"/>
                <a:gd name="T82" fmla="*/ 2147483647 w 840"/>
                <a:gd name="T83" fmla="*/ 2147483647 h 768"/>
                <a:gd name="T84" fmla="*/ 2147483647 w 840"/>
                <a:gd name="T85" fmla="*/ 2147483647 h 768"/>
                <a:gd name="T86" fmla="*/ 2147483647 w 840"/>
                <a:gd name="T87" fmla="*/ 2147483647 h 768"/>
                <a:gd name="T88" fmla="*/ 2147483647 w 840"/>
                <a:gd name="T89" fmla="*/ 2147483647 h 768"/>
                <a:gd name="T90" fmla="*/ 2147483647 w 840"/>
                <a:gd name="T91" fmla="*/ 2147483647 h 768"/>
                <a:gd name="T92" fmla="*/ 2147483647 w 840"/>
                <a:gd name="T93" fmla="*/ 2147483647 h 768"/>
                <a:gd name="T94" fmla="*/ 2147483647 w 840"/>
                <a:gd name="T95" fmla="*/ 2147483647 h 768"/>
                <a:gd name="T96" fmla="*/ 2147483647 w 840"/>
                <a:gd name="T97" fmla="*/ 2147483647 h 768"/>
                <a:gd name="T98" fmla="*/ 2147483647 w 840"/>
                <a:gd name="T99" fmla="*/ 2147483647 h 768"/>
                <a:gd name="T100" fmla="*/ 2147483647 w 840"/>
                <a:gd name="T101" fmla="*/ 2147483647 h 768"/>
                <a:gd name="T102" fmla="*/ 2147483647 w 840"/>
                <a:gd name="T103" fmla="*/ 2147483647 h 768"/>
                <a:gd name="T104" fmla="*/ 2147483647 w 840"/>
                <a:gd name="T105" fmla="*/ 2147483647 h 768"/>
                <a:gd name="T106" fmla="*/ 2147483647 w 840"/>
                <a:gd name="T107" fmla="*/ 2147483647 h 768"/>
                <a:gd name="T108" fmla="*/ 2147483647 w 840"/>
                <a:gd name="T109" fmla="*/ 2147483647 h 768"/>
                <a:gd name="T110" fmla="*/ 2147483647 w 840"/>
                <a:gd name="T111" fmla="*/ 2147483647 h 768"/>
                <a:gd name="T112" fmla="*/ 2147483647 w 840"/>
                <a:gd name="T113" fmla="*/ 2147483647 h 768"/>
                <a:gd name="T114" fmla="*/ 2147483647 w 840"/>
                <a:gd name="T115" fmla="*/ 2147483647 h 768"/>
                <a:gd name="T116" fmla="*/ 2147483647 w 840"/>
                <a:gd name="T117" fmla="*/ 2147483647 h 768"/>
                <a:gd name="T118" fmla="*/ 2147483647 w 840"/>
                <a:gd name="T119" fmla="*/ 2147483647 h 76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40"/>
                <a:gd name="T181" fmla="*/ 0 h 768"/>
                <a:gd name="T182" fmla="*/ 840 w 840"/>
                <a:gd name="T183" fmla="*/ 768 h 76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40" h="768">
                  <a:moveTo>
                    <a:pt x="420" y="738"/>
                  </a:moveTo>
                  <a:lnTo>
                    <a:pt x="420" y="732"/>
                  </a:lnTo>
                  <a:lnTo>
                    <a:pt x="426" y="726"/>
                  </a:lnTo>
                  <a:lnTo>
                    <a:pt x="426" y="714"/>
                  </a:lnTo>
                  <a:lnTo>
                    <a:pt x="432" y="702"/>
                  </a:lnTo>
                  <a:lnTo>
                    <a:pt x="432" y="648"/>
                  </a:lnTo>
                  <a:lnTo>
                    <a:pt x="498" y="594"/>
                  </a:lnTo>
                  <a:lnTo>
                    <a:pt x="498" y="588"/>
                  </a:lnTo>
                  <a:lnTo>
                    <a:pt x="504" y="582"/>
                  </a:lnTo>
                  <a:lnTo>
                    <a:pt x="516" y="558"/>
                  </a:lnTo>
                  <a:lnTo>
                    <a:pt x="522" y="552"/>
                  </a:lnTo>
                  <a:lnTo>
                    <a:pt x="528" y="552"/>
                  </a:lnTo>
                  <a:lnTo>
                    <a:pt x="534" y="558"/>
                  </a:lnTo>
                  <a:lnTo>
                    <a:pt x="546" y="564"/>
                  </a:lnTo>
                  <a:lnTo>
                    <a:pt x="552" y="564"/>
                  </a:lnTo>
                  <a:lnTo>
                    <a:pt x="558" y="558"/>
                  </a:lnTo>
                  <a:lnTo>
                    <a:pt x="558" y="546"/>
                  </a:lnTo>
                  <a:lnTo>
                    <a:pt x="552" y="540"/>
                  </a:lnTo>
                  <a:lnTo>
                    <a:pt x="564" y="540"/>
                  </a:lnTo>
                  <a:lnTo>
                    <a:pt x="570" y="552"/>
                  </a:lnTo>
                  <a:lnTo>
                    <a:pt x="582" y="564"/>
                  </a:lnTo>
                  <a:lnTo>
                    <a:pt x="588" y="576"/>
                  </a:lnTo>
                  <a:lnTo>
                    <a:pt x="588" y="582"/>
                  </a:lnTo>
                  <a:lnTo>
                    <a:pt x="594" y="594"/>
                  </a:lnTo>
                  <a:lnTo>
                    <a:pt x="600" y="600"/>
                  </a:lnTo>
                  <a:lnTo>
                    <a:pt x="606" y="600"/>
                  </a:lnTo>
                  <a:lnTo>
                    <a:pt x="624" y="582"/>
                  </a:lnTo>
                  <a:lnTo>
                    <a:pt x="624" y="570"/>
                  </a:lnTo>
                  <a:lnTo>
                    <a:pt x="630" y="558"/>
                  </a:lnTo>
                  <a:lnTo>
                    <a:pt x="642" y="552"/>
                  </a:lnTo>
                  <a:lnTo>
                    <a:pt x="648" y="546"/>
                  </a:lnTo>
                  <a:lnTo>
                    <a:pt x="648" y="516"/>
                  </a:lnTo>
                  <a:lnTo>
                    <a:pt x="672" y="486"/>
                  </a:lnTo>
                  <a:lnTo>
                    <a:pt x="684" y="438"/>
                  </a:lnTo>
                  <a:lnTo>
                    <a:pt x="696" y="432"/>
                  </a:lnTo>
                  <a:lnTo>
                    <a:pt x="702" y="426"/>
                  </a:lnTo>
                  <a:lnTo>
                    <a:pt x="714" y="420"/>
                  </a:lnTo>
                  <a:lnTo>
                    <a:pt x="720" y="414"/>
                  </a:lnTo>
                  <a:lnTo>
                    <a:pt x="720" y="402"/>
                  </a:lnTo>
                  <a:lnTo>
                    <a:pt x="726" y="384"/>
                  </a:lnTo>
                  <a:lnTo>
                    <a:pt x="726" y="354"/>
                  </a:lnTo>
                  <a:lnTo>
                    <a:pt x="744" y="354"/>
                  </a:lnTo>
                  <a:lnTo>
                    <a:pt x="750" y="348"/>
                  </a:lnTo>
                  <a:lnTo>
                    <a:pt x="756" y="330"/>
                  </a:lnTo>
                  <a:lnTo>
                    <a:pt x="756" y="300"/>
                  </a:lnTo>
                  <a:lnTo>
                    <a:pt x="762" y="294"/>
                  </a:lnTo>
                  <a:lnTo>
                    <a:pt x="768" y="264"/>
                  </a:lnTo>
                  <a:lnTo>
                    <a:pt x="774" y="252"/>
                  </a:lnTo>
                  <a:lnTo>
                    <a:pt x="786" y="240"/>
                  </a:lnTo>
                  <a:lnTo>
                    <a:pt x="786" y="234"/>
                  </a:lnTo>
                  <a:lnTo>
                    <a:pt x="792" y="228"/>
                  </a:lnTo>
                  <a:lnTo>
                    <a:pt x="792" y="222"/>
                  </a:lnTo>
                  <a:lnTo>
                    <a:pt x="798" y="216"/>
                  </a:lnTo>
                  <a:lnTo>
                    <a:pt x="798" y="210"/>
                  </a:lnTo>
                  <a:lnTo>
                    <a:pt x="810" y="210"/>
                  </a:lnTo>
                  <a:lnTo>
                    <a:pt x="822" y="204"/>
                  </a:lnTo>
                  <a:lnTo>
                    <a:pt x="840" y="186"/>
                  </a:lnTo>
                  <a:lnTo>
                    <a:pt x="840" y="174"/>
                  </a:lnTo>
                  <a:lnTo>
                    <a:pt x="834" y="168"/>
                  </a:lnTo>
                  <a:lnTo>
                    <a:pt x="834" y="162"/>
                  </a:lnTo>
                  <a:lnTo>
                    <a:pt x="840" y="156"/>
                  </a:lnTo>
                  <a:lnTo>
                    <a:pt x="840" y="126"/>
                  </a:lnTo>
                  <a:lnTo>
                    <a:pt x="810" y="126"/>
                  </a:lnTo>
                  <a:lnTo>
                    <a:pt x="810" y="120"/>
                  </a:lnTo>
                  <a:lnTo>
                    <a:pt x="804" y="108"/>
                  </a:lnTo>
                  <a:lnTo>
                    <a:pt x="804" y="60"/>
                  </a:lnTo>
                  <a:lnTo>
                    <a:pt x="774" y="12"/>
                  </a:lnTo>
                  <a:lnTo>
                    <a:pt x="756" y="12"/>
                  </a:lnTo>
                  <a:lnTo>
                    <a:pt x="750" y="18"/>
                  </a:lnTo>
                  <a:lnTo>
                    <a:pt x="750" y="24"/>
                  </a:lnTo>
                  <a:lnTo>
                    <a:pt x="744" y="30"/>
                  </a:lnTo>
                  <a:lnTo>
                    <a:pt x="744" y="36"/>
                  </a:lnTo>
                  <a:lnTo>
                    <a:pt x="720" y="36"/>
                  </a:lnTo>
                  <a:lnTo>
                    <a:pt x="714" y="42"/>
                  </a:lnTo>
                  <a:lnTo>
                    <a:pt x="702" y="48"/>
                  </a:lnTo>
                  <a:lnTo>
                    <a:pt x="696" y="54"/>
                  </a:lnTo>
                  <a:lnTo>
                    <a:pt x="684" y="60"/>
                  </a:lnTo>
                  <a:lnTo>
                    <a:pt x="654" y="60"/>
                  </a:lnTo>
                  <a:lnTo>
                    <a:pt x="648" y="54"/>
                  </a:lnTo>
                  <a:lnTo>
                    <a:pt x="636" y="48"/>
                  </a:lnTo>
                  <a:lnTo>
                    <a:pt x="600" y="36"/>
                  </a:lnTo>
                  <a:lnTo>
                    <a:pt x="546" y="36"/>
                  </a:lnTo>
                  <a:lnTo>
                    <a:pt x="528" y="42"/>
                  </a:lnTo>
                  <a:lnTo>
                    <a:pt x="516" y="54"/>
                  </a:lnTo>
                  <a:lnTo>
                    <a:pt x="504" y="60"/>
                  </a:lnTo>
                  <a:lnTo>
                    <a:pt x="492" y="84"/>
                  </a:lnTo>
                  <a:lnTo>
                    <a:pt x="486" y="90"/>
                  </a:lnTo>
                  <a:lnTo>
                    <a:pt x="480" y="90"/>
                  </a:lnTo>
                  <a:lnTo>
                    <a:pt x="468" y="84"/>
                  </a:lnTo>
                  <a:lnTo>
                    <a:pt x="438" y="84"/>
                  </a:lnTo>
                  <a:lnTo>
                    <a:pt x="414" y="72"/>
                  </a:lnTo>
                  <a:lnTo>
                    <a:pt x="402" y="60"/>
                  </a:lnTo>
                  <a:lnTo>
                    <a:pt x="390" y="54"/>
                  </a:lnTo>
                  <a:lnTo>
                    <a:pt x="384" y="48"/>
                  </a:lnTo>
                  <a:lnTo>
                    <a:pt x="372" y="42"/>
                  </a:lnTo>
                  <a:lnTo>
                    <a:pt x="360" y="42"/>
                  </a:lnTo>
                  <a:lnTo>
                    <a:pt x="336" y="54"/>
                  </a:lnTo>
                  <a:lnTo>
                    <a:pt x="324" y="66"/>
                  </a:lnTo>
                  <a:lnTo>
                    <a:pt x="312" y="72"/>
                  </a:lnTo>
                  <a:lnTo>
                    <a:pt x="306" y="72"/>
                  </a:lnTo>
                  <a:lnTo>
                    <a:pt x="294" y="66"/>
                  </a:lnTo>
                  <a:lnTo>
                    <a:pt x="288" y="60"/>
                  </a:lnTo>
                  <a:lnTo>
                    <a:pt x="288" y="54"/>
                  </a:lnTo>
                  <a:lnTo>
                    <a:pt x="282" y="48"/>
                  </a:lnTo>
                  <a:lnTo>
                    <a:pt x="282" y="42"/>
                  </a:lnTo>
                  <a:lnTo>
                    <a:pt x="258" y="18"/>
                  </a:lnTo>
                  <a:lnTo>
                    <a:pt x="222" y="18"/>
                  </a:lnTo>
                  <a:lnTo>
                    <a:pt x="222" y="12"/>
                  </a:lnTo>
                  <a:lnTo>
                    <a:pt x="210" y="0"/>
                  </a:lnTo>
                  <a:lnTo>
                    <a:pt x="198" y="0"/>
                  </a:lnTo>
                  <a:lnTo>
                    <a:pt x="186" y="6"/>
                  </a:lnTo>
                  <a:lnTo>
                    <a:pt x="180" y="6"/>
                  </a:lnTo>
                  <a:lnTo>
                    <a:pt x="180" y="12"/>
                  </a:lnTo>
                  <a:lnTo>
                    <a:pt x="126" y="12"/>
                  </a:lnTo>
                  <a:lnTo>
                    <a:pt x="102" y="36"/>
                  </a:lnTo>
                  <a:lnTo>
                    <a:pt x="102" y="60"/>
                  </a:lnTo>
                  <a:lnTo>
                    <a:pt x="96" y="78"/>
                  </a:lnTo>
                  <a:lnTo>
                    <a:pt x="90" y="90"/>
                  </a:lnTo>
                  <a:lnTo>
                    <a:pt x="84" y="96"/>
                  </a:lnTo>
                  <a:lnTo>
                    <a:pt x="78" y="108"/>
                  </a:lnTo>
                  <a:lnTo>
                    <a:pt x="72" y="114"/>
                  </a:lnTo>
                  <a:lnTo>
                    <a:pt x="66" y="114"/>
                  </a:lnTo>
                  <a:lnTo>
                    <a:pt x="66" y="168"/>
                  </a:lnTo>
                  <a:lnTo>
                    <a:pt x="60" y="180"/>
                  </a:lnTo>
                  <a:lnTo>
                    <a:pt x="60" y="186"/>
                  </a:lnTo>
                  <a:lnTo>
                    <a:pt x="54" y="192"/>
                  </a:lnTo>
                  <a:lnTo>
                    <a:pt x="66" y="216"/>
                  </a:lnTo>
                  <a:lnTo>
                    <a:pt x="72" y="222"/>
                  </a:lnTo>
                  <a:lnTo>
                    <a:pt x="78" y="234"/>
                  </a:lnTo>
                  <a:lnTo>
                    <a:pt x="78" y="246"/>
                  </a:lnTo>
                  <a:lnTo>
                    <a:pt x="84" y="252"/>
                  </a:lnTo>
                  <a:lnTo>
                    <a:pt x="84" y="264"/>
                  </a:lnTo>
                  <a:lnTo>
                    <a:pt x="78" y="270"/>
                  </a:lnTo>
                  <a:lnTo>
                    <a:pt x="72" y="270"/>
                  </a:lnTo>
                  <a:lnTo>
                    <a:pt x="60" y="276"/>
                  </a:lnTo>
                  <a:lnTo>
                    <a:pt x="60" y="318"/>
                  </a:lnTo>
                  <a:lnTo>
                    <a:pt x="48" y="324"/>
                  </a:lnTo>
                  <a:lnTo>
                    <a:pt x="42" y="336"/>
                  </a:lnTo>
                  <a:lnTo>
                    <a:pt x="36" y="342"/>
                  </a:lnTo>
                  <a:lnTo>
                    <a:pt x="36" y="372"/>
                  </a:lnTo>
                  <a:lnTo>
                    <a:pt x="24" y="396"/>
                  </a:lnTo>
                  <a:lnTo>
                    <a:pt x="6" y="396"/>
                  </a:lnTo>
                  <a:lnTo>
                    <a:pt x="0" y="426"/>
                  </a:lnTo>
                  <a:lnTo>
                    <a:pt x="6" y="462"/>
                  </a:lnTo>
                  <a:lnTo>
                    <a:pt x="0" y="492"/>
                  </a:lnTo>
                  <a:lnTo>
                    <a:pt x="0" y="606"/>
                  </a:lnTo>
                  <a:lnTo>
                    <a:pt x="6" y="612"/>
                  </a:lnTo>
                  <a:lnTo>
                    <a:pt x="30" y="612"/>
                  </a:lnTo>
                  <a:lnTo>
                    <a:pt x="54" y="600"/>
                  </a:lnTo>
                  <a:lnTo>
                    <a:pt x="60" y="594"/>
                  </a:lnTo>
                  <a:lnTo>
                    <a:pt x="66" y="600"/>
                  </a:lnTo>
                  <a:lnTo>
                    <a:pt x="108" y="600"/>
                  </a:lnTo>
                  <a:lnTo>
                    <a:pt x="126" y="606"/>
                  </a:lnTo>
                  <a:lnTo>
                    <a:pt x="138" y="618"/>
                  </a:lnTo>
                  <a:lnTo>
                    <a:pt x="150" y="636"/>
                  </a:lnTo>
                  <a:lnTo>
                    <a:pt x="156" y="648"/>
                  </a:lnTo>
                  <a:lnTo>
                    <a:pt x="168" y="660"/>
                  </a:lnTo>
                  <a:lnTo>
                    <a:pt x="186" y="660"/>
                  </a:lnTo>
                  <a:lnTo>
                    <a:pt x="180" y="666"/>
                  </a:lnTo>
                  <a:lnTo>
                    <a:pt x="180" y="678"/>
                  </a:lnTo>
                  <a:lnTo>
                    <a:pt x="174" y="684"/>
                  </a:lnTo>
                  <a:lnTo>
                    <a:pt x="186" y="684"/>
                  </a:lnTo>
                  <a:lnTo>
                    <a:pt x="198" y="678"/>
                  </a:lnTo>
                  <a:lnTo>
                    <a:pt x="198" y="684"/>
                  </a:lnTo>
                  <a:lnTo>
                    <a:pt x="192" y="690"/>
                  </a:lnTo>
                  <a:lnTo>
                    <a:pt x="186" y="702"/>
                  </a:lnTo>
                  <a:lnTo>
                    <a:pt x="186" y="714"/>
                  </a:lnTo>
                  <a:lnTo>
                    <a:pt x="204" y="750"/>
                  </a:lnTo>
                  <a:lnTo>
                    <a:pt x="216" y="762"/>
                  </a:lnTo>
                  <a:lnTo>
                    <a:pt x="234" y="768"/>
                  </a:lnTo>
                  <a:lnTo>
                    <a:pt x="270" y="768"/>
                  </a:lnTo>
                  <a:lnTo>
                    <a:pt x="276" y="762"/>
                  </a:lnTo>
                  <a:lnTo>
                    <a:pt x="282" y="762"/>
                  </a:lnTo>
                  <a:lnTo>
                    <a:pt x="288" y="738"/>
                  </a:lnTo>
                  <a:lnTo>
                    <a:pt x="312" y="750"/>
                  </a:lnTo>
                  <a:lnTo>
                    <a:pt x="336" y="744"/>
                  </a:lnTo>
                  <a:lnTo>
                    <a:pt x="354" y="756"/>
                  </a:lnTo>
                  <a:lnTo>
                    <a:pt x="396" y="756"/>
                  </a:lnTo>
                  <a:lnTo>
                    <a:pt x="396" y="732"/>
                  </a:lnTo>
                  <a:lnTo>
                    <a:pt x="420" y="732"/>
                  </a:lnTo>
                  <a:lnTo>
                    <a:pt x="420" y="738"/>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28" name="Niger" descr="© INSCALE GmbH, 05.05.2010&#10;http://www.presentationload.com/">
              <a:extLst>
                <a:ext uri="{FF2B5EF4-FFF2-40B4-BE49-F238E27FC236}">
                  <a16:creationId xmlns:a16="http://schemas.microsoft.com/office/drawing/2014/main" id="{AD62F148-5742-4C05-DC83-E8301C9DEFF1}"/>
                </a:ext>
              </a:extLst>
            </p:cNvPr>
            <p:cNvSpPr>
              <a:spLocks/>
            </p:cNvSpPr>
            <p:nvPr/>
          </p:nvSpPr>
          <p:spPr bwMode="gray">
            <a:xfrm>
              <a:off x="4242803" y="2501007"/>
              <a:ext cx="420993" cy="357254"/>
            </a:xfrm>
            <a:custGeom>
              <a:avLst/>
              <a:gdLst>
                <a:gd name="T0" fmla="*/ 2147483647 w 1110"/>
                <a:gd name="T1" fmla="*/ 2147483647 h 942"/>
                <a:gd name="T2" fmla="*/ 2147483647 w 1110"/>
                <a:gd name="T3" fmla="*/ 2147483647 h 942"/>
                <a:gd name="T4" fmla="*/ 2147483647 w 1110"/>
                <a:gd name="T5" fmla="*/ 2147483647 h 942"/>
                <a:gd name="T6" fmla="*/ 2147483647 w 1110"/>
                <a:gd name="T7" fmla="*/ 2147483647 h 942"/>
                <a:gd name="T8" fmla="*/ 2147483647 w 1110"/>
                <a:gd name="T9" fmla="*/ 2147483647 h 942"/>
                <a:gd name="T10" fmla="*/ 2147483647 w 1110"/>
                <a:gd name="T11" fmla="*/ 2147483647 h 942"/>
                <a:gd name="T12" fmla="*/ 2147483647 w 1110"/>
                <a:gd name="T13" fmla="*/ 2147483647 h 942"/>
                <a:gd name="T14" fmla="*/ 2147483647 w 1110"/>
                <a:gd name="T15" fmla="*/ 2147483647 h 942"/>
                <a:gd name="T16" fmla="*/ 2147483647 w 1110"/>
                <a:gd name="T17" fmla="*/ 2147483647 h 942"/>
                <a:gd name="T18" fmla="*/ 2147483647 w 1110"/>
                <a:gd name="T19" fmla="*/ 2147483647 h 942"/>
                <a:gd name="T20" fmla="*/ 2147483647 w 1110"/>
                <a:gd name="T21" fmla="*/ 2147483647 h 942"/>
                <a:gd name="T22" fmla="*/ 2147483647 w 1110"/>
                <a:gd name="T23" fmla="*/ 2147483647 h 942"/>
                <a:gd name="T24" fmla="*/ 2147483647 w 1110"/>
                <a:gd name="T25" fmla="*/ 2147483647 h 942"/>
                <a:gd name="T26" fmla="*/ 2147483647 w 1110"/>
                <a:gd name="T27" fmla="*/ 2147483647 h 942"/>
                <a:gd name="T28" fmla="*/ 2147483647 w 1110"/>
                <a:gd name="T29" fmla="*/ 2147483647 h 942"/>
                <a:gd name="T30" fmla="*/ 2147483647 w 1110"/>
                <a:gd name="T31" fmla="*/ 2147483647 h 942"/>
                <a:gd name="T32" fmla="*/ 2147483647 w 1110"/>
                <a:gd name="T33" fmla="*/ 2147483647 h 942"/>
                <a:gd name="T34" fmla="*/ 2147483647 w 1110"/>
                <a:gd name="T35" fmla="*/ 2147483647 h 942"/>
                <a:gd name="T36" fmla="*/ 2147483647 w 1110"/>
                <a:gd name="T37" fmla="*/ 2147483647 h 942"/>
                <a:gd name="T38" fmla="*/ 2147483647 w 1110"/>
                <a:gd name="T39" fmla="*/ 2147483647 h 942"/>
                <a:gd name="T40" fmla="*/ 2147483647 w 1110"/>
                <a:gd name="T41" fmla="*/ 2147483647 h 942"/>
                <a:gd name="T42" fmla="*/ 2147483647 w 1110"/>
                <a:gd name="T43" fmla="*/ 2147483647 h 942"/>
                <a:gd name="T44" fmla="*/ 2147483647 w 1110"/>
                <a:gd name="T45" fmla="*/ 2147483647 h 942"/>
                <a:gd name="T46" fmla="*/ 2147483647 w 1110"/>
                <a:gd name="T47" fmla="*/ 2147483647 h 942"/>
                <a:gd name="T48" fmla="*/ 2147483647 w 1110"/>
                <a:gd name="T49" fmla="*/ 2147483647 h 942"/>
                <a:gd name="T50" fmla="*/ 2147483647 w 1110"/>
                <a:gd name="T51" fmla="*/ 2147483647 h 942"/>
                <a:gd name="T52" fmla="*/ 2147483647 w 1110"/>
                <a:gd name="T53" fmla="*/ 2147483647 h 942"/>
                <a:gd name="T54" fmla="*/ 2147483647 w 1110"/>
                <a:gd name="T55" fmla="*/ 2147483647 h 942"/>
                <a:gd name="T56" fmla="*/ 2147483647 w 1110"/>
                <a:gd name="T57" fmla="*/ 2147483647 h 942"/>
                <a:gd name="T58" fmla="*/ 2147483647 w 1110"/>
                <a:gd name="T59" fmla="*/ 2147483647 h 942"/>
                <a:gd name="T60" fmla="*/ 2147483647 w 1110"/>
                <a:gd name="T61" fmla="*/ 2147483647 h 942"/>
                <a:gd name="T62" fmla="*/ 2147483647 w 1110"/>
                <a:gd name="T63" fmla="*/ 2147483647 h 942"/>
                <a:gd name="T64" fmla="*/ 2147483647 w 1110"/>
                <a:gd name="T65" fmla="*/ 2147483647 h 942"/>
                <a:gd name="T66" fmla="*/ 2147483647 w 1110"/>
                <a:gd name="T67" fmla="*/ 2147483647 h 942"/>
                <a:gd name="T68" fmla="*/ 2147483647 w 1110"/>
                <a:gd name="T69" fmla="*/ 2147483647 h 942"/>
                <a:gd name="T70" fmla="*/ 2147483647 w 1110"/>
                <a:gd name="T71" fmla="*/ 2147483647 h 942"/>
                <a:gd name="T72" fmla="*/ 2147483647 w 1110"/>
                <a:gd name="T73" fmla="*/ 2147483647 h 942"/>
                <a:gd name="T74" fmla="*/ 2147483647 w 1110"/>
                <a:gd name="T75" fmla="*/ 2147483647 h 942"/>
                <a:gd name="T76" fmla="*/ 2147483647 w 1110"/>
                <a:gd name="T77" fmla="*/ 2147483647 h 942"/>
                <a:gd name="T78" fmla="*/ 2147483647 w 1110"/>
                <a:gd name="T79" fmla="*/ 2147483647 h 942"/>
                <a:gd name="T80" fmla="*/ 2147483647 w 1110"/>
                <a:gd name="T81" fmla="*/ 2147483647 h 942"/>
                <a:gd name="T82" fmla="*/ 2147483647 w 1110"/>
                <a:gd name="T83" fmla="*/ 2147483647 h 942"/>
                <a:gd name="T84" fmla="*/ 2147483647 w 1110"/>
                <a:gd name="T85" fmla="*/ 2147483647 h 942"/>
                <a:gd name="T86" fmla="*/ 2147483647 w 1110"/>
                <a:gd name="T87" fmla="*/ 2147483647 h 942"/>
                <a:gd name="T88" fmla="*/ 2147483647 w 1110"/>
                <a:gd name="T89" fmla="*/ 2147483647 h 942"/>
                <a:gd name="T90" fmla="*/ 2147483647 w 1110"/>
                <a:gd name="T91" fmla="*/ 2147483647 h 942"/>
                <a:gd name="T92" fmla="*/ 2147483647 w 1110"/>
                <a:gd name="T93" fmla="*/ 2147483647 h 942"/>
                <a:gd name="T94" fmla="*/ 2147483647 w 1110"/>
                <a:gd name="T95" fmla="*/ 2147483647 h 942"/>
                <a:gd name="T96" fmla="*/ 2147483647 w 1110"/>
                <a:gd name="T97" fmla="*/ 2147483647 h 942"/>
                <a:gd name="T98" fmla="*/ 0 w 1110"/>
                <a:gd name="T99" fmla="*/ 2147483647 h 942"/>
                <a:gd name="T100" fmla="*/ 2147483647 w 1110"/>
                <a:gd name="T101" fmla="*/ 2147483647 h 94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110"/>
                <a:gd name="T154" fmla="*/ 0 h 942"/>
                <a:gd name="T155" fmla="*/ 1110 w 1110"/>
                <a:gd name="T156" fmla="*/ 942 h 94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110" h="942">
                  <a:moveTo>
                    <a:pt x="54" y="792"/>
                  </a:moveTo>
                  <a:lnTo>
                    <a:pt x="54" y="810"/>
                  </a:lnTo>
                  <a:lnTo>
                    <a:pt x="66" y="810"/>
                  </a:lnTo>
                  <a:lnTo>
                    <a:pt x="48" y="828"/>
                  </a:lnTo>
                  <a:lnTo>
                    <a:pt x="48" y="834"/>
                  </a:lnTo>
                  <a:lnTo>
                    <a:pt x="72" y="858"/>
                  </a:lnTo>
                  <a:lnTo>
                    <a:pt x="84" y="864"/>
                  </a:lnTo>
                  <a:lnTo>
                    <a:pt x="90" y="876"/>
                  </a:lnTo>
                  <a:lnTo>
                    <a:pt x="108" y="876"/>
                  </a:lnTo>
                  <a:lnTo>
                    <a:pt x="120" y="864"/>
                  </a:lnTo>
                  <a:lnTo>
                    <a:pt x="132" y="864"/>
                  </a:lnTo>
                  <a:lnTo>
                    <a:pt x="144" y="876"/>
                  </a:lnTo>
                  <a:lnTo>
                    <a:pt x="150" y="888"/>
                  </a:lnTo>
                  <a:lnTo>
                    <a:pt x="126" y="894"/>
                  </a:lnTo>
                  <a:lnTo>
                    <a:pt x="150" y="930"/>
                  </a:lnTo>
                  <a:lnTo>
                    <a:pt x="150" y="906"/>
                  </a:lnTo>
                  <a:lnTo>
                    <a:pt x="180" y="894"/>
                  </a:lnTo>
                  <a:lnTo>
                    <a:pt x="192" y="906"/>
                  </a:lnTo>
                  <a:lnTo>
                    <a:pt x="198" y="918"/>
                  </a:lnTo>
                  <a:lnTo>
                    <a:pt x="204" y="924"/>
                  </a:lnTo>
                  <a:lnTo>
                    <a:pt x="210" y="924"/>
                  </a:lnTo>
                  <a:lnTo>
                    <a:pt x="216" y="930"/>
                  </a:lnTo>
                  <a:lnTo>
                    <a:pt x="222" y="930"/>
                  </a:lnTo>
                  <a:lnTo>
                    <a:pt x="234" y="936"/>
                  </a:lnTo>
                  <a:lnTo>
                    <a:pt x="240" y="942"/>
                  </a:lnTo>
                  <a:lnTo>
                    <a:pt x="240" y="888"/>
                  </a:lnTo>
                  <a:lnTo>
                    <a:pt x="246" y="888"/>
                  </a:lnTo>
                  <a:lnTo>
                    <a:pt x="252" y="882"/>
                  </a:lnTo>
                  <a:lnTo>
                    <a:pt x="258" y="870"/>
                  </a:lnTo>
                  <a:lnTo>
                    <a:pt x="264" y="864"/>
                  </a:lnTo>
                  <a:lnTo>
                    <a:pt x="270" y="852"/>
                  </a:lnTo>
                  <a:lnTo>
                    <a:pt x="276" y="834"/>
                  </a:lnTo>
                  <a:lnTo>
                    <a:pt x="276" y="810"/>
                  </a:lnTo>
                  <a:lnTo>
                    <a:pt x="300" y="786"/>
                  </a:lnTo>
                  <a:lnTo>
                    <a:pt x="354" y="786"/>
                  </a:lnTo>
                  <a:lnTo>
                    <a:pt x="354" y="780"/>
                  </a:lnTo>
                  <a:lnTo>
                    <a:pt x="360" y="780"/>
                  </a:lnTo>
                  <a:lnTo>
                    <a:pt x="372" y="774"/>
                  </a:lnTo>
                  <a:lnTo>
                    <a:pt x="384" y="774"/>
                  </a:lnTo>
                  <a:lnTo>
                    <a:pt x="396" y="786"/>
                  </a:lnTo>
                  <a:lnTo>
                    <a:pt x="396" y="792"/>
                  </a:lnTo>
                  <a:lnTo>
                    <a:pt x="432" y="792"/>
                  </a:lnTo>
                  <a:lnTo>
                    <a:pt x="456" y="816"/>
                  </a:lnTo>
                  <a:lnTo>
                    <a:pt x="456" y="822"/>
                  </a:lnTo>
                  <a:lnTo>
                    <a:pt x="462" y="828"/>
                  </a:lnTo>
                  <a:lnTo>
                    <a:pt x="462" y="834"/>
                  </a:lnTo>
                  <a:lnTo>
                    <a:pt x="468" y="840"/>
                  </a:lnTo>
                  <a:lnTo>
                    <a:pt x="480" y="846"/>
                  </a:lnTo>
                  <a:lnTo>
                    <a:pt x="486" y="846"/>
                  </a:lnTo>
                  <a:lnTo>
                    <a:pt x="498" y="840"/>
                  </a:lnTo>
                  <a:lnTo>
                    <a:pt x="510" y="828"/>
                  </a:lnTo>
                  <a:lnTo>
                    <a:pt x="534" y="816"/>
                  </a:lnTo>
                  <a:lnTo>
                    <a:pt x="546" y="816"/>
                  </a:lnTo>
                  <a:lnTo>
                    <a:pt x="558" y="822"/>
                  </a:lnTo>
                  <a:lnTo>
                    <a:pt x="564" y="828"/>
                  </a:lnTo>
                  <a:lnTo>
                    <a:pt x="576" y="834"/>
                  </a:lnTo>
                  <a:lnTo>
                    <a:pt x="588" y="846"/>
                  </a:lnTo>
                  <a:lnTo>
                    <a:pt x="612" y="858"/>
                  </a:lnTo>
                  <a:lnTo>
                    <a:pt x="642" y="858"/>
                  </a:lnTo>
                  <a:lnTo>
                    <a:pt x="654" y="864"/>
                  </a:lnTo>
                  <a:lnTo>
                    <a:pt x="660" y="864"/>
                  </a:lnTo>
                  <a:lnTo>
                    <a:pt x="666" y="858"/>
                  </a:lnTo>
                  <a:lnTo>
                    <a:pt x="678" y="834"/>
                  </a:lnTo>
                  <a:lnTo>
                    <a:pt x="690" y="828"/>
                  </a:lnTo>
                  <a:lnTo>
                    <a:pt x="702" y="816"/>
                  </a:lnTo>
                  <a:lnTo>
                    <a:pt x="720" y="810"/>
                  </a:lnTo>
                  <a:lnTo>
                    <a:pt x="774" y="810"/>
                  </a:lnTo>
                  <a:lnTo>
                    <a:pt x="810" y="822"/>
                  </a:lnTo>
                  <a:lnTo>
                    <a:pt x="822" y="828"/>
                  </a:lnTo>
                  <a:lnTo>
                    <a:pt x="828" y="834"/>
                  </a:lnTo>
                  <a:lnTo>
                    <a:pt x="858" y="834"/>
                  </a:lnTo>
                  <a:lnTo>
                    <a:pt x="870" y="828"/>
                  </a:lnTo>
                  <a:lnTo>
                    <a:pt x="876" y="822"/>
                  </a:lnTo>
                  <a:lnTo>
                    <a:pt x="888" y="816"/>
                  </a:lnTo>
                  <a:lnTo>
                    <a:pt x="894" y="810"/>
                  </a:lnTo>
                  <a:lnTo>
                    <a:pt x="918" y="810"/>
                  </a:lnTo>
                  <a:lnTo>
                    <a:pt x="918" y="804"/>
                  </a:lnTo>
                  <a:lnTo>
                    <a:pt x="924" y="798"/>
                  </a:lnTo>
                  <a:lnTo>
                    <a:pt x="924" y="792"/>
                  </a:lnTo>
                  <a:lnTo>
                    <a:pt x="930" y="786"/>
                  </a:lnTo>
                  <a:lnTo>
                    <a:pt x="936" y="786"/>
                  </a:lnTo>
                  <a:lnTo>
                    <a:pt x="930" y="726"/>
                  </a:lnTo>
                  <a:lnTo>
                    <a:pt x="948" y="720"/>
                  </a:lnTo>
                  <a:lnTo>
                    <a:pt x="948" y="714"/>
                  </a:lnTo>
                  <a:lnTo>
                    <a:pt x="954" y="708"/>
                  </a:lnTo>
                  <a:lnTo>
                    <a:pt x="954" y="696"/>
                  </a:lnTo>
                  <a:lnTo>
                    <a:pt x="960" y="678"/>
                  </a:lnTo>
                  <a:lnTo>
                    <a:pt x="966" y="666"/>
                  </a:lnTo>
                  <a:lnTo>
                    <a:pt x="978" y="648"/>
                  </a:lnTo>
                  <a:lnTo>
                    <a:pt x="984" y="636"/>
                  </a:lnTo>
                  <a:lnTo>
                    <a:pt x="1002" y="618"/>
                  </a:lnTo>
                  <a:lnTo>
                    <a:pt x="1026" y="588"/>
                  </a:lnTo>
                  <a:lnTo>
                    <a:pt x="1050" y="564"/>
                  </a:lnTo>
                  <a:lnTo>
                    <a:pt x="1068" y="540"/>
                  </a:lnTo>
                  <a:lnTo>
                    <a:pt x="1074" y="534"/>
                  </a:lnTo>
                  <a:lnTo>
                    <a:pt x="1092" y="288"/>
                  </a:lnTo>
                  <a:lnTo>
                    <a:pt x="1110" y="252"/>
                  </a:lnTo>
                  <a:lnTo>
                    <a:pt x="1080" y="216"/>
                  </a:lnTo>
                  <a:lnTo>
                    <a:pt x="1074" y="192"/>
                  </a:lnTo>
                  <a:lnTo>
                    <a:pt x="1044" y="156"/>
                  </a:lnTo>
                  <a:lnTo>
                    <a:pt x="1056" y="108"/>
                  </a:lnTo>
                  <a:lnTo>
                    <a:pt x="1038" y="42"/>
                  </a:lnTo>
                  <a:lnTo>
                    <a:pt x="1020" y="48"/>
                  </a:lnTo>
                  <a:lnTo>
                    <a:pt x="1002" y="60"/>
                  </a:lnTo>
                  <a:lnTo>
                    <a:pt x="990" y="66"/>
                  </a:lnTo>
                  <a:lnTo>
                    <a:pt x="984" y="66"/>
                  </a:lnTo>
                  <a:lnTo>
                    <a:pt x="978" y="60"/>
                  </a:lnTo>
                  <a:lnTo>
                    <a:pt x="966" y="54"/>
                  </a:lnTo>
                  <a:lnTo>
                    <a:pt x="960" y="42"/>
                  </a:lnTo>
                  <a:lnTo>
                    <a:pt x="954" y="36"/>
                  </a:lnTo>
                  <a:lnTo>
                    <a:pt x="942" y="30"/>
                  </a:lnTo>
                  <a:lnTo>
                    <a:pt x="936" y="24"/>
                  </a:lnTo>
                  <a:lnTo>
                    <a:pt x="930" y="24"/>
                  </a:lnTo>
                  <a:lnTo>
                    <a:pt x="918" y="18"/>
                  </a:lnTo>
                  <a:lnTo>
                    <a:pt x="900" y="12"/>
                  </a:lnTo>
                  <a:lnTo>
                    <a:pt x="888" y="12"/>
                  </a:lnTo>
                  <a:lnTo>
                    <a:pt x="876" y="6"/>
                  </a:lnTo>
                  <a:lnTo>
                    <a:pt x="864" y="6"/>
                  </a:lnTo>
                  <a:lnTo>
                    <a:pt x="828" y="0"/>
                  </a:lnTo>
                  <a:lnTo>
                    <a:pt x="816" y="6"/>
                  </a:lnTo>
                  <a:lnTo>
                    <a:pt x="786" y="30"/>
                  </a:lnTo>
                  <a:lnTo>
                    <a:pt x="738" y="66"/>
                  </a:lnTo>
                  <a:lnTo>
                    <a:pt x="684" y="102"/>
                  </a:lnTo>
                  <a:lnTo>
                    <a:pt x="624" y="144"/>
                  </a:lnTo>
                  <a:lnTo>
                    <a:pt x="576" y="180"/>
                  </a:lnTo>
                  <a:lnTo>
                    <a:pt x="534" y="210"/>
                  </a:lnTo>
                  <a:lnTo>
                    <a:pt x="510" y="222"/>
                  </a:lnTo>
                  <a:lnTo>
                    <a:pt x="480" y="246"/>
                  </a:lnTo>
                  <a:lnTo>
                    <a:pt x="450" y="282"/>
                  </a:lnTo>
                  <a:lnTo>
                    <a:pt x="414" y="312"/>
                  </a:lnTo>
                  <a:lnTo>
                    <a:pt x="390" y="330"/>
                  </a:lnTo>
                  <a:lnTo>
                    <a:pt x="366" y="336"/>
                  </a:lnTo>
                  <a:lnTo>
                    <a:pt x="324" y="342"/>
                  </a:lnTo>
                  <a:lnTo>
                    <a:pt x="282" y="354"/>
                  </a:lnTo>
                  <a:lnTo>
                    <a:pt x="282" y="558"/>
                  </a:lnTo>
                  <a:lnTo>
                    <a:pt x="264" y="582"/>
                  </a:lnTo>
                  <a:lnTo>
                    <a:pt x="264" y="594"/>
                  </a:lnTo>
                  <a:lnTo>
                    <a:pt x="258" y="606"/>
                  </a:lnTo>
                  <a:lnTo>
                    <a:pt x="258" y="624"/>
                  </a:lnTo>
                  <a:lnTo>
                    <a:pt x="252" y="636"/>
                  </a:lnTo>
                  <a:lnTo>
                    <a:pt x="240" y="642"/>
                  </a:lnTo>
                  <a:lnTo>
                    <a:pt x="222" y="648"/>
                  </a:lnTo>
                  <a:lnTo>
                    <a:pt x="198" y="648"/>
                  </a:lnTo>
                  <a:lnTo>
                    <a:pt x="186" y="654"/>
                  </a:lnTo>
                  <a:lnTo>
                    <a:pt x="138" y="648"/>
                  </a:lnTo>
                  <a:lnTo>
                    <a:pt x="138" y="666"/>
                  </a:lnTo>
                  <a:lnTo>
                    <a:pt x="72" y="660"/>
                  </a:lnTo>
                  <a:lnTo>
                    <a:pt x="48" y="678"/>
                  </a:lnTo>
                  <a:lnTo>
                    <a:pt x="0" y="690"/>
                  </a:lnTo>
                  <a:lnTo>
                    <a:pt x="0" y="726"/>
                  </a:lnTo>
                  <a:lnTo>
                    <a:pt x="6" y="738"/>
                  </a:lnTo>
                  <a:lnTo>
                    <a:pt x="6" y="762"/>
                  </a:lnTo>
                  <a:lnTo>
                    <a:pt x="18" y="786"/>
                  </a:lnTo>
                  <a:lnTo>
                    <a:pt x="30" y="792"/>
                  </a:lnTo>
                  <a:lnTo>
                    <a:pt x="54" y="792"/>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29" name="Nicaragua" descr="© INSCALE GmbH, 05.05.2010&#10;http://www.presentationload.com/">
              <a:extLst>
                <a:ext uri="{FF2B5EF4-FFF2-40B4-BE49-F238E27FC236}">
                  <a16:creationId xmlns:a16="http://schemas.microsoft.com/office/drawing/2014/main" id="{16A27687-4104-68BB-0571-178ACCEE404C}"/>
                </a:ext>
              </a:extLst>
            </p:cNvPr>
            <p:cNvSpPr>
              <a:spLocks/>
            </p:cNvSpPr>
            <p:nvPr/>
          </p:nvSpPr>
          <p:spPr bwMode="gray">
            <a:xfrm>
              <a:off x="1888796" y="2764871"/>
              <a:ext cx="123038" cy="126003"/>
            </a:xfrm>
            <a:custGeom>
              <a:avLst/>
              <a:gdLst>
                <a:gd name="T0" fmla="*/ 2147483647 w 324"/>
                <a:gd name="T1" fmla="*/ 2147483647 h 330"/>
                <a:gd name="T2" fmla="*/ 2147483647 w 324"/>
                <a:gd name="T3" fmla="*/ 0 h 330"/>
                <a:gd name="T4" fmla="*/ 2147483647 w 324"/>
                <a:gd name="T5" fmla="*/ 2147483647 h 330"/>
                <a:gd name="T6" fmla="*/ 2147483647 w 324"/>
                <a:gd name="T7" fmla="*/ 2147483647 h 330"/>
                <a:gd name="T8" fmla="*/ 2147483647 w 324"/>
                <a:gd name="T9" fmla="*/ 0 h 330"/>
                <a:gd name="T10" fmla="*/ 2147483647 w 324"/>
                <a:gd name="T11" fmla="*/ 2147483647 h 330"/>
                <a:gd name="T12" fmla="*/ 2147483647 w 324"/>
                <a:gd name="T13" fmla="*/ 2147483647 h 330"/>
                <a:gd name="T14" fmla="*/ 2147483647 w 324"/>
                <a:gd name="T15" fmla="*/ 2147483647 h 330"/>
                <a:gd name="T16" fmla="*/ 2147483647 w 324"/>
                <a:gd name="T17" fmla="*/ 2147483647 h 330"/>
                <a:gd name="T18" fmla="*/ 2147483647 w 324"/>
                <a:gd name="T19" fmla="*/ 2147483647 h 330"/>
                <a:gd name="T20" fmla="*/ 2147483647 w 324"/>
                <a:gd name="T21" fmla="*/ 2147483647 h 330"/>
                <a:gd name="T22" fmla="*/ 2147483647 w 324"/>
                <a:gd name="T23" fmla="*/ 2147483647 h 330"/>
                <a:gd name="T24" fmla="*/ 2147483647 w 324"/>
                <a:gd name="T25" fmla="*/ 2147483647 h 330"/>
                <a:gd name="T26" fmla="*/ 2147483647 w 324"/>
                <a:gd name="T27" fmla="*/ 2147483647 h 330"/>
                <a:gd name="T28" fmla="*/ 2147483647 w 324"/>
                <a:gd name="T29" fmla="*/ 2147483647 h 330"/>
                <a:gd name="T30" fmla="*/ 2147483647 w 324"/>
                <a:gd name="T31" fmla="*/ 2147483647 h 330"/>
                <a:gd name="T32" fmla="*/ 2147483647 w 324"/>
                <a:gd name="T33" fmla="*/ 2147483647 h 330"/>
                <a:gd name="T34" fmla="*/ 2147483647 w 324"/>
                <a:gd name="T35" fmla="*/ 2147483647 h 330"/>
                <a:gd name="T36" fmla="*/ 2147483647 w 324"/>
                <a:gd name="T37" fmla="*/ 2147483647 h 330"/>
                <a:gd name="T38" fmla="*/ 2147483647 w 324"/>
                <a:gd name="T39" fmla="*/ 2147483647 h 330"/>
                <a:gd name="T40" fmla="*/ 2147483647 w 324"/>
                <a:gd name="T41" fmla="*/ 2147483647 h 330"/>
                <a:gd name="T42" fmla="*/ 2147483647 w 324"/>
                <a:gd name="T43" fmla="*/ 2147483647 h 330"/>
                <a:gd name="T44" fmla="*/ 2147483647 w 324"/>
                <a:gd name="T45" fmla="*/ 2147483647 h 330"/>
                <a:gd name="T46" fmla="*/ 2147483647 w 324"/>
                <a:gd name="T47" fmla="*/ 2147483647 h 330"/>
                <a:gd name="T48" fmla="*/ 2147483647 w 324"/>
                <a:gd name="T49" fmla="*/ 2147483647 h 330"/>
                <a:gd name="T50" fmla="*/ 2147483647 w 324"/>
                <a:gd name="T51" fmla="*/ 2147483647 h 330"/>
                <a:gd name="T52" fmla="*/ 2147483647 w 324"/>
                <a:gd name="T53" fmla="*/ 2147483647 h 330"/>
                <a:gd name="T54" fmla="*/ 2147483647 w 324"/>
                <a:gd name="T55" fmla="*/ 2147483647 h 330"/>
                <a:gd name="T56" fmla="*/ 2147483647 w 324"/>
                <a:gd name="T57" fmla="*/ 2147483647 h 330"/>
                <a:gd name="T58" fmla="*/ 2147483647 w 324"/>
                <a:gd name="T59" fmla="*/ 2147483647 h 330"/>
                <a:gd name="T60" fmla="*/ 2147483647 w 324"/>
                <a:gd name="T61" fmla="*/ 2147483647 h 330"/>
                <a:gd name="T62" fmla="*/ 2147483647 w 324"/>
                <a:gd name="T63" fmla="*/ 2147483647 h 330"/>
                <a:gd name="T64" fmla="*/ 2147483647 w 324"/>
                <a:gd name="T65" fmla="*/ 2147483647 h 330"/>
                <a:gd name="T66" fmla="*/ 2147483647 w 324"/>
                <a:gd name="T67" fmla="*/ 2147483647 h 330"/>
                <a:gd name="T68" fmla="*/ 2147483647 w 324"/>
                <a:gd name="T69" fmla="*/ 2147483647 h 330"/>
                <a:gd name="T70" fmla="*/ 2147483647 w 324"/>
                <a:gd name="T71" fmla="*/ 2147483647 h 330"/>
                <a:gd name="T72" fmla="*/ 2147483647 w 324"/>
                <a:gd name="T73" fmla="*/ 2147483647 h 330"/>
                <a:gd name="T74" fmla="*/ 2147483647 w 324"/>
                <a:gd name="T75" fmla="*/ 2147483647 h 330"/>
                <a:gd name="T76" fmla="*/ 2147483647 w 324"/>
                <a:gd name="T77" fmla="*/ 2147483647 h 330"/>
                <a:gd name="T78" fmla="*/ 2147483647 w 324"/>
                <a:gd name="T79" fmla="*/ 2147483647 h 330"/>
                <a:gd name="T80" fmla="*/ 2147483647 w 324"/>
                <a:gd name="T81" fmla="*/ 2147483647 h 33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24"/>
                <a:gd name="T124" fmla="*/ 0 h 330"/>
                <a:gd name="T125" fmla="*/ 324 w 324"/>
                <a:gd name="T126" fmla="*/ 330 h 33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24" h="330">
                  <a:moveTo>
                    <a:pt x="324" y="18"/>
                  </a:moveTo>
                  <a:lnTo>
                    <a:pt x="318" y="12"/>
                  </a:lnTo>
                  <a:lnTo>
                    <a:pt x="318" y="6"/>
                  </a:lnTo>
                  <a:lnTo>
                    <a:pt x="312" y="0"/>
                  </a:lnTo>
                  <a:lnTo>
                    <a:pt x="264" y="0"/>
                  </a:lnTo>
                  <a:lnTo>
                    <a:pt x="264" y="6"/>
                  </a:lnTo>
                  <a:lnTo>
                    <a:pt x="252" y="18"/>
                  </a:lnTo>
                  <a:lnTo>
                    <a:pt x="240" y="18"/>
                  </a:lnTo>
                  <a:lnTo>
                    <a:pt x="222" y="0"/>
                  </a:lnTo>
                  <a:lnTo>
                    <a:pt x="210" y="0"/>
                  </a:lnTo>
                  <a:lnTo>
                    <a:pt x="198" y="12"/>
                  </a:lnTo>
                  <a:lnTo>
                    <a:pt x="198" y="30"/>
                  </a:lnTo>
                  <a:lnTo>
                    <a:pt x="180" y="30"/>
                  </a:lnTo>
                  <a:lnTo>
                    <a:pt x="168" y="54"/>
                  </a:lnTo>
                  <a:lnTo>
                    <a:pt x="144" y="78"/>
                  </a:lnTo>
                  <a:lnTo>
                    <a:pt x="126" y="78"/>
                  </a:lnTo>
                  <a:lnTo>
                    <a:pt x="120" y="72"/>
                  </a:lnTo>
                  <a:lnTo>
                    <a:pt x="120" y="66"/>
                  </a:lnTo>
                  <a:lnTo>
                    <a:pt x="108" y="66"/>
                  </a:lnTo>
                  <a:lnTo>
                    <a:pt x="102" y="72"/>
                  </a:lnTo>
                  <a:lnTo>
                    <a:pt x="96" y="84"/>
                  </a:lnTo>
                  <a:lnTo>
                    <a:pt x="60" y="84"/>
                  </a:lnTo>
                  <a:lnTo>
                    <a:pt x="54" y="90"/>
                  </a:lnTo>
                  <a:lnTo>
                    <a:pt x="54" y="102"/>
                  </a:lnTo>
                  <a:lnTo>
                    <a:pt x="60" y="108"/>
                  </a:lnTo>
                  <a:lnTo>
                    <a:pt x="60" y="120"/>
                  </a:lnTo>
                  <a:lnTo>
                    <a:pt x="66" y="126"/>
                  </a:lnTo>
                  <a:lnTo>
                    <a:pt x="48" y="126"/>
                  </a:lnTo>
                  <a:lnTo>
                    <a:pt x="48" y="144"/>
                  </a:lnTo>
                  <a:lnTo>
                    <a:pt x="36" y="150"/>
                  </a:lnTo>
                  <a:lnTo>
                    <a:pt x="0" y="150"/>
                  </a:lnTo>
                  <a:lnTo>
                    <a:pt x="48" y="204"/>
                  </a:lnTo>
                  <a:lnTo>
                    <a:pt x="48" y="210"/>
                  </a:lnTo>
                  <a:lnTo>
                    <a:pt x="54" y="216"/>
                  </a:lnTo>
                  <a:lnTo>
                    <a:pt x="54" y="228"/>
                  </a:lnTo>
                  <a:lnTo>
                    <a:pt x="66" y="252"/>
                  </a:lnTo>
                  <a:lnTo>
                    <a:pt x="72" y="258"/>
                  </a:lnTo>
                  <a:lnTo>
                    <a:pt x="96" y="270"/>
                  </a:lnTo>
                  <a:lnTo>
                    <a:pt x="108" y="282"/>
                  </a:lnTo>
                  <a:lnTo>
                    <a:pt x="114" y="294"/>
                  </a:lnTo>
                  <a:lnTo>
                    <a:pt x="138" y="294"/>
                  </a:lnTo>
                  <a:lnTo>
                    <a:pt x="132" y="294"/>
                  </a:lnTo>
                  <a:lnTo>
                    <a:pt x="120" y="282"/>
                  </a:lnTo>
                  <a:lnTo>
                    <a:pt x="120" y="276"/>
                  </a:lnTo>
                  <a:lnTo>
                    <a:pt x="126" y="270"/>
                  </a:lnTo>
                  <a:lnTo>
                    <a:pt x="138" y="270"/>
                  </a:lnTo>
                  <a:lnTo>
                    <a:pt x="138" y="264"/>
                  </a:lnTo>
                  <a:lnTo>
                    <a:pt x="132" y="258"/>
                  </a:lnTo>
                  <a:lnTo>
                    <a:pt x="126" y="258"/>
                  </a:lnTo>
                  <a:lnTo>
                    <a:pt x="120" y="264"/>
                  </a:lnTo>
                  <a:lnTo>
                    <a:pt x="114" y="264"/>
                  </a:lnTo>
                  <a:lnTo>
                    <a:pt x="114" y="222"/>
                  </a:lnTo>
                  <a:lnTo>
                    <a:pt x="120" y="222"/>
                  </a:lnTo>
                  <a:lnTo>
                    <a:pt x="132" y="228"/>
                  </a:lnTo>
                  <a:lnTo>
                    <a:pt x="144" y="240"/>
                  </a:lnTo>
                  <a:lnTo>
                    <a:pt x="156" y="246"/>
                  </a:lnTo>
                  <a:lnTo>
                    <a:pt x="180" y="270"/>
                  </a:lnTo>
                  <a:lnTo>
                    <a:pt x="192" y="306"/>
                  </a:lnTo>
                  <a:lnTo>
                    <a:pt x="210" y="306"/>
                  </a:lnTo>
                  <a:lnTo>
                    <a:pt x="216" y="312"/>
                  </a:lnTo>
                  <a:lnTo>
                    <a:pt x="222" y="312"/>
                  </a:lnTo>
                  <a:lnTo>
                    <a:pt x="222" y="318"/>
                  </a:lnTo>
                  <a:lnTo>
                    <a:pt x="234" y="330"/>
                  </a:lnTo>
                  <a:lnTo>
                    <a:pt x="270" y="330"/>
                  </a:lnTo>
                  <a:lnTo>
                    <a:pt x="270" y="324"/>
                  </a:lnTo>
                  <a:lnTo>
                    <a:pt x="258" y="312"/>
                  </a:lnTo>
                  <a:lnTo>
                    <a:pt x="252" y="300"/>
                  </a:lnTo>
                  <a:lnTo>
                    <a:pt x="252" y="276"/>
                  </a:lnTo>
                  <a:lnTo>
                    <a:pt x="264" y="264"/>
                  </a:lnTo>
                  <a:lnTo>
                    <a:pt x="270" y="264"/>
                  </a:lnTo>
                  <a:lnTo>
                    <a:pt x="270" y="246"/>
                  </a:lnTo>
                  <a:lnTo>
                    <a:pt x="264" y="234"/>
                  </a:lnTo>
                  <a:lnTo>
                    <a:pt x="264" y="222"/>
                  </a:lnTo>
                  <a:lnTo>
                    <a:pt x="270" y="174"/>
                  </a:lnTo>
                  <a:lnTo>
                    <a:pt x="282" y="192"/>
                  </a:lnTo>
                  <a:lnTo>
                    <a:pt x="288" y="108"/>
                  </a:lnTo>
                  <a:lnTo>
                    <a:pt x="288" y="102"/>
                  </a:lnTo>
                  <a:lnTo>
                    <a:pt x="294" y="96"/>
                  </a:lnTo>
                  <a:lnTo>
                    <a:pt x="306" y="72"/>
                  </a:lnTo>
                  <a:lnTo>
                    <a:pt x="312" y="66"/>
                  </a:lnTo>
                  <a:lnTo>
                    <a:pt x="324" y="42"/>
                  </a:lnTo>
                  <a:lnTo>
                    <a:pt x="324" y="18"/>
                  </a:lnTo>
                  <a:close/>
                </a:path>
              </a:pathLst>
            </a:custGeom>
            <a:grp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30" name="New Zealand" descr="© INSCALE GmbH, 05.05.2010&#10;http://www.presentationload.com/">
              <a:extLst>
                <a:ext uri="{FF2B5EF4-FFF2-40B4-BE49-F238E27FC236}">
                  <a16:creationId xmlns:a16="http://schemas.microsoft.com/office/drawing/2014/main" id="{91079D66-AFC8-79C5-B930-23753A64B8DE}"/>
                </a:ext>
              </a:extLst>
            </p:cNvPr>
            <p:cNvSpPr>
              <a:spLocks noEditPoints="1"/>
            </p:cNvSpPr>
            <p:nvPr/>
          </p:nvSpPr>
          <p:spPr bwMode="gray">
            <a:xfrm>
              <a:off x="8260033" y="4266520"/>
              <a:ext cx="481772" cy="372078"/>
            </a:xfrm>
            <a:custGeom>
              <a:avLst/>
              <a:gdLst>
                <a:gd name="T0" fmla="*/ 2147483647 w 1272"/>
                <a:gd name="T1" fmla="*/ 2147483647 h 984"/>
                <a:gd name="T2" fmla="*/ 2147483647 w 1272"/>
                <a:gd name="T3" fmla="*/ 2147483647 h 984"/>
                <a:gd name="T4" fmla="*/ 2147483647 w 1272"/>
                <a:gd name="T5" fmla="*/ 2147483647 h 984"/>
                <a:gd name="T6" fmla="*/ 2147483647 w 1272"/>
                <a:gd name="T7" fmla="*/ 2147483647 h 984"/>
                <a:gd name="T8" fmla="*/ 2147483647 w 1272"/>
                <a:gd name="T9" fmla="*/ 2147483647 h 984"/>
                <a:gd name="T10" fmla="*/ 2147483647 w 1272"/>
                <a:gd name="T11" fmla="*/ 2147483647 h 984"/>
                <a:gd name="T12" fmla="*/ 2147483647 w 1272"/>
                <a:gd name="T13" fmla="*/ 2147483647 h 984"/>
                <a:gd name="T14" fmla="*/ 2147483647 w 1272"/>
                <a:gd name="T15" fmla="*/ 2147483647 h 984"/>
                <a:gd name="T16" fmla="*/ 2147483647 w 1272"/>
                <a:gd name="T17" fmla="*/ 2147483647 h 984"/>
                <a:gd name="T18" fmla="*/ 2147483647 w 1272"/>
                <a:gd name="T19" fmla="*/ 2147483647 h 984"/>
                <a:gd name="T20" fmla="*/ 2147483647 w 1272"/>
                <a:gd name="T21" fmla="*/ 2147483647 h 984"/>
                <a:gd name="T22" fmla="*/ 2147483647 w 1272"/>
                <a:gd name="T23" fmla="*/ 2147483647 h 984"/>
                <a:gd name="T24" fmla="*/ 2147483647 w 1272"/>
                <a:gd name="T25" fmla="*/ 2147483647 h 984"/>
                <a:gd name="T26" fmla="*/ 2147483647 w 1272"/>
                <a:gd name="T27" fmla="*/ 2147483647 h 984"/>
                <a:gd name="T28" fmla="*/ 2147483647 w 1272"/>
                <a:gd name="T29" fmla="*/ 2147483647 h 984"/>
                <a:gd name="T30" fmla="*/ 2147483647 w 1272"/>
                <a:gd name="T31" fmla="*/ 2147483647 h 984"/>
                <a:gd name="T32" fmla="*/ 2147483647 w 1272"/>
                <a:gd name="T33" fmla="*/ 2147483647 h 984"/>
                <a:gd name="T34" fmla="*/ 2147483647 w 1272"/>
                <a:gd name="T35" fmla="*/ 2147483647 h 984"/>
                <a:gd name="T36" fmla="*/ 2147483647 w 1272"/>
                <a:gd name="T37" fmla="*/ 2147483647 h 984"/>
                <a:gd name="T38" fmla="*/ 2147483647 w 1272"/>
                <a:gd name="T39" fmla="*/ 2147483647 h 984"/>
                <a:gd name="T40" fmla="*/ 2147483647 w 1272"/>
                <a:gd name="T41" fmla="*/ 2147483647 h 984"/>
                <a:gd name="T42" fmla="*/ 2147483647 w 1272"/>
                <a:gd name="T43" fmla="*/ 2147483647 h 984"/>
                <a:gd name="T44" fmla="*/ 2147483647 w 1272"/>
                <a:gd name="T45" fmla="*/ 2147483647 h 984"/>
                <a:gd name="T46" fmla="*/ 2147483647 w 1272"/>
                <a:gd name="T47" fmla="*/ 2147483647 h 984"/>
                <a:gd name="T48" fmla="*/ 2147483647 w 1272"/>
                <a:gd name="T49" fmla="*/ 2147483647 h 984"/>
                <a:gd name="T50" fmla="*/ 2147483647 w 1272"/>
                <a:gd name="T51" fmla="*/ 2147483647 h 984"/>
                <a:gd name="T52" fmla="*/ 2147483647 w 1272"/>
                <a:gd name="T53" fmla="*/ 2147483647 h 984"/>
                <a:gd name="T54" fmla="*/ 2147483647 w 1272"/>
                <a:gd name="T55" fmla="*/ 2147483647 h 984"/>
                <a:gd name="T56" fmla="*/ 2147483647 w 1272"/>
                <a:gd name="T57" fmla="*/ 2147483647 h 984"/>
                <a:gd name="T58" fmla="*/ 2147483647 w 1272"/>
                <a:gd name="T59" fmla="*/ 2147483647 h 984"/>
                <a:gd name="T60" fmla="*/ 2147483647 w 1272"/>
                <a:gd name="T61" fmla="*/ 2147483647 h 984"/>
                <a:gd name="T62" fmla="*/ 2147483647 w 1272"/>
                <a:gd name="T63" fmla="*/ 2147483647 h 984"/>
                <a:gd name="T64" fmla="*/ 2147483647 w 1272"/>
                <a:gd name="T65" fmla="*/ 2147483647 h 984"/>
                <a:gd name="T66" fmla="*/ 2147483647 w 1272"/>
                <a:gd name="T67" fmla="*/ 2147483647 h 984"/>
                <a:gd name="T68" fmla="*/ 2147483647 w 1272"/>
                <a:gd name="T69" fmla="*/ 2147483647 h 984"/>
                <a:gd name="T70" fmla="*/ 2147483647 w 1272"/>
                <a:gd name="T71" fmla="*/ 2147483647 h 984"/>
                <a:gd name="T72" fmla="*/ 2147483647 w 1272"/>
                <a:gd name="T73" fmla="*/ 2147483647 h 984"/>
                <a:gd name="T74" fmla="*/ 2147483647 w 1272"/>
                <a:gd name="T75" fmla="*/ 2147483647 h 984"/>
                <a:gd name="T76" fmla="*/ 2147483647 w 1272"/>
                <a:gd name="T77" fmla="*/ 2147483647 h 984"/>
                <a:gd name="T78" fmla="*/ 2147483647 w 1272"/>
                <a:gd name="T79" fmla="*/ 2147483647 h 984"/>
                <a:gd name="T80" fmla="*/ 2147483647 w 1272"/>
                <a:gd name="T81" fmla="*/ 2147483647 h 984"/>
                <a:gd name="T82" fmla="*/ 2147483647 w 1272"/>
                <a:gd name="T83" fmla="*/ 2147483647 h 984"/>
                <a:gd name="T84" fmla="*/ 2147483647 w 1272"/>
                <a:gd name="T85" fmla="*/ 2147483647 h 984"/>
                <a:gd name="T86" fmla="*/ 2147483647 w 1272"/>
                <a:gd name="T87" fmla="*/ 2147483647 h 984"/>
                <a:gd name="T88" fmla="*/ 2147483647 w 1272"/>
                <a:gd name="T89" fmla="*/ 2147483647 h 984"/>
                <a:gd name="T90" fmla="*/ 2147483647 w 1272"/>
                <a:gd name="T91" fmla="*/ 2147483647 h 984"/>
                <a:gd name="T92" fmla="*/ 2147483647 w 1272"/>
                <a:gd name="T93" fmla="*/ 2147483647 h 984"/>
                <a:gd name="T94" fmla="*/ 2147483647 w 1272"/>
                <a:gd name="T95" fmla="*/ 2147483647 h 984"/>
                <a:gd name="T96" fmla="*/ 2147483647 w 1272"/>
                <a:gd name="T97" fmla="*/ 2147483647 h 984"/>
                <a:gd name="T98" fmla="*/ 2147483647 w 1272"/>
                <a:gd name="T99" fmla="*/ 2147483647 h 984"/>
                <a:gd name="T100" fmla="*/ 2147483647 w 1272"/>
                <a:gd name="T101" fmla="*/ 2147483647 h 984"/>
                <a:gd name="T102" fmla="*/ 2147483647 w 1272"/>
                <a:gd name="T103" fmla="*/ 2147483647 h 984"/>
                <a:gd name="T104" fmla="*/ 2147483647 w 1272"/>
                <a:gd name="T105" fmla="*/ 2147483647 h 984"/>
                <a:gd name="T106" fmla="*/ 2147483647 w 1272"/>
                <a:gd name="T107" fmla="*/ 2147483647 h 984"/>
                <a:gd name="T108" fmla="*/ 2147483647 w 1272"/>
                <a:gd name="T109" fmla="*/ 2147483647 h 984"/>
                <a:gd name="T110" fmla="*/ 2147483647 w 1272"/>
                <a:gd name="T111" fmla="*/ 2147483647 h 984"/>
                <a:gd name="T112" fmla="*/ 2147483647 w 1272"/>
                <a:gd name="T113" fmla="*/ 2147483647 h 984"/>
                <a:gd name="T114" fmla="*/ 2147483647 w 1272"/>
                <a:gd name="T115" fmla="*/ 2147483647 h 984"/>
                <a:gd name="T116" fmla="*/ 2147483647 w 1272"/>
                <a:gd name="T117" fmla="*/ 2147483647 h 984"/>
                <a:gd name="T118" fmla="*/ 2147483647 w 1272"/>
                <a:gd name="T119" fmla="*/ 2147483647 h 984"/>
                <a:gd name="T120" fmla="*/ 2147483647 w 1272"/>
                <a:gd name="T121" fmla="*/ 2147483647 h 98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72"/>
                <a:gd name="T184" fmla="*/ 0 h 984"/>
                <a:gd name="T185" fmla="*/ 1272 w 1272"/>
                <a:gd name="T186" fmla="*/ 984 h 98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72" h="984">
                  <a:moveTo>
                    <a:pt x="750" y="564"/>
                  </a:moveTo>
                  <a:lnTo>
                    <a:pt x="738" y="564"/>
                  </a:lnTo>
                  <a:lnTo>
                    <a:pt x="744" y="528"/>
                  </a:lnTo>
                  <a:lnTo>
                    <a:pt x="720" y="546"/>
                  </a:lnTo>
                  <a:lnTo>
                    <a:pt x="726" y="540"/>
                  </a:lnTo>
                  <a:lnTo>
                    <a:pt x="726" y="504"/>
                  </a:lnTo>
                  <a:lnTo>
                    <a:pt x="708" y="504"/>
                  </a:lnTo>
                  <a:lnTo>
                    <a:pt x="702" y="510"/>
                  </a:lnTo>
                  <a:lnTo>
                    <a:pt x="696" y="522"/>
                  </a:lnTo>
                  <a:lnTo>
                    <a:pt x="690" y="528"/>
                  </a:lnTo>
                  <a:lnTo>
                    <a:pt x="672" y="540"/>
                  </a:lnTo>
                  <a:lnTo>
                    <a:pt x="660" y="546"/>
                  </a:lnTo>
                  <a:lnTo>
                    <a:pt x="654" y="558"/>
                  </a:lnTo>
                  <a:lnTo>
                    <a:pt x="642" y="570"/>
                  </a:lnTo>
                  <a:lnTo>
                    <a:pt x="630" y="576"/>
                  </a:lnTo>
                  <a:lnTo>
                    <a:pt x="618" y="588"/>
                  </a:lnTo>
                  <a:lnTo>
                    <a:pt x="606" y="588"/>
                  </a:lnTo>
                  <a:lnTo>
                    <a:pt x="588" y="600"/>
                  </a:lnTo>
                  <a:lnTo>
                    <a:pt x="576" y="606"/>
                  </a:lnTo>
                  <a:lnTo>
                    <a:pt x="546" y="636"/>
                  </a:lnTo>
                  <a:lnTo>
                    <a:pt x="540" y="648"/>
                  </a:lnTo>
                  <a:lnTo>
                    <a:pt x="534" y="648"/>
                  </a:lnTo>
                  <a:lnTo>
                    <a:pt x="528" y="654"/>
                  </a:lnTo>
                  <a:lnTo>
                    <a:pt x="510" y="660"/>
                  </a:lnTo>
                  <a:lnTo>
                    <a:pt x="498" y="666"/>
                  </a:lnTo>
                  <a:lnTo>
                    <a:pt x="462" y="678"/>
                  </a:lnTo>
                  <a:lnTo>
                    <a:pt x="438" y="690"/>
                  </a:lnTo>
                  <a:lnTo>
                    <a:pt x="426" y="702"/>
                  </a:lnTo>
                  <a:lnTo>
                    <a:pt x="414" y="708"/>
                  </a:lnTo>
                  <a:lnTo>
                    <a:pt x="408" y="720"/>
                  </a:lnTo>
                  <a:lnTo>
                    <a:pt x="396" y="726"/>
                  </a:lnTo>
                  <a:lnTo>
                    <a:pt x="378" y="726"/>
                  </a:lnTo>
                  <a:lnTo>
                    <a:pt x="366" y="732"/>
                  </a:lnTo>
                  <a:lnTo>
                    <a:pt x="312" y="750"/>
                  </a:lnTo>
                  <a:lnTo>
                    <a:pt x="288" y="762"/>
                  </a:lnTo>
                  <a:lnTo>
                    <a:pt x="270" y="774"/>
                  </a:lnTo>
                  <a:lnTo>
                    <a:pt x="246" y="786"/>
                  </a:lnTo>
                  <a:lnTo>
                    <a:pt x="222" y="792"/>
                  </a:lnTo>
                  <a:lnTo>
                    <a:pt x="198" y="804"/>
                  </a:lnTo>
                  <a:lnTo>
                    <a:pt x="180" y="810"/>
                  </a:lnTo>
                  <a:lnTo>
                    <a:pt x="174" y="816"/>
                  </a:lnTo>
                  <a:lnTo>
                    <a:pt x="168" y="828"/>
                  </a:lnTo>
                  <a:lnTo>
                    <a:pt x="168" y="846"/>
                  </a:lnTo>
                  <a:lnTo>
                    <a:pt x="156" y="834"/>
                  </a:lnTo>
                  <a:lnTo>
                    <a:pt x="150" y="834"/>
                  </a:lnTo>
                  <a:lnTo>
                    <a:pt x="144" y="840"/>
                  </a:lnTo>
                  <a:lnTo>
                    <a:pt x="120" y="852"/>
                  </a:lnTo>
                  <a:lnTo>
                    <a:pt x="108" y="864"/>
                  </a:lnTo>
                  <a:lnTo>
                    <a:pt x="72" y="882"/>
                  </a:lnTo>
                  <a:lnTo>
                    <a:pt x="66" y="882"/>
                  </a:lnTo>
                  <a:lnTo>
                    <a:pt x="54" y="888"/>
                  </a:lnTo>
                  <a:lnTo>
                    <a:pt x="36" y="888"/>
                  </a:lnTo>
                  <a:lnTo>
                    <a:pt x="18" y="894"/>
                  </a:lnTo>
                  <a:lnTo>
                    <a:pt x="12" y="906"/>
                  </a:lnTo>
                  <a:lnTo>
                    <a:pt x="0" y="912"/>
                  </a:lnTo>
                  <a:lnTo>
                    <a:pt x="18" y="912"/>
                  </a:lnTo>
                  <a:lnTo>
                    <a:pt x="24" y="918"/>
                  </a:lnTo>
                  <a:lnTo>
                    <a:pt x="30" y="918"/>
                  </a:lnTo>
                  <a:lnTo>
                    <a:pt x="24" y="924"/>
                  </a:lnTo>
                  <a:lnTo>
                    <a:pt x="24" y="942"/>
                  </a:lnTo>
                  <a:lnTo>
                    <a:pt x="30" y="948"/>
                  </a:lnTo>
                  <a:lnTo>
                    <a:pt x="42" y="948"/>
                  </a:lnTo>
                  <a:lnTo>
                    <a:pt x="54" y="942"/>
                  </a:lnTo>
                  <a:lnTo>
                    <a:pt x="60" y="936"/>
                  </a:lnTo>
                  <a:lnTo>
                    <a:pt x="72" y="948"/>
                  </a:lnTo>
                  <a:lnTo>
                    <a:pt x="96" y="948"/>
                  </a:lnTo>
                  <a:lnTo>
                    <a:pt x="102" y="954"/>
                  </a:lnTo>
                  <a:lnTo>
                    <a:pt x="132" y="954"/>
                  </a:lnTo>
                  <a:lnTo>
                    <a:pt x="150" y="972"/>
                  </a:lnTo>
                  <a:lnTo>
                    <a:pt x="180" y="966"/>
                  </a:lnTo>
                  <a:lnTo>
                    <a:pt x="192" y="972"/>
                  </a:lnTo>
                  <a:lnTo>
                    <a:pt x="198" y="978"/>
                  </a:lnTo>
                  <a:lnTo>
                    <a:pt x="216" y="984"/>
                  </a:lnTo>
                  <a:lnTo>
                    <a:pt x="228" y="984"/>
                  </a:lnTo>
                  <a:lnTo>
                    <a:pt x="252" y="972"/>
                  </a:lnTo>
                  <a:lnTo>
                    <a:pt x="264" y="948"/>
                  </a:lnTo>
                  <a:lnTo>
                    <a:pt x="288" y="936"/>
                  </a:lnTo>
                  <a:lnTo>
                    <a:pt x="312" y="936"/>
                  </a:lnTo>
                  <a:lnTo>
                    <a:pt x="336" y="924"/>
                  </a:lnTo>
                  <a:lnTo>
                    <a:pt x="342" y="912"/>
                  </a:lnTo>
                  <a:lnTo>
                    <a:pt x="342" y="894"/>
                  </a:lnTo>
                  <a:lnTo>
                    <a:pt x="348" y="882"/>
                  </a:lnTo>
                  <a:lnTo>
                    <a:pt x="372" y="870"/>
                  </a:lnTo>
                  <a:lnTo>
                    <a:pt x="396" y="870"/>
                  </a:lnTo>
                  <a:lnTo>
                    <a:pt x="408" y="858"/>
                  </a:lnTo>
                  <a:lnTo>
                    <a:pt x="408" y="846"/>
                  </a:lnTo>
                  <a:lnTo>
                    <a:pt x="402" y="840"/>
                  </a:lnTo>
                  <a:lnTo>
                    <a:pt x="420" y="840"/>
                  </a:lnTo>
                  <a:lnTo>
                    <a:pt x="480" y="792"/>
                  </a:lnTo>
                  <a:lnTo>
                    <a:pt x="462" y="774"/>
                  </a:lnTo>
                  <a:lnTo>
                    <a:pt x="504" y="792"/>
                  </a:lnTo>
                  <a:lnTo>
                    <a:pt x="504" y="774"/>
                  </a:lnTo>
                  <a:lnTo>
                    <a:pt x="510" y="768"/>
                  </a:lnTo>
                  <a:lnTo>
                    <a:pt x="540" y="768"/>
                  </a:lnTo>
                  <a:lnTo>
                    <a:pt x="546" y="774"/>
                  </a:lnTo>
                  <a:lnTo>
                    <a:pt x="558" y="780"/>
                  </a:lnTo>
                  <a:lnTo>
                    <a:pt x="570" y="780"/>
                  </a:lnTo>
                  <a:lnTo>
                    <a:pt x="576" y="774"/>
                  </a:lnTo>
                  <a:lnTo>
                    <a:pt x="576" y="768"/>
                  </a:lnTo>
                  <a:lnTo>
                    <a:pt x="582" y="762"/>
                  </a:lnTo>
                  <a:lnTo>
                    <a:pt x="582" y="756"/>
                  </a:lnTo>
                  <a:lnTo>
                    <a:pt x="570" y="744"/>
                  </a:lnTo>
                  <a:lnTo>
                    <a:pt x="612" y="702"/>
                  </a:lnTo>
                  <a:lnTo>
                    <a:pt x="618" y="702"/>
                  </a:lnTo>
                  <a:lnTo>
                    <a:pt x="624" y="696"/>
                  </a:lnTo>
                  <a:lnTo>
                    <a:pt x="660" y="678"/>
                  </a:lnTo>
                  <a:lnTo>
                    <a:pt x="666" y="666"/>
                  </a:lnTo>
                  <a:lnTo>
                    <a:pt x="672" y="660"/>
                  </a:lnTo>
                  <a:lnTo>
                    <a:pt x="672" y="654"/>
                  </a:lnTo>
                  <a:lnTo>
                    <a:pt x="696" y="654"/>
                  </a:lnTo>
                  <a:lnTo>
                    <a:pt x="708" y="648"/>
                  </a:lnTo>
                  <a:lnTo>
                    <a:pt x="738" y="618"/>
                  </a:lnTo>
                  <a:lnTo>
                    <a:pt x="738" y="612"/>
                  </a:lnTo>
                  <a:lnTo>
                    <a:pt x="744" y="612"/>
                  </a:lnTo>
                  <a:lnTo>
                    <a:pt x="750" y="606"/>
                  </a:lnTo>
                  <a:lnTo>
                    <a:pt x="768" y="594"/>
                  </a:lnTo>
                  <a:lnTo>
                    <a:pt x="780" y="582"/>
                  </a:lnTo>
                  <a:lnTo>
                    <a:pt x="786" y="570"/>
                  </a:lnTo>
                  <a:lnTo>
                    <a:pt x="786" y="546"/>
                  </a:lnTo>
                  <a:lnTo>
                    <a:pt x="780" y="540"/>
                  </a:lnTo>
                  <a:lnTo>
                    <a:pt x="780" y="534"/>
                  </a:lnTo>
                  <a:lnTo>
                    <a:pt x="750" y="564"/>
                  </a:lnTo>
                  <a:close/>
                  <a:moveTo>
                    <a:pt x="1224" y="324"/>
                  </a:moveTo>
                  <a:lnTo>
                    <a:pt x="1236" y="318"/>
                  </a:lnTo>
                  <a:lnTo>
                    <a:pt x="1242" y="318"/>
                  </a:lnTo>
                  <a:lnTo>
                    <a:pt x="1266" y="306"/>
                  </a:lnTo>
                  <a:lnTo>
                    <a:pt x="1272" y="300"/>
                  </a:lnTo>
                  <a:lnTo>
                    <a:pt x="1272" y="282"/>
                  </a:lnTo>
                  <a:lnTo>
                    <a:pt x="1266" y="270"/>
                  </a:lnTo>
                  <a:lnTo>
                    <a:pt x="1260" y="264"/>
                  </a:lnTo>
                  <a:lnTo>
                    <a:pt x="1248" y="264"/>
                  </a:lnTo>
                  <a:lnTo>
                    <a:pt x="1236" y="276"/>
                  </a:lnTo>
                  <a:lnTo>
                    <a:pt x="1236" y="282"/>
                  </a:lnTo>
                  <a:lnTo>
                    <a:pt x="1224" y="282"/>
                  </a:lnTo>
                  <a:lnTo>
                    <a:pt x="1212" y="276"/>
                  </a:lnTo>
                  <a:lnTo>
                    <a:pt x="1200" y="276"/>
                  </a:lnTo>
                  <a:lnTo>
                    <a:pt x="1194" y="282"/>
                  </a:lnTo>
                  <a:lnTo>
                    <a:pt x="1176" y="288"/>
                  </a:lnTo>
                  <a:lnTo>
                    <a:pt x="1158" y="288"/>
                  </a:lnTo>
                  <a:lnTo>
                    <a:pt x="1146" y="276"/>
                  </a:lnTo>
                  <a:lnTo>
                    <a:pt x="1146" y="222"/>
                  </a:lnTo>
                  <a:lnTo>
                    <a:pt x="1170" y="180"/>
                  </a:lnTo>
                  <a:lnTo>
                    <a:pt x="1170" y="174"/>
                  </a:lnTo>
                  <a:lnTo>
                    <a:pt x="1164" y="162"/>
                  </a:lnTo>
                  <a:lnTo>
                    <a:pt x="1158" y="156"/>
                  </a:lnTo>
                  <a:lnTo>
                    <a:pt x="1146" y="156"/>
                  </a:lnTo>
                  <a:lnTo>
                    <a:pt x="1140" y="168"/>
                  </a:lnTo>
                  <a:lnTo>
                    <a:pt x="1134" y="174"/>
                  </a:lnTo>
                  <a:lnTo>
                    <a:pt x="1134" y="204"/>
                  </a:lnTo>
                  <a:lnTo>
                    <a:pt x="1128" y="216"/>
                  </a:lnTo>
                  <a:lnTo>
                    <a:pt x="1116" y="222"/>
                  </a:lnTo>
                  <a:lnTo>
                    <a:pt x="1116" y="192"/>
                  </a:lnTo>
                  <a:lnTo>
                    <a:pt x="1092" y="174"/>
                  </a:lnTo>
                  <a:lnTo>
                    <a:pt x="1104" y="150"/>
                  </a:lnTo>
                  <a:lnTo>
                    <a:pt x="1116" y="138"/>
                  </a:lnTo>
                  <a:lnTo>
                    <a:pt x="1122" y="126"/>
                  </a:lnTo>
                  <a:lnTo>
                    <a:pt x="1128" y="108"/>
                  </a:lnTo>
                  <a:lnTo>
                    <a:pt x="1128" y="84"/>
                  </a:lnTo>
                  <a:lnTo>
                    <a:pt x="1116" y="78"/>
                  </a:lnTo>
                  <a:lnTo>
                    <a:pt x="1110" y="72"/>
                  </a:lnTo>
                  <a:lnTo>
                    <a:pt x="1098" y="66"/>
                  </a:lnTo>
                  <a:lnTo>
                    <a:pt x="1092" y="60"/>
                  </a:lnTo>
                  <a:lnTo>
                    <a:pt x="1080" y="60"/>
                  </a:lnTo>
                  <a:lnTo>
                    <a:pt x="1086" y="42"/>
                  </a:lnTo>
                  <a:lnTo>
                    <a:pt x="1062" y="42"/>
                  </a:lnTo>
                  <a:lnTo>
                    <a:pt x="1044" y="18"/>
                  </a:lnTo>
                  <a:lnTo>
                    <a:pt x="1050" y="0"/>
                  </a:lnTo>
                  <a:lnTo>
                    <a:pt x="1020" y="18"/>
                  </a:lnTo>
                  <a:lnTo>
                    <a:pt x="1044" y="54"/>
                  </a:lnTo>
                  <a:lnTo>
                    <a:pt x="1032" y="90"/>
                  </a:lnTo>
                  <a:lnTo>
                    <a:pt x="1056" y="102"/>
                  </a:lnTo>
                  <a:lnTo>
                    <a:pt x="1044" y="108"/>
                  </a:lnTo>
                  <a:lnTo>
                    <a:pt x="1044" y="126"/>
                  </a:lnTo>
                  <a:lnTo>
                    <a:pt x="1068" y="132"/>
                  </a:lnTo>
                  <a:lnTo>
                    <a:pt x="1044" y="150"/>
                  </a:lnTo>
                  <a:lnTo>
                    <a:pt x="1062" y="156"/>
                  </a:lnTo>
                  <a:lnTo>
                    <a:pt x="1062" y="168"/>
                  </a:lnTo>
                  <a:lnTo>
                    <a:pt x="1056" y="174"/>
                  </a:lnTo>
                  <a:lnTo>
                    <a:pt x="1056" y="192"/>
                  </a:lnTo>
                  <a:lnTo>
                    <a:pt x="1068" y="198"/>
                  </a:lnTo>
                  <a:lnTo>
                    <a:pt x="1074" y="204"/>
                  </a:lnTo>
                  <a:lnTo>
                    <a:pt x="1056" y="210"/>
                  </a:lnTo>
                  <a:lnTo>
                    <a:pt x="1044" y="222"/>
                  </a:lnTo>
                  <a:lnTo>
                    <a:pt x="1062" y="234"/>
                  </a:lnTo>
                  <a:lnTo>
                    <a:pt x="1038" y="258"/>
                  </a:lnTo>
                  <a:lnTo>
                    <a:pt x="1032" y="270"/>
                  </a:lnTo>
                  <a:lnTo>
                    <a:pt x="1026" y="276"/>
                  </a:lnTo>
                  <a:lnTo>
                    <a:pt x="1026" y="288"/>
                  </a:lnTo>
                  <a:lnTo>
                    <a:pt x="1038" y="300"/>
                  </a:lnTo>
                  <a:lnTo>
                    <a:pt x="1026" y="300"/>
                  </a:lnTo>
                  <a:lnTo>
                    <a:pt x="1014" y="306"/>
                  </a:lnTo>
                  <a:lnTo>
                    <a:pt x="1002" y="306"/>
                  </a:lnTo>
                  <a:lnTo>
                    <a:pt x="978" y="318"/>
                  </a:lnTo>
                  <a:lnTo>
                    <a:pt x="948" y="348"/>
                  </a:lnTo>
                  <a:lnTo>
                    <a:pt x="930" y="360"/>
                  </a:lnTo>
                  <a:lnTo>
                    <a:pt x="894" y="372"/>
                  </a:lnTo>
                  <a:lnTo>
                    <a:pt x="870" y="384"/>
                  </a:lnTo>
                  <a:lnTo>
                    <a:pt x="858" y="396"/>
                  </a:lnTo>
                  <a:lnTo>
                    <a:pt x="858" y="432"/>
                  </a:lnTo>
                  <a:lnTo>
                    <a:pt x="864" y="444"/>
                  </a:lnTo>
                  <a:lnTo>
                    <a:pt x="870" y="450"/>
                  </a:lnTo>
                  <a:lnTo>
                    <a:pt x="870" y="456"/>
                  </a:lnTo>
                  <a:lnTo>
                    <a:pt x="924" y="456"/>
                  </a:lnTo>
                  <a:lnTo>
                    <a:pt x="924" y="474"/>
                  </a:lnTo>
                  <a:lnTo>
                    <a:pt x="918" y="486"/>
                  </a:lnTo>
                  <a:lnTo>
                    <a:pt x="918" y="522"/>
                  </a:lnTo>
                  <a:lnTo>
                    <a:pt x="894" y="534"/>
                  </a:lnTo>
                  <a:lnTo>
                    <a:pt x="882" y="534"/>
                  </a:lnTo>
                  <a:lnTo>
                    <a:pt x="864" y="540"/>
                  </a:lnTo>
                  <a:lnTo>
                    <a:pt x="852" y="546"/>
                  </a:lnTo>
                  <a:lnTo>
                    <a:pt x="852" y="558"/>
                  </a:lnTo>
                  <a:lnTo>
                    <a:pt x="840" y="570"/>
                  </a:lnTo>
                  <a:lnTo>
                    <a:pt x="852" y="576"/>
                  </a:lnTo>
                  <a:lnTo>
                    <a:pt x="858" y="582"/>
                  </a:lnTo>
                  <a:lnTo>
                    <a:pt x="876" y="588"/>
                  </a:lnTo>
                  <a:lnTo>
                    <a:pt x="888" y="588"/>
                  </a:lnTo>
                  <a:lnTo>
                    <a:pt x="912" y="576"/>
                  </a:lnTo>
                  <a:lnTo>
                    <a:pt x="924" y="558"/>
                  </a:lnTo>
                  <a:lnTo>
                    <a:pt x="972" y="510"/>
                  </a:lnTo>
                  <a:lnTo>
                    <a:pt x="996" y="498"/>
                  </a:lnTo>
                  <a:lnTo>
                    <a:pt x="1014" y="492"/>
                  </a:lnTo>
                  <a:lnTo>
                    <a:pt x="1026" y="486"/>
                  </a:lnTo>
                  <a:lnTo>
                    <a:pt x="1032" y="480"/>
                  </a:lnTo>
                  <a:lnTo>
                    <a:pt x="1038" y="480"/>
                  </a:lnTo>
                  <a:lnTo>
                    <a:pt x="1044" y="474"/>
                  </a:lnTo>
                  <a:lnTo>
                    <a:pt x="1050" y="462"/>
                  </a:lnTo>
                  <a:lnTo>
                    <a:pt x="1056" y="462"/>
                  </a:lnTo>
                  <a:lnTo>
                    <a:pt x="1062" y="456"/>
                  </a:lnTo>
                  <a:lnTo>
                    <a:pt x="1074" y="450"/>
                  </a:lnTo>
                  <a:lnTo>
                    <a:pt x="1080" y="444"/>
                  </a:lnTo>
                  <a:lnTo>
                    <a:pt x="1080" y="420"/>
                  </a:lnTo>
                  <a:lnTo>
                    <a:pt x="1074" y="414"/>
                  </a:lnTo>
                  <a:lnTo>
                    <a:pt x="1080" y="414"/>
                  </a:lnTo>
                  <a:lnTo>
                    <a:pt x="1086" y="408"/>
                  </a:lnTo>
                  <a:lnTo>
                    <a:pt x="1110" y="396"/>
                  </a:lnTo>
                  <a:lnTo>
                    <a:pt x="1140" y="396"/>
                  </a:lnTo>
                  <a:lnTo>
                    <a:pt x="1152" y="402"/>
                  </a:lnTo>
                  <a:lnTo>
                    <a:pt x="1164" y="402"/>
                  </a:lnTo>
                  <a:lnTo>
                    <a:pt x="1176" y="390"/>
                  </a:lnTo>
                  <a:lnTo>
                    <a:pt x="1176" y="360"/>
                  </a:lnTo>
                  <a:lnTo>
                    <a:pt x="1200" y="360"/>
                  </a:lnTo>
                  <a:lnTo>
                    <a:pt x="1212" y="354"/>
                  </a:lnTo>
                  <a:lnTo>
                    <a:pt x="1218" y="354"/>
                  </a:lnTo>
                  <a:lnTo>
                    <a:pt x="1224" y="348"/>
                  </a:lnTo>
                  <a:lnTo>
                    <a:pt x="1224" y="324"/>
                  </a:lnTo>
                  <a:close/>
                </a:path>
              </a:pathLst>
            </a:custGeom>
            <a:grp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31" name="Newfoundland" descr="© INSCALE GmbH, 05.05.2010&#10;http://www.presentationload.com/">
              <a:extLst>
                <a:ext uri="{FF2B5EF4-FFF2-40B4-BE49-F238E27FC236}">
                  <a16:creationId xmlns:a16="http://schemas.microsoft.com/office/drawing/2014/main" id="{5FA15718-3F65-A8FC-828A-A6C722A43562}"/>
                </a:ext>
              </a:extLst>
            </p:cNvPr>
            <p:cNvSpPr>
              <a:spLocks/>
            </p:cNvSpPr>
            <p:nvPr/>
          </p:nvSpPr>
          <p:spPr bwMode="gray">
            <a:xfrm>
              <a:off x="2855303" y="1653087"/>
              <a:ext cx="161579" cy="145273"/>
            </a:xfrm>
            <a:custGeom>
              <a:avLst/>
              <a:gdLst>
                <a:gd name="T0" fmla="*/ 2147483647 w 426"/>
                <a:gd name="T1" fmla="*/ 2147483647 h 384"/>
                <a:gd name="T2" fmla="*/ 2147483647 w 426"/>
                <a:gd name="T3" fmla="*/ 2147483647 h 384"/>
                <a:gd name="T4" fmla="*/ 2147483647 w 426"/>
                <a:gd name="T5" fmla="*/ 0 h 384"/>
                <a:gd name="T6" fmla="*/ 2147483647 w 426"/>
                <a:gd name="T7" fmla="*/ 2147483647 h 384"/>
                <a:gd name="T8" fmla="*/ 2147483647 w 426"/>
                <a:gd name="T9" fmla="*/ 2147483647 h 384"/>
                <a:gd name="T10" fmla="*/ 2147483647 w 426"/>
                <a:gd name="T11" fmla="*/ 2147483647 h 384"/>
                <a:gd name="T12" fmla="*/ 2147483647 w 426"/>
                <a:gd name="T13" fmla="*/ 2147483647 h 384"/>
                <a:gd name="T14" fmla="*/ 2147483647 w 426"/>
                <a:gd name="T15" fmla="*/ 2147483647 h 384"/>
                <a:gd name="T16" fmla="*/ 2147483647 w 426"/>
                <a:gd name="T17" fmla="*/ 2147483647 h 384"/>
                <a:gd name="T18" fmla="*/ 2147483647 w 426"/>
                <a:gd name="T19" fmla="*/ 2147483647 h 384"/>
                <a:gd name="T20" fmla="*/ 2147483647 w 426"/>
                <a:gd name="T21" fmla="*/ 2147483647 h 384"/>
                <a:gd name="T22" fmla="*/ 2147483647 w 426"/>
                <a:gd name="T23" fmla="*/ 2147483647 h 384"/>
                <a:gd name="T24" fmla="*/ 2147483647 w 426"/>
                <a:gd name="T25" fmla="*/ 2147483647 h 384"/>
                <a:gd name="T26" fmla="*/ 2147483647 w 426"/>
                <a:gd name="T27" fmla="*/ 2147483647 h 384"/>
                <a:gd name="T28" fmla="*/ 2147483647 w 426"/>
                <a:gd name="T29" fmla="*/ 2147483647 h 384"/>
                <a:gd name="T30" fmla="*/ 2147483647 w 426"/>
                <a:gd name="T31" fmla="*/ 2147483647 h 384"/>
                <a:gd name="T32" fmla="*/ 2147483647 w 426"/>
                <a:gd name="T33" fmla="*/ 2147483647 h 384"/>
                <a:gd name="T34" fmla="*/ 2147483647 w 426"/>
                <a:gd name="T35" fmla="*/ 2147483647 h 384"/>
                <a:gd name="T36" fmla="*/ 2147483647 w 426"/>
                <a:gd name="T37" fmla="*/ 2147483647 h 384"/>
                <a:gd name="T38" fmla="*/ 2147483647 w 426"/>
                <a:gd name="T39" fmla="*/ 2147483647 h 384"/>
                <a:gd name="T40" fmla="*/ 2147483647 w 426"/>
                <a:gd name="T41" fmla="*/ 2147483647 h 384"/>
                <a:gd name="T42" fmla="*/ 2147483647 w 426"/>
                <a:gd name="T43" fmla="*/ 2147483647 h 384"/>
                <a:gd name="T44" fmla="*/ 2147483647 w 426"/>
                <a:gd name="T45" fmla="*/ 2147483647 h 384"/>
                <a:gd name="T46" fmla="*/ 2147483647 w 426"/>
                <a:gd name="T47" fmla="*/ 2147483647 h 384"/>
                <a:gd name="T48" fmla="*/ 2147483647 w 426"/>
                <a:gd name="T49" fmla="*/ 2147483647 h 384"/>
                <a:gd name="T50" fmla="*/ 2147483647 w 426"/>
                <a:gd name="T51" fmla="*/ 2147483647 h 384"/>
                <a:gd name="T52" fmla="*/ 2147483647 w 426"/>
                <a:gd name="T53" fmla="*/ 2147483647 h 384"/>
                <a:gd name="T54" fmla="*/ 2147483647 w 426"/>
                <a:gd name="T55" fmla="*/ 2147483647 h 384"/>
                <a:gd name="T56" fmla="*/ 2147483647 w 426"/>
                <a:gd name="T57" fmla="*/ 2147483647 h 384"/>
                <a:gd name="T58" fmla="*/ 2147483647 w 426"/>
                <a:gd name="T59" fmla="*/ 2147483647 h 384"/>
                <a:gd name="T60" fmla="*/ 2147483647 w 426"/>
                <a:gd name="T61" fmla="*/ 2147483647 h 384"/>
                <a:gd name="T62" fmla="*/ 2147483647 w 426"/>
                <a:gd name="T63" fmla="*/ 2147483647 h 384"/>
                <a:gd name="T64" fmla="*/ 2147483647 w 426"/>
                <a:gd name="T65" fmla="*/ 2147483647 h 384"/>
                <a:gd name="T66" fmla="*/ 2147483647 w 426"/>
                <a:gd name="T67" fmla="*/ 2147483647 h 384"/>
                <a:gd name="T68" fmla="*/ 2147483647 w 426"/>
                <a:gd name="T69" fmla="*/ 2147483647 h 384"/>
                <a:gd name="T70" fmla="*/ 2147483647 w 426"/>
                <a:gd name="T71" fmla="*/ 2147483647 h 384"/>
                <a:gd name="T72" fmla="*/ 2147483647 w 426"/>
                <a:gd name="T73" fmla="*/ 2147483647 h 384"/>
                <a:gd name="T74" fmla="*/ 2147483647 w 426"/>
                <a:gd name="T75" fmla="*/ 2147483647 h 384"/>
                <a:gd name="T76" fmla="*/ 2147483647 w 426"/>
                <a:gd name="T77" fmla="*/ 2147483647 h 384"/>
                <a:gd name="T78" fmla="*/ 2147483647 w 426"/>
                <a:gd name="T79" fmla="*/ 2147483647 h 384"/>
                <a:gd name="T80" fmla="*/ 2147483647 w 426"/>
                <a:gd name="T81" fmla="*/ 2147483647 h 384"/>
                <a:gd name="T82" fmla="*/ 2147483647 w 426"/>
                <a:gd name="T83" fmla="*/ 2147483647 h 38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26"/>
                <a:gd name="T127" fmla="*/ 0 h 384"/>
                <a:gd name="T128" fmla="*/ 426 w 426"/>
                <a:gd name="T129" fmla="*/ 384 h 38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26" h="384">
                  <a:moveTo>
                    <a:pt x="258" y="18"/>
                  </a:moveTo>
                  <a:lnTo>
                    <a:pt x="270" y="12"/>
                  </a:lnTo>
                  <a:lnTo>
                    <a:pt x="276" y="12"/>
                  </a:lnTo>
                  <a:lnTo>
                    <a:pt x="294" y="6"/>
                  </a:lnTo>
                  <a:lnTo>
                    <a:pt x="306" y="0"/>
                  </a:lnTo>
                  <a:lnTo>
                    <a:pt x="330" y="0"/>
                  </a:lnTo>
                  <a:lnTo>
                    <a:pt x="342" y="6"/>
                  </a:lnTo>
                  <a:lnTo>
                    <a:pt x="342" y="18"/>
                  </a:lnTo>
                  <a:lnTo>
                    <a:pt x="336" y="24"/>
                  </a:lnTo>
                  <a:lnTo>
                    <a:pt x="312" y="42"/>
                  </a:lnTo>
                  <a:lnTo>
                    <a:pt x="312" y="48"/>
                  </a:lnTo>
                  <a:lnTo>
                    <a:pt x="306" y="54"/>
                  </a:lnTo>
                  <a:lnTo>
                    <a:pt x="300" y="72"/>
                  </a:lnTo>
                  <a:lnTo>
                    <a:pt x="276" y="96"/>
                  </a:lnTo>
                  <a:lnTo>
                    <a:pt x="258" y="102"/>
                  </a:lnTo>
                  <a:lnTo>
                    <a:pt x="246" y="102"/>
                  </a:lnTo>
                  <a:lnTo>
                    <a:pt x="210" y="150"/>
                  </a:lnTo>
                  <a:lnTo>
                    <a:pt x="210" y="174"/>
                  </a:lnTo>
                  <a:lnTo>
                    <a:pt x="234" y="156"/>
                  </a:lnTo>
                  <a:lnTo>
                    <a:pt x="264" y="108"/>
                  </a:lnTo>
                  <a:lnTo>
                    <a:pt x="282" y="126"/>
                  </a:lnTo>
                  <a:lnTo>
                    <a:pt x="306" y="138"/>
                  </a:lnTo>
                  <a:lnTo>
                    <a:pt x="294" y="168"/>
                  </a:lnTo>
                  <a:lnTo>
                    <a:pt x="324" y="168"/>
                  </a:lnTo>
                  <a:lnTo>
                    <a:pt x="330" y="192"/>
                  </a:lnTo>
                  <a:lnTo>
                    <a:pt x="384" y="162"/>
                  </a:lnTo>
                  <a:lnTo>
                    <a:pt x="402" y="174"/>
                  </a:lnTo>
                  <a:lnTo>
                    <a:pt x="396" y="180"/>
                  </a:lnTo>
                  <a:lnTo>
                    <a:pt x="390" y="192"/>
                  </a:lnTo>
                  <a:lnTo>
                    <a:pt x="378" y="204"/>
                  </a:lnTo>
                  <a:lnTo>
                    <a:pt x="372" y="204"/>
                  </a:lnTo>
                  <a:lnTo>
                    <a:pt x="384" y="204"/>
                  </a:lnTo>
                  <a:lnTo>
                    <a:pt x="396" y="210"/>
                  </a:lnTo>
                  <a:lnTo>
                    <a:pt x="408" y="210"/>
                  </a:lnTo>
                  <a:lnTo>
                    <a:pt x="408" y="216"/>
                  </a:lnTo>
                  <a:lnTo>
                    <a:pt x="396" y="240"/>
                  </a:lnTo>
                  <a:lnTo>
                    <a:pt x="384" y="252"/>
                  </a:lnTo>
                  <a:lnTo>
                    <a:pt x="378" y="264"/>
                  </a:lnTo>
                  <a:lnTo>
                    <a:pt x="366" y="276"/>
                  </a:lnTo>
                  <a:lnTo>
                    <a:pt x="360" y="288"/>
                  </a:lnTo>
                  <a:lnTo>
                    <a:pt x="354" y="294"/>
                  </a:lnTo>
                  <a:lnTo>
                    <a:pt x="390" y="294"/>
                  </a:lnTo>
                  <a:lnTo>
                    <a:pt x="354" y="312"/>
                  </a:lnTo>
                  <a:lnTo>
                    <a:pt x="384" y="312"/>
                  </a:lnTo>
                  <a:lnTo>
                    <a:pt x="420" y="300"/>
                  </a:lnTo>
                  <a:lnTo>
                    <a:pt x="426" y="324"/>
                  </a:lnTo>
                  <a:lnTo>
                    <a:pt x="360" y="384"/>
                  </a:lnTo>
                  <a:lnTo>
                    <a:pt x="318" y="378"/>
                  </a:lnTo>
                  <a:lnTo>
                    <a:pt x="336" y="354"/>
                  </a:lnTo>
                  <a:lnTo>
                    <a:pt x="306" y="360"/>
                  </a:lnTo>
                  <a:lnTo>
                    <a:pt x="300" y="348"/>
                  </a:lnTo>
                  <a:lnTo>
                    <a:pt x="228" y="360"/>
                  </a:lnTo>
                  <a:lnTo>
                    <a:pt x="192" y="354"/>
                  </a:lnTo>
                  <a:lnTo>
                    <a:pt x="186" y="348"/>
                  </a:lnTo>
                  <a:lnTo>
                    <a:pt x="228" y="336"/>
                  </a:lnTo>
                  <a:lnTo>
                    <a:pt x="234" y="330"/>
                  </a:lnTo>
                  <a:lnTo>
                    <a:pt x="234" y="324"/>
                  </a:lnTo>
                  <a:lnTo>
                    <a:pt x="228" y="324"/>
                  </a:lnTo>
                  <a:lnTo>
                    <a:pt x="222" y="318"/>
                  </a:lnTo>
                  <a:lnTo>
                    <a:pt x="198" y="318"/>
                  </a:lnTo>
                  <a:lnTo>
                    <a:pt x="162" y="312"/>
                  </a:lnTo>
                  <a:lnTo>
                    <a:pt x="126" y="300"/>
                  </a:lnTo>
                  <a:lnTo>
                    <a:pt x="96" y="294"/>
                  </a:lnTo>
                  <a:lnTo>
                    <a:pt x="78" y="294"/>
                  </a:lnTo>
                  <a:lnTo>
                    <a:pt x="72" y="300"/>
                  </a:lnTo>
                  <a:lnTo>
                    <a:pt x="48" y="300"/>
                  </a:lnTo>
                  <a:lnTo>
                    <a:pt x="36" y="306"/>
                  </a:lnTo>
                  <a:lnTo>
                    <a:pt x="24" y="306"/>
                  </a:lnTo>
                  <a:lnTo>
                    <a:pt x="12" y="300"/>
                  </a:lnTo>
                  <a:lnTo>
                    <a:pt x="6" y="294"/>
                  </a:lnTo>
                  <a:lnTo>
                    <a:pt x="18" y="282"/>
                  </a:lnTo>
                  <a:lnTo>
                    <a:pt x="24" y="282"/>
                  </a:lnTo>
                  <a:lnTo>
                    <a:pt x="30" y="276"/>
                  </a:lnTo>
                  <a:lnTo>
                    <a:pt x="42" y="276"/>
                  </a:lnTo>
                  <a:lnTo>
                    <a:pt x="30" y="276"/>
                  </a:lnTo>
                  <a:lnTo>
                    <a:pt x="12" y="270"/>
                  </a:lnTo>
                  <a:lnTo>
                    <a:pt x="0" y="258"/>
                  </a:lnTo>
                  <a:lnTo>
                    <a:pt x="6" y="252"/>
                  </a:lnTo>
                  <a:lnTo>
                    <a:pt x="18" y="252"/>
                  </a:lnTo>
                  <a:lnTo>
                    <a:pt x="54" y="234"/>
                  </a:lnTo>
                  <a:lnTo>
                    <a:pt x="60" y="228"/>
                  </a:lnTo>
                  <a:lnTo>
                    <a:pt x="66" y="228"/>
                  </a:lnTo>
                  <a:lnTo>
                    <a:pt x="204" y="90"/>
                  </a:lnTo>
                  <a:lnTo>
                    <a:pt x="258" y="18"/>
                  </a:lnTo>
                  <a:close/>
                </a:path>
              </a:pathLst>
            </a:custGeom>
            <a:grp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32" name="Netherlands" descr="© INSCALE GmbH, 05.05.2010&#10;http://www.presentationload.com/">
              <a:extLst>
                <a:ext uri="{FF2B5EF4-FFF2-40B4-BE49-F238E27FC236}">
                  <a16:creationId xmlns:a16="http://schemas.microsoft.com/office/drawing/2014/main" id="{73CC5CA3-DFEE-8C2E-F52B-C99EF3409C21}"/>
                </a:ext>
              </a:extLst>
            </p:cNvPr>
            <p:cNvSpPr>
              <a:spLocks/>
            </p:cNvSpPr>
            <p:nvPr/>
          </p:nvSpPr>
          <p:spPr bwMode="gray">
            <a:xfrm>
              <a:off x="4340640" y="1595275"/>
              <a:ext cx="102284" cy="80048"/>
            </a:xfrm>
            <a:custGeom>
              <a:avLst/>
              <a:gdLst>
                <a:gd name="T0" fmla="*/ 0 w 270"/>
                <a:gd name="T1" fmla="*/ 2147483647 h 210"/>
                <a:gd name="T2" fmla="*/ 2147483647 w 270"/>
                <a:gd name="T3" fmla="*/ 2147483647 h 210"/>
                <a:gd name="T4" fmla="*/ 2147483647 w 270"/>
                <a:gd name="T5" fmla="*/ 2147483647 h 210"/>
                <a:gd name="T6" fmla="*/ 2147483647 w 270"/>
                <a:gd name="T7" fmla="*/ 2147483647 h 210"/>
                <a:gd name="T8" fmla="*/ 2147483647 w 270"/>
                <a:gd name="T9" fmla="*/ 2147483647 h 210"/>
                <a:gd name="T10" fmla="*/ 2147483647 w 270"/>
                <a:gd name="T11" fmla="*/ 2147483647 h 210"/>
                <a:gd name="T12" fmla="*/ 2147483647 w 270"/>
                <a:gd name="T13" fmla="*/ 2147483647 h 210"/>
                <a:gd name="T14" fmla="*/ 2147483647 w 270"/>
                <a:gd name="T15" fmla="*/ 2147483647 h 210"/>
                <a:gd name="T16" fmla="*/ 2147483647 w 270"/>
                <a:gd name="T17" fmla="*/ 2147483647 h 210"/>
                <a:gd name="T18" fmla="*/ 2147483647 w 270"/>
                <a:gd name="T19" fmla="*/ 2147483647 h 210"/>
                <a:gd name="T20" fmla="*/ 2147483647 w 270"/>
                <a:gd name="T21" fmla="*/ 2147483647 h 210"/>
                <a:gd name="T22" fmla="*/ 2147483647 w 270"/>
                <a:gd name="T23" fmla="*/ 2147483647 h 210"/>
                <a:gd name="T24" fmla="*/ 2147483647 w 270"/>
                <a:gd name="T25" fmla="*/ 2147483647 h 210"/>
                <a:gd name="T26" fmla="*/ 2147483647 w 270"/>
                <a:gd name="T27" fmla="*/ 2147483647 h 210"/>
                <a:gd name="T28" fmla="*/ 2147483647 w 270"/>
                <a:gd name="T29" fmla="*/ 2147483647 h 210"/>
                <a:gd name="T30" fmla="*/ 2147483647 w 270"/>
                <a:gd name="T31" fmla="*/ 2147483647 h 210"/>
                <a:gd name="T32" fmla="*/ 2147483647 w 270"/>
                <a:gd name="T33" fmla="*/ 2147483647 h 210"/>
                <a:gd name="T34" fmla="*/ 2147483647 w 270"/>
                <a:gd name="T35" fmla="*/ 2147483647 h 210"/>
                <a:gd name="T36" fmla="*/ 2147483647 w 270"/>
                <a:gd name="T37" fmla="*/ 2147483647 h 210"/>
                <a:gd name="T38" fmla="*/ 2147483647 w 270"/>
                <a:gd name="T39" fmla="*/ 2147483647 h 210"/>
                <a:gd name="T40" fmla="*/ 2147483647 w 270"/>
                <a:gd name="T41" fmla="*/ 2147483647 h 210"/>
                <a:gd name="T42" fmla="*/ 2147483647 w 270"/>
                <a:gd name="T43" fmla="*/ 2147483647 h 210"/>
                <a:gd name="T44" fmla="*/ 2147483647 w 270"/>
                <a:gd name="T45" fmla="*/ 2147483647 h 210"/>
                <a:gd name="T46" fmla="*/ 2147483647 w 270"/>
                <a:gd name="T47" fmla="*/ 2147483647 h 210"/>
                <a:gd name="T48" fmla="*/ 2147483647 w 270"/>
                <a:gd name="T49" fmla="*/ 2147483647 h 210"/>
                <a:gd name="T50" fmla="*/ 2147483647 w 270"/>
                <a:gd name="T51" fmla="*/ 2147483647 h 210"/>
                <a:gd name="T52" fmla="*/ 2147483647 w 270"/>
                <a:gd name="T53" fmla="*/ 2147483647 h 210"/>
                <a:gd name="T54" fmla="*/ 2147483647 w 270"/>
                <a:gd name="T55" fmla="*/ 2147483647 h 210"/>
                <a:gd name="T56" fmla="*/ 2147483647 w 270"/>
                <a:gd name="T57" fmla="*/ 2147483647 h 210"/>
                <a:gd name="T58" fmla="*/ 2147483647 w 270"/>
                <a:gd name="T59" fmla="*/ 0 h 210"/>
                <a:gd name="T60" fmla="*/ 2147483647 w 270"/>
                <a:gd name="T61" fmla="*/ 2147483647 h 210"/>
                <a:gd name="T62" fmla="*/ 2147483647 w 270"/>
                <a:gd name="T63" fmla="*/ 2147483647 h 210"/>
                <a:gd name="T64" fmla="*/ 2147483647 w 270"/>
                <a:gd name="T65" fmla="*/ 2147483647 h 210"/>
                <a:gd name="T66" fmla="*/ 2147483647 w 270"/>
                <a:gd name="T67" fmla="*/ 2147483647 h 210"/>
                <a:gd name="T68" fmla="*/ 2147483647 w 270"/>
                <a:gd name="T69" fmla="*/ 2147483647 h 210"/>
                <a:gd name="T70" fmla="*/ 2147483647 w 270"/>
                <a:gd name="T71" fmla="*/ 2147483647 h 210"/>
                <a:gd name="T72" fmla="*/ 2147483647 w 270"/>
                <a:gd name="T73" fmla="*/ 2147483647 h 210"/>
                <a:gd name="T74" fmla="*/ 2147483647 w 270"/>
                <a:gd name="T75" fmla="*/ 2147483647 h 210"/>
                <a:gd name="T76" fmla="*/ 2147483647 w 270"/>
                <a:gd name="T77" fmla="*/ 2147483647 h 210"/>
                <a:gd name="T78" fmla="*/ 2147483647 w 270"/>
                <a:gd name="T79" fmla="*/ 2147483647 h 210"/>
                <a:gd name="T80" fmla="*/ 2147483647 w 270"/>
                <a:gd name="T81" fmla="*/ 2147483647 h 210"/>
                <a:gd name="T82" fmla="*/ 2147483647 w 270"/>
                <a:gd name="T83" fmla="*/ 2147483647 h 210"/>
                <a:gd name="T84" fmla="*/ 2147483647 w 270"/>
                <a:gd name="T85" fmla="*/ 2147483647 h 210"/>
                <a:gd name="T86" fmla="*/ 2147483647 w 270"/>
                <a:gd name="T87" fmla="*/ 2147483647 h 210"/>
                <a:gd name="T88" fmla="*/ 2147483647 w 270"/>
                <a:gd name="T89" fmla="*/ 2147483647 h 21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70"/>
                <a:gd name="T136" fmla="*/ 0 h 210"/>
                <a:gd name="T137" fmla="*/ 270 w 270"/>
                <a:gd name="T138" fmla="*/ 210 h 21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70" h="210">
                  <a:moveTo>
                    <a:pt x="18" y="156"/>
                  </a:moveTo>
                  <a:lnTo>
                    <a:pt x="0" y="174"/>
                  </a:lnTo>
                  <a:lnTo>
                    <a:pt x="12" y="162"/>
                  </a:lnTo>
                  <a:lnTo>
                    <a:pt x="24" y="162"/>
                  </a:lnTo>
                  <a:lnTo>
                    <a:pt x="30" y="168"/>
                  </a:lnTo>
                  <a:lnTo>
                    <a:pt x="54" y="168"/>
                  </a:lnTo>
                  <a:lnTo>
                    <a:pt x="60" y="174"/>
                  </a:lnTo>
                  <a:lnTo>
                    <a:pt x="66" y="162"/>
                  </a:lnTo>
                  <a:lnTo>
                    <a:pt x="84" y="168"/>
                  </a:lnTo>
                  <a:lnTo>
                    <a:pt x="84" y="156"/>
                  </a:lnTo>
                  <a:lnTo>
                    <a:pt x="96" y="162"/>
                  </a:lnTo>
                  <a:lnTo>
                    <a:pt x="96" y="156"/>
                  </a:lnTo>
                  <a:lnTo>
                    <a:pt x="132" y="156"/>
                  </a:lnTo>
                  <a:lnTo>
                    <a:pt x="132" y="168"/>
                  </a:lnTo>
                  <a:lnTo>
                    <a:pt x="138" y="174"/>
                  </a:lnTo>
                  <a:lnTo>
                    <a:pt x="150" y="174"/>
                  </a:lnTo>
                  <a:lnTo>
                    <a:pt x="162" y="168"/>
                  </a:lnTo>
                  <a:lnTo>
                    <a:pt x="168" y="168"/>
                  </a:lnTo>
                  <a:lnTo>
                    <a:pt x="174" y="174"/>
                  </a:lnTo>
                  <a:lnTo>
                    <a:pt x="174" y="192"/>
                  </a:lnTo>
                  <a:lnTo>
                    <a:pt x="168" y="198"/>
                  </a:lnTo>
                  <a:lnTo>
                    <a:pt x="168" y="210"/>
                  </a:lnTo>
                  <a:lnTo>
                    <a:pt x="180" y="210"/>
                  </a:lnTo>
                  <a:lnTo>
                    <a:pt x="180" y="198"/>
                  </a:lnTo>
                  <a:lnTo>
                    <a:pt x="186" y="192"/>
                  </a:lnTo>
                  <a:lnTo>
                    <a:pt x="186" y="180"/>
                  </a:lnTo>
                  <a:lnTo>
                    <a:pt x="180" y="174"/>
                  </a:lnTo>
                  <a:lnTo>
                    <a:pt x="186" y="168"/>
                  </a:lnTo>
                  <a:lnTo>
                    <a:pt x="198" y="162"/>
                  </a:lnTo>
                  <a:lnTo>
                    <a:pt x="198" y="156"/>
                  </a:lnTo>
                  <a:lnTo>
                    <a:pt x="192" y="150"/>
                  </a:lnTo>
                  <a:lnTo>
                    <a:pt x="192" y="144"/>
                  </a:lnTo>
                  <a:lnTo>
                    <a:pt x="186" y="120"/>
                  </a:lnTo>
                  <a:lnTo>
                    <a:pt x="192" y="120"/>
                  </a:lnTo>
                  <a:lnTo>
                    <a:pt x="198" y="126"/>
                  </a:lnTo>
                  <a:lnTo>
                    <a:pt x="222" y="126"/>
                  </a:lnTo>
                  <a:lnTo>
                    <a:pt x="222" y="120"/>
                  </a:lnTo>
                  <a:lnTo>
                    <a:pt x="228" y="114"/>
                  </a:lnTo>
                  <a:lnTo>
                    <a:pt x="234" y="114"/>
                  </a:lnTo>
                  <a:lnTo>
                    <a:pt x="240" y="102"/>
                  </a:lnTo>
                  <a:lnTo>
                    <a:pt x="246" y="96"/>
                  </a:lnTo>
                  <a:lnTo>
                    <a:pt x="252" y="96"/>
                  </a:lnTo>
                  <a:lnTo>
                    <a:pt x="252" y="90"/>
                  </a:lnTo>
                  <a:lnTo>
                    <a:pt x="240" y="78"/>
                  </a:lnTo>
                  <a:lnTo>
                    <a:pt x="234" y="78"/>
                  </a:lnTo>
                  <a:lnTo>
                    <a:pt x="228" y="72"/>
                  </a:lnTo>
                  <a:lnTo>
                    <a:pt x="228" y="66"/>
                  </a:lnTo>
                  <a:lnTo>
                    <a:pt x="234" y="66"/>
                  </a:lnTo>
                  <a:lnTo>
                    <a:pt x="246" y="60"/>
                  </a:lnTo>
                  <a:lnTo>
                    <a:pt x="258" y="60"/>
                  </a:lnTo>
                  <a:lnTo>
                    <a:pt x="252" y="54"/>
                  </a:lnTo>
                  <a:lnTo>
                    <a:pt x="252" y="36"/>
                  </a:lnTo>
                  <a:lnTo>
                    <a:pt x="258" y="36"/>
                  </a:lnTo>
                  <a:lnTo>
                    <a:pt x="270" y="30"/>
                  </a:lnTo>
                  <a:lnTo>
                    <a:pt x="264" y="18"/>
                  </a:lnTo>
                  <a:lnTo>
                    <a:pt x="270" y="12"/>
                  </a:lnTo>
                  <a:lnTo>
                    <a:pt x="264" y="12"/>
                  </a:lnTo>
                  <a:lnTo>
                    <a:pt x="252" y="6"/>
                  </a:lnTo>
                  <a:lnTo>
                    <a:pt x="246" y="6"/>
                  </a:lnTo>
                  <a:lnTo>
                    <a:pt x="234" y="0"/>
                  </a:lnTo>
                  <a:lnTo>
                    <a:pt x="180" y="0"/>
                  </a:lnTo>
                  <a:lnTo>
                    <a:pt x="168" y="12"/>
                  </a:lnTo>
                  <a:lnTo>
                    <a:pt x="156" y="18"/>
                  </a:lnTo>
                  <a:lnTo>
                    <a:pt x="156" y="30"/>
                  </a:lnTo>
                  <a:lnTo>
                    <a:pt x="162" y="36"/>
                  </a:lnTo>
                  <a:lnTo>
                    <a:pt x="162" y="54"/>
                  </a:lnTo>
                  <a:lnTo>
                    <a:pt x="168" y="60"/>
                  </a:lnTo>
                  <a:lnTo>
                    <a:pt x="174" y="60"/>
                  </a:lnTo>
                  <a:lnTo>
                    <a:pt x="180" y="66"/>
                  </a:lnTo>
                  <a:lnTo>
                    <a:pt x="180" y="78"/>
                  </a:lnTo>
                  <a:lnTo>
                    <a:pt x="168" y="84"/>
                  </a:lnTo>
                  <a:lnTo>
                    <a:pt x="162" y="90"/>
                  </a:lnTo>
                  <a:lnTo>
                    <a:pt x="144" y="90"/>
                  </a:lnTo>
                  <a:lnTo>
                    <a:pt x="138" y="84"/>
                  </a:lnTo>
                  <a:lnTo>
                    <a:pt x="138" y="66"/>
                  </a:lnTo>
                  <a:lnTo>
                    <a:pt x="150" y="54"/>
                  </a:lnTo>
                  <a:lnTo>
                    <a:pt x="150" y="36"/>
                  </a:lnTo>
                  <a:lnTo>
                    <a:pt x="144" y="30"/>
                  </a:lnTo>
                  <a:lnTo>
                    <a:pt x="144" y="24"/>
                  </a:lnTo>
                  <a:lnTo>
                    <a:pt x="132" y="36"/>
                  </a:lnTo>
                  <a:lnTo>
                    <a:pt x="120" y="42"/>
                  </a:lnTo>
                  <a:lnTo>
                    <a:pt x="114" y="48"/>
                  </a:lnTo>
                  <a:lnTo>
                    <a:pt x="102" y="54"/>
                  </a:lnTo>
                  <a:lnTo>
                    <a:pt x="96" y="66"/>
                  </a:lnTo>
                  <a:lnTo>
                    <a:pt x="96" y="84"/>
                  </a:lnTo>
                  <a:lnTo>
                    <a:pt x="90" y="90"/>
                  </a:lnTo>
                  <a:lnTo>
                    <a:pt x="90" y="102"/>
                  </a:lnTo>
                  <a:lnTo>
                    <a:pt x="60" y="132"/>
                  </a:lnTo>
                  <a:lnTo>
                    <a:pt x="72" y="144"/>
                  </a:lnTo>
                  <a:lnTo>
                    <a:pt x="42" y="144"/>
                  </a:lnTo>
                  <a:lnTo>
                    <a:pt x="18" y="156"/>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33" name="Nepal" descr="© INSCALE GmbH, 05.05.2010&#10;http://www.presentationload.com/">
              <a:extLst>
                <a:ext uri="{FF2B5EF4-FFF2-40B4-BE49-F238E27FC236}">
                  <a16:creationId xmlns:a16="http://schemas.microsoft.com/office/drawing/2014/main" id="{E85960B2-F920-ED07-5DE6-4A1A4C100FCA}"/>
                </a:ext>
              </a:extLst>
            </p:cNvPr>
            <p:cNvSpPr>
              <a:spLocks/>
            </p:cNvSpPr>
            <p:nvPr/>
          </p:nvSpPr>
          <p:spPr bwMode="gray">
            <a:xfrm>
              <a:off x="6327019" y="2287544"/>
              <a:ext cx="222356" cy="124520"/>
            </a:xfrm>
            <a:custGeom>
              <a:avLst/>
              <a:gdLst>
                <a:gd name="T0" fmla="*/ 2147483647 w 588"/>
                <a:gd name="T1" fmla="*/ 2147483647 h 330"/>
                <a:gd name="T2" fmla="*/ 2147483647 w 588"/>
                <a:gd name="T3" fmla="*/ 2147483647 h 330"/>
                <a:gd name="T4" fmla="*/ 2147483647 w 588"/>
                <a:gd name="T5" fmla="*/ 2147483647 h 330"/>
                <a:gd name="T6" fmla="*/ 2147483647 w 588"/>
                <a:gd name="T7" fmla="*/ 2147483647 h 330"/>
                <a:gd name="T8" fmla="*/ 2147483647 w 588"/>
                <a:gd name="T9" fmla="*/ 2147483647 h 330"/>
                <a:gd name="T10" fmla="*/ 2147483647 w 588"/>
                <a:gd name="T11" fmla="*/ 2147483647 h 330"/>
                <a:gd name="T12" fmla="*/ 2147483647 w 588"/>
                <a:gd name="T13" fmla="*/ 2147483647 h 330"/>
                <a:gd name="T14" fmla="*/ 2147483647 w 588"/>
                <a:gd name="T15" fmla="*/ 2147483647 h 330"/>
                <a:gd name="T16" fmla="*/ 2147483647 w 588"/>
                <a:gd name="T17" fmla="*/ 2147483647 h 330"/>
                <a:gd name="T18" fmla="*/ 2147483647 w 588"/>
                <a:gd name="T19" fmla="*/ 2147483647 h 330"/>
                <a:gd name="T20" fmla="*/ 2147483647 w 588"/>
                <a:gd name="T21" fmla="*/ 2147483647 h 330"/>
                <a:gd name="T22" fmla="*/ 2147483647 w 588"/>
                <a:gd name="T23" fmla="*/ 2147483647 h 330"/>
                <a:gd name="T24" fmla="*/ 2147483647 w 588"/>
                <a:gd name="T25" fmla="*/ 2147483647 h 330"/>
                <a:gd name="T26" fmla="*/ 2147483647 w 588"/>
                <a:gd name="T27" fmla="*/ 2147483647 h 330"/>
                <a:gd name="T28" fmla="*/ 2147483647 w 588"/>
                <a:gd name="T29" fmla="*/ 2147483647 h 330"/>
                <a:gd name="T30" fmla="*/ 2147483647 w 588"/>
                <a:gd name="T31" fmla="*/ 2147483647 h 330"/>
                <a:gd name="T32" fmla="*/ 2147483647 w 588"/>
                <a:gd name="T33" fmla="*/ 2147483647 h 330"/>
                <a:gd name="T34" fmla="*/ 2147483647 w 588"/>
                <a:gd name="T35" fmla="*/ 2147483647 h 330"/>
                <a:gd name="T36" fmla="*/ 2147483647 w 588"/>
                <a:gd name="T37" fmla="*/ 2147483647 h 330"/>
                <a:gd name="T38" fmla="*/ 2147483647 w 588"/>
                <a:gd name="T39" fmla="*/ 2147483647 h 330"/>
                <a:gd name="T40" fmla="*/ 2147483647 w 588"/>
                <a:gd name="T41" fmla="*/ 2147483647 h 330"/>
                <a:gd name="T42" fmla="*/ 2147483647 w 588"/>
                <a:gd name="T43" fmla="*/ 2147483647 h 330"/>
                <a:gd name="T44" fmla="*/ 2147483647 w 588"/>
                <a:gd name="T45" fmla="*/ 2147483647 h 330"/>
                <a:gd name="T46" fmla="*/ 2147483647 w 588"/>
                <a:gd name="T47" fmla="*/ 2147483647 h 330"/>
                <a:gd name="T48" fmla="*/ 2147483647 w 588"/>
                <a:gd name="T49" fmla="*/ 2147483647 h 330"/>
                <a:gd name="T50" fmla="*/ 2147483647 w 588"/>
                <a:gd name="T51" fmla="*/ 2147483647 h 330"/>
                <a:gd name="T52" fmla="*/ 2147483647 w 588"/>
                <a:gd name="T53" fmla="*/ 2147483647 h 330"/>
                <a:gd name="T54" fmla="*/ 2147483647 w 588"/>
                <a:gd name="T55" fmla="*/ 2147483647 h 330"/>
                <a:gd name="T56" fmla="*/ 2147483647 w 588"/>
                <a:gd name="T57" fmla="*/ 2147483647 h 330"/>
                <a:gd name="T58" fmla="*/ 2147483647 w 588"/>
                <a:gd name="T59" fmla="*/ 2147483647 h 330"/>
                <a:gd name="T60" fmla="*/ 2147483647 w 588"/>
                <a:gd name="T61" fmla="*/ 2147483647 h 330"/>
                <a:gd name="T62" fmla="*/ 2147483647 w 588"/>
                <a:gd name="T63" fmla="*/ 2147483647 h 330"/>
                <a:gd name="T64" fmla="*/ 2147483647 w 588"/>
                <a:gd name="T65" fmla="*/ 2147483647 h 330"/>
                <a:gd name="T66" fmla="*/ 2147483647 w 588"/>
                <a:gd name="T67" fmla="*/ 2147483647 h 330"/>
                <a:gd name="T68" fmla="*/ 2147483647 w 588"/>
                <a:gd name="T69" fmla="*/ 2147483647 h 330"/>
                <a:gd name="T70" fmla="*/ 2147483647 w 588"/>
                <a:gd name="T71" fmla="*/ 0 h 330"/>
                <a:gd name="T72" fmla="*/ 2147483647 w 588"/>
                <a:gd name="T73" fmla="*/ 2147483647 h 330"/>
                <a:gd name="T74" fmla="*/ 2147483647 w 588"/>
                <a:gd name="T75" fmla="*/ 2147483647 h 330"/>
                <a:gd name="T76" fmla="*/ 2147483647 w 588"/>
                <a:gd name="T77" fmla="*/ 2147483647 h 330"/>
                <a:gd name="T78" fmla="*/ 2147483647 w 588"/>
                <a:gd name="T79" fmla="*/ 2147483647 h 330"/>
                <a:gd name="T80" fmla="*/ 2147483647 w 588"/>
                <a:gd name="T81" fmla="*/ 2147483647 h 330"/>
                <a:gd name="T82" fmla="*/ 2147483647 w 588"/>
                <a:gd name="T83" fmla="*/ 2147483647 h 330"/>
                <a:gd name="T84" fmla="*/ 0 w 588"/>
                <a:gd name="T85" fmla="*/ 2147483647 h 330"/>
                <a:gd name="T86" fmla="*/ 2147483647 w 588"/>
                <a:gd name="T87" fmla="*/ 2147483647 h 330"/>
                <a:gd name="T88" fmla="*/ 2147483647 w 588"/>
                <a:gd name="T89" fmla="*/ 2147483647 h 330"/>
                <a:gd name="T90" fmla="*/ 2147483647 w 588"/>
                <a:gd name="T91" fmla="*/ 2147483647 h 330"/>
                <a:gd name="T92" fmla="*/ 2147483647 w 588"/>
                <a:gd name="T93" fmla="*/ 2147483647 h 330"/>
                <a:gd name="T94" fmla="*/ 2147483647 w 588"/>
                <a:gd name="T95" fmla="*/ 2147483647 h 330"/>
                <a:gd name="T96" fmla="*/ 2147483647 w 588"/>
                <a:gd name="T97" fmla="*/ 2147483647 h 330"/>
                <a:gd name="T98" fmla="*/ 2147483647 w 588"/>
                <a:gd name="T99" fmla="*/ 2147483647 h 330"/>
                <a:gd name="T100" fmla="*/ 2147483647 w 588"/>
                <a:gd name="T101" fmla="*/ 2147483647 h 330"/>
                <a:gd name="T102" fmla="*/ 2147483647 w 588"/>
                <a:gd name="T103" fmla="*/ 2147483647 h 330"/>
                <a:gd name="T104" fmla="*/ 2147483647 w 588"/>
                <a:gd name="T105" fmla="*/ 2147483647 h 330"/>
                <a:gd name="T106" fmla="*/ 2147483647 w 588"/>
                <a:gd name="T107" fmla="*/ 2147483647 h 330"/>
                <a:gd name="T108" fmla="*/ 2147483647 w 588"/>
                <a:gd name="T109" fmla="*/ 2147483647 h 3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88"/>
                <a:gd name="T166" fmla="*/ 0 h 330"/>
                <a:gd name="T167" fmla="*/ 588 w 588"/>
                <a:gd name="T168" fmla="*/ 330 h 3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88" h="330">
                  <a:moveTo>
                    <a:pt x="294" y="234"/>
                  </a:moveTo>
                  <a:lnTo>
                    <a:pt x="306" y="246"/>
                  </a:lnTo>
                  <a:lnTo>
                    <a:pt x="306" y="252"/>
                  </a:lnTo>
                  <a:lnTo>
                    <a:pt x="330" y="252"/>
                  </a:lnTo>
                  <a:lnTo>
                    <a:pt x="384" y="306"/>
                  </a:lnTo>
                  <a:lnTo>
                    <a:pt x="402" y="294"/>
                  </a:lnTo>
                  <a:lnTo>
                    <a:pt x="432" y="312"/>
                  </a:lnTo>
                  <a:lnTo>
                    <a:pt x="438" y="306"/>
                  </a:lnTo>
                  <a:lnTo>
                    <a:pt x="456" y="306"/>
                  </a:lnTo>
                  <a:lnTo>
                    <a:pt x="474" y="312"/>
                  </a:lnTo>
                  <a:lnTo>
                    <a:pt x="486" y="318"/>
                  </a:lnTo>
                  <a:lnTo>
                    <a:pt x="492" y="330"/>
                  </a:lnTo>
                  <a:lnTo>
                    <a:pt x="498" y="318"/>
                  </a:lnTo>
                  <a:lnTo>
                    <a:pt x="510" y="312"/>
                  </a:lnTo>
                  <a:lnTo>
                    <a:pt x="516" y="312"/>
                  </a:lnTo>
                  <a:lnTo>
                    <a:pt x="522" y="318"/>
                  </a:lnTo>
                  <a:lnTo>
                    <a:pt x="522" y="330"/>
                  </a:lnTo>
                  <a:lnTo>
                    <a:pt x="588" y="330"/>
                  </a:lnTo>
                  <a:lnTo>
                    <a:pt x="588" y="294"/>
                  </a:lnTo>
                  <a:lnTo>
                    <a:pt x="576" y="270"/>
                  </a:lnTo>
                  <a:lnTo>
                    <a:pt x="576" y="222"/>
                  </a:lnTo>
                  <a:lnTo>
                    <a:pt x="564" y="204"/>
                  </a:lnTo>
                  <a:lnTo>
                    <a:pt x="540" y="216"/>
                  </a:lnTo>
                  <a:lnTo>
                    <a:pt x="522" y="216"/>
                  </a:lnTo>
                  <a:lnTo>
                    <a:pt x="498" y="204"/>
                  </a:lnTo>
                  <a:lnTo>
                    <a:pt x="480" y="198"/>
                  </a:lnTo>
                  <a:lnTo>
                    <a:pt x="474" y="192"/>
                  </a:lnTo>
                  <a:lnTo>
                    <a:pt x="462" y="186"/>
                  </a:lnTo>
                  <a:lnTo>
                    <a:pt x="462" y="192"/>
                  </a:lnTo>
                  <a:lnTo>
                    <a:pt x="456" y="198"/>
                  </a:lnTo>
                  <a:lnTo>
                    <a:pt x="438" y="198"/>
                  </a:lnTo>
                  <a:lnTo>
                    <a:pt x="432" y="192"/>
                  </a:lnTo>
                  <a:lnTo>
                    <a:pt x="432" y="180"/>
                  </a:lnTo>
                  <a:lnTo>
                    <a:pt x="432" y="186"/>
                  </a:lnTo>
                  <a:lnTo>
                    <a:pt x="420" y="198"/>
                  </a:lnTo>
                  <a:lnTo>
                    <a:pt x="408" y="198"/>
                  </a:lnTo>
                  <a:lnTo>
                    <a:pt x="402" y="192"/>
                  </a:lnTo>
                  <a:lnTo>
                    <a:pt x="402" y="174"/>
                  </a:lnTo>
                  <a:lnTo>
                    <a:pt x="396" y="174"/>
                  </a:lnTo>
                  <a:lnTo>
                    <a:pt x="390" y="180"/>
                  </a:lnTo>
                  <a:lnTo>
                    <a:pt x="378" y="180"/>
                  </a:lnTo>
                  <a:lnTo>
                    <a:pt x="360" y="174"/>
                  </a:lnTo>
                  <a:lnTo>
                    <a:pt x="354" y="168"/>
                  </a:lnTo>
                  <a:lnTo>
                    <a:pt x="348" y="168"/>
                  </a:lnTo>
                  <a:lnTo>
                    <a:pt x="348" y="162"/>
                  </a:lnTo>
                  <a:lnTo>
                    <a:pt x="354" y="156"/>
                  </a:lnTo>
                  <a:lnTo>
                    <a:pt x="354" y="150"/>
                  </a:lnTo>
                  <a:lnTo>
                    <a:pt x="348" y="144"/>
                  </a:lnTo>
                  <a:lnTo>
                    <a:pt x="342" y="144"/>
                  </a:lnTo>
                  <a:lnTo>
                    <a:pt x="330" y="150"/>
                  </a:lnTo>
                  <a:lnTo>
                    <a:pt x="324" y="156"/>
                  </a:lnTo>
                  <a:lnTo>
                    <a:pt x="312" y="150"/>
                  </a:lnTo>
                  <a:lnTo>
                    <a:pt x="282" y="120"/>
                  </a:lnTo>
                  <a:lnTo>
                    <a:pt x="282" y="102"/>
                  </a:lnTo>
                  <a:lnTo>
                    <a:pt x="276" y="90"/>
                  </a:lnTo>
                  <a:lnTo>
                    <a:pt x="270" y="84"/>
                  </a:lnTo>
                  <a:lnTo>
                    <a:pt x="258" y="84"/>
                  </a:lnTo>
                  <a:lnTo>
                    <a:pt x="252" y="96"/>
                  </a:lnTo>
                  <a:lnTo>
                    <a:pt x="246" y="102"/>
                  </a:lnTo>
                  <a:lnTo>
                    <a:pt x="246" y="108"/>
                  </a:lnTo>
                  <a:lnTo>
                    <a:pt x="234" y="108"/>
                  </a:lnTo>
                  <a:lnTo>
                    <a:pt x="234" y="96"/>
                  </a:lnTo>
                  <a:lnTo>
                    <a:pt x="228" y="90"/>
                  </a:lnTo>
                  <a:lnTo>
                    <a:pt x="222" y="78"/>
                  </a:lnTo>
                  <a:lnTo>
                    <a:pt x="216" y="72"/>
                  </a:lnTo>
                  <a:lnTo>
                    <a:pt x="210" y="60"/>
                  </a:lnTo>
                  <a:lnTo>
                    <a:pt x="168" y="54"/>
                  </a:lnTo>
                  <a:lnTo>
                    <a:pt x="150" y="36"/>
                  </a:lnTo>
                  <a:lnTo>
                    <a:pt x="138" y="30"/>
                  </a:lnTo>
                  <a:lnTo>
                    <a:pt x="132" y="18"/>
                  </a:lnTo>
                  <a:lnTo>
                    <a:pt x="120" y="6"/>
                  </a:lnTo>
                  <a:lnTo>
                    <a:pt x="108" y="0"/>
                  </a:lnTo>
                  <a:lnTo>
                    <a:pt x="96" y="0"/>
                  </a:lnTo>
                  <a:lnTo>
                    <a:pt x="84" y="6"/>
                  </a:lnTo>
                  <a:lnTo>
                    <a:pt x="78" y="12"/>
                  </a:lnTo>
                  <a:lnTo>
                    <a:pt x="54" y="30"/>
                  </a:lnTo>
                  <a:lnTo>
                    <a:pt x="36" y="12"/>
                  </a:lnTo>
                  <a:lnTo>
                    <a:pt x="30" y="36"/>
                  </a:lnTo>
                  <a:lnTo>
                    <a:pt x="6" y="60"/>
                  </a:lnTo>
                  <a:lnTo>
                    <a:pt x="12" y="72"/>
                  </a:lnTo>
                  <a:lnTo>
                    <a:pt x="6" y="78"/>
                  </a:lnTo>
                  <a:lnTo>
                    <a:pt x="6" y="84"/>
                  </a:lnTo>
                  <a:lnTo>
                    <a:pt x="18" y="96"/>
                  </a:lnTo>
                  <a:lnTo>
                    <a:pt x="12" y="96"/>
                  </a:lnTo>
                  <a:lnTo>
                    <a:pt x="0" y="108"/>
                  </a:lnTo>
                  <a:lnTo>
                    <a:pt x="0" y="120"/>
                  </a:lnTo>
                  <a:lnTo>
                    <a:pt x="30" y="150"/>
                  </a:lnTo>
                  <a:lnTo>
                    <a:pt x="42" y="144"/>
                  </a:lnTo>
                  <a:lnTo>
                    <a:pt x="60" y="168"/>
                  </a:lnTo>
                  <a:lnTo>
                    <a:pt x="84" y="168"/>
                  </a:lnTo>
                  <a:lnTo>
                    <a:pt x="96" y="186"/>
                  </a:lnTo>
                  <a:lnTo>
                    <a:pt x="138" y="204"/>
                  </a:lnTo>
                  <a:lnTo>
                    <a:pt x="150" y="204"/>
                  </a:lnTo>
                  <a:lnTo>
                    <a:pt x="156" y="210"/>
                  </a:lnTo>
                  <a:lnTo>
                    <a:pt x="162" y="222"/>
                  </a:lnTo>
                  <a:lnTo>
                    <a:pt x="168" y="228"/>
                  </a:lnTo>
                  <a:lnTo>
                    <a:pt x="186" y="228"/>
                  </a:lnTo>
                  <a:lnTo>
                    <a:pt x="192" y="222"/>
                  </a:lnTo>
                  <a:lnTo>
                    <a:pt x="204" y="222"/>
                  </a:lnTo>
                  <a:lnTo>
                    <a:pt x="204" y="234"/>
                  </a:lnTo>
                  <a:lnTo>
                    <a:pt x="210" y="240"/>
                  </a:lnTo>
                  <a:lnTo>
                    <a:pt x="234" y="240"/>
                  </a:lnTo>
                  <a:lnTo>
                    <a:pt x="240" y="246"/>
                  </a:lnTo>
                  <a:lnTo>
                    <a:pt x="246" y="258"/>
                  </a:lnTo>
                  <a:lnTo>
                    <a:pt x="258" y="246"/>
                  </a:lnTo>
                  <a:lnTo>
                    <a:pt x="276" y="246"/>
                  </a:lnTo>
                  <a:lnTo>
                    <a:pt x="282" y="252"/>
                  </a:lnTo>
                  <a:lnTo>
                    <a:pt x="282" y="258"/>
                  </a:lnTo>
                  <a:lnTo>
                    <a:pt x="282" y="240"/>
                  </a:lnTo>
                  <a:lnTo>
                    <a:pt x="288" y="234"/>
                  </a:lnTo>
                  <a:lnTo>
                    <a:pt x="294" y="234"/>
                  </a:lnTo>
                  <a:close/>
                </a:path>
              </a:pathLst>
            </a:custGeom>
            <a:grp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34" name="Namibia" descr="© INSCALE GmbH, 05.05.2010&#10;http://www.presentationload.com/">
              <a:extLst>
                <a:ext uri="{FF2B5EF4-FFF2-40B4-BE49-F238E27FC236}">
                  <a16:creationId xmlns:a16="http://schemas.microsoft.com/office/drawing/2014/main" id="{4F8C9751-40F5-EFD7-0F67-3ACEA00E06C3}"/>
                </a:ext>
              </a:extLst>
            </p:cNvPr>
            <p:cNvSpPr>
              <a:spLocks/>
            </p:cNvSpPr>
            <p:nvPr/>
          </p:nvSpPr>
          <p:spPr bwMode="gray">
            <a:xfrm>
              <a:off x="4548172" y="3735829"/>
              <a:ext cx="361698" cy="369113"/>
            </a:xfrm>
            <a:custGeom>
              <a:avLst/>
              <a:gdLst>
                <a:gd name="T0" fmla="*/ 2147483647 w 954"/>
                <a:gd name="T1" fmla="*/ 2147483647 h 972"/>
                <a:gd name="T2" fmla="*/ 2147483647 w 954"/>
                <a:gd name="T3" fmla="*/ 2147483647 h 972"/>
                <a:gd name="T4" fmla="*/ 2147483647 w 954"/>
                <a:gd name="T5" fmla="*/ 2147483647 h 972"/>
                <a:gd name="T6" fmla="*/ 2147483647 w 954"/>
                <a:gd name="T7" fmla="*/ 2147483647 h 972"/>
                <a:gd name="T8" fmla="*/ 2147483647 w 954"/>
                <a:gd name="T9" fmla="*/ 2147483647 h 972"/>
                <a:gd name="T10" fmla="*/ 2147483647 w 954"/>
                <a:gd name="T11" fmla="*/ 2147483647 h 972"/>
                <a:gd name="T12" fmla="*/ 2147483647 w 954"/>
                <a:gd name="T13" fmla="*/ 2147483647 h 972"/>
                <a:gd name="T14" fmla="*/ 2147483647 w 954"/>
                <a:gd name="T15" fmla="*/ 2147483647 h 972"/>
                <a:gd name="T16" fmla="*/ 2147483647 w 954"/>
                <a:gd name="T17" fmla="*/ 2147483647 h 972"/>
                <a:gd name="T18" fmla="*/ 2147483647 w 954"/>
                <a:gd name="T19" fmla="*/ 2147483647 h 972"/>
                <a:gd name="T20" fmla="*/ 2147483647 w 954"/>
                <a:gd name="T21" fmla="*/ 2147483647 h 972"/>
                <a:gd name="T22" fmla="*/ 2147483647 w 954"/>
                <a:gd name="T23" fmla="*/ 2147483647 h 972"/>
                <a:gd name="T24" fmla="*/ 2147483647 w 954"/>
                <a:gd name="T25" fmla="*/ 2147483647 h 972"/>
                <a:gd name="T26" fmla="*/ 2147483647 w 954"/>
                <a:gd name="T27" fmla="*/ 2147483647 h 972"/>
                <a:gd name="T28" fmla="*/ 2147483647 w 954"/>
                <a:gd name="T29" fmla="*/ 2147483647 h 972"/>
                <a:gd name="T30" fmla="*/ 2147483647 w 954"/>
                <a:gd name="T31" fmla="*/ 2147483647 h 972"/>
                <a:gd name="T32" fmla="*/ 2147483647 w 954"/>
                <a:gd name="T33" fmla="*/ 2147483647 h 972"/>
                <a:gd name="T34" fmla="*/ 2147483647 w 954"/>
                <a:gd name="T35" fmla="*/ 2147483647 h 972"/>
                <a:gd name="T36" fmla="*/ 2147483647 w 954"/>
                <a:gd name="T37" fmla="*/ 2147483647 h 972"/>
                <a:gd name="T38" fmla="*/ 2147483647 w 954"/>
                <a:gd name="T39" fmla="*/ 2147483647 h 972"/>
                <a:gd name="T40" fmla="*/ 2147483647 w 954"/>
                <a:gd name="T41" fmla="*/ 2147483647 h 972"/>
                <a:gd name="T42" fmla="*/ 2147483647 w 954"/>
                <a:gd name="T43" fmla="*/ 2147483647 h 972"/>
                <a:gd name="T44" fmla="*/ 2147483647 w 954"/>
                <a:gd name="T45" fmla="*/ 2147483647 h 972"/>
                <a:gd name="T46" fmla="*/ 2147483647 w 954"/>
                <a:gd name="T47" fmla="*/ 2147483647 h 972"/>
                <a:gd name="T48" fmla="*/ 2147483647 w 954"/>
                <a:gd name="T49" fmla="*/ 2147483647 h 972"/>
                <a:gd name="T50" fmla="*/ 2147483647 w 954"/>
                <a:gd name="T51" fmla="*/ 2147483647 h 972"/>
                <a:gd name="T52" fmla="*/ 2147483647 w 954"/>
                <a:gd name="T53" fmla="*/ 2147483647 h 972"/>
                <a:gd name="T54" fmla="*/ 2147483647 w 954"/>
                <a:gd name="T55" fmla="*/ 2147483647 h 972"/>
                <a:gd name="T56" fmla="*/ 2147483647 w 954"/>
                <a:gd name="T57" fmla="*/ 2147483647 h 972"/>
                <a:gd name="T58" fmla="*/ 2147483647 w 954"/>
                <a:gd name="T59" fmla="*/ 2147483647 h 972"/>
                <a:gd name="T60" fmla="*/ 2147483647 w 954"/>
                <a:gd name="T61" fmla="*/ 2147483647 h 972"/>
                <a:gd name="T62" fmla="*/ 2147483647 w 954"/>
                <a:gd name="T63" fmla="*/ 2147483647 h 972"/>
                <a:gd name="T64" fmla="*/ 2147483647 w 954"/>
                <a:gd name="T65" fmla="*/ 2147483647 h 972"/>
                <a:gd name="T66" fmla="*/ 2147483647 w 954"/>
                <a:gd name="T67" fmla="*/ 0 h 972"/>
                <a:gd name="T68" fmla="*/ 2147483647 w 954"/>
                <a:gd name="T69" fmla="*/ 2147483647 h 972"/>
                <a:gd name="T70" fmla="*/ 2147483647 w 954"/>
                <a:gd name="T71" fmla="*/ 2147483647 h 972"/>
                <a:gd name="T72" fmla="*/ 0 w 954"/>
                <a:gd name="T73" fmla="*/ 2147483647 h 972"/>
                <a:gd name="T74" fmla="*/ 2147483647 w 954"/>
                <a:gd name="T75" fmla="*/ 2147483647 h 972"/>
                <a:gd name="T76" fmla="*/ 2147483647 w 954"/>
                <a:gd name="T77" fmla="*/ 2147483647 h 972"/>
                <a:gd name="T78" fmla="*/ 2147483647 w 954"/>
                <a:gd name="T79" fmla="*/ 2147483647 h 972"/>
                <a:gd name="T80" fmla="*/ 2147483647 w 954"/>
                <a:gd name="T81" fmla="*/ 2147483647 h 972"/>
                <a:gd name="T82" fmla="*/ 2147483647 w 954"/>
                <a:gd name="T83" fmla="*/ 2147483647 h 972"/>
                <a:gd name="T84" fmla="*/ 2147483647 w 954"/>
                <a:gd name="T85" fmla="*/ 2147483647 h 972"/>
                <a:gd name="T86" fmla="*/ 2147483647 w 954"/>
                <a:gd name="T87" fmla="*/ 2147483647 h 972"/>
                <a:gd name="T88" fmla="*/ 2147483647 w 954"/>
                <a:gd name="T89" fmla="*/ 2147483647 h 972"/>
                <a:gd name="T90" fmla="*/ 2147483647 w 954"/>
                <a:gd name="T91" fmla="*/ 2147483647 h 972"/>
                <a:gd name="T92" fmla="*/ 2147483647 w 954"/>
                <a:gd name="T93" fmla="*/ 2147483647 h 972"/>
                <a:gd name="T94" fmla="*/ 2147483647 w 954"/>
                <a:gd name="T95" fmla="*/ 2147483647 h 972"/>
                <a:gd name="T96" fmla="*/ 2147483647 w 954"/>
                <a:gd name="T97" fmla="*/ 2147483647 h 972"/>
                <a:gd name="T98" fmla="*/ 2147483647 w 954"/>
                <a:gd name="T99" fmla="*/ 2147483647 h 972"/>
                <a:gd name="T100" fmla="*/ 2147483647 w 954"/>
                <a:gd name="T101" fmla="*/ 2147483647 h 972"/>
                <a:gd name="T102" fmla="*/ 2147483647 w 954"/>
                <a:gd name="T103" fmla="*/ 2147483647 h 972"/>
                <a:gd name="T104" fmla="*/ 2147483647 w 954"/>
                <a:gd name="T105" fmla="*/ 2147483647 h 972"/>
                <a:gd name="T106" fmla="*/ 2147483647 w 954"/>
                <a:gd name="T107" fmla="*/ 2147483647 h 972"/>
                <a:gd name="T108" fmla="*/ 2147483647 w 954"/>
                <a:gd name="T109" fmla="*/ 2147483647 h 972"/>
                <a:gd name="T110" fmla="*/ 2147483647 w 954"/>
                <a:gd name="T111" fmla="*/ 2147483647 h 972"/>
                <a:gd name="T112" fmla="*/ 2147483647 w 954"/>
                <a:gd name="T113" fmla="*/ 2147483647 h 972"/>
                <a:gd name="T114" fmla="*/ 2147483647 w 954"/>
                <a:gd name="T115" fmla="*/ 2147483647 h 972"/>
                <a:gd name="T116" fmla="*/ 2147483647 w 954"/>
                <a:gd name="T117" fmla="*/ 2147483647 h 972"/>
                <a:gd name="T118" fmla="*/ 2147483647 w 954"/>
                <a:gd name="T119" fmla="*/ 2147483647 h 9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54"/>
                <a:gd name="T181" fmla="*/ 0 h 972"/>
                <a:gd name="T182" fmla="*/ 954 w 954"/>
                <a:gd name="T183" fmla="*/ 972 h 9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54" h="972">
                  <a:moveTo>
                    <a:pt x="366" y="894"/>
                  </a:moveTo>
                  <a:lnTo>
                    <a:pt x="372" y="894"/>
                  </a:lnTo>
                  <a:lnTo>
                    <a:pt x="390" y="912"/>
                  </a:lnTo>
                  <a:lnTo>
                    <a:pt x="390" y="936"/>
                  </a:lnTo>
                  <a:lnTo>
                    <a:pt x="396" y="948"/>
                  </a:lnTo>
                  <a:lnTo>
                    <a:pt x="402" y="954"/>
                  </a:lnTo>
                  <a:lnTo>
                    <a:pt x="426" y="954"/>
                  </a:lnTo>
                  <a:lnTo>
                    <a:pt x="432" y="960"/>
                  </a:lnTo>
                  <a:lnTo>
                    <a:pt x="432" y="966"/>
                  </a:lnTo>
                  <a:lnTo>
                    <a:pt x="438" y="972"/>
                  </a:lnTo>
                  <a:lnTo>
                    <a:pt x="462" y="972"/>
                  </a:lnTo>
                  <a:lnTo>
                    <a:pt x="474" y="960"/>
                  </a:lnTo>
                  <a:lnTo>
                    <a:pt x="486" y="960"/>
                  </a:lnTo>
                  <a:lnTo>
                    <a:pt x="498" y="972"/>
                  </a:lnTo>
                  <a:lnTo>
                    <a:pt x="522" y="972"/>
                  </a:lnTo>
                  <a:lnTo>
                    <a:pt x="522" y="948"/>
                  </a:lnTo>
                  <a:lnTo>
                    <a:pt x="534" y="948"/>
                  </a:lnTo>
                  <a:lnTo>
                    <a:pt x="534" y="942"/>
                  </a:lnTo>
                  <a:lnTo>
                    <a:pt x="540" y="936"/>
                  </a:lnTo>
                  <a:lnTo>
                    <a:pt x="552" y="930"/>
                  </a:lnTo>
                  <a:lnTo>
                    <a:pt x="570" y="930"/>
                  </a:lnTo>
                  <a:lnTo>
                    <a:pt x="582" y="414"/>
                  </a:lnTo>
                  <a:lnTo>
                    <a:pt x="654" y="414"/>
                  </a:lnTo>
                  <a:lnTo>
                    <a:pt x="648" y="288"/>
                  </a:lnTo>
                  <a:lnTo>
                    <a:pt x="654" y="282"/>
                  </a:lnTo>
                  <a:lnTo>
                    <a:pt x="654" y="108"/>
                  </a:lnTo>
                  <a:lnTo>
                    <a:pt x="690" y="108"/>
                  </a:lnTo>
                  <a:lnTo>
                    <a:pt x="708" y="102"/>
                  </a:lnTo>
                  <a:lnTo>
                    <a:pt x="744" y="102"/>
                  </a:lnTo>
                  <a:lnTo>
                    <a:pt x="792" y="90"/>
                  </a:lnTo>
                  <a:lnTo>
                    <a:pt x="804" y="84"/>
                  </a:lnTo>
                  <a:lnTo>
                    <a:pt x="822" y="84"/>
                  </a:lnTo>
                  <a:lnTo>
                    <a:pt x="828" y="90"/>
                  </a:lnTo>
                  <a:lnTo>
                    <a:pt x="828" y="108"/>
                  </a:lnTo>
                  <a:lnTo>
                    <a:pt x="834" y="108"/>
                  </a:lnTo>
                  <a:lnTo>
                    <a:pt x="834" y="126"/>
                  </a:lnTo>
                  <a:lnTo>
                    <a:pt x="840" y="126"/>
                  </a:lnTo>
                  <a:lnTo>
                    <a:pt x="882" y="84"/>
                  </a:lnTo>
                  <a:lnTo>
                    <a:pt x="906" y="84"/>
                  </a:lnTo>
                  <a:lnTo>
                    <a:pt x="918" y="72"/>
                  </a:lnTo>
                  <a:lnTo>
                    <a:pt x="954" y="66"/>
                  </a:lnTo>
                  <a:lnTo>
                    <a:pt x="936" y="48"/>
                  </a:lnTo>
                  <a:lnTo>
                    <a:pt x="906" y="54"/>
                  </a:lnTo>
                  <a:lnTo>
                    <a:pt x="906" y="48"/>
                  </a:lnTo>
                  <a:lnTo>
                    <a:pt x="900" y="42"/>
                  </a:lnTo>
                  <a:lnTo>
                    <a:pt x="882" y="42"/>
                  </a:lnTo>
                  <a:lnTo>
                    <a:pt x="876" y="48"/>
                  </a:lnTo>
                  <a:lnTo>
                    <a:pt x="870" y="48"/>
                  </a:lnTo>
                  <a:lnTo>
                    <a:pt x="846" y="60"/>
                  </a:lnTo>
                  <a:lnTo>
                    <a:pt x="828" y="54"/>
                  </a:lnTo>
                  <a:lnTo>
                    <a:pt x="816" y="60"/>
                  </a:lnTo>
                  <a:lnTo>
                    <a:pt x="780" y="72"/>
                  </a:lnTo>
                  <a:lnTo>
                    <a:pt x="732" y="78"/>
                  </a:lnTo>
                  <a:lnTo>
                    <a:pt x="696" y="84"/>
                  </a:lnTo>
                  <a:lnTo>
                    <a:pt x="624" y="84"/>
                  </a:lnTo>
                  <a:lnTo>
                    <a:pt x="618" y="72"/>
                  </a:lnTo>
                  <a:lnTo>
                    <a:pt x="546" y="78"/>
                  </a:lnTo>
                  <a:lnTo>
                    <a:pt x="540" y="66"/>
                  </a:lnTo>
                  <a:lnTo>
                    <a:pt x="504" y="66"/>
                  </a:lnTo>
                  <a:lnTo>
                    <a:pt x="480" y="42"/>
                  </a:lnTo>
                  <a:lnTo>
                    <a:pt x="480" y="36"/>
                  </a:lnTo>
                  <a:lnTo>
                    <a:pt x="174" y="36"/>
                  </a:lnTo>
                  <a:lnTo>
                    <a:pt x="168" y="30"/>
                  </a:lnTo>
                  <a:lnTo>
                    <a:pt x="156" y="30"/>
                  </a:lnTo>
                  <a:lnTo>
                    <a:pt x="132" y="18"/>
                  </a:lnTo>
                  <a:lnTo>
                    <a:pt x="126" y="6"/>
                  </a:lnTo>
                  <a:lnTo>
                    <a:pt x="120" y="0"/>
                  </a:lnTo>
                  <a:lnTo>
                    <a:pt x="90" y="0"/>
                  </a:lnTo>
                  <a:lnTo>
                    <a:pt x="90" y="6"/>
                  </a:lnTo>
                  <a:lnTo>
                    <a:pt x="72" y="24"/>
                  </a:lnTo>
                  <a:lnTo>
                    <a:pt x="42" y="24"/>
                  </a:lnTo>
                  <a:lnTo>
                    <a:pt x="36" y="18"/>
                  </a:lnTo>
                  <a:lnTo>
                    <a:pt x="18" y="24"/>
                  </a:lnTo>
                  <a:lnTo>
                    <a:pt x="0" y="24"/>
                  </a:lnTo>
                  <a:lnTo>
                    <a:pt x="6" y="96"/>
                  </a:lnTo>
                  <a:lnTo>
                    <a:pt x="12" y="108"/>
                  </a:lnTo>
                  <a:lnTo>
                    <a:pt x="30" y="126"/>
                  </a:lnTo>
                  <a:lnTo>
                    <a:pt x="36" y="138"/>
                  </a:lnTo>
                  <a:lnTo>
                    <a:pt x="54" y="162"/>
                  </a:lnTo>
                  <a:lnTo>
                    <a:pt x="72" y="192"/>
                  </a:lnTo>
                  <a:lnTo>
                    <a:pt x="96" y="228"/>
                  </a:lnTo>
                  <a:lnTo>
                    <a:pt x="102" y="258"/>
                  </a:lnTo>
                  <a:lnTo>
                    <a:pt x="102" y="276"/>
                  </a:lnTo>
                  <a:lnTo>
                    <a:pt x="114" y="294"/>
                  </a:lnTo>
                  <a:lnTo>
                    <a:pt x="120" y="312"/>
                  </a:lnTo>
                  <a:lnTo>
                    <a:pt x="138" y="348"/>
                  </a:lnTo>
                  <a:lnTo>
                    <a:pt x="156" y="366"/>
                  </a:lnTo>
                  <a:lnTo>
                    <a:pt x="156" y="390"/>
                  </a:lnTo>
                  <a:lnTo>
                    <a:pt x="162" y="396"/>
                  </a:lnTo>
                  <a:lnTo>
                    <a:pt x="174" y="402"/>
                  </a:lnTo>
                  <a:lnTo>
                    <a:pt x="180" y="414"/>
                  </a:lnTo>
                  <a:lnTo>
                    <a:pt x="192" y="420"/>
                  </a:lnTo>
                  <a:lnTo>
                    <a:pt x="198" y="432"/>
                  </a:lnTo>
                  <a:lnTo>
                    <a:pt x="198" y="582"/>
                  </a:lnTo>
                  <a:lnTo>
                    <a:pt x="222" y="630"/>
                  </a:lnTo>
                  <a:lnTo>
                    <a:pt x="222" y="678"/>
                  </a:lnTo>
                  <a:lnTo>
                    <a:pt x="216" y="678"/>
                  </a:lnTo>
                  <a:lnTo>
                    <a:pt x="228" y="726"/>
                  </a:lnTo>
                  <a:lnTo>
                    <a:pt x="228" y="762"/>
                  </a:lnTo>
                  <a:lnTo>
                    <a:pt x="240" y="762"/>
                  </a:lnTo>
                  <a:lnTo>
                    <a:pt x="240" y="804"/>
                  </a:lnTo>
                  <a:lnTo>
                    <a:pt x="252" y="810"/>
                  </a:lnTo>
                  <a:lnTo>
                    <a:pt x="258" y="816"/>
                  </a:lnTo>
                  <a:lnTo>
                    <a:pt x="258" y="846"/>
                  </a:lnTo>
                  <a:lnTo>
                    <a:pt x="264" y="858"/>
                  </a:lnTo>
                  <a:lnTo>
                    <a:pt x="270" y="864"/>
                  </a:lnTo>
                  <a:lnTo>
                    <a:pt x="276" y="876"/>
                  </a:lnTo>
                  <a:lnTo>
                    <a:pt x="282" y="894"/>
                  </a:lnTo>
                  <a:lnTo>
                    <a:pt x="282" y="900"/>
                  </a:lnTo>
                  <a:lnTo>
                    <a:pt x="288" y="912"/>
                  </a:lnTo>
                  <a:lnTo>
                    <a:pt x="294" y="918"/>
                  </a:lnTo>
                  <a:lnTo>
                    <a:pt x="318" y="930"/>
                  </a:lnTo>
                  <a:lnTo>
                    <a:pt x="324" y="936"/>
                  </a:lnTo>
                  <a:lnTo>
                    <a:pt x="330" y="936"/>
                  </a:lnTo>
                  <a:lnTo>
                    <a:pt x="330" y="942"/>
                  </a:lnTo>
                  <a:lnTo>
                    <a:pt x="348" y="930"/>
                  </a:lnTo>
                  <a:lnTo>
                    <a:pt x="348" y="924"/>
                  </a:lnTo>
                  <a:lnTo>
                    <a:pt x="354" y="918"/>
                  </a:lnTo>
                  <a:lnTo>
                    <a:pt x="360" y="906"/>
                  </a:lnTo>
                  <a:lnTo>
                    <a:pt x="360" y="900"/>
                  </a:lnTo>
                  <a:lnTo>
                    <a:pt x="366" y="894"/>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35" name="Myanmar" descr="© INSCALE GmbH, 05.05.2010&#10;http://www.presentationload.com/">
              <a:extLst>
                <a:ext uri="{FF2B5EF4-FFF2-40B4-BE49-F238E27FC236}">
                  <a16:creationId xmlns:a16="http://schemas.microsoft.com/office/drawing/2014/main" id="{F95A2A12-BFC0-6A87-A306-7EA58E56171A}"/>
                </a:ext>
              </a:extLst>
            </p:cNvPr>
            <p:cNvSpPr>
              <a:spLocks/>
            </p:cNvSpPr>
            <p:nvPr/>
          </p:nvSpPr>
          <p:spPr bwMode="gray">
            <a:xfrm>
              <a:off x="6676859" y="2346840"/>
              <a:ext cx="241627" cy="567751"/>
            </a:xfrm>
            <a:custGeom>
              <a:avLst/>
              <a:gdLst>
                <a:gd name="T0" fmla="*/ 2147483647 w 636"/>
                <a:gd name="T1" fmla="*/ 2147483647 h 1500"/>
                <a:gd name="T2" fmla="*/ 2147483647 w 636"/>
                <a:gd name="T3" fmla="*/ 2147483647 h 1500"/>
                <a:gd name="T4" fmla="*/ 2147483647 w 636"/>
                <a:gd name="T5" fmla="*/ 2147483647 h 1500"/>
                <a:gd name="T6" fmla="*/ 2147483647 w 636"/>
                <a:gd name="T7" fmla="*/ 2147483647 h 1500"/>
                <a:gd name="T8" fmla="*/ 2147483647 w 636"/>
                <a:gd name="T9" fmla="*/ 2147483647 h 1500"/>
                <a:gd name="T10" fmla="*/ 2147483647 w 636"/>
                <a:gd name="T11" fmla="*/ 2147483647 h 1500"/>
                <a:gd name="T12" fmla="*/ 2147483647 w 636"/>
                <a:gd name="T13" fmla="*/ 2147483647 h 1500"/>
                <a:gd name="T14" fmla="*/ 2147483647 w 636"/>
                <a:gd name="T15" fmla="*/ 2147483647 h 1500"/>
                <a:gd name="T16" fmla="*/ 2147483647 w 636"/>
                <a:gd name="T17" fmla="*/ 2147483647 h 1500"/>
                <a:gd name="T18" fmla="*/ 2147483647 w 636"/>
                <a:gd name="T19" fmla="*/ 2147483647 h 1500"/>
                <a:gd name="T20" fmla="*/ 2147483647 w 636"/>
                <a:gd name="T21" fmla="*/ 2147483647 h 1500"/>
                <a:gd name="T22" fmla="*/ 2147483647 w 636"/>
                <a:gd name="T23" fmla="*/ 2147483647 h 1500"/>
                <a:gd name="T24" fmla="*/ 2147483647 w 636"/>
                <a:gd name="T25" fmla="*/ 2147483647 h 1500"/>
                <a:gd name="T26" fmla="*/ 2147483647 w 636"/>
                <a:gd name="T27" fmla="*/ 2147483647 h 1500"/>
                <a:gd name="T28" fmla="*/ 2147483647 w 636"/>
                <a:gd name="T29" fmla="*/ 2147483647 h 1500"/>
                <a:gd name="T30" fmla="*/ 2147483647 w 636"/>
                <a:gd name="T31" fmla="*/ 2147483647 h 1500"/>
                <a:gd name="T32" fmla="*/ 2147483647 w 636"/>
                <a:gd name="T33" fmla="*/ 2147483647 h 1500"/>
                <a:gd name="T34" fmla="*/ 2147483647 w 636"/>
                <a:gd name="T35" fmla="*/ 2147483647 h 1500"/>
                <a:gd name="T36" fmla="*/ 2147483647 w 636"/>
                <a:gd name="T37" fmla="*/ 2147483647 h 1500"/>
                <a:gd name="T38" fmla="*/ 2147483647 w 636"/>
                <a:gd name="T39" fmla="*/ 2147483647 h 1500"/>
                <a:gd name="T40" fmla="*/ 2147483647 w 636"/>
                <a:gd name="T41" fmla="*/ 2147483647 h 1500"/>
                <a:gd name="T42" fmla="*/ 2147483647 w 636"/>
                <a:gd name="T43" fmla="*/ 2147483647 h 1500"/>
                <a:gd name="T44" fmla="*/ 2147483647 w 636"/>
                <a:gd name="T45" fmla="*/ 2147483647 h 1500"/>
                <a:gd name="T46" fmla="*/ 2147483647 w 636"/>
                <a:gd name="T47" fmla="*/ 2147483647 h 1500"/>
                <a:gd name="T48" fmla="*/ 2147483647 w 636"/>
                <a:gd name="T49" fmla="*/ 2147483647 h 1500"/>
                <a:gd name="T50" fmla="*/ 2147483647 w 636"/>
                <a:gd name="T51" fmla="*/ 2147483647 h 1500"/>
                <a:gd name="T52" fmla="*/ 2147483647 w 636"/>
                <a:gd name="T53" fmla="*/ 2147483647 h 1500"/>
                <a:gd name="T54" fmla="*/ 2147483647 w 636"/>
                <a:gd name="T55" fmla="*/ 2147483647 h 1500"/>
                <a:gd name="T56" fmla="*/ 2147483647 w 636"/>
                <a:gd name="T57" fmla="*/ 2147483647 h 1500"/>
                <a:gd name="T58" fmla="*/ 2147483647 w 636"/>
                <a:gd name="T59" fmla="*/ 2147483647 h 1500"/>
                <a:gd name="T60" fmla="*/ 2147483647 w 636"/>
                <a:gd name="T61" fmla="*/ 2147483647 h 1500"/>
                <a:gd name="T62" fmla="*/ 2147483647 w 636"/>
                <a:gd name="T63" fmla="*/ 2147483647 h 1500"/>
                <a:gd name="T64" fmla="*/ 2147483647 w 636"/>
                <a:gd name="T65" fmla="*/ 2147483647 h 1500"/>
                <a:gd name="T66" fmla="*/ 2147483647 w 636"/>
                <a:gd name="T67" fmla="*/ 2147483647 h 1500"/>
                <a:gd name="T68" fmla="*/ 2147483647 w 636"/>
                <a:gd name="T69" fmla="*/ 2147483647 h 1500"/>
                <a:gd name="T70" fmla="*/ 2147483647 w 636"/>
                <a:gd name="T71" fmla="*/ 2147483647 h 1500"/>
                <a:gd name="T72" fmla="*/ 2147483647 w 636"/>
                <a:gd name="T73" fmla="*/ 2147483647 h 1500"/>
                <a:gd name="T74" fmla="*/ 2147483647 w 636"/>
                <a:gd name="T75" fmla="*/ 2147483647 h 1500"/>
                <a:gd name="T76" fmla="*/ 2147483647 w 636"/>
                <a:gd name="T77" fmla="*/ 2147483647 h 1500"/>
                <a:gd name="T78" fmla="*/ 2147483647 w 636"/>
                <a:gd name="T79" fmla="*/ 2147483647 h 1500"/>
                <a:gd name="T80" fmla="*/ 2147483647 w 636"/>
                <a:gd name="T81" fmla="*/ 2147483647 h 1500"/>
                <a:gd name="T82" fmla="*/ 2147483647 w 636"/>
                <a:gd name="T83" fmla="*/ 2147483647 h 1500"/>
                <a:gd name="T84" fmla="*/ 2147483647 w 636"/>
                <a:gd name="T85" fmla="*/ 2147483647 h 1500"/>
                <a:gd name="T86" fmla="*/ 2147483647 w 636"/>
                <a:gd name="T87" fmla="*/ 0 h 1500"/>
                <a:gd name="T88" fmla="*/ 2147483647 w 636"/>
                <a:gd name="T89" fmla="*/ 2147483647 h 1500"/>
                <a:gd name="T90" fmla="*/ 2147483647 w 636"/>
                <a:gd name="T91" fmla="*/ 2147483647 h 1500"/>
                <a:gd name="T92" fmla="*/ 2147483647 w 636"/>
                <a:gd name="T93" fmla="*/ 2147483647 h 1500"/>
                <a:gd name="T94" fmla="*/ 2147483647 w 636"/>
                <a:gd name="T95" fmla="*/ 2147483647 h 1500"/>
                <a:gd name="T96" fmla="*/ 2147483647 w 636"/>
                <a:gd name="T97" fmla="*/ 2147483647 h 1500"/>
                <a:gd name="T98" fmla="*/ 2147483647 w 636"/>
                <a:gd name="T99" fmla="*/ 2147483647 h 1500"/>
                <a:gd name="T100" fmla="*/ 2147483647 w 636"/>
                <a:gd name="T101" fmla="*/ 2147483647 h 1500"/>
                <a:gd name="T102" fmla="*/ 2147483647 w 636"/>
                <a:gd name="T103" fmla="*/ 2147483647 h 1500"/>
                <a:gd name="T104" fmla="*/ 2147483647 w 636"/>
                <a:gd name="T105" fmla="*/ 2147483647 h 1500"/>
                <a:gd name="T106" fmla="*/ 2147483647 w 636"/>
                <a:gd name="T107" fmla="*/ 2147483647 h 1500"/>
                <a:gd name="T108" fmla="*/ 2147483647 w 636"/>
                <a:gd name="T109" fmla="*/ 2147483647 h 15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36"/>
                <a:gd name="T166" fmla="*/ 0 h 1500"/>
                <a:gd name="T167" fmla="*/ 636 w 636"/>
                <a:gd name="T168" fmla="*/ 1500 h 15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36" h="1500">
                  <a:moveTo>
                    <a:pt x="0" y="588"/>
                  </a:moveTo>
                  <a:lnTo>
                    <a:pt x="18" y="588"/>
                  </a:lnTo>
                  <a:lnTo>
                    <a:pt x="12" y="630"/>
                  </a:lnTo>
                  <a:lnTo>
                    <a:pt x="18" y="630"/>
                  </a:lnTo>
                  <a:lnTo>
                    <a:pt x="24" y="636"/>
                  </a:lnTo>
                  <a:lnTo>
                    <a:pt x="42" y="642"/>
                  </a:lnTo>
                  <a:lnTo>
                    <a:pt x="54" y="648"/>
                  </a:lnTo>
                  <a:lnTo>
                    <a:pt x="72" y="666"/>
                  </a:lnTo>
                  <a:lnTo>
                    <a:pt x="84" y="690"/>
                  </a:lnTo>
                  <a:lnTo>
                    <a:pt x="90" y="696"/>
                  </a:lnTo>
                  <a:lnTo>
                    <a:pt x="90" y="702"/>
                  </a:lnTo>
                  <a:lnTo>
                    <a:pt x="126" y="696"/>
                  </a:lnTo>
                  <a:lnTo>
                    <a:pt x="102" y="738"/>
                  </a:lnTo>
                  <a:lnTo>
                    <a:pt x="108" y="738"/>
                  </a:lnTo>
                  <a:lnTo>
                    <a:pt x="114" y="744"/>
                  </a:lnTo>
                  <a:lnTo>
                    <a:pt x="126" y="744"/>
                  </a:lnTo>
                  <a:lnTo>
                    <a:pt x="144" y="750"/>
                  </a:lnTo>
                  <a:lnTo>
                    <a:pt x="156" y="762"/>
                  </a:lnTo>
                  <a:lnTo>
                    <a:pt x="168" y="768"/>
                  </a:lnTo>
                  <a:lnTo>
                    <a:pt x="174" y="780"/>
                  </a:lnTo>
                  <a:lnTo>
                    <a:pt x="186" y="792"/>
                  </a:lnTo>
                  <a:lnTo>
                    <a:pt x="192" y="804"/>
                  </a:lnTo>
                  <a:lnTo>
                    <a:pt x="192" y="822"/>
                  </a:lnTo>
                  <a:lnTo>
                    <a:pt x="198" y="834"/>
                  </a:lnTo>
                  <a:lnTo>
                    <a:pt x="198" y="840"/>
                  </a:lnTo>
                  <a:lnTo>
                    <a:pt x="204" y="846"/>
                  </a:lnTo>
                  <a:lnTo>
                    <a:pt x="210" y="858"/>
                  </a:lnTo>
                  <a:lnTo>
                    <a:pt x="222" y="870"/>
                  </a:lnTo>
                  <a:lnTo>
                    <a:pt x="210" y="888"/>
                  </a:lnTo>
                  <a:lnTo>
                    <a:pt x="216" y="978"/>
                  </a:lnTo>
                  <a:lnTo>
                    <a:pt x="204" y="990"/>
                  </a:lnTo>
                  <a:lnTo>
                    <a:pt x="204" y="1002"/>
                  </a:lnTo>
                  <a:lnTo>
                    <a:pt x="222" y="1020"/>
                  </a:lnTo>
                  <a:lnTo>
                    <a:pt x="234" y="1020"/>
                  </a:lnTo>
                  <a:lnTo>
                    <a:pt x="246" y="1014"/>
                  </a:lnTo>
                  <a:lnTo>
                    <a:pt x="252" y="1008"/>
                  </a:lnTo>
                  <a:lnTo>
                    <a:pt x="258" y="1014"/>
                  </a:lnTo>
                  <a:lnTo>
                    <a:pt x="258" y="1020"/>
                  </a:lnTo>
                  <a:lnTo>
                    <a:pt x="276" y="1020"/>
                  </a:lnTo>
                  <a:lnTo>
                    <a:pt x="282" y="1014"/>
                  </a:lnTo>
                  <a:lnTo>
                    <a:pt x="294" y="1008"/>
                  </a:lnTo>
                  <a:lnTo>
                    <a:pt x="300" y="996"/>
                  </a:lnTo>
                  <a:lnTo>
                    <a:pt x="306" y="990"/>
                  </a:lnTo>
                  <a:lnTo>
                    <a:pt x="312" y="978"/>
                  </a:lnTo>
                  <a:lnTo>
                    <a:pt x="324" y="978"/>
                  </a:lnTo>
                  <a:lnTo>
                    <a:pt x="360" y="960"/>
                  </a:lnTo>
                  <a:lnTo>
                    <a:pt x="366" y="954"/>
                  </a:lnTo>
                  <a:lnTo>
                    <a:pt x="366" y="900"/>
                  </a:lnTo>
                  <a:lnTo>
                    <a:pt x="372" y="894"/>
                  </a:lnTo>
                  <a:lnTo>
                    <a:pt x="378" y="894"/>
                  </a:lnTo>
                  <a:lnTo>
                    <a:pt x="396" y="912"/>
                  </a:lnTo>
                  <a:lnTo>
                    <a:pt x="402" y="924"/>
                  </a:lnTo>
                  <a:lnTo>
                    <a:pt x="402" y="954"/>
                  </a:lnTo>
                  <a:lnTo>
                    <a:pt x="408" y="954"/>
                  </a:lnTo>
                  <a:lnTo>
                    <a:pt x="426" y="972"/>
                  </a:lnTo>
                  <a:lnTo>
                    <a:pt x="432" y="984"/>
                  </a:lnTo>
                  <a:lnTo>
                    <a:pt x="444" y="1014"/>
                  </a:lnTo>
                  <a:lnTo>
                    <a:pt x="450" y="1050"/>
                  </a:lnTo>
                  <a:lnTo>
                    <a:pt x="450" y="1074"/>
                  </a:lnTo>
                  <a:lnTo>
                    <a:pt x="456" y="1092"/>
                  </a:lnTo>
                  <a:lnTo>
                    <a:pt x="456" y="1128"/>
                  </a:lnTo>
                  <a:lnTo>
                    <a:pt x="462" y="1134"/>
                  </a:lnTo>
                  <a:lnTo>
                    <a:pt x="480" y="1170"/>
                  </a:lnTo>
                  <a:lnTo>
                    <a:pt x="486" y="1176"/>
                  </a:lnTo>
                  <a:lnTo>
                    <a:pt x="486" y="1182"/>
                  </a:lnTo>
                  <a:lnTo>
                    <a:pt x="528" y="1272"/>
                  </a:lnTo>
                  <a:lnTo>
                    <a:pt x="540" y="1320"/>
                  </a:lnTo>
                  <a:lnTo>
                    <a:pt x="522" y="1320"/>
                  </a:lnTo>
                  <a:lnTo>
                    <a:pt x="516" y="1326"/>
                  </a:lnTo>
                  <a:lnTo>
                    <a:pt x="516" y="1350"/>
                  </a:lnTo>
                  <a:lnTo>
                    <a:pt x="510" y="1362"/>
                  </a:lnTo>
                  <a:lnTo>
                    <a:pt x="510" y="1374"/>
                  </a:lnTo>
                  <a:lnTo>
                    <a:pt x="552" y="1362"/>
                  </a:lnTo>
                  <a:lnTo>
                    <a:pt x="540" y="1416"/>
                  </a:lnTo>
                  <a:lnTo>
                    <a:pt x="540" y="1428"/>
                  </a:lnTo>
                  <a:lnTo>
                    <a:pt x="534" y="1440"/>
                  </a:lnTo>
                  <a:lnTo>
                    <a:pt x="534" y="1464"/>
                  </a:lnTo>
                  <a:lnTo>
                    <a:pt x="540" y="1482"/>
                  </a:lnTo>
                  <a:lnTo>
                    <a:pt x="540" y="1488"/>
                  </a:lnTo>
                  <a:lnTo>
                    <a:pt x="546" y="1500"/>
                  </a:lnTo>
                  <a:lnTo>
                    <a:pt x="552" y="1488"/>
                  </a:lnTo>
                  <a:lnTo>
                    <a:pt x="558" y="1482"/>
                  </a:lnTo>
                  <a:lnTo>
                    <a:pt x="564" y="1470"/>
                  </a:lnTo>
                  <a:lnTo>
                    <a:pt x="564" y="1458"/>
                  </a:lnTo>
                  <a:lnTo>
                    <a:pt x="558" y="1452"/>
                  </a:lnTo>
                  <a:lnTo>
                    <a:pt x="558" y="1440"/>
                  </a:lnTo>
                  <a:lnTo>
                    <a:pt x="576" y="1422"/>
                  </a:lnTo>
                  <a:lnTo>
                    <a:pt x="594" y="1386"/>
                  </a:lnTo>
                  <a:lnTo>
                    <a:pt x="594" y="1368"/>
                  </a:lnTo>
                  <a:lnTo>
                    <a:pt x="600" y="1356"/>
                  </a:lnTo>
                  <a:lnTo>
                    <a:pt x="600" y="1326"/>
                  </a:lnTo>
                  <a:lnTo>
                    <a:pt x="594" y="1314"/>
                  </a:lnTo>
                  <a:lnTo>
                    <a:pt x="594" y="1290"/>
                  </a:lnTo>
                  <a:lnTo>
                    <a:pt x="570" y="1266"/>
                  </a:lnTo>
                  <a:lnTo>
                    <a:pt x="570" y="1242"/>
                  </a:lnTo>
                  <a:lnTo>
                    <a:pt x="564" y="1224"/>
                  </a:lnTo>
                  <a:lnTo>
                    <a:pt x="564" y="1194"/>
                  </a:lnTo>
                  <a:lnTo>
                    <a:pt x="558" y="1182"/>
                  </a:lnTo>
                  <a:lnTo>
                    <a:pt x="516" y="1140"/>
                  </a:lnTo>
                  <a:lnTo>
                    <a:pt x="510" y="1128"/>
                  </a:lnTo>
                  <a:lnTo>
                    <a:pt x="504" y="1122"/>
                  </a:lnTo>
                  <a:lnTo>
                    <a:pt x="498" y="1110"/>
                  </a:lnTo>
                  <a:lnTo>
                    <a:pt x="492" y="1104"/>
                  </a:lnTo>
                  <a:lnTo>
                    <a:pt x="492" y="1098"/>
                  </a:lnTo>
                  <a:lnTo>
                    <a:pt x="486" y="1092"/>
                  </a:lnTo>
                  <a:lnTo>
                    <a:pt x="504" y="1056"/>
                  </a:lnTo>
                  <a:lnTo>
                    <a:pt x="510" y="1050"/>
                  </a:lnTo>
                  <a:lnTo>
                    <a:pt x="516" y="1038"/>
                  </a:lnTo>
                  <a:lnTo>
                    <a:pt x="516" y="1014"/>
                  </a:lnTo>
                  <a:lnTo>
                    <a:pt x="510" y="1002"/>
                  </a:lnTo>
                  <a:lnTo>
                    <a:pt x="522" y="1002"/>
                  </a:lnTo>
                  <a:lnTo>
                    <a:pt x="528" y="996"/>
                  </a:lnTo>
                  <a:lnTo>
                    <a:pt x="528" y="978"/>
                  </a:lnTo>
                  <a:lnTo>
                    <a:pt x="522" y="972"/>
                  </a:lnTo>
                  <a:lnTo>
                    <a:pt x="516" y="978"/>
                  </a:lnTo>
                  <a:lnTo>
                    <a:pt x="510" y="978"/>
                  </a:lnTo>
                  <a:lnTo>
                    <a:pt x="504" y="972"/>
                  </a:lnTo>
                  <a:lnTo>
                    <a:pt x="498" y="960"/>
                  </a:lnTo>
                  <a:lnTo>
                    <a:pt x="498" y="942"/>
                  </a:lnTo>
                  <a:lnTo>
                    <a:pt x="504" y="942"/>
                  </a:lnTo>
                  <a:lnTo>
                    <a:pt x="504" y="936"/>
                  </a:lnTo>
                  <a:lnTo>
                    <a:pt x="498" y="930"/>
                  </a:lnTo>
                  <a:lnTo>
                    <a:pt x="486" y="924"/>
                  </a:lnTo>
                  <a:lnTo>
                    <a:pt x="474" y="912"/>
                  </a:lnTo>
                  <a:lnTo>
                    <a:pt x="462" y="906"/>
                  </a:lnTo>
                  <a:lnTo>
                    <a:pt x="444" y="888"/>
                  </a:lnTo>
                  <a:lnTo>
                    <a:pt x="438" y="876"/>
                  </a:lnTo>
                  <a:lnTo>
                    <a:pt x="438" y="870"/>
                  </a:lnTo>
                  <a:lnTo>
                    <a:pt x="432" y="870"/>
                  </a:lnTo>
                  <a:lnTo>
                    <a:pt x="438" y="846"/>
                  </a:lnTo>
                  <a:lnTo>
                    <a:pt x="426" y="840"/>
                  </a:lnTo>
                  <a:lnTo>
                    <a:pt x="402" y="816"/>
                  </a:lnTo>
                  <a:lnTo>
                    <a:pt x="402" y="810"/>
                  </a:lnTo>
                  <a:lnTo>
                    <a:pt x="426" y="810"/>
                  </a:lnTo>
                  <a:lnTo>
                    <a:pt x="426" y="792"/>
                  </a:lnTo>
                  <a:lnTo>
                    <a:pt x="408" y="774"/>
                  </a:lnTo>
                  <a:lnTo>
                    <a:pt x="408" y="768"/>
                  </a:lnTo>
                  <a:lnTo>
                    <a:pt x="414" y="762"/>
                  </a:lnTo>
                  <a:lnTo>
                    <a:pt x="420" y="762"/>
                  </a:lnTo>
                  <a:lnTo>
                    <a:pt x="426" y="756"/>
                  </a:lnTo>
                  <a:lnTo>
                    <a:pt x="426" y="708"/>
                  </a:lnTo>
                  <a:lnTo>
                    <a:pt x="456" y="708"/>
                  </a:lnTo>
                  <a:lnTo>
                    <a:pt x="468" y="714"/>
                  </a:lnTo>
                  <a:lnTo>
                    <a:pt x="480" y="714"/>
                  </a:lnTo>
                  <a:lnTo>
                    <a:pt x="486" y="708"/>
                  </a:lnTo>
                  <a:lnTo>
                    <a:pt x="492" y="696"/>
                  </a:lnTo>
                  <a:lnTo>
                    <a:pt x="498" y="690"/>
                  </a:lnTo>
                  <a:lnTo>
                    <a:pt x="498" y="684"/>
                  </a:lnTo>
                  <a:lnTo>
                    <a:pt x="522" y="684"/>
                  </a:lnTo>
                  <a:lnTo>
                    <a:pt x="528" y="660"/>
                  </a:lnTo>
                  <a:lnTo>
                    <a:pt x="534" y="660"/>
                  </a:lnTo>
                  <a:lnTo>
                    <a:pt x="540" y="654"/>
                  </a:lnTo>
                  <a:lnTo>
                    <a:pt x="564" y="654"/>
                  </a:lnTo>
                  <a:lnTo>
                    <a:pt x="564" y="642"/>
                  </a:lnTo>
                  <a:lnTo>
                    <a:pt x="582" y="624"/>
                  </a:lnTo>
                  <a:lnTo>
                    <a:pt x="594" y="624"/>
                  </a:lnTo>
                  <a:lnTo>
                    <a:pt x="600" y="618"/>
                  </a:lnTo>
                  <a:lnTo>
                    <a:pt x="594" y="612"/>
                  </a:lnTo>
                  <a:lnTo>
                    <a:pt x="600" y="600"/>
                  </a:lnTo>
                  <a:lnTo>
                    <a:pt x="600" y="588"/>
                  </a:lnTo>
                  <a:lnTo>
                    <a:pt x="636" y="570"/>
                  </a:lnTo>
                  <a:lnTo>
                    <a:pt x="636" y="552"/>
                  </a:lnTo>
                  <a:lnTo>
                    <a:pt x="630" y="546"/>
                  </a:lnTo>
                  <a:lnTo>
                    <a:pt x="618" y="546"/>
                  </a:lnTo>
                  <a:lnTo>
                    <a:pt x="600" y="564"/>
                  </a:lnTo>
                  <a:lnTo>
                    <a:pt x="600" y="570"/>
                  </a:lnTo>
                  <a:lnTo>
                    <a:pt x="558" y="570"/>
                  </a:lnTo>
                  <a:lnTo>
                    <a:pt x="558" y="552"/>
                  </a:lnTo>
                  <a:lnTo>
                    <a:pt x="546" y="552"/>
                  </a:lnTo>
                  <a:lnTo>
                    <a:pt x="534" y="522"/>
                  </a:lnTo>
                  <a:lnTo>
                    <a:pt x="480" y="516"/>
                  </a:lnTo>
                  <a:lnTo>
                    <a:pt x="486" y="504"/>
                  </a:lnTo>
                  <a:lnTo>
                    <a:pt x="486" y="498"/>
                  </a:lnTo>
                  <a:lnTo>
                    <a:pt x="492" y="492"/>
                  </a:lnTo>
                  <a:lnTo>
                    <a:pt x="492" y="480"/>
                  </a:lnTo>
                  <a:lnTo>
                    <a:pt x="480" y="468"/>
                  </a:lnTo>
                  <a:lnTo>
                    <a:pt x="486" y="462"/>
                  </a:lnTo>
                  <a:lnTo>
                    <a:pt x="498" y="462"/>
                  </a:lnTo>
                  <a:lnTo>
                    <a:pt x="504" y="456"/>
                  </a:lnTo>
                  <a:lnTo>
                    <a:pt x="504" y="450"/>
                  </a:lnTo>
                  <a:lnTo>
                    <a:pt x="498" y="444"/>
                  </a:lnTo>
                  <a:lnTo>
                    <a:pt x="486" y="438"/>
                  </a:lnTo>
                  <a:lnTo>
                    <a:pt x="456" y="438"/>
                  </a:lnTo>
                  <a:lnTo>
                    <a:pt x="444" y="396"/>
                  </a:lnTo>
                  <a:lnTo>
                    <a:pt x="420" y="378"/>
                  </a:lnTo>
                  <a:lnTo>
                    <a:pt x="450" y="354"/>
                  </a:lnTo>
                  <a:lnTo>
                    <a:pt x="390" y="354"/>
                  </a:lnTo>
                  <a:lnTo>
                    <a:pt x="384" y="360"/>
                  </a:lnTo>
                  <a:lnTo>
                    <a:pt x="372" y="360"/>
                  </a:lnTo>
                  <a:lnTo>
                    <a:pt x="366" y="366"/>
                  </a:lnTo>
                  <a:lnTo>
                    <a:pt x="354" y="372"/>
                  </a:lnTo>
                  <a:lnTo>
                    <a:pt x="366" y="354"/>
                  </a:lnTo>
                  <a:lnTo>
                    <a:pt x="360" y="342"/>
                  </a:lnTo>
                  <a:lnTo>
                    <a:pt x="342" y="324"/>
                  </a:lnTo>
                  <a:lnTo>
                    <a:pt x="342" y="306"/>
                  </a:lnTo>
                  <a:lnTo>
                    <a:pt x="354" y="306"/>
                  </a:lnTo>
                  <a:lnTo>
                    <a:pt x="348" y="276"/>
                  </a:lnTo>
                  <a:lnTo>
                    <a:pt x="360" y="276"/>
                  </a:lnTo>
                  <a:lnTo>
                    <a:pt x="366" y="270"/>
                  </a:lnTo>
                  <a:lnTo>
                    <a:pt x="366" y="234"/>
                  </a:lnTo>
                  <a:lnTo>
                    <a:pt x="372" y="240"/>
                  </a:lnTo>
                  <a:lnTo>
                    <a:pt x="384" y="240"/>
                  </a:lnTo>
                  <a:lnTo>
                    <a:pt x="390" y="234"/>
                  </a:lnTo>
                  <a:lnTo>
                    <a:pt x="396" y="222"/>
                  </a:lnTo>
                  <a:lnTo>
                    <a:pt x="396" y="216"/>
                  </a:lnTo>
                  <a:lnTo>
                    <a:pt x="378" y="198"/>
                  </a:lnTo>
                  <a:lnTo>
                    <a:pt x="390" y="198"/>
                  </a:lnTo>
                  <a:lnTo>
                    <a:pt x="396" y="192"/>
                  </a:lnTo>
                  <a:lnTo>
                    <a:pt x="408" y="192"/>
                  </a:lnTo>
                  <a:lnTo>
                    <a:pt x="396" y="132"/>
                  </a:lnTo>
                  <a:lnTo>
                    <a:pt x="384" y="108"/>
                  </a:lnTo>
                  <a:lnTo>
                    <a:pt x="384" y="78"/>
                  </a:lnTo>
                  <a:lnTo>
                    <a:pt x="378" y="72"/>
                  </a:lnTo>
                  <a:lnTo>
                    <a:pt x="342" y="72"/>
                  </a:lnTo>
                  <a:lnTo>
                    <a:pt x="342" y="66"/>
                  </a:lnTo>
                  <a:lnTo>
                    <a:pt x="336" y="60"/>
                  </a:lnTo>
                  <a:lnTo>
                    <a:pt x="318" y="24"/>
                  </a:lnTo>
                  <a:lnTo>
                    <a:pt x="306" y="18"/>
                  </a:lnTo>
                  <a:lnTo>
                    <a:pt x="300" y="6"/>
                  </a:lnTo>
                  <a:lnTo>
                    <a:pt x="294" y="0"/>
                  </a:lnTo>
                  <a:lnTo>
                    <a:pt x="288" y="0"/>
                  </a:lnTo>
                  <a:lnTo>
                    <a:pt x="282" y="18"/>
                  </a:lnTo>
                  <a:lnTo>
                    <a:pt x="282" y="48"/>
                  </a:lnTo>
                  <a:lnTo>
                    <a:pt x="276" y="48"/>
                  </a:lnTo>
                  <a:lnTo>
                    <a:pt x="270" y="54"/>
                  </a:lnTo>
                  <a:lnTo>
                    <a:pt x="258" y="60"/>
                  </a:lnTo>
                  <a:lnTo>
                    <a:pt x="246" y="72"/>
                  </a:lnTo>
                  <a:lnTo>
                    <a:pt x="252" y="84"/>
                  </a:lnTo>
                  <a:lnTo>
                    <a:pt x="258" y="90"/>
                  </a:lnTo>
                  <a:lnTo>
                    <a:pt x="270" y="96"/>
                  </a:lnTo>
                  <a:lnTo>
                    <a:pt x="276" y="102"/>
                  </a:lnTo>
                  <a:lnTo>
                    <a:pt x="276" y="108"/>
                  </a:lnTo>
                  <a:lnTo>
                    <a:pt x="258" y="108"/>
                  </a:lnTo>
                  <a:lnTo>
                    <a:pt x="252" y="102"/>
                  </a:lnTo>
                  <a:lnTo>
                    <a:pt x="216" y="102"/>
                  </a:lnTo>
                  <a:lnTo>
                    <a:pt x="204" y="108"/>
                  </a:lnTo>
                  <a:lnTo>
                    <a:pt x="198" y="108"/>
                  </a:lnTo>
                  <a:lnTo>
                    <a:pt x="198" y="126"/>
                  </a:lnTo>
                  <a:lnTo>
                    <a:pt x="186" y="138"/>
                  </a:lnTo>
                  <a:lnTo>
                    <a:pt x="174" y="144"/>
                  </a:lnTo>
                  <a:lnTo>
                    <a:pt x="162" y="144"/>
                  </a:lnTo>
                  <a:lnTo>
                    <a:pt x="156" y="150"/>
                  </a:lnTo>
                  <a:lnTo>
                    <a:pt x="150" y="150"/>
                  </a:lnTo>
                  <a:lnTo>
                    <a:pt x="150" y="174"/>
                  </a:lnTo>
                  <a:lnTo>
                    <a:pt x="156" y="180"/>
                  </a:lnTo>
                  <a:lnTo>
                    <a:pt x="156" y="186"/>
                  </a:lnTo>
                  <a:lnTo>
                    <a:pt x="162" y="192"/>
                  </a:lnTo>
                  <a:lnTo>
                    <a:pt x="162" y="204"/>
                  </a:lnTo>
                  <a:lnTo>
                    <a:pt x="144" y="234"/>
                  </a:lnTo>
                  <a:lnTo>
                    <a:pt x="138" y="240"/>
                  </a:lnTo>
                  <a:lnTo>
                    <a:pt x="126" y="246"/>
                  </a:lnTo>
                  <a:lnTo>
                    <a:pt x="126" y="264"/>
                  </a:lnTo>
                  <a:lnTo>
                    <a:pt x="132" y="276"/>
                  </a:lnTo>
                  <a:lnTo>
                    <a:pt x="138" y="282"/>
                  </a:lnTo>
                  <a:lnTo>
                    <a:pt x="120" y="336"/>
                  </a:lnTo>
                  <a:lnTo>
                    <a:pt x="120" y="372"/>
                  </a:lnTo>
                  <a:lnTo>
                    <a:pt x="108" y="372"/>
                  </a:lnTo>
                  <a:lnTo>
                    <a:pt x="96" y="366"/>
                  </a:lnTo>
                  <a:lnTo>
                    <a:pt x="42" y="366"/>
                  </a:lnTo>
                  <a:lnTo>
                    <a:pt x="48" y="366"/>
                  </a:lnTo>
                  <a:lnTo>
                    <a:pt x="66" y="384"/>
                  </a:lnTo>
                  <a:lnTo>
                    <a:pt x="72" y="432"/>
                  </a:lnTo>
                  <a:lnTo>
                    <a:pt x="66" y="432"/>
                  </a:lnTo>
                  <a:lnTo>
                    <a:pt x="48" y="450"/>
                  </a:lnTo>
                  <a:lnTo>
                    <a:pt x="54" y="462"/>
                  </a:lnTo>
                  <a:lnTo>
                    <a:pt x="54" y="486"/>
                  </a:lnTo>
                  <a:lnTo>
                    <a:pt x="72" y="504"/>
                  </a:lnTo>
                  <a:lnTo>
                    <a:pt x="72" y="516"/>
                  </a:lnTo>
                  <a:lnTo>
                    <a:pt x="60" y="516"/>
                  </a:lnTo>
                  <a:lnTo>
                    <a:pt x="54" y="510"/>
                  </a:lnTo>
                  <a:lnTo>
                    <a:pt x="48" y="510"/>
                  </a:lnTo>
                  <a:lnTo>
                    <a:pt x="48" y="534"/>
                  </a:lnTo>
                  <a:lnTo>
                    <a:pt x="30" y="516"/>
                  </a:lnTo>
                  <a:lnTo>
                    <a:pt x="42" y="576"/>
                  </a:lnTo>
                  <a:lnTo>
                    <a:pt x="6" y="570"/>
                  </a:lnTo>
                  <a:lnTo>
                    <a:pt x="6" y="576"/>
                  </a:lnTo>
                  <a:lnTo>
                    <a:pt x="0" y="588"/>
                  </a:lnTo>
                  <a:close/>
                </a:path>
              </a:pathLst>
            </a:custGeom>
            <a:solidFill>
              <a:srgbClr val="7030A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36" name="Mozambique" descr="© INSCALE GmbH, 05.05.2010&#10;http://www.presentationload.com/">
              <a:extLst>
                <a:ext uri="{FF2B5EF4-FFF2-40B4-BE49-F238E27FC236}">
                  <a16:creationId xmlns:a16="http://schemas.microsoft.com/office/drawing/2014/main" id="{FA3AA898-70DC-BF6A-8A35-CF88502392E3}"/>
                </a:ext>
              </a:extLst>
            </p:cNvPr>
            <p:cNvSpPr>
              <a:spLocks/>
            </p:cNvSpPr>
            <p:nvPr/>
          </p:nvSpPr>
          <p:spPr bwMode="gray">
            <a:xfrm>
              <a:off x="5041802" y="3538673"/>
              <a:ext cx="289063" cy="506974"/>
            </a:xfrm>
            <a:custGeom>
              <a:avLst/>
              <a:gdLst>
                <a:gd name="T0" fmla="*/ 2147483647 w 762"/>
                <a:gd name="T1" fmla="*/ 2147483647 h 1338"/>
                <a:gd name="T2" fmla="*/ 2147483647 w 762"/>
                <a:gd name="T3" fmla="*/ 2147483647 h 1338"/>
                <a:gd name="T4" fmla="*/ 2147483647 w 762"/>
                <a:gd name="T5" fmla="*/ 2147483647 h 1338"/>
                <a:gd name="T6" fmla="*/ 2147483647 w 762"/>
                <a:gd name="T7" fmla="*/ 2147483647 h 1338"/>
                <a:gd name="T8" fmla="*/ 2147483647 w 762"/>
                <a:gd name="T9" fmla="*/ 2147483647 h 1338"/>
                <a:gd name="T10" fmla="*/ 2147483647 w 762"/>
                <a:gd name="T11" fmla="*/ 2147483647 h 1338"/>
                <a:gd name="T12" fmla="*/ 2147483647 w 762"/>
                <a:gd name="T13" fmla="*/ 2147483647 h 1338"/>
                <a:gd name="T14" fmla="*/ 2147483647 w 762"/>
                <a:gd name="T15" fmla="*/ 2147483647 h 1338"/>
                <a:gd name="T16" fmla="*/ 2147483647 w 762"/>
                <a:gd name="T17" fmla="*/ 2147483647 h 1338"/>
                <a:gd name="T18" fmla="*/ 2147483647 w 762"/>
                <a:gd name="T19" fmla="*/ 2147483647 h 1338"/>
                <a:gd name="T20" fmla="*/ 2147483647 w 762"/>
                <a:gd name="T21" fmla="*/ 2147483647 h 1338"/>
                <a:gd name="T22" fmla="*/ 2147483647 w 762"/>
                <a:gd name="T23" fmla="*/ 2147483647 h 1338"/>
                <a:gd name="T24" fmla="*/ 2147483647 w 762"/>
                <a:gd name="T25" fmla="*/ 2147483647 h 1338"/>
                <a:gd name="T26" fmla="*/ 2147483647 w 762"/>
                <a:gd name="T27" fmla="*/ 2147483647 h 1338"/>
                <a:gd name="T28" fmla="*/ 2147483647 w 762"/>
                <a:gd name="T29" fmla="*/ 2147483647 h 1338"/>
                <a:gd name="T30" fmla="*/ 2147483647 w 762"/>
                <a:gd name="T31" fmla="*/ 2147483647 h 1338"/>
                <a:gd name="T32" fmla="*/ 2147483647 w 762"/>
                <a:gd name="T33" fmla="*/ 2147483647 h 1338"/>
                <a:gd name="T34" fmla="*/ 2147483647 w 762"/>
                <a:gd name="T35" fmla="*/ 2147483647 h 1338"/>
                <a:gd name="T36" fmla="*/ 2147483647 w 762"/>
                <a:gd name="T37" fmla="*/ 2147483647 h 1338"/>
                <a:gd name="T38" fmla="*/ 2147483647 w 762"/>
                <a:gd name="T39" fmla="*/ 2147483647 h 1338"/>
                <a:gd name="T40" fmla="*/ 2147483647 w 762"/>
                <a:gd name="T41" fmla="*/ 2147483647 h 1338"/>
                <a:gd name="T42" fmla="*/ 2147483647 w 762"/>
                <a:gd name="T43" fmla="*/ 2147483647 h 1338"/>
                <a:gd name="T44" fmla="*/ 2147483647 w 762"/>
                <a:gd name="T45" fmla="*/ 2147483647 h 1338"/>
                <a:gd name="T46" fmla="*/ 2147483647 w 762"/>
                <a:gd name="T47" fmla="*/ 2147483647 h 1338"/>
                <a:gd name="T48" fmla="*/ 2147483647 w 762"/>
                <a:gd name="T49" fmla="*/ 2147483647 h 1338"/>
                <a:gd name="T50" fmla="*/ 2147483647 w 762"/>
                <a:gd name="T51" fmla="*/ 2147483647 h 1338"/>
                <a:gd name="T52" fmla="*/ 2147483647 w 762"/>
                <a:gd name="T53" fmla="*/ 2147483647 h 1338"/>
                <a:gd name="T54" fmla="*/ 2147483647 w 762"/>
                <a:gd name="T55" fmla="*/ 2147483647 h 1338"/>
                <a:gd name="T56" fmla="*/ 0 w 762"/>
                <a:gd name="T57" fmla="*/ 2147483647 h 1338"/>
                <a:gd name="T58" fmla="*/ 2147483647 w 762"/>
                <a:gd name="T59" fmla="*/ 2147483647 h 1338"/>
                <a:gd name="T60" fmla="*/ 2147483647 w 762"/>
                <a:gd name="T61" fmla="*/ 2147483647 h 1338"/>
                <a:gd name="T62" fmla="*/ 2147483647 w 762"/>
                <a:gd name="T63" fmla="*/ 2147483647 h 1338"/>
                <a:gd name="T64" fmla="*/ 2147483647 w 762"/>
                <a:gd name="T65" fmla="*/ 2147483647 h 1338"/>
                <a:gd name="T66" fmla="*/ 2147483647 w 762"/>
                <a:gd name="T67" fmla="*/ 2147483647 h 1338"/>
                <a:gd name="T68" fmla="*/ 2147483647 w 762"/>
                <a:gd name="T69" fmla="*/ 2147483647 h 1338"/>
                <a:gd name="T70" fmla="*/ 2147483647 w 762"/>
                <a:gd name="T71" fmla="*/ 2147483647 h 1338"/>
                <a:gd name="T72" fmla="*/ 2147483647 w 762"/>
                <a:gd name="T73" fmla="*/ 2147483647 h 1338"/>
                <a:gd name="T74" fmla="*/ 2147483647 w 762"/>
                <a:gd name="T75" fmla="*/ 2147483647 h 1338"/>
                <a:gd name="T76" fmla="*/ 2147483647 w 762"/>
                <a:gd name="T77" fmla="*/ 2147483647 h 1338"/>
                <a:gd name="T78" fmla="*/ 2147483647 w 762"/>
                <a:gd name="T79" fmla="*/ 2147483647 h 1338"/>
                <a:gd name="T80" fmla="*/ 2147483647 w 762"/>
                <a:gd name="T81" fmla="*/ 2147483647 h 1338"/>
                <a:gd name="T82" fmla="*/ 2147483647 w 762"/>
                <a:gd name="T83" fmla="*/ 2147483647 h 1338"/>
                <a:gd name="T84" fmla="*/ 2147483647 w 762"/>
                <a:gd name="T85" fmla="*/ 2147483647 h 1338"/>
                <a:gd name="T86" fmla="*/ 2147483647 w 762"/>
                <a:gd name="T87" fmla="*/ 2147483647 h 1338"/>
                <a:gd name="T88" fmla="*/ 2147483647 w 762"/>
                <a:gd name="T89" fmla="*/ 2147483647 h 1338"/>
                <a:gd name="T90" fmla="*/ 2147483647 w 762"/>
                <a:gd name="T91" fmla="*/ 2147483647 h 1338"/>
                <a:gd name="T92" fmla="*/ 2147483647 w 762"/>
                <a:gd name="T93" fmla="*/ 2147483647 h 1338"/>
                <a:gd name="T94" fmla="*/ 2147483647 w 762"/>
                <a:gd name="T95" fmla="*/ 2147483647 h 1338"/>
                <a:gd name="T96" fmla="*/ 2147483647 w 762"/>
                <a:gd name="T97" fmla="*/ 2147483647 h 1338"/>
                <a:gd name="T98" fmla="*/ 2147483647 w 762"/>
                <a:gd name="T99" fmla="*/ 2147483647 h 1338"/>
                <a:gd name="T100" fmla="*/ 2147483647 w 762"/>
                <a:gd name="T101" fmla="*/ 2147483647 h 1338"/>
                <a:gd name="T102" fmla="*/ 2147483647 w 762"/>
                <a:gd name="T103" fmla="*/ 2147483647 h 1338"/>
                <a:gd name="T104" fmla="*/ 2147483647 w 762"/>
                <a:gd name="T105" fmla="*/ 2147483647 h 1338"/>
                <a:gd name="T106" fmla="*/ 2147483647 w 762"/>
                <a:gd name="T107" fmla="*/ 2147483647 h 1338"/>
                <a:gd name="T108" fmla="*/ 2147483647 w 762"/>
                <a:gd name="T109" fmla="*/ 2147483647 h 1338"/>
                <a:gd name="T110" fmla="*/ 2147483647 w 762"/>
                <a:gd name="T111" fmla="*/ 2147483647 h 1338"/>
                <a:gd name="T112" fmla="*/ 2147483647 w 762"/>
                <a:gd name="T113" fmla="*/ 2147483647 h 1338"/>
                <a:gd name="T114" fmla="*/ 2147483647 w 762"/>
                <a:gd name="T115" fmla="*/ 2147483647 h 1338"/>
                <a:gd name="T116" fmla="*/ 2147483647 w 762"/>
                <a:gd name="T117" fmla="*/ 2147483647 h 1338"/>
                <a:gd name="T118" fmla="*/ 2147483647 w 762"/>
                <a:gd name="T119" fmla="*/ 2147483647 h 1338"/>
                <a:gd name="T120" fmla="*/ 2147483647 w 762"/>
                <a:gd name="T121" fmla="*/ 2147483647 h 1338"/>
                <a:gd name="T122" fmla="*/ 2147483647 w 762"/>
                <a:gd name="T123" fmla="*/ 2147483647 h 13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62"/>
                <a:gd name="T187" fmla="*/ 0 h 1338"/>
                <a:gd name="T188" fmla="*/ 762 w 762"/>
                <a:gd name="T189" fmla="*/ 1338 h 133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62" h="1338">
                  <a:moveTo>
                    <a:pt x="762" y="342"/>
                  </a:moveTo>
                  <a:lnTo>
                    <a:pt x="762" y="324"/>
                  </a:lnTo>
                  <a:lnTo>
                    <a:pt x="756" y="318"/>
                  </a:lnTo>
                  <a:lnTo>
                    <a:pt x="744" y="318"/>
                  </a:lnTo>
                  <a:lnTo>
                    <a:pt x="744" y="258"/>
                  </a:lnTo>
                  <a:lnTo>
                    <a:pt x="732" y="246"/>
                  </a:lnTo>
                  <a:lnTo>
                    <a:pt x="750" y="234"/>
                  </a:lnTo>
                  <a:lnTo>
                    <a:pt x="738" y="186"/>
                  </a:lnTo>
                  <a:lnTo>
                    <a:pt x="750" y="156"/>
                  </a:lnTo>
                  <a:lnTo>
                    <a:pt x="738" y="120"/>
                  </a:lnTo>
                  <a:lnTo>
                    <a:pt x="738" y="108"/>
                  </a:lnTo>
                  <a:lnTo>
                    <a:pt x="750" y="72"/>
                  </a:lnTo>
                  <a:lnTo>
                    <a:pt x="756" y="42"/>
                  </a:lnTo>
                  <a:lnTo>
                    <a:pt x="756" y="12"/>
                  </a:lnTo>
                  <a:lnTo>
                    <a:pt x="744" y="0"/>
                  </a:lnTo>
                  <a:lnTo>
                    <a:pt x="666" y="54"/>
                  </a:lnTo>
                  <a:lnTo>
                    <a:pt x="636" y="60"/>
                  </a:lnTo>
                  <a:lnTo>
                    <a:pt x="630" y="60"/>
                  </a:lnTo>
                  <a:lnTo>
                    <a:pt x="618" y="72"/>
                  </a:lnTo>
                  <a:lnTo>
                    <a:pt x="606" y="78"/>
                  </a:lnTo>
                  <a:lnTo>
                    <a:pt x="594" y="78"/>
                  </a:lnTo>
                  <a:lnTo>
                    <a:pt x="594" y="72"/>
                  </a:lnTo>
                  <a:lnTo>
                    <a:pt x="588" y="66"/>
                  </a:lnTo>
                  <a:lnTo>
                    <a:pt x="564" y="66"/>
                  </a:lnTo>
                  <a:lnTo>
                    <a:pt x="558" y="72"/>
                  </a:lnTo>
                  <a:lnTo>
                    <a:pt x="552" y="84"/>
                  </a:lnTo>
                  <a:lnTo>
                    <a:pt x="540" y="90"/>
                  </a:lnTo>
                  <a:lnTo>
                    <a:pt x="528" y="102"/>
                  </a:lnTo>
                  <a:lnTo>
                    <a:pt x="510" y="102"/>
                  </a:lnTo>
                  <a:lnTo>
                    <a:pt x="498" y="96"/>
                  </a:lnTo>
                  <a:lnTo>
                    <a:pt x="492" y="90"/>
                  </a:lnTo>
                  <a:lnTo>
                    <a:pt x="486" y="90"/>
                  </a:lnTo>
                  <a:lnTo>
                    <a:pt x="468" y="108"/>
                  </a:lnTo>
                  <a:lnTo>
                    <a:pt x="456" y="108"/>
                  </a:lnTo>
                  <a:lnTo>
                    <a:pt x="450" y="102"/>
                  </a:lnTo>
                  <a:lnTo>
                    <a:pt x="438" y="96"/>
                  </a:lnTo>
                  <a:lnTo>
                    <a:pt x="432" y="84"/>
                  </a:lnTo>
                  <a:lnTo>
                    <a:pt x="420" y="78"/>
                  </a:lnTo>
                  <a:lnTo>
                    <a:pt x="408" y="78"/>
                  </a:lnTo>
                  <a:lnTo>
                    <a:pt x="396" y="90"/>
                  </a:lnTo>
                  <a:lnTo>
                    <a:pt x="390" y="90"/>
                  </a:lnTo>
                  <a:lnTo>
                    <a:pt x="384" y="96"/>
                  </a:lnTo>
                  <a:lnTo>
                    <a:pt x="354" y="96"/>
                  </a:lnTo>
                  <a:lnTo>
                    <a:pt x="354" y="114"/>
                  </a:lnTo>
                  <a:lnTo>
                    <a:pt x="330" y="138"/>
                  </a:lnTo>
                  <a:lnTo>
                    <a:pt x="330" y="150"/>
                  </a:lnTo>
                  <a:lnTo>
                    <a:pt x="342" y="162"/>
                  </a:lnTo>
                  <a:lnTo>
                    <a:pt x="348" y="174"/>
                  </a:lnTo>
                  <a:lnTo>
                    <a:pt x="348" y="204"/>
                  </a:lnTo>
                  <a:lnTo>
                    <a:pt x="342" y="216"/>
                  </a:lnTo>
                  <a:lnTo>
                    <a:pt x="336" y="234"/>
                  </a:lnTo>
                  <a:lnTo>
                    <a:pt x="336" y="246"/>
                  </a:lnTo>
                  <a:lnTo>
                    <a:pt x="342" y="246"/>
                  </a:lnTo>
                  <a:lnTo>
                    <a:pt x="342" y="252"/>
                  </a:lnTo>
                  <a:lnTo>
                    <a:pt x="348" y="252"/>
                  </a:lnTo>
                  <a:lnTo>
                    <a:pt x="372" y="276"/>
                  </a:lnTo>
                  <a:lnTo>
                    <a:pt x="384" y="300"/>
                  </a:lnTo>
                  <a:lnTo>
                    <a:pt x="390" y="306"/>
                  </a:lnTo>
                  <a:lnTo>
                    <a:pt x="396" y="318"/>
                  </a:lnTo>
                  <a:lnTo>
                    <a:pt x="408" y="336"/>
                  </a:lnTo>
                  <a:lnTo>
                    <a:pt x="420" y="348"/>
                  </a:lnTo>
                  <a:lnTo>
                    <a:pt x="420" y="366"/>
                  </a:lnTo>
                  <a:lnTo>
                    <a:pt x="414" y="372"/>
                  </a:lnTo>
                  <a:lnTo>
                    <a:pt x="408" y="384"/>
                  </a:lnTo>
                  <a:lnTo>
                    <a:pt x="402" y="390"/>
                  </a:lnTo>
                  <a:lnTo>
                    <a:pt x="402" y="450"/>
                  </a:lnTo>
                  <a:lnTo>
                    <a:pt x="396" y="456"/>
                  </a:lnTo>
                  <a:lnTo>
                    <a:pt x="372" y="456"/>
                  </a:lnTo>
                  <a:lnTo>
                    <a:pt x="360" y="462"/>
                  </a:lnTo>
                  <a:lnTo>
                    <a:pt x="354" y="474"/>
                  </a:lnTo>
                  <a:lnTo>
                    <a:pt x="354" y="492"/>
                  </a:lnTo>
                  <a:lnTo>
                    <a:pt x="360" y="492"/>
                  </a:lnTo>
                  <a:lnTo>
                    <a:pt x="366" y="498"/>
                  </a:lnTo>
                  <a:lnTo>
                    <a:pt x="366" y="528"/>
                  </a:lnTo>
                  <a:lnTo>
                    <a:pt x="354" y="534"/>
                  </a:lnTo>
                  <a:lnTo>
                    <a:pt x="348" y="540"/>
                  </a:lnTo>
                  <a:lnTo>
                    <a:pt x="342" y="534"/>
                  </a:lnTo>
                  <a:lnTo>
                    <a:pt x="342" y="522"/>
                  </a:lnTo>
                  <a:lnTo>
                    <a:pt x="348" y="516"/>
                  </a:lnTo>
                  <a:lnTo>
                    <a:pt x="348" y="504"/>
                  </a:lnTo>
                  <a:lnTo>
                    <a:pt x="336" y="498"/>
                  </a:lnTo>
                  <a:lnTo>
                    <a:pt x="330" y="492"/>
                  </a:lnTo>
                  <a:lnTo>
                    <a:pt x="318" y="486"/>
                  </a:lnTo>
                  <a:lnTo>
                    <a:pt x="312" y="480"/>
                  </a:lnTo>
                  <a:lnTo>
                    <a:pt x="300" y="474"/>
                  </a:lnTo>
                  <a:lnTo>
                    <a:pt x="300" y="444"/>
                  </a:lnTo>
                  <a:lnTo>
                    <a:pt x="288" y="444"/>
                  </a:lnTo>
                  <a:lnTo>
                    <a:pt x="288" y="438"/>
                  </a:lnTo>
                  <a:lnTo>
                    <a:pt x="294" y="432"/>
                  </a:lnTo>
                  <a:lnTo>
                    <a:pt x="306" y="426"/>
                  </a:lnTo>
                  <a:lnTo>
                    <a:pt x="312" y="420"/>
                  </a:lnTo>
                  <a:lnTo>
                    <a:pt x="300" y="402"/>
                  </a:lnTo>
                  <a:lnTo>
                    <a:pt x="312" y="396"/>
                  </a:lnTo>
                  <a:lnTo>
                    <a:pt x="318" y="366"/>
                  </a:lnTo>
                  <a:lnTo>
                    <a:pt x="312" y="366"/>
                  </a:lnTo>
                  <a:lnTo>
                    <a:pt x="312" y="330"/>
                  </a:lnTo>
                  <a:lnTo>
                    <a:pt x="306" y="324"/>
                  </a:lnTo>
                  <a:lnTo>
                    <a:pt x="288" y="324"/>
                  </a:lnTo>
                  <a:lnTo>
                    <a:pt x="282" y="330"/>
                  </a:lnTo>
                  <a:lnTo>
                    <a:pt x="252" y="330"/>
                  </a:lnTo>
                  <a:lnTo>
                    <a:pt x="222" y="282"/>
                  </a:lnTo>
                  <a:lnTo>
                    <a:pt x="216" y="282"/>
                  </a:lnTo>
                  <a:lnTo>
                    <a:pt x="210" y="288"/>
                  </a:lnTo>
                  <a:lnTo>
                    <a:pt x="192" y="294"/>
                  </a:lnTo>
                  <a:lnTo>
                    <a:pt x="180" y="300"/>
                  </a:lnTo>
                  <a:lnTo>
                    <a:pt x="162" y="312"/>
                  </a:lnTo>
                  <a:lnTo>
                    <a:pt x="138" y="324"/>
                  </a:lnTo>
                  <a:lnTo>
                    <a:pt x="132" y="324"/>
                  </a:lnTo>
                  <a:lnTo>
                    <a:pt x="120" y="330"/>
                  </a:lnTo>
                  <a:lnTo>
                    <a:pt x="102" y="336"/>
                  </a:lnTo>
                  <a:lnTo>
                    <a:pt x="84" y="336"/>
                  </a:lnTo>
                  <a:lnTo>
                    <a:pt x="72" y="342"/>
                  </a:lnTo>
                  <a:lnTo>
                    <a:pt x="60" y="342"/>
                  </a:lnTo>
                  <a:lnTo>
                    <a:pt x="42" y="360"/>
                  </a:lnTo>
                  <a:lnTo>
                    <a:pt x="12" y="360"/>
                  </a:lnTo>
                  <a:lnTo>
                    <a:pt x="0" y="372"/>
                  </a:lnTo>
                  <a:lnTo>
                    <a:pt x="18" y="390"/>
                  </a:lnTo>
                  <a:lnTo>
                    <a:pt x="24" y="444"/>
                  </a:lnTo>
                  <a:lnTo>
                    <a:pt x="84" y="444"/>
                  </a:lnTo>
                  <a:lnTo>
                    <a:pt x="96" y="462"/>
                  </a:lnTo>
                  <a:lnTo>
                    <a:pt x="114" y="462"/>
                  </a:lnTo>
                  <a:lnTo>
                    <a:pt x="132" y="486"/>
                  </a:lnTo>
                  <a:lnTo>
                    <a:pt x="138" y="486"/>
                  </a:lnTo>
                  <a:lnTo>
                    <a:pt x="150" y="480"/>
                  </a:lnTo>
                  <a:lnTo>
                    <a:pt x="162" y="480"/>
                  </a:lnTo>
                  <a:lnTo>
                    <a:pt x="180" y="498"/>
                  </a:lnTo>
                  <a:lnTo>
                    <a:pt x="192" y="498"/>
                  </a:lnTo>
                  <a:lnTo>
                    <a:pt x="204" y="510"/>
                  </a:lnTo>
                  <a:lnTo>
                    <a:pt x="204" y="516"/>
                  </a:lnTo>
                  <a:lnTo>
                    <a:pt x="198" y="528"/>
                  </a:lnTo>
                  <a:lnTo>
                    <a:pt x="192" y="534"/>
                  </a:lnTo>
                  <a:lnTo>
                    <a:pt x="204" y="552"/>
                  </a:lnTo>
                  <a:lnTo>
                    <a:pt x="192" y="564"/>
                  </a:lnTo>
                  <a:lnTo>
                    <a:pt x="204" y="576"/>
                  </a:lnTo>
                  <a:lnTo>
                    <a:pt x="198" y="582"/>
                  </a:lnTo>
                  <a:lnTo>
                    <a:pt x="198" y="588"/>
                  </a:lnTo>
                  <a:lnTo>
                    <a:pt x="192" y="594"/>
                  </a:lnTo>
                  <a:lnTo>
                    <a:pt x="192" y="606"/>
                  </a:lnTo>
                  <a:lnTo>
                    <a:pt x="204" y="630"/>
                  </a:lnTo>
                  <a:lnTo>
                    <a:pt x="204" y="642"/>
                  </a:lnTo>
                  <a:lnTo>
                    <a:pt x="198" y="648"/>
                  </a:lnTo>
                  <a:lnTo>
                    <a:pt x="198" y="654"/>
                  </a:lnTo>
                  <a:lnTo>
                    <a:pt x="192" y="654"/>
                  </a:lnTo>
                  <a:lnTo>
                    <a:pt x="192" y="666"/>
                  </a:lnTo>
                  <a:lnTo>
                    <a:pt x="174" y="678"/>
                  </a:lnTo>
                  <a:lnTo>
                    <a:pt x="192" y="702"/>
                  </a:lnTo>
                  <a:lnTo>
                    <a:pt x="174" y="720"/>
                  </a:lnTo>
                  <a:lnTo>
                    <a:pt x="174" y="732"/>
                  </a:lnTo>
                  <a:lnTo>
                    <a:pt x="198" y="756"/>
                  </a:lnTo>
                  <a:lnTo>
                    <a:pt x="198" y="762"/>
                  </a:lnTo>
                  <a:lnTo>
                    <a:pt x="192" y="774"/>
                  </a:lnTo>
                  <a:lnTo>
                    <a:pt x="180" y="786"/>
                  </a:lnTo>
                  <a:lnTo>
                    <a:pt x="180" y="798"/>
                  </a:lnTo>
                  <a:lnTo>
                    <a:pt x="168" y="810"/>
                  </a:lnTo>
                  <a:lnTo>
                    <a:pt x="156" y="816"/>
                  </a:lnTo>
                  <a:lnTo>
                    <a:pt x="156" y="846"/>
                  </a:lnTo>
                  <a:lnTo>
                    <a:pt x="144" y="858"/>
                  </a:lnTo>
                  <a:lnTo>
                    <a:pt x="156" y="876"/>
                  </a:lnTo>
                  <a:lnTo>
                    <a:pt x="138" y="882"/>
                  </a:lnTo>
                  <a:lnTo>
                    <a:pt x="72" y="966"/>
                  </a:lnTo>
                  <a:lnTo>
                    <a:pt x="72" y="996"/>
                  </a:lnTo>
                  <a:lnTo>
                    <a:pt x="78" y="1014"/>
                  </a:lnTo>
                  <a:lnTo>
                    <a:pt x="78" y="1032"/>
                  </a:lnTo>
                  <a:lnTo>
                    <a:pt x="84" y="1044"/>
                  </a:lnTo>
                  <a:lnTo>
                    <a:pt x="84" y="1062"/>
                  </a:lnTo>
                  <a:lnTo>
                    <a:pt x="114" y="1122"/>
                  </a:lnTo>
                  <a:lnTo>
                    <a:pt x="114" y="1212"/>
                  </a:lnTo>
                  <a:lnTo>
                    <a:pt x="90" y="1248"/>
                  </a:lnTo>
                  <a:lnTo>
                    <a:pt x="114" y="1248"/>
                  </a:lnTo>
                  <a:lnTo>
                    <a:pt x="108" y="1260"/>
                  </a:lnTo>
                  <a:lnTo>
                    <a:pt x="108" y="1284"/>
                  </a:lnTo>
                  <a:lnTo>
                    <a:pt x="114" y="1290"/>
                  </a:lnTo>
                  <a:lnTo>
                    <a:pt x="120" y="1290"/>
                  </a:lnTo>
                  <a:lnTo>
                    <a:pt x="126" y="1314"/>
                  </a:lnTo>
                  <a:lnTo>
                    <a:pt x="144" y="1314"/>
                  </a:lnTo>
                  <a:lnTo>
                    <a:pt x="156" y="1326"/>
                  </a:lnTo>
                  <a:lnTo>
                    <a:pt x="162" y="1338"/>
                  </a:lnTo>
                  <a:lnTo>
                    <a:pt x="168" y="1320"/>
                  </a:lnTo>
                  <a:lnTo>
                    <a:pt x="168" y="1284"/>
                  </a:lnTo>
                  <a:lnTo>
                    <a:pt x="162" y="1272"/>
                  </a:lnTo>
                  <a:lnTo>
                    <a:pt x="156" y="1266"/>
                  </a:lnTo>
                  <a:lnTo>
                    <a:pt x="150" y="1266"/>
                  </a:lnTo>
                  <a:lnTo>
                    <a:pt x="150" y="1242"/>
                  </a:lnTo>
                  <a:lnTo>
                    <a:pt x="162" y="1230"/>
                  </a:lnTo>
                  <a:lnTo>
                    <a:pt x="222" y="1188"/>
                  </a:lnTo>
                  <a:lnTo>
                    <a:pt x="276" y="1158"/>
                  </a:lnTo>
                  <a:lnTo>
                    <a:pt x="294" y="1146"/>
                  </a:lnTo>
                  <a:lnTo>
                    <a:pt x="312" y="1140"/>
                  </a:lnTo>
                  <a:lnTo>
                    <a:pt x="330" y="1128"/>
                  </a:lnTo>
                  <a:lnTo>
                    <a:pt x="342" y="1122"/>
                  </a:lnTo>
                  <a:lnTo>
                    <a:pt x="360" y="1104"/>
                  </a:lnTo>
                  <a:lnTo>
                    <a:pt x="360" y="1080"/>
                  </a:lnTo>
                  <a:lnTo>
                    <a:pt x="354" y="1080"/>
                  </a:lnTo>
                  <a:lnTo>
                    <a:pt x="354" y="1086"/>
                  </a:lnTo>
                  <a:lnTo>
                    <a:pt x="348" y="1080"/>
                  </a:lnTo>
                  <a:lnTo>
                    <a:pt x="342" y="1080"/>
                  </a:lnTo>
                  <a:lnTo>
                    <a:pt x="342" y="1068"/>
                  </a:lnTo>
                  <a:lnTo>
                    <a:pt x="366" y="1020"/>
                  </a:lnTo>
                  <a:lnTo>
                    <a:pt x="366" y="990"/>
                  </a:lnTo>
                  <a:lnTo>
                    <a:pt x="360" y="984"/>
                  </a:lnTo>
                  <a:lnTo>
                    <a:pt x="360" y="978"/>
                  </a:lnTo>
                  <a:lnTo>
                    <a:pt x="372" y="948"/>
                  </a:lnTo>
                  <a:lnTo>
                    <a:pt x="366" y="942"/>
                  </a:lnTo>
                  <a:lnTo>
                    <a:pt x="348" y="960"/>
                  </a:lnTo>
                  <a:lnTo>
                    <a:pt x="354" y="918"/>
                  </a:lnTo>
                  <a:lnTo>
                    <a:pt x="348" y="906"/>
                  </a:lnTo>
                  <a:lnTo>
                    <a:pt x="336" y="900"/>
                  </a:lnTo>
                  <a:lnTo>
                    <a:pt x="330" y="888"/>
                  </a:lnTo>
                  <a:lnTo>
                    <a:pt x="330" y="870"/>
                  </a:lnTo>
                  <a:lnTo>
                    <a:pt x="336" y="858"/>
                  </a:lnTo>
                  <a:lnTo>
                    <a:pt x="336" y="834"/>
                  </a:lnTo>
                  <a:lnTo>
                    <a:pt x="324" y="822"/>
                  </a:lnTo>
                  <a:lnTo>
                    <a:pt x="318" y="822"/>
                  </a:lnTo>
                  <a:lnTo>
                    <a:pt x="312" y="816"/>
                  </a:lnTo>
                  <a:lnTo>
                    <a:pt x="312" y="792"/>
                  </a:lnTo>
                  <a:lnTo>
                    <a:pt x="318" y="780"/>
                  </a:lnTo>
                  <a:lnTo>
                    <a:pt x="324" y="762"/>
                  </a:lnTo>
                  <a:lnTo>
                    <a:pt x="336" y="750"/>
                  </a:lnTo>
                  <a:lnTo>
                    <a:pt x="372" y="732"/>
                  </a:lnTo>
                  <a:lnTo>
                    <a:pt x="378" y="726"/>
                  </a:lnTo>
                  <a:lnTo>
                    <a:pt x="378" y="714"/>
                  </a:lnTo>
                  <a:lnTo>
                    <a:pt x="390" y="690"/>
                  </a:lnTo>
                  <a:lnTo>
                    <a:pt x="396" y="684"/>
                  </a:lnTo>
                  <a:lnTo>
                    <a:pt x="402" y="684"/>
                  </a:lnTo>
                  <a:lnTo>
                    <a:pt x="414" y="678"/>
                  </a:lnTo>
                  <a:lnTo>
                    <a:pt x="420" y="678"/>
                  </a:lnTo>
                  <a:lnTo>
                    <a:pt x="426" y="672"/>
                  </a:lnTo>
                  <a:lnTo>
                    <a:pt x="450" y="660"/>
                  </a:lnTo>
                  <a:lnTo>
                    <a:pt x="462" y="648"/>
                  </a:lnTo>
                  <a:lnTo>
                    <a:pt x="474" y="612"/>
                  </a:lnTo>
                  <a:lnTo>
                    <a:pt x="498" y="576"/>
                  </a:lnTo>
                  <a:lnTo>
                    <a:pt x="522" y="564"/>
                  </a:lnTo>
                  <a:lnTo>
                    <a:pt x="558" y="552"/>
                  </a:lnTo>
                  <a:lnTo>
                    <a:pt x="600" y="534"/>
                  </a:lnTo>
                  <a:lnTo>
                    <a:pt x="624" y="522"/>
                  </a:lnTo>
                  <a:lnTo>
                    <a:pt x="630" y="516"/>
                  </a:lnTo>
                  <a:lnTo>
                    <a:pt x="666" y="498"/>
                  </a:lnTo>
                  <a:lnTo>
                    <a:pt x="672" y="492"/>
                  </a:lnTo>
                  <a:lnTo>
                    <a:pt x="684" y="486"/>
                  </a:lnTo>
                  <a:lnTo>
                    <a:pt x="684" y="474"/>
                  </a:lnTo>
                  <a:lnTo>
                    <a:pt x="714" y="444"/>
                  </a:lnTo>
                  <a:lnTo>
                    <a:pt x="714" y="432"/>
                  </a:lnTo>
                  <a:lnTo>
                    <a:pt x="720" y="420"/>
                  </a:lnTo>
                  <a:lnTo>
                    <a:pt x="732" y="414"/>
                  </a:lnTo>
                  <a:lnTo>
                    <a:pt x="738" y="402"/>
                  </a:lnTo>
                  <a:lnTo>
                    <a:pt x="744" y="396"/>
                  </a:lnTo>
                  <a:lnTo>
                    <a:pt x="744" y="378"/>
                  </a:lnTo>
                  <a:lnTo>
                    <a:pt x="750" y="372"/>
                  </a:lnTo>
                  <a:lnTo>
                    <a:pt x="762" y="348"/>
                  </a:lnTo>
                  <a:lnTo>
                    <a:pt x="762" y="342"/>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37" name="Morocco" descr="© INSCALE GmbH, 05.05.2010&#10;http://www.presentationload.com/">
              <a:extLst>
                <a:ext uri="{FF2B5EF4-FFF2-40B4-BE49-F238E27FC236}">
                  <a16:creationId xmlns:a16="http://schemas.microsoft.com/office/drawing/2014/main" id="{5027C162-4DF4-F051-8184-4DDBE4708AEA}"/>
                </a:ext>
              </a:extLst>
            </p:cNvPr>
            <p:cNvSpPr>
              <a:spLocks/>
            </p:cNvSpPr>
            <p:nvPr/>
          </p:nvSpPr>
          <p:spPr bwMode="gray">
            <a:xfrm>
              <a:off x="3898892" y="2123001"/>
              <a:ext cx="321676" cy="250522"/>
            </a:xfrm>
            <a:custGeom>
              <a:avLst/>
              <a:gdLst>
                <a:gd name="T0" fmla="*/ 2147483647 w 846"/>
                <a:gd name="T1" fmla="*/ 2147483647 h 660"/>
                <a:gd name="T2" fmla="*/ 2147483647 w 846"/>
                <a:gd name="T3" fmla="*/ 2147483647 h 660"/>
                <a:gd name="T4" fmla="*/ 2147483647 w 846"/>
                <a:gd name="T5" fmla="*/ 2147483647 h 660"/>
                <a:gd name="T6" fmla="*/ 2147483647 w 846"/>
                <a:gd name="T7" fmla="*/ 2147483647 h 660"/>
                <a:gd name="T8" fmla="*/ 2147483647 w 846"/>
                <a:gd name="T9" fmla="*/ 2147483647 h 660"/>
                <a:gd name="T10" fmla="*/ 2147483647 w 846"/>
                <a:gd name="T11" fmla="*/ 2147483647 h 660"/>
                <a:gd name="T12" fmla="*/ 2147483647 w 846"/>
                <a:gd name="T13" fmla="*/ 2147483647 h 660"/>
                <a:gd name="T14" fmla="*/ 2147483647 w 846"/>
                <a:gd name="T15" fmla="*/ 2147483647 h 660"/>
                <a:gd name="T16" fmla="*/ 2147483647 w 846"/>
                <a:gd name="T17" fmla="*/ 2147483647 h 660"/>
                <a:gd name="T18" fmla="*/ 2147483647 w 846"/>
                <a:gd name="T19" fmla="*/ 0 h 660"/>
                <a:gd name="T20" fmla="*/ 2147483647 w 846"/>
                <a:gd name="T21" fmla="*/ 2147483647 h 660"/>
                <a:gd name="T22" fmla="*/ 2147483647 w 846"/>
                <a:gd name="T23" fmla="*/ 2147483647 h 660"/>
                <a:gd name="T24" fmla="*/ 2147483647 w 846"/>
                <a:gd name="T25" fmla="*/ 2147483647 h 660"/>
                <a:gd name="T26" fmla="*/ 2147483647 w 846"/>
                <a:gd name="T27" fmla="*/ 2147483647 h 660"/>
                <a:gd name="T28" fmla="*/ 2147483647 w 846"/>
                <a:gd name="T29" fmla="*/ 2147483647 h 660"/>
                <a:gd name="T30" fmla="*/ 2147483647 w 846"/>
                <a:gd name="T31" fmla="*/ 2147483647 h 660"/>
                <a:gd name="T32" fmla="*/ 2147483647 w 846"/>
                <a:gd name="T33" fmla="*/ 2147483647 h 660"/>
                <a:gd name="T34" fmla="*/ 2147483647 w 846"/>
                <a:gd name="T35" fmla="*/ 2147483647 h 660"/>
                <a:gd name="T36" fmla="*/ 2147483647 w 846"/>
                <a:gd name="T37" fmla="*/ 2147483647 h 660"/>
                <a:gd name="T38" fmla="*/ 2147483647 w 846"/>
                <a:gd name="T39" fmla="*/ 2147483647 h 660"/>
                <a:gd name="T40" fmla="*/ 2147483647 w 846"/>
                <a:gd name="T41" fmla="*/ 2147483647 h 660"/>
                <a:gd name="T42" fmla="*/ 2147483647 w 846"/>
                <a:gd name="T43" fmla="*/ 2147483647 h 660"/>
                <a:gd name="T44" fmla="*/ 2147483647 w 846"/>
                <a:gd name="T45" fmla="*/ 2147483647 h 660"/>
                <a:gd name="T46" fmla="*/ 2147483647 w 846"/>
                <a:gd name="T47" fmla="*/ 2147483647 h 660"/>
                <a:gd name="T48" fmla="*/ 2147483647 w 846"/>
                <a:gd name="T49" fmla="*/ 2147483647 h 660"/>
                <a:gd name="T50" fmla="*/ 2147483647 w 846"/>
                <a:gd name="T51" fmla="*/ 2147483647 h 660"/>
                <a:gd name="T52" fmla="*/ 2147483647 w 846"/>
                <a:gd name="T53" fmla="*/ 2147483647 h 660"/>
                <a:gd name="T54" fmla="*/ 2147483647 w 846"/>
                <a:gd name="T55" fmla="*/ 2147483647 h 660"/>
                <a:gd name="T56" fmla="*/ 2147483647 w 846"/>
                <a:gd name="T57" fmla="*/ 2147483647 h 660"/>
                <a:gd name="T58" fmla="*/ 2147483647 w 846"/>
                <a:gd name="T59" fmla="*/ 2147483647 h 660"/>
                <a:gd name="T60" fmla="*/ 2147483647 w 846"/>
                <a:gd name="T61" fmla="*/ 2147483647 h 660"/>
                <a:gd name="T62" fmla="*/ 2147483647 w 846"/>
                <a:gd name="T63" fmla="*/ 2147483647 h 660"/>
                <a:gd name="T64" fmla="*/ 2147483647 w 846"/>
                <a:gd name="T65" fmla="*/ 2147483647 h 660"/>
                <a:gd name="T66" fmla="*/ 2147483647 w 846"/>
                <a:gd name="T67" fmla="*/ 2147483647 h 660"/>
                <a:gd name="T68" fmla="*/ 2147483647 w 846"/>
                <a:gd name="T69" fmla="*/ 2147483647 h 660"/>
                <a:gd name="T70" fmla="*/ 2147483647 w 846"/>
                <a:gd name="T71" fmla="*/ 2147483647 h 660"/>
                <a:gd name="T72" fmla="*/ 2147483647 w 846"/>
                <a:gd name="T73" fmla="*/ 2147483647 h 660"/>
                <a:gd name="T74" fmla="*/ 2147483647 w 846"/>
                <a:gd name="T75" fmla="*/ 2147483647 h 660"/>
                <a:gd name="T76" fmla="*/ 2147483647 w 846"/>
                <a:gd name="T77" fmla="*/ 2147483647 h 660"/>
                <a:gd name="T78" fmla="*/ 2147483647 w 846"/>
                <a:gd name="T79" fmla="*/ 2147483647 h 660"/>
                <a:gd name="T80" fmla="*/ 2147483647 w 846"/>
                <a:gd name="T81" fmla="*/ 2147483647 h 660"/>
                <a:gd name="T82" fmla="*/ 2147483647 w 846"/>
                <a:gd name="T83" fmla="*/ 2147483647 h 660"/>
                <a:gd name="T84" fmla="*/ 2147483647 w 846"/>
                <a:gd name="T85" fmla="*/ 2147483647 h 660"/>
                <a:gd name="T86" fmla="*/ 2147483647 w 846"/>
                <a:gd name="T87" fmla="*/ 2147483647 h 660"/>
                <a:gd name="T88" fmla="*/ 2147483647 w 846"/>
                <a:gd name="T89" fmla="*/ 2147483647 h 66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46"/>
                <a:gd name="T136" fmla="*/ 0 h 660"/>
                <a:gd name="T137" fmla="*/ 846 w 846"/>
                <a:gd name="T138" fmla="*/ 660 h 66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46" h="660">
                  <a:moveTo>
                    <a:pt x="822" y="246"/>
                  </a:moveTo>
                  <a:lnTo>
                    <a:pt x="822" y="216"/>
                  </a:lnTo>
                  <a:lnTo>
                    <a:pt x="804" y="216"/>
                  </a:lnTo>
                  <a:lnTo>
                    <a:pt x="816" y="186"/>
                  </a:lnTo>
                  <a:lnTo>
                    <a:pt x="804" y="168"/>
                  </a:lnTo>
                  <a:lnTo>
                    <a:pt x="810" y="102"/>
                  </a:lnTo>
                  <a:lnTo>
                    <a:pt x="798" y="102"/>
                  </a:lnTo>
                  <a:lnTo>
                    <a:pt x="798" y="90"/>
                  </a:lnTo>
                  <a:lnTo>
                    <a:pt x="804" y="84"/>
                  </a:lnTo>
                  <a:lnTo>
                    <a:pt x="792" y="78"/>
                  </a:lnTo>
                  <a:lnTo>
                    <a:pt x="786" y="66"/>
                  </a:lnTo>
                  <a:lnTo>
                    <a:pt x="780" y="60"/>
                  </a:lnTo>
                  <a:lnTo>
                    <a:pt x="744" y="42"/>
                  </a:lnTo>
                  <a:lnTo>
                    <a:pt x="720" y="42"/>
                  </a:lnTo>
                  <a:lnTo>
                    <a:pt x="708" y="48"/>
                  </a:lnTo>
                  <a:lnTo>
                    <a:pt x="702" y="54"/>
                  </a:lnTo>
                  <a:lnTo>
                    <a:pt x="696" y="54"/>
                  </a:lnTo>
                  <a:lnTo>
                    <a:pt x="690" y="48"/>
                  </a:lnTo>
                  <a:lnTo>
                    <a:pt x="678" y="48"/>
                  </a:lnTo>
                  <a:lnTo>
                    <a:pt x="666" y="42"/>
                  </a:lnTo>
                  <a:lnTo>
                    <a:pt x="654" y="42"/>
                  </a:lnTo>
                  <a:lnTo>
                    <a:pt x="642" y="48"/>
                  </a:lnTo>
                  <a:lnTo>
                    <a:pt x="636" y="54"/>
                  </a:lnTo>
                  <a:lnTo>
                    <a:pt x="624" y="54"/>
                  </a:lnTo>
                  <a:lnTo>
                    <a:pt x="588" y="36"/>
                  </a:lnTo>
                  <a:lnTo>
                    <a:pt x="570" y="18"/>
                  </a:lnTo>
                  <a:lnTo>
                    <a:pt x="564" y="6"/>
                  </a:lnTo>
                  <a:lnTo>
                    <a:pt x="558" y="6"/>
                  </a:lnTo>
                  <a:lnTo>
                    <a:pt x="552" y="0"/>
                  </a:lnTo>
                  <a:lnTo>
                    <a:pt x="528" y="0"/>
                  </a:lnTo>
                  <a:lnTo>
                    <a:pt x="528" y="6"/>
                  </a:lnTo>
                  <a:lnTo>
                    <a:pt x="522" y="12"/>
                  </a:lnTo>
                  <a:lnTo>
                    <a:pt x="522" y="30"/>
                  </a:lnTo>
                  <a:lnTo>
                    <a:pt x="516" y="48"/>
                  </a:lnTo>
                  <a:lnTo>
                    <a:pt x="498" y="84"/>
                  </a:lnTo>
                  <a:lnTo>
                    <a:pt x="492" y="102"/>
                  </a:lnTo>
                  <a:lnTo>
                    <a:pt x="468" y="138"/>
                  </a:lnTo>
                  <a:lnTo>
                    <a:pt x="462" y="150"/>
                  </a:lnTo>
                  <a:lnTo>
                    <a:pt x="450" y="162"/>
                  </a:lnTo>
                  <a:lnTo>
                    <a:pt x="438" y="168"/>
                  </a:lnTo>
                  <a:lnTo>
                    <a:pt x="420" y="168"/>
                  </a:lnTo>
                  <a:lnTo>
                    <a:pt x="408" y="174"/>
                  </a:lnTo>
                  <a:lnTo>
                    <a:pt x="402" y="174"/>
                  </a:lnTo>
                  <a:lnTo>
                    <a:pt x="396" y="180"/>
                  </a:lnTo>
                  <a:lnTo>
                    <a:pt x="384" y="186"/>
                  </a:lnTo>
                  <a:lnTo>
                    <a:pt x="378" y="198"/>
                  </a:lnTo>
                  <a:lnTo>
                    <a:pt x="360" y="192"/>
                  </a:lnTo>
                  <a:lnTo>
                    <a:pt x="330" y="204"/>
                  </a:lnTo>
                  <a:lnTo>
                    <a:pt x="330" y="210"/>
                  </a:lnTo>
                  <a:lnTo>
                    <a:pt x="324" y="216"/>
                  </a:lnTo>
                  <a:lnTo>
                    <a:pt x="324" y="228"/>
                  </a:lnTo>
                  <a:lnTo>
                    <a:pt x="318" y="240"/>
                  </a:lnTo>
                  <a:lnTo>
                    <a:pt x="312" y="240"/>
                  </a:lnTo>
                  <a:lnTo>
                    <a:pt x="288" y="264"/>
                  </a:lnTo>
                  <a:lnTo>
                    <a:pt x="288" y="288"/>
                  </a:lnTo>
                  <a:lnTo>
                    <a:pt x="276" y="312"/>
                  </a:lnTo>
                  <a:lnTo>
                    <a:pt x="264" y="324"/>
                  </a:lnTo>
                  <a:lnTo>
                    <a:pt x="258" y="336"/>
                  </a:lnTo>
                  <a:lnTo>
                    <a:pt x="246" y="354"/>
                  </a:lnTo>
                  <a:lnTo>
                    <a:pt x="246" y="402"/>
                  </a:lnTo>
                  <a:lnTo>
                    <a:pt x="240" y="408"/>
                  </a:lnTo>
                  <a:lnTo>
                    <a:pt x="234" y="408"/>
                  </a:lnTo>
                  <a:lnTo>
                    <a:pt x="234" y="414"/>
                  </a:lnTo>
                  <a:lnTo>
                    <a:pt x="240" y="420"/>
                  </a:lnTo>
                  <a:lnTo>
                    <a:pt x="252" y="420"/>
                  </a:lnTo>
                  <a:lnTo>
                    <a:pt x="252" y="474"/>
                  </a:lnTo>
                  <a:lnTo>
                    <a:pt x="240" y="474"/>
                  </a:lnTo>
                  <a:lnTo>
                    <a:pt x="228" y="480"/>
                  </a:lnTo>
                  <a:lnTo>
                    <a:pt x="192" y="540"/>
                  </a:lnTo>
                  <a:lnTo>
                    <a:pt x="180" y="552"/>
                  </a:lnTo>
                  <a:lnTo>
                    <a:pt x="168" y="552"/>
                  </a:lnTo>
                  <a:lnTo>
                    <a:pt x="162" y="558"/>
                  </a:lnTo>
                  <a:lnTo>
                    <a:pt x="150" y="564"/>
                  </a:lnTo>
                  <a:lnTo>
                    <a:pt x="144" y="576"/>
                  </a:lnTo>
                  <a:lnTo>
                    <a:pt x="132" y="588"/>
                  </a:lnTo>
                  <a:lnTo>
                    <a:pt x="126" y="600"/>
                  </a:lnTo>
                  <a:lnTo>
                    <a:pt x="120" y="606"/>
                  </a:lnTo>
                  <a:lnTo>
                    <a:pt x="84" y="624"/>
                  </a:lnTo>
                  <a:lnTo>
                    <a:pt x="66" y="624"/>
                  </a:lnTo>
                  <a:lnTo>
                    <a:pt x="54" y="630"/>
                  </a:lnTo>
                  <a:lnTo>
                    <a:pt x="48" y="630"/>
                  </a:lnTo>
                  <a:lnTo>
                    <a:pt x="42" y="636"/>
                  </a:lnTo>
                  <a:lnTo>
                    <a:pt x="12" y="636"/>
                  </a:lnTo>
                  <a:lnTo>
                    <a:pt x="6" y="642"/>
                  </a:lnTo>
                  <a:lnTo>
                    <a:pt x="6" y="654"/>
                  </a:lnTo>
                  <a:lnTo>
                    <a:pt x="0" y="660"/>
                  </a:lnTo>
                  <a:lnTo>
                    <a:pt x="312" y="660"/>
                  </a:lnTo>
                  <a:lnTo>
                    <a:pt x="312" y="600"/>
                  </a:lnTo>
                  <a:lnTo>
                    <a:pt x="318" y="570"/>
                  </a:lnTo>
                  <a:lnTo>
                    <a:pt x="330" y="564"/>
                  </a:lnTo>
                  <a:lnTo>
                    <a:pt x="336" y="558"/>
                  </a:lnTo>
                  <a:lnTo>
                    <a:pt x="348" y="552"/>
                  </a:lnTo>
                  <a:lnTo>
                    <a:pt x="378" y="522"/>
                  </a:lnTo>
                  <a:lnTo>
                    <a:pt x="378" y="516"/>
                  </a:lnTo>
                  <a:lnTo>
                    <a:pt x="396" y="516"/>
                  </a:lnTo>
                  <a:lnTo>
                    <a:pt x="426" y="498"/>
                  </a:lnTo>
                  <a:lnTo>
                    <a:pt x="438" y="504"/>
                  </a:lnTo>
                  <a:lnTo>
                    <a:pt x="444" y="510"/>
                  </a:lnTo>
                  <a:lnTo>
                    <a:pt x="456" y="510"/>
                  </a:lnTo>
                  <a:lnTo>
                    <a:pt x="462" y="498"/>
                  </a:lnTo>
                  <a:lnTo>
                    <a:pt x="462" y="492"/>
                  </a:lnTo>
                  <a:lnTo>
                    <a:pt x="486" y="486"/>
                  </a:lnTo>
                  <a:lnTo>
                    <a:pt x="492" y="474"/>
                  </a:lnTo>
                  <a:lnTo>
                    <a:pt x="504" y="474"/>
                  </a:lnTo>
                  <a:lnTo>
                    <a:pt x="516" y="480"/>
                  </a:lnTo>
                  <a:lnTo>
                    <a:pt x="540" y="480"/>
                  </a:lnTo>
                  <a:lnTo>
                    <a:pt x="552" y="468"/>
                  </a:lnTo>
                  <a:lnTo>
                    <a:pt x="564" y="444"/>
                  </a:lnTo>
                  <a:lnTo>
                    <a:pt x="570" y="438"/>
                  </a:lnTo>
                  <a:lnTo>
                    <a:pt x="576" y="426"/>
                  </a:lnTo>
                  <a:lnTo>
                    <a:pt x="618" y="426"/>
                  </a:lnTo>
                  <a:lnTo>
                    <a:pt x="624" y="420"/>
                  </a:lnTo>
                  <a:lnTo>
                    <a:pt x="636" y="414"/>
                  </a:lnTo>
                  <a:lnTo>
                    <a:pt x="648" y="402"/>
                  </a:lnTo>
                  <a:lnTo>
                    <a:pt x="648" y="396"/>
                  </a:lnTo>
                  <a:lnTo>
                    <a:pt x="672" y="384"/>
                  </a:lnTo>
                  <a:lnTo>
                    <a:pt x="660" y="366"/>
                  </a:lnTo>
                  <a:lnTo>
                    <a:pt x="654" y="354"/>
                  </a:lnTo>
                  <a:lnTo>
                    <a:pt x="648" y="348"/>
                  </a:lnTo>
                  <a:lnTo>
                    <a:pt x="648" y="336"/>
                  </a:lnTo>
                  <a:lnTo>
                    <a:pt x="654" y="330"/>
                  </a:lnTo>
                  <a:lnTo>
                    <a:pt x="678" y="330"/>
                  </a:lnTo>
                  <a:lnTo>
                    <a:pt x="690" y="324"/>
                  </a:lnTo>
                  <a:lnTo>
                    <a:pt x="714" y="324"/>
                  </a:lnTo>
                  <a:lnTo>
                    <a:pt x="714" y="312"/>
                  </a:lnTo>
                  <a:lnTo>
                    <a:pt x="720" y="306"/>
                  </a:lnTo>
                  <a:lnTo>
                    <a:pt x="720" y="300"/>
                  </a:lnTo>
                  <a:lnTo>
                    <a:pt x="732" y="300"/>
                  </a:lnTo>
                  <a:lnTo>
                    <a:pt x="738" y="306"/>
                  </a:lnTo>
                  <a:lnTo>
                    <a:pt x="744" y="300"/>
                  </a:lnTo>
                  <a:lnTo>
                    <a:pt x="744" y="294"/>
                  </a:lnTo>
                  <a:lnTo>
                    <a:pt x="762" y="294"/>
                  </a:lnTo>
                  <a:lnTo>
                    <a:pt x="774" y="300"/>
                  </a:lnTo>
                  <a:lnTo>
                    <a:pt x="828" y="294"/>
                  </a:lnTo>
                  <a:lnTo>
                    <a:pt x="828" y="282"/>
                  </a:lnTo>
                  <a:lnTo>
                    <a:pt x="846" y="264"/>
                  </a:lnTo>
                  <a:lnTo>
                    <a:pt x="822" y="246"/>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38" name="Montenegro" descr="© INSCALE GmbH, 05.05.2010&#10;http://www.presentationload.com/">
              <a:extLst>
                <a:ext uri="{FF2B5EF4-FFF2-40B4-BE49-F238E27FC236}">
                  <a16:creationId xmlns:a16="http://schemas.microsoft.com/office/drawing/2014/main" id="{D266913C-4391-01C8-107D-4326FB2CC495}"/>
                </a:ext>
              </a:extLst>
            </p:cNvPr>
            <p:cNvSpPr>
              <a:spLocks/>
            </p:cNvSpPr>
            <p:nvPr/>
          </p:nvSpPr>
          <p:spPr bwMode="gray">
            <a:xfrm>
              <a:off x="4709750" y="1887303"/>
              <a:ext cx="42989" cy="51884"/>
            </a:xfrm>
            <a:custGeom>
              <a:avLst/>
              <a:gdLst>
                <a:gd name="T0" fmla="*/ 2147483647 w 114"/>
                <a:gd name="T1" fmla="*/ 2147483647 h 138"/>
                <a:gd name="T2" fmla="*/ 2147483647 w 114"/>
                <a:gd name="T3" fmla="*/ 2147483647 h 138"/>
                <a:gd name="T4" fmla="*/ 2147483647 w 114"/>
                <a:gd name="T5" fmla="*/ 2147483647 h 138"/>
                <a:gd name="T6" fmla="*/ 2147483647 w 114"/>
                <a:gd name="T7" fmla="*/ 2147483647 h 138"/>
                <a:gd name="T8" fmla="*/ 2147483647 w 114"/>
                <a:gd name="T9" fmla="*/ 2147483647 h 138"/>
                <a:gd name="T10" fmla="*/ 2147483647 w 114"/>
                <a:gd name="T11" fmla="*/ 2147483647 h 138"/>
                <a:gd name="T12" fmla="*/ 2147483647 w 114"/>
                <a:gd name="T13" fmla="*/ 0 h 138"/>
                <a:gd name="T14" fmla="*/ 2147483647 w 114"/>
                <a:gd name="T15" fmla="*/ 0 h 138"/>
                <a:gd name="T16" fmla="*/ 2147483647 w 114"/>
                <a:gd name="T17" fmla="*/ 2147483647 h 138"/>
                <a:gd name="T18" fmla="*/ 2147483647 w 114"/>
                <a:gd name="T19" fmla="*/ 2147483647 h 138"/>
                <a:gd name="T20" fmla="*/ 2147483647 w 114"/>
                <a:gd name="T21" fmla="*/ 2147483647 h 138"/>
                <a:gd name="T22" fmla="*/ 2147483647 w 114"/>
                <a:gd name="T23" fmla="*/ 2147483647 h 138"/>
                <a:gd name="T24" fmla="*/ 2147483647 w 114"/>
                <a:gd name="T25" fmla="*/ 2147483647 h 138"/>
                <a:gd name="T26" fmla="*/ 2147483647 w 114"/>
                <a:gd name="T27" fmla="*/ 2147483647 h 138"/>
                <a:gd name="T28" fmla="*/ 0 w 114"/>
                <a:gd name="T29" fmla="*/ 2147483647 h 138"/>
                <a:gd name="T30" fmla="*/ 0 w 114"/>
                <a:gd name="T31" fmla="*/ 2147483647 h 138"/>
                <a:gd name="T32" fmla="*/ 2147483647 w 114"/>
                <a:gd name="T33" fmla="*/ 2147483647 h 138"/>
                <a:gd name="T34" fmla="*/ 2147483647 w 114"/>
                <a:gd name="T35" fmla="*/ 2147483647 h 138"/>
                <a:gd name="T36" fmla="*/ 2147483647 w 114"/>
                <a:gd name="T37" fmla="*/ 2147483647 h 138"/>
                <a:gd name="T38" fmla="*/ 2147483647 w 114"/>
                <a:gd name="T39" fmla="*/ 2147483647 h 138"/>
                <a:gd name="T40" fmla="*/ 2147483647 w 114"/>
                <a:gd name="T41" fmla="*/ 2147483647 h 138"/>
                <a:gd name="T42" fmla="*/ 2147483647 w 114"/>
                <a:gd name="T43" fmla="*/ 2147483647 h 138"/>
                <a:gd name="T44" fmla="*/ 2147483647 w 114"/>
                <a:gd name="T45" fmla="*/ 2147483647 h 138"/>
                <a:gd name="T46" fmla="*/ 2147483647 w 114"/>
                <a:gd name="T47" fmla="*/ 2147483647 h 138"/>
                <a:gd name="T48" fmla="*/ 2147483647 w 114"/>
                <a:gd name="T49" fmla="*/ 2147483647 h 138"/>
                <a:gd name="T50" fmla="*/ 2147483647 w 114"/>
                <a:gd name="T51" fmla="*/ 2147483647 h 138"/>
                <a:gd name="T52" fmla="*/ 2147483647 w 114"/>
                <a:gd name="T53" fmla="*/ 2147483647 h 138"/>
                <a:gd name="T54" fmla="*/ 2147483647 w 114"/>
                <a:gd name="T55" fmla="*/ 2147483647 h 138"/>
                <a:gd name="T56" fmla="*/ 2147483647 w 114"/>
                <a:gd name="T57" fmla="*/ 2147483647 h 138"/>
                <a:gd name="T58" fmla="*/ 2147483647 w 114"/>
                <a:gd name="T59" fmla="*/ 2147483647 h 138"/>
                <a:gd name="T60" fmla="*/ 2147483647 w 114"/>
                <a:gd name="T61" fmla="*/ 2147483647 h 138"/>
                <a:gd name="T62" fmla="*/ 2147483647 w 114"/>
                <a:gd name="T63" fmla="*/ 2147483647 h 138"/>
                <a:gd name="T64" fmla="*/ 2147483647 w 114"/>
                <a:gd name="T65" fmla="*/ 2147483647 h 138"/>
                <a:gd name="T66" fmla="*/ 2147483647 w 114"/>
                <a:gd name="T67" fmla="*/ 2147483647 h 138"/>
                <a:gd name="T68" fmla="*/ 2147483647 w 114"/>
                <a:gd name="T69" fmla="*/ 2147483647 h 138"/>
                <a:gd name="T70" fmla="*/ 2147483647 w 114"/>
                <a:gd name="T71" fmla="*/ 2147483647 h 13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4"/>
                <a:gd name="T109" fmla="*/ 0 h 138"/>
                <a:gd name="T110" fmla="*/ 114 w 114"/>
                <a:gd name="T111" fmla="*/ 138 h 13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4" h="138">
                  <a:moveTo>
                    <a:pt x="114" y="42"/>
                  </a:moveTo>
                  <a:lnTo>
                    <a:pt x="108" y="48"/>
                  </a:lnTo>
                  <a:lnTo>
                    <a:pt x="96" y="30"/>
                  </a:lnTo>
                  <a:lnTo>
                    <a:pt x="84" y="18"/>
                  </a:lnTo>
                  <a:lnTo>
                    <a:pt x="66" y="6"/>
                  </a:lnTo>
                  <a:lnTo>
                    <a:pt x="60" y="6"/>
                  </a:lnTo>
                  <a:lnTo>
                    <a:pt x="48" y="0"/>
                  </a:lnTo>
                  <a:lnTo>
                    <a:pt x="42" y="0"/>
                  </a:lnTo>
                  <a:lnTo>
                    <a:pt x="42" y="24"/>
                  </a:lnTo>
                  <a:lnTo>
                    <a:pt x="24" y="24"/>
                  </a:lnTo>
                  <a:lnTo>
                    <a:pt x="18" y="30"/>
                  </a:lnTo>
                  <a:lnTo>
                    <a:pt x="18" y="36"/>
                  </a:lnTo>
                  <a:lnTo>
                    <a:pt x="12" y="48"/>
                  </a:lnTo>
                  <a:lnTo>
                    <a:pt x="6" y="48"/>
                  </a:lnTo>
                  <a:lnTo>
                    <a:pt x="0" y="54"/>
                  </a:lnTo>
                  <a:lnTo>
                    <a:pt x="0" y="60"/>
                  </a:lnTo>
                  <a:lnTo>
                    <a:pt x="6" y="66"/>
                  </a:lnTo>
                  <a:lnTo>
                    <a:pt x="12" y="66"/>
                  </a:lnTo>
                  <a:lnTo>
                    <a:pt x="24" y="72"/>
                  </a:lnTo>
                  <a:lnTo>
                    <a:pt x="6" y="102"/>
                  </a:lnTo>
                  <a:lnTo>
                    <a:pt x="18" y="102"/>
                  </a:lnTo>
                  <a:lnTo>
                    <a:pt x="24" y="96"/>
                  </a:lnTo>
                  <a:lnTo>
                    <a:pt x="36" y="96"/>
                  </a:lnTo>
                  <a:lnTo>
                    <a:pt x="36" y="114"/>
                  </a:lnTo>
                  <a:lnTo>
                    <a:pt x="60" y="138"/>
                  </a:lnTo>
                  <a:lnTo>
                    <a:pt x="72" y="126"/>
                  </a:lnTo>
                  <a:lnTo>
                    <a:pt x="66" y="108"/>
                  </a:lnTo>
                  <a:lnTo>
                    <a:pt x="60" y="114"/>
                  </a:lnTo>
                  <a:lnTo>
                    <a:pt x="42" y="102"/>
                  </a:lnTo>
                  <a:lnTo>
                    <a:pt x="66" y="102"/>
                  </a:lnTo>
                  <a:lnTo>
                    <a:pt x="78" y="96"/>
                  </a:lnTo>
                  <a:lnTo>
                    <a:pt x="78" y="78"/>
                  </a:lnTo>
                  <a:lnTo>
                    <a:pt x="108" y="90"/>
                  </a:lnTo>
                  <a:lnTo>
                    <a:pt x="114" y="84"/>
                  </a:lnTo>
                  <a:lnTo>
                    <a:pt x="114" y="90"/>
                  </a:lnTo>
                  <a:lnTo>
                    <a:pt x="114" y="42"/>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39" name="Mongolia" descr="© INSCALE GmbH, 05.05.2010&#10;http://www.presentationload.com/">
              <a:extLst>
                <a:ext uri="{FF2B5EF4-FFF2-40B4-BE49-F238E27FC236}">
                  <a16:creationId xmlns:a16="http://schemas.microsoft.com/office/drawing/2014/main" id="{EF859AFE-C5C5-8487-BB9D-B68DE01A7309}"/>
                </a:ext>
              </a:extLst>
            </p:cNvPr>
            <p:cNvSpPr>
              <a:spLocks/>
            </p:cNvSpPr>
            <p:nvPr/>
          </p:nvSpPr>
          <p:spPr bwMode="gray">
            <a:xfrm>
              <a:off x="6340360" y="1632334"/>
              <a:ext cx="796035" cy="315747"/>
            </a:xfrm>
            <a:custGeom>
              <a:avLst/>
              <a:gdLst>
                <a:gd name="T0" fmla="*/ 2147483647 w 2100"/>
                <a:gd name="T1" fmla="*/ 2147483647 h 834"/>
                <a:gd name="T2" fmla="*/ 2147483647 w 2100"/>
                <a:gd name="T3" fmla="*/ 2147483647 h 834"/>
                <a:gd name="T4" fmla="*/ 2147483647 w 2100"/>
                <a:gd name="T5" fmla="*/ 2147483647 h 834"/>
                <a:gd name="T6" fmla="*/ 2147483647 w 2100"/>
                <a:gd name="T7" fmla="*/ 2147483647 h 834"/>
                <a:gd name="T8" fmla="*/ 2147483647 w 2100"/>
                <a:gd name="T9" fmla="*/ 2147483647 h 834"/>
                <a:gd name="T10" fmla="*/ 2147483647 w 2100"/>
                <a:gd name="T11" fmla="*/ 2147483647 h 834"/>
                <a:gd name="T12" fmla="*/ 2147483647 w 2100"/>
                <a:gd name="T13" fmla="*/ 2147483647 h 834"/>
                <a:gd name="T14" fmla="*/ 2147483647 w 2100"/>
                <a:gd name="T15" fmla="*/ 2147483647 h 834"/>
                <a:gd name="T16" fmla="*/ 2147483647 w 2100"/>
                <a:gd name="T17" fmla="*/ 2147483647 h 834"/>
                <a:gd name="T18" fmla="*/ 2147483647 w 2100"/>
                <a:gd name="T19" fmla="*/ 2147483647 h 834"/>
                <a:gd name="T20" fmla="*/ 2147483647 w 2100"/>
                <a:gd name="T21" fmla="*/ 2147483647 h 834"/>
                <a:gd name="T22" fmla="*/ 2147483647 w 2100"/>
                <a:gd name="T23" fmla="*/ 2147483647 h 834"/>
                <a:gd name="T24" fmla="*/ 2147483647 w 2100"/>
                <a:gd name="T25" fmla="*/ 2147483647 h 834"/>
                <a:gd name="T26" fmla="*/ 2147483647 w 2100"/>
                <a:gd name="T27" fmla="*/ 2147483647 h 834"/>
                <a:gd name="T28" fmla="*/ 2147483647 w 2100"/>
                <a:gd name="T29" fmla="*/ 2147483647 h 834"/>
                <a:gd name="T30" fmla="*/ 2147483647 w 2100"/>
                <a:gd name="T31" fmla="*/ 2147483647 h 834"/>
                <a:gd name="T32" fmla="*/ 2147483647 w 2100"/>
                <a:gd name="T33" fmla="*/ 2147483647 h 834"/>
                <a:gd name="T34" fmla="*/ 2147483647 w 2100"/>
                <a:gd name="T35" fmla="*/ 2147483647 h 834"/>
                <a:gd name="T36" fmla="*/ 2147483647 w 2100"/>
                <a:gd name="T37" fmla="*/ 2147483647 h 834"/>
                <a:gd name="T38" fmla="*/ 2147483647 w 2100"/>
                <a:gd name="T39" fmla="*/ 2147483647 h 834"/>
                <a:gd name="T40" fmla="*/ 2147483647 w 2100"/>
                <a:gd name="T41" fmla="*/ 2147483647 h 834"/>
                <a:gd name="T42" fmla="*/ 2147483647 w 2100"/>
                <a:gd name="T43" fmla="*/ 2147483647 h 834"/>
                <a:gd name="T44" fmla="*/ 2147483647 w 2100"/>
                <a:gd name="T45" fmla="*/ 2147483647 h 834"/>
                <a:gd name="T46" fmla="*/ 2147483647 w 2100"/>
                <a:gd name="T47" fmla="*/ 2147483647 h 834"/>
                <a:gd name="T48" fmla="*/ 2147483647 w 2100"/>
                <a:gd name="T49" fmla="*/ 2147483647 h 834"/>
                <a:gd name="T50" fmla="*/ 2147483647 w 2100"/>
                <a:gd name="T51" fmla="*/ 2147483647 h 834"/>
                <a:gd name="T52" fmla="*/ 2147483647 w 2100"/>
                <a:gd name="T53" fmla="*/ 2147483647 h 834"/>
                <a:gd name="T54" fmla="*/ 2147483647 w 2100"/>
                <a:gd name="T55" fmla="*/ 2147483647 h 834"/>
                <a:gd name="T56" fmla="*/ 2147483647 w 2100"/>
                <a:gd name="T57" fmla="*/ 2147483647 h 834"/>
                <a:gd name="T58" fmla="*/ 2147483647 w 2100"/>
                <a:gd name="T59" fmla="*/ 2147483647 h 834"/>
                <a:gd name="T60" fmla="*/ 2147483647 w 2100"/>
                <a:gd name="T61" fmla="*/ 2147483647 h 834"/>
                <a:gd name="T62" fmla="*/ 0 w 2100"/>
                <a:gd name="T63" fmla="*/ 2147483647 h 834"/>
                <a:gd name="T64" fmla="*/ 2147483647 w 2100"/>
                <a:gd name="T65" fmla="*/ 2147483647 h 834"/>
                <a:gd name="T66" fmla="*/ 2147483647 w 2100"/>
                <a:gd name="T67" fmla="*/ 2147483647 h 834"/>
                <a:gd name="T68" fmla="*/ 2147483647 w 2100"/>
                <a:gd name="T69" fmla="*/ 2147483647 h 834"/>
                <a:gd name="T70" fmla="*/ 2147483647 w 2100"/>
                <a:gd name="T71" fmla="*/ 2147483647 h 834"/>
                <a:gd name="T72" fmla="*/ 2147483647 w 2100"/>
                <a:gd name="T73" fmla="*/ 2147483647 h 834"/>
                <a:gd name="T74" fmla="*/ 2147483647 w 2100"/>
                <a:gd name="T75" fmla="*/ 2147483647 h 834"/>
                <a:gd name="T76" fmla="*/ 2147483647 w 2100"/>
                <a:gd name="T77" fmla="*/ 2147483647 h 834"/>
                <a:gd name="T78" fmla="*/ 2147483647 w 2100"/>
                <a:gd name="T79" fmla="*/ 2147483647 h 834"/>
                <a:gd name="T80" fmla="*/ 2147483647 w 2100"/>
                <a:gd name="T81" fmla="*/ 2147483647 h 834"/>
                <a:gd name="T82" fmla="*/ 2147483647 w 2100"/>
                <a:gd name="T83" fmla="*/ 2147483647 h 834"/>
                <a:gd name="T84" fmla="*/ 2147483647 w 2100"/>
                <a:gd name="T85" fmla="*/ 2147483647 h 834"/>
                <a:gd name="T86" fmla="*/ 2147483647 w 2100"/>
                <a:gd name="T87" fmla="*/ 2147483647 h 834"/>
                <a:gd name="T88" fmla="*/ 2147483647 w 2100"/>
                <a:gd name="T89" fmla="*/ 2147483647 h 834"/>
                <a:gd name="T90" fmla="*/ 2147483647 w 2100"/>
                <a:gd name="T91" fmla="*/ 2147483647 h 834"/>
                <a:gd name="T92" fmla="*/ 2147483647 w 2100"/>
                <a:gd name="T93" fmla="*/ 2147483647 h 834"/>
                <a:gd name="T94" fmla="*/ 2147483647 w 2100"/>
                <a:gd name="T95" fmla="*/ 2147483647 h 834"/>
                <a:gd name="T96" fmla="*/ 2147483647 w 2100"/>
                <a:gd name="T97" fmla="*/ 2147483647 h 834"/>
                <a:gd name="T98" fmla="*/ 2147483647 w 2100"/>
                <a:gd name="T99" fmla="*/ 2147483647 h 834"/>
                <a:gd name="T100" fmla="*/ 2147483647 w 2100"/>
                <a:gd name="T101" fmla="*/ 2147483647 h 834"/>
                <a:gd name="T102" fmla="*/ 2147483647 w 2100"/>
                <a:gd name="T103" fmla="*/ 2147483647 h 834"/>
                <a:gd name="T104" fmla="*/ 2147483647 w 2100"/>
                <a:gd name="T105" fmla="*/ 2147483647 h 834"/>
                <a:gd name="T106" fmla="*/ 2147483647 w 2100"/>
                <a:gd name="T107" fmla="*/ 2147483647 h 834"/>
                <a:gd name="T108" fmla="*/ 2147483647 w 2100"/>
                <a:gd name="T109" fmla="*/ 2147483647 h 834"/>
                <a:gd name="T110" fmla="*/ 2147483647 w 2100"/>
                <a:gd name="T111" fmla="*/ 2147483647 h 834"/>
                <a:gd name="T112" fmla="*/ 2147483647 w 2100"/>
                <a:gd name="T113" fmla="*/ 2147483647 h 834"/>
                <a:gd name="T114" fmla="*/ 2147483647 w 2100"/>
                <a:gd name="T115" fmla="*/ 2147483647 h 834"/>
                <a:gd name="T116" fmla="*/ 2147483647 w 2100"/>
                <a:gd name="T117" fmla="*/ 2147483647 h 834"/>
                <a:gd name="T118" fmla="*/ 2147483647 w 2100"/>
                <a:gd name="T119" fmla="*/ 2147483647 h 834"/>
                <a:gd name="T120" fmla="*/ 2147483647 w 2100"/>
                <a:gd name="T121" fmla="*/ 2147483647 h 834"/>
                <a:gd name="T122" fmla="*/ 2147483647 w 2100"/>
                <a:gd name="T123" fmla="*/ 2147483647 h 83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100"/>
                <a:gd name="T187" fmla="*/ 0 h 834"/>
                <a:gd name="T188" fmla="*/ 2100 w 2100"/>
                <a:gd name="T189" fmla="*/ 834 h 83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100" h="834">
                  <a:moveTo>
                    <a:pt x="2088" y="408"/>
                  </a:moveTo>
                  <a:lnTo>
                    <a:pt x="2076" y="396"/>
                  </a:lnTo>
                  <a:lnTo>
                    <a:pt x="2070" y="384"/>
                  </a:lnTo>
                  <a:lnTo>
                    <a:pt x="2058" y="384"/>
                  </a:lnTo>
                  <a:lnTo>
                    <a:pt x="2034" y="372"/>
                  </a:lnTo>
                  <a:lnTo>
                    <a:pt x="2022" y="360"/>
                  </a:lnTo>
                  <a:lnTo>
                    <a:pt x="2010" y="354"/>
                  </a:lnTo>
                  <a:lnTo>
                    <a:pt x="2004" y="348"/>
                  </a:lnTo>
                  <a:lnTo>
                    <a:pt x="1986" y="348"/>
                  </a:lnTo>
                  <a:lnTo>
                    <a:pt x="1974" y="342"/>
                  </a:lnTo>
                  <a:lnTo>
                    <a:pt x="1968" y="336"/>
                  </a:lnTo>
                  <a:lnTo>
                    <a:pt x="1968" y="324"/>
                  </a:lnTo>
                  <a:lnTo>
                    <a:pt x="1902" y="324"/>
                  </a:lnTo>
                  <a:lnTo>
                    <a:pt x="1902" y="348"/>
                  </a:lnTo>
                  <a:lnTo>
                    <a:pt x="1896" y="354"/>
                  </a:lnTo>
                  <a:lnTo>
                    <a:pt x="1890" y="354"/>
                  </a:lnTo>
                  <a:lnTo>
                    <a:pt x="1878" y="348"/>
                  </a:lnTo>
                  <a:lnTo>
                    <a:pt x="1866" y="336"/>
                  </a:lnTo>
                  <a:lnTo>
                    <a:pt x="1812" y="336"/>
                  </a:lnTo>
                  <a:lnTo>
                    <a:pt x="1806" y="342"/>
                  </a:lnTo>
                  <a:lnTo>
                    <a:pt x="1812" y="342"/>
                  </a:lnTo>
                  <a:lnTo>
                    <a:pt x="1812" y="348"/>
                  </a:lnTo>
                  <a:lnTo>
                    <a:pt x="1794" y="348"/>
                  </a:lnTo>
                  <a:lnTo>
                    <a:pt x="1788" y="342"/>
                  </a:lnTo>
                  <a:lnTo>
                    <a:pt x="1776" y="336"/>
                  </a:lnTo>
                  <a:lnTo>
                    <a:pt x="1770" y="324"/>
                  </a:lnTo>
                  <a:lnTo>
                    <a:pt x="1770" y="306"/>
                  </a:lnTo>
                  <a:lnTo>
                    <a:pt x="1776" y="306"/>
                  </a:lnTo>
                  <a:lnTo>
                    <a:pt x="1770" y="294"/>
                  </a:lnTo>
                  <a:lnTo>
                    <a:pt x="1764" y="270"/>
                  </a:lnTo>
                  <a:lnTo>
                    <a:pt x="1758" y="258"/>
                  </a:lnTo>
                  <a:lnTo>
                    <a:pt x="1758" y="174"/>
                  </a:lnTo>
                  <a:lnTo>
                    <a:pt x="1740" y="174"/>
                  </a:lnTo>
                  <a:lnTo>
                    <a:pt x="1716" y="168"/>
                  </a:lnTo>
                  <a:lnTo>
                    <a:pt x="1710" y="174"/>
                  </a:lnTo>
                  <a:lnTo>
                    <a:pt x="1698" y="180"/>
                  </a:lnTo>
                  <a:lnTo>
                    <a:pt x="1674" y="180"/>
                  </a:lnTo>
                  <a:lnTo>
                    <a:pt x="1662" y="174"/>
                  </a:lnTo>
                  <a:lnTo>
                    <a:pt x="1644" y="156"/>
                  </a:lnTo>
                  <a:lnTo>
                    <a:pt x="1608" y="156"/>
                  </a:lnTo>
                  <a:lnTo>
                    <a:pt x="1596" y="150"/>
                  </a:lnTo>
                  <a:lnTo>
                    <a:pt x="1578" y="150"/>
                  </a:lnTo>
                  <a:lnTo>
                    <a:pt x="1548" y="180"/>
                  </a:lnTo>
                  <a:lnTo>
                    <a:pt x="1548" y="192"/>
                  </a:lnTo>
                  <a:lnTo>
                    <a:pt x="1536" y="204"/>
                  </a:lnTo>
                  <a:lnTo>
                    <a:pt x="1500" y="204"/>
                  </a:lnTo>
                  <a:lnTo>
                    <a:pt x="1488" y="216"/>
                  </a:lnTo>
                  <a:lnTo>
                    <a:pt x="1440" y="216"/>
                  </a:lnTo>
                  <a:lnTo>
                    <a:pt x="1440" y="222"/>
                  </a:lnTo>
                  <a:lnTo>
                    <a:pt x="1422" y="240"/>
                  </a:lnTo>
                  <a:lnTo>
                    <a:pt x="1416" y="240"/>
                  </a:lnTo>
                  <a:lnTo>
                    <a:pt x="1416" y="234"/>
                  </a:lnTo>
                  <a:lnTo>
                    <a:pt x="1410" y="228"/>
                  </a:lnTo>
                  <a:lnTo>
                    <a:pt x="1392" y="228"/>
                  </a:lnTo>
                  <a:lnTo>
                    <a:pt x="1380" y="234"/>
                  </a:lnTo>
                  <a:lnTo>
                    <a:pt x="1356" y="234"/>
                  </a:lnTo>
                  <a:lnTo>
                    <a:pt x="1344" y="228"/>
                  </a:lnTo>
                  <a:lnTo>
                    <a:pt x="1338" y="228"/>
                  </a:lnTo>
                  <a:lnTo>
                    <a:pt x="1332" y="222"/>
                  </a:lnTo>
                  <a:lnTo>
                    <a:pt x="1266" y="222"/>
                  </a:lnTo>
                  <a:lnTo>
                    <a:pt x="1260" y="216"/>
                  </a:lnTo>
                  <a:lnTo>
                    <a:pt x="1260" y="204"/>
                  </a:lnTo>
                  <a:lnTo>
                    <a:pt x="1248" y="198"/>
                  </a:lnTo>
                  <a:lnTo>
                    <a:pt x="1230" y="198"/>
                  </a:lnTo>
                  <a:lnTo>
                    <a:pt x="1230" y="192"/>
                  </a:lnTo>
                  <a:lnTo>
                    <a:pt x="1218" y="180"/>
                  </a:lnTo>
                  <a:lnTo>
                    <a:pt x="1218" y="174"/>
                  </a:lnTo>
                  <a:lnTo>
                    <a:pt x="1212" y="168"/>
                  </a:lnTo>
                  <a:lnTo>
                    <a:pt x="1152" y="168"/>
                  </a:lnTo>
                  <a:lnTo>
                    <a:pt x="1128" y="144"/>
                  </a:lnTo>
                  <a:lnTo>
                    <a:pt x="1092" y="144"/>
                  </a:lnTo>
                  <a:lnTo>
                    <a:pt x="1086" y="138"/>
                  </a:lnTo>
                  <a:lnTo>
                    <a:pt x="1080" y="138"/>
                  </a:lnTo>
                  <a:lnTo>
                    <a:pt x="1068" y="132"/>
                  </a:lnTo>
                  <a:lnTo>
                    <a:pt x="1020" y="132"/>
                  </a:lnTo>
                  <a:lnTo>
                    <a:pt x="966" y="150"/>
                  </a:lnTo>
                  <a:lnTo>
                    <a:pt x="954" y="156"/>
                  </a:lnTo>
                  <a:lnTo>
                    <a:pt x="942" y="156"/>
                  </a:lnTo>
                  <a:lnTo>
                    <a:pt x="930" y="150"/>
                  </a:lnTo>
                  <a:lnTo>
                    <a:pt x="918" y="150"/>
                  </a:lnTo>
                  <a:lnTo>
                    <a:pt x="912" y="144"/>
                  </a:lnTo>
                  <a:lnTo>
                    <a:pt x="882" y="144"/>
                  </a:lnTo>
                  <a:lnTo>
                    <a:pt x="864" y="126"/>
                  </a:lnTo>
                  <a:lnTo>
                    <a:pt x="864" y="120"/>
                  </a:lnTo>
                  <a:lnTo>
                    <a:pt x="840" y="126"/>
                  </a:lnTo>
                  <a:lnTo>
                    <a:pt x="840" y="120"/>
                  </a:lnTo>
                  <a:lnTo>
                    <a:pt x="834" y="114"/>
                  </a:lnTo>
                  <a:lnTo>
                    <a:pt x="822" y="90"/>
                  </a:lnTo>
                  <a:lnTo>
                    <a:pt x="810" y="78"/>
                  </a:lnTo>
                  <a:lnTo>
                    <a:pt x="804" y="66"/>
                  </a:lnTo>
                  <a:lnTo>
                    <a:pt x="798" y="60"/>
                  </a:lnTo>
                  <a:lnTo>
                    <a:pt x="786" y="54"/>
                  </a:lnTo>
                  <a:lnTo>
                    <a:pt x="768" y="54"/>
                  </a:lnTo>
                  <a:lnTo>
                    <a:pt x="756" y="60"/>
                  </a:lnTo>
                  <a:lnTo>
                    <a:pt x="750" y="60"/>
                  </a:lnTo>
                  <a:lnTo>
                    <a:pt x="726" y="48"/>
                  </a:lnTo>
                  <a:lnTo>
                    <a:pt x="720" y="42"/>
                  </a:lnTo>
                  <a:lnTo>
                    <a:pt x="708" y="36"/>
                  </a:lnTo>
                  <a:lnTo>
                    <a:pt x="672" y="36"/>
                  </a:lnTo>
                  <a:lnTo>
                    <a:pt x="648" y="30"/>
                  </a:lnTo>
                  <a:lnTo>
                    <a:pt x="636" y="30"/>
                  </a:lnTo>
                  <a:lnTo>
                    <a:pt x="576" y="0"/>
                  </a:lnTo>
                  <a:lnTo>
                    <a:pt x="576" y="18"/>
                  </a:lnTo>
                  <a:lnTo>
                    <a:pt x="570" y="30"/>
                  </a:lnTo>
                  <a:lnTo>
                    <a:pt x="558" y="36"/>
                  </a:lnTo>
                  <a:lnTo>
                    <a:pt x="552" y="36"/>
                  </a:lnTo>
                  <a:lnTo>
                    <a:pt x="558" y="48"/>
                  </a:lnTo>
                  <a:lnTo>
                    <a:pt x="540" y="48"/>
                  </a:lnTo>
                  <a:lnTo>
                    <a:pt x="540" y="60"/>
                  </a:lnTo>
                  <a:lnTo>
                    <a:pt x="552" y="72"/>
                  </a:lnTo>
                  <a:lnTo>
                    <a:pt x="558" y="90"/>
                  </a:lnTo>
                  <a:lnTo>
                    <a:pt x="582" y="126"/>
                  </a:lnTo>
                  <a:lnTo>
                    <a:pt x="588" y="126"/>
                  </a:lnTo>
                  <a:lnTo>
                    <a:pt x="594" y="132"/>
                  </a:lnTo>
                  <a:lnTo>
                    <a:pt x="600" y="144"/>
                  </a:lnTo>
                  <a:lnTo>
                    <a:pt x="600" y="168"/>
                  </a:lnTo>
                  <a:lnTo>
                    <a:pt x="582" y="168"/>
                  </a:lnTo>
                  <a:lnTo>
                    <a:pt x="582" y="174"/>
                  </a:lnTo>
                  <a:lnTo>
                    <a:pt x="576" y="180"/>
                  </a:lnTo>
                  <a:lnTo>
                    <a:pt x="552" y="192"/>
                  </a:lnTo>
                  <a:lnTo>
                    <a:pt x="546" y="186"/>
                  </a:lnTo>
                  <a:lnTo>
                    <a:pt x="546" y="174"/>
                  </a:lnTo>
                  <a:lnTo>
                    <a:pt x="498" y="180"/>
                  </a:lnTo>
                  <a:lnTo>
                    <a:pt x="498" y="168"/>
                  </a:lnTo>
                  <a:lnTo>
                    <a:pt x="456" y="168"/>
                  </a:lnTo>
                  <a:lnTo>
                    <a:pt x="450" y="174"/>
                  </a:lnTo>
                  <a:lnTo>
                    <a:pt x="450" y="180"/>
                  </a:lnTo>
                  <a:lnTo>
                    <a:pt x="444" y="168"/>
                  </a:lnTo>
                  <a:lnTo>
                    <a:pt x="420" y="174"/>
                  </a:lnTo>
                  <a:lnTo>
                    <a:pt x="414" y="162"/>
                  </a:lnTo>
                  <a:lnTo>
                    <a:pt x="384" y="162"/>
                  </a:lnTo>
                  <a:lnTo>
                    <a:pt x="366" y="156"/>
                  </a:lnTo>
                  <a:lnTo>
                    <a:pt x="360" y="150"/>
                  </a:lnTo>
                  <a:lnTo>
                    <a:pt x="360" y="138"/>
                  </a:lnTo>
                  <a:lnTo>
                    <a:pt x="354" y="132"/>
                  </a:lnTo>
                  <a:lnTo>
                    <a:pt x="354" y="126"/>
                  </a:lnTo>
                  <a:lnTo>
                    <a:pt x="312" y="126"/>
                  </a:lnTo>
                  <a:lnTo>
                    <a:pt x="294" y="132"/>
                  </a:lnTo>
                  <a:lnTo>
                    <a:pt x="270" y="132"/>
                  </a:lnTo>
                  <a:lnTo>
                    <a:pt x="264" y="114"/>
                  </a:lnTo>
                  <a:lnTo>
                    <a:pt x="228" y="114"/>
                  </a:lnTo>
                  <a:lnTo>
                    <a:pt x="228" y="108"/>
                  </a:lnTo>
                  <a:lnTo>
                    <a:pt x="210" y="114"/>
                  </a:lnTo>
                  <a:lnTo>
                    <a:pt x="204" y="108"/>
                  </a:lnTo>
                  <a:lnTo>
                    <a:pt x="186" y="108"/>
                  </a:lnTo>
                  <a:lnTo>
                    <a:pt x="180" y="114"/>
                  </a:lnTo>
                  <a:lnTo>
                    <a:pt x="180" y="120"/>
                  </a:lnTo>
                  <a:lnTo>
                    <a:pt x="174" y="126"/>
                  </a:lnTo>
                  <a:lnTo>
                    <a:pt x="174" y="132"/>
                  </a:lnTo>
                  <a:lnTo>
                    <a:pt x="150" y="132"/>
                  </a:lnTo>
                  <a:lnTo>
                    <a:pt x="138" y="150"/>
                  </a:lnTo>
                  <a:lnTo>
                    <a:pt x="120" y="150"/>
                  </a:lnTo>
                  <a:lnTo>
                    <a:pt x="84" y="186"/>
                  </a:lnTo>
                  <a:lnTo>
                    <a:pt x="84" y="192"/>
                  </a:lnTo>
                  <a:lnTo>
                    <a:pt x="90" y="198"/>
                  </a:lnTo>
                  <a:lnTo>
                    <a:pt x="66" y="198"/>
                  </a:lnTo>
                  <a:lnTo>
                    <a:pt x="72" y="210"/>
                  </a:lnTo>
                  <a:lnTo>
                    <a:pt x="12" y="210"/>
                  </a:lnTo>
                  <a:lnTo>
                    <a:pt x="12" y="228"/>
                  </a:lnTo>
                  <a:lnTo>
                    <a:pt x="0" y="240"/>
                  </a:lnTo>
                  <a:lnTo>
                    <a:pt x="6" y="246"/>
                  </a:lnTo>
                  <a:lnTo>
                    <a:pt x="6" y="258"/>
                  </a:lnTo>
                  <a:lnTo>
                    <a:pt x="0" y="264"/>
                  </a:lnTo>
                  <a:lnTo>
                    <a:pt x="24" y="264"/>
                  </a:lnTo>
                  <a:lnTo>
                    <a:pt x="24" y="282"/>
                  </a:lnTo>
                  <a:lnTo>
                    <a:pt x="36" y="288"/>
                  </a:lnTo>
                  <a:lnTo>
                    <a:pt x="48" y="288"/>
                  </a:lnTo>
                  <a:lnTo>
                    <a:pt x="60" y="294"/>
                  </a:lnTo>
                  <a:lnTo>
                    <a:pt x="72" y="294"/>
                  </a:lnTo>
                  <a:lnTo>
                    <a:pt x="78" y="306"/>
                  </a:lnTo>
                  <a:lnTo>
                    <a:pt x="102" y="330"/>
                  </a:lnTo>
                  <a:lnTo>
                    <a:pt x="138" y="318"/>
                  </a:lnTo>
                  <a:lnTo>
                    <a:pt x="156" y="330"/>
                  </a:lnTo>
                  <a:lnTo>
                    <a:pt x="162" y="336"/>
                  </a:lnTo>
                  <a:lnTo>
                    <a:pt x="174" y="336"/>
                  </a:lnTo>
                  <a:lnTo>
                    <a:pt x="186" y="342"/>
                  </a:lnTo>
                  <a:lnTo>
                    <a:pt x="204" y="348"/>
                  </a:lnTo>
                  <a:lnTo>
                    <a:pt x="222" y="366"/>
                  </a:lnTo>
                  <a:lnTo>
                    <a:pt x="228" y="378"/>
                  </a:lnTo>
                  <a:lnTo>
                    <a:pt x="240" y="396"/>
                  </a:lnTo>
                  <a:lnTo>
                    <a:pt x="264" y="414"/>
                  </a:lnTo>
                  <a:lnTo>
                    <a:pt x="276" y="426"/>
                  </a:lnTo>
                  <a:lnTo>
                    <a:pt x="282" y="438"/>
                  </a:lnTo>
                  <a:lnTo>
                    <a:pt x="282" y="450"/>
                  </a:lnTo>
                  <a:lnTo>
                    <a:pt x="288" y="456"/>
                  </a:lnTo>
                  <a:lnTo>
                    <a:pt x="294" y="468"/>
                  </a:lnTo>
                  <a:lnTo>
                    <a:pt x="300" y="474"/>
                  </a:lnTo>
                  <a:lnTo>
                    <a:pt x="300" y="480"/>
                  </a:lnTo>
                  <a:lnTo>
                    <a:pt x="288" y="492"/>
                  </a:lnTo>
                  <a:lnTo>
                    <a:pt x="288" y="504"/>
                  </a:lnTo>
                  <a:lnTo>
                    <a:pt x="294" y="522"/>
                  </a:lnTo>
                  <a:lnTo>
                    <a:pt x="300" y="534"/>
                  </a:lnTo>
                  <a:lnTo>
                    <a:pt x="306" y="540"/>
                  </a:lnTo>
                  <a:lnTo>
                    <a:pt x="318" y="546"/>
                  </a:lnTo>
                  <a:lnTo>
                    <a:pt x="330" y="546"/>
                  </a:lnTo>
                  <a:lnTo>
                    <a:pt x="342" y="552"/>
                  </a:lnTo>
                  <a:lnTo>
                    <a:pt x="348" y="552"/>
                  </a:lnTo>
                  <a:lnTo>
                    <a:pt x="366" y="558"/>
                  </a:lnTo>
                  <a:lnTo>
                    <a:pt x="390" y="564"/>
                  </a:lnTo>
                  <a:lnTo>
                    <a:pt x="486" y="564"/>
                  </a:lnTo>
                  <a:lnTo>
                    <a:pt x="492" y="570"/>
                  </a:lnTo>
                  <a:lnTo>
                    <a:pt x="498" y="570"/>
                  </a:lnTo>
                  <a:lnTo>
                    <a:pt x="510" y="576"/>
                  </a:lnTo>
                  <a:lnTo>
                    <a:pt x="516" y="576"/>
                  </a:lnTo>
                  <a:lnTo>
                    <a:pt x="528" y="582"/>
                  </a:lnTo>
                  <a:lnTo>
                    <a:pt x="534" y="594"/>
                  </a:lnTo>
                  <a:lnTo>
                    <a:pt x="540" y="594"/>
                  </a:lnTo>
                  <a:lnTo>
                    <a:pt x="546" y="600"/>
                  </a:lnTo>
                  <a:lnTo>
                    <a:pt x="552" y="600"/>
                  </a:lnTo>
                  <a:lnTo>
                    <a:pt x="576" y="612"/>
                  </a:lnTo>
                  <a:lnTo>
                    <a:pt x="588" y="612"/>
                  </a:lnTo>
                  <a:lnTo>
                    <a:pt x="594" y="618"/>
                  </a:lnTo>
                  <a:lnTo>
                    <a:pt x="630" y="618"/>
                  </a:lnTo>
                  <a:lnTo>
                    <a:pt x="642" y="642"/>
                  </a:lnTo>
                  <a:lnTo>
                    <a:pt x="684" y="684"/>
                  </a:lnTo>
                  <a:lnTo>
                    <a:pt x="690" y="696"/>
                  </a:lnTo>
                  <a:lnTo>
                    <a:pt x="720" y="726"/>
                  </a:lnTo>
                  <a:lnTo>
                    <a:pt x="732" y="732"/>
                  </a:lnTo>
                  <a:lnTo>
                    <a:pt x="738" y="744"/>
                  </a:lnTo>
                  <a:lnTo>
                    <a:pt x="750" y="750"/>
                  </a:lnTo>
                  <a:lnTo>
                    <a:pt x="810" y="744"/>
                  </a:lnTo>
                  <a:lnTo>
                    <a:pt x="864" y="750"/>
                  </a:lnTo>
                  <a:lnTo>
                    <a:pt x="912" y="750"/>
                  </a:lnTo>
                  <a:lnTo>
                    <a:pt x="948" y="756"/>
                  </a:lnTo>
                  <a:lnTo>
                    <a:pt x="954" y="750"/>
                  </a:lnTo>
                  <a:lnTo>
                    <a:pt x="966" y="744"/>
                  </a:lnTo>
                  <a:lnTo>
                    <a:pt x="972" y="738"/>
                  </a:lnTo>
                  <a:lnTo>
                    <a:pt x="984" y="738"/>
                  </a:lnTo>
                  <a:lnTo>
                    <a:pt x="996" y="744"/>
                  </a:lnTo>
                  <a:lnTo>
                    <a:pt x="1002" y="744"/>
                  </a:lnTo>
                  <a:lnTo>
                    <a:pt x="1008" y="750"/>
                  </a:lnTo>
                  <a:lnTo>
                    <a:pt x="1062" y="750"/>
                  </a:lnTo>
                  <a:lnTo>
                    <a:pt x="1080" y="756"/>
                  </a:lnTo>
                  <a:lnTo>
                    <a:pt x="1092" y="756"/>
                  </a:lnTo>
                  <a:lnTo>
                    <a:pt x="1110" y="774"/>
                  </a:lnTo>
                  <a:lnTo>
                    <a:pt x="1116" y="786"/>
                  </a:lnTo>
                  <a:lnTo>
                    <a:pt x="1128" y="792"/>
                  </a:lnTo>
                  <a:lnTo>
                    <a:pt x="1152" y="798"/>
                  </a:lnTo>
                  <a:lnTo>
                    <a:pt x="1200" y="798"/>
                  </a:lnTo>
                  <a:lnTo>
                    <a:pt x="1218" y="804"/>
                  </a:lnTo>
                  <a:lnTo>
                    <a:pt x="1242" y="816"/>
                  </a:lnTo>
                  <a:lnTo>
                    <a:pt x="1248" y="822"/>
                  </a:lnTo>
                  <a:lnTo>
                    <a:pt x="1260" y="822"/>
                  </a:lnTo>
                  <a:lnTo>
                    <a:pt x="1266" y="816"/>
                  </a:lnTo>
                  <a:lnTo>
                    <a:pt x="1278" y="816"/>
                  </a:lnTo>
                  <a:lnTo>
                    <a:pt x="1290" y="810"/>
                  </a:lnTo>
                  <a:lnTo>
                    <a:pt x="1302" y="810"/>
                  </a:lnTo>
                  <a:lnTo>
                    <a:pt x="1302" y="816"/>
                  </a:lnTo>
                  <a:lnTo>
                    <a:pt x="1308" y="828"/>
                  </a:lnTo>
                  <a:lnTo>
                    <a:pt x="1314" y="828"/>
                  </a:lnTo>
                  <a:lnTo>
                    <a:pt x="1320" y="834"/>
                  </a:lnTo>
                  <a:lnTo>
                    <a:pt x="1338" y="834"/>
                  </a:lnTo>
                  <a:lnTo>
                    <a:pt x="1344" y="828"/>
                  </a:lnTo>
                  <a:lnTo>
                    <a:pt x="1362" y="816"/>
                  </a:lnTo>
                  <a:lnTo>
                    <a:pt x="1422" y="780"/>
                  </a:lnTo>
                  <a:lnTo>
                    <a:pt x="1440" y="768"/>
                  </a:lnTo>
                  <a:lnTo>
                    <a:pt x="1596" y="768"/>
                  </a:lnTo>
                  <a:lnTo>
                    <a:pt x="1614" y="744"/>
                  </a:lnTo>
                  <a:lnTo>
                    <a:pt x="1638" y="744"/>
                  </a:lnTo>
                  <a:lnTo>
                    <a:pt x="1650" y="738"/>
                  </a:lnTo>
                  <a:lnTo>
                    <a:pt x="1662" y="714"/>
                  </a:lnTo>
                  <a:lnTo>
                    <a:pt x="1662" y="708"/>
                  </a:lnTo>
                  <a:lnTo>
                    <a:pt x="1668" y="696"/>
                  </a:lnTo>
                  <a:lnTo>
                    <a:pt x="1668" y="690"/>
                  </a:lnTo>
                  <a:lnTo>
                    <a:pt x="1692" y="690"/>
                  </a:lnTo>
                  <a:lnTo>
                    <a:pt x="1704" y="678"/>
                  </a:lnTo>
                  <a:lnTo>
                    <a:pt x="1710" y="666"/>
                  </a:lnTo>
                  <a:lnTo>
                    <a:pt x="1716" y="660"/>
                  </a:lnTo>
                  <a:lnTo>
                    <a:pt x="1716" y="654"/>
                  </a:lnTo>
                  <a:lnTo>
                    <a:pt x="1704" y="648"/>
                  </a:lnTo>
                  <a:lnTo>
                    <a:pt x="1686" y="630"/>
                  </a:lnTo>
                  <a:lnTo>
                    <a:pt x="1674" y="624"/>
                  </a:lnTo>
                  <a:lnTo>
                    <a:pt x="1656" y="606"/>
                  </a:lnTo>
                  <a:lnTo>
                    <a:pt x="1650" y="594"/>
                  </a:lnTo>
                  <a:lnTo>
                    <a:pt x="1650" y="582"/>
                  </a:lnTo>
                  <a:lnTo>
                    <a:pt x="1656" y="570"/>
                  </a:lnTo>
                  <a:lnTo>
                    <a:pt x="1656" y="558"/>
                  </a:lnTo>
                  <a:lnTo>
                    <a:pt x="1668" y="552"/>
                  </a:lnTo>
                  <a:lnTo>
                    <a:pt x="1692" y="552"/>
                  </a:lnTo>
                  <a:lnTo>
                    <a:pt x="1698" y="558"/>
                  </a:lnTo>
                  <a:lnTo>
                    <a:pt x="1704" y="558"/>
                  </a:lnTo>
                  <a:lnTo>
                    <a:pt x="1710" y="564"/>
                  </a:lnTo>
                  <a:lnTo>
                    <a:pt x="1722" y="570"/>
                  </a:lnTo>
                  <a:lnTo>
                    <a:pt x="1728" y="576"/>
                  </a:lnTo>
                  <a:lnTo>
                    <a:pt x="1740" y="582"/>
                  </a:lnTo>
                  <a:lnTo>
                    <a:pt x="1764" y="582"/>
                  </a:lnTo>
                  <a:lnTo>
                    <a:pt x="1776" y="576"/>
                  </a:lnTo>
                  <a:lnTo>
                    <a:pt x="1794" y="576"/>
                  </a:lnTo>
                  <a:lnTo>
                    <a:pt x="1806" y="570"/>
                  </a:lnTo>
                  <a:lnTo>
                    <a:pt x="1812" y="558"/>
                  </a:lnTo>
                  <a:lnTo>
                    <a:pt x="1818" y="552"/>
                  </a:lnTo>
                  <a:lnTo>
                    <a:pt x="1818" y="528"/>
                  </a:lnTo>
                  <a:lnTo>
                    <a:pt x="1890" y="528"/>
                  </a:lnTo>
                  <a:lnTo>
                    <a:pt x="1914" y="504"/>
                  </a:lnTo>
                  <a:lnTo>
                    <a:pt x="1902" y="492"/>
                  </a:lnTo>
                  <a:lnTo>
                    <a:pt x="1896" y="480"/>
                  </a:lnTo>
                  <a:lnTo>
                    <a:pt x="1902" y="474"/>
                  </a:lnTo>
                  <a:lnTo>
                    <a:pt x="1938" y="456"/>
                  </a:lnTo>
                  <a:lnTo>
                    <a:pt x="1950" y="456"/>
                  </a:lnTo>
                  <a:lnTo>
                    <a:pt x="1950" y="438"/>
                  </a:lnTo>
                  <a:lnTo>
                    <a:pt x="1980" y="444"/>
                  </a:lnTo>
                  <a:lnTo>
                    <a:pt x="1998" y="426"/>
                  </a:lnTo>
                  <a:lnTo>
                    <a:pt x="2004" y="426"/>
                  </a:lnTo>
                  <a:lnTo>
                    <a:pt x="2010" y="420"/>
                  </a:lnTo>
                  <a:lnTo>
                    <a:pt x="2040" y="420"/>
                  </a:lnTo>
                  <a:lnTo>
                    <a:pt x="2052" y="426"/>
                  </a:lnTo>
                  <a:lnTo>
                    <a:pt x="2058" y="432"/>
                  </a:lnTo>
                  <a:lnTo>
                    <a:pt x="2094" y="432"/>
                  </a:lnTo>
                  <a:lnTo>
                    <a:pt x="2100" y="426"/>
                  </a:lnTo>
                  <a:lnTo>
                    <a:pt x="2100" y="420"/>
                  </a:lnTo>
                  <a:lnTo>
                    <a:pt x="2088" y="408"/>
                  </a:lnTo>
                  <a:close/>
                </a:path>
              </a:pathLst>
            </a:custGeom>
            <a:solidFill>
              <a:srgbClr val="7030A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40" name="Moldova" descr="© INSCALE GmbH, 05.05.2010&#10;http://www.presentationload.com/">
              <a:extLst>
                <a:ext uri="{FF2B5EF4-FFF2-40B4-BE49-F238E27FC236}">
                  <a16:creationId xmlns:a16="http://schemas.microsoft.com/office/drawing/2014/main" id="{93433A5C-872F-417D-94D1-F0CCE1B80490}"/>
                </a:ext>
              </a:extLst>
            </p:cNvPr>
            <p:cNvSpPr>
              <a:spLocks/>
            </p:cNvSpPr>
            <p:nvPr/>
          </p:nvSpPr>
          <p:spPr bwMode="gray">
            <a:xfrm>
              <a:off x="4900976" y="1742029"/>
              <a:ext cx="81531" cy="90425"/>
            </a:xfrm>
            <a:custGeom>
              <a:avLst/>
              <a:gdLst>
                <a:gd name="T0" fmla="*/ 2147483647 w 216"/>
                <a:gd name="T1" fmla="*/ 2147483647 h 240"/>
                <a:gd name="T2" fmla="*/ 2147483647 w 216"/>
                <a:gd name="T3" fmla="*/ 2147483647 h 240"/>
                <a:gd name="T4" fmla="*/ 2147483647 w 216"/>
                <a:gd name="T5" fmla="*/ 2147483647 h 240"/>
                <a:gd name="T6" fmla="*/ 2147483647 w 216"/>
                <a:gd name="T7" fmla="*/ 2147483647 h 240"/>
                <a:gd name="T8" fmla="*/ 2147483647 w 216"/>
                <a:gd name="T9" fmla="*/ 2147483647 h 240"/>
                <a:gd name="T10" fmla="*/ 2147483647 w 216"/>
                <a:gd name="T11" fmla="*/ 2147483647 h 240"/>
                <a:gd name="T12" fmla="*/ 2147483647 w 216"/>
                <a:gd name="T13" fmla="*/ 2147483647 h 240"/>
                <a:gd name="T14" fmla="*/ 2147483647 w 216"/>
                <a:gd name="T15" fmla="*/ 2147483647 h 240"/>
                <a:gd name="T16" fmla="*/ 2147483647 w 216"/>
                <a:gd name="T17" fmla="*/ 2147483647 h 240"/>
                <a:gd name="T18" fmla="*/ 2147483647 w 216"/>
                <a:gd name="T19" fmla="*/ 2147483647 h 240"/>
                <a:gd name="T20" fmla="*/ 2147483647 w 216"/>
                <a:gd name="T21" fmla="*/ 2147483647 h 240"/>
                <a:gd name="T22" fmla="*/ 2147483647 w 216"/>
                <a:gd name="T23" fmla="*/ 2147483647 h 240"/>
                <a:gd name="T24" fmla="*/ 2147483647 w 216"/>
                <a:gd name="T25" fmla="*/ 2147483647 h 240"/>
                <a:gd name="T26" fmla="*/ 2147483647 w 216"/>
                <a:gd name="T27" fmla="*/ 2147483647 h 240"/>
                <a:gd name="T28" fmla="*/ 2147483647 w 216"/>
                <a:gd name="T29" fmla="*/ 2147483647 h 240"/>
                <a:gd name="T30" fmla="*/ 2147483647 w 216"/>
                <a:gd name="T31" fmla="*/ 2147483647 h 240"/>
                <a:gd name="T32" fmla="*/ 2147483647 w 216"/>
                <a:gd name="T33" fmla="*/ 2147483647 h 240"/>
                <a:gd name="T34" fmla="*/ 2147483647 w 216"/>
                <a:gd name="T35" fmla="*/ 2147483647 h 240"/>
                <a:gd name="T36" fmla="*/ 2147483647 w 216"/>
                <a:gd name="T37" fmla="*/ 2147483647 h 240"/>
                <a:gd name="T38" fmla="*/ 2147483647 w 216"/>
                <a:gd name="T39" fmla="*/ 2147483647 h 240"/>
                <a:gd name="T40" fmla="*/ 2147483647 w 216"/>
                <a:gd name="T41" fmla="*/ 2147483647 h 240"/>
                <a:gd name="T42" fmla="*/ 2147483647 w 216"/>
                <a:gd name="T43" fmla="*/ 2147483647 h 240"/>
                <a:gd name="T44" fmla="*/ 2147483647 w 216"/>
                <a:gd name="T45" fmla="*/ 2147483647 h 240"/>
                <a:gd name="T46" fmla="*/ 2147483647 w 216"/>
                <a:gd name="T47" fmla="*/ 2147483647 h 240"/>
                <a:gd name="T48" fmla="*/ 2147483647 w 216"/>
                <a:gd name="T49" fmla="*/ 2147483647 h 240"/>
                <a:gd name="T50" fmla="*/ 2147483647 w 216"/>
                <a:gd name="T51" fmla="*/ 2147483647 h 240"/>
                <a:gd name="T52" fmla="*/ 2147483647 w 216"/>
                <a:gd name="T53" fmla="*/ 2147483647 h 240"/>
                <a:gd name="T54" fmla="*/ 2147483647 w 216"/>
                <a:gd name="T55" fmla="*/ 2147483647 h 240"/>
                <a:gd name="T56" fmla="*/ 2147483647 w 216"/>
                <a:gd name="T57" fmla="*/ 2147483647 h 240"/>
                <a:gd name="T58" fmla="*/ 2147483647 w 216"/>
                <a:gd name="T59" fmla="*/ 2147483647 h 240"/>
                <a:gd name="T60" fmla="*/ 2147483647 w 216"/>
                <a:gd name="T61" fmla="*/ 0 h 240"/>
                <a:gd name="T62" fmla="*/ 2147483647 w 216"/>
                <a:gd name="T63" fmla="*/ 2147483647 h 240"/>
                <a:gd name="T64" fmla="*/ 2147483647 w 216"/>
                <a:gd name="T65" fmla="*/ 2147483647 h 240"/>
                <a:gd name="T66" fmla="*/ 2147483647 w 216"/>
                <a:gd name="T67" fmla="*/ 2147483647 h 24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6"/>
                <a:gd name="T103" fmla="*/ 0 h 240"/>
                <a:gd name="T104" fmla="*/ 216 w 216"/>
                <a:gd name="T105" fmla="*/ 240 h 24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6" h="240">
                  <a:moveTo>
                    <a:pt x="0" y="18"/>
                  </a:moveTo>
                  <a:lnTo>
                    <a:pt x="18" y="24"/>
                  </a:lnTo>
                  <a:lnTo>
                    <a:pt x="24" y="30"/>
                  </a:lnTo>
                  <a:lnTo>
                    <a:pt x="30" y="42"/>
                  </a:lnTo>
                  <a:lnTo>
                    <a:pt x="36" y="48"/>
                  </a:lnTo>
                  <a:lnTo>
                    <a:pt x="36" y="60"/>
                  </a:lnTo>
                  <a:lnTo>
                    <a:pt x="60" y="72"/>
                  </a:lnTo>
                  <a:lnTo>
                    <a:pt x="66" y="96"/>
                  </a:lnTo>
                  <a:lnTo>
                    <a:pt x="78" y="96"/>
                  </a:lnTo>
                  <a:lnTo>
                    <a:pt x="84" y="114"/>
                  </a:lnTo>
                  <a:lnTo>
                    <a:pt x="102" y="114"/>
                  </a:lnTo>
                  <a:lnTo>
                    <a:pt x="108" y="120"/>
                  </a:lnTo>
                  <a:lnTo>
                    <a:pt x="108" y="162"/>
                  </a:lnTo>
                  <a:lnTo>
                    <a:pt x="114" y="162"/>
                  </a:lnTo>
                  <a:lnTo>
                    <a:pt x="108" y="168"/>
                  </a:lnTo>
                  <a:lnTo>
                    <a:pt x="108" y="180"/>
                  </a:lnTo>
                  <a:lnTo>
                    <a:pt x="102" y="186"/>
                  </a:lnTo>
                  <a:lnTo>
                    <a:pt x="102" y="198"/>
                  </a:lnTo>
                  <a:lnTo>
                    <a:pt x="108" y="210"/>
                  </a:lnTo>
                  <a:lnTo>
                    <a:pt x="114" y="216"/>
                  </a:lnTo>
                  <a:lnTo>
                    <a:pt x="114" y="240"/>
                  </a:lnTo>
                  <a:lnTo>
                    <a:pt x="138" y="234"/>
                  </a:lnTo>
                  <a:lnTo>
                    <a:pt x="138" y="222"/>
                  </a:lnTo>
                  <a:lnTo>
                    <a:pt x="132" y="216"/>
                  </a:lnTo>
                  <a:lnTo>
                    <a:pt x="132" y="204"/>
                  </a:lnTo>
                  <a:lnTo>
                    <a:pt x="138" y="204"/>
                  </a:lnTo>
                  <a:lnTo>
                    <a:pt x="150" y="198"/>
                  </a:lnTo>
                  <a:lnTo>
                    <a:pt x="156" y="192"/>
                  </a:lnTo>
                  <a:lnTo>
                    <a:pt x="174" y="180"/>
                  </a:lnTo>
                  <a:lnTo>
                    <a:pt x="168" y="174"/>
                  </a:lnTo>
                  <a:lnTo>
                    <a:pt x="156" y="168"/>
                  </a:lnTo>
                  <a:lnTo>
                    <a:pt x="150" y="168"/>
                  </a:lnTo>
                  <a:lnTo>
                    <a:pt x="150" y="162"/>
                  </a:lnTo>
                  <a:lnTo>
                    <a:pt x="156" y="156"/>
                  </a:lnTo>
                  <a:lnTo>
                    <a:pt x="174" y="156"/>
                  </a:lnTo>
                  <a:lnTo>
                    <a:pt x="180" y="162"/>
                  </a:lnTo>
                  <a:lnTo>
                    <a:pt x="198" y="162"/>
                  </a:lnTo>
                  <a:lnTo>
                    <a:pt x="210" y="156"/>
                  </a:lnTo>
                  <a:lnTo>
                    <a:pt x="216" y="156"/>
                  </a:lnTo>
                  <a:lnTo>
                    <a:pt x="216" y="126"/>
                  </a:lnTo>
                  <a:lnTo>
                    <a:pt x="210" y="120"/>
                  </a:lnTo>
                  <a:lnTo>
                    <a:pt x="198" y="120"/>
                  </a:lnTo>
                  <a:lnTo>
                    <a:pt x="192" y="114"/>
                  </a:lnTo>
                  <a:lnTo>
                    <a:pt x="180" y="114"/>
                  </a:lnTo>
                  <a:lnTo>
                    <a:pt x="180" y="96"/>
                  </a:lnTo>
                  <a:lnTo>
                    <a:pt x="186" y="90"/>
                  </a:lnTo>
                  <a:lnTo>
                    <a:pt x="180" y="84"/>
                  </a:lnTo>
                  <a:lnTo>
                    <a:pt x="174" y="84"/>
                  </a:lnTo>
                  <a:lnTo>
                    <a:pt x="162" y="90"/>
                  </a:lnTo>
                  <a:lnTo>
                    <a:pt x="162" y="66"/>
                  </a:lnTo>
                  <a:lnTo>
                    <a:pt x="168" y="60"/>
                  </a:lnTo>
                  <a:lnTo>
                    <a:pt x="162" y="48"/>
                  </a:lnTo>
                  <a:lnTo>
                    <a:pt x="156" y="42"/>
                  </a:lnTo>
                  <a:lnTo>
                    <a:pt x="144" y="36"/>
                  </a:lnTo>
                  <a:lnTo>
                    <a:pt x="126" y="36"/>
                  </a:lnTo>
                  <a:lnTo>
                    <a:pt x="126" y="24"/>
                  </a:lnTo>
                  <a:lnTo>
                    <a:pt x="120" y="18"/>
                  </a:lnTo>
                  <a:lnTo>
                    <a:pt x="78" y="18"/>
                  </a:lnTo>
                  <a:lnTo>
                    <a:pt x="78" y="12"/>
                  </a:lnTo>
                  <a:lnTo>
                    <a:pt x="72" y="12"/>
                  </a:lnTo>
                  <a:lnTo>
                    <a:pt x="60" y="0"/>
                  </a:lnTo>
                  <a:lnTo>
                    <a:pt x="54" y="0"/>
                  </a:lnTo>
                  <a:lnTo>
                    <a:pt x="42" y="6"/>
                  </a:lnTo>
                  <a:lnTo>
                    <a:pt x="36" y="6"/>
                  </a:lnTo>
                  <a:lnTo>
                    <a:pt x="36" y="12"/>
                  </a:lnTo>
                  <a:lnTo>
                    <a:pt x="24" y="12"/>
                  </a:lnTo>
                  <a:lnTo>
                    <a:pt x="12" y="6"/>
                  </a:lnTo>
                  <a:lnTo>
                    <a:pt x="6" y="6"/>
                  </a:lnTo>
                  <a:lnTo>
                    <a:pt x="0" y="18"/>
                  </a:lnTo>
                  <a:close/>
                </a:path>
              </a:pathLst>
            </a:custGeom>
            <a:solidFill>
              <a:srgbClr val="F2F2F2"/>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41" name="Mexico" descr="© INSCALE GmbH, 05.05.2010&#10;http://www.presentationload.com/">
              <a:extLst>
                <a:ext uri="{FF2B5EF4-FFF2-40B4-BE49-F238E27FC236}">
                  <a16:creationId xmlns:a16="http://schemas.microsoft.com/office/drawing/2014/main" id="{5693DA1D-803F-C290-AE9E-733B481625D5}"/>
                </a:ext>
              </a:extLst>
            </p:cNvPr>
            <p:cNvSpPr>
              <a:spLocks/>
            </p:cNvSpPr>
            <p:nvPr/>
          </p:nvSpPr>
          <p:spPr bwMode="gray">
            <a:xfrm>
              <a:off x="1238034" y="2220838"/>
              <a:ext cx="705609" cy="552927"/>
            </a:xfrm>
            <a:custGeom>
              <a:avLst/>
              <a:gdLst>
                <a:gd name="T0" fmla="*/ 2147483647 w 1860"/>
                <a:gd name="T1" fmla="*/ 2147483647 h 1458"/>
                <a:gd name="T2" fmla="*/ 2147483647 w 1860"/>
                <a:gd name="T3" fmla="*/ 2147483647 h 1458"/>
                <a:gd name="T4" fmla="*/ 2147483647 w 1860"/>
                <a:gd name="T5" fmla="*/ 2147483647 h 1458"/>
                <a:gd name="T6" fmla="*/ 2147483647 w 1860"/>
                <a:gd name="T7" fmla="*/ 2147483647 h 1458"/>
                <a:gd name="T8" fmla="*/ 2147483647 w 1860"/>
                <a:gd name="T9" fmla="*/ 2147483647 h 1458"/>
                <a:gd name="T10" fmla="*/ 2147483647 w 1860"/>
                <a:gd name="T11" fmla="*/ 2147483647 h 1458"/>
                <a:gd name="T12" fmla="*/ 2147483647 w 1860"/>
                <a:gd name="T13" fmla="*/ 2147483647 h 1458"/>
                <a:gd name="T14" fmla="*/ 2147483647 w 1860"/>
                <a:gd name="T15" fmla="*/ 2147483647 h 1458"/>
                <a:gd name="T16" fmla="*/ 2147483647 w 1860"/>
                <a:gd name="T17" fmla="*/ 2147483647 h 1458"/>
                <a:gd name="T18" fmla="*/ 2147483647 w 1860"/>
                <a:gd name="T19" fmla="*/ 2147483647 h 1458"/>
                <a:gd name="T20" fmla="*/ 2147483647 w 1860"/>
                <a:gd name="T21" fmla="*/ 2147483647 h 1458"/>
                <a:gd name="T22" fmla="*/ 2147483647 w 1860"/>
                <a:gd name="T23" fmla="*/ 2147483647 h 1458"/>
                <a:gd name="T24" fmla="*/ 2147483647 w 1860"/>
                <a:gd name="T25" fmla="*/ 2147483647 h 1458"/>
                <a:gd name="T26" fmla="*/ 2147483647 w 1860"/>
                <a:gd name="T27" fmla="*/ 2147483647 h 1458"/>
                <a:gd name="T28" fmla="*/ 2147483647 w 1860"/>
                <a:gd name="T29" fmla="*/ 2147483647 h 1458"/>
                <a:gd name="T30" fmla="*/ 2147483647 w 1860"/>
                <a:gd name="T31" fmla="*/ 2147483647 h 1458"/>
                <a:gd name="T32" fmla="*/ 2147483647 w 1860"/>
                <a:gd name="T33" fmla="*/ 2147483647 h 1458"/>
                <a:gd name="T34" fmla="*/ 2147483647 w 1860"/>
                <a:gd name="T35" fmla="*/ 2147483647 h 1458"/>
                <a:gd name="T36" fmla="*/ 2147483647 w 1860"/>
                <a:gd name="T37" fmla="*/ 2147483647 h 1458"/>
                <a:gd name="T38" fmla="*/ 2147483647 w 1860"/>
                <a:gd name="T39" fmla="*/ 2147483647 h 1458"/>
                <a:gd name="T40" fmla="*/ 2147483647 w 1860"/>
                <a:gd name="T41" fmla="*/ 2147483647 h 1458"/>
                <a:gd name="T42" fmla="*/ 2147483647 w 1860"/>
                <a:gd name="T43" fmla="*/ 2147483647 h 1458"/>
                <a:gd name="T44" fmla="*/ 2147483647 w 1860"/>
                <a:gd name="T45" fmla="*/ 2147483647 h 1458"/>
                <a:gd name="T46" fmla="*/ 2147483647 w 1860"/>
                <a:gd name="T47" fmla="*/ 2147483647 h 1458"/>
                <a:gd name="T48" fmla="*/ 2147483647 w 1860"/>
                <a:gd name="T49" fmla="*/ 2147483647 h 1458"/>
                <a:gd name="T50" fmla="*/ 2147483647 w 1860"/>
                <a:gd name="T51" fmla="*/ 2147483647 h 1458"/>
                <a:gd name="T52" fmla="*/ 2147483647 w 1860"/>
                <a:gd name="T53" fmla="*/ 2147483647 h 1458"/>
                <a:gd name="T54" fmla="*/ 2147483647 w 1860"/>
                <a:gd name="T55" fmla="*/ 2147483647 h 1458"/>
                <a:gd name="T56" fmla="*/ 0 w 1860"/>
                <a:gd name="T57" fmla="*/ 2147483647 h 1458"/>
                <a:gd name="T58" fmla="*/ 2147483647 w 1860"/>
                <a:gd name="T59" fmla="*/ 2147483647 h 1458"/>
                <a:gd name="T60" fmla="*/ 2147483647 w 1860"/>
                <a:gd name="T61" fmla="*/ 2147483647 h 1458"/>
                <a:gd name="T62" fmla="*/ 2147483647 w 1860"/>
                <a:gd name="T63" fmla="*/ 2147483647 h 1458"/>
                <a:gd name="T64" fmla="*/ 2147483647 w 1860"/>
                <a:gd name="T65" fmla="*/ 2147483647 h 1458"/>
                <a:gd name="T66" fmla="*/ 2147483647 w 1860"/>
                <a:gd name="T67" fmla="*/ 2147483647 h 1458"/>
                <a:gd name="T68" fmla="*/ 2147483647 w 1860"/>
                <a:gd name="T69" fmla="*/ 2147483647 h 1458"/>
                <a:gd name="T70" fmla="*/ 2147483647 w 1860"/>
                <a:gd name="T71" fmla="*/ 2147483647 h 1458"/>
                <a:gd name="T72" fmla="*/ 2147483647 w 1860"/>
                <a:gd name="T73" fmla="*/ 2147483647 h 1458"/>
                <a:gd name="T74" fmla="*/ 2147483647 w 1860"/>
                <a:gd name="T75" fmla="*/ 2147483647 h 1458"/>
                <a:gd name="T76" fmla="*/ 2147483647 w 1860"/>
                <a:gd name="T77" fmla="*/ 2147483647 h 1458"/>
                <a:gd name="T78" fmla="*/ 2147483647 w 1860"/>
                <a:gd name="T79" fmla="*/ 2147483647 h 1458"/>
                <a:gd name="T80" fmla="*/ 2147483647 w 1860"/>
                <a:gd name="T81" fmla="*/ 2147483647 h 1458"/>
                <a:gd name="T82" fmla="*/ 2147483647 w 1860"/>
                <a:gd name="T83" fmla="*/ 2147483647 h 1458"/>
                <a:gd name="T84" fmla="*/ 2147483647 w 1860"/>
                <a:gd name="T85" fmla="*/ 2147483647 h 1458"/>
                <a:gd name="T86" fmla="*/ 2147483647 w 1860"/>
                <a:gd name="T87" fmla="*/ 2147483647 h 1458"/>
                <a:gd name="T88" fmla="*/ 2147483647 w 1860"/>
                <a:gd name="T89" fmla="*/ 2147483647 h 1458"/>
                <a:gd name="T90" fmla="*/ 2147483647 w 1860"/>
                <a:gd name="T91" fmla="*/ 2147483647 h 1458"/>
                <a:gd name="T92" fmla="*/ 2147483647 w 1860"/>
                <a:gd name="T93" fmla="*/ 2147483647 h 1458"/>
                <a:gd name="T94" fmla="*/ 2147483647 w 1860"/>
                <a:gd name="T95" fmla="*/ 2147483647 h 1458"/>
                <a:gd name="T96" fmla="*/ 2147483647 w 1860"/>
                <a:gd name="T97" fmla="*/ 2147483647 h 1458"/>
                <a:gd name="T98" fmla="*/ 2147483647 w 1860"/>
                <a:gd name="T99" fmla="*/ 2147483647 h 1458"/>
                <a:gd name="T100" fmla="*/ 2147483647 w 1860"/>
                <a:gd name="T101" fmla="*/ 2147483647 h 1458"/>
                <a:gd name="T102" fmla="*/ 2147483647 w 1860"/>
                <a:gd name="T103" fmla="*/ 2147483647 h 1458"/>
                <a:gd name="T104" fmla="*/ 2147483647 w 1860"/>
                <a:gd name="T105" fmla="*/ 2147483647 h 1458"/>
                <a:gd name="T106" fmla="*/ 2147483647 w 1860"/>
                <a:gd name="T107" fmla="*/ 2147483647 h 1458"/>
                <a:gd name="T108" fmla="*/ 2147483647 w 1860"/>
                <a:gd name="T109" fmla="*/ 2147483647 h 1458"/>
                <a:gd name="T110" fmla="*/ 2147483647 w 1860"/>
                <a:gd name="T111" fmla="*/ 2147483647 h 1458"/>
                <a:gd name="T112" fmla="*/ 2147483647 w 1860"/>
                <a:gd name="T113" fmla="*/ 2147483647 h 1458"/>
                <a:gd name="T114" fmla="*/ 2147483647 w 1860"/>
                <a:gd name="T115" fmla="*/ 2147483647 h 1458"/>
                <a:gd name="T116" fmla="*/ 2147483647 w 1860"/>
                <a:gd name="T117" fmla="*/ 2147483647 h 1458"/>
                <a:gd name="T118" fmla="*/ 2147483647 w 1860"/>
                <a:gd name="T119" fmla="*/ 2147483647 h 1458"/>
                <a:gd name="T120" fmla="*/ 2147483647 w 1860"/>
                <a:gd name="T121" fmla="*/ 2147483647 h 145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60"/>
                <a:gd name="T184" fmla="*/ 0 h 1458"/>
                <a:gd name="T185" fmla="*/ 1860 w 1860"/>
                <a:gd name="T186" fmla="*/ 1458 h 145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60" h="1458">
                  <a:moveTo>
                    <a:pt x="1422" y="1440"/>
                  </a:moveTo>
                  <a:lnTo>
                    <a:pt x="1422" y="1380"/>
                  </a:lnTo>
                  <a:lnTo>
                    <a:pt x="1452" y="1332"/>
                  </a:lnTo>
                  <a:lnTo>
                    <a:pt x="1542" y="1338"/>
                  </a:lnTo>
                  <a:lnTo>
                    <a:pt x="1542" y="1320"/>
                  </a:lnTo>
                  <a:lnTo>
                    <a:pt x="1548" y="1320"/>
                  </a:lnTo>
                  <a:lnTo>
                    <a:pt x="1554" y="1314"/>
                  </a:lnTo>
                  <a:lnTo>
                    <a:pt x="1554" y="1302"/>
                  </a:lnTo>
                  <a:lnTo>
                    <a:pt x="1536" y="1302"/>
                  </a:lnTo>
                  <a:lnTo>
                    <a:pt x="1530" y="1278"/>
                  </a:lnTo>
                  <a:lnTo>
                    <a:pt x="1524" y="1278"/>
                  </a:lnTo>
                  <a:lnTo>
                    <a:pt x="1512" y="1272"/>
                  </a:lnTo>
                  <a:lnTo>
                    <a:pt x="1506" y="1272"/>
                  </a:lnTo>
                  <a:lnTo>
                    <a:pt x="1500" y="1266"/>
                  </a:lnTo>
                  <a:lnTo>
                    <a:pt x="1494" y="1254"/>
                  </a:lnTo>
                  <a:lnTo>
                    <a:pt x="1494" y="1248"/>
                  </a:lnTo>
                  <a:lnTo>
                    <a:pt x="1482" y="1242"/>
                  </a:lnTo>
                  <a:lnTo>
                    <a:pt x="1506" y="1242"/>
                  </a:lnTo>
                  <a:lnTo>
                    <a:pt x="1518" y="1236"/>
                  </a:lnTo>
                  <a:lnTo>
                    <a:pt x="1524" y="1236"/>
                  </a:lnTo>
                  <a:lnTo>
                    <a:pt x="1524" y="1212"/>
                  </a:lnTo>
                  <a:lnTo>
                    <a:pt x="1518" y="1200"/>
                  </a:lnTo>
                  <a:lnTo>
                    <a:pt x="1518" y="1188"/>
                  </a:lnTo>
                  <a:lnTo>
                    <a:pt x="1650" y="1194"/>
                  </a:lnTo>
                  <a:lnTo>
                    <a:pt x="1656" y="1182"/>
                  </a:lnTo>
                  <a:lnTo>
                    <a:pt x="1656" y="1176"/>
                  </a:lnTo>
                  <a:lnTo>
                    <a:pt x="1662" y="1176"/>
                  </a:lnTo>
                  <a:lnTo>
                    <a:pt x="1668" y="1182"/>
                  </a:lnTo>
                  <a:lnTo>
                    <a:pt x="1668" y="1188"/>
                  </a:lnTo>
                  <a:lnTo>
                    <a:pt x="1674" y="1188"/>
                  </a:lnTo>
                  <a:lnTo>
                    <a:pt x="1680" y="1182"/>
                  </a:lnTo>
                  <a:lnTo>
                    <a:pt x="1692" y="1176"/>
                  </a:lnTo>
                  <a:lnTo>
                    <a:pt x="1698" y="1164"/>
                  </a:lnTo>
                  <a:lnTo>
                    <a:pt x="1698" y="1152"/>
                  </a:lnTo>
                  <a:lnTo>
                    <a:pt x="1704" y="1146"/>
                  </a:lnTo>
                  <a:lnTo>
                    <a:pt x="1704" y="1140"/>
                  </a:lnTo>
                  <a:lnTo>
                    <a:pt x="1710" y="1152"/>
                  </a:lnTo>
                  <a:lnTo>
                    <a:pt x="1746" y="1116"/>
                  </a:lnTo>
                  <a:lnTo>
                    <a:pt x="1746" y="1122"/>
                  </a:lnTo>
                  <a:lnTo>
                    <a:pt x="1740" y="1128"/>
                  </a:lnTo>
                  <a:lnTo>
                    <a:pt x="1740" y="1146"/>
                  </a:lnTo>
                  <a:lnTo>
                    <a:pt x="1746" y="1152"/>
                  </a:lnTo>
                  <a:lnTo>
                    <a:pt x="1758" y="1152"/>
                  </a:lnTo>
                  <a:lnTo>
                    <a:pt x="1782" y="1086"/>
                  </a:lnTo>
                  <a:lnTo>
                    <a:pt x="1770" y="1074"/>
                  </a:lnTo>
                  <a:lnTo>
                    <a:pt x="1794" y="1068"/>
                  </a:lnTo>
                  <a:lnTo>
                    <a:pt x="1794" y="1056"/>
                  </a:lnTo>
                  <a:lnTo>
                    <a:pt x="1776" y="1050"/>
                  </a:lnTo>
                  <a:lnTo>
                    <a:pt x="1794" y="1032"/>
                  </a:lnTo>
                  <a:lnTo>
                    <a:pt x="1800" y="1008"/>
                  </a:lnTo>
                  <a:lnTo>
                    <a:pt x="1806" y="996"/>
                  </a:lnTo>
                  <a:lnTo>
                    <a:pt x="1818" y="990"/>
                  </a:lnTo>
                  <a:lnTo>
                    <a:pt x="1824" y="978"/>
                  </a:lnTo>
                  <a:lnTo>
                    <a:pt x="1836" y="966"/>
                  </a:lnTo>
                  <a:lnTo>
                    <a:pt x="1842" y="954"/>
                  </a:lnTo>
                  <a:lnTo>
                    <a:pt x="1848" y="948"/>
                  </a:lnTo>
                  <a:lnTo>
                    <a:pt x="1854" y="936"/>
                  </a:lnTo>
                  <a:lnTo>
                    <a:pt x="1854" y="930"/>
                  </a:lnTo>
                  <a:lnTo>
                    <a:pt x="1860" y="918"/>
                  </a:lnTo>
                  <a:lnTo>
                    <a:pt x="1860" y="900"/>
                  </a:lnTo>
                  <a:lnTo>
                    <a:pt x="1854" y="894"/>
                  </a:lnTo>
                  <a:lnTo>
                    <a:pt x="1818" y="894"/>
                  </a:lnTo>
                  <a:lnTo>
                    <a:pt x="1812" y="900"/>
                  </a:lnTo>
                  <a:lnTo>
                    <a:pt x="1800" y="900"/>
                  </a:lnTo>
                  <a:lnTo>
                    <a:pt x="1794" y="894"/>
                  </a:lnTo>
                  <a:lnTo>
                    <a:pt x="1782" y="894"/>
                  </a:lnTo>
                  <a:lnTo>
                    <a:pt x="1770" y="888"/>
                  </a:lnTo>
                  <a:lnTo>
                    <a:pt x="1746" y="888"/>
                  </a:lnTo>
                  <a:lnTo>
                    <a:pt x="1734" y="894"/>
                  </a:lnTo>
                  <a:lnTo>
                    <a:pt x="1716" y="900"/>
                  </a:lnTo>
                  <a:lnTo>
                    <a:pt x="1698" y="900"/>
                  </a:lnTo>
                  <a:lnTo>
                    <a:pt x="1686" y="906"/>
                  </a:lnTo>
                  <a:lnTo>
                    <a:pt x="1668" y="906"/>
                  </a:lnTo>
                  <a:lnTo>
                    <a:pt x="1656" y="912"/>
                  </a:lnTo>
                  <a:lnTo>
                    <a:pt x="1626" y="912"/>
                  </a:lnTo>
                  <a:lnTo>
                    <a:pt x="1614" y="918"/>
                  </a:lnTo>
                  <a:lnTo>
                    <a:pt x="1608" y="924"/>
                  </a:lnTo>
                  <a:lnTo>
                    <a:pt x="1596" y="948"/>
                  </a:lnTo>
                  <a:lnTo>
                    <a:pt x="1590" y="966"/>
                  </a:lnTo>
                  <a:lnTo>
                    <a:pt x="1590" y="1026"/>
                  </a:lnTo>
                  <a:lnTo>
                    <a:pt x="1572" y="1032"/>
                  </a:lnTo>
                  <a:lnTo>
                    <a:pt x="1572" y="1062"/>
                  </a:lnTo>
                  <a:lnTo>
                    <a:pt x="1566" y="1074"/>
                  </a:lnTo>
                  <a:lnTo>
                    <a:pt x="1542" y="1086"/>
                  </a:lnTo>
                  <a:lnTo>
                    <a:pt x="1524" y="1098"/>
                  </a:lnTo>
                  <a:lnTo>
                    <a:pt x="1512" y="1110"/>
                  </a:lnTo>
                  <a:lnTo>
                    <a:pt x="1512" y="1122"/>
                  </a:lnTo>
                  <a:lnTo>
                    <a:pt x="1506" y="1128"/>
                  </a:lnTo>
                  <a:lnTo>
                    <a:pt x="1506" y="1140"/>
                  </a:lnTo>
                  <a:lnTo>
                    <a:pt x="1500" y="1146"/>
                  </a:lnTo>
                  <a:lnTo>
                    <a:pt x="1488" y="1146"/>
                  </a:lnTo>
                  <a:lnTo>
                    <a:pt x="1476" y="1134"/>
                  </a:lnTo>
                  <a:lnTo>
                    <a:pt x="1476" y="1128"/>
                  </a:lnTo>
                  <a:lnTo>
                    <a:pt x="1470" y="1122"/>
                  </a:lnTo>
                  <a:lnTo>
                    <a:pt x="1440" y="1122"/>
                  </a:lnTo>
                  <a:lnTo>
                    <a:pt x="1416" y="1128"/>
                  </a:lnTo>
                  <a:lnTo>
                    <a:pt x="1392" y="1140"/>
                  </a:lnTo>
                  <a:lnTo>
                    <a:pt x="1356" y="1140"/>
                  </a:lnTo>
                  <a:lnTo>
                    <a:pt x="1338" y="1146"/>
                  </a:lnTo>
                  <a:lnTo>
                    <a:pt x="1290" y="1170"/>
                  </a:lnTo>
                  <a:lnTo>
                    <a:pt x="1284" y="1170"/>
                  </a:lnTo>
                  <a:lnTo>
                    <a:pt x="1272" y="1158"/>
                  </a:lnTo>
                  <a:lnTo>
                    <a:pt x="1266" y="1146"/>
                  </a:lnTo>
                  <a:lnTo>
                    <a:pt x="1266" y="1140"/>
                  </a:lnTo>
                  <a:lnTo>
                    <a:pt x="1260" y="1128"/>
                  </a:lnTo>
                  <a:lnTo>
                    <a:pt x="1242" y="1128"/>
                  </a:lnTo>
                  <a:lnTo>
                    <a:pt x="1224" y="1122"/>
                  </a:lnTo>
                  <a:lnTo>
                    <a:pt x="1194" y="1122"/>
                  </a:lnTo>
                  <a:lnTo>
                    <a:pt x="1194" y="1104"/>
                  </a:lnTo>
                  <a:lnTo>
                    <a:pt x="1188" y="1092"/>
                  </a:lnTo>
                  <a:lnTo>
                    <a:pt x="1176" y="1080"/>
                  </a:lnTo>
                  <a:lnTo>
                    <a:pt x="1170" y="1068"/>
                  </a:lnTo>
                  <a:lnTo>
                    <a:pt x="1164" y="1062"/>
                  </a:lnTo>
                  <a:lnTo>
                    <a:pt x="1164" y="1026"/>
                  </a:lnTo>
                  <a:lnTo>
                    <a:pt x="1128" y="966"/>
                  </a:lnTo>
                  <a:lnTo>
                    <a:pt x="1122" y="924"/>
                  </a:lnTo>
                  <a:lnTo>
                    <a:pt x="1110" y="894"/>
                  </a:lnTo>
                  <a:lnTo>
                    <a:pt x="1104" y="804"/>
                  </a:lnTo>
                  <a:lnTo>
                    <a:pt x="1110" y="798"/>
                  </a:lnTo>
                  <a:lnTo>
                    <a:pt x="1122" y="774"/>
                  </a:lnTo>
                  <a:lnTo>
                    <a:pt x="1128" y="768"/>
                  </a:lnTo>
                  <a:lnTo>
                    <a:pt x="1128" y="654"/>
                  </a:lnTo>
                  <a:lnTo>
                    <a:pt x="1152" y="648"/>
                  </a:lnTo>
                  <a:lnTo>
                    <a:pt x="1152" y="612"/>
                  </a:lnTo>
                  <a:lnTo>
                    <a:pt x="1158" y="600"/>
                  </a:lnTo>
                  <a:lnTo>
                    <a:pt x="1158" y="594"/>
                  </a:lnTo>
                  <a:lnTo>
                    <a:pt x="1164" y="588"/>
                  </a:lnTo>
                  <a:lnTo>
                    <a:pt x="1176" y="588"/>
                  </a:lnTo>
                  <a:lnTo>
                    <a:pt x="1182" y="594"/>
                  </a:lnTo>
                  <a:lnTo>
                    <a:pt x="1188" y="594"/>
                  </a:lnTo>
                  <a:lnTo>
                    <a:pt x="1188" y="588"/>
                  </a:lnTo>
                  <a:lnTo>
                    <a:pt x="1194" y="576"/>
                  </a:lnTo>
                  <a:lnTo>
                    <a:pt x="1194" y="564"/>
                  </a:lnTo>
                  <a:lnTo>
                    <a:pt x="1200" y="558"/>
                  </a:lnTo>
                  <a:lnTo>
                    <a:pt x="1206" y="546"/>
                  </a:lnTo>
                  <a:lnTo>
                    <a:pt x="1206" y="540"/>
                  </a:lnTo>
                  <a:lnTo>
                    <a:pt x="1206" y="546"/>
                  </a:lnTo>
                  <a:lnTo>
                    <a:pt x="1182" y="546"/>
                  </a:lnTo>
                  <a:lnTo>
                    <a:pt x="1176" y="534"/>
                  </a:lnTo>
                  <a:lnTo>
                    <a:pt x="1176" y="528"/>
                  </a:lnTo>
                  <a:lnTo>
                    <a:pt x="1134" y="528"/>
                  </a:lnTo>
                  <a:lnTo>
                    <a:pt x="1122" y="516"/>
                  </a:lnTo>
                  <a:lnTo>
                    <a:pt x="1110" y="516"/>
                  </a:lnTo>
                  <a:lnTo>
                    <a:pt x="1092" y="510"/>
                  </a:lnTo>
                  <a:lnTo>
                    <a:pt x="1080" y="498"/>
                  </a:lnTo>
                  <a:lnTo>
                    <a:pt x="1080" y="468"/>
                  </a:lnTo>
                  <a:lnTo>
                    <a:pt x="1068" y="456"/>
                  </a:lnTo>
                  <a:lnTo>
                    <a:pt x="1068" y="420"/>
                  </a:lnTo>
                  <a:lnTo>
                    <a:pt x="1074" y="420"/>
                  </a:lnTo>
                  <a:lnTo>
                    <a:pt x="1080" y="414"/>
                  </a:lnTo>
                  <a:lnTo>
                    <a:pt x="1080" y="408"/>
                  </a:lnTo>
                  <a:lnTo>
                    <a:pt x="1068" y="396"/>
                  </a:lnTo>
                  <a:lnTo>
                    <a:pt x="1056" y="390"/>
                  </a:lnTo>
                  <a:lnTo>
                    <a:pt x="1050" y="384"/>
                  </a:lnTo>
                  <a:lnTo>
                    <a:pt x="1050" y="360"/>
                  </a:lnTo>
                  <a:lnTo>
                    <a:pt x="1038" y="354"/>
                  </a:lnTo>
                  <a:lnTo>
                    <a:pt x="1032" y="342"/>
                  </a:lnTo>
                  <a:lnTo>
                    <a:pt x="1032" y="330"/>
                  </a:lnTo>
                  <a:lnTo>
                    <a:pt x="1038" y="318"/>
                  </a:lnTo>
                  <a:lnTo>
                    <a:pt x="1038" y="294"/>
                  </a:lnTo>
                  <a:lnTo>
                    <a:pt x="1026" y="282"/>
                  </a:lnTo>
                  <a:lnTo>
                    <a:pt x="1020" y="270"/>
                  </a:lnTo>
                  <a:lnTo>
                    <a:pt x="1008" y="258"/>
                  </a:lnTo>
                  <a:lnTo>
                    <a:pt x="1002" y="246"/>
                  </a:lnTo>
                  <a:lnTo>
                    <a:pt x="996" y="240"/>
                  </a:lnTo>
                  <a:lnTo>
                    <a:pt x="990" y="228"/>
                  </a:lnTo>
                  <a:lnTo>
                    <a:pt x="948" y="228"/>
                  </a:lnTo>
                  <a:lnTo>
                    <a:pt x="930" y="222"/>
                  </a:lnTo>
                  <a:lnTo>
                    <a:pt x="930" y="228"/>
                  </a:lnTo>
                  <a:lnTo>
                    <a:pt x="912" y="228"/>
                  </a:lnTo>
                  <a:lnTo>
                    <a:pt x="900" y="240"/>
                  </a:lnTo>
                  <a:lnTo>
                    <a:pt x="888" y="264"/>
                  </a:lnTo>
                  <a:lnTo>
                    <a:pt x="876" y="276"/>
                  </a:lnTo>
                  <a:lnTo>
                    <a:pt x="852" y="288"/>
                  </a:lnTo>
                  <a:lnTo>
                    <a:pt x="840" y="288"/>
                  </a:lnTo>
                  <a:lnTo>
                    <a:pt x="822" y="276"/>
                  </a:lnTo>
                  <a:lnTo>
                    <a:pt x="810" y="270"/>
                  </a:lnTo>
                  <a:lnTo>
                    <a:pt x="780" y="240"/>
                  </a:lnTo>
                  <a:lnTo>
                    <a:pt x="780" y="228"/>
                  </a:lnTo>
                  <a:lnTo>
                    <a:pt x="786" y="216"/>
                  </a:lnTo>
                  <a:lnTo>
                    <a:pt x="786" y="174"/>
                  </a:lnTo>
                  <a:lnTo>
                    <a:pt x="780" y="162"/>
                  </a:lnTo>
                  <a:lnTo>
                    <a:pt x="768" y="150"/>
                  </a:lnTo>
                  <a:lnTo>
                    <a:pt x="756" y="144"/>
                  </a:lnTo>
                  <a:lnTo>
                    <a:pt x="744" y="144"/>
                  </a:lnTo>
                  <a:lnTo>
                    <a:pt x="738" y="114"/>
                  </a:lnTo>
                  <a:lnTo>
                    <a:pt x="708" y="102"/>
                  </a:lnTo>
                  <a:lnTo>
                    <a:pt x="708" y="78"/>
                  </a:lnTo>
                  <a:lnTo>
                    <a:pt x="696" y="66"/>
                  </a:lnTo>
                  <a:lnTo>
                    <a:pt x="582" y="66"/>
                  </a:lnTo>
                  <a:lnTo>
                    <a:pt x="576" y="72"/>
                  </a:lnTo>
                  <a:lnTo>
                    <a:pt x="576" y="90"/>
                  </a:lnTo>
                  <a:lnTo>
                    <a:pt x="570" y="102"/>
                  </a:lnTo>
                  <a:lnTo>
                    <a:pt x="570" y="108"/>
                  </a:lnTo>
                  <a:lnTo>
                    <a:pt x="366" y="108"/>
                  </a:lnTo>
                  <a:lnTo>
                    <a:pt x="156" y="12"/>
                  </a:lnTo>
                  <a:lnTo>
                    <a:pt x="150" y="12"/>
                  </a:lnTo>
                  <a:lnTo>
                    <a:pt x="150" y="6"/>
                  </a:lnTo>
                  <a:lnTo>
                    <a:pt x="156" y="0"/>
                  </a:lnTo>
                  <a:lnTo>
                    <a:pt x="12" y="6"/>
                  </a:lnTo>
                  <a:lnTo>
                    <a:pt x="6" y="0"/>
                  </a:lnTo>
                  <a:lnTo>
                    <a:pt x="0" y="18"/>
                  </a:lnTo>
                  <a:lnTo>
                    <a:pt x="0" y="48"/>
                  </a:lnTo>
                  <a:lnTo>
                    <a:pt x="6" y="60"/>
                  </a:lnTo>
                  <a:lnTo>
                    <a:pt x="12" y="66"/>
                  </a:lnTo>
                  <a:lnTo>
                    <a:pt x="18" y="78"/>
                  </a:lnTo>
                  <a:lnTo>
                    <a:pt x="0" y="90"/>
                  </a:lnTo>
                  <a:lnTo>
                    <a:pt x="12" y="114"/>
                  </a:lnTo>
                  <a:lnTo>
                    <a:pt x="6" y="126"/>
                  </a:lnTo>
                  <a:lnTo>
                    <a:pt x="24" y="144"/>
                  </a:lnTo>
                  <a:lnTo>
                    <a:pt x="6" y="174"/>
                  </a:lnTo>
                  <a:lnTo>
                    <a:pt x="18" y="180"/>
                  </a:lnTo>
                  <a:lnTo>
                    <a:pt x="18" y="210"/>
                  </a:lnTo>
                  <a:lnTo>
                    <a:pt x="24" y="228"/>
                  </a:lnTo>
                  <a:lnTo>
                    <a:pt x="24" y="240"/>
                  </a:lnTo>
                  <a:lnTo>
                    <a:pt x="30" y="252"/>
                  </a:lnTo>
                  <a:lnTo>
                    <a:pt x="42" y="264"/>
                  </a:lnTo>
                  <a:lnTo>
                    <a:pt x="60" y="264"/>
                  </a:lnTo>
                  <a:lnTo>
                    <a:pt x="60" y="270"/>
                  </a:lnTo>
                  <a:lnTo>
                    <a:pt x="66" y="276"/>
                  </a:lnTo>
                  <a:lnTo>
                    <a:pt x="72" y="288"/>
                  </a:lnTo>
                  <a:lnTo>
                    <a:pt x="84" y="300"/>
                  </a:lnTo>
                  <a:lnTo>
                    <a:pt x="90" y="318"/>
                  </a:lnTo>
                  <a:lnTo>
                    <a:pt x="96" y="330"/>
                  </a:lnTo>
                  <a:lnTo>
                    <a:pt x="96" y="342"/>
                  </a:lnTo>
                  <a:lnTo>
                    <a:pt x="78" y="378"/>
                  </a:lnTo>
                  <a:lnTo>
                    <a:pt x="72" y="384"/>
                  </a:lnTo>
                  <a:lnTo>
                    <a:pt x="72" y="390"/>
                  </a:lnTo>
                  <a:lnTo>
                    <a:pt x="84" y="396"/>
                  </a:lnTo>
                  <a:lnTo>
                    <a:pt x="72" y="414"/>
                  </a:lnTo>
                  <a:lnTo>
                    <a:pt x="60" y="396"/>
                  </a:lnTo>
                  <a:lnTo>
                    <a:pt x="12" y="390"/>
                  </a:lnTo>
                  <a:lnTo>
                    <a:pt x="36" y="414"/>
                  </a:lnTo>
                  <a:lnTo>
                    <a:pt x="42" y="438"/>
                  </a:lnTo>
                  <a:lnTo>
                    <a:pt x="66" y="444"/>
                  </a:lnTo>
                  <a:lnTo>
                    <a:pt x="78" y="456"/>
                  </a:lnTo>
                  <a:lnTo>
                    <a:pt x="84" y="468"/>
                  </a:lnTo>
                  <a:lnTo>
                    <a:pt x="90" y="474"/>
                  </a:lnTo>
                  <a:lnTo>
                    <a:pt x="96" y="474"/>
                  </a:lnTo>
                  <a:lnTo>
                    <a:pt x="102" y="468"/>
                  </a:lnTo>
                  <a:lnTo>
                    <a:pt x="108" y="468"/>
                  </a:lnTo>
                  <a:lnTo>
                    <a:pt x="120" y="462"/>
                  </a:lnTo>
                  <a:lnTo>
                    <a:pt x="126" y="456"/>
                  </a:lnTo>
                  <a:lnTo>
                    <a:pt x="126" y="480"/>
                  </a:lnTo>
                  <a:lnTo>
                    <a:pt x="144" y="516"/>
                  </a:lnTo>
                  <a:lnTo>
                    <a:pt x="156" y="528"/>
                  </a:lnTo>
                  <a:lnTo>
                    <a:pt x="168" y="552"/>
                  </a:lnTo>
                  <a:lnTo>
                    <a:pt x="168" y="564"/>
                  </a:lnTo>
                  <a:lnTo>
                    <a:pt x="156" y="588"/>
                  </a:lnTo>
                  <a:lnTo>
                    <a:pt x="150" y="606"/>
                  </a:lnTo>
                  <a:lnTo>
                    <a:pt x="150" y="618"/>
                  </a:lnTo>
                  <a:lnTo>
                    <a:pt x="180" y="648"/>
                  </a:lnTo>
                  <a:lnTo>
                    <a:pt x="192" y="666"/>
                  </a:lnTo>
                  <a:lnTo>
                    <a:pt x="222" y="696"/>
                  </a:lnTo>
                  <a:lnTo>
                    <a:pt x="234" y="714"/>
                  </a:lnTo>
                  <a:lnTo>
                    <a:pt x="264" y="744"/>
                  </a:lnTo>
                  <a:lnTo>
                    <a:pt x="258" y="750"/>
                  </a:lnTo>
                  <a:lnTo>
                    <a:pt x="258" y="762"/>
                  </a:lnTo>
                  <a:lnTo>
                    <a:pt x="252" y="768"/>
                  </a:lnTo>
                  <a:lnTo>
                    <a:pt x="252" y="780"/>
                  </a:lnTo>
                  <a:lnTo>
                    <a:pt x="258" y="786"/>
                  </a:lnTo>
                  <a:lnTo>
                    <a:pt x="276" y="786"/>
                  </a:lnTo>
                  <a:lnTo>
                    <a:pt x="288" y="780"/>
                  </a:lnTo>
                  <a:lnTo>
                    <a:pt x="294" y="768"/>
                  </a:lnTo>
                  <a:lnTo>
                    <a:pt x="306" y="762"/>
                  </a:lnTo>
                  <a:lnTo>
                    <a:pt x="312" y="756"/>
                  </a:lnTo>
                  <a:lnTo>
                    <a:pt x="306" y="738"/>
                  </a:lnTo>
                  <a:lnTo>
                    <a:pt x="306" y="732"/>
                  </a:lnTo>
                  <a:lnTo>
                    <a:pt x="300" y="726"/>
                  </a:lnTo>
                  <a:lnTo>
                    <a:pt x="300" y="708"/>
                  </a:lnTo>
                  <a:lnTo>
                    <a:pt x="288" y="684"/>
                  </a:lnTo>
                  <a:lnTo>
                    <a:pt x="282" y="678"/>
                  </a:lnTo>
                  <a:lnTo>
                    <a:pt x="258" y="678"/>
                  </a:lnTo>
                  <a:lnTo>
                    <a:pt x="240" y="648"/>
                  </a:lnTo>
                  <a:lnTo>
                    <a:pt x="240" y="576"/>
                  </a:lnTo>
                  <a:lnTo>
                    <a:pt x="222" y="546"/>
                  </a:lnTo>
                  <a:lnTo>
                    <a:pt x="228" y="534"/>
                  </a:lnTo>
                  <a:lnTo>
                    <a:pt x="228" y="528"/>
                  </a:lnTo>
                  <a:lnTo>
                    <a:pt x="234" y="516"/>
                  </a:lnTo>
                  <a:lnTo>
                    <a:pt x="234" y="492"/>
                  </a:lnTo>
                  <a:lnTo>
                    <a:pt x="228" y="486"/>
                  </a:lnTo>
                  <a:lnTo>
                    <a:pt x="216" y="480"/>
                  </a:lnTo>
                  <a:lnTo>
                    <a:pt x="210" y="474"/>
                  </a:lnTo>
                  <a:lnTo>
                    <a:pt x="198" y="474"/>
                  </a:lnTo>
                  <a:lnTo>
                    <a:pt x="198" y="432"/>
                  </a:lnTo>
                  <a:lnTo>
                    <a:pt x="168" y="396"/>
                  </a:lnTo>
                  <a:lnTo>
                    <a:pt x="174" y="336"/>
                  </a:lnTo>
                  <a:lnTo>
                    <a:pt x="168" y="330"/>
                  </a:lnTo>
                  <a:lnTo>
                    <a:pt x="162" y="318"/>
                  </a:lnTo>
                  <a:lnTo>
                    <a:pt x="144" y="300"/>
                  </a:lnTo>
                  <a:lnTo>
                    <a:pt x="138" y="288"/>
                  </a:lnTo>
                  <a:lnTo>
                    <a:pt x="138" y="276"/>
                  </a:lnTo>
                  <a:lnTo>
                    <a:pt x="132" y="264"/>
                  </a:lnTo>
                  <a:lnTo>
                    <a:pt x="132" y="246"/>
                  </a:lnTo>
                  <a:lnTo>
                    <a:pt x="126" y="240"/>
                  </a:lnTo>
                  <a:lnTo>
                    <a:pt x="120" y="228"/>
                  </a:lnTo>
                  <a:lnTo>
                    <a:pt x="108" y="216"/>
                  </a:lnTo>
                  <a:lnTo>
                    <a:pt x="102" y="204"/>
                  </a:lnTo>
                  <a:lnTo>
                    <a:pt x="96" y="198"/>
                  </a:lnTo>
                  <a:lnTo>
                    <a:pt x="96" y="192"/>
                  </a:lnTo>
                  <a:lnTo>
                    <a:pt x="102" y="186"/>
                  </a:lnTo>
                  <a:lnTo>
                    <a:pt x="114" y="162"/>
                  </a:lnTo>
                  <a:lnTo>
                    <a:pt x="114" y="114"/>
                  </a:lnTo>
                  <a:lnTo>
                    <a:pt x="120" y="108"/>
                  </a:lnTo>
                  <a:lnTo>
                    <a:pt x="126" y="96"/>
                  </a:lnTo>
                  <a:lnTo>
                    <a:pt x="126" y="60"/>
                  </a:lnTo>
                  <a:lnTo>
                    <a:pt x="132" y="66"/>
                  </a:lnTo>
                  <a:lnTo>
                    <a:pt x="144" y="72"/>
                  </a:lnTo>
                  <a:lnTo>
                    <a:pt x="150" y="84"/>
                  </a:lnTo>
                  <a:lnTo>
                    <a:pt x="162" y="90"/>
                  </a:lnTo>
                  <a:lnTo>
                    <a:pt x="180" y="90"/>
                  </a:lnTo>
                  <a:lnTo>
                    <a:pt x="186" y="84"/>
                  </a:lnTo>
                  <a:lnTo>
                    <a:pt x="198" y="84"/>
                  </a:lnTo>
                  <a:lnTo>
                    <a:pt x="198" y="102"/>
                  </a:lnTo>
                  <a:lnTo>
                    <a:pt x="204" y="108"/>
                  </a:lnTo>
                  <a:lnTo>
                    <a:pt x="216" y="114"/>
                  </a:lnTo>
                  <a:lnTo>
                    <a:pt x="234" y="114"/>
                  </a:lnTo>
                  <a:lnTo>
                    <a:pt x="234" y="120"/>
                  </a:lnTo>
                  <a:lnTo>
                    <a:pt x="228" y="126"/>
                  </a:lnTo>
                  <a:lnTo>
                    <a:pt x="228" y="186"/>
                  </a:lnTo>
                  <a:lnTo>
                    <a:pt x="240" y="258"/>
                  </a:lnTo>
                  <a:lnTo>
                    <a:pt x="240" y="270"/>
                  </a:lnTo>
                  <a:lnTo>
                    <a:pt x="246" y="282"/>
                  </a:lnTo>
                  <a:lnTo>
                    <a:pt x="252" y="306"/>
                  </a:lnTo>
                  <a:lnTo>
                    <a:pt x="264" y="342"/>
                  </a:lnTo>
                  <a:lnTo>
                    <a:pt x="276" y="372"/>
                  </a:lnTo>
                  <a:lnTo>
                    <a:pt x="282" y="384"/>
                  </a:lnTo>
                  <a:lnTo>
                    <a:pt x="324" y="384"/>
                  </a:lnTo>
                  <a:lnTo>
                    <a:pt x="318" y="390"/>
                  </a:lnTo>
                  <a:lnTo>
                    <a:pt x="306" y="414"/>
                  </a:lnTo>
                  <a:lnTo>
                    <a:pt x="318" y="438"/>
                  </a:lnTo>
                  <a:lnTo>
                    <a:pt x="330" y="444"/>
                  </a:lnTo>
                  <a:lnTo>
                    <a:pt x="336" y="450"/>
                  </a:lnTo>
                  <a:lnTo>
                    <a:pt x="348" y="450"/>
                  </a:lnTo>
                  <a:lnTo>
                    <a:pt x="354" y="474"/>
                  </a:lnTo>
                  <a:lnTo>
                    <a:pt x="384" y="474"/>
                  </a:lnTo>
                  <a:lnTo>
                    <a:pt x="390" y="516"/>
                  </a:lnTo>
                  <a:lnTo>
                    <a:pt x="384" y="516"/>
                  </a:lnTo>
                  <a:lnTo>
                    <a:pt x="378" y="522"/>
                  </a:lnTo>
                  <a:lnTo>
                    <a:pt x="366" y="528"/>
                  </a:lnTo>
                  <a:lnTo>
                    <a:pt x="360" y="534"/>
                  </a:lnTo>
                  <a:lnTo>
                    <a:pt x="354" y="546"/>
                  </a:lnTo>
                  <a:lnTo>
                    <a:pt x="354" y="558"/>
                  </a:lnTo>
                  <a:lnTo>
                    <a:pt x="360" y="564"/>
                  </a:lnTo>
                  <a:lnTo>
                    <a:pt x="372" y="570"/>
                  </a:lnTo>
                  <a:lnTo>
                    <a:pt x="384" y="558"/>
                  </a:lnTo>
                  <a:lnTo>
                    <a:pt x="384" y="564"/>
                  </a:lnTo>
                  <a:lnTo>
                    <a:pt x="396" y="576"/>
                  </a:lnTo>
                  <a:lnTo>
                    <a:pt x="396" y="588"/>
                  </a:lnTo>
                  <a:lnTo>
                    <a:pt x="402" y="594"/>
                  </a:lnTo>
                  <a:lnTo>
                    <a:pt x="414" y="594"/>
                  </a:lnTo>
                  <a:lnTo>
                    <a:pt x="426" y="600"/>
                  </a:lnTo>
                  <a:lnTo>
                    <a:pt x="432" y="600"/>
                  </a:lnTo>
                  <a:lnTo>
                    <a:pt x="438" y="606"/>
                  </a:lnTo>
                  <a:lnTo>
                    <a:pt x="438" y="624"/>
                  </a:lnTo>
                  <a:lnTo>
                    <a:pt x="432" y="630"/>
                  </a:lnTo>
                  <a:lnTo>
                    <a:pt x="432" y="636"/>
                  </a:lnTo>
                  <a:lnTo>
                    <a:pt x="426" y="648"/>
                  </a:lnTo>
                  <a:lnTo>
                    <a:pt x="426" y="654"/>
                  </a:lnTo>
                  <a:lnTo>
                    <a:pt x="468" y="654"/>
                  </a:lnTo>
                  <a:lnTo>
                    <a:pt x="468" y="684"/>
                  </a:lnTo>
                  <a:lnTo>
                    <a:pt x="504" y="720"/>
                  </a:lnTo>
                  <a:lnTo>
                    <a:pt x="510" y="732"/>
                  </a:lnTo>
                  <a:lnTo>
                    <a:pt x="528" y="750"/>
                  </a:lnTo>
                  <a:lnTo>
                    <a:pt x="534" y="768"/>
                  </a:lnTo>
                  <a:lnTo>
                    <a:pt x="546" y="780"/>
                  </a:lnTo>
                  <a:lnTo>
                    <a:pt x="552" y="798"/>
                  </a:lnTo>
                  <a:lnTo>
                    <a:pt x="558" y="810"/>
                  </a:lnTo>
                  <a:lnTo>
                    <a:pt x="558" y="870"/>
                  </a:lnTo>
                  <a:lnTo>
                    <a:pt x="564" y="882"/>
                  </a:lnTo>
                  <a:lnTo>
                    <a:pt x="576" y="894"/>
                  </a:lnTo>
                  <a:lnTo>
                    <a:pt x="576" y="906"/>
                  </a:lnTo>
                  <a:lnTo>
                    <a:pt x="570" y="918"/>
                  </a:lnTo>
                  <a:lnTo>
                    <a:pt x="552" y="936"/>
                  </a:lnTo>
                  <a:lnTo>
                    <a:pt x="546" y="948"/>
                  </a:lnTo>
                  <a:lnTo>
                    <a:pt x="546" y="954"/>
                  </a:lnTo>
                  <a:lnTo>
                    <a:pt x="552" y="960"/>
                  </a:lnTo>
                  <a:lnTo>
                    <a:pt x="564" y="966"/>
                  </a:lnTo>
                  <a:lnTo>
                    <a:pt x="540" y="966"/>
                  </a:lnTo>
                  <a:lnTo>
                    <a:pt x="528" y="972"/>
                  </a:lnTo>
                  <a:lnTo>
                    <a:pt x="528" y="1038"/>
                  </a:lnTo>
                  <a:lnTo>
                    <a:pt x="534" y="1056"/>
                  </a:lnTo>
                  <a:lnTo>
                    <a:pt x="540" y="1062"/>
                  </a:lnTo>
                  <a:lnTo>
                    <a:pt x="546" y="1074"/>
                  </a:lnTo>
                  <a:lnTo>
                    <a:pt x="558" y="1074"/>
                  </a:lnTo>
                  <a:lnTo>
                    <a:pt x="576" y="1080"/>
                  </a:lnTo>
                  <a:lnTo>
                    <a:pt x="600" y="1080"/>
                  </a:lnTo>
                  <a:lnTo>
                    <a:pt x="612" y="1086"/>
                  </a:lnTo>
                  <a:lnTo>
                    <a:pt x="636" y="1110"/>
                  </a:lnTo>
                  <a:lnTo>
                    <a:pt x="642" y="1122"/>
                  </a:lnTo>
                  <a:lnTo>
                    <a:pt x="648" y="1140"/>
                  </a:lnTo>
                  <a:lnTo>
                    <a:pt x="654" y="1152"/>
                  </a:lnTo>
                  <a:lnTo>
                    <a:pt x="666" y="1164"/>
                  </a:lnTo>
                  <a:lnTo>
                    <a:pt x="678" y="1170"/>
                  </a:lnTo>
                  <a:lnTo>
                    <a:pt x="732" y="1170"/>
                  </a:lnTo>
                  <a:lnTo>
                    <a:pt x="750" y="1176"/>
                  </a:lnTo>
                  <a:lnTo>
                    <a:pt x="762" y="1182"/>
                  </a:lnTo>
                  <a:lnTo>
                    <a:pt x="768" y="1188"/>
                  </a:lnTo>
                  <a:lnTo>
                    <a:pt x="774" y="1200"/>
                  </a:lnTo>
                  <a:lnTo>
                    <a:pt x="786" y="1218"/>
                  </a:lnTo>
                  <a:lnTo>
                    <a:pt x="810" y="1242"/>
                  </a:lnTo>
                  <a:lnTo>
                    <a:pt x="834" y="1254"/>
                  </a:lnTo>
                  <a:lnTo>
                    <a:pt x="870" y="1266"/>
                  </a:lnTo>
                  <a:lnTo>
                    <a:pt x="912" y="1272"/>
                  </a:lnTo>
                  <a:lnTo>
                    <a:pt x="942" y="1278"/>
                  </a:lnTo>
                  <a:lnTo>
                    <a:pt x="960" y="1290"/>
                  </a:lnTo>
                  <a:lnTo>
                    <a:pt x="966" y="1302"/>
                  </a:lnTo>
                  <a:lnTo>
                    <a:pt x="978" y="1314"/>
                  </a:lnTo>
                  <a:lnTo>
                    <a:pt x="990" y="1320"/>
                  </a:lnTo>
                  <a:lnTo>
                    <a:pt x="996" y="1320"/>
                  </a:lnTo>
                  <a:lnTo>
                    <a:pt x="1002" y="1326"/>
                  </a:lnTo>
                  <a:lnTo>
                    <a:pt x="1008" y="1338"/>
                  </a:lnTo>
                  <a:lnTo>
                    <a:pt x="1014" y="1344"/>
                  </a:lnTo>
                  <a:lnTo>
                    <a:pt x="1080" y="1344"/>
                  </a:lnTo>
                  <a:lnTo>
                    <a:pt x="1092" y="1356"/>
                  </a:lnTo>
                  <a:lnTo>
                    <a:pt x="1098" y="1368"/>
                  </a:lnTo>
                  <a:lnTo>
                    <a:pt x="1104" y="1374"/>
                  </a:lnTo>
                  <a:lnTo>
                    <a:pt x="1116" y="1374"/>
                  </a:lnTo>
                  <a:lnTo>
                    <a:pt x="1140" y="1362"/>
                  </a:lnTo>
                  <a:lnTo>
                    <a:pt x="1170" y="1350"/>
                  </a:lnTo>
                  <a:lnTo>
                    <a:pt x="1206" y="1332"/>
                  </a:lnTo>
                  <a:lnTo>
                    <a:pt x="1260" y="1314"/>
                  </a:lnTo>
                  <a:lnTo>
                    <a:pt x="1278" y="1326"/>
                  </a:lnTo>
                  <a:lnTo>
                    <a:pt x="1308" y="1350"/>
                  </a:lnTo>
                  <a:lnTo>
                    <a:pt x="1344" y="1374"/>
                  </a:lnTo>
                  <a:lnTo>
                    <a:pt x="1386" y="1416"/>
                  </a:lnTo>
                  <a:lnTo>
                    <a:pt x="1386" y="1428"/>
                  </a:lnTo>
                  <a:lnTo>
                    <a:pt x="1392" y="1446"/>
                  </a:lnTo>
                  <a:lnTo>
                    <a:pt x="1398" y="1458"/>
                  </a:lnTo>
                  <a:lnTo>
                    <a:pt x="1416" y="1458"/>
                  </a:lnTo>
                  <a:lnTo>
                    <a:pt x="1422" y="1452"/>
                  </a:lnTo>
                  <a:lnTo>
                    <a:pt x="1422" y="1440"/>
                  </a:lnTo>
                  <a:close/>
                </a:path>
              </a:pathLst>
            </a:custGeom>
            <a:solidFill>
              <a:srgbClr val="0070C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42" name="Malta" descr="© INSCALE GmbH, 05.05.2010&#10;http://www.presentationload.com/">
              <a:extLst>
                <a:ext uri="{FF2B5EF4-FFF2-40B4-BE49-F238E27FC236}">
                  <a16:creationId xmlns:a16="http://schemas.microsoft.com/office/drawing/2014/main" id="{966E92ED-B368-03CC-48EA-B50EF8A18089}"/>
                </a:ext>
              </a:extLst>
            </p:cNvPr>
            <p:cNvSpPr>
              <a:spLocks/>
            </p:cNvSpPr>
            <p:nvPr/>
          </p:nvSpPr>
          <p:spPr bwMode="gray">
            <a:xfrm>
              <a:off x="4608948" y="2112624"/>
              <a:ext cx="11859" cy="10377"/>
            </a:xfrm>
            <a:custGeom>
              <a:avLst/>
              <a:gdLst>
                <a:gd name="T0" fmla="*/ 2147483647 w 30"/>
                <a:gd name="T1" fmla="*/ 2147483647 h 30"/>
                <a:gd name="T2" fmla="*/ 2147483647 w 30"/>
                <a:gd name="T3" fmla="*/ 2147483647 h 30"/>
                <a:gd name="T4" fmla="*/ 2147483647 w 30"/>
                <a:gd name="T5" fmla="*/ 2147483647 h 30"/>
                <a:gd name="T6" fmla="*/ 2147483647 w 30"/>
                <a:gd name="T7" fmla="*/ 0 h 30"/>
                <a:gd name="T8" fmla="*/ 2147483647 w 30"/>
                <a:gd name="T9" fmla="*/ 0 h 30"/>
                <a:gd name="T10" fmla="*/ 0 w 30"/>
                <a:gd name="T11" fmla="*/ 2147483647 h 30"/>
                <a:gd name="T12" fmla="*/ 0 w 30"/>
                <a:gd name="T13" fmla="*/ 2147483647 h 30"/>
                <a:gd name="T14" fmla="*/ 2147483647 w 30"/>
                <a:gd name="T15" fmla="*/ 2147483647 h 30"/>
                <a:gd name="T16" fmla="*/ 2147483647 w 30"/>
                <a:gd name="T17" fmla="*/ 2147483647 h 30"/>
                <a:gd name="T18" fmla="*/ 2147483647 w 30"/>
                <a:gd name="T19" fmla="*/ 2147483647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0"/>
                <a:gd name="T31" fmla="*/ 0 h 30"/>
                <a:gd name="T32" fmla="*/ 30 w 30"/>
                <a:gd name="T33" fmla="*/ 30 h 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0" h="30">
                  <a:moveTo>
                    <a:pt x="24" y="30"/>
                  </a:moveTo>
                  <a:lnTo>
                    <a:pt x="30" y="24"/>
                  </a:lnTo>
                  <a:lnTo>
                    <a:pt x="30" y="12"/>
                  </a:lnTo>
                  <a:lnTo>
                    <a:pt x="18" y="0"/>
                  </a:lnTo>
                  <a:lnTo>
                    <a:pt x="6" y="0"/>
                  </a:lnTo>
                  <a:lnTo>
                    <a:pt x="0" y="6"/>
                  </a:lnTo>
                  <a:lnTo>
                    <a:pt x="0" y="18"/>
                  </a:lnTo>
                  <a:lnTo>
                    <a:pt x="6" y="24"/>
                  </a:lnTo>
                  <a:lnTo>
                    <a:pt x="18" y="30"/>
                  </a:lnTo>
                  <a:lnTo>
                    <a:pt x="24" y="30"/>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43" name="Mauritania" descr="© INSCALE GmbH, 05.05.2010&#10;http://www.presentationload.com/">
              <a:extLst>
                <a:ext uri="{FF2B5EF4-FFF2-40B4-BE49-F238E27FC236}">
                  <a16:creationId xmlns:a16="http://schemas.microsoft.com/office/drawing/2014/main" id="{041C1B6E-63E1-8E17-857A-21D240EB9C94}"/>
                </a:ext>
              </a:extLst>
            </p:cNvPr>
            <p:cNvSpPr>
              <a:spLocks/>
            </p:cNvSpPr>
            <p:nvPr/>
          </p:nvSpPr>
          <p:spPr bwMode="gray">
            <a:xfrm>
              <a:off x="3790680" y="2386865"/>
              <a:ext cx="324640" cy="380972"/>
            </a:xfrm>
            <a:custGeom>
              <a:avLst/>
              <a:gdLst>
                <a:gd name="T0" fmla="*/ 2147483647 w 858"/>
                <a:gd name="T1" fmla="*/ 2147483647 h 1002"/>
                <a:gd name="T2" fmla="*/ 2147483647 w 858"/>
                <a:gd name="T3" fmla="*/ 2147483647 h 1002"/>
                <a:gd name="T4" fmla="*/ 2147483647 w 858"/>
                <a:gd name="T5" fmla="*/ 2147483647 h 1002"/>
                <a:gd name="T6" fmla="*/ 2147483647 w 858"/>
                <a:gd name="T7" fmla="*/ 2147483647 h 1002"/>
                <a:gd name="T8" fmla="*/ 2147483647 w 858"/>
                <a:gd name="T9" fmla="*/ 2147483647 h 1002"/>
                <a:gd name="T10" fmla="*/ 2147483647 w 858"/>
                <a:gd name="T11" fmla="*/ 2147483647 h 1002"/>
                <a:gd name="T12" fmla="*/ 2147483647 w 858"/>
                <a:gd name="T13" fmla="*/ 2147483647 h 1002"/>
                <a:gd name="T14" fmla="*/ 2147483647 w 858"/>
                <a:gd name="T15" fmla="*/ 2147483647 h 1002"/>
                <a:gd name="T16" fmla="*/ 2147483647 w 858"/>
                <a:gd name="T17" fmla="*/ 2147483647 h 1002"/>
                <a:gd name="T18" fmla="*/ 2147483647 w 858"/>
                <a:gd name="T19" fmla="*/ 2147483647 h 1002"/>
                <a:gd name="T20" fmla="*/ 2147483647 w 858"/>
                <a:gd name="T21" fmla="*/ 2147483647 h 1002"/>
                <a:gd name="T22" fmla="*/ 2147483647 w 858"/>
                <a:gd name="T23" fmla="*/ 2147483647 h 1002"/>
                <a:gd name="T24" fmla="*/ 2147483647 w 858"/>
                <a:gd name="T25" fmla="*/ 2147483647 h 1002"/>
                <a:gd name="T26" fmla="*/ 2147483647 w 858"/>
                <a:gd name="T27" fmla="*/ 2147483647 h 1002"/>
                <a:gd name="T28" fmla="*/ 2147483647 w 858"/>
                <a:gd name="T29" fmla="*/ 2147483647 h 1002"/>
                <a:gd name="T30" fmla="*/ 2147483647 w 858"/>
                <a:gd name="T31" fmla="*/ 2147483647 h 1002"/>
                <a:gd name="T32" fmla="*/ 2147483647 w 858"/>
                <a:gd name="T33" fmla="*/ 2147483647 h 1002"/>
                <a:gd name="T34" fmla="*/ 2147483647 w 858"/>
                <a:gd name="T35" fmla="*/ 2147483647 h 1002"/>
                <a:gd name="T36" fmla="*/ 2147483647 w 858"/>
                <a:gd name="T37" fmla="*/ 2147483647 h 1002"/>
                <a:gd name="T38" fmla="*/ 2147483647 w 858"/>
                <a:gd name="T39" fmla="*/ 2147483647 h 1002"/>
                <a:gd name="T40" fmla="*/ 2147483647 w 858"/>
                <a:gd name="T41" fmla="*/ 2147483647 h 1002"/>
                <a:gd name="T42" fmla="*/ 2147483647 w 858"/>
                <a:gd name="T43" fmla="*/ 2147483647 h 1002"/>
                <a:gd name="T44" fmla="*/ 2147483647 w 858"/>
                <a:gd name="T45" fmla="*/ 2147483647 h 1002"/>
                <a:gd name="T46" fmla="*/ 2147483647 w 858"/>
                <a:gd name="T47" fmla="*/ 2147483647 h 1002"/>
                <a:gd name="T48" fmla="*/ 2147483647 w 858"/>
                <a:gd name="T49" fmla="*/ 2147483647 h 1002"/>
                <a:gd name="T50" fmla="*/ 2147483647 w 858"/>
                <a:gd name="T51" fmla="*/ 2147483647 h 1002"/>
                <a:gd name="T52" fmla="*/ 2147483647 w 858"/>
                <a:gd name="T53" fmla="*/ 2147483647 h 1002"/>
                <a:gd name="T54" fmla="*/ 2147483647 w 858"/>
                <a:gd name="T55" fmla="*/ 2147483647 h 1002"/>
                <a:gd name="T56" fmla="*/ 2147483647 w 858"/>
                <a:gd name="T57" fmla="*/ 2147483647 h 1002"/>
                <a:gd name="T58" fmla="*/ 2147483647 w 858"/>
                <a:gd name="T59" fmla="*/ 2147483647 h 1002"/>
                <a:gd name="T60" fmla="*/ 2147483647 w 858"/>
                <a:gd name="T61" fmla="*/ 2147483647 h 1002"/>
                <a:gd name="T62" fmla="*/ 2147483647 w 858"/>
                <a:gd name="T63" fmla="*/ 2147483647 h 1002"/>
                <a:gd name="T64" fmla="*/ 2147483647 w 858"/>
                <a:gd name="T65" fmla="*/ 2147483647 h 1002"/>
                <a:gd name="T66" fmla="*/ 2147483647 w 858"/>
                <a:gd name="T67" fmla="*/ 2147483647 h 1002"/>
                <a:gd name="T68" fmla="*/ 2147483647 w 858"/>
                <a:gd name="T69" fmla="*/ 2147483647 h 1002"/>
                <a:gd name="T70" fmla="*/ 2147483647 w 858"/>
                <a:gd name="T71" fmla="*/ 2147483647 h 1002"/>
                <a:gd name="T72" fmla="*/ 2147483647 w 858"/>
                <a:gd name="T73" fmla="*/ 2147483647 h 1002"/>
                <a:gd name="T74" fmla="*/ 2147483647 w 858"/>
                <a:gd name="T75" fmla="*/ 2147483647 h 1002"/>
                <a:gd name="T76" fmla="*/ 2147483647 w 858"/>
                <a:gd name="T77" fmla="*/ 2147483647 h 1002"/>
                <a:gd name="T78" fmla="*/ 2147483647 w 858"/>
                <a:gd name="T79" fmla="*/ 2147483647 h 1002"/>
                <a:gd name="T80" fmla="*/ 2147483647 w 858"/>
                <a:gd name="T81" fmla="*/ 2147483647 h 1002"/>
                <a:gd name="T82" fmla="*/ 2147483647 w 858"/>
                <a:gd name="T83" fmla="*/ 2147483647 h 1002"/>
                <a:gd name="T84" fmla="*/ 2147483647 w 858"/>
                <a:gd name="T85" fmla="*/ 2147483647 h 1002"/>
                <a:gd name="T86" fmla="*/ 2147483647 w 858"/>
                <a:gd name="T87" fmla="*/ 2147483647 h 1002"/>
                <a:gd name="T88" fmla="*/ 2147483647 w 858"/>
                <a:gd name="T89" fmla="*/ 2147483647 h 1002"/>
                <a:gd name="T90" fmla="*/ 2147483647 w 858"/>
                <a:gd name="T91" fmla="*/ 2147483647 h 1002"/>
                <a:gd name="T92" fmla="*/ 2147483647 w 858"/>
                <a:gd name="T93" fmla="*/ 2147483647 h 1002"/>
                <a:gd name="T94" fmla="*/ 2147483647 w 858"/>
                <a:gd name="T95" fmla="*/ 2147483647 h 1002"/>
                <a:gd name="T96" fmla="*/ 2147483647 w 858"/>
                <a:gd name="T97" fmla="*/ 2147483647 h 1002"/>
                <a:gd name="T98" fmla="*/ 0 w 858"/>
                <a:gd name="T99" fmla="*/ 2147483647 h 100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58"/>
                <a:gd name="T151" fmla="*/ 0 h 1002"/>
                <a:gd name="T152" fmla="*/ 858 w 858"/>
                <a:gd name="T153" fmla="*/ 1002 h 100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58" h="1002">
                  <a:moveTo>
                    <a:pt x="0" y="498"/>
                  </a:moveTo>
                  <a:lnTo>
                    <a:pt x="18" y="498"/>
                  </a:lnTo>
                  <a:lnTo>
                    <a:pt x="18" y="528"/>
                  </a:lnTo>
                  <a:lnTo>
                    <a:pt x="24" y="534"/>
                  </a:lnTo>
                  <a:lnTo>
                    <a:pt x="30" y="534"/>
                  </a:lnTo>
                  <a:lnTo>
                    <a:pt x="30" y="528"/>
                  </a:lnTo>
                  <a:lnTo>
                    <a:pt x="36" y="522"/>
                  </a:lnTo>
                  <a:lnTo>
                    <a:pt x="48" y="558"/>
                  </a:lnTo>
                  <a:lnTo>
                    <a:pt x="42" y="600"/>
                  </a:lnTo>
                  <a:lnTo>
                    <a:pt x="30" y="600"/>
                  </a:lnTo>
                  <a:lnTo>
                    <a:pt x="36" y="624"/>
                  </a:lnTo>
                  <a:lnTo>
                    <a:pt x="24" y="630"/>
                  </a:lnTo>
                  <a:lnTo>
                    <a:pt x="30" y="642"/>
                  </a:lnTo>
                  <a:lnTo>
                    <a:pt x="36" y="648"/>
                  </a:lnTo>
                  <a:lnTo>
                    <a:pt x="48" y="666"/>
                  </a:lnTo>
                  <a:lnTo>
                    <a:pt x="60" y="690"/>
                  </a:lnTo>
                  <a:lnTo>
                    <a:pt x="60" y="720"/>
                  </a:lnTo>
                  <a:lnTo>
                    <a:pt x="54" y="738"/>
                  </a:lnTo>
                  <a:lnTo>
                    <a:pt x="54" y="750"/>
                  </a:lnTo>
                  <a:lnTo>
                    <a:pt x="48" y="756"/>
                  </a:lnTo>
                  <a:lnTo>
                    <a:pt x="48" y="804"/>
                  </a:lnTo>
                  <a:lnTo>
                    <a:pt x="42" y="816"/>
                  </a:lnTo>
                  <a:lnTo>
                    <a:pt x="30" y="822"/>
                  </a:lnTo>
                  <a:lnTo>
                    <a:pt x="24" y="840"/>
                  </a:lnTo>
                  <a:lnTo>
                    <a:pt x="18" y="852"/>
                  </a:lnTo>
                  <a:lnTo>
                    <a:pt x="18" y="864"/>
                  </a:lnTo>
                  <a:lnTo>
                    <a:pt x="12" y="876"/>
                  </a:lnTo>
                  <a:lnTo>
                    <a:pt x="12" y="906"/>
                  </a:lnTo>
                  <a:lnTo>
                    <a:pt x="18" y="900"/>
                  </a:lnTo>
                  <a:lnTo>
                    <a:pt x="36" y="864"/>
                  </a:lnTo>
                  <a:lnTo>
                    <a:pt x="42" y="858"/>
                  </a:lnTo>
                  <a:lnTo>
                    <a:pt x="54" y="852"/>
                  </a:lnTo>
                  <a:lnTo>
                    <a:pt x="60" y="852"/>
                  </a:lnTo>
                  <a:lnTo>
                    <a:pt x="66" y="858"/>
                  </a:lnTo>
                  <a:lnTo>
                    <a:pt x="72" y="858"/>
                  </a:lnTo>
                  <a:lnTo>
                    <a:pt x="84" y="852"/>
                  </a:lnTo>
                  <a:lnTo>
                    <a:pt x="114" y="858"/>
                  </a:lnTo>
                  <a:lnTo>
                    <a:pt x="114" y="840"/>
                  </a:lnTo>
                  <a:lnTo>
                    <a:pt x="138" y="852"/>
                  </a:lnTo>
                  <a:lnTo>
                    <a:pt x="162" y="852"/>
                  </a:lnTo>
                  <a:lnTo>
                    <a:pt x="174" y="858"/>
                  </a:lnTo>
                  <a:lnTo>
                    <a:pt x="180" y="858"/>
                  </a:lnTo>
                  <a:lnTo>
                    <a:pt x="186" y="870"/>
                  </a:lnTo>
                  <a:lnTo>
                    <a:pt x="198" y="882"/>
                  </a:lnTo>
                  <a:lnTo>
                    <a:pt x="204" y="894"/>
                  </a:lnTo>
                  <a:lnTo>
                    <a:pt x="216" y="888"/>
                  </a:lnTo>
                  <a:lnTo>
                    <a:pt x="234" y="888"/>
                  </a:lnTo>
                  <a:lnTo>
                    <a:pt x="240" y="894"/>
                  </a:lnTo>
                  <a:lnTo>
                    <a:pt x="240" y="900"/>
                  </a:lnTo>
                  <a:lnTo>
                    <a:pt x="246" y="912"/>
                  </a:lnTo>
                  <a:lnTo>
                    <a:pt x="246" y="942"/>
                  </a:lnTo>
                  <a:lnTo>
                    <a:pt x="264" y="942"/>
                  </a:lnTo>
                  <a:lnTo>
                    <a:pt x="270" y="948"/>
                  </a:lnTo>
                  <a:lnTo>
                    <a:pt x="270" y="972"/>
                  </a:lnTo>
                  <a:lnTo>
                    <a:pt x="300" y="978"/>
                  </a:lnTo>
                  <a:lnTo>
                    <a:pt x="312" y="1002"/>
                  </a:lnTo>
                  <a:lnTo>
                    <a:pt x="330" y="1002"/>
                  </a:lnTo>
                  <a:lnTo>
                    <a:pt x="342" y="996"/>
                  </a:lnTo>
                  <a:lnTo>
                    <a:pt x="348" y="996"/>
                  </a:lnTo>
                  <a:lnTo>
                    <a:pt x="348" y="948"/>
                  </a:lnTo>
                  <a:lnTo>
                    <a:pt x="360" y="936"/>
                  </a:lnTo>
                  <a:lnTo>
                    <a:pt x="378" y="936"/>
                  </a:lnTo>
                  <a:lnTo>
                    <a:pt x="402" y="960"/>
                  </a:lnTo>
                  <a:lnTo>
                    <a:pt x="408" y="972"/>
                  </a:lnTo>
                  <a:lnTo>
                    <a:pt x="420" y="948"/>
                  </a:lnTo>
                  <a:lnTo>
                    <a:pt x="456" y="948"/>
                  </a:lnTo>
                  <a:lnTo>
                    <a:pt x="462" y="954"/>
                  </a:lnTo>
                  <a:lnTo>
                    <a:pt x="492" y="954"/>
                  </a:lnTo>
                  <a:lnTo>
                    <a:pt x="504" y="948"/>
                  </a:lnTo>
                  <a:lnTo>
                    <a:pt x="510" y="948"/>
                  </a:lnTo>
                  <a:lnTo>
                    <a:pt x="510" y="936"/>
                  </a:lnTo>
                  <a:lnTo>
                    <a:pt x="516" y="930"/>
                  </a:lnTo>
                  <a:lnTo>
                    <a:pt x="522" y="930"/>
                  </a:lnTo>
                  <a:lnTo>
                    <a:pt x="522" y="942"/>
                  </a:lnTo>
                  <a:lnTo>
                    <a:pt x="786" y="942"/>
                  </a:lnTo>
                  <a:lnTo>
                    <a:pt x="798" y="900"/>
                  </a:lnTo>
                  <a:lnTo>
                    <a:pt x="804" y="894"/>
                  </a:lnTo>
                  <a:lnTo>
                    <a:pt x="804" y="882"/>
                  </a:lnTo>
                  <a:lnTo>
                    <a:pt x="786" y="864"/>
                  </a:lnTo>
                  <a:lnTo>
                    <a:pt x="780" y="864"/>
                  </a:lnTo>
                  <a:lnTo>
                    <a:pt x="738" y="174"/>
                  </a:lnTo>
                  <a:lnTo>
                    <a:pt x="858" y="180"/>
                  </a:lnTo>
                  <a:lnTo>
                    <a:pt x="600" y="0"/>
                  </a:lnTo>
                  <a:lnTo>
                    <a:pt x="594" y="48"/>
                  </a:lnTo>
                  <a:lnTo>
                    <a:pt x="588" y="54"/>
                  </a:lnTo>
                  <a:lnTo>
                    <a:pt x="588" y="90"/>
                  </a:lnTo>
                  <a:lnTo>
                    <a:pt x="366" y="96"/>
                  </a:lnTo>
                  <a:lnTo>
                    <a:pt x="366" y="108"/>
                  </a:lnTo>
                  <a:lnTo>
                    <a:pt x="354" y="114"/>
                  </a:lnTo>
                  <a:lnTo>
                    <a:pt x="354" y="306"/>
                  </a:lnTo>
                  <a:lnTo>
                    <a:pt x="348" y="312"/>
                  </a:lnTo>
                  <a:lnTo>
                    <a:pt x="336" y="318"/>
                  </a:lnTo>
                  <a:lnTo>
                    <a:pt x="306" y="318"/>
                  </a:lnTo>
                  <a:lnTo>
                    <a:pt x="282" y="330"/>
                  </a:lnTo>
                  <a:lnTo>
                    <a:pt x="276" y="342"/>
                  </a:lnTo>
                  <a:lnTo>
                    <a:pt x="276" y="360"/>
                  </a:lnTo>
                  <a:lnTo>
                    <a:pt x="282" y="372"/>
                  </a:lnTo>
                  <a:lnTo>
                    <a:pt x="276" y="474"/>
                  </a:lnTo>
                  <a:lnTo>
                    <a:pt x="0" y="474"/>
                  </a:lnTo>
                  <a:lnTo>
                    <a:pt x="0" y="498"/>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44" name="Mali" descr="© INSCALE GmbH, 05.05.2010&#10;http://www.presentationload.com/">
              <a:extLst>
                <a:ext uri="{FF2B5EF4-FFF2-40B4-BE49-F238E27FC236}">
                  <a16:creationId xmlns:a16="http://schemas.microsoft.com/office/drawing/2014/main" id="{F805C3B5-7783-1F14-1C56-1E2DF20A87A9}"/>
                </a:ext>
              </a:extLst>
            </p:cNvPr>
            <p:cNvSpPr>
              <a:spLocks/>
            </p:cNvSpPr>
            <p:nvPr/>
          </p:nvSpPr>
          <p:spPr bwMode="gray">
            <a:xfrm>
              <a:off x="3909270" y="2453571"/>
              <a:ext cx="440265" cy="455091"/>
            </a:xfrm>
            <a:custGeom>
              <a:avLst/>
              <a:gdLst>
                <a:gd name="T0" fmla="*/ 2147483647 w 1164"/>
                <a:gd name="T1" fmla="*/ 2147483647 h 1200"/>
                <a:gd name="T2" fmla="*/ 2147483647 w 1164"/>
                <a:gd name="T3" fmla="*/ 2147483647 h 1200"/>
                <a:gd name="T4" fmla="*/ 2147483647 w 1164"/>
                <a:gd name="T5" fmla="*/ 2147483647 h 1200"/>
                <a:gd name="T6" fmla="*/ 2147483647 w 1164"/>
                <a:gd name="T7" fmla="*/ 2147483647 h 1200"/>
                <a:gd name="T8" fmla="*/ 2147483647 w 1164"/>
                <a:gd name="T9" fmla="*/ 2147483647 h 1200"/>
                <a:gd name="T10" fmla="*/ 2147483647 w 1164"/>
                <a:gd name="T11" fmla="*/ 2147483647 h 1200"/>
                <a:gd name="T12" fmla="*/ 2147483647 w 1164"/>
                <a:gd name="T13" fmla="*/ 2147483647 h 1200"/>
                <a:gd name="T14" fmla="*/ 2147483647 w 1164"/>
                <a:gd name="T15" fmla="*/ 2147483647 h 1200"/>
                <a:gd name="T16" fmla="*/ 2147483647 w 1164"/>
                <a:gd name="T17" fmla="*/ 2147483647 h 1200"/>
                <a:gd name="T18" fmla="*/ 2147483647 w 1164"/>
                <a:gd name="T19" fmla="*/ 2147483647 h 1200"/>
                <a:gd name="T20" fmla="*/ 2147483647 w 1164"/>
                <a:gd name="T21" fmla="*/ 2147483647 h 1200"/>
                <a:gd name="T22" fmla="*/ 2147483647 w 1164"/>
                <a:gd name="T23" fmla="*/ 2147483647 h 1200"/>
                <a:gd name="T24" fmla="*/ 2147483647 w 1164"/>
                <a:gd name="T25" fmla="*/ 2147483647 h 1200"/>
                <a:gd name="T26" fmla="*/ 2147483647 w 1164"/>
                <a:gd name="T27" fmla="*/ 2147483647 h 1200"/>
                <a:gd name="T28" fmla="*/ 2147483647 w 1164"/>
                <a:gd name="T29" fmla="*/ 2147483647 h 1200"/>
                <a:gd name="T30" fmla="*/ 2147483647 w 1164"/>
                <a:gd name="T31" fmla="*/ 2147483647 h 1200"/>
                <a:gd name="T32" fmla="*/ 2147483647 w 1164"/>
                <a:gd name="T33" fmla="*/ 2147483647 h 1200"/>
                <a:gd name="T34" fmla="*/ 2147483647 w 1164"/>
                <a:gd name="T35" fmla="*/ 2147483647 h 1200"/>
                <a:gd name="T36" fmla="*/ 2147483647 w 1164"/>
                <a:gd name="T37" fmla="*/ 2147483647 h 1200"/>
                <a:gd name="T38" fmla="*/ 2147483647 w 1164"/>
                <a:gd name="T39" fmla="*/ 2147483647 h 1200"/>
                <a:gd name="T40" fmla="*/ 2147483647 w 1164"/>
                <a:gd name="T41" fmla="*/ 2147483647 h 1200"/>
                <a:gd name="T42" fmla="*/ 2147483647 w 1164"/>
                <a:gd name="T43" fmla="*/ 2147483647 h 1200"/>
                <a:gd name="T44" fmla="*/ 2147483647 w 1164"/>
                <a:gd name="T45" fmla="*/ 2147483647 h 1200"/>
                <a:gd name="T46" fmla="*/ 2147483647 w 1164"/>
                <a:gd name="T47" fmla="*/ 2147483647 h 1200"/>
                <a:gd name="T48" fmla="*/ 2147483647 w 1164"/>
                <a:gd name="T49" fmla="*/ 2147483647 h 1200"/>
                <a:gd name="T50" fmla="*/ 2147483647 w 1164"/>
                <a:gd name="T51" fmla="*/ 2147483647 h 1200"/>
                <a:gd name="T52" fmla="*/ 2147483647 w 1164"/>
                <a:gd name="T53" fmla="*/ 2147483647 h 1200"/>
                <a:gd name="T54" fmla="*/ 0 w 1164"/>
                <a:gd name="T55" fmla="*/ 2147483647 h 1200"/>
                <a:gd name="T56" fmla="*/ 2147483647 w 1164"/>
                <a:gd name="T57" fmla="*/ 2147483647 h 1200"/>
                <a:gd name="T58" fmla="*/ 2147483647 w 1164"/>
                <a:gd name="T59" fmla="*/ 2147483647 h 1200"/>
                <a:gd name="T60" fmla="*/ 2147483647 w 1164"/>
                <a:gd name="T61" fmla="*/ 2147483647 h 1200"/>
                <a:gd name="T62" fmla="*/ 2147483647 w 1164"/>
                <a:gd name="T63" fmla="*/ 2147483647 h 1200"/>
                <a:gd name="T64" fmla="*/ 2147483647 w 1164"/>
                <a:gd name="T65" fmla="*/ 2147483647 h 1200"/>
                <a:gd name="T66" fmla="*/ 2147483647 w 1164"/>
                <a:gd name="T67" fmla="*/ 2147483647 h 1200"/>
                <a:gd name="T68" fmla="*/ 2147483647 w 1164"/>
                <a:gd name="T69" fmla="*/ 2147483647 h 1200"/>
                <a:gd name="T70" fmla="*/ 2147483647 w 1164"/>
                <a:gd name="T71" fmla="*/ 2147483647 h 1200"/>
                <a:gd name="T72" fmla="*/ 2147483647 w 1164"/>
                <a:gd name="T73" fmla="*/ 2147483647 h 1200"/>
                <a:gd name="T74" fmla="*/ 2147483647 w 1164"/>
                <a:gd name="T75" fmla="*/ 2147483647 h 1200"/>
                <a:gd name="T76" fmla="*/ 2147483647 w 1164"/>
                <a:gd name="T77" fmla="*/ 2147483647 h 1200"/>
                <a:gd name="T78" fmla="*/ 2147483647 w 1164"/>
                <a:gd name="T79" fmla="*/ 2147483647 h 1200"/>
                <a:gd name="T80" fmla="*/ 2147483647 w 1164"/>
                <a:gd name="T81" fmla="*/ 2147483647 h 1200"/>
                <a:gd name="T82" fmla="*/ 2147483647 w 1164"/>
                <a:gd name="T83" fmla="*/ 2147483647 h 1200"/>
                <a:gd name="T84" fmla="*/ 2147483647 w 1164"/>
                <a:gd name="T85" fmla="*/ 2147483647 h 1200"/>
                <a:gd name="T86" fmla="*/ 2147483647 w 1164"/>
                <a:gd name="T87" fmla="*/ 2147483647 h 1200"/>
                <a:gd name="T88" fmla="*/ 2147483647 w 1164"/>
                <a:gd name="T89" fmla="*/ 2147483647 h 1200"/>
                <a:gd name="T90" fmla="*/ 2147483647 w 1164"/>
                <a:gd name="T91" fmla="*/ 2147483647 h 1200"/>
                <a:gd name="T92" fmla="*/ 2147483647 w 1164"/>
                <a:gd name="T93" fmla="*/ 2147483647 h 1200"/>
                <a:gd name="T94" fmla="*/ 2147483647 w 1164"/>
                <a:gd name="T95" fmla="*/ 2147483647 h 1200"/>
                <a:gd name="T96" fmla="*/ 2147483647 w 1164"/>
                <a:gd name="T97" fmla="*/ 2147483647 h 1200"/>
                <a:gd name="T98" fmla="*/ 2147483647 w 1164"/>
                <a:gd name="T99" fmla="*/ 2147483647 h 1200"/>
                <a:gd name="T100" fmla="*/ 2147483647 w 1164"/>
                <a:gd name="T101" fmla="*/ 2147483647 h 1200"/>
                <a:gd name="T102" fmla="*/ 2147483647 w 1164"/>
                <a:gd name="T103" fmla="*/ 2147483647 h 1200"/>
                <a:gd name="T104" fmla="*/ 2147483647 w 1164"/>
                <a:gd name="T105" fmla="*/ 2147483647 h 1200"/>
                <a:gd name="T106" fmla="*/ 2147483647 w 1164"/>
                <a:gd name="T107" fmla="*/ 2147483647 h 120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164"/>
                <a:gd name="T163" fmla="*/ 0 h 1200"/>
                <a:gd name="T164" fmla="*/ 1164 w 1164"/>
                <a:gd name="T165" fmla="*/ 1200 h 120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164" h="1200">
                  <a:moveTo>
                    <a:pt x="612" y="954"/>
                  </a:moveTo>
                  <a:lnTo>
                    <a:pt x="636" y="948"/>
                  </a:lnTo>
                  <a:lnTo>
                    <a:pt x="636" y="912"/>
                  </a:lnTo>
                  <a:lnTo>
                    <a:pt x="654" y="912"/>
                  </a:lnTo>
                  <a:lnTo>
                    <a:pt x="654" y="906"/>
                  </a:lnTo>
                  <a:lnTo>
                    <a:pt x="660" y="900"/>
                  </a:lnTo>
                  <a:lnTo>
                    <a:pt x="666" y="888"/>
                  </a:lnTo>
                  <a:lnTo>
                    <a:pt x="678" y="882"/>
                  </a:lnTo>
                  <a:lnTo>
                    <a:pt x="684" y="870"/>
                  </a:lnTo>
                  <a:lnTo>
                    <a:pt x="690" y="864"/>
                  </a:lnTo>
                  <a:lnTo>
                    <a:pt x="696" y="864"/>
                  </a:lnTo>
                  <a:lnTo>
                    <a:pt x="708" y="876"/>
                  </a:lnTo>
                  <a:lnTo>
                    <a:pt x="720" y="876"/>
                  </a:lnTo>
                  <a:lnTo>
                    <a:pt x="720" y="870"/>
                  </a:lnTo>
                  <a:lnTo>
                    <a:pt x="726" y="864"/>
                  </a:lnTo>
                  <a:lnTo>
                    <a:pt x="726" y="846"/>
                  </a:lnTo>
                  <a:lnTo>
                    <a:pt x="750" y="846"/>
                  </a:lnTo>
                  <a:lnTo>
                    <a:pt x="768" y="822"/>
                  </a:lnTo>
                  <a:lnTo>
                    <a:pt x="792" y="822"/>
                  </a:lnTo>
                  <a:lnTo>
                    <a:pt x="810" y="804"/>
                  </a:lnTo>
                  <a:lnTo>
                    <a:pt x="858" y="804"/>
                  </a:lnTo>
                  <a:lnTo>
                    <a:pt x="882" y="816"/>
                  </a:lnTo>
                  <a:lnTo>
                    <a:pt x="930" y="804"/>
                  </a:lnTo>
                  <a:lnTo>
                    <a:pt x="954" y="786"/>
                  </a:lnTo>
                  <a:lnTo>
                    <a:pt x="1020" y="792"/>
                  </a:lnTo>
                  <a:lnTo>
                    <a:pt x="1020" y="774"/>
                  </a:lnTo>
                  <a:lnTo>
                    <a:pt x="1068" y="780"/>
                  </a:lnTo>
                  <a:lnTo>
                    <a:pt x="1080" y="774"/>
                  </a:lnTo>
                  <a:lnTo>
                    <a:pt x="1104" y="774"/>
                  </a:lnTo>
                  <a:lnTo>
                    <a:pt x="1122" y="768"/>
                  </a:lnTo>
                  <a:lnTo>
                    <a:pt x="1134" y="762"/>
                  </a:lnTo>
                  <a:lnTo>
                    <a:pt x="1140" y="750"/>
                  </a:lnTo>
                  <a:lnTo>
                    <a:pt x="1140" y="732"/>
                  </a:lnTo>
                  <a:lnTo>
                    <a:pt x="1146" y="720"/>
                  </a:lnTo>
                  <a:lnTo>
                    <a:pt x="1146" y="708"/>
                  </a:lnTo>
                  <a:lnTo>
                    <a:pt x="1164" y="684"/>
                  </a:lnTo>
                  <a:lnTo>
                    <a:pt x="1164" y="480"/>
                  </a:lnTo>
                  <a:lnTo>
                    <a:pt x="1140" y="480"/>
                  </a:lnTo>
                  <a:lnTo>
                    <a:pt x="1134" y="486"/>
                  </a:lnTo>
                  <a:lnTo>
                    <a:pt x="1104" y="486"/>
                  </a:lnTo>
                  <a:lnTo>
                    <a:pt x="1092" y="480"/>
                  </a:lnTo>
                  <a:lnTo>
                    <a:pt x="1086" y="474"/>
                  </a:lnTo>
                  <a:lnTo>
                    <a:pt x="1086" y="468"/>
                  </a:lnTo>
                  <a:lnTo>
                    <a:pt x="1104" y="450"/>
                  </a:lnTo>
                  <a:lnTo>
                    <a:pt x="1104" y="432"/>
                  </a:lnTo>
                  <a:lnTo>
                    <a:pt x="1092" y="408"/>
                  </a:lnTo>
                  <a:lnTo>
                    <a:pt x="1080" y="402"/>
                  </a:lnTo>
                  <a:lnTo>
                    <a:pt x="1050" y="402"/>
                  </a:lnTo>
                  <a:lnTo>
                    <a:pt x="1044" y="408"/>
                  </a:lnTo>
                  <a:lnTo>
                    <a:pt x="1038" y="408"/>
                  </a:lnTo>
                  <a:lnTo>
                    <a:pt x="1032" y="378"/>
                  </a:lnTo>
                  <a:lnTo>
                    <a:pt x="996" y="378"/>
                  </a:lnTo>
                  <a:lnTo>
                    <a:pt x="984" y="366"/>
                  </a:lnTo>
                  <a:lnTo>
                    <a:pt x="984" y="348"/>
                  </a:lnTo>
                  <a:lnTo>
                    <a:pt x="978" y="342"/>
                  </a:lnTo>
                  <a:lnTo>
                    <a:pt x="954" y="342"/>
                  </a:lnTo>
                  <a:lnTo>
                    <a:pt x="954" y="318"/>
                  </a:lnTo>
                  <a:lnTo>
                    <a:pt x="546" y="6"/>
                  </a:lnTo>
                  <a:lnTo>
                    <a:pt x="426" y="0"/>
                  </a:lnTo>
                  <a:lnTo>
                    <a:pt x="468" y="690"/>
                  </a:lnTo>
                  <a:lnTo>
                    <a:pt x="474" y="690"/>
                  </a:lnTo>
                  <a:lnTo>
                    <a:pt x="492" y="708"/>
                  </a:lnTo>
                  <a:lnTo>
                    <a:pt x="492" y="720"/>
                  </a:lnTo>
                  <a:lnTo>
                    <a:pt x="486" y="726"/>
                  </a:lnTo>
                  <a:lnTo>
                    <a:pt x="474" y="768"/>
                  </a:lnTo>
                  <a:lnTo>
                    <a:pt x="210" y="768"/>
                  </a:lnTo>
                  <a:lnTo>
                    <a:pt x="210" y="756"/>
                  </a:lnTo>
                  <a:lnTo>
                    <a:pt x="204" y="756"/>
                  </a:lnTo>
                  <a:lnTo>
                    <a:pt x="198" y="762"/>
                  </a:lnTo>
                  <a:lnTo>
                    <a:pt x="198" y="774"/>
                  </a:lnTo>
                  <a:lnTo>
                    <a:pt x="192" y="774"/>
                  </a:lnTo>
                  <a:lnTo>
                    <a:pt x="180" y="780"/>
                  </a:lnTo>
                  <a:lnTo>
                    <a:pt x="150" y="780"/>
                  </a:lnTo>
                  <a:lnTo>
                    <a:pt x="144" y="774"/>
                  </a:lnTo>
                  <a:lnTo>
                    <a:pt x="108" y="774"/>
                  </a:lnTo>
                  <a:lnTo>
                    <a:pt x="96" y="798"/>
                  </a:lnTo>
                  <a:lnTo>
                    <a:pt x="90" y="786"/>
                  </a:lnTo>
                  <a:lnTo>
                    <a:pt x="66" y="762"/>
                  </a:lnTo>
                  <a:lnTo>
                    <a:pt x="48" y="762"/>
                  </a:lnTo>
                  <a:lnTo>
                    <a:pt x="36" y="774"/>
                  </a:lnTo>
                  <a:lnTo>
                    <a:pt x="36" y="822"/>
                  </a:lnTo>
                  <a:lnTo>
                    <a:pt x="30" y="822"/>
                  </a:lnTo>
                  <a:lnTo>
                    <a:pt x="18" y="828"/>
                  </a:lnTo>
                  <a:lnTo>
                    <a:pt x="0" y="828"/>
                  </a:lnTo>
                  <a:lnTo>
                    <a:pt x="0" y="852"/>
                  </a:lnTo>
                  <a:lnTo>
                    <a:pt x="12" y="870"/>
                  </a:lnTo>
                  <a:lnTo>
                    <a:pt x="12" y="876"/>
                  </a:lnTo>
                  <a:lnTo>
                    <a:pt x="24" y="888"/>
                  </a:lnTo>
                  <a:lnTo>
                    <a:pt x="24" y="906"/>
                  </a:lnTo>
                  <a:lnTo>
                    <a:pt x="18" y="912"/>
                  </a:lnTo>
                  <a:lnTo>
                    <a:pt x="18" y="936"/>
                  </a:lnTo>
                  <a:lnTo>
                    <a:pt x="24" y="942"/>
                  </a:lnTo>
                  <a:lnTo>
                    <a:pt x="36" y="942"/>
                  </a:lnTo>
                  <a:lnTo>
                    <a:pt x="36" y="936"/>
                  </a:lnTo>
                  <a:lnTo>
                    <a:pt x="42" y="936"/>
                  </a:lnTo>
                  <a:lnTo>
                    <a:pt x="48" y="942"/>
                  </a:lnTo>
                  <a:lnTo>
                    <a:pt x="54" y="954"/>
                  </a:lnTo>
                  <a:lnTo>
                    <a:pt x="54" y="1032"/>
                  </a:lnTo>
                  <a:lnTo>
                    <a:pt x="60" y="1044"/>
                  </a:lnTo>
                  <a:lnTo>
                    <a:pt x="60" y="1050"/>
                  </a:lnTo>
                  <a:lnTo>
                    <a:pt x="66" y="1056"/>
                  </a:lnTo>
                  <a:lnTo>
                    <a:pt x="72" y="1050"/>
                  </a:lnTo>
                  <a:lnTo>
                    <a:pt x="78" y="1038"/>
                  </a:lnTo>
                  <a:lnTo>
                    <a:pt x="90" y="1026"/>
                  </a:lnTo>
                  <a:lnTo>
                    <a:pt x="102" y="1038"/>
                  </a:lnTo>
                  <a:lnTo>
                    <a:pt x="108" y="1050"/>
                  </a:lnTo>
                  <a:lnTo>
                    <a:pt x="108" y="1062"/>
                  </a:lnTo>
                  <a:lnTo>
                    <a:pt x="114" y="1050"/>
                  </a:lnTo>
                  <a:lnTo>
                    <a:pt x="126" y="1038"/>
                  </a:lnTo>
                  <a:lnTo>
                    <a:pt x="132" y="1026"/>
                  </a:lnTo>
                  <a:lnTo>
                    <a:pt x="138" y="1026"/>
                  </a:lnTo>
                  <a:lnTo>
                    <a:pt x="144" y="1032"/>
                  </a:lnTo>
                  <a:lnTo>
                    <a:pt x="150" y="1032"/>
                  </a:lnTo>
                  <a:lnTo>
                    <a:pt x="162" y="1038"/>
                  </a:lnTo>
                  <a:lnTo>
                    <a:pt x="168" y="1044"/>
                  </a:lnTo>
                  <a:lnTo>
                    <a:pt x="180" y="1050"/>
                  </a:lnTo>
                  <a:lnTo>
                    <a:pt x="198" y="1032"/>
                  </a:lnTo>
                  <a:lnTo>
                    <a:pt x="198" y="1014"/>
                  </a:lnTo>
                  <a:lnTo>
                    <a:pt x="204" y="1008"/>
                  </a:lnTo>
                  <a:lnTo>
                    <a:pt x="216" y="1008"/>
                  </a:lnTo>
                  <a:lnTo>
                    <a:pt x="228" y="1014"/>
                  </a:lnTo>
                  <a:lnTo>
                    <a:pt x="228" y="1032"/>
                  </a:lnTo>
                  <a:lnTo>
                    <a:pt x="246" y="1044"/>
                  </a:lnTo>
                  <a:lnTo>
                    <a:pt x="234" y="1074"/>
                  </a:lnTo>
                  <a:lnTo>
                    <a:pt x="270" y="1092"/>
                  </a:lnTo>
                  <a:lnTo>
                    <a:pt x="246" y="1128"/>
                  </a:lnTo>
                  <a:lnTo>
                    <a:pt x="270" y="1128"/>
                  </a:lnTo>
                  <a:lnTo>
                    <a:pt x="270" y="1164"/>
                  </a:lnTo>
                  <a:lnTo>
                    <a:pt x="300" y="1194"/>
                  </a:lnTo>
                  <a:lnTo>
                    <a:pt x="312" y="1200"/>
                  </a:lnTo>
                  <a:lnTo>
                    <a:pt x="312" y="1182"/>
                  </a:lnTo>
                  <a:lnTo>
                    <a:pt x="318" y="1176"/>
                  </a:lnTo>
                  <a:lnTo>
                    <a:pt x="330" y="1176"/>
                  </a:lnTo>
                  <a:lnTo>
                    <a:pt x="348" y="1182"/>
                  </a:lnTo>
                  <a:lnTo>
                    <a:pt x="366" y="1200"/>
                  </a:lnTo>
                  <a:lnTo>
                    <a:pt x="372" y="1182"/>
                  </a:lnTo>
                  <a:lnTo>
                    <a:pt x="390" y="1182"/>
                  </a:lnTo>
                  <a:lnTo>
                    <a:pt x="396" y="1158"/>
                  </a:lnTo>
                  <a:lnTo>
                    <a:pt x="408" y="1176"/>
                  </a:lnTo>
                  <a:lnTo>
                    <a:pt x="420" y="1152"/>
                  </a:lnTo>
                  <a:lnTo>
                    <a:pt x="420" y="1188"/>
                  </a:lnTo>
                  <a:lnTo>
                    <a:pt x="444" y="1194"/>
                  </a:lnTo>
                  <a:lnTo>
                    <a:pt x="450" y="1188"/>
                  </a:lnTo>
                  <a:lnTo>
                    <a:pt x="456" y="1176"/>
                  </a:lnTo>
                  <a:lnTo>
                    <a:pt x="462" y="1170"/>
                  </a:lnTo>
                  <a:lnTo>
                    <a:pt x="474" y="1170"/>
                  </a:lnTo>
                  <a:lnTo>
                    <a:pt x="468" y="1116"/>
                  </a:lnTo>
                  <a:lnTo>
                    <a:pt x="492" y="1116"/>
                  </a:lnTo>
                  <a:lnTo>
                    <a:pt x="504" y="1092"/>
                  </a:lnTo>
                  <a:lnTo>
                    <a:pt x="480" y="1062"/>
                  </a:lnTo>
                  <a:lnTo>
                    <a:pt x="498" y="1050"/>
                  </a:lnTo>
                  <a:lnTo>
                    <a:pt x="504" y="1050"/>
                  </a:lnTo>
                  <a:lnTo>
                    <a:pt x="510" y="1044"/>
                  </a:lnTo>
                  <a:lnTo>
                    <a:pt x="546" y="1044"/>
                  </a:lnTo>
                  <a:lnTo>
                    <a:pt x="546" y="1032"/>
                  </a:lnTo>
                  <a:lnTo>
                    <a:pt x="540" y="1026"/>
                  </a:lnTo>
                  <a:lnTo>
                    <a:pt x="546" y="1026"/>
                  </a:lnTo>
                  <a:lnTo>
                    <a:pt x="552" y="1020"/>
                  </a:lnTo>
                  <a:lnTo>
                    <a:pt x="552" y="990"/>
                  </a:lnTo>
                  <a:lnTo>
                    <a:pt x="570" y="990"/>
                  </a:lnTo>
                  <a:lnTo>
                    <a:pt x="570" y="960"/>
                  </a:lnTo>
                  <a:lnTo>
                    <a:pt x="564" y="954"/>
                  </a:lnTo>
                  <a:lnTo>
                    <a:pt x="582" y="924"/>
                  </a:lnTo>
                  <a:lnTo>
                    <a:pt x="612" y="954"/>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45" name="Malaysia" descr="© INSCALE GmbH, 05.05.2010&#10;http://www.presentationload.com/">
              <a:extLst>
                <a:ext uri="{FF2B5EF4-FFF2-40B4-BE49-F238E27FC236}">
                  <a16:creationId xmlns:a16="http://schemas.microsoft.com/office/drawing/2014/main" id="{6F9E044E-EB11-DFCC-44E8-739677ECBE22}"/>
                </a:ext>
              </a:extLst>
            </p:cNvPr>
            <p:cNvSpPr>
              <a:spLocks/>
            </p:cNvSpPr>
            <p:nvPr/>
          </p:nvSpPr>
          <p:spPr bwMode="gray">
            <a:xfrm>
              <a:off x="6928863" y="3012428"/>
              <a:ext cx="115625" cy="166026"/>
            </a:xfrm>
            <a:custGeom>
              <a:avLst/>
              <a:gdLst>
                <a:gd name="T0" fmla="*/ 2147483647 w 306"/>
                <a:gd name="T1" fmla="*/ 2147483647 h 438"/>
                <a:gd name="T2" fmla="*/ 2147483647 w 306"/>
                <a:gd name="T3" fmla="*/ 2147483647 h 438"/>
                <a:gd name="T4" fmla="*/ 2147483647 w 306"/>
                <a:gd name="T5" fmla="*/ 2147483647 h 438"/>
                <a:gd name="T6" fmla="*/ 2147483647 w 306"/>
                <a:gd name="T7" fmla="*/ 2147483647 h 438"/>
                <a:gd name="T8" fmla="*/ 2147483647 w 306"/>
                <a:gd name="T9" fmla="*/ 2147483647 h 438"/>
                <a:gd name="T10" fmla="*/ 2147483647 w 306"/>
                <a:gd name="T11" fmla="*/ 2147483647 h 438"/>
                <a:gd name="T12" fmla="*/ 2147483647 w 306"/>
                <a:gd name="T13" fmla="*/ 2147483647 h 438"/>
                <a:gd name="T14" fmla="*/ 2147483647 w 306"/>
                <a:gd name="T15" fmla="*/ 2147483647 h 438"/>
                <a:gd name="T16" fmla="*/ 2147483647 w 306"/>
                <a:gd name="T17" fmla="*/ 2147483647 h 438"/>
                <a:gd name="T18" fmla="*/ 2147483647 w 306"/>
                <a:gd name="T19" fmla="*/ 2147483647 h 438"/>
                <a:gd name="T20" fmla="*/ 2147483647 w 306"/>
                <a:gd name="T21" fmla="*/ 2147483647 h 438"/>
                <a:gd name="T22" fmla="*/ 2147483647 w 306"/>
                <a:gd name="T23" fmla="*/ 2147483647 h 438"/>
                <a:gd name="T24" fmla="*/ 2147483647 w 306"/>
                <a:gd name="T25" fmla="*/ 2147483647 h 438"/>
                <a:gd name="T26" fmla="*/ 2147483647 w 306"/>
                <a:gd name="T27" fmla="*/ 2147483647 h 438"/>
                <a:gd name="T28" fmla="*/ 2147483647 w 306"/>
                <a:gd name="T29" fmla="*/ 2147483647 h 438"/>
                <a:gd name="T30" fmla="*/ 2147483647 w 306"/>
                <a:gd name="T31" fmla="*/ 2147483647 h 438"/>
                <a:gd name="T32" fmla="*/ 2147483647 w 306"/>
                <a:gd name="T33" fmla="*/ 2147483647 h 438"/>
                <a:gd name="T34" fmla="*/ 2147483647 w 306"/>
                <a:gd name="T35" fmla="*/ 2147483647 h 438"/>
                <a:gd name="T36" fmla="*/ 2147483647 w 306"/>
                <a:gd name="T37" fmla="*/ 2147483647 h 438"/>
                <a:gd name="T38" fmla="*/ 2147483647 w 306"/>
                <a:gd name="T39" fmla="*/ 2147483647 h 438"/>
                <a:gd name="T40" fmla="*/ 2147483647 w 306"/>
                <a:gd name="T41" fmla="*/ 2147483647 h 438"/>
                <a:gd name="T42" fmla="*/ 2147483647 w 306"/>
                <a:gd name="T43" fmla="*/ 2147483647 h 438"/>
                <a:gd name="T44" fmla="*/ 2147483647 w 306"/>
                <a:gd name="T45" fmla="*/ 2147483647 h 438"/>
                <a:gd name="T46" fmla="*/ 2147483647 w 306"/>
                <a:gd name="T47" fmla="*/ 2147483647 h 438"/>
                <a:gd name="T48" fmla="*/ 2147483647 w 306"/>
                <a:gd name="T49" fmla="*/ 2147483647 h 438"/>
                <a:gd name="T50" fmla="*/ 2147483647 w 306"/>
                <a:gd name="T51" fmla="*/ 2147483647 h 438"/>
                <a:gd name="T52" fmla="*/ 2147483647 w 306"/>
                <a:gd name="T53" fmla="*/ 2147483647 h 438"/>
                <a:gd name="T54" fmla="*/ 2147483647 w 306"/>
                <a:gd name="T55" fmla="*/ 2147483647 h 438"/>
                <a:gd name="T56" fmla="*/ 2147483647 w 306"/>
                <a:gd name="T57" fmla="*/ 2147483647 h 438"/>
                <a:gd name="T58" fmla="*/ 2147483647 w 306"/>
                <a:gd name="T59" fmla="*/ 2147483647 h 438"/>
                <a:gd name="T60" fmla="*/ 2147483647 w 306"/>
                <a:gd name="T61" fmla="*/ 2147483647 h 438"/>
                <a:gd name="T62" fmla="*/ 2147483647 w 306"/>
                <a:gd name="T63" fmla="*/ 2147483647 h 438"/>
                <a:gd name="T64" fmla="*/ 2147483647 w 306"/>
                <a:gd name="T65" fmla="*/ 2147483647 h 438"/>
                <a:gd name="T66" fmla="*/ 2147483647 w 306"/>
                <a:gd name="T67" fmla="*/ 2147483647 h 438"/>
                <a:gd name="T68" fmla="*/ 2147483647 w 306"/>
                <a:gd name="T69" fmla="*/ 2147483647 h 438"/>
                <a:gd name="T70" fmla="*/ 2147483647 w 306"/>
                <a:gd name="T71" fmla="*/ 2147483647 h 438"/>
                <a:gd name="T72" fmla="*/ 2147483647 w 306"/>
                <a:gd name="T73" fmla="*/ 2147483647 h 438"/>
                <a:gd name="T74" fmla="*/ 2147483647 w 306"/>
                <a:gd name="T75" fmla="*/ 2147483647 h 438"/>
                <a:gd name="T76" fmla="*/ 2147483647 w 306"/>
                <a:gd name="T77" fmla="*/ 0 h 438"/>
                <a:gd name="T78" fmla="*/ 2147483647 w 306"/>
                <a:gd name="T79" fmla="*/ 2147483647 h 438"/>
                <a:gd name="T80" fmla="*/ 2147483647 w 306"/>
                <a:gd name="T81" fmla="*/ 2147483647 h 43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06"/>
                <a:gd name="T124" fmla="*/ 0 h 438"/>
                <a:gd name="T125" fmla="*/ 306 w 306"/>
                <a:gd name="T126" fmla="*/ 438 h 43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06" h="438">
                  <a:moveTo>
                    <a:pt x="0" y="42"/>
                  </a:moveTo>
                  <a:lnTo>
                    <a:pt x="6" y="138"/>
                  </a:lnTo>
                  <a:lnTo>
                    <a:pt x="18" y="138"/>
                  </a:lnTo>
                  <a:lnTo>
                    <a:pt x="24" y="132"/>
                  </a:lnTo>
                  <a:lnTo>
                    <a:pt x="42" y="132"/>
                  </a:lnTo>
                  <a:lnTo>
                    <a:pt x="54" y="138"/>
                  </a:lnTo>
                  <a:lnTo>
                    <a:pt x="54" y="168"/>
                  </a:lnTo>
                  <a:lnTo>
                    <a:pt x="48" y="180"/>
                  </a:lnTo>
                  <a:lnTo>
                    <a:pt x="48" y="198"/>
                  </a:lnTo>
                  <a:lnTo>
                    <a:pt x="54" y="216"/>
                  </a:lnTo>
                  <a:lnTo>
                    <a:pt x="60" y="228"/>
                  </a:lnTo>
                  <a:lnTo>
                    <a:pt x="66" y="234"/>
                  </a:lnTo>
                  <a:lnTo>
                    <a:pt x="84" y="234"/>
                  </a:lnTo>
                  <a:lnTo>
                    <a:pt x="90" y="228"/>
                  </a:lnTo>
                  <a:lnTo>
                    <a:pt x="90" y="240"/>
                  </a:lnTo>
                  <a:lnTo>
                    <a:pt x="84" y="252"/>
                  </a:lnTo>
                  <a:lnTo>
                    <a:pt x="84" y="282"/>
                  </a:lnTo>
                  <a:lnTo>
                    <a:pt x="96" y="306"/>
                  </a:lnTo>
                  <a:lnTo>
                    <a:pt x="102" y="312"/>
                  </a:lnTo>
                  <a:lnTo>
                    <a:pt x="114" y="318"/>
                  </a:lnTo>
                  <a:lnTo>
                    <a:pt x="132" y="330"/>
                  </a:lnTo>
                  <a:lnTo>
                    <a:pt x="144" y="336"/>
                  </a:lnTo>
                  <a:lnTo>
                    <a:pt x="162" y="354"/>
                  </a:lnTo>
                  <a:lnTo>
                    <a:pt x="168" y="354"/>
                  </a:lnTo>
                  <a:lnTo>
                    <a:pt x="168" y="366"/>
                  </a:lnTo>
                  <a:lnTo>
                    <a:pt x="174" y="372"/>
                  </a:lnTo>
                  <a:lnTo>
                    <a:pt x="174" y="378"/>
                  </a:lnTo>
                  <a:lnTo>
                    <a:pt x="180" y="384"/>
                  </a:lnTo>
                  <a:lnTo>
                    <a:pt x="186" y="384"/>
                  </a:lnTo>
                  <a:lnTo>
                    <a:pt x="198" y="390"/>
                  </a:lnTo>
                  <a:lnTo>
                    <a:pt x="204" y="396"/>
                  </a:lnTo>
                  <a:lnTo>
                    <a:pt x="216" y="396"/>
                  </a:lnTo>
                  <a:lnTo>
                    <a:pt x="222" y="402"/>
                  </a:lnTo>
                  <a:lnTo>
                    <a:pt x="228" y="402"/>
                  </a:lnTo>
                  <a:lnTo>
                    <a:pt x="252" y="438"/>
                  </a:lnTo>
                  <a:lnTo>
                    <a:pt x="300" y="432"/>
                  </a:lnTo>
                  <a:lnTo>
                    <a:pt x="300" y="420"/>
                  </a:lnTo>
                  <a:lnTo>
                    <a:pt x="306" y="408"/>
                  </a:lnTo>
                  <a:lnTo>
                    <a:pt x="306" y="378"/>
                  </a:lnTo>
                  <a:lnTo>
                    <a:pt x="294" y="354"/>
                  </a:lnTo>
                  <a:lnTo>
                    <a:pt x="270" y="330"/>
                  </a:lnTo>
                  <a:lnTo>
                    <a:pt x="264" y="318"/>
                  </a:lnTo>
                  <a:lnTo>
                    <a:pt x="258" y="312"/>
                  </a:lnTo>
                  <a:lnTo>
                    <a:pt x="258" y="288"/>
                  </a:lnTo>
                  <a:lnTo>
                    <a:pt x="252" y="276"/>
                  </a:lnTo>
                  <a:lnTo>
                    <a:pt x="246" y="270"/>
                  </a:lnTo>
                  <a:lnTo>
                    <a:pt x="246" y="258"/>
                  </a:lnTo>
                  <a:lnTo>
                    <a:pt x="252" y="252"/>
                  </a:lnTo>
                  <a:lnTo>
                    <a:pt x="252" y="126"/>
                  </a:lnTo>
                  <a:lnTo>
                    <a:pt x="246" y="114"/>
                  </a:lnTo>
                  <a:lnTo>
                    <a:pt x="222" y="90"/>
                  </a:lnTo>
                  <a:lnTo>
                    <a:pt x="204" y="84"/>
                  </a:lnTo>
                  <a:lnTo>
                    <a:pt x="192" y="72"/>
                  </a:lnTo>
                  <a:lnTo>
                    <a:pt x="180" y="66"/>
                  </a:lnTo>
                  <a:lnTo>
                    <a:pt x="156" y="42"/>
                  </a:lnTo>
                  <a:lnTo>
                    <a:pt x="150" y="54"/>
                  </a:lnTo>
                  <a:lnTo>
                    <a:pt x="144" y="60"/>
                  </a:lnTo>
                  <a:lnTo>
                    <a:pt x="138" y="72"/>
                  </a:lnTo>
                  <a:lnTo>
                    <a:pt x="138" y="78"/>
                  </a:lnTo>
                  <a:lnTo>
                    <a:pt x="132" y="84"/>
                  </a:lnTo>
                  <a:lnTo>
                    <a:pt x="114" y="66"/>
                  </a:lnTo>
                  <a:lnTo>
                    <a:pt x="108" y="66"/>
                  </a:lnTo>
                  <a:lnTo>
                    <a:pt x="102" y="72"/>
                  </a:lnTo>
                  <a:lnTo>
                    <a:pt x="90" y="72"/>
                  </a:lnTo>
                  <a:lnTo>
                    <a:pt x="90" y="78"/>
                  </a:lnTo>
                  <a:lnTo>
                    <a:pt x="72" y="78"/>
                  </a:lnTo>
                  <a:lnTo>
                    <a:pt x="66" y="72"/>
                  </a:lnTo>
                  <a:lnTo>
                    <a:pt x="66" y="66"/>
                  </a:lnTo>
                  <a:lnTo>
                    <a:pt x="78" y="54"/>
                  </a:lnTo>
                  <a:lnTo>
                    <a:pt x="78" y="42"/>
                  </a:lnTo>
                  <a:lnTo>
                    <a:pt x="66" y="42"/>
                  </a:lnTo>
                  <a:lnTo>
                    <a:pt x="66" y="30"/>
                  </a:lnTo>
                  <a:lnTo>
                    <a:pt x="60" y="24"/>
                  </a:lnTo>
                  <a:lnTo>
                    <a:pt x="48" y="18"/>
                  </a:lnTo>
                  <a:lnTo>
                    <a:pt x="30" y="18"/>
                  </a:lnTo>
                  <a:lnTo>
                    <a:pt x="30" y="12"/>
                  </a:lnTo>
                  <a:lnTo>
                    <a:pt x="24" y="0"/>
                  </a:lnTo>
                  <a:lnTo>
                    <a:pt x="12" y="0"/>
                  </a:lnTo>
                  <a:lnTo>
                    <a:pt x="6" y="6"/>
                  </a:lnTo>
                  <a:lnTo>
                    <a:pt x="6" y="18"/>
                  </a:lnTo>
                  <a:lnTo>
                    <a:pt x="12" y="24"/>
                  </a:lnTo>
                  <a:lnTo>
                    <a:pt x="6" y="36"/>
                  </a:lnTo>
                  <a:lnTo>
                    <a:pt x="0" y="42"/>
                  </a:lnTo>
                  <a:close/>
                </a:path>
              </a:pathLst>
            </a:custGeom>
            <a:solidFill>
              <a:srgbClr val="F2F2F2"/>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46" name="Malaysia" descr="© INSCALE GmbH, 05.05.2010&#10;http://www.presentationload.com/">
              <a:extLst>
                <a:ext uri="{FF2B5EF4-FFF2-40B4-BE49-F238E27FC236}">
                  <a16:creationId xmlns:a16="http://schemas.microsoft.com/office/drawing/2014/main" id="{DC00FE2F-2BE6-4F31-7550-EC19DF39D4EC}"/>
                </a:ext>
              </a:extLst>
            </p:cNvPr>
            <p:cNvSpPr>
              <a:spLocks/>
            </p:cNvSpPr>
            <p:nvPr/>
          </p:nvSpPr>
          <p:spPr bwMode="gray">
            <a:xfrm>
              <a:off x="7200136" y="2993158"/>
              <a:ext cx="260898" cy="200121"/>
            </a:xfrm>
            <a:custGeom>
              <a:avLst/>
              <a:gdLst>
                <a:gd name="T0" fmla="*/ 2147483647 w 690"/>
                <a:gd name="T1" fmla="*/ 2147483647 h 528"/>
                <a:gd name="T2" fmla="*/ 2147483647 w 690"/>
                <a:gd name="T3" fmla="*/ 2147483647 h 528"/>
                <a:gd name="T4" fmla="*/ 2147483647 w 690"/>
                <a:gd name="T5" fmla="*/ 2147483647 h 528"/>
                <a:gd name="T6" fmla="*/ 2147483647 w 690"/>
                <a:gd name="T7" fmla="*/ 2147483647 h 528"/>
                <a:gd name="T8" fmla="*/ 2147483647 w 690"/>
                <a:gd name="T9" fmla="*/ 2147483647 h 528"/>
                <a:gd name="T10" fmla="*/ 2147483647 w 690"/>
                <a:gd name="T11" fmla="*/ 2147483647 h 528"/>
                <a:gd name="T12" fmla="*/ 2147483647 w 690"/>
                <a:gd name="T13" fmla="*/ 2147483647 h 528"/>
                <a:gd name="T14" fmla="*/ 2147483647 w 690"/>
                <a:gd name="T15" fmla="*/ 2147483647 h 528"/>
                <a:gd name="T16" fmla="*/ 2147483647 w 690"/>
                <a:gd name="T17" fmla="*/ 2147483647 h 528"/>
                <a:gd name="T18" fmla="*/ 2147483647 w 690"/>
                <a:gd name="T19" fmla="*/ 2147483647 h 528"/>
                <a:gd name="T20" fmla="*/ 2147483647 w 690"/>
                <a:gd name="T21" fmla="*/ 2147483647 h 528"/>
                <a:gd name="T22" fmla="*/ 2147483647 w 690"/>
                <a:gd name="T23" fmla="*/ 2147483647 h 528"/>
                <a:gd name="T24" fmla="*/ 2147483647 w 690"/>
                <a:gd name="T25" fmla="*/ 2147483647 h 528"/>
                <a:gd name="T26" fmla="*/ 2147483647 w 690"/>
                <a:gd name="T27" fmla="*/ 2147483647 h 528"/>
                <a:gd name="T28" fmla="*/ 2147483647 w 690"/>
                <a:gd name="T29" fmla="*/ 2147483647 h 528"/>
                <a:gd name="T30" fmla="*/ 2147483647 w 690"/>
                <a:gd name="T31" fmla="*/ 2147483647 h 528"/>
                <a:gd name="T32" fmla="*/ 2147483647 w 690"/>
                <a:gd name="T33" fmla="*/ 2147483647 h 528"/>
                <a:gd name="T34" fmla="*/ 2147483647 w 690"/>
                <a:gd name="T35" fmla="*/ 2147483647 h 528"/>
                <a:gd name="T36" fmla="*/ 2147483647 w 690"/>
                <a:gd name="T37" fmla="*/ 2147483647 h 528"/>
                <a:gd name="T38" fmla="*/ 2147483647 w 690"/>
                <a:gd name="T39" fmla="*/ 2147483647 h 528"/>
                <a:gd name="T40" fmla="*/ 2147483647 w 690"/>
                <a:gd name="T41" fmla="*/ 2147483647 h 528"/>
                <a:gd name="T42" fmla="*/ 2147483647 w 690"/>
                <a:gd name="T43" fmla="*/ 2147483647 h 528"/>
                <a:gd name="T44" fmla="*/ 2147483647 w 690"/>
                <a:gd name="T45" fmla="*/ 2147483647 h 528"/>
                <a:gd name="T46" fmla="*/ 2147483647 w 690"/>
                <a:gd name="T47" fmla="*/ 2147483647 h 528"/>
                <a:gd name="T48" fmla="*/ 2147483647 w 690"/>
                <a:gd name="T49" fmla="*/ 2147483647 h 528"/>
                <a:gd name="T50" fmla="*/ 2147483647 w 690"/>
                <a:gd name="T51" fmla="*/ 2147483647 h 528"/>
                <a:gd name="T52" fmla="*/ 2147483647 w 690"/>
                <a:gd name="T53" fmla="*/ 2147483647 h 528"/>
                <a:gd name="T54" fmla="*/ 2147483647 w 690"/>
                <a:gd name="T55" fmla="*/ 2147483647 h 528"/>
                <a:gd name="T56" fmla="*/ 2147483647 w 690"/>
                <a:gd name="T57" fmla="*/ 2147483647 h 528"/>
                <a:gd name="T58" fmla="*/ 2147483647 w 690"/>
                <a:gd name="T59" fmla="*/ 2147483647 h 528"/>
                <a:gd name="T60" fmla="*/ 2147483647 w 690"/>
                <a:gd name="T61" fmla="*/ 2147483647 h 528"/>
                <a:gd name="T62" fmla="*/ 2147483647 w 690"/>
                <a:gd name="T63" fmla="*/ 2147483647 h 528"/>
                <a:gd name="T64" fmla="*/ 2147483647 w 690"/>
                <a:gd name="T65" fmla="*/ 2147483647 h 528"/>
                <a:gd name="T66" fmla="*/ 2147483647 w 690"/>
                <a:gd name="T67" fmla="*/ 2147483647 h 528"/>
                <a:gd name="T68" fmla="*/ 2147483647 w 690"/>
                <a:gd name="T69" fmla="*/ 2147483647 h 528"/>
                <a:gd name="T70" fmla="*/ 2147483647 w 690"/>
                <a:gd name="T71" fmla="*/ 0 h 528"/>
                <a:gd name="T72" fmla="*/ 2147483647 w 690"/>
                <a:gd name="T73" fmla="*/ 0 h 528"/>
                <a:gd name="T74" fmla="*/ 2147483647 w 690"/>
                <a:gd name="T75" fmla="*/ 2147483647 h 528"/>
                <a:gd name="T76" fmla="*/ 2147483647 w 690"/>
                <a:gd name="T77" fmla="*/ 2147483647 h 528"/>
                <a:gd name="T78" fmla="*/ 2147483647 w 690"/>
                <a:gd name="T79" fmla="*/ 2147483647 h 528"/>
                <a:gd name="T80" fmla="*/ 2147483647 w 690"/>
                <a:gd name="T81" fmla="*/ 2147483647 h 528"/>
                <a:gd name="T82" fmla="*/ 2147483647 w 690"/>
                <a:gd name="T83" fmla="*/ 2147483647 h 528"/>
                <a:gd name="T84" fmla="*/ 2147483647 w 690"/>
                <a:gd name="T85" fmla="*/ 2147483647 h 528"/>
                <a:gd name="T86" fmla="*/ 2147483647 w 690"/>
                <a:gd name="T87" fmla="*/ 2147483647 h 528"/>
                <a:gd name="T88" fmla="*/ 2147483647 w 690"/>
                <a:gd name="T89" fmla="*/ 2147483647 h 528"/>
                <a:gd name="T90" fmla="*/ 2147483647 w 690"/>
                <a:gd name="T91" fmla="*/ 2147483647 h 528"/>
                <a:gd name="T92" fmla="*/ 2147483647 w 690"/>
                <a:gd name="T93" fmla="*/ 2147483647 h 528"/>
                <a:gd name="T94" fmla="*/ 2147483647 w 690"/>
                <a:gd name="T95" fmla="*/ 2147483647 h 528"/>
                <a:gd name="T96" fmla="*/ 2147483647 w 690"/>
                <a:gd name="T97" fmla="*/ 2147483647 h 528"/>
                <a:gd name="T98" fmla="*/ 2147483647 w 690"/>
                <a:gd name="T99" fmla="*/ 2147483647 h 528"/>
                <a:gd name="T100" fmla="*/ 2147483647 w 690"/>
                <a:gd name="T101" fmla="*/ 2147483647 h 528"/>
                <a:gd name="T102" fmla="*/ 2147483647 w 690"/>
                <a:gd name="T103" fmla="*/ 2147483647 h 528"/>
                <a:gd name="T104" fmla="*/ 2147483647 w 690"/>
                <a:gd name="T105" fmla="*/ 2147483647 h 528"/>
                <a:gd name="T106" fmla="*/ 2147483647 w 690"/>
                <a:gd name="T107" fmla="*/ 2147483647 h 528"/>
                <a:gd name="T108" fmla="*/ 2147483647 w 690"/>
                <a:gd name="T109" fmla="*/ 2147483647 h 528"/>
                <a:gd name="T110" fmla="*/ 2147483647 w 690"/>
                <a:gd name="T111" fmla="*/ 2147483647 h 528"/>
                <a:gd name="T112" fmla="*/ 2147483647 w 690"/>
                <a:gd name="T113" fmla="*/ 2147483647 h 528"/>
                <a:gd name="T114" fmla="*/ 0 w 690"/>
                <a:gd name="T115" fmla="*/ 2147483647 h 52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90"/>
                <a:gd name="T175" fmla="*/ 0 h 528"/>
                <a:gd name="T176" fmla="*/ 690 w 690"/>
                <a:gd name="T177" fmla="*/ 528 h 52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90" h="528">
                  <a:moveTo>
                    <a:pt x="12" y="504"/>
                  </a:moveTo>
                  <a:lnTo>
                    <a:pt x="24" y="510"/>
                  </a:lnTo>
                  <a:lnTo>
                    <a:pt x="30" y="516"/>
                  </a:lnTo>
                  <a:lnTo>
                    <a:pt x="54" y="528"/>
                  </a:lnTo>
                  <a:lnTo>
                    <a:pt x="60" y="528"/>
                  </a:lnTo>
                  <a:lnTo>
                    <a:pt x="78" y="510"/>
                  </a:lnTo>
                  <a:lnTo>
                    <a:pt x="102" y="510"/>
                  </a:lnTo>
                  <a:lnTo>
                    <a:pt x="120" y="516"/>
                  </a:lnTo>
                  <a:lnTo>
                    <a:pt x="144" y="516"/>
                  </a:lnTo>
                  <a:lnTo>
                    <a:pt x="174" y="486"/>
                  </a:lnTo>
                  <a:lnTo>
                    <a:pt x="180" y="474"/>
                  </a:lnTo>
                  <a:lnTo>
                    <a:pt x="222" y="474"/>
                  </a:lnTo>
                  <a:lnTo>
                    <a:pt x="234" y="486"/>
                  </a:lnTo>
                  <a:lnTo>
                    <a:pt x="258" y="498"/>
                  </a:lnTo>
                  <a:lnTo>
                    <a:pt x="264" y="504"/>
                  </a:lnTo>
                  <a:lnTo>
                    <a:pt x="270" y="504"/>
                  </a:lnTo>
                  <a:lnTo>
                    <a:pt x="282" y="492"/>
                  </a:lnTo>
                  <a:lnTo>
                    <a:pt x="294" y="486"/>
                  </a:lnTo>
                  <a:lnTo>
                    <a:pt x="300" y="480"/>
                  </a:lnTo>
                  <a:lnTo>
                    <a:pt x="324" y="480"/>
                  </a:lnTo>
                  <a:lnTo>
                    <a:pt x="354" y="444"/>
                  </a:lnTo>
                  <a:lnTo>
                    <a:pt x="348" y="432"/>
                  </a:lnTo>
                  <a:lnTo>
                    <a:pt x="384" y="402"/>
                  </a:lnTo>
                  <a:lnTo>
                    <a:pt x="378" y="390"/>
                  </a:lnTo>
                  <a:lnTo>
                    <a:pt x="372" y="384"/>
                  </a:lnTo>
                  <a:lnTo>
                    <a:pt x="372" y="360"/>
                  </a:lnTo>
                  <a:lnTo>
                    <a:pt x="378" y="354"/>
                  </a:lnTo>
                  <a:lnTo>
                    <a:pt x="396" y="354"/>
                  </a:lnTo>
                  <a:lnTo>
                    <a:pt x="402" y="342"/>
                  </a:lnTo>
                  <a:lnTo>
                    <a:pt x="402" y="336"/>
                  </a:lnTo>
                  <a:lnTo>
                    <a:pt x="408" y="318"/>
                  </a:lnTo>
                  <a:lnTo>
                    <a:pt x="408" y="264"/>
                  </a:lnTo>
                  <a:lnTo>
                    <a:pt x="414" y="252"/>
                  </a:lnTo>
                  <a:lnTo>
                    <a:pt x="420" y="246"/>
                  </a:lnTo>
                  <a:lnTo>
                    <a:pt x="516" y="246"/>
                  </a:lnTo>
                  <a:lnTo>
                    <a:pt x="540" y="270"/>
                  </a:lnTo>
                  <a:lnTo>
                    <a:pt x="552" y="276"/>
                  </a:lnTo>
                  <a:lnTo>
                    <a:pt x="558" y="282"/>
                  </a:lnTo>
                  <a:lnTo>
                    <a:pt x="576" y="276"/>
                  </a:lnTo>
                  <a:lnTo>
                    <a:pt x="564" y="216"/>
                  </a:lnTo>
                  <a:lnTo>
                    <a:pt x="576" y="222"/>
                  </a:lnTo>
                  <a:lnTo>
                    <a:pt x="582" y="234"/>
                  </a:lnTo>
                  <a:lnTo>
                    <a:pt x="594" y="240"/>
                  </a:lnTo>
                  <a:lnTo>
                    <a:pt x="636" y="240"/>
                  </a:lnTo>
                  <a:lnTo>
                    <a:pt x="630" y="234"/>
                  </a:lnTo>
                  <a:lnTo>
                    <a:pt x="624" y="222"/>
                  </a:lnTo>
                  <a:lnTo>
                    <a:pt x="618" y="216"/>
                  </a:lnTo>
                  <a:lnTo>
                    <a:pt x="606" y="192"/>
                  </a:lnTo>
                  <a:lnTo>
                    <a:pt x="606" y="186"/>
                  </a:lnTo>
                  <a:lnTo>
                    <a:pt x="612" y="180"/>
                  </a:lnTo>
                  <a:lnTo>
                    <a:pt x="624" y="180"/>
                  </a:lnTo>
                  <a:lnTo>
                    <a:pt x="642" y="186"/>
                  </a:lnTo>
                  <a:lnTo>
                    <a:pt x="654" y="186"/>
                  </a:lnTo>
                  <a:lnTo>
                    <a:pt x="660" y="192"/>
                  </a:lnTo>
                  <a:lnTo>
                    <a:pt x="666" y="192"/>
                  </a:lnTo>
                  <a:lnTo>
                    <a:pt x="690" y="162"/>
                  </a:lnTo>
                  <a:lnTo>
                    <a:pt x="666" y="156"/>
                  </a:lnTo>
                  <a:lnTo>
                    <a:pt x="660" y="144"/>
                  </a:lnTo>
                  <a:lnTo>
                    <a:pt x="642" y="126"/>
                  </a:lnTo>
                  <a:lnTo>
                    <a:pt x="630" y="120"/>
                  </a:lnTo>
                  <a:lnTo>
                    <a:pt x="612" y="120"/>
                  </a:lnTo>
                  <a:lnTo>
                    <a:pt x="600" y="114"/>
                  </a:lnTo>
                  <a:lnTo>
                    <a:pt x="588" y="114"/>
                  </a:lnTo>
                  <a:lnTo>
                    <a:pt x="588" y="108"/>
                  </a:lnTo>
                  <a:lnTo>
                    <a:pt x="582" y="102"/>
                  </a:lnTo>
                  <a:lnTo>
                    <a:pt x="582" y="90"/>
                  </a:lnTo>
                  <a:lnTo>
                    <a:pt x="576" y="78"/>
                  </a:lnTo>
                  <a:lnTo>
                    <a:pt x="564" y="66"/>
                  </a:lnTo>
                  <a:lnTo>
                    <a:pt x="540" y="54"/>
                  </a:lnTo>
                  <a:lnTo>
                    <a:pt x="534" y="60"/>
                  </a:lnTo>
                  <a:lnTo>
                    <a:pt x="528" y="60"/>
                  </a:lnTo>
                  <a:lnTo>
                    <a:pt x="510" y="0"/>
                  </a:lnTo>
                  <a:lnTo>
                    <a:pt x="504" y="18"/>
                  </a:lnTo>
                  <a:lnTo>
                    <a:pt x="492" y="0"/>
                  </a:lnTo>
                  <a:lnTo>
                    <a:pt x="480" y="60"/>
                  </a:lnTo>
                  <a:lnTo>
                    <a:pt x="468" y="66"/>
                  </a:lnTo>
                  <a:lnTo>
                    <a:pt x="462" y="66"/>
                  </a:lnTo>
                  <a:lnTo>
                    <a:pt x="450" y="72"/>
                  </a:lnTo>
                  <a:lnTo>
                    <a:pt x="438" y="96"/>
                  </a:lnTo>
                  <a:lnTo>
                    <a:pt x="438" y="114"/>
                  </a:lnTo>
                  <a:lnTo>
                    <a:pt x="408" y="126"/>
                  </a:lnTo>
                  <a:lnTo>
                    <a:pt x="420" y="162"/>
                  </a:lnTo>
                  <a:lnTo>
                    <a:pt x="408" y="162"/>
                  </a:lnTo>
                  <a:lnTo>
                    <a:pt x="390" y="156"/>
                  </a:lnTo>
                  <a:lnTo>
                    <a:pt x="378" y="156"/>
                  </a:lnTo>
                  <a:lnTo>
                    <a:pt x="360" y="150"/>
                  </a:lnTo>
                  <a:lnTo>
                    <a:pt x="354" y="150"/>
                  </a:lnTo>
                  <a:lnTo>
                    <a:pt x="342" y="156"/>
                  </a:lnTo>
                  <a:lnTo>
                    <a:pt x="342" y="168"/>
                  </a:lnTo>
                  <a:lnTo>
                    <a:pt x="336" y="180"/>
                  </a:lnTo>
                  <a:lnTo>
                    <a:pt x="336" y="204"/>
                  </a:lnTo>
                  <a:lnTo>
                    <a:pt x="294" y="246"/>
                  </a:lnTo>
                  <a:lnTo>
                    <a:pt x="294" y="258"/>
                  </a:lnTo>
                  <a:lnTo>
                    <a:pt x="282" y="294"/>
                  </a:lnTo>
                  <a:lnTo>
                    <a:pt x="276" y="306"/>
                  </a:lnTo>
                  <a:lnTo>
                    <a:pt x="264" y="318"/>
                  </a:lnTo>
                  <a:lnTo>
                    <a:pt x="228" y="336"/>
                  </a:lnTo>
                  <a:lnTo>
                    <a:pt x="186" y="342"/>
                  </a:lnTo>
                  <a:lnTo>
                    <a:pt x="162" y="348"/>
                  </a:lnTo>
                  <a:lnTo>
                    <a:pt x="156" y="354"/>
                  </a:lnTo>
                  <a:lnTo>
                    <a:pt x="132" y="366"/>
                  </a:lnTo>
                  <a:lnTo>
                    <a:pt x="114" y="384"/>
                  </a:lnTo>
                  <a:lnTo>
                    <a:pt x="102" y="390"/>
                  </a:lnTo>
                  <a:lnTo>
                    <a:pt x="84" y="426"/>
                  </a:lnTo>
                  <a:lnTo>
                    <a:pt x="102" y="444"/>
                  </a:lnTo>
                  <a:lnTo>
                    <a:pt x="102" y="462"/>
                  </a:lnTo>
                  <a:lnTo>
                    <a:pt x="96" y="474"/>
                  </a:lnTo>
                  <a:lnTo>
                    <a:pt x="84" y="480"/>
                  </a:lnTo>
                  <a:lnTo>
                    <a:pt x="72" y="480"/>
                  </a:lnTo>
                  <a:lnTo>
                    <a:pt x="48" y="468"/>
                  </a:lnTo>
                  <a:lnTo>
                    <a:pt x="42" y="462"/>
                  </a:lnTo>
                  <a:lnTo>
                    <a:pt x="30" y="456"/>
                  </a:lnTo>
                  <a:lnTo>
                    <a:pt x="24" y="456"/>
                  </a:lnTo>
                  <a:lnTo>
                    <a:pt x="12" y="462"/>
                  </a:lnTo>
                  <a:lnTo>
                    <a:pt x="0" y="474"/>
                  </a:lnTo>
                  <a:lnTo>
                    <a:pt x="0" y="492"/>
                  </a:lnTo>
                  <a:lnTo>
                    <a:pt x="12" y="504"/>
                  </a:lnTo>
                  <a:close/>
                </a:path>
              </a:pathLst>
            </a:custGeom>
            <a:solidFill>
              <a:srgbClr val="7030A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47" name="Malawi" descr="© INSCALE GmbH, 05.05.2010&#10;http://www.presentationload.com/">
              <a:extLst>
                <a:ext uri="{FF2B5EF4-FFF2-40B4-BE49-F238E27FC236}">
                  <a16:creationId xmlns:a16="http://schemas.microsoft.com/office/drawing/2014/main" id="{B7B1F470-F0D2-0C23-8538-60406DCD6D97}"/>
                </a:ext>
              </a:extLst>
            </p:cNvPr>
            <p:cNvSpPr>
              <a:spLocks/>
            </p:cNvSpPr>
            <p:nvPr/>
          </p:nvSpPr>
          <p:spPr bwMode="gray">
            <a:xfrm>
              <a:off x="5111474" y="3506059"/>
              <a:ext cx="88942" cy="237181"/>
            </a:xfrm>
            <a:custGeom>
              <a:avLst/>
              <a:gdLst>
                <a:gd name="T0" fmla="*/ 2147483647 w 234"/>
                <a:gd name="T1" fmla="*/ 2147483647 h 624"/>
                <a:gd name="T2" fmla="*/ 2147483647 w 234"/>
                <a:gd name="T3" fmla="*/ 2147483647 h 624"/>
                <a:gd name="T4" fmla="*/ 2147483647 w 234"/>
                <a:gd name="T5" fmla="*/ 2147483647 h 624"/>
                <a:gd name="T6" fmla="*/ 2147483647 w 234"/>
                <a:gd name="T7" fmla="*/ 2147483647 h 624"/>
                <a:gd name="T8" fmla="*/ 2147483647 w 234"/>
                <a:gd name="T9" fmla="*/ 2147483647 h 624"/>
                <a:gd name="T10" fmla="*/ 2147483647 w 234"/>
                <a:gd name="T11" fmla="*/ 2147483647 h 624"/>
                <a:gd name="T12" fmla="*/ 2147483647 w 234"/>
                <a:gd name="T13" fmla="*/ 2147483647 h 624"/>
                <a:gd name="T14" fmla="*/ 2147483647 w 234"/>
                <a:gd name="T15" fmla="*/ 2147483647 h 624"/>
                <a:gd name="T16" fmla="*/ 2147483647 w 234"/>
                <a:gd name="T17" fmla="*/ 2147483647 h 624"/>
                <a:gd name="T18" fmla="*/ 2147483647 w 234"/>
                <a:gd name="T19" fmla="*/ 2147483647 h 624"/>
                <a:gd name="T20" fmla="*/ 2147483647 w 234"/>
                <a:gd name="T21" fmla="*/ 2147483647 h 624"/>
                <a:gd name="T22" fmla="*/ 2147483647 w 234"/>
                <a:gd name="T23" fmla="*/ 2147483647 h 624"/>
                <a:gd name="T24" fmla="*/ 2147483647 w 234"/>
                <a:gd name="T25" fmla="*/ 2147483647 h 624"/>
                <a:gd name="T26" fmla="*/ 2147483647 w 234"/>
                <a:gd name="T27" fmla="*/ 2147483647 h 624"/>
                <a:gd name="T28" fmla="*/ 2147483647 w 234"/>
                <a:gd name="T29" fmla="*/ 2147483647 h 624"/>
                <a:gd name="T30" fmla="*/ 2147483647 w 234"/>
                <a:gd name="T31" fmla="*/ 2147483647 h 624"/>
                <a:gd name="T32" fmla="*/ 2147483647 w 234"/>
                <a:gd name="T33" fmla="*/ 2147483647 h 624"/>
                <a:gd name="T34" fmla="*/ 2147483647 w 234"/>
                <a:gd name="T35" fmla="*/ 2147483647 h 624"/>
                <a:gd name="T36" fmla="*/ 2147483647 w 234"/>
                <a:gd name="T37" fmla="*/ 2147483647 h 624"/>
                <a:gd name="T38" fmla="*/ 2147483647 w 234"/>
                <a:gd name="T39" fmla="*/ 2147483647 h 624"/>
                <a:gd name="T40" fmla="*/ 2147483647 w 234"/>
                <a:gd name="T41" fmla="*/ 2147483647 h 624"/>
                <a:gd name="T42" fmla="*/ 2147483647 w 234"/>
                <a:gd name="T43" fmla="*/ 2147483647 h 624"/>
                <a:gd name="T44" fmla="*/ 2147483647 w 234"/>
                <a:gd name="T45" fmla="*/ 2147483647 h 624"/>
                <a:gd name="T46" fmla="*/ 2147483647 w 234"/>
                <a:gd name="T47" fmla="*/ 0 h 624"/>
                <a:gd name="T48" fmla="*/ 2147483647 w 234"/>
                <a:gd name="T49" fmla="*/ 2147483647 h 624"/>
                <a:gd name="T50" fmla="*/ 2147483647 w 234"/>
                <a:gd name="T51" fmla="*/ 2147483647 h 624"/>
                <a:gd name="T52" fmla="*/ 2147483647 w 234"/>
                <a:gd name="T53" fmla="*/ 2147483647 h 624"/>
                <a:gd name="T54" fmla="*/ 2147483647 w 234"/>
                <a:gd name="T55" fmla="*/ 2147483647 h 624"/>
                <a:gd name="T56" fmla="*/ 2147483647 w 234"/>
                <a:gd name="T57" fmla="*/ 2147483647 h 624"/>
                <a:gd name="T58" fmla="*/ 2147483647 w 234"/>
                <a:gd name="T59" fmla="*/ 2147483647 h 624"/>
                <a:gd name="T60" fmla="*/ 2147483647 w 234"/>
                <a:gd name="T61" fmla="*/ 2147483647 h 624"/>
                <a:gd name="T62" fmla="*/ 2147483647 w 234"/>
                <a:gd name="T63" fmla="*/ 2147483647 h 624"/>
                <a:gd name="T64" fmla="*/ 2147483647 w 234"/>
                <a:gd name="T65" fmla="*/ 2147483647 h 624"/>
                <a:gd name="T66" fmla="*/ 2147483647 w 234"/>
                <a:gd name="T67" fmla="*/ 2147483647 h 624"/>
                <a:gd name="T68" fmla="*/ 2147483647 w 234"/>
                <a:gd name="T69" fmla="*/ 2147483647 h 624"/>
                <a:gd name="T70" fmla="*/ 2147483647 w 234"/>
                <a:gd name="T71" fmla="*/ 2147483647 h 624"/>
                <a:gd name="T72" fmla="*/ 2147483647 w 234"/>
                <a:gd name="T73" fmla="*/ 2147483647 h 624"/>
                <a:gd name="T74" fmla="*/ 0 w 234"/>
                <a:gd name="T75" fmla="*/ 2147483647 h 624"/>
                <a:gd name="T76" fmla="*/ 2147483647 w 234"/>
                <a:gd name="T77" fmla="*/ 2147483647 h 624"/>
                <a:gd name="T78" fmla="*/ 2147483647 w 234"/>
                <a:gd name="T79" fmla="*/ 2147483647 h 624"/>
                <a:gd name="T80" fmla="*/ 2147483647 w 234"/>
                <a:gd name="T81" fmla="*/ 2147483647 h 624"/>
                <a:gd name="T82" fmla="*/ 2147483647 w 234"/>
                <a:gd name="T83" fmla="*/ 2147483647 h 624"/>
                <a:gd name="T84" fmla="*/ 2147483647 w 234"/>
                <a:gd name="T85" fmla="*/ 2147483647 h 624"/>
                <a:gd name="T86" fmla="*/ 2147483647 w 234"/>
                <a:gd name="T87" fmla="*/ 2147483647 h 624"/>
                <a:gd name="T88" fmla="*/ 2147483647 w 234"/>
                <a:gd name="T89" fmla="*/ 2147483647 h 624"/>
                <a:gd name="T90" fmla="*/ 2147483647 w 234"/>
                <a:gd name="T91" fmla="*/ 2147483647 h 624"/>
                <a:gd name="T92" fmla="*/ 2147483647 w 234"/>
                <a:gd name="T93" fmla="*/ 2147483647 h 624"/>
                <a:gd name="T94" fmla="*/ 2147483647 w 234"/>
                <a:gd name="T95" fmla="*/ 2147483647 h 624"/>
                <a:gd name="T96" fmla="*/ 2147483647 w 234"/>
                <a:gd name="T97" fmla="*/ 2147483647 h 624"/>
                <a:gd name="T98" fmla="*/ 2147483647 w 234"/>
                <a:gd name="T99" fmla="*/ 2147483647 h 624"/>
                <a:gd name="T100" fmla="*/ 2147483647 w 234"/>
                <a:gd name="T101" fmla="*/ 2147483647 h 624"/>
                <a:gd name="T102" fmla="*/ 2147483647 w 234"/>
                <a:gd name="T103" fmla="*/ 2147483647 h 624"/>
                <a:gd name="T104" fmla="*/ 2147483647 w 234"/>
                <a:gd name="T105" fmla="*/ 2147483647 h 624"/>
                <a:gd name="T106" fmla="*/ 2147483647 w 234"/>
                <a:gd name="T107" fmla="*/ 2147483647 h 624"/>
                <a:gd name="T108" fmla="*/ 2147483647 w 234"/>
                <a:gd name="T109" fmla="*/ 2147483647 h 624"/>
                <a:gd name="T110" fmla="*/ 2147483647 w 234"/>
                <a:gd name="T111" fmla="*/ 2147483647 h 624"/>
                <a:gd name="T112" fmla="*/ 2147483647 w 234"/>
                <a:gd name="T113" fmla="*/ 2147483647 h 624"/>
                <a:gd name="T114" fmla="*/ 2147483647 w 234"/>
                <a:gd name="T115" fmla="*/ 2147483647 h 624"/>
                <a:gd name="T116" fmla="*/ 2147483647 w 234"/>
                <a:gd name="T117" fmla="*/ 2147483647 h 6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4"/>
                <a:gd name="T178" fmla="*/ 0 h 624"/>
                <a:gd name="T179" fmla="*/ 234 w 234"/>
                <a:gd name="T180" fmla="*/ 624 h 6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4" h="624">
                  <a:moveTo>
                    <a:pt x="234" y="432"/>
                  </a:moveTo>
                  <a:lnTo>
                    <a:pt x="222" y="420"/>
                  </a:lnTo>
                  <a:lnTo>
                    <a:pt x="210" y="402"/>
                  </a:lnTo>
                  <a:lnTo>
                    <a:pt x="204" y="390"/>
                  </a:lnTo>
                  <a:lnTo>
                    <a:pt x="198" y="384"/>
                  </a:lnTo>
                  <a:lnTo>
                    <a:pt x="186" y="360"/>
                  </a:lnTo>
                  <a:lnTo>
                    <a:pt x="162" y="336"/>
                  </a:lnTo>
                  <a:lnTo>
                    <a:pt x="156" y="336"/>
                  </a:lnTo>
                  <a:lnTo>
                    <a:pt x="156" y="330"/>
                  </a:lnTo>
                  <a:lnTo>
                    <a:pt x="150" y="330"/>
                  </a:lnTo>
                  <a:lnTo>
                    <a:pt x="150" y="342"/>
                  </a:lnTo>
                  <a:lnTo>
                    <a:pt x="156" y="342"/>
                  </a:lnTo>
                  <a:lnTo>
                    <a:pt x="168" y="354"/>
                  </a:lnTo>
                  <a:lnTo>
                    <a:pt x="168" y="366"/>
                  </a:lnTo>
                  <a:lnTo>
                    <a:pt x="174" y="378"/>
                  </a:lnTo>
                  <a:lnTo>
                    <a:pt x="174" y="390"/>
                  </a:lnTo>
                  <a:lnTo>
                    <a:pt x="168" y="396"/>
                  </a:lnTo>
                  <a:lnTo>
                    <a:pt x="162" y="396"/>
                  </a:lnTo>
                  <a:lnTo>
                    <a:pt x="162" y="390"/>
                  </a:lnTo>
                  <a:lnTo>
                    <a:pt x="156" y="384"/>
                  </a:lnTo>
                  <a:lnTo>
                    <a:pt x="156" y="378"/>
                  </a:lnTo>
                  <a:lnTo>
                    <a:pt x="144" y="384"/>
                  </a:lnTo>
                  <a:lnTo>
                    <a:pt x="132" y="384"/>
                  </a:lnTo>
                  <a:lnTo>
                    <a:pt x="132" y="360"/>
                  </a:lnTo>
                  <a:lnTo>
                    <a:pt x="126" y="354"/>
                  </a:lnTo>
                  <a:lnTo>
                    <a:pt x="126" y="342"/>
                  </a:lnTo>
                  <a:lnTo>
                    <a:pt x="120" y="330"/>
                  </a:lnTo>
                  <a:lnTo>
                    <a:pt x="120" y="282"/>
                  </a:lnTo>
                  <a:lnTo>
                    <a:pt x="84" y="246"/>
                  </a:lnTo>
                  <a:lnTo>
                    <a:pt x="90" y="240"/>
                  </a:lnTo>
                  <a:lnTo>
                    <a:pt x="90" y="222"/>
                  </a:lnTo>
                  <a:lnTo>
                    <a:pt x="96" y="210"/>
                  </a:lnTo>
                  <a:lnTo>
                    <a:pt x="114" y="192"/>
                  </a:lnTo>
                  <a:lnTo>
                    <a:pt x="120" y="180"/>
                  </a:lnTo>
                  <a:lnTo>
                    <a:pt x="126" y="174"/>
                  </a:lnTo>
                  <a:lnTo>
                    <a:pt x="126" y="156"/>
                  </a:lnTo>
                  <a:lnTo>
                    <a:pt x="120" y="150"/>
                  </a:lnTo>
                  <a:lnTo>
                    <a:pt x="120" y="102"/>
                  </a:lnTo>
                  <a:lnTo>
                    <a:pt x="114" y="78"/>
                  </a:lnTo>
                  <a:lnTo>
                    <a:pt x="114" y="60"/>
                  </a:lnTo>
                  <a:lnTo>
                    <a:pt x="102" y="60"/>
                  </a:lnTo>
                  <a:lnTo>
                    <a:pt x="84" y="42"/>
                  </a:lnTo>
                  <a:lnTo>
                    <a:pt x="84" y="36"/>
                  </a:lnTo>
                  <a:lnTo>
                    <a:pt x="90" y="24"/>
                  </a:lnTo>
                  <a:lnTo>
                    <a:pt x="90" y="18"/>
                  </a:lnTo>
                  <a:lnTo>
                    <a:pt x="60" y="18"/>
                  </a:lnTo>
                  <a:lnTo>
                    <a:pt x="54" y="0"/>
                  </a:lnTo>
                  <a:lnTo>
                    <a:pt x="30" y="0"/>
                  </a:lnTo>
                  <a:lnTo>
                    <a:pt x="30" y="12"/>
                  </a:lnTo>
                  <a:lnTo>
                    <a:pt x="42" y="12"/>
                  </a:lnTo>
                  <a:lnTo>
                    <a:pt x="54" y="24"/>
                  </a:lnTo>
                  <a:lnTo>
                    <a:pt x="54" y="66"/>
                  </a:lnTo>
                  <a:lnTo>
                    <a:pt x="60" y="66"/>
                  </a:lnTo>
                  <a:lnTo>
                    <a:pt x="66" y="60"/>
                  </a:lnTo>
                  <a:lnTo>
                    <a:pt x="66" y="84"/>
                  </a:lnTo>
                  <a:lnTo>
                    <a:pt x="78" y="84"/>
                  </a:lnTo>
                  <a:lnTo>
                    <a:pt x="78" y="96"/>
                  </a:lnTo>
                  <a:lnTo>
                    <a:pt x="54" y="108"/>
                  </a:lnTo>
                  <a:lnTo>
                    <a:pt x="48" y="114"/>
                  </a:lnTo>
                  <a:lnTo>
                    <a:pt x="42" y="114"/>
                  </a:lnTo>
                  <a:lnTo>
                    <a:pt x="42" y="132"/>
                  </a:lnTo>
                  <a:lnTo>
                    <a:pt x="54" y="138"/>
                  </a:lnTo>
                  <a:lnTo>
                    <a:pt x="48" y="156"/>
                  </a:lnTo>
                  <a:lnTo>
                    <a:pt x="48" y="228"/>
                  </a:lnTo>
                  <a:lnTo>
                    <a:pt x="60" y="228"/>
                  </a:lnTo>
                  <a:lnTo>
                    <a:pt x="60" y="234"/>
                  </a:lnTo>
                  <a:lnTo>
                    <a:pt x="42" y="252"/>
                  </a:lnTo>
                  <a:lnTo>
                    <a:pt x="30" y="258"/>
                  </a:lnTo>
                  <a:lnTo>
                    <a:pt x="24" y="264"/>
                  </a:lnTo>
                  <a:lnTo>
                    <a:pt x="18" y="264"/>
                  </a:lnTo>
                  <a:lnTo>
                    <a:pt x="24" y="300"/>
                  </a:lnTo>
                  <a:lnTo>
                    <a:pt x="18" y="312"/>
                  </a:lnTo>
                  <a:lnTo>
                    <a:pt x="12" y="318"/>
                  </a:lnTo>
                  <a:lnTo>
                    <a:pt x="6" y="330"/>
                  </a:lnTo>
                  <a:lnTo>
                    <a:pt x="0" y="336"/>
                  </a:lnTo>
                  <a:lnTo>
                    <a:pt x="0" y="342"/>
                  </a:lnTo>
                  <a:lnTo>
                    <a:pt x="12" y="348"/>
                  </a:lnTo>
                  <a:lnTo>
                    <a:pt x="24" y="360"/>
                  </a:lnTo>
                  <a:lnTo>
                    <a:pt x="36" y="366"/>
                  </a:lnTo>
                  <a:lnTo>
                    <a:pt x="66" y="414"/>
                  </a:lnTo>
                  <a:lnTo>
                    <a:pt x="96" y="414"/>
                  </a:lnTo>
                  <a:lnTo>
                    <a:pt x="102" y="408"/>
                  </a:lnTo>
                  <a:lnTo>
                    <a:pt x="120" y="408"/>
                  </a:lnTo>
                  <a:lnTo>
                    <a:pt x="126" y="414"/>
                  </a:lnTo>
                  <a:lnTo>
                    <a:pt x="126" y="450"/>
                  </a:lnTo>
                  <a:lnTo>
                    <a:pt x="132" y="450"/>
                  </a:lnTo>
                  <a:lnTo>
                    <a:pt x="126" y="480"/>
                  </a:lnTo>
                  <a:lnTo>
                    <a:pt x="114" y="486"/>
                  </a:lnTo>
                  <a:lnTo>
                    <a:pt x="126" y="504"/>
                  </a:lnTo>
                  <a:lnTo>
                    <a:pt x="120" y="510"/>
                  </a:lnTo>
                  <a:lnTo>
                    <a:pt x="108" y="516"/>
                  </a:lnTo>
                  <a:lnTo>
                    <a:pt x="102" y="522"/>
                  </a:lnTo>
                  <a:lnTo>
                    <a:pt x="102" y="528"/>
                  </a:lnTo>
                  <a:lnTo>
                    <a:pt x="114" y="528"/>
                  </a:lnTo>
                  <a:lnTo>
                    <a:pt x="114" y="558"/>
                  </a:lnTo>
                  <a:lnTo>
                    <a:pt x="126" y="564"/>
                  </a:lnTo>
                  <a:lnTo>
                    <a:pt x="132" y="570"/>
                  </a:lnTo>
                  <a:lnTo>
                    <a:pt x="144" y="576"/>
                  </a:lnTo>
                  <a:lnTo>
                    <a:pt x="150" y="582"/>
                  </a:lnTo>
                  <a:lnTo>
                    <a:pt x="162" y="588"/>
                  </a:lnTo>
                  <a:lnTo>
                    <a:pt x="162" y="600"/>
                  </a:lnTo>
                  <a:lnTo>
                    <a:pt x="156" y="606"/>
                  </a:lnTo>
                  <a:lnTo>
                    <a:pt x="156" y="618"/>
                  </a:lnTo>
                  <a:lnTo>
                    <a:pt x="162" y="624"/>
                  </a:lnTo>
                  <a:lnTo>
                    <a:pt x="168" y="618"/>
                  </a:lnTo>
                  <a:lnTo>
                    <a:pt x="180" y="612"/>
                  </a:lnTo>
                  <a:lnTo>
                    <a:pt x="180" y="582"/>
                  </a:lnTo>
                  <a:lnTo>
                    <a:pt x="174" y="576"/>
                  </a:lnTo>
                  <a:lnTo>
                    <a:pt x="168" y="576"/>
                  </a:lnTo>
                  <a:lnTo>
                    <a:pt x="168" y="558"/>
                  </a:lnTo>
                  <a:lnTo>
                    <a:pt x="174" y="546"/>
                  </a:lnTo>
                  <a:lnTo>
                    <a:pt x="186" y="540"/>
                  </a:lnTo>
                  <a:lnTo>
                    <a:pt x="210" y="540"/>
                  </a:lnTo>
                  <a:lnTo>
                    <a:pt x="216" y="534"/>
                  </a:lnTo>
                  <a:lnTo>
                    <a:pt x="216" y="474"/>
                  </a:lnTo>
                  <a:lnTo>
                    <a:pt x="222" y="468"/>
                  </a:lnTo>
                  <a:lnTo>
                    <a:pt x="228" y="456"/>
                  </a:lnTo>
                  <a:lnTo>
                    <a:pt x="234" y="450"/>
                  </a:lnTo>
                  <a:lnTo>
                    <a:pt x="234" y="432"/>
                  </a:lnTo>
                  <a:close/>
                </a:path>
              </a:pathLst>
            </a:custGeom>
            <a:solidFill>
              <a:srgbClr val="F2F2F2"/>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48" name="Madagascar" descr="© INSCALE GmbH, 05.05.2010&#10;http://www.presentationload.com/">
              <a:extLst>
                <a:ext uri="{FF2B5EF4-FFF2-40B4-BE49-F238E27FC236}">
                  <a16:creationId xmlns:a16="http://schemas.microsoft.com/office/drawing/2014/main" id="{F05A0379-8234-BE08-C49B-39508A10CF66}"/>
                </a:ext>
              </a:extLst>
            </p:cNvPr>
            <p:cNvSpPr>
              <a:spLocks/>
            </p:cNvSpPr>
            <p:nvPr/>
          </p:nvSpPr>
          <p:spPr bwMode="gray">
            <a:xfrm>
              <a:off x="5370889" y="3593521"/>
              <a:ext cx="225320" cy="413584"/>
            </a:xfrm>
            <a:custGeom>
              <a:avLst/>
              <a:gdLst>
                <a:gd name="T0" fmla="*/ 2147483647 w 594"/>
                <a:gd name="T1" fmla="*/ 2147483647 h 1092"/>
                <a:gd name="T2" fmla="*/ 2147483647 w 594"/>
                <a:gd name="T3" fmla="*/ 2147483647 h 1092"/>
                <a:gd name="T4" fmla="*/ 2147483647 w 594"/>
                <a:gd name="T5" fmla="*/ 2147483647 h 1092"/>
                <a:gd name="T6" fmla="*/ 2147483647 w 594"/>
                <a:gd name="T7" fmla="*/ 2147483647 h 1092"/>
                <a:gd name="T8" fmla="*/ 2147483647 w 594"/>
                <a:gd name="T9" fmla="*/ 2147483647 h 1092"/>
                <a:gd name="T10" fmla="*/ 2147483647 w 594"/>
                <a:gd name="T11" fmla="*/ 2147483647 h 1092"/>
                <a:gd name="T12" fmla="*/ 2147483647 w 594"/>
                <a:gd name="T13" fmla="*/ 2147483647 h 1092"/>
                <a:gd name="T14" fmla="*/ 2147483647 w 594"/>
                <a:gd name="T15" fmla="*/ 2147483647 h 1092"/>
                <a:gd name="T16" fmla="*/ 2147483647 w 594"/>
                <a:gd name="T17" fmla="*/ 2147483647 h 1092"/>
                <a:gd name="T18" fmla="*/ 2147483647 w 594"/>
                <a:gd name="T19" fmla="*/ 2147483647 h 1092"/>
                <a:gd name="T20" fmla="*/ 2147483647 w 594"/>
                <a:gd name="T21" fmla="*/ 2147483647 h 1092"/>
                <a:gd name="T22" fmla="*/ 2147483647 w 594"/>
                <a:gd name="T23" fmla="*/ 2147483647 h 1092"/>
                <a:gd name="T24" fmla="*/ 2147483647 w 594"/>
                <a:gd name="T25" fmla="*/ 2147483647 h 1092"/>
                <a:gd name="T26" fmla="*/ 2147483647 w 594"/>
                <a:gd name="T27" fmla="*/ 2147483647 h 1092"/>
                <a:gd name="T28" fmla="*/ 2147483647 w 594"/>
                <a:gd name="T29" fmla="*/ 2147483647 h 1092"/>
                <a:gd name="T30" fmla="*/ 2147483647 w 594"/>
                <a:gd name="T31" fmla="*/ 2147483647 h 1092"/>
                <a:gd name="T32" fmla="*/ 2147483647 w 594"/>
                <a:gd name="T33" fmla="*/ 0 h 1092"/>
                <a:gd name="T34" fmla="*/ 2147483647 w 594"/>
                <a:gd name="T35" fmla="*/ 2147483647 h 1092"/>
                <a:gd name="T36" fmla="*/ 2147483647 w 594"/>
                <a:gd name="T37" fmla="*/ 2147483647 h 1092"/>
                <a:gd name="T38" fmla="*/ 2147483647 w 594"/>
                <a:gd name="T39" fmla="*/ 2147483647 h 1092"/>
                <a:gd name="T40" fmla="*/ 2147483647 w 594"/>
                <a:gd name="T41" fmla="*/ 2147483647 h 1092"/>
                <a:gd name="T42" fmla="*/ 2147483647 w 594"/>
                <a:gd name="T43" fmla="*/ 2147483647 h 1092"/>
                <a:gd name="T44" fmla="*/ 2147483647 w 594"/>
                <a:gd name="T45" fmla="*/ 2147483647 h 1092"/>
                <a:gd name="T46" fmla="*/ 2147483647 w 594"/>
                <a:gd name="T47" fmla="*/ 2147483647 h 1092"/>
                <a:gd name="T48" fmla="*/ 2147483647 w 594"/>
                <a:gd name="T49" fmla="*/ 2147483647 h 1092"/>
                <a:gd name="T50" fmla="*/ 2147483647 w 594"/>
                <a:gd name="T51" fmla="*/ 2147483647 h 1092"/>
                <a:gd name="T52" fmla="*/ 2147483647 w 594"/>
                <a:gd name="T53" fmla="*/ 2147483647 h 1092"/>
                <a:gd name="T54" fmla="*/ 2147483647 w 594"/>
                <a:gd name="T55" fmla="*/ 2147483647 h 1092"/>
                <a:gd name="T56" fmla="*/ 2147483647 w 594"/>
                <a:gd name="T57" fmla="*/ 2147483647 h 1092"/>
                <a:gd name="T58" fmla="*/ 2147483647 w 594"/>
                <a:gd name="T59" fmla="*/ 2147483647 h 1092"/>
                <a:gd name="T60" fmla="*/ 2147483647 w 594"/>
                <a:gd name="T61" fmla="*/ 2147483647 h 1092"/>
                <a:gd name="T62" fmla="*/ 2147483647 w 594"/>
                <a:gd name="T63" fmla="*/ 2147483647 h 1092"/>
                <a:gd name="T64" fmla="*/ 2147483647 w 594"/>
                <a:gd name="T65" fmla="*/ 2147483647 h 1092"/>
                <a:gd name="T66" fmla="*/ 2147483647 w 594"/>
                <a:gd name="T67" fmla="*/ 2147483647 h 1092"/>
                <a:gd name="T68" fmla="*/ 2147483647 w 594"/>
                <a:gd name="T69" fmla="*/ 2147483647 h 1092"/>
                <a:gd name="T70" fmla="*/ 2147483647 w 594"/>
                <a:gd name="T71" fmla="*/ 2147483647 h 1092"/>
                <a:gd name="T72" fmla="*/ 2147483647 w 594"/>
                <a:gd name="T73" fmla="*/ 2147483647 h 1092"/>
                <a:gd name="T74" fmla="*/ 2147483647 w 594"/>
                <a:gd name="T75" fmla="*/ 2147483647 h 1092"/>
                <a:gd name="T76" fmla="*/ 2147483647 w 594"/>
                <a:gd name="T77" fmla="*/ 2147483647 h 1092"/>
                <a:gd name="T78" fmla="*/ 2147483647 w 594"/>
                <a:gd name="T79" fmla="*/ 2147483647 h 1092"/>
                <a:gd name="T80" fmla="*/ 2147483647 w 594"/>
                <a:gd name="T81" fmla="*/ 2147483647 h 1092"/>
                <a:gd name="T82" fmla="*/ 2147483647 w 594"/>
                <a:gd name="T83" fmla="*/ 2147483647 h 1092"/>
                <a:gd name="T84" fmla="*/ 2147483647 w 594"/>
                <a:gd name="T85" fmla="*/ 2147483647 h 1092"/>
                <a:gd name="T86" fmla="*/ 0 w 594"/>
                <a:gd name="T87" fmla="*/ 2147483647 h 1092"/>
                <a:gd name="T88" fmla="*/ 2147483647 w 594"/>
                <a:gd name="T89" fmla="*/ 2147483647 h 1092"/>
                <a:gd name="T90" fmla="*/ 2147483647 w 594"/>
                <a:gd name="T91" fmla="*/ 2147483647 h 1092"/>
                <a:gd name="T92" fmla="*/ 2147483647 w 594"/>
                <a:gd name="T93" fmla="*/ 2147483647 h 1092"/>
                <a:gd name="T94" fmla="*/ 2147483647 w 594"/>
                <a:gd name="T95" fmla="*/ 2147483647 h 1092"/>
                <a:gd name="T96" fmla="*/ 2147483647 w 594"/>
                <a:gd name="T97" fmla="*/ 2147483647 h 1092"/>
                <a:gd name="T98" fmla="*/ 2147483647 w 594"/>
                <a:gd name="T99" fmla="*/ 2147483647 h 1092"/>
                <a:gd name="T100" fmla="*/ 2147483647 w 594"/>
                <a:gd name="T101" fmla="*/ 2147483647 h 1092"/>
                <a:gd name="T102" fmla="*/ 2147483647 w 594"/>
                <a:gd name="T103" fmla="*/ 2147483647 h 109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4"/>
                <a:gd name="T157" fmla="*/ 0 h 1092"/>
                <a:gd name="T158" fmla="*/ 594 w 594"/>
                <a:gd name="T159" fmla="*/ 1092 h 109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4" h="1092">
                  <a:moveTo>
                    <a:pt x="120" y="330"/>
                  </a:moveTo>
                  <a:lnTo>
                    <a:pt x="144" y="324"/>
                  </a:lnTo>
                  <a:lnTo>
                    <a:pt x="192" y="324"/>
                  </a:lnTo>
                  <a:lnTo>
                    <a:pt x="192" y="300"/>
                  </a:lnTo>
                  <a:lnTo>
                    <a:pt x="252" y="312"/>
                  </a:lnTo>
                  <a:lnTo>
                    <a:pt x="270" y="282"/>
                  </a:lnTo>
                  <a:lnTo>
                    <a:pt x="312" y="288"/>
                  </a:lnTo>
                  <a:lnTo>
                    <a:pt x="312" y="258"/>
                  </a:lnTo>
                  <a:lnTo>
                    <a:pt x="324" y="228"/>
                  </a:lnTo>
                  <a:lnTo>
                    <a:pt x="324" y="258"/>
                  </a:lnTo>
                  <a:lnTo>
                    <a:pt x="336" y="276"/>
                  </a:lnTo>
                  <a:lnTo>
                    <a:pt x="348" y="240"/>
                  </a:lnTo>
                  <a:lnTo>
                    <a:pt x="348" y="210"/>
                  </a:lnTo>
                  <a:lnTo>
                    <a:pt x="354" y="192"/>
                  </a:lnTo>
                  <a:lnTo>
                    <a:pt x="354" y="186"/>
                  </a:lnTo>
                  <a:lnTo>
                    <a:pt x="360" y="186"/>
                  </a:lnTo>
                  <a:lnTo>
                    <a:pt x="372" y="198"/>
                  </a:lnTo>
                  <a:lnTo>
                    <a:pt x="372" y="204"/>
                  </a:lnTo>
                  <a:lnTo>
                    <a:pt x="378" y="204"/>
                  </a:lnTo>
                  <a:lnTo>
                    <a:pt x="402" y="180"/>
                  </a:lnTo>
                  <a:lnTo>
                    <a:pt x="396" y="168"/>
                  </a:lnTo>
                  <a:lnTo>
                    <a:pt x="396" y="150"/>
                  </a:lnTo>
                  <a:lnTo>
                    <a:pt x="390" y="138"/>
                  </a:lnTo>
                  <a:lnTo>
                    <a:pt x="402" y="126"/>
                  </a:lnTo>
                  <a:lnTo>
                    <a:pt x="414" y="126"/>
                  </a:lnTo>
                  <a:lnTo>
                    <a:pt x="420" y="132"/>
                  </a:lnTo>
                  <a:lnTo>
                    <a:pt x="426" y="132"/>
                  </a:lnTo>
                  <a:lnTo>
                    <a:pt x="432" y="126"/>
                  </a:lnTo>
                  <a:lnTo>
                    <a:pt x="438" y="114"/>
                  </a:lnTo>
                  <a:lnTo>
                    <a:pt x="450" y="102"/>
                  </a:lnTo>
                  <a:lnTo>
                    <a:pt x="456" y="90"/>
                  </a:lnTo>
                  <a:lnTo>
                    <a:pt x="462" y="72"/>
                  </a:lnTo>
                  <a:lnTo>
                    <a:pt x="462" y="42"/>
                  </a:lnTo>
                  <a:lnTo>
                    <a:pt x="492" y="0"/>
                  </a:lnTo>
                  <a:lnTo>
                    <a:pt x="546" y="60"/>
                  </a:lnTo>
                  <a:lnTo>
                    <a:pt x="546" y="90"/>
                  </a:lnTo>
                  <a:lnTo>
                    <a:pt x="552" y="96"/>
                  </a:lnTo>
                  <a:lnTo>
                    <a:pt x="558" y="114"/>
                  </a:lnTo>
                  <a:lnTo>
                    <a:pt x="576" y="150"/>
                  </a:lnTo>
                  <a:lnTo>
                    <a:pt x="582" y="156"/>
                  </a:lnTo>
                  <a:lnTo>
                    <a:pt x="582" y="162"/>
                  </a:lnTo>
                  <a:lnTo>
                    <a:pt x="564" y="216"/>
                  </a:lnTo>
                  <a:lnTo>
                    <a:pt x="594" y="276"/>
                  </a:lnTo>
                  <a:lnTo>
                    <a:pt x="594" y="288"/>
                  </a:lnTo>
                  <a:lnTo>
                    <a:pt x="588" y="294"/>
                  </a:lnTo>
                  <a:lnTo>
                    <a:pt x="576" y="294"/>
                  </a:lnTo>
                  <a:lnTo>
                    <a:pt x="564" y="288"/>
                  </a:lnTo>
                  <a:lnTo>
                    <a:pt x="558" y="282"/>
                  </a:lnTo>
                  <a:lnTo>
                    <a:pt x="552" y="282"/>
                  </a:lnTo>
                  <a:lnTo>
                    <a:pt x="522" y="288"/>
                  </a:lnTo>
                  <a:lnTo>
                    <a:pt x="528" y="330"/>
                  </a:lnTo>
                  <a:lnTo>
                    <a:pt x="522" y="336"/>
                  </a:lnTo>
                  <a:lnTo>
                    <a:pt x="516" y="348"/>
                  </a:lnTo>
                  <a:lnTo>
                    <a:pt x="504" y="354"/>
                  </a:lnTo>
                  <a:lnTo>
                    <a:pt x="486" y="390"/>
                  </a:lnTo>
                  <a:lnTo>
                    <a:pt x="486" y="402"/>
                  </a:lnTo>
                  <a:lnTo>
                    <a:pt x="492" y="414"/>
                  </a:lnTo>
                  <a:lnTo>
                    <a:pt x="504" y="450"/>
                  </a:lnTo>
                  <a:lnTo>
                    <a:pt x="498" y="468"/>
                  </a:lnTo>
                  <a:lnTo>
                    <a:pt x="486" y="510"/>
                  </a:lnTo>
                  <a:lnTo>
                    <a:pt x="462" y="570"/>
                  </a:lnTo>
                  <a:lnTo>
                    <a:pt x="432" y="642"/>
                  </a:lnTo>
                  <a:lnTo>
                    <a:pt x="390" y="720"/>
                  </a:lnTo>
                  <a:lnTo>
                    <a:pt x="324" y="852"/>
                  </a:lnTo>
                  <a:lnTo>
                    <a:pt x="312" y="894"/>
                  </a:lnTo>
                  <a:lnTo>
                    <a:pt x="306" y="912"/>
                  </a:lnTo>
                  <a:lnTo>
                    <a:pt x="306" y="948"/>
                  </a:lnTo>
                  <a:lnTo>
                    <a:pt x="294" y="984"/>
                  </a:lnTo>
                  <a:lnTo>
                    <a:pt x="276" y="1014"/>
                  </a:lnTo>
                  <a:lnTo>
                    <a:pt x="258" y="1032"/>
                  </a:lnTo>
                  <a:lnTo>
                    <a:pt x="240" y="1044"/>
                  </a:lnTo>
                  <a:lnTo>
                    <a:pt x="222" y="1062"/>
                  </a:lnTo>
                  <a:lnTo>
                    <a:pt x="216" y="1062"/>
                  </a:lnTo>
                  <a:lnTo>
                    <a:pt x="210" y="1068"/>
                  </a:lnTo>
                  <a:lnTo>
                    <a:pt x="186" y="1068"/>
                  </a:lnTo>
                  <a:lnTo>
                    <a:pt x="150" y="1086"/>
                  </a:lnTo>
                  <a:lnTo>
                    <a:pt x="114" y="1092"/>
                  </a:lnTo>
                  <a:lnTo>
                    <a:pt x="78" y="1074"/>
                  </a:lnTo>
                  <a:lnTo>
                    <a:pt x="60" y="1056"/>
                  </a:lnTo>
                  <a:lnTo>
                    <a:pt x="48" y="1038"/>
                  </a:lnTo>
                  <a:lnTo>
                    <a:pt x="36" y="1026"/>
                  </a:lnTo>
                  <a:lnTo>
                    <a:pt x="36" y="1020"/>
                  </a:lnTo>
                  <a:lnTo>
                    <a:pt x="30" y="1014"/>
                  </a:lnTo>
                  <a:lnTo>
                    <a:pt x="48" y="990"/>
                  </a:lnTo>
                  <a:lnTo>
                    <a:pt x="42" y="978"/>
                  </a:lnTo>
                  <a:lnTo>
                    <a:pt x="24" y="948"/>
                  </a:lnTo>
                  <a:lnTo>
                    <a:pt x="12" y="900"/>
                  </a:lnTo>
                  <a:lnTo>
                    <a:pt x="0" y="834"/>
                  </a:lnTo>
                  <a:lnTo>
                    <a:pt x="0" y="786"/>
                  </a:lnTo>
                  <a:lnTo>
                    <a:pt x="6" y="756"/>
                  </a:lnTo>
                  <a:lnTo>
                    <a:pt x="18" y="738"/>
                  </a:lnTo>
                  <a:lnTo>
                    <a:pt x="60" y="696"/>
                  </a:lnTo>
                  <a:lnTo>
                    <a:pt x="72" y="678"/>
                  </a:lnTo>
                  <a:lnTo>
                    <a:pt x="90" y="672"/>
                  </a:lnTo>
                  <a:lnTo>
                    <a:pt x="96" y="660"/>
                  </a:lnTo>
                  <a:lnTo>
                    <a:pt x="108" y="654"/>
                  </a:lnTo>
                  <a:lnTo>
                    <a:pt x="108" y="636"/>
                  </a:lnTo>
                  <a:lnTo>
                    <a:pt x="102" y="600"/>
                  </a:lnTo>
                  <a:lnTo>
                    <a:pt x="96" y="558"/>
                  </a:lnTo>
                  <a:lnTo>
                    <a:pt x="96" y="522"/>
                  </a:lnTo>
                  <a:lnTo>
                    <a:pt x="78" y="432"/>
                  </a:lnTo>
                  <a:lnTo>
                    <a:pt x="90" y="408"/>
                  </a:lnTo>
                  <a:lnTo>
                    <a:pt x="132" y="366"/>
                  </a:lnTo>
                  <a:lnTo>
                    <a:pt x="132" y="360"/>
                  </a:lnTo>
                  <a:lnTo>
                    <a:pt x="120" y="330"/>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49" name="Macedonia" descr="© INSCALE GmbH, 05.05.2010&#10;http://www.presentationload.com/">
              <a:extLst>
                <a:ext uri="{FF2B5EF4-FFF2-40B4-BE49-F238E27FC236}">
                  <a16:creationId xmlns:a16="http://schemas.microsoft.com/office/drawing/2014/main" id="{FF8B1532-7867-FCAE-CD49-9AF5DF9C4EB0}"/>
                </a:ext>
              </a:extLst>
            </p:cNvPr>
            <p:cNvSpPr>
              <a:spLocks/>
            </p:cNvSpPr>
            <p:nvPr/>
          </p:nvSpPr>
          <p:spPr bwMode="gray">
            <a:xfrm>
              <a:off x="4763115" y="1922880"/>
              <a:ext cx="62260" cy="48919"/>
            </a:xfrm>
            <a:custGeom>
              <a:avLst/>
              <a:gdLst>
                <a:gd name="T0" fmla="*/ 2147483647 w 162"/>
                <a:gd name="T1" fmla="*/ 2147483647 h 126"/>
                <a:gd name="T2" fmla="*/ 2147483647 w 162"/>
                <a:gd name="T3" fmla="*/ 2147483647 h 126"/>
                <a:gd name="T4" fmla="*/ 2147483647 w 162"/>
                <a:gd name="T5" fmla="*/ 2147483647 h 126"/>
                <a:gd name="T6" fmla="*/ 2147483647 w 162"/>
                <a:gd name="T7" fmla="*/ 2147483647 h 126"/>
                <a:gd name="T8" fmla="*/ 2147483647 w 162"/>
                <a:gd name="T9" fmla="*/ 0 h 126"/>
                <a:gd name="T10" fmla="*/ 2147483647 w 162"/>
                <a:gd name="T11" fmla="*/ 2147483647 h 126"/>
                <a:gd name="T12" fmla="*/ 2147483647 w 162"/>
                <a:gd name="T13" fmla="*/ 2147483647 h 126"/>
                <a:gd name="T14" fmla="*/ 2147483647 w 162"/>
                <a:gd name="T15" fmla="*/ 2147483647 h 126"/>
                <a:gd name="T16" fmla="*/ 2147483647 w 162"/>
                <a:gd name="T17" fmla="*/ 2147483647 h 126"/>
                <a:gd name="T18" fmla="*/ 2147483647 w 162"/>
                <a:gd name="T19" fmla="*/ 2147483647 h 126"/>
                <a:gd name="T20" fmla="*/ 2147483647 w 162"/>
                <a:gd name="T21" fmla="*/ 2147483647 h 126"/>
                <a:gd name="T22" fmla="*/ 0 w 162"/>
                <a:gd name="T23" fmla="*/ 2147483647 h 126"/>
                <a:gd name="T24" fmla="*/ 0 w 162"/>
                <a:gd name="T25" fmla="*/ 2147483647 h 126"/>
                <a:gd name="T26" fmla="*/ 2147483647 w 162"/>
                <a:gd name="T27" fmla="*/ 2147483647 h 126"/>
                <a:gd name="T28" fmla="*/ 2147483647 w 162"/>
                <a:gd name="T29" fmla="*/ 2147483647 h 126"/>
                <a:gd name="T30" fmla="*/ 2147483647 w 162"/>
                <a:gd name="T31" fmla="*/ 2147483647 h 126"/>
                <a:gd name="T32" fmla="*/ 2147483647 w 162"/>
                <a:gd name="T33" fmla="*/ 2147483647 h 126"/>
                <a:gd name="T34" fmla="*/ 2147483647 w 162"/>
                <a:gd name="T35" fmla="*/ 2147483647 h 126"/>
                <a:gd name="T36" fmla="*/ 2147483647 w 162"/>
                <a:gd name="T37" fmla="*/ 2147483647 h 126"/>
                <a:gd name="T38" fmla="*/ 2147483647 w 162"/>
                <a:gd name="T39" fmla="*/ 2147483647 h 126"/>
                <a:gd name="T40" fmla="*/ 2147483647 w 162"/>
                <a:gd name="T41" fmla="*/ 2147483647 h 126"/>
                <a:gd name="T42" fmla="*/ 2147483647 w 162"/>
                <a:gd name="T43" fmla="*/ 2147483647 h 126"/>
                <a:gd name="T44" fmla="*/ 2147483647 w 162"/>
                <a:gd name="T45" fmla="*/ 2147483647 h 126"/>
                <a:gd name="T46" fmla="*/ 2147483647 w 162"/>
                <a:gd name="T47" fmla="*/ 2147483647 h 126"/>
                <a:gd name="T48" fmla="*/ 2147483647 w 162"/>
                <a:gd name="T49" fmla="*/ 2147483647 h 126"/>
                <a:gd name="T50" fmla="*/ 2147483647 w 162"/>
                <a:gd name="T51" fmla="*/ 2147483647 h 126"/>
                <a:gd name="T52" fmla="*/ 2147483647 w 162"/>
                <a:gd name="T53" fmla="*/ 2147483647 h 126"/>
                <a:gd name="T54" fmla="*/ 2147483647 w 162"/>
                <a:gd name="T55" fmla="*/ 2147483647 h 126"/>
                <a:gd name="T56" fmla="*/ 2147483647 w 162"/>
                <a:gd name="T57" fmla="*/ 2147483647 h 126"/>
                <a:gd name="T58" fmla="*/ 2147483647 w 162"/>
                <a:gd name="T59" fmla="*/ 2147483647 h 126"/>
                <a:gd name="T60" fmla="*/ 2147483647 w 162"/>
                <a:gd name="T61" fmla="*/ 2147483647 h 126"/>
                <a:gd name="T62" fmla="*/ 2147483647 w 162"/>
                <a:gd name="T63" fmla="*/ 2147483647 h 126"/>
                <a:gd name="T64" fmla="*/ 2147483647 w 162"/>
                <a:gd name="T65" fmla="*/ 2147483647 h 12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2"/>
                <a:gd name="T100" fmla="*/ 0 h 126"/>
                <a:gd name="T101" fmla="*/ 162 w 162"/>
                <a:gd name="T102" fmla="*/ 126 h 12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2" h="126">
                  <a:moveTo>
                    <a:pt x="150" y="42"/>
                  </a:moveTo>
                  <a:lnTo>
                    <a:pt x="132" y="30"/>
                  </a:lnTo>
                  <a:lnTo>
                    <a:pt x="132" y="18"/>
                  </a:lnTo>
                  <a:lnTo>
                    <a:pt x="126" y="18"/>
                  </a:lnTo>
                  <a:lnTo>
                    <a:pt x="114" y="0"/>
                  </a:lnTo>
                  <a:lnTo>
                    <a:pt x="72" y="6"/>
                  </a:lnTo>
                  <a:lnTo>
                    <a:pt x="66" y="12"/>
                  </a:lnTo>
                  <a:lnTo>
                    <a:pt x="48" y="12"/>
                  </a:lnTo>
                  <a:lnTo>
                    <a:pt x="48" y="24"/>
                  </a:lnTo>
                  <a:lnTo>
                    <a:pt x="24" y="24"/>
                  </a:lnTo>
                  <a:lnTo>
                    <a:pt x="18" y="36"/>
                  </a:lnTo>
                  <a:lnTo>
                    <a:pt x="0" y="42"/>
                  </a:lnTo>
                  <a:lnTo>
                    <a:pt x="0" y="66"/>
                  </a:lnTo>
                  <a:lnTo>
                    <a:pt x="6" y="78"/>
                  </a:lnTo>
                  <a:lnTo>
                    <a:pt x="6" y="102"/>
                  </a:lnTo>
                  <a:lnTo>
                    <a:pt x="12" y="108"/>
                  </a:lnTo>
                  <a:lnTo>
                    <a:pt x="18" y="108"/>
                  </a:lnTo>
                  <a:lnTo>
                    <a:pt x="18" y="126"/>
                  </a:lnTo>
                  <a:lnTo>
                    <a:pt x="42" y="120"/>
                  </a:lnTo>
                  <a:lnTo>
                    <a:pt x="42" y="126"/>
                  </a:lnTo>
                  <a:lnTo>
                    <a:pt x="54" y="120"/>
                  </a:lnTo>
                  <a:lnTo>
                    <a:pt x="60" y="120"/>
                  </a:lnTo>
                  <a:lnTo>
                    <a:pt x="66" y="126"/>
                  </a:lnTo>
                  <a:lnTo>
                    <a:pt x="90" y="126"/>
                  </a:lnTo>
                  <a:lnTo>
                    <a:pt x="96" y="114"/>
                  </a:lnTo>
                  <a:lnTo>
                    <a:pt x="96" y="108"/>
                  </a:lnTo>
                  <a:lnTo>
                    <a:pt x="120" y="108"/>
                  </a:lnTo>
                  <a:lnTo>
                    <a:pt x="132" y="102"/>
                  </a:lnTo>
                  <a:lnTo>
                    <a:pt x="156" y="78"/>
                  </a:lnTo>
                  <a:lnTo>
                    <a:pt x="162" y="66"/>
                  </a:lnTo>
                  <a:lnTo>
                    <a:pt x="162" y="60"/>
                  </a:lnTo>
                  <a:lnTo>
                    <a:pt x="156" y="48"/>
                  </a:lnTo>
                  <a:lnTo>
                    <a:pt x="150" y="42"/>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50" name="Luxembourg" descr="© INSCALE GmbH, 05.05.2010&#10;http://www.presentationload.com/">
              <a:extLst>
                <a:ext uri="{FF2B5EF4-FFF2-40B4-BE49-F238E27FC236}">
                  <a16:creationId xmlns:a16="http://schemas.microsoft.com/office/drawing/2014/main" id="{CD34EADA-C9A8-8721-0D03-5583D32EFF34}"/>
                </a:ext>
              </a:extLst>
            </p:cNvPr>
            <p:cNvSpPr>
              <a:spLocks/>
            </p:cNvSpPr>
            <p:nvPr/>
          </p:nvSpPr>
          <p:spPr bwMode="gray">
            <a:xfrm>
              <a:off x="4402900" y="1693111"/>
              <a:ext cx="19271" cy="16307"/>
            </a:xfrm>
            <a:custGeom>
              <a:avLst/>
              <a:gdLst>
                <a:gd name="T0" fmla="*/ 2147483647 w 54"/>
                <a:gd name="T1" fmla="*/ 2147483647 h 42"/>
                <a:gd name="T2" fmla="*/ 2147483647 w 54"/>
                <a:gd name="T3" fmla="*/ 2147483647 h 42"/>
                <a:gd name="T4" fmla="*/ 2147483647 w 54"/>
                <a:gd name="T5" fmla="*/ 2147483647 h 42"/>
                <a:gd name="T6" fmla="*/ 2147483647 w 54"/>
                <a:gd name="T7" fmla="*/ 2147483647 h 42"/>
                <a:gd name="T8" fmla="*/ 2147483647 w 54"/>
                <a:gd name="T9" fmla="*/ 2147483647 h 42"/>
                <a:gd name="T10" fmla="*/ 2147483647 w 54"/>
                <a:gd name="T11" fmla="*/ 2147483647 h 42"/>
                <a:gd name="T12" fmla="*/ 2147483647 w 54"/>
                <a:gd name="T13" fmla="*/ 2147483647 h 42"/>
                <a:gd name="T14" fmla="*/ 2147483647 w 54"/>
                <a:gd name="T15" fmla="*/ 2147483647 h 42"/>
                <a:gd name="T16" fmla="*/ 2147483647 w 54"/>
                <a:gd name="T17" fmla="*/ 0 h 42"/>
                <a:gd name="T18" fmla="*/ 2147483647 w 54"/>
                <a:gd name="T19" fmla="*/ 0 h 42"/>
                <a:gd name="T20" fmla="*/ 2147483647 w 54"/>
                <a:gd name="T21" fmla="*/ 2147483647 h 42"/>
                <a:gd name="T22" fmla="*/ 2147483647 w 54"/>
                <a:gd name="T23" fmla="*/ 2147483647 h 42"/>
                <a:gd name="T24" fmla="*/ 0 w 54"/>
                <a:gd name="T25" fmla="*/ 2147483647 h 42"/>
                <a:gd name="T26" fmla="*/ 0 w 54"/>
                <a:gd name="T27" fmla="*/ 2147483647 h 42"/>
                <a:gd name="T28" fmla="*/ 2147483647 w 54"/>
                <a:gd name="T29" fmla="*/ 2147483647 h 42"/>
                <a:gd name="T30" fmla="*/ 2147483647 w 54"/>
                <a:gd name="T31" fmla="*/ 2147483647 h 4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4"/>
                <a:gd name="T49" fmla="*/ 0 h 42"/>
                <a:gd name="T50" fmla="*/ 54 w 54"/>
                <a:gd name="T51" fmla="*/ 42 h 4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4" h="42">
                  <a:moveTo>
                    <a:pt x="18" y="42"/>
                  </a:moveTo>
                  <a:lnTo>
                    <a:pt x="30" y="36"/>
                  </a:lnTo>
                  <a:lnTo>
                    <a:pt x="48" y="42"/>
                  </a:lnTo>
                  <a:lnTo>
                    <a:pt x="54" y="36"/>
                  </a:lnTo>
                  <a:lnTo>
                    <a:pt x="54" y="24"/>
                  </a:lnTo>
                  <a:lnTo>
                    <a:pt x="42" y="18"/>
                  </a:lnTo>
                  <a:lnTo>
                    <a:pt x="36" y="18"/>
                  </a:lnTo>
                  <a:lnTo>
                    <a:pt x="30" y="12"/>
                  </a:lnTo>
                  <a:lnTo>
                    <a:pt x="30" y="0"/>
                  </a:lnTo>
                  <a:lnTo>
                    <a:pt x="24" y="0"/>
                  </a:lnTo>
                  <a:lnTo>
                    <a:pt x="18" y="6"/>
                  </a:lnTo>
                  <a:lnTo>
                    <a:pt x="6" y="12"/>
                  </a:lnTo>
                  <a:lnTo>
                    <a:pt x="0" y="12"/>
                  </a:lnTo>
                  <a:lnTo>
                    <a:pt x="0" y="18"/>
                  </a:lnTo>
                  <a:lnTo>
                    <a:pt x="12" y="30"/>
                  </a:lnTo>
                  <a:lnTo>
                    <a:pt x="18" y="42"/>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51" name="Lithuania" descr="© INSCALE GmbH, 05.05.2010&#10;http://www.presentationload.com/">
              <a:extLst>
                <a:ext uri="{FF2B5EF4-FFF2-40B4-BE49-F238E27FC236}">
                  <a16:creationId xmlns:a16="http://schemas.microsoft.com/office/drawing/2014/main" id="{18D62224-28CA-7B21-9CC1-66DE75E466D7}"/>
                </a:ext>
              </a:extLst>
            </p:cNvPr>
            <p:cNvSpPr>
              <a:spLocks/>
            </p:cNvSpPr>
            <p:nvPr/>
          </p:nvSpPr>
          <p:spPr bwMode="gray">
            <a:xfrm>
              <a:off x="4752740" y="1507814"/>
              <a:ext cx="128967" cy="74119"/>
            </a:xfrm>
            <a:custGeom>
              <a:avLst/>
              <a:gdLst>
                <a:gd name="T0" fmla="*/ 2147483647 w 342"/>
                <a:gd name="T1" fmla="*/ 2147483647 h 198"/>
                <a:gd name="T2" fmla="*/ 2147483647 w 342"/>
                <a:gd name="T3" fmla="*/ 2147483647 h 198"/>
                <a:gd name="T4" fmla="*/ 2147483647 w 342"/>
                <a:gd name="T5" fmla="*/ 2147483647 h 198"/>
                <a:gd name="T6" fmla="*/ 2147483647 w 342"/>
                <a:gd name="T7" fmla="*/ 2147483647 h 198"/>
                <a:gd name="T8" fmla="*/ 2147483647 w 342"/>
                <a:gd name="T9" fmla="*/ 2147483647 h 198"/>
                <a:gd name="T10" fmla="*/ 2147483647 w 342"/>
                <a:gd name="T11" fmla="*/ 2147483647 h 198"/>
                <a:gd name="T12" fmla="*/ 2147483647 w 342"/>
                <a:gd name="T13" fmla="*/ 2147483647 h 198"/>
                <a:gd name="T14" fmla="*/ 2147483647 w 342"/>
                <a:gd name="T15" fmla="*/ 2147483647 h 198"/>
                <a:gd name="T16" fmla="*/ 2147483647 w 342"/>
                <a:gd name="T17" fmla="*/ 2147483647 h 198"/>
                <a:gd name="T18" fmla="*/ 2147483647 w 342"/>
                <a:gd name="T19" fmla="*/ 2147483647 h 198"/>
                <a:gd name="T20" fmla="*/ 2147483647 w 342"/>
                <a:gd name="T21" fmla="*/ 2147483647 h 198"/>
                <a:gd name="T22" fmla="*/ 2147483647 w 342"/>
                <a:gd name="T23" fmla="*/ 2147483647 h 198"/>
                <a:gd name="T24" fmla="*/ 2147483647 w 342"/>
                <a:gd name="T25" fmla="*/ 0 h 198"/>
                <a:gd name="T26" fmla="*/ 2147483647 w 342"/>
                <a:gd name="T27" fmla="*/ 2147483647 h 198"/>
                <a:gd name="T28" fmla="*/ 0 w 342"/>
                <a:gd name="T29" fmla="*/ 2147483647 h 198"/>
                <a:gd name="T30" fmla="*/ 2147483647 w 342"/>
                <a:gd name="T31" fmla="*/ 2147483647 h 198"/>
                <a:gd name="T32" fmla="*/ 2147483647 w 342"/>
                <a:gd name="T33" fmla="*/ 2147483647 h 198"/>
                <a:gd name="T34" fmla="*/ 2147483647 w 342"/>
                <a:gd name="T35" fmla="*/ 2147483647 h 198"/>
                <a:gd name="T36" fmla="*/ 2147483647 w 342"/>
                <a:gd name="T37" fmla="*/ 2147483647 h 198"/>
                <a:gd name="T38" fmla="*/ 2147483647 w 342"/>
                <a:gd name="T39" fmla="*/ 2147483647 h 198"/>
                <a:gd name="T40" fmla="*/ 2147483647 w 342"/>
                <a:gd name="T41" fmla="*/ 2147483647 h 198"/>
                <a:gd name="T42" fmla="*/ 2147483647 w 342"/>
                <a:gd name="T43" fmla="*/ 2147483647 h 198"/>
                <a:gd name="T44" fmla="*/ 2147483647 w 342"/>
                <a:gd name="T45" fmla="*/ 2147483647 h 198"/>
                <a:gd name="T46" fmla="*/ 2147483647 w 342"/>
                <a:gd name="T47" fmla="*/ 2147483647 h 198"/>
                <a:gd name="T48" fmla="*/ 2147483647 w 342"/>
                <a:gd name="T49" fmla="*/ 2147483647 h 198"/>
                <a:gd name="T50" fmla="*/ 2147483647 w 342"/>
                <a:gd name="T51" fmla="*/ 2147483647 h 198"/>
                <a:gd name="T52" fmla="*/ 2147483647 w 342"/>
                <a:gd name="T53" fmla="*/ 2147483647 h 198"/>
                <a:gd name="T54" fmla="*/ 2147483647 w 342"/>
                <a:gd name="T55" fmla="*/ 2147483647 h 198"/>
                <a:gd name="T56" fmla="*/ 2147483647 w 342"/>
                <a:gd name="T57" fmla="*/ 2147483647 h 198"/>
                <a:gd name="T58" fmla="*/ 2147483647 w 342"/>
                <a:gd name="T59" fmla="*/ 2147483647 h 198"/>
                <a:gd name="T60" fmla="*/ 2147483647 w 342"/>
                <a:gd name="T61" fmla="*/ 2147483647 h 198"/>
                <a:gd name="T62" fmla="*/ 2147483647 w 342"/>
                <a:gd name="T63" fmla="*/ 2147483647 h 198"/>
                <a:gd name="T64" fmla="*/ 2147483647 w 342"/>
                <a:gd name="T65" fmla="*/ 2147483647 h 198"/>
                <a:gd name="T66" fmla="*/ 2147483647 w 342"/>
                <a:gd name="T67" fmla="*/ 2147483647 h 198"/>
                <a:gd name="T68" fmla="*/ 2147483647 w 342"/>
                <a:gd name="T69" fmla="*/ 2147483647 h 198"/>
                <a:gd name="T70" fmla="*/ 2147483647 w 342"/>
                <a:gd name="T71" fmla="*/ 2147483647 h 198"/>
                <a:gd name="T72" fmla="*/ 2147483647 w 342"/>
                <a:gd name="T73" fmla="*/ 2147483647 h 198"/>
                <a:gd name="T74" fmla="*/ 2147483647 w 342"/>
                <a:gd name="T75" fmla="*/ 2147483647 h 198"/>
                <a:gd name="T76" fmla="*/ 2147483647 w 342"/>
                <a:gd name="T77" fmla="*/ 2147483647 h 198"/>
                <a:gd name="T78" fmla="*/ 2147483647 w 342"/>
                <a:gd name="T79" fmla="*/ 2147483647 h 198"/>
                <a:gd name="T80" fmla="*/ 2147483647 w 342"/>
                <a:gd name="T81" fmla="*/ 2147483647 h 198"/>
                <a:gd name="T82" fmla="*/ 2147483647 w 342"/>
                <a:gd name="T83" fmla="*/ 2147483647 h 198"/>
                <a:gd name="T84" fmla="*/ 2147483647 w 342"/>
                <a:gd name="T85" fmla="*/ 2147483647 h 19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42"/>
                <a:gd name="T130" fmla="*/ 0 h 198"/>
                <a:gd name="T131" fmla="*/ 342 w 342"/>
                <a:gd name="T132" fmla="*/ 198 h 19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42" h="198">
                  <a:moveTo>
                    <a:pt x="330" y="60"/>
                  </a:moveTo>
                  <a:lnTo>
                    <a:pt x="312" y="54"/>
                  </a:lnTo>
                  <a:lnTo>
                    <a:pt x="294" y="42"/>
                  </a:lnTo>
                  <a:lnTo>
                    <a:pt x="282" y="30"/>
                  </a:lnTo>
                  <a:lnTo>
                    <a:pt x="276" y="30"/>
                  </a:lnTo>
                  <a:lnTo>
                    <a:pt x="264" y="24"/>
                  </a:lnTo>
                  <a:lnTo>
                    <a:pt x="234" y="24"/>
                  </a:lnTo>
                  <a:lnTo>
                    <a:pt x="228" y="12"/>
                  </a:lnTo>
                  <a:lnTo>
                    <a:pt x="222" y="6"/>
                  </a:lnTo>
                  <a:lnTo>
                    <a:pt x="210" y="6"/>
                  </a:lnTo>
                  <a:lnTo>
                    <a:pt x="198" y="18"/>
                  </a:lnTo>
                  <a:lnTo>
                    <a:pt x="180" y="18"/>
                  </a:lnTo>
                  <a:lnTo>
                    <a:pt x="174" y="12"/>
                  </a:lnTo>
                  <a:lnTo>
                    <a:pt x="162" y="12"/>
                  </a:lnTo>
                  <a:lnTo>
                    <a:pt x="156" y="18"/>
                  </a:lnTo>
                  <a:lnTo>
                    <a:pt x="150" y="18"/>
                  </a:lnTo>
                  <a:lnTo>
                    <a:pt x="144" y="12"/>
                  </a:lnTo>
                  <a:lnTo>
                    <a:pt x="138" y="12"/>
                  </a:lnTo>
                  <a:lnTo>
                    <a:pt x="126" y="6"/>
                  </a:lnTo>
                  <a:lnTo>
                    <a:pt x="120" y="6"/>
                  </a:lnTo>
                  <a:lnTo>
                    <a:pt x="114" y="12"/>
                  </a:lnTo>
                  <a:lnTo>
                    <a:pt x="108" y="12"/>
                  </a:lnTo>
                  <a:lnTo>
                    <a:pt x="102" y="6"/>
                  </a:lnTo>
                  <a:lnTo>
                    <a:pt x="96" y="6"/>
                  </a:lnTo>
                  <a:lnTo>
                    <a:pt x="90" y="0"/>
                  </a:lnTo>
                  <a:lnTo>
                    <a:pt x="72" y="0"/>
                  </a:lnTo>
                  <a:lnTo>
                    <a:pt x="60" y="12"/>
                  </a:lnTo>
                  <a:lnTo>
                    <a:pt x="18" y="12"/>
                  </a:lnTo>
                  <a:lnTo>
                    <a:pt x="6" y="18"/>
                  </a:lnTo>
                  <a:lnTo>
                    <a:pt x="0" y="18"/>
                  </a:lnTo>
                  <a:lnTo>
                    <a:pt x="0" y="60"/>
                  </a:lnTo>
                  <a:lnTo>
                    <a:pt x="12" y="84"/>
                  </a:lnTo>
                  <a:lnTo>
                    <a:pt x="18" y="90"/>
                  </a:lnTo>
                  <a:lnTo>
                    <a:pt x="18" y="96"/>
                  </a:lnTo>
                  <a:lnTo>
                    <a:pt x="30" y="96"/>
                  </a:lnTo>
                  <a:lnTo>
                    <a:pt x="30" y="102"/>
                  </a:lnTo>
                  <a:lnTo>
                    <a:pt x="42" y="102"/>
                  </a:lnTo>
                  <a:lnTo>
                    <a:pt x="48" y="108"/>
                  </a:lnTo>
                  <a:lnTo>
                    <a:pt x="72" y="108"/>
                  </a:lnTo>
                  <a:lnTo>
                    <a:pt x="84" y="102"/>
                  </a:lnTo>
                  <a:lnTo>
                    <a:pt x="102" y="102"/>
                  </a:lnTo>
                  <a:lnTo>
                    <a:pt x="108" y="114"/>
                  </a:lnTo>
                  <a:lnTo>
                    <a:pt x="108" y="132"/>
                  </a:lnTo>
                  <a:lnTo>
                    <a:pt x="96" y="144"/>
                  </a:lnTo>
                  <a:lnTo>
                    <a:pt x="102" y="162"/>
                  </a:lnTo>
                  <a:lnTo>
                    <a:pt x="120" y="162"/>
                  </a:lnTo>
                  <a:lnTo>
                    <a:pt x="138" y="168"/>
                  </a:lnTo>
                  <a:lnTo>
                    <a:pt x="144" y="168"/>
                  </a:lnTo>
                  <a:lnTo>
                    <a:pt x="156" y="174"/>
                  </a:lnTo>
                  <a:lnTo>
                    <a:pt x="156" y="198"/>
                  </a:lnTo>
                  <a:lnTo>
                    <a:pt x="162" y="198"/>
                  </a:lnTo>
                  <a:lnTo>
                    <a:pt x="168" y="192"/>
                  </a:lnTo>
                  <a:lnTo>
                    <a:pt x="180" y="192"/>
                  </a:lnTo>
                  <a:lnTo>
                    <a:pt x="192" y="186"/>
                  </a:lnTo>
                  <a:lnTo>
                    <a:pt x="198" y="186"/>
                  </a:lnTo>
                  <a:lnTo>
                    <a:pt x="204" y="192"/>
                  </a:lnTo>
                  <a:lnTo>
                    <a:pt x="204" y="198"/>
                  </a:lnTo>
                  <a:lnTo>
                    <a:pt x="234" y="198"/>
                  </a:lnTo>
                  <a:lnTo>
                    <a:pt x="234" y="180"/>
                  </a:lnTo>
                  <a:lnTo>
                    <a:pt x="246" y="192"/>
                  </a:lnTo>
                  <a:lnTo>
                    <a:pt x="252" y="180"/>
                  </a:lnTo>
                  <a:lnTo>
                    <a:pt x="258" y="174"/>
                  </a:lnTo>
                  <a:lnTo>
                    <a:pt x="270" y="168"/>
                  </a:lnTo>
                  <a:lnTo>
                    <a:pt x="288" y="168"/>
                  </a:lnTo>
                  <a:lnTo>
                    <a:pt x="288" y="174"/>
                  </a:lnTo>
                  <a:lnTo>
                    <a:pt x="282" y="180"/>
                  </a:lnTo>
                  <a:lnTo>
                    <a:pt x="294" y="180"/>
                  </a:lnTo>
                  <a:lnTo>
                    <a:pt x="294" y="174"/>
                  </a:lnTo>
                  <a:lnTo>
                    <a:pt x="288" y="168"/>
                  </a:lnTo>
                  <a:lnTo>
                    <a:pt x="288" y="156"/>
                  </a:lnTo>
                  <a:lnTo>
                    <a:pt x="282" y="150"/>
                  </a:lnTo>
                  <a:lnTo>
                    <a:pt x="282" y="144"/>
                  </a:lnTo>
                  <a:lnTo>
                    <a:pt x="294" y="144"/>
                  </a:lnTo>
                  <a:lnTo>
                    <a:pt x="294" y="138"/>
                  </a:lnTo>
                  <a:lnTo>
                    <a:pt x="288" y="126"/>
                  </a:lnTo>
                  <a:lnTo>
                    <a:pt x="288" y="120"/>
                  </a:lnTo>
                  <a:lnTo>
                    <a:pt x="294" y="114"/>
                  </a:lnTo>
                  <a:lnTo>
                    <a:pt x="312" y="114"/>
                  </a:lnTo>
                  <a:lnTo>
                    <a:pt x="306" y="96"/>
                  </a:lnTo>
                  <a:lnTo>
                    <a:pt x="312" y="96"/>
                  </a:lnTo>
                  <a:lnTo>
                    <a:pt x="318" y="102"/>
                  </a:lnTo>
                  <a:lnTo>
                    <a:pt x="336" y="102"/>
                  </a:lnTo>
                  <a:lnTo>
                    <a:pt x="342" y="96"/>
                  </a:lnTo>
                  <a:lnTo>
                    <a:pt x="324" y="78"/>
                  </a:lnTo>
                  <a:lnTo>
                    <a:pt x="324" y="72"/>
                  </a:lnTo>
                  <a:lnTo>
                    <a:pt x="330" y="66"/>
                  </a:lnTo>
                  <a:lnTo>
                    <a:pt x="330" y="60"/>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52" name="Liechtenstein" descr="© INSCALE GmbH, 05.05.2010&#10;http://www.presentationload.com/">
              <a:extLst>
                <a:ext uri="{FF2B5EF4-FFF2-40B4-BE49-F238E27FC236}">
                  <a16:creationId xmlns:a16="http://schemas.microsoft.com/office/drawing/2014/main" id="{8052D047-4B51-64E9-5150-E1EBD0565381}"/>
                </a:ext>
              </a:extLst>
            </p:cNvPr>
            <p:cNvSpPr>
              <a:spLocks/>
            </p:cNvSpPr>
            <p:nvPr/>
          </p:nvSpPr>
          <p:spPr bwMode="gray">
            <a:xfrm>
              <a:off x="4488877" y="1776125"/>
              <a:ext cx="5929" cy="8894"/>
            </a:xfrm>
            <a:custGeom>
              <a:avLst/>
              <a:gdLst>
                <a:gd name="T0" fmla="*/ 2147483647 w 18"/>
                <a:gd name="T1" fmla="*/ 0 h 24"/>
                <a:gd name="T2" fmla="*/ 2147483647 w 18"/>
                <a:gd name="T3" fmla="*/ 2147483647 h 24"/>
                <a:gd name="T4" fmla="*/ 0 w 18"/>
                <a:gd name="T5" fmla="*/ 2147483647 h 24"/>
                <a:gd name="T6" fmla="*/ 0 w 18"/>
                <a:gd name="T7" fmla="*/ 2147483647 h 24"/>
                <a:gd name="T8" fmla="*/ 2147483647 w 18"/>
                <a:gd name="T9" fmla="*/ 2147483647 h 24"/>
                <a:gd name="T10" fmla="*/ 2147483647 w 18"/>
                <a:gd name="T11" fmla="*/ 0 h 24"/>
                <a:gd name="T12" fmla="*/ 2147483647 w 18"/>
                <a:gd name="T13" fmla="*/ 0 h 24"/>
                <a:gd name="T14" fmla="*/ 0 60000 65536"/>
                <a:gd name="T15" fmla="*/ 0 60000 65536"/>
                <a:gd name="T16" fmla="*/ 0 60000 65536"/>
                <a:gd name="T17" fmla="*/ 0 60000 65536"/>
                <a:gd name="T18" fmla="*/ 0 60000 65536"/>
                <a:gd name="T19" fmla="*/ 0 60000 65536"/>
                <a:gd name="T20" fmla="*/ 0 60000 65536"/>
                <a:gd name="T21" fmla="*/ 0 w 18"/>
                <a:gd name="T22" fmla="*/ 0 h 24"/>
                <a:gd name="T23" fmla="*/ 18 w 18"/>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24">
                  <a:moveTo>
                    <a:pt x="12" y="0"/>
                  </a:moveTo>
                  <a:lnTo>
                    <a:pt x="6" y="6"/>
                  </a:lnTo>
                  <a:lnTo>
                    <a:pt x="0" y="18"/>
                  </a:lnTo>
                  <a:lnTo>
                    <a:pt x="0" y="24"/>
                  </a:lnTo>
                  <a:lnTo>
                    <a:pt x="18" y="24"/>
                  </a:lnTo>
                  <a:lnTo>
                    <a:pt x="18" y="0"/>
                  </a:lnTo>
                  <a:lnTo>
                    <a:pt x="12" y="0"/>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53" name="Libya" descr="© INSCALE GmbH, 05.05.2010&#10;http://www.presentationload.com/">
              <a:extLst>
                <a:ext uri="{FF2B5EF4-FFF2-40B4-BE49-F238E27FC236}">
                  <a16:creationId xmlns:a16="http://schemas.microsoft.com/office/drawing/2014/main" id="{463010F6-A8EC-4770-67FF-B0852A0F457D}"/>
                </a:ext>
              </a:extLst>
            </p:cNvPr>
            <p:cNvSpPr>
              <a:spLocks/>
            </p:cNvSpPr>
            <p:nvPr/>
          </p:nvSpPr>
          <p:spPr bwMode="gray">
            <a:xfrm>
              <a:off x="4485913" y="2203049"/>
              <a:ext cx="416547" cy="420995"/>
            </a:xfrm>
            <a:custGeom>
              <a:avLst/>
              <a:gdLst>
                <a:gd name="T0" fmla="*/ 2147483647 w 1098"/>
                <a:gd name="T1" fmla="*/ 2147483647 h 1110"/>
                <a:gd name="T2" fmla="*/ 2147483647 w 1098"/>
                <a:gd name="T3" fmla="*/ 2147483647 h 1110"/>
                <a:gd name="T4" fmla="*/ 2147483647 w 1098"/>
                <a:gd name="T5" fmla="*/ 2147483647 h 1110"/>
                <a:gd name="T6" fmla="*/ 2147483647 w 1098"/>
                <a:gd name="T7" fmla="*/ 2147483647 h 1110"/>
                <a:gd name="T8" fmla="*/ 2147483647 w 1098"/>
                <a:gd name="T9" fmla="*/ 2147483647 h 1110"/>
                <a:gd name="T10" fmla="*/ 2147483647 w 1098"/>
                <a:gd name="T11" fmla="*/ 2147483647 h 1110"/>
                <a:gd name="T12" fmla="*/ 2147483647 w 1098"/>
                <a:gd name="T13" fmla="*/ 2147483647 h 1110"/>
                <a:gd name="T14" fmla="*/ 2147483647 w 1098"/>
                <a:gd name="T15" fmla="*/ 2147483647 h 1110"/>
                <a:gd name="T16" fmla="*/ 2147483647 w 1098"/>
                <a:gd name="T17" fmla="*/ 2147483647 h 1110"/>
                <a:gd name="T18" fmla="*/ 2147483647 w 1098"/>
                <a:gd name="T19" fmla="*/ 2147483647 h 1110"/>
                <a:gd name="T20" fmla="*/ 2147483647 w 1098"/>
                <a:gd name="T21" fmla="*/ 2147483647 h 1110"/>
                <a:gd name="T22" fmla="*/ 2147483647 w 1098"/>
                <a:gd name="T23" fmla="*/ 2147483647 h 1110"/>
                <a:gd name="T24" fmla="*/ 0 w 1098"/>
                <a:gd name="T25" fmla="*/ 2147483647 h 1110"/>
                <a:gd name="T26" fmla="*/ 2147483647 w 1098"/>
                <a:gd name="T27" fmla="*/ 2147483647 h 1110"/>
                <a:gd name="T28" fmla="*/ 2147483647 w 1098"/>
                <a:gd name="T29" fmla="*/ 2147483647 h 1110"/>
                <a:gd name="T30" fmla="*/ 2147483647 w 1098"/>
                <a:gd name="T31" fmla="*/ 2147483647 h 1110"/>
                <a:gd name="T32" fmla="*/ 2147483647 w 1098"/>
                <a:gd name="T33" fmla="*/ 2147483647 h 1110"/>
                <a:gd name="T34" fmla="*/ 2147483647 w 1098"/>
                <a:gd name="T35" fmla="*/ 2147483647 h 1110"/>
                <a:gd name="T36" fmla="*/ 2147483647 w 1098"/>
                <a:gd name="T37" fmla="*/ 2147483647 h 1110"/>
                <a:gd name="T38" fmla="*/ 2147483647 w 1098"/>
                <a:gd name="T39" fmla="*/ 2147483647 h 1110"/>
                <a:gd name="T40" fmla="*/ 2147483647 w 1098"/>
                <a:gd name="T41" fmla="*/ 2147483647 h 1110"/>
                <a:gd name="T42" fmla="*/ 2147483647 w 1098"/>
                <a:gd name="T43" fmla="*/ 2147483647 h 1110"/>
                <a:gd name="T44" fmla="*/ 2147483647 w 1098"/>
                <a:gd name="T45" fmla="*/ 2147483647 h 1110"/>
                <a:gd name="T46" fmla="*/ 2147483647 w 1098"/>
                <a:gd name="T47" fmla="*/ 2147483647 h 1110"/>
                <a:gd name="T48" fmla="*/ 2147483647 w 1098"/>
                <a:gd name="T49" fmla="*/ 2147483647 h 1110"/>
                <a:gd name="T50" fmla="*/ 2147483647 w 1098"/>
                <a:gd name="T51" fmla="*/ 2147483647 h 1110"/>
                <a:gd name="T52" fmla="*/ 2147483647 w 1098"/>
                <a:gd name="T53" fmla="*/ 2147483647 h 1110"/>
                <a:gd name="T54" fmla="*/ 2147483647 w 1098"/>
                <a:gd name="T55" fmla="*/ 2147483647 h 1110"/>
                <a:gd name="T56" fmla="*/ 2147483647 w 1098"/>
                <a:gd name="T57" fmla="*/ 2147483647 h 1110"/>
                <a:gd name="T58" fmla="*/ 2147483647 w 1098"/>
                <a:gd name="T59" fmla="*/ 2147483647 h 1110"/>
                <a:gd name="T60" fmla="*/ 2147483647 w 1098"/>
                <a:gd name="T61" fmla="*/ 2147483647 h 1110"/>
                <a:gd name="T62" fmla="*/ 2147483647 w 1098"/>
                <a:gd name="T63" fmla="*/ 2147483647 h 1110"/>
                <a:gd name="T64" fmla="*/ 2147483647 w 1098"/>
                <a:gd name="T65" fmla="*/ 2147483647 h 1110"/>
                <a:gd name="T66" fmla="*/ 2147483647 w 1098"/>
                <a:gd name="T67" fmla="*/ 2147483647 h 1110"/>
                <a:gd name="T68" fmla="*/ 2147483647 w 1098"/>
                <a:gd name="T69" fmla="*/ 2147483647 h 1110"/>
                <a:gd name="T70" fmla="*/ 2147483647 w 1098"/>
                <a:gd name="T71" fmla="*/ 2147483647 h 1110"/>
                <a:gd name="T72" fmla="*/ 2147483647 w 1098"/>
                <a:gd name="T73" fmla="*/ 2147483647 h 1110"/>
                <a:gd name="T74" fmla="*/ 2147483647 w 1098"/>
                <a:gd name="T75" fmla="*/ 2147483647 h 1110"/>
                <a:gd name="T76" fmla="*/ 2147483647 w 1098"/>
                <a:gd name="T77" fmla="*/ 2147483647 h 1110"/>
                <a:gd name="T78" fmla="*/ 2147483647 w 1098"/>
                <a:gd name="T79" fmla="*/ 2147483647 h 1110"/>
                <a:gd name="T80" fmla="*/ 2147483647 w 1098"/>
                <a:gd name="T81" fmla="*/ 2147483647 h 1110"/>
                <a:gd name="T82" fmla="*/ 2147483647 w 1098"/>
                <a:gd name="T83" fmla="*/ 2147483647 h 1110"/>
                <a:gd name="T84" fmla="*/ 2147483647 w 1098"/>
                <a:gd name="T85" fmla="*/ 2147483647 h 1110"/>
                <a:gd name="T86" fmla="*/ 2147483647 w 1098"/>
                <a:gd name="T87" fmla="*/ 2147483647 h 1110"/>
                <a:gd name="T88" fmla="*/ 2147483647 w 1098"/>
                <a:gd name="T89" fmla="*/ 2147483647 h 1110"/>
                <a:gd name="T90" fmla="*/ 2147483647 w 1098"/>
                <a:gd name="T91" fmla="*/ 2147483647 h 1110"/>
                <a:gd name="T92" fmla="*/ 2147483647 w 1098"/>
                <a:gd name="T93" fmla="*/ 2147483647 h 1110"/>
                <a:gd name="T94" fmla="*/ 2147483647 w 1098"/>
                <a:gd name="T95" fmla="*/ 2147483647 h 1110"/>
                <a:gd name="T96" fmla="*/ 2147483647 w 1098"/>
                <a:gd name="T97" fmla="*/ 2147483647 h 1110"/>
                <a:gd name="T98" fmla="*/ 2147483647 w 1098"/>
                <a:gd name="T99" fmla="*/ 2147483647 h 1110"/>
                <a:gd name="T100" fmla="*/ 2147483647 w 1098"/>
                <a:gd name="T101" fmla="*/ 2147483647 h 1110"/>
                <a:gd name="T102" fmla="*/ 2147483647 w 1098"/>
                <a:gd name="T103" fmla="*/ 2147483647 h 1110"/>
                <a:gd name="T104" fmla="*/ 2147483647 w 1098"/>
                <a:gd name="T105" fmla="*/ 2147483647 h 1110"/>
                <a:gd name="T106" fmla="*/ 2147483647 w 1098"/>
                <a:gd name="T107" fmla="*/ 2147483647 h 1110"/>
                <a:gd name="T108" fmla="*/ 2147483647 w 1098"/>
                <a:gd name="T109" fmla="*/ 2147483647 h 1110"/>
                <a:gd name="T110" fmla="*/ 2147483647 w 1098"/>
                <a:gd name="T111" fmla="*/ 2147483647 h 1110"/>
                <a:gd name="T112" fmla="*/ 2147483647 w 1098"/>
                <a:gd name="T113" fmla="*/ 2147483647 h 111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98"/>
                <a:gd name="T172" fmla="*/ 0 h 1110"/>
                <a:gd name="T173" fmla="*/ 1098 w 1098"/>
                <a:gd name="T174" fmla="*/ 1110 h 111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98" h="1110">
                  <a:moveTo>
                    <a:pt x="156" y="60"/>
                  </a:moveTo>
                  <a:lnTo>
                    <a:pt x="150" y="66"/>
                  </a:lnTo>
                  <a:lnTo>
                    <a:pt x="126" y="78"/>
                  </a:lnTo>
                  <a:lnTo>
                    <a:pt x="114" y="78"/>
                  </a:lnTo>
                  <a:lnTo>
                    <a:pt x="102" y="84"/>
                  </a:lnTo>
                  <a:lnTo>
                    <a:pt x="96" y="90"/>
                  </a:lnTo>
                  <a:lnTo>
                    <a:pt x="90" y="102"/>
                  </a:lnTo>
                  <a:lnTo>
                    <a:pt x="84" y="108"/>
                  </a:lnTo>
                  <a:lnTo>
                    <a:pt x="78" y="120"/>
                  </a:lnTo>
                  <a:lnTo>
                    <a:pt x="72" y="120"/>
                  </a:lnTo>
                  <a:lnTo>
                    <a:pt x="54" y="138"/>
                  </a:lnTo>
                  <a:lnTo>
                    <a:pt x="54" y="156"/>
                  </a:lnTo>
                  <a:lnTo>
                    <a:pt x="66" y="180"/>
                  </a:lnTo>
                  <a:lnTo>
                    <a:pt x="66" y="204"/>
                  </a:lnTo>
                  <a:lnTo>
                    <a:pt x="36" y="234"/>
                  </a:lnTo>
                  <a:lnTo>
                    <a:pt x="30" y="234"/>
                  </a:lnTo>
                  <a:lnTo>
                    <a:pt x="24" y="240"/>
                  </a:lnTo>
                  <a:lnTo>
                    <a:pt x="12" y="246"/>
                  </a:lnTo>
                  <a:lnTo>
                    <a:pt x="6" y="246"/>
                  </a:lnTo>
                  <a:lnTo>
                    <a:pt x="0" y="252"/>
                  </a:lnTo>
                  <a:lnTo>
                    <a:pt x="12" y="270"/>
                  </a:lnTo>
                  <a:lnTo>
                    <a:pt x="36" y="330"/>
                  </a:lnTo>
                  <a:lnTo>
                    <a:pt x="48" y="354"/>
                  </a:lnTo>
                  <a:lnTo>
                    <a:pt x="48" y="360"/>
                  </a:lnTo>
                  <a:lnTo>
                    <a:pt x="42" y="372"/>
                  </a:lnTo>
                  <a:lnTo>
                    <a:pt x="42" y="402"/>
                  </a:lnTo>
                  <a:lnTo>
                    <a:pt x="36" y="408"/>
                  </a:lnTo>
                  <a:lnTo>
                    <a:pt x="36" y="414"/>
                  </a:lnTo>
                  <a:lnTo>
                    <a:pt x="42" y="432"/>
                  </a:lnTo>
                  <a:lnTo>
                    <a:pt x="30" y="456"/>
                  </a:lnTo>
                  <a:lnTo>
                    <a:pt x="36" y="510"/>
                  </a:lnTo>
                  <a:lnTo>
                    <a:pt x="36" y="516"/>
                  </a:lnTo>
                  <a:lnTo>
                    <a:pt x="42" y="522"/>
                  </a:lnTo>
                  <a:lnTo>
                    <a:pt x="42" y="534"/>
                  </a:lnTo>
                  <a:lnTo>
                    <a:pt x="36" y="546"/>
                  </a:lnTo>
                  <a:lnTo>
                    <a:pt x="30" y="552"/>
                  </a:lnTo>
                  <a:lnTo>
                    <a:pt x="18" y="558"/>
                  </a:lnTo>
                  <a:lnTo>
                    <a:pt x="6" y="558"/>
                  </a:lnTo>
                  <a:lnTo>
                    <a:pt x="0" y="564"/>
                  </a:lnTo>
                  <a:lnTo>
                    <a:pt x="0" y="570"/>
                  </a:lnTo>
                  <a:lnTo>
                    <a:pt x="6" y="582"/>
                  </a:lnTo>
                  <a:lnTo>
                    <a:pt x="18" y="594"/>
                  </a:lnTo>
                  <a:lnTo>
                    <a:pt x="24" y="612"/>
                  </a:lnTo>
                  <a:lnTo>
                    <a:pt x="36" y="624"/>
                  </a:lnTo>
                  <a:lnTo>
                    <a:pt x="42" y="636"/>
                  </a:lnTo>
                  <a:lnTo>
                    <a:pt x="48" y="642"/>
                  </a:lnTo>
                  <a:lnTo>
                    <a:pt x="48" y="684"/>
                  </a:lnTo>
                  <a:lnTo>
                    <a:pt x="72" y="708"/>
                  </a:lnTo>
                  <a:lnTo>
                    <a:pt x="96" y="696"/>
                  </a:lnTo>
                  <a:lnTo>
                    <a:pt x="102" y="696"/>
                  </a:lnTo>
                  <a:lnTo>
                    <a:pt x="138" y="714"/>
                  </a:lnTo>
                  <a:lnTo>
                    <a:pt x="150" y="714"/>
                  </a:lnTo>
                  <a:lnTo>
                    <a:pt x="162" y="726"/>
                  </a:lnTo>
                  <a:lnTo>
                    <a:pt x="162" y="732"/>
                  </a:lnTo>
                  <a:lnTo>
                    <a:pt x="168" y="744"/>
                  </a:lnTo>
                  <a:lnTo>
                    <a:pt x="174" y="762"/>
                  </a:lnTo>
                  <a:lnTo>
                    <a:pt x="180" y="774"/>
                  </a:lnTo>
                  <a:lnTo>
                    <a:pt x="186" y="780"/>
                  </a:lnTo>
                  <a:lnTo>
                    <a:pt x="186" y="786"/>
                  </a:lnTo>
                  <a:lnTo>
                    <a:pt x="222" y="792"/>
                  </a:lnTo>
                  <a:lnTo>
                    <a:pt x="234" y="792"/>
                  </a:lnTo>
                  <a:lnTo>
                    <a:pt x="246" y="798"/>
                  </a:lnTo>
                  <a:lnTo>
                    <a:pt x="258" y="798"/>
                  </a:lnTo>
                  <a:lnTo>
                    <a:pt x="276" y="804"/>
                  </a:lnTo>
                  <a:lnTo>
                    <a:pt x="288" y="810"/>
                  </a:lnTo>
                  <a:lnTo>
                    <a:pt x="294" y="810"/>
                  </a:lnTo>
                  <a:lnTo>
                    <a:pt x="300" y="816"/>
                  </a:lnTo>
                  <a:lnTo>
                    <a:pt x="312" y="822"/>
                  </a:lnTo>
                  <a:lnTo>
                    <a:pt x="318" y="828"/>
                  </a:lnTo>
                  <a:lnTo>
                    <a:pt x="324" y="840"/>
                  </a:lnTo>
                  <a:lnTo>
                    <a:pt x="336" y="846"/>
                  </a:lnTo>
                  <a:lnTo>
                    <a:pt x="342" y="852"/>
                  </a:lnTo>
                  <a:lnTo>
                    <a:pt x="360" y="846"/>
                  </a:lnTo>
                  <a:lnTo>
                    <a:pt x="396" y="828"/>
                  </a:lnTo>
                  <a:lnTo>
                    <a:pt x="456" y="792"/>
                  </a:lnTo>
                  <a:lnTo>
                    <a:pt x="468" y="786"/>
                  </a:lnTo>
                  <a:lnTo>
                    <a:pt x="1026" y="1110"/>
                  </a:lnTo>
                  <a:lnTo>
                    <a:pt x="1026" y="1062"/>
                  </a:lnTo>
                  <a:lnTo>
                    <a:pt x="1098" y="1062"/>
                  </a:lnTo>
                  <a:lnTo>
                    <a:pt x="1098" y="828"/>
                  </a:lnTo>
                  <a:lnTo>
                    <a:pt x="1092" y="750"/>
                  </a:lnTo>
                  <a:lnTo>
                    <a:pt x="1092" y="660"/>
                  </a:lnTo>
                  <a:lnTo>
                    <a:pt x="1086" y="564"/>
                  </a:lnTo>
                  <a:lnTo>
                    <a:pt x="1086" y="468"/>
                  </a:lnTo>
                  <a:lnTo>
                    <a:pt x="1080" y="390"/>
                  </a:lnTo>
                  <a:lnTo>
                    <a:pt x="1080" y="306"/>
                  </a:lnTo>
                  <a:lnTo>
                    <a:pt x="1068" y="270"/>
                  </a:lnTo>
                  <a:lnTo>
                    <a:pt x="1056" y="258"/>
                  </a:lnTo>
                  <a:lnTo>
                    <a:pt x="1050" y="246"/>
                  </a:lnTo>
                  <a:lnTo>
                    <a:pt x="1050" y="240"/>
                  </a:lnTo>
                  <a:lnTo>
                    <a:pt x="1056" y="228"/>
                  </a:lnTo>
                  <a:lnTo>
                    <a:pt x="1062" y="222"/>
                  </a:lnTo>
                  <a:lnTo>
                    <a:pt x="1068" y="210"/>
                  </a:lnTo>
                  <a:lnTo>
                    <a:pt x="1074" y="204"/>
                  </a:lnTo>
                  <a:lnTo>
                    <a:pt x="1074" y="198"/>
                  </a:lnTo>
                  <a:lnTo>
                    <a:pt x="1068" y="186"/>
                  </a:lnTo>
                  <a:lnTo>
                    <a:pt x="1056" y="180"/>
                  </a:lnTo>
                  <a:lnTo>
                    <a:pt x="1056" y="150"/>
                  </a:lnTo>
                  <a:lnTo>
                    <a:pt x="1080" y="126"/>
                  </a:lnTo>
                  <a:lnTo>
                    <a:pt x="1074" y="114"/>
                  </a:lnTo>
                  <a:lnTo>
                    <a:pt x="1074" y="96"/>
                  </a:lnTo>
                  <a:lnTo>
                    <a:pt x="1056" y="102"/>
                  </a:lnTo>
                  <a:lnTo>
                    <a:pt x="1044" y="90"/>
                  </a:lnTo>
                  <a:lnTo>
                    <a:pt x="1032" y="102"/>
                  </a:lnTo>
                  <a:lnTo>
                    <a:pt x="1026" y="102"/>
                  </a:lnTo>
                  <a:lnTo>
                    <a:pt x="1020" y="96"/>
                  </a:lnTo>
                  <a:lnTo>
                    <a:pt x="1008" y="90"/>
                  </a:lnTo>
                  <a:lnTo>
                    <a:pt x="1002" y="84"/>
                  </a:lnTo>
                  <a:lnTo>
                    <a:pt x="990" y="78"/>
                  </a:lnTo>
                  <a:lnTo>
                    <a:pt x="978" y="78"/>
                  </a:lnTo>
                  <a:lnTo>
                    <a:pt x="966" y="84"/>
                  </a:lnTo>
                  <a:lnTo>
                    <a:pt x="954" y="84"/>
                  </a:lnTo>
                  <a:lnTo>
                    <a:pt x="942" y="78"/>
                  </a:lnTo>
                  <a:lnTo>
                    <a:pt x="936" y="72"/>
                  </a:lnTo>
                  <a:lnTo>
                    <a:pt x="936" y="48"/>
                  </a:lnTo>
                  <a:lnTo>
                    <a:pt x="930" y="42"/>
                  </a:lnTo>
                  <a:lnTo>
                    <a:pt x="918" y="36"/>
                  </a:lnTo>
                  <a:lnTo>
                    <a:pt x="882" y="36"/>
                  </a:lnTo>
                  <a:lnTo>
                    <a:pt x="876" y="30"/>
                  </a:lnTo>
                  <a:lnTo>
                    <a:pt x="864" y="30"/>
                  </a:lnTo>
                  <a:lnTo>
                    <a:pt x="852" y="24"/>
                  </a:lnTo>
                  <a:lnTo>
                    <a:pt x="840" y="24"/>
                  </a:lnTo>
                  <a:lnTo>
                    <a:pt x="834" y="30"/>
                  </a:lnTo>
                  <a:lnTo>
                    <a:pt x="834" y="36"/>
                  </a:lnTo>
                  <a:lnTo>
                    <a:pt x="798" y="36"/>
                  </a:lnTo>
                  <a:lnTo>
                    <a:pt x="780" y="42"/>
                  </a:lnTo>
                  <a:lnTo>
                    <a:pt x="768" y="48"/>
                  </a:lnTo>
                  <a:lnTo>
                    <a:pt x="732" y="84"/>
                  </a:lnTo>
                  <a:lnTo>
                    <a:pt x="720" y="108"/>
                  </a:lnTo>
                  <a:lnTo>
                    <a:pt x="720" y="120"/>
                  </a:lnTo>
                  <a:lnTo>
                    <a:pt x="726" y="138"/>
                  </a:lnTo>
                  <a:lnTo>
                    <a:pt x="738" y="150"/>
                  </a:lnTo>
                  <a:lnTo>
                    <a:pt x="744" y="162"/>
                  </a:lnTo>
                  <a:lnTo>
                    <a:pt x="744" y="180"/>
                  </a:lnTo>
                  <a:lnTo>
                    <a:pt x="738" y="192"/>
                  </a:lnTo>
                  <a:lnTo>
                    <a:pt x="714" y="216"/>
                  </a:lnTo>
                  <a:lnTo>
                    <a:pt x="708" y="228"/>
                  </a:lnTo>
                  <a:lnTo>
                    <a:pt x="696" y="234"/>
                  </a:lnTo>
                  <a:lnTo>
                    <a:pt x="666" y="234"/>
                  </a:lnTo>
                  <a:lnTo>
                    <a:pt x="648" y="228"/>
                  </a:lnTo>
                  <a:lnTo>
                    <a:pt x="630" y="216"/>
                  </a:lnTo>
                  <a:lnTo>
                    <a:pt x="612" y="198"/>
                  </a:lnTo>
                  <a:lnTo>
                    <a:pt x="582" y="180"/>
                  </a:lnTo>
                  <a:lnTo>
                    <a:pt x="552" y="168"/>
                  </a:lnTo>
                  <a:lnTo>
                    <a:pt x="528" y="162"/>
                  </a:lnTo>
                  <a:lnTo>
                    <a:pt x="462" y="162"/>
                  </a:lnTo>
                  <a:lnTo>
                    <a:pt x="438" y="150"/>
                  </a:lnTo>
                  <a:lnTo>
                    <a:pt x="426" y="138"/>
                  </a:lnTo>
                  <a:lnTo>
                    <a:pt x="420" y="126"/>
                  </a:lnTo>
                  <a:lnTo>
                    <a:pt x="414" y="108"/>
                  </a:lnTo>
                  <a:lnTo>
                    <a:pt x="414" y="96"/>
                  </a:lnTo>
                  <a:lnTo>
                    <a:pt x="402" y="72"/>
                  </a:lnTo>
                  <a:lnTo>
                    <a:pt x="378" y="60"/>
                  </a:lnTo>
                  <a:lnTo>
                    <a:pt x="366" y="60"/>
                  </a:lnTo>
                  <a:lnTo>
                    <a:pt x="354" y="54"/>
                  </a:lnTo>
                  <a:lnTo>
                    <a:pt x="348" y="48"/>
                  </a:lnTo>
                  <a:lnTo>
                    <a:pt x="324" y="36"/>
                  </a:lnTo>
                  <a:lnTo>
                    <a:pt x="318" y="36"/>
                  </a:lnTo>
                  <a:lnTo>
                    <a:pt x="306" y="30"/>
                  </a:lnTo>
                  <a:lnTo>
                    <a:pt x="264" y="30"/>
                  </a:lnTo>
                  <a:lnTo>
                    <a:pt x="252" y="36"/>
                  </a:lnTo>
                  <a:lnTo>
                    <a:pt x="216" y="36"/>
                  </a:lnTo>
                  <a:lnTo>
                    <a:pt x="192" y="24"/>
                  </a:lnTo>
                  <a:lnTo>
                    <a:pt x="180" y="12"/>
                  </a:lnTo>
                  <a:lnTo>
                    <a:pt x="168" y="6"/>
                  </a:lnTo>
                  <a:lnTo>
                    <a:pt x="150" y="6"/>
                  </a:lnTo>
                  <a:lnTo>
                    <a:pt x="144" y="0"/>
                  </a:lnTo>
                  <a:lnTo>
                    <a:pt x="138" y="42"/>
                  </a:lnTo>
                  <a:lnTo>
                    <a:pt x="144" y="42"/>
                  </a:lnTo>
                  <a:lnTo>
                    <a:pt x="156" y="54"/>
                  </a:lnTo>
                  <a:lnTo>
                    <a:pt x="156" y="60"/>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54" name="Liberia" descr="© INSCALE GmbH, 05.05.2010&#10;http://www.presentationload.com/">
              <a:extLst>
                <a:ext uri="{FF2B5EF4-FFF2-40B4-BE49-F238E27FC236}">
                  <a16:creationId xmlns:a16="http://schemas.microsoft.com/office/drawing/2014/main" id="{5ABFDE7B-2EE1-94DC-F291-C2819539DEDE}"/>
                </a:ext>
              </a:extLst>
            </p:cNvPr>
            <p:cNvSpPr>
              <a:spLocks/>
            </p:cNvSpPr>
            <p:nvPr/>
          </p:nvSpPr>
          <p:spPr bwMode="gray">
            <a:xfrm>
              <a:off x="3918164" y="2956098"/>
              <a:ext cx="117108" cy="130449"/>
            </a:xfrm>
            <a:custGeom>
              <a:avLst/>
              <a:gdLst>
                <a:gd name="T0" fmla="*/ 2147483647 w 312"/>
                <a:gd name="T1" fmla="*/ 2147483647 h 342"/>
                <a:gd name="T2" fmla="*/ 2147483647 w 312"/>
                <a:gd name="T3" fmla="*/ 2147483647 h 342"/>
                <a:gd name="T4" fmla="*/ 2147483647 w 312"/>
                <a:gd name="T5" fmla="*/ 2147483647 h 342"/>
                <a:gd name="T6" fmla="*/ 2147483647 w 312"/>
                <a:gd name="T7" fmla="*/ 2147483647 h 342"/>
                <a:gd name="T8" fmla="*/ 2147483647 w 312"/>
                <a:gd name="T9" fmla="*/ 2147483647 h 342"/>
                <a:gd name="T10" fmla="*/ 2147483647 w 312"/>
                <a:gd name="T11" fmla="*/ 2147483647 h 342"/>
                <a:gd name="T12" fmla="*/ 2147483647 w 312"/>
                <a:gd name="T13" fmla="*/ 2147483647 h 342"/>
                <a:gd name="T14" fmla="*/ 2147483647 w 312"/>
                <a:gd name="T15" fmla="*/ 2147483647 h 342"/>
                <a:gd name="T16" fmla="*/ 2147483647 w 312"/>
                <a:gd name="T17" fmla="*/ 2147483647 h 342"/>
                <a:gd name="T18" fmla="*/ 2147483647 w 312"/>
                <a:gd name="T19" fmla="*/ 2147483647 h 342"/>
                <a:gd name="T20" fmla="*/ 2147483647 w 312"/>
                <a:gd name="T21" fmla="*/ 2147483647 h 342"/>
                <a:gd name="T22" fmla="*/ 2147483647 w 312"/>
                <a:gd name="T23" fmla="*/ 2147483647 h 342"/>
                <a:gd name="T24" fmla="*/ 2147483647 w 312"/>
                <a:gd name="T25" fmla="*/ 2147483647 h 342"/>
                <a:gd name="T26" fmla="*/ 2147483647 w 312"/>
                <a:gd name="T27" fmla="*/ 2147483647 h 342"/>
                <a:gd name="T28" fmla="*/ 2147483647 w 312"/>
                <a:gd name="T29" fmla="*/ 2147483647 h 342"/>
                <a:gd name="T30" fmla="*/ 2147483647 w 312"/>
                <a:gd name="T31" fmla="*/ 2147483647 h 342"/>
                <a:gd name="T32" fmla="*/ 2147483647 w 312"/>
                <a:gd name="T33" fmla="*/ 2147483647 h 342"/>
                <a:gd name="T34" fmla="*/ 2147483647 w 312"/>
                <a:gd name="T35" fmla="*/ 2147483647 h 342"/>
                <a:gd name="T36" fmla="*/ 2147483647 w 312"/>
                <a:gd name="T37" fmla="*/ 2147483647 h 342"/>
                <a:gd name="T38" fmla="*/ 2147483647 w 312"/>
                <a:gd name="T39" fmla="*/ 2147483647 h 342"/>
                <a:gd name="T40" fmla="*/ 2147483647 w 312"/>
                <a:gd name="T41" fmla="*/ 2147483647 h 342"/>
                <a:gd name="T42" fmla="*/ 2147483647 w 312"/>
                <a:gd name="T43" fmla="*/ 2147483647 h 342"/>
                <a:gd name="T44" fmla="*/ 2147483647 w 312"/>
                <a:gd name="T45" fmla="*/ 2147483647 h 342"/>
                <a:gd name="T46" fmla="*/ 2147483647 w 312"/>
                <a:gd name="T47" fmla="*/ 2147483647 h 342"/>
                <a:gd name="T48" fmla="*/ 2147483647 w 312"/>
                <a:gd name="T49" fmla="*/ 2147483647 h 342"/>
                <a:gd name="T50" fmla="*/ 2147483647 w 312"/>
                <a:gd name="T51" fmla="*/ 0 h 342"/>
                <a:gd name="T52" fmla="*/ 2147483647 w 312"/>
                <a:gd name="T53" fmla="*/ 0 h 342"/>
                <a:gd name="T54" fmla="*/ 2147483647 w 312"/>
                <a:gd name="T55" fmla="*/ 2147483647 h 342"/>
                <a:gd name="T56" fmla="*/ 2147483647 w 312"/>
                <a:gd name="T57" fmla="*/ 2147483647 h 342"/>
                <a:gd name="T58" fmla="*/ 2147483647 w 312"/>
                <a:gd name="T59" fmla="*/ 2147483647 h 342"/>
                <a:gd name="T60" fmla="*/ 2147483647 w 312"/>
                <a:gd name="T61" fmla="*/ 2147483647 h 342"/>
                <a:gd name="T62" fmla="*/ 2147483647 w 312"/>
                <a:gd name="T63" fmla="*/ 2147483647 h 342"/>
                <a:gd name="T64" fmla="*/ 2147483647 w 312"/>
                <a:gd name="T65" fmla="*/ 2147483647 h 342"/>
                <a:gd name="T66" fmla="*/ 2147483647 w 312"/>
                <a:gd name="T67" fmla="*/ 2147483647 h 342"/>
                <a:gd name="T68" fmla="*/ 2147483647 w 312"/>
                <a:gd name="T69" fmla="*/ 2147483647 h 342"/>
                <a:gd name="T70" fmla="*/ 2147483647 w 312"/>
                <a:gd name="T71" fmla="*/ 2147483647 h 342"/>
                <a:gd name="T72" fmla="*/ 2147483647 w 312"/>
                <a:gd name="T73" fmla="*/ 2147483647 h 342"/>
                <a:gd name="T74" fmla="*/ 2147483647 w 312"/>
                <a:gd name="T75" fmla="*/ 2147483647 h 342"/>
                <a:gd name="T76" fmla="*/ 2147483647 w 312"/>
                <a:gd name="T77" fmla="*/ 2147483647 h 342"/>
                <a:gd name="T78" fmla="*/ 0 w 312"/>
                <a:gd name="T79" fmla="*/ 2147483647 h 342"/>
                <a:gd name="T80" fmla="*/ 2147483647 w 312"/>
                <a:gd name="T81" fmla="*/ 2147483647 h 342"/>
                <a:gd name="T82" fmla="*/ 2147483647 w 312"/>
                <a:gd name="T83" fmla="*/ 2147483647 h 342"/>
                <a:gd name="T84" fmla="*/ 2147483647 w 312"/>
                <a:gd name="T85" fmla="*/ 2147483647 h 342"/>
                <a:gd name="T86" fmla="*/ 2147483647 w 312"/>
                <a:gd name="T87" fmla="*/ 2147483647 h 342"/>
                <a:gd name="T88" fmla="*/ 2147483647 w 312"/>
                <a:gd name="T89" fmla="*/ 2147483647 h 342"/>
                <a:gd name="T90" fmla="*/ 2147483647 w 312"/>
                <a:gd name="T91" fmla="*/ 2147483647 h 342"/>
                <a:gd name="T92" fmla="*/ 2147483647 w 312"/>
                <a:gd name="T93" fmla="*/ 2147483647 h 342"/>
                <a:gd name="T94" fmla="*/ 2147483647 w 312"/>
                <a:gd name="T95" fmla="*/ 2147483647 h 342"/>
                <a:gd name="T96" fmla="*/ 2147483647 w 312"/>
                <a:gd name="T97" fmla="*/ 2147483647 h 342"/>
                <a:gd name="T98" fmla="*/ 2147483647 w 312"/>
                <a:gd name="T99" fmla="*/ 2147483647 h 342"/>
                <a:gd name="T100" fmla="*/ 2147483647 w 312"/>
                <a:gd name="T101" fmla="*/ 2147483647 h 342"/>
                <a:gd name="T102" fmla="*/ 2147483647 w 312"/>
                <a:gd name="T103" fmla="*/ 2147483647 h 342"/>
                <a:gd name="T104" fmla="*/ 2147483647 w 312"/>
                <a:gd name="T105" fmla="*/ 2147483647 h 342"/>
                <a:gd name="T106" fmla="*/ 2147483647 w 312"/>
                <a:gd name="T107" fmla="*/ 2147483647 h 342"/>
                <a:gd name="T108" fmla="*/ 2147483647 w 312"/>
                <a:gd name="T109" fmla="*/ 2147483647 h 342"/>
                <a:gd name="T110" fmla="*/ 2147483647 w 312"/>
                <a:gd name="T111" fmla="*/ 2147483647 h 342"/>
                <a:gd name="T112" fmla="*/ 2147483647 w 312"/>
                <a:gd name="T113" fmla="*/ 2147483647 h 342"/>
                <a:gd name="T114" fmla="*/ 2147483647 w 312"/>
                <a:gd name="T115" fmla="*/ 2147483647 h 342"/>
                <a:gd name="T116" fmla="*/ 2147483647 w 312"/>
                <a:gd name="T117" fmla="*/ 2147483647 h 342"/>
                <a:gd name="T118" fmla="*/ 2147483647 w 312"/>
                <a:gd name="T119" fmla="*/ 2147483647 h 342"/>
                <a:gd name="T120" fmla="*/ 2147483647 w 312"/>
                <a:gd name="T121" fmla="*/ 2147483647 h 34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12"/>
                <a:gd name="T184" fmla="*/ 0 h 342"/>
                <a:gd name="T185" fmla="*/ 312 w 312"/>
                <a:gd name="T186" fmla="*/ 342 h 34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12" h="342">
                  <a:moveTo>
                    <a:pt x="312" y="252"/>
                  </a:moveTo>
                  <a:lnTo>
                    <a:pt x="312" y="240"/>
                  </a:lnTo>
                  <a:lnTo>
                    <a:pt x="282" y="210"/>
                  </a:lnTo>
                  <a:lnTo>
                    <a:pt x="282" y="180"/>
                  </a:lnTo>
                  <a:lnTo>
                    <a:pt x="246" y="186"/>
                  </a:lnTo>
                  <a:lnTo>
                    <a:pt x="246" y="174"/>
                  </a:lnTo>
                  <a:lnTo>
                    <a:pt x="228" y="174"/>
                  </a:lnTo>
                  <a:lnTo>
                    <a:pt x="222" y="168"/>
                  </a:lnTo>
                  <a:lnTo>
                    <a:pt x="228" y="156"/>
                  </a:lnTo>
                  <a:lnTo>
                    <a:pt x="240" y="150"/>
                  </a:lnTo>
                  <a:lnTo>
                    <a:pt x="246" y="132"/>
                  </a:lnTo>
                  <a:lnTo>
                    <a:pt x="246" y="108"/>
                  </a:lnTo>
                  <a:lnTo>
                    <a:pt x="228" y="72"/>
                  </a:lnTo>
                  <a:lnTo>
                    <a:pt x="222" y="72"/>
                  </a:lnTo>
                  <a:lnTo>
                    <a:pt x="216" y="78"/>
                  </a:lnTo>
                  <a:lnTo>
                    <a:pt x="210" y="90"/>
                  </a:lnTo>
                  <a:lnTo>
                    <a:pt x="210" y="102"/>
                  </a:lnTo>
                  <a:lnTo>
                    <a:pt x="198" y="114"/>
                  </a:lnTo>
                  <a:lnTo>
                    <a:pt x="192" y="114"/>
                  </a:lnTo>
                  <a:lnTo>
                    <a:pt x="180" y="102"/>
                  </a:lnTo>
                  <a:lnTo>
                    <a:pt x="180" y="96"/>
                  </a:lnTo>
                  <a:lnTo>
                    <a:pt x="168" y="96"/>
                  </a:lnTo>
                  <a:lnTo>
                    <a:pt x="168" y="36"/>
                  </a:lnTo>
                  <a:lnTo>
                    <a:pt x="162" y="18"/>
                  </a:lnTo>
                  <a:lnTo>
                    <a:pt x="150" y="6"/>
                  </a:lnTo>
                  <a:lnTo>
                    <a:pt x="138" y="0"/>
                  </a:lnTo>
                  <a:lnTo>
                    <a:pt x="132" y="0"/>
                  </a:lnTo>
                  <a:lnTo>
                    <a:pt x="126" y="6"/>
                  </a:lnTo>
                  <a:lnTo>
                    <a:pt x="126" y="18"/>
                  </a:lnTo>
                  <a:lnTo>
                    <a:pt x="102" y="12"/>
                  </a:lnTo>
                  <a:lnTo>
                    <a:pt x="108" y="36"/>
                  </a:lnTo>
                  <a:lnTo>
                    <a:pt x="84" y="42"/>
                  </a:lnTo>
                  <a:lnTo>
                    <a:pt x="84" y="60"/>
                  </a:lnTo>
                  <a:lnTo>
                    <a:pt x="78" y="72"/>
                  </a:lnTo>
                  <a:lnTo>
                    <a:pt x="66" y="78"/>
                  </a:lnTo>
                  <a:lnTo>
                    <a:pt x="54" y="90"/>
                  </a:lnTo>
                  <a:lnTo>
                    <a:pt x="42" y="96"/>
                  </a:lnTo>
                  <a:lnTo>
                    <a:pt x="24" y="114"/>
                  </a:lnTo>
                  <a:lnTo>
                    <a:pt x="24" y="150"/>
                  </a:lnTo>
                  <a:lnTo>
                    <a:pt x="0" y="126"/>
                  </a:lnTo>
                  <a:lnTo>
                    <a:pt x="36" y="162"/>
                  </a:lnTo>
                  <a:lnTo>
                    <a:pt x="60" y="162"/>
                  </a:lnTo>
                  <a:lnTo>
                    <a:pt x="72" y="192"/>
                  </a:lnTo>
                  <a:lnTo>
                    <a:pt x="102" y="192"/>
                  </a:lnTo>
                  <a:lnTo>
                    <a:pt x="108" y="198"/>
                  </a:lnTo>
                  <a:lnTo>
                    <a:pt x="120" y="222"/>
                  </a:lnTo>
                  <a:lnTo>
                    <a:pt x="132" y="240"/>
                  </a:lnTo>
                  <a:lnTo>
                    <a:pt x="150" y="252"/>
                  </a:lnTo>
                  <a:lnTo>
                    <a:pt x="162" y="270"/>
                  </a:lnTo>
                  <a:lnTo>
                    <a:pt x="180" y="282"/>
                  </a:lnTo>
                  <a:lnTo>
                    <a:pt x="198" y="288"/>
                  </a:lnTo>
                  <a:lnTo>
                    <a:pt x="210" y="294"/>
                  </a:lnTo>
                  <a:lnTo>
                    <a:pt x="228" y="300"/>
                  </a:lnTo>
                  <a:lnTo>
                    <a:pt x="258" y="330"/>
                  </a:lnTo>
                  <a:lnTo>
                    <a:pt x="294" y="342"/>
                  </a:lnTo>
                  <a:lnTo>
                    <a:pt x="300" y="342"/>
                  </a:lnTo>
                  <a:lnTo>
                    <a:pt x="300" y="294"/>
                  </a:lnTo>
                  <a:lnTo>
                    <a:pt x="306" y="288"/>
                  </a:lnTo>
                  <a:lnTo>
                    <a:pt x="306" y="276"/>
                  </a:lnTo>
                  <a:lnTo>
                    <a:pt x="312" y="264"/>
                  </a:lnTo>
                  <a:lnTo>
                    <a:pt x="312" y="252"/>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55" name="Lesotho" descr="© INSCALE GmbH, 05.05.2010&#10;http://www.presentationload.com/">
              <a:extLst>
                <a:ext uri="{FF2B5EF4-FFF2-40B4-BE49-F238E27FC236}">
                  <a16:creationId xmlns:a16="http://schemas.microsoft.com/office/drawing/2014/main" id="{70B39D6B-8B2C-8F77-6E24-9DC342EF4895}"/>
                </a:ext>
              </a:extLst>
            </p:cNvPr>
            <p:cNvSpPr>
              <a:spLocks/>
            </p:cNvSpPr>
            <p:nvPr/>
          </p:nvSpPr>
          <p:spPr bwMode="gray">
            <a:xfrm>
              <a:off x="4945448" y="4093082"/>
              <a:ext cx="63743" cy="62260"/>
            </a:xfrm>
            <a:custGeom>
              <a:avLst/>
              <a:gdLst>
                <a:gd name="T0" fmla="*/ 0 w 168"/>
                <a:gd name="T1" fmla="*/ 2147483647 h 162"/>
                <a:gd name="T2" fmla="*/ 2147483647 w 168"/>
                <a:gd name="T3" fmla="*/ 2147483647 h 162"/>
                <a:gd name="T4" fmla="*/ 2147483647 w 168"/>
                <a:gd name="T5" fmla="*/ 2147483647 h 162"/>
                <a:gd name="T6" fmla="*/ 2147483647 w 168"/>
                <a:gd name="T7" fmla="*/ 2147483647 h 162"/>
                <a:gd name="T8" fmla="*/ 2147483647 w 168"/>
                <a:gd name="T9" fmla="*/ 2147483647 h 162"/>
                <a:gd name="T10" fmla="*/ 2147483647 w 168"/>
                <a:gd name="T11" fmla="*/ 2147483647 h 162"/>
                <a:gd name="T12" fmla="*/ 2147483647 w 168"/>
                <a:gd name="T13" fmla="*/ 2147483647 h 162"/>
                <a:gd name="T14" fmla="*/ 2147483647 w 168"/>
                <a:gd name="T15" fmla="*/ 2147483647 h 162"/>
                <a:gd name="T16" fmla="*/ 2147483647 w 168"/>
                <a:gd name="T17" fmla="*/ 2147483647 h 162"/>
                <a:gd name="T18" fmla="*/ 2147483647 w 168"/>
                <a:gd name="T19" fmla="*/ 2147483647 h 162"/>
                <a:gd name="T20" fmla="*/ 2147483647 w 168"/>
                <a:gd name="T21" fmla="*/ 2147483647 h 162"/>
                <a:gd name="T22" fmla="*/ 2147483647 w 168"/>
                <a:gd name="T23" fmla="*/ 2147483647 h 162"/>
                <a:gd name="T24" fmla="*/ 2147483647 w 168"/>
                <a:gd name="T25" fmla="*/ 2147483647 h 162"/>
                <a:gd name="T26" fmla="*/ 2147483647 w 168"/>
                <a:gd name="T27" fmla="*/ 2147483647 h 162"/>
                <a:gd name="T28" fmla="*/ 2147483647 w 168"/>
                <a:gd name="T29" fmla="*/ 2147483647 h 162"/>
                <a:gd name="T30" fmla="*/ 2147483647 w 168"/>
                <a:gd name="T31" fmla="*/ 2147483647 h 162"/>
                <a:gd name="T32" fmla="*/ 2147483647 w 168"/>
                <a:gd name="T33" fmla="*/ 2147483647 h 162"/>
                <a:gd name="T34" fmla="*/ 2147483647 w 168"/>
                <a:gd name="T35" fmla="*/ 2147483647 h 162"/>
                <a:gd name="T36" fmla="*/ 2147483647 w 168"/>
                <a:gd name="T37" fmla="*/ 2147483647 h 162"/>
                <a:gd name="T38" fmla="*/ 2147483647 w 168"/>
                <a:gd name="T39" fmla="*/ 2147483647 h 162"/>
                <a:gd name="T40" fmla="*/ 2147483647 w 168"/>
                <a:gd name="T41" fmla="*/ 2147483647 h 162"/>
                <a:gd name="T42" fmla="*/ 2147483647 w 168"/>
                <a:gd name="T43" fmla="*/ 0 h 162"/>
                <a:gd name="T44" fmla="*/ 2147483647 w 168"/>
                <a:gd name="T45" fmla="*/ 0 h 162"/>
                <a:gd name="T46" fmla="*/ 2147483647 w 168"/>
                <a:gd name="T47" fmla="*/ 2147483647 h 162"/>
                <a:gd name="T48" fmla="*/ 2147483647 w 168"/>
                <a:gd name="T49" fmla="*/ 2147483647 h 162"/>
                <a:gd name="T50" fmla="*/ 2147483647 w 168"/>
                <a:gd name="T51" fmla="*/ 2147483647 h 162"/>
                <a:gd name="T52" fmla="*/ 2147483647 w 168"/>
                <a:gd name="T53" fmla="*/ 2147483647 h 162"/>
                <a:gd name="T54" fmla="*/ 2147483647 w 168"/>
                <a:gd name="T55" fmla="*/ 2147483647 h 162"/>
                <a:gd name="T56" fmla="*/ 2147483647 w 168"/>
                <a:gd name="T57" fmla="*/ 2147483647 h 162"/>
                <a:gd name="T58" fmla="*/ 2147483647 w 168"/>
                <a:gd name="T59" fmla="*/ 2147483647 h 162"/>
                <a:gd name="T60" fmla="*/ 0 w 168"/>
                <a:gd name="T61" fmla="*/ 2147483647 h 16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68"/>
                <a:gd name="T94" fmla="*/ 0 h 162"/>
                <a:gd name="T95" fmla="*/ 168 w 168"/>
                <a:gd name="T96" fmla="*/ 162 h 16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68" h="162">
                  <a:moveTo>
                    <a:pt x="0" y="78"/>
                  </a:moveTo>
                  <a:lnTo>
                    <a:pt x="24" y="114"/>
                  </a:lnTo>
                  <a:lnTo>
                    <a:pt x="24" y="132"/>
                  </a:lnTo>
                  <a:lnTo>
                    <a:pt x="54" y="162"/>
                  </a:lnTo>
                  <a:lnTo>
                    <a:pt x="72" y="162"/>
                  </a:lnTo>
                  <a:lnTo>
                    <a:pt x="72" y="150"/>
                  </a:lnTo>
                  <a:lnTo>
                    <a:pt x="78" y="144"/>
                  </a:lnTo>
                  <a:lnTo>
                    <a:pt x="84" y="132"/>
                  </a:lnTo>
                  <a:lnTo>
                    <a:pt x="90" y="126"/>
                  </a:lnTo>
                  <a:lnTo>
                    <a:pt x="102" y="120"/>
                  </a:lnTo>
                  <a:lnTo>
                    <a:pt x="120" y="120"/>
                  </a:lnTo>
                  <a:lnTo>
                    <a:pt x="132" y="114"/>
                  </a:lnTo>
                  <a:lnTo>
                    <a:pt x="138" y="108"/>
                  </a:lnTo>
                  <a:lnTo>
                    <a:pt x="150" y="102"/>
                  </a:lnTo>
                  <a:lnTo>
                    <a:pt x="144" y="84"/>
                  </a:lnTo>
                  <a:lnTo>
                    <a:pt x="168" y="66"/>
                  </a:lnTo>
                  <a:lnTo>
                    <a:pt x="162" y="42"/>
                  </a:lnTo>
                  <a:lnTo>
                    <a:pt x="150" y="36"/>
                  </a:lnTo>
                  <a:lnTo>
                    <a:pt x="144" y="24"/>
                  </a:lnTo>
                  <a:lnTo>
                    <a:pt x="138" y="18"/>
                  </a:lnTo>
                  <a:lnTo>
                    <a:pt x="132" y="6"/>
                  </a:lnTo>
                  <a:lnTo>
                    <a:pt x="126" y="0"/>
                  </a:lnTo>
                  <a:lnTo>
                    <a:pt x="90" y="0"/>
                  </a:lnTo>
                  <a:lnTo>
                    <a:pt x="78" y="6"/>
                  </a:lnTo>
                  <a:lnTo>
                    <a:pt x="78" y="18"/>
                  </a:lnTo>
                  <a:lnTo>
                    <a:pt x="54" y="18"/>
                  </a:lnTo>
                  <a:lnTo>
                    <a:pt x="48" y="24"/>
                  </a:lnTo>
                  <a:lnTo>
                    <a:pt x="48" y="42"/>
                  </a:lnTo>
                  <a:lnTo>
                    <a:pt x="30" y="60"/>
                  </a:lnTo>
                  <a:lnTo>
                    <a:pt x="24" y="78"/>
                  </a:lnTo>
                  <a:lnTo>
                    <a:pt x="0" y="78"/>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56" name="Lebanon" descr="© INSCALE GmbH, 05.05.2010&#10;http://www.presentationload.com/">
              <a:extLst>
                <a:ext uri="{FF2B5EF4-FFF2-40B4-BE49-F238E27FC236}">
                  <a16:creationId xmlns:a16="http://schemas.microsoft.com/office/drawing/2014/main" id="{61517466-59BF-FF8A-460D-61F43B99CAFA}"/>
                </a:ext>
              </a:extLst>
            </p:cNvPr>
            <p:cNvSpPr>
              <a:spLocks/>
            </p:cNvSpPr>
            <p:nvPr/>
          </p:nvSpPr>
          <p:spPr bwMode="gray">
            <a:xfrm>
              <a:off x="5141121" y="2160060"/>
              <a:ext cx="41506" cy="59295"/>
            </a:xfrm>
            <a:custGeom>
              <a:avLst/>
              <a:gdLst>
                <a:gd name="T0" fmla="*/ 2147483647 w 108"/>
                <a:gd name="T1" fmla="*/ 2147483647 h 156"/>
                <a:gd name="T2" fmla="*/ 2147483647 w 108"/>
                <a:gd name="T3" fmla="*/ 2147483647 h 156"/>
                <a:gd name="T4" fmla="*/ 2147483647 w 108"/>
                <a:gd name="T5" fmla="*/ 2147483647 h 156"/>
                <a:gd name="T6" fmla="*/ 2147483647 w 108"/>
                <a:gd name="T7" fmla="*/ 2147483647 h 156"/>
                <a:gd name="T8" fmla="*/ 2147483647 w 108"/>
                <a:gd name="T9" fmla="*/ 2147483647 h 156"/>
                <a:gd name="T10" fmla="*/ 2147483647 w 108"/>
                <a:gd name="T11" fmla="*/ 2147483647 h 156"/>
                <a:gd name="T12" fmla="*/ 2147483647 w 108"/>
                <a:gd name="T13" fmla="*/ 2147483647 h 156"/>
                <a:gd name="T14" fmla="*/ 2147483647 w 108"/>
                <a:gd name="T15" fmla="*/ 2147483647 h 156"/>
                <a:gd name="T16" fmla="*/ 2147483647 w 108"/>
                <a:gd name="T17" fmla="*/ 2147483647 h 156"/>
                <a:gd name="T18" fmla="*/ 2147483647 w 108"/>
                <a:gd name="T19" fmla="*/ 2147483647 h 156"/>
                <a:gd name="T20" fmla="*/ 2147483647 w 108"/>
                <a:gd name="T21" fmla="*/ 0 h 156"/>
                <a:gd name="T22" fmla="*/ 2147483647 w 108"/>
                <a:gd name="T23" fmla="*/ 0 h 156"/>
                <a:gd name="T24" fmla="*/ 2147483647 w 108"/>
                <a:gd name="T25" fmla="*/ 0 h 156"/>
                <a:gd name="T26" fmla="*/ 2147483647 w 108"/>
                <a:gd name="T27" fmla="*/ 2147483647 h 156"/>
                <a:gd name="T28" fmla="*/ 2147483647 w 108"/>
                <a:gd name="T29" fmla="*/ 2147483647 h 156"/>
                <a:gd name="T30" fmla="*/ 2147483647 w 108"/>
                <a:gd name="T31" fmla="*/ 2147483647 h 156"/>
                <a:gd name="T32" fmla="*/ 2147483647 w 108"/>
                <a:gd name="T33" fmla="*/ 2147483647 h 156"/>
                <a:gd name="T34" fmla="*/ 2147483647 w 108"/>
                <a:gd name="T35" fmla="*/ 2147483647 h 156"/>
                <a:gd name="T36" fmla="*/ 2147483647 w 108"/>
                <a:gd name="T37" fmla="*/ 2147483647 h 156"/>
                <a:gd name="T38" fmla="*/ 2147483647 w 108"/>
                <a:gd name="T39" fmla="*/ 2147483647 h 156"/>
                <a:gd name="T40" fmla="*/ 2147483647 w 108"/>
                <a:gd name="T41" fmla="*/ 2147483647 h 156"/>
                <a:gd name="T42" fmla="*/ 0 w 108"/>
                <a:gd name="T43" fmla="*/ 2147483647 h 156"/>
                <a:gd name="T44" fmla="*/ 0 w 108"/>
                <a:gd name="T45" fmla="*/ 2147483647 h 156"/>
                <a:gd name="T46" fmla="*/ 2147483647 w 108"/>
                <a:gd name="T47" fmla="*/ 2147483647 h 156"/>
                <a:gd name="T48" fmla="*/ 2147483647 w 108"/>
                <a:gd name="T49" fmla="*/ 2147483647 h 156"/>
                <a:gd name="T50" fmla="*/ 2147483647 w 108"/>
                <a:gd name="T51" fmla="*/ 2147483647 h 156"/>
                <a:gd name="T52" fmla="*/ 2147483647 w 108"/>
                <a:gd name="T53" fmla="*/ 2147483647 h 156"/>
                <a:gd name="T54" fmla="*/ 2147483647 w 108"/>
                <a:gd name="T55" fmla="*/ 2147483647 h 156"/>
                <a:gd name="T56" fmla="*/ 2147483647 w 108"/>
                <a:gd name="T57" fmla="*/ 2147483647 h 156"/>
                <a:gd name="T58" fmla="*/ 2147483647 w 108"/>
                <a:gd name="T59" fmla="*/ 2147483647 h 156"/>
                <a:gd name="T60" fmla="*/ 2147483647 w 108"/>
                <a:gd name="T61" fmla="*/ 2147483647 h 15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8"/>
                <a:gd name="T94" fmla="*/ 0 h 156"/>
                <a:gd name="T95" fmla="*/ 108 w 108"/>
                <a:gd name="T96" fmla="*/ 156 h 15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8" h="156">
                  <a:moveTo>
                    <a:pt x="72" y="96"/>
                  </a:moveTo>
                  <a:lnTo>
                    <a:pt x="72" y="72"/>
                  </a:lnTo>
                  <a:lnTo>
                    <a:pt x="78" y="66"/>
                  </a:lnTo>
                  <a:lnTo>
                    <a:pt x="84" y="66"/>
                  </a:lnTo>
                  <a:lnTo>
                    <a:pt x="96" y="60"/>
                  </a:lnTo>
                  <a:lnTo>
                    <a:pt x="102" y="60"/>
                  </a:lnTo>
                  <a:lnTo>
                    <a:pt x="108" y="48"/>
                  </a:lnTo>
                  <a:lnTo>
                    <a:pt x="108" y="30"/>
                  </a:lnTo>
                  <a:lnTo>
                    <a:pt x="102" y="18"/>
                  </a:lnTo>
                  <a:lnTo>
                    <a:pt x="96" y="12"/>
                  </a:lnTo>
                  <a:lnTo>
                    <a:pt x="102" y="0"/>
                  </a:lnTo>
                  <a:lnTo>
                    <a:pt x="54" y="0"/>
                  </a:lnTo>
                  <a:lnTo>
                    <a:pt x="60" y="0"/>
                  </a:lnTo>
                  <a:lnTo>
                    <a:pt x="60" y="6"/>
                  </a:lnTo>
                  <a:lnTo>
                    <a:pt x="54" y="6"/>
                  </a:lnTo>
                  <a:lnTo>
                    <a:pt x="48" y="18"/>
                  </a:lnTo>
                  <a:lnTo>
                    <a:pt x="36" y="24"/>
                  </a:lnTo>
                  <a:lnTo>
                    <a:pt x="30" y="30"/>
                  </a:lnTo>
                  <a:lnTo>
                    <a:pt x="18" y="66"/>
                  </a:lnTo>
                  <a:lnTo>
                    <a:pt x="12" y="78"/>
                  </a:lnTo>
                  <a:lnTo>
                    <a:pt x="12" y="90"/>
                  </a:lnTo>
                  <a:lnTo>
                    <a:pt x="0" y="114"/>
                  </a:lnTo>
                  <a:lnTo>
                    <a:pt x="0" y="156"/>
                  </a:lnTo>
                  <a:lnTo>
                    <a:pt x="12" y="150"/>
                  </a:lnTo>
                  <a:lnTo>
                    <a:pt x="24" y="126"/>
                  </a:lnTo>
                  <a:lnTo>
                    <a:pt x="30" y="132"/>
                  </a:lnTo>
                  <a:lnTo>
                    <a:pt x="36" y="132"/>
                  </a:lnTo>
                  <a:lnTo>
                    <a:pt x="42" y="126"/>
                  </a:lnTo>
                  <a:lnTo>
                    <a:pt x="48" y="114"/>
                  </a:lnTo>
                  <a:lnTo>
                    <a:pt x="48" y="102"/>
                  </a:lnTo>
                  <a:lnTo>
                    <a:pt x="72" y="96"/>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57" name="Latvia" descr="© INSCALE GmbH, 05.05.2010&#10;http://www.presentationload.com/">
              <a:extLst>
                <a:ext uri="{FF2B5EF4-FFF2-40B4-BE49-F238E27FC236}">
                  <a16:creationId xmlns:a16="http://schemas.microsoft.com/office/drawing/2014/main" id="{127049B2-A69A-1B79-C637-E63EBE52259C}"/>
                </a:ext>
              </a:extLst>
            </p:cNvPr>
            <p:cNvSpPr>
              <a:spLocks/>
            </p:cNvSpPr>
            <p:nvPr/>
          </p:nvSpPr>
          <p:spPr bwMode="gray">
            <a:xfrm>
              <a:off x="4749775" y="1461860"/>
              <a:ext cx="161579" cy="68189"/>
            </a:xfrm>
            <a:custGeom>
              <a:avLst/>
              <a:gdLst>
                <a:gd name="T0" fmla="*/ 2147483647 w 426"/>
                <a:gd name="T1" fmla="*/ 2147483647 h 180"/>
                <a:gd name="T2" fmla="*/ 2147483647 w 426"/>
                <a:gd name="T3" fmla="*/ 2147483647 h 180"/>
                <a:gd name="T4" fmla="*/ 2147483647 w 426"/>
                <a:gd name="T5" fmla="*/ 2147483647 h 180"/>
                <a:gd name="T6" fmla="*/ 2147483647 w 426"/>
                <a:gd name="T7" fmla="*/ 2147483647 h 180"/>
                <a:gd name="T8" fmla="*/ 2147483647 w 426"/>
                <a:gd name="T9" fmla="*/ 2147483647 h 180"/>
                <a:gd name="T10" fmla="*/ 2147483647 w 426"/>
                <a:gd name="T11" fmla="*/ 2147483647 h 180"/>
                <a:gd name="T12" fmla="*/ 2147483647 w 426"/>
                <a:gd name="T13" fmla="*/ 2147483647 h 180"/>
                <a:gd name="T14" fmla="*/ 2147483647 w 426"/>
                <a:gd name="T15" fmla="*/ 2147483647 h 180"/>
                <a:gd name="T16" fmla="*/ 2147483647 w 426"/>
                <a:gd name="T17" fmla="*/ 2147483647 h 180"/>
                <a:gd name="T18" fmla="*/ 2147483647 w 426"/>
                <a:gd name="T19" fmla="*/ 2147483647 h 180"/>
                <a:gd name="T20" fmla="*/ 2147483647 w 426"/>
                <a:gd name="T21" fmla="*/ 2147483647 h 180"/>
                <a:gd name="T22" fmla="*/ 2147483647 w 426"/>
                <a:gd name="T23" fmla="*/ 2147483647 h 180"/>
                <a:gd name="T24" fmla="*/ 2147483647 w 426"/>
                <a:gd name="T25" fmla="*/ 2147483647 h 180"/>
                <a:gd name="T26" fmla="*/ 2147483647 w 426"/>
                <a:gd name="T27" fmla="*/ 2147483647 h 180"/>
                <a:gd name="T28" fmla="*/ 2147483647 w 426"/>
                <a:gd name="T29" fmla="*/ 2147483647 h 180"/>
                <a:gd name="T30" fmla="*/ 2147483647 w 426"/>
                <a:gd name="T31" fmla="*/ 2147483647 h 180"/>
                <a:gd name="T32" fmla="*/ 2147483647 w 426"/>
                <a:gd name="T33" fmla="*/ 2147483647 h 180"/>
                <a:gd name="T34" fmla="*/ 2147483647 w 426"/>
                <a:gd name="T35" fmla="*/ 2147483647 h 180"/>
                <a:gd name="T36" fmla="*/ 2147483647 w 426"/>
                <a:gd name="T37" fmla="*/ 2147483647 h 180"/>
                <a:gd name="T38" fmla="*/ 2147483647 w 426"/>
                <a:gd name="T39" fmla="*/ 2147483647 h 180"/>
                <a:gd name="T40" fmla="*/ 2147483647 w 426"/>
                <a:gd name="T41" fmla="*/ 2147483647 h 180"/>
                <a:gd name="T42" fmla="*/ 2147483647 w 426"/>
                <a:gd name="T43" fmla="*/ 2147483647 h 180"/>
                <a:gd name="T44" fmla="*/ 2147483647 w 426"/>
                <a:gd name="T45" fmla="*/ 2147483647 h 180"/>
                <a:gd name="T46" fmla="*/ 2147483647 w 426"/>
                <a:gd name="T47" fmla="*/ 2147483647 h 180"/>
                <a:gd name="T48" fmla="*/ 2147483647 w 426"/>
                <a:gd name="T49" fmla="*/ 2147483647 h 180"/>
                <a:gd name="T50" fmla="*/ 2147483647 w 426"/>
                <a:gd name="T51" fmla="*/ 2147483647 h 180"/>
                <a:gd name="T52" fmla="*/ 2147483647 w 426"/>
                <a:gd name="T53" fmla="*/ 2147483647 h 180"/>
                <a:gd name="T54" fmla="*/ 2147483647 w 426"/>
                <a:gd name="T55" fmla="*/ 2147483647 h 180"/>
                <a:gd name="T56" fmla="*/ 2147483647 w 426"/>
                <a:gd name="T57" fmla="*/ 2147483647 h 180"/>
                <a:gd name="T58" fmla="*/ 2147483647 w 426"/>
                <a:gd name="T59" fmla="*/ 2147483647 h 180"/>
                <a:gd name="T60" fmla="*/ 2147483647 w 426"/>
                <a:gd name="T61" fmla="*/ 0 h 180"/>
                <a:gd name="T62" fmla="*/ 2147483647 w 426"/>
                <a:gd name="T63" fmla="*/ 2147483647 h 180"/>
                <a:gd name="T64" fmla="*/ 2147483647 w 426"/>
                <a:gd name="T65" fmla="*/ 2147483647 h 180"/>
                <a:gd name="T66" fmla="*/ 2147483647 w 426"/>
                <a:gd name="T67" fmla="*/ 2147483647 h 180"/>
                <a:gd name="T68" fmla="*/ 2147483647 w 426"/>
                <a:gd name="T69" fmla="*/ 2147483647 h 180"/>
                <a:gd name="T70" fmla="*/ 2147483647 w 426"/>
                <a:gd name="T71" fmla="*/ 2147483647 h 180"/>
                <a:gd name="T72" fmla="*/ 2147483647 w 426"/>
                <a:gd name="T73" fmla="*/ 2147483647 h 180"/>
                <a:gd name="T74" fmla="*/ 2147483647 w 426"/>
                <a:gd name="T75" fmla="*/ 2147483647 h 180"/>
                <a:gd name="T76" fmla="*/ 2147483647 w 426"/>
                <a:gd name="T77" fmla="*/ 2147483647 h 180"/>
                <a:gd name="T78" fmla="*/ 2147483647 w 426"/>
                <a:gd name="T79" fmla="*/ 2147483647 h 180"/>
                <a:gd name="T80" fmla="*/ 2147483647 w 426"/>
                <a:gd name="T81" fmla="*/ 2147483647 h 180"/>
                <a:gd name="T82" fmla="*/ 2147483647 w 426"/>
                <a:gd name="T83" fmla="*/ 2147483647 h 180"/>
                <a:gd name="T84" fmla="*/ 0 w 426"/>
                <a:gd name="T85" fmla="*/ 2147483647 h 180"/>
                <a:gd name="T86" fmla="*/ 2147483647 w 426"/>
                <a:gd name="T87" fmla="*/ 2147483647 h 18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26"/>
                <a:gd name="T133" fmla="*/ 0 h 180"/>
                <a:gd name="T134" fmla="*/ 426 w 426"/>
                <a:gd name="T135" fmla="*/ 180 h 18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26" h="180">
                  <a:moveTo>
                    <a:pt x="6" y="144"/>
                  </a:moveTo>
                  <a:lnTo>
                    <a:pt x="6" y="138"/>
                  </a:lnTo>
                  <a:lnTo>
                    <a:pt x="12" y="138"/>
                  </a:lnTo>
                  <a:lnTo>
                    <a:pt x="24" y="132"/>
                  </a:lnTo>
                  <a:lnTo>
                    <a:pt x="66" y="132"/>
                  </a:lnTo>
                  <a:lnTo>
                    <a:pt x="78" y="120"/>
                  </a:lnTo>
                  <a:lnTo>
                    <a:pt x="96" y="120"/>
                  </a:lnTo>
                  <a:lnTo>
                    <a:pt x="102" y="126"/>
                  </a:lnTo>
                  <a:lnTo>
                    <a:pt x="108" y="126"/>
                  </a:lnTo>
                  <a:lnTo>
                    <a:pt x="114" y="132"/>
                  </a:lnTo>
                  <a:lnTo>
                    <a:pt x="120" y="132"/>
                  </a:lnTo>
                  <a:lnTo>
                    <a:pt x="126" y="126"/>
                  </a:lnTo>
                  <a:lnTo>
                    <a:pt x="132" y="126"/>
                  </a:lnTo>
                  <a:lnTo>
                    <a:pt x="144" y="132"/>
                  </a:lnTo>
                  <a:lnTo>
                    <a:pt x="150" y="132"/>
                  </a:lnTo>
                  <a:lnTo>
                    <a:pt x="156" y="138"/>
                  </a:lnTo>
                  <a:lnTo>
                    <a:pt x="162" y="138"/>
                  </a:lnTo>
                  <a:lnTo>
                    <a:pt x="168" y="132"/>
                  </a:lnTo>
                  <a:lnTo>
                    <a:pt x="180" y="132"/>
                  </a:lnTo>
                  <a:lnTo>
                    <a:pt x="186" y="138"/>
                  </a:lnTo>
                  <a:lnTo>
                    <a:pt x="204" y="138"/>
                  </a:lnTo>
                  <a:lnTo>
                    <a:pt x="216" y="126"/>
                  </a:lnTo>
                  <a:lnTo>
                    <a:pt x="228" y="126"/>
                  </a:lnTo>
                  <a:lnTo>
                    <a:pt x="234" y="132"/>
                  </a:lnTo>
                  <a:lnTo>
                    <a:pt x="240" y="144"/>
                  </a:lnTo>
                  <a:lnTo>
                    <a:pt x="270" y="144"/>
                  </a:lnTo>
                  <a:lnTo>
                    <a:pt x="282" y="150"/>
                  </a:lnTo>
                  <a:lnTo>
                    <a:pt x="288" y="150"/>
                  </a:lnTo>
                  <a:lnTo>
                    <a:pt x="300" y="162"/>
                  </a:lnTo>
                  <a:lnTo>
                    <a:pt x="318" y="174"/>
                  </a:lnTo>
                  <a:lnTo>
                    <a:pt x="336" y="180"/>
                  </a:lnTo>
                  <a:lnTo>
                    <a:pt x="360" y="168"/>
                  </a:lnTo>
                  <a:lnTo>
                    <a:pt x="378" y="168"/>
                  </a:lnTo>
                  <a:lnTo>
                    <a:pt x="384" y="174"/>
                  </a:lnTo>
                  <a:lnTo>
                    <a:pt x="390" y="168"/>
                  </a:lnTo>
                  <a:lnTo>
                    <a:pt x="396" y="168"/>
                  </a:lnTo>
                  <a:lnTo>
                    <a:pt x="402" y="162"/>
                  </a:lnTo>
                  <a:lnTo>
                    <a:pt x="408" y="150"/>
                  </a:lnTo>
                  <a:lnTo>
                    <a:pt x="414" y="144"/>
                  </a:lnTo>
                  <a:lnTo>
                    <a:pt x="420" y="150"/>
                  </a:lnTo>
                  <a:lnTo>
                    <a:pt x="426" y="150"/>
                  </a:lnTo>
                  <a:lnTo>
                    <a:pt x="426" y="126"/>
                  </a:lnTo>
                  <a:lnTo>
                    <a:pt x="414" y="114"/>
                  </a:lnTo>
                  <a:lnTo>
                    <a:pt x="408" y="102"/>
                  </a:lnTo>
                  <a:lnTo>
                    <a:pt x="402" y="96"/>
                  </a:lnTo>
                  <a:lnTo>
                    <a:pt x="378" y="90"/>
                  </a:lnTo>
                  <a:lnTo>
                    <a:pt x="384" y="72"/>
                  </a:lnTo>
                  <a:lnTo>
                    <a:pt x="402" y="72"/>
                  </a:lnTo>
                  <a:lnTo>
                    <a:pt x="402" y="66"/>
                  </a:lnTo>
                  <a:lnTo>
                    <a:pt x="396" y="60"/>
                  </a:lnTo>
                  <a:lnTo>
                    <a:pt x="384" y="54"/>
                  </a:lnTo>
                  <a:lnTo>
                    <a:pt x="372" y="42"/>
                  </a:lnTo>
                  <a:lnTo>
                    <a:pt x="354" y="42"/>
                  </a:lnTo>
                  <a:lnTo>
                    <a:pt x="348" y="36"/>
                  </a:lnTo>
                  <a:lnTo>
                    <a:pt x="330" y="36"/>
                  </a:lnTo>
                  <a:lnTo>
                    <a:pt x="324" y="42"/>
                  </a:lnTo>
                  <a:lnTo>
                    <a:pt x="306" y="42"/>
                  </a:lnTo>
                  <a:lnTo>
                    <a:pt x="288" y="24"/>
                  </a:lnTo>
                  <a:lnTo>
                    <a:pt x="276" y="18"/>
                  </a:lnTo>
                  <a:lnTo>
                    <a:pt x="270" y="12"/>
                  </a:lnTo>
                  <a:lnTo>
                    <a:pt x="246" y="0"/>
                  </a:lnTo>
                  <a:lnTo>
                    <a:pt x="216" y="0"/>
                  </a:lnTo>
                  <a:lnTo>
                    <a:pt x="186" y="12"/>
                  </a:lnTo>
                  <a:lnTo>
                    <a:pt x="174" y="12"/>
                  </a:lnTo>
                  <a:lnTo>
                    <a:pt x="180" y="24"/>
                  </a:lnTo>
                  <a:lnTo>
                    <a:pt x="180" y="30"/>
                  </a:lnTo>
                  <a:lnTo>
                    <a:pt x="186" y="42"/>
                  </a:lnTo>
                  <a:lnTo>
                    <a:pt x="186" y="60"/>
                  </a:lnTo>
                  <a:lnTo>
                    <a:pt x="192" y="66"/>
                  </a:lnTo>
                  <a:lnTo>
                    <a:pt x="186" y="78"/>
                  </a:lnTo>
                  <a:lnTo>
                    <a:pt x="156" y="78"/>
                  </a:lnTo>
                  <a:lnTo>
                    <a:pt x="138" y="72"/>
                  </a:lnTo>
                  <a:lnTo>
                    <a:pt x="126" y="72"/>
                  </a:lnTo>
                  <a:lnTo>
                    <a:pt x="114" y="54"/>
                  </a:lnTo>
                  <a:lnTo>
                    <a:pt x="84" y="24"/>
                  </a:lnTo>
                  <a:lnTo>
                    <a:pt x="72" y="24"/>
                  </a:lnTo>
                  <a:lnTo>
                    <a:pt x="60" y="30"/>
                  </a:lnTo>
                  <a:lnTo>
                    <a:pt x="48" y="30"/>
                  </a:lnTo>
                  <a:lnTo>
                    <a:pt x="36" y="36"/>
                  </a:lnTo>
                  <a:lnTo>
                    <a:pt x="30" y="42"/>
                  </a:lnTo>
                  <a:lnTo>
                    <a:pt x="24" y="54"/>
                  </a:lnTo>
                  <a:lnTo>
                    <a:pt x="24" y="66"/>
                  </a:lnTo>
                  <a:lnTo>
                    <a:pt x="18" y="78"/>
                  </a:lnTo>
                  <a:lnTo>
                    <a:pt x="6" y="84"/>
                  </a:lnTo>
                  <a:lnTo>
                    <a:pt x="0" y="96"/>
                  </a:lnTo>
                  <a:lnTo>
                    <a:pt x="0" y="120"/>
                  </a:lnTo>
                  <a:lnTo>
                    <a:pt x="6" y="132"/>
                  </a:lnTo>
                  <a:lnTo>
                    <a:pt x="6" y="150"/>
                  </a:lnTo>
                  <a:lnTo>
                    <a:pt x="6" y="144"/>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58" name="Laos" descr="© INSCALE GmbH, 05.05.2010&#10;http://www.presentationload.com/">
              <a:extLst>
                <a:ext uri="{FF2B5EF4-FFF2-40B4-BE49-F238E27FC236}">
                  <a16:creationId xmlns:a16="http://schemas.microsoft.com/office/drawing/2014/main" id="{7F2AA8E9-1DC3-D2C5-8AF6-EBA0C3BE3B75}"/>
                </a:ext>
              </a:extLst>
            </p:cNvPr>
            <p:cNvSpPr>
              <a:spLocks/>
            </p:cNvSpPr>
            <p:nvPr/>
          </p:nvSpPr>
          <p:spPr bwMode="gray">
            <a:xfrm>
              <a:off x="6890321" y="2530655"/>
              <a:ext cx="228285" cy="263864"/>
            </a:xfrm>
            <a:custGeom>
              <a:avLst/>
              <a:gdLst>
                <a:gd name="T0" fmla="*/ 2147483647 w 600"/>
                <a:gd name="T1" fmla="*/ 2147483647 h 696"/>
                <a:gd name="T2" fmla="*/ 2147483647 w 600"/>
                <a:gd name="T3" fmla="*/ 2147483647 h 696"/>
                <a:gd name="T4" fmla="*/ 2147483647 w 600"/>
                <a:gd name="T5" fmla="*/ 2147483647 h 696"/>
                <a:gd name="T6" fmla="*/ 2147483647 w 600"/>
                <a:gd name="T7" fmla="*/ 2147483647 h 696"/>
                <a:gd name="T8" fmla="*/ 2147483647 w 600"/>
                <a:gd name="T9" fmla="*/ 2147483647 h 696"/>
                <a:gd name="T10" fmla="*/ 2147483647 w 600"/>
                <a:gd name="T11" fmla="*/ 2147483647 h 696"/>
                <a:gd name="T12" fmla="*/ 2147483647 w 600"/>
                <a:gd name="T13" fmla="*/ 2147483647 h 696"/>
                <a:gd name="T14" fmla="*/ 2147483647 w 600"/>
                <a:gd name="T15" fmla="*/ 2147483647 h 696"/>
                <a:gd name="T16" fmla="*/ 2147483647 w 600"/>
                <a:gd name="T17" fmla="*/ 2147483647 h 696"/>
                <a:gd name="T18" fmla="*/ 2147483647 w 600"/>
                <a:gd name="T19" fmla="*/ 2147483647 h 696"/>
                <a:gd name="T20" fmla="*/ 2147483647 w 600"/>
                <a:gd name="T21" fmla="*/ 2147483647 h 696"/>
                <a:gd name="T22" fmla="*/ 2147483647 w 600"/>
                <a:gd name="T23" fmla="*/ 2147483647 h 696"/>
                <a:gd name="T24" fmla="*/ 2147483647 w 600"/>
                <a:gd name="T25" fmla="*/ 2147483647 h 696"/>
                <a:gd name="T26" fmla="*/ 2147483647 w 600"/>
                <a:gd name="T27" fmla="*/ 2147483647 h 696"/>
                <a:gd name="T28" fmla="*/ 2147483647 w 600"/>
                <a:gd name="T29" fmla="*/ 2147483647 h 696"/>
                <a:gd name="T30" fmla="*/ 2147483647 w 600"/>
                <a:gd name="T31" fmla="*/ 2147483647 h 696"/>
                <a:gd name="T32" fmla="*/ 2147483647 w 600"/>
                <a:gd name="T33" fmla="*/ 2147483647 h 696"/>
                <a:gd name="T34" fmla="*/ 2147483647 w 600"/>
                <a:gd name="T35" fmla="*/ 2147483647 h 696"/>
                <a:gd name="T36" fmla="*/ 2147483647 w 600"/>
                <a:gd name="T37" fmla="*/ 2147483647 h 696"/>
                <a:gd name="T38" fmla="*/ 2147483647 w 600"/>
                <a:gd name="T39" fmla="*/ 2147483647 h 696"/>
                <a:gd name="T40" fmla="*/ 2147483647 w 600"/>
                <a:gd name="T41" fmla="*/ 2147483647 h 696"/>
                <a:gd name="T42" fmla="*/ 2147483647 w 600"/>
                <a:gd name="T43" fmla="*/ 2147483647 h 696"/>
                <a:gd name="T44" fmla="*/ 2147483647 w 600"/>
                <a:gd name="T45" fmla="*/ 2147483647 h 696"/>
                <a:gd name="T46" fmla="*/ 2147483647 w 600"/>
                <a:gd name="T47" fmla="*/ 2147483647 h 696"/>
                <a:gd name="T48" fmla="*/ 2147483647 w 600"/>
                <a:gd name="T49" fmla="*/ 2147483647 h 696"/>
                <a:gd name="T50" fmla="*/ 2147483647 w 600"/>
                <a:gd name="T51" fmla="*/ 2147483647 h 696"/>
                <a:gd name="T52" fmla="*/ 2147483647 w 600"/>
                <a:gd name="T53" fmla="*/ 2147483647 h 696"/>
                <a:gd name="T54" fmla="*/ 2147483647 w 600"/>
                <a:gd name="T55" fmla="*/ 2147483647 h 696"/>
                <a:gd name="T56" fmla="*/ 2147483647 w 600"/>
                <a:gd name="T57" fmla="*/ 2147483647 h 696"/>
                <a:gd name="T58" fmla="*/ 2147483647 w 600"/>
                <a:gd name="T59" fmla="*/ 2147483647 h 696"/>
                <a:gd name="T60" fmla="*/ 2147483647 w 600"/>
                <a:gd name="T61" fmla="*/ 2147483647 h 696"/>
                <a:gd name="T62" fmla="*/ 2147483647 w 600"/>
                <a:gd name="T63" fmla="*/ 2147483647 h 696"/>
                <a:gd name="T64" fmla="*/ 2147483647 w 600"/>
                <a:gd name="T65" fmla="*/ 2147483647 h 696"/>
                <a:gd name="T66" fmla="*/ 2147483647 w 600"/>
                <a:gd name="T67" fmla="*/ 2147483647 h 696"/>
                <a:gd name="T68" fmla="*/ 2147483647 w 600"/>
                <a:gd name="T69" fmla="*/ 2147483647 h 696"/>
                <a:gd name="T70" fmla="*/ 2147483647 w 600"/>
                <a:gd name="T71" fmla="*/ 2147483647 h 696"/>
                <a:gd name="T72" fmla="*/ 2147483647 w 600"/>
                <a:gd name="T73" fmla="*/ 2147483647 h 696"/>
                <a:gd name="T74" fmla="*/ 2147483647 w 600"/>
                <a:gd name="T75" fmla="*/ 2147483647 h 696"/>
                <a:gd name="T76" fmla="*/ 2147483647 w 600"/>
                <a:gd name="T77" fmla="*/ 2147483647 h 696"/>
                <a:gd name="T78" fmla="*/ 2147483647 w 600"/>
                <a:gd name="T79" fmla="*/ 2147483647 h 696"/>
                <a:gd name="T80" fmla="*/ 2147483647 w 600"/>
                <a:gd name="T81" fmla="*/ 2147483647 h 696"/>
                <a:gd name="T82" fmla="*/ 2147483647 w 600"/>
                <a:gd name="T83" fmla="*/ 2147483647 h 696"/>
                <a:gd name="T84" fmla="*/ 2147483647 w 600"/>
                <a:gd name="T85" fmla="*/ 2147483647 h 696"/>
                <a:gd name="T86" fmla="*/ 2147483647 w 600"/>
                <a:gd name="T87" fmla="*/ 2147483647 h 696"/>
                <a:gd name="T88" fmla="*/ 2147483647 w 600"/>
                <a:gd name="T89" fmla="*/ 2147483647 h 696"/>
                <a:gd name="T90" fmla="*/ 2147483647 w 600"/>
                <a:gd name="T91" fmla="*/ 2147483647 h 696"/>
                <a:gd name="T92" fmla="*/ 2147483647 w 600"/>
                <a:gd name="T93" fmla="*/ 2147483647 h 696"/>
                <a:gd name="T94" fmla="*/ 2147483647 w 600"/>
                <a:gd name="T95" fmla="*/ 2147483647 h 696"/>
                <a:gd name="T96" fmla="*/ 2147483647 w 600"/>
                <a:gd name="T97" fmla="*/ 2147483647 h 696"/>
                <a:gd name="T98" fmla="*/ 2147483647 w 600"/>
                <a:gd name="T99" fmla="*/ 2147483647 h 696"/>
                <a:gd name="T100" fmla="*/ 2147483647 w 600"/>
                <a:gd name="T101" fmla="*/ 2147483647 h 696"/>
                <a:gd name="T102" fmla="*/ 2147483647 w 600"/>
                <a:gd name="T103" fmla="*/ 2147483647 h 696"/>
                <a:gd name="T104" fmla="*/ 2147483647 w 600"/>
                <a:gd name="T105" fmla="*/ 2147483647 h 696"/>
                <a:gd name="T106" fmla="*/ 2147483647 w 600"/>
                <a:gd name="T107" fmla="*/ 2147483647 h 696"/>
                <a:gd name="T108" fmla="*/ 2147483647 w 600"/>
                <a:gd name="T109" fmla="*/ 2147483647 h 696"/>
                <a:gd name="T110" fmla="*/ 2147483647 w 600"/>
                <a:gd name="T111" fmla="*/ 2147483647 h 696"/>
                <a:gd name="T112" fmla="*/ 2147483647 w 600"/>
                <a:gd name="T113" fmla="*/ 2147483647 h 696"/>
                <a:gd name="T114" fmla="*/ 2147483647 w 600"/>
                <a:gd name="T115" fmla="*/ 2147483647 h 696"/>
                <a:gd name="T116" fmla="*/ 2147483647 w 600"/>
                <a:gd name="T117" fmla="*/ 2147483647 h 696"/>
                <a:gd name="T118" fmla="*/ 0 w 600"/>
                <a:gd name="T119" fmla="*/ 2147483647 h 696"/>
                <a:gd name="T120" fmla="*/ 2147483647 w 600"/>
                <a:gd name="T121" fmla="*/ 2147483647 h 69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00"/>
                <a:gd name="T184" fmla="*/ 0 h 696"/>
                <a:gd name="T185" fmla="*/ 600 w 600"/>
                <a:gd name="T186" fmla="*/ 696 h 69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00" h="696">
                  <a:moveTo>
                    <a:pt x="24" y="180"/>
                  </a:moveTo>
                  <a:lnTo>
                    <a:pt x="36" y="180"/>
                  </a:lnTo>
                  <a:lnTo>
                    <a:pt x="42" y="186"/>
                  </a:lnTo>
                  <a:lnTo>
                    <a:pt x="42" y="198"/>
                  </a:lnTo>
                  <a:lnTo>
                    <a:pt x="36" y="204"/>
                  </a:lnTo>
                  <a:lnTo>
                    <a:pt x="36" y="228"/>
                  </a:lnTo>
                  <a:lnTo>
                    <a:pt x="42" y="240"/>
                  </a:lnTo>
                  <a:lnTo>
                    <a:pt x="48" y="246"/>
                  </a:lnTo>
                  <a:lnTo>
                    <a:pt x="66" y="246"/>
                  </a:lnTo>
                  <a:lnTo>
                    <a:pt x="66" y="234"/>
                  </a:lnTo>
                  <a:lnTo>
                    <a:pt x="78" y="234"/>
                  </a:lnTo>
                  <a:lnTo>
                    <a:pt x="84" y="228"/>
                  </a:lnTo>
                  <a:lnTo>
                    <a:pt x="90" y="228"/>
                  </a:lnTo>
                  <a:lnTo>
                    <a:pt x="102" y="234"/>
                  </a:lnTo>
                  <a:lnTo>
                    <a:pt x="102" y="264"/>
                  </a:lnTo>
                  <a:lnTo>
                    <a:pt x="96" y="270"/>
                  </a:lnTo>
                  <a:lnTo>
                    <a:pt x="102" y="276"/>
                  </a:lnTo>
                  <a:lnTo>
                    <a:pt x="108" y="288"/>
                  </a:lnTo>
                  <a:lnTo>
                    <a:pt x="108" y="300"/>
                  </a:lnTo>
                  <a:lnTo>
                    <a:pt x="102" y="312"/>
                  </a:lnTo>
                  <a:lnTo>
                    <a:pt x="90" y="324"/>
                  </a:lnTo>
                  <a:lnTo>
                    <a:pt x="102" y="324"/>
                  </a:lnTo>
                  <a:lnTo>
                    <a:pt x="108" y="330"/>
                  </a:lnTo>
                  <a:lnTo>
                    <a:pt x="108" y="342"/>
                  </a:lnTo>
                  <a:lnTo>
                    <a:pt x="84" y="390"/>
                  </a:lnTo>
                  <a:lnTo>
                    <a:pt x="84" y="402"/>
                  </a:lnTo>
                  <a:lnTo>
                    <a:pt x="102" y="402"/>
                  </a:lnTo>
                  <a:lnTo>
                    <a:pt x="126" y="390"/>
                  </a:lnTo>
                  <a:lnTo>
                    <a:pt x="132" y="384"/>
                  </a:lnTo>
                  <a:lnTo>
                    <a:pt x="132" y="378"/>
                  </a:lnTo>
                  <a:lnTo>
                    <a:pt x="144" y="366"/>
                  </a:lnTo>
                  <a:lnTo>
                    <a:pt x="150" y="354"/>
                  </a:lnTo>
                  <a:lnTo>
                    <a:pt x="156" y="348"/>
                  </a:lnTo>
                  <a:lnTo>
                    <a:pt x="168" y="348"/>
                  </a:lnTo>
                  <a:lnTo>
                    <a:pt x="174" y="354"/>
                  </a:lnTo>
                  <a:lnTo>
                    <a:pt x="198" y="366"/>
                  </a:lnTo>
                  <a:lnTo>
                    <a:pt x="216" y="366"/>
                  </a:lnTo>
                  <a:lnTo>
                    <a:pt x="234" y="348"/>
                  </a:lnTo>
                  <a:lnTo>
                    <a:pt x="234" y="336"/>
                  </a:lnTo>
                  <a:lnTo>
                    <a:pt x="240" y="330"/>
                  </a:lnTo>
                  <a:lnTo>
                    <a:pt x="258" y="330"/>
                  </a:lnTo>
                  <a:lnTo>
                    <a:pt x="264" y="336"/>
                  </a:lnTo>
                  <a:lnTo>
                    <a:pt x="276" y="342"/>
                  </a:lnTo>
                  <a:lnTo>
                    <a:pt x="300" y="342"/>
                  </a:lnTo>
                  <a:lnTo>
                    <a:pt x="306" y="348"/>
                  </a:lnTo>
                  <a:lnTo>
                    <a:pt x="306" y="360"/>
                  </a:lnTo>
                  <a:lnTo>
                    <a:pt x="318" y="372"/>
                  </a:lnTo>
                  <a:lnTo>
                    <a:pt x="336" y="384"/>
                  </a:lnTo>
                  <a:lnTo>
                    <a:pt x="348" y="390"/>
                  </a:lnTo>
                  <a:lnTo>
                    <a:pt x="366" y="408"/>
                  </a:lnTo>
                  <a:lnTo>
                    <a:pt x="372" y="450"/>
                  </a:lnTo>
                  <a:lnTo>
                    <a:pt x="372" y="462"/>
                  </a:lnTo>
                  <a:lnTo>
                    <a:pt x="384" y="486"/>
                  </a:lnTo>
                  <a:lnTo>
                    <a:pt x="420" y="522"/>
                  </a:lnTo>
                  <a:lnTo>
                    <a:pt x="420" y="528"/>
                  </a:lnTo>
                  <a:lnTo>
                    <a:pt x="426" y="534"/>
                  </a:lnTo>
                  <a:lnTo>
                    <a:pt x="426" y="546"/>
                  </a:lnTo>
                  <a:lnTo>
                    <a:pt x="432" y="540"/>
                  </a:lnTo>
                  <a:lnTo>
                    <a:pt x="432" y="546"/>
                  </a:lnTo>
                  <a:lnTo>
                    <a:pt x="444" y="558"/>
                  </a:lnTo>
                  <a:lnTo>
                    <a:pt x="432" y="582"/>
                  </a:lnTo>
                  <a:lnTo>
                    <a:pt x="426" y="588"/>
                  </a:lnTo>
                  <a:lnTo>
                    <a:pt x="426" y="594"/>
                  </a:lnTo>
                  <a:lnTo>
                    <a:pt x="438" y="606"/>
                  </a:lnTo>
                  <a:lnTo>
                    <a:pt x="450" y="612"/>
                  </a:lnTo>
                  <a:lnTo>
                    <a:pt x="456" y="618"/>
                  </a:lnTo>
                  <a:lnTo>
                    <a:pt x="456" y="630"/>
                  </a:lnTo>
                  <a:lnTo>
                    <a:pt x="450" y="636"/>
                  </a:lnTo>
                  <a:lnTo>
                    <a:pt x="444" y="648"/>
                  </a:lnTo>
                  <a:lnTo>
                    <a:pt x="432" y="654"/>
                  </a:lnTo>
                  <a:lnTo>
                    <a:pt x="426" y="660"/>
                  </a:lnTo>
                  <a:lnTo>
                    <a:pt x="426" y="672"/>
                  </a:lnTo>
                  <a:lnTo>
                    <a:pt x="450" y="672"/>
                  </a:lnTo>
                  <a:lnTo>
                    <a:pt x="456" y="678"/>
                  </a:lnTo>
                  <a:lnTo>
                    <a:pt x="462" y="678"/>
                  </a:lnTo>
                  <a:lnTo>
                    <a:pt x="462" y="684"/>
                  </a:lnTo>
                  <a:lnTo>
                    <a:pt x="474" y="696"/>
                  </a:lnTo>
                  <a:lnTo>
                    <a:pt x="486" y="696"/>
                  </a:lnTo>
                  <a:lnTo>
                    <a:pt x="492" y="690"/>
                  </a:lnTo>
                  <a:lnTo>
                    <a:pt x="492" y="678"/>
                  </a:lnTo>
                  <a:lnTo>
                    <a:pt x="480" y="666"/>
                  </a:lnTo>
                  <a:lnTo>
                    <a:pt x="498" y="654"/>
                  </a:lnTo>
                  <a:lnTo>
                    <a:pt x="510" y="642"/>
                  </a:lnTo>
                  <a:lnTo>
                    <a:pt x="546" y="654"/>
                  </a:lnTo>
                  <a:lnTo>
                    <a:pt x="558" y="642"/>
                  </a:lnTo>
                  <a:lnTo>
                    <a:pt x="582" y="648"/>
                  </a:lnTo>
                  <a:lnTo>
                    <a:pt x="588" y="648"/>
                  </a:lnTo>
                  <a:lnTo>
                    <a:pt x="600" y="636"/>
                  </a:lnTo>
                  <a:lnTo>
                    <a:pt x="600" y="630"/>
                  </a:lnTo>
                  <a:lnTo>
                    <a:pt x="588" y="618"/>
                  </a:lnTo>
                  <a:lnTo>
                    <a:pt x="582" y="618"/>
                  </a:lnTo>
                  <a:lnTo>
                    <a:pt x="600" y="582"/>
                  </a:lnTo>
                  <a:lnTo>
                    <a:pt x="594" y="582"/>
                  </a:lnTo>
                  <a:lnTo>
                    <a:pt x="588" y="576"/>
                  </a:lnTo>
                  <a:lnTo>
                    <a:pt x="564" y="564"/>
                  </a:lnTo>
                  <a:lnTo>
                    <a:pt x="540" y="540"/>
                  </a:lnTo>
                  <a:lnTo>
                    <a:pt x="546" y="540"/>
                  </a:lnTo>
                  <a:lnTo>
                    <a:pt x="552" y="534"/>
                  </a:lnTo>
                  <a:lnTo>
                    <a:pt x="558" y="534"/>
                  </a:lnTo>
                  <a:lnTo>
                    <a:pt x="564" y="528"/>
                  </a:lnTo>
                  <a:lnTo>
                    <a:pt x="564" y="516"/>
                  </a:lnTo>
                  <a:lnTo>
                    <a:pt x="558" y="510"/>
                  </a:lnTo>
                  <a:lnTo>
                    <a:pt x="546" y="504"/>
                  </a:lnTo>
                  <a:lnTo>
                    <a:pt x="540" y="498"/>
                  </a:lnTo>
                  <a:lnTo>
                    <a:pt x="528" y="498"/>
                  </a:lnTo>
                  <a:lnTo>
                    <a:pt x="516" y="486"/>
                  </a:lnTo>
                  <a:lnTo>
                    <a:pt x="504" y="462"/>
                  </a:lnTo>
                  <a:lnTo>
                    <a:pt x="498" y="456"/>
                  </a:lnTo>
                  <a:lnTo>
                    <a:pt x="498" y="450"/>
                  </a:lnTo>
                  <a:lnTo>
                    <a:pt x="480" y="450"/>
                  </a:lnTo>
                  <a:lnTo>
                    <a:pt x="474" y="432"/>
                  </a:lnTo>
                  <a:lnTo>
                    <a:pt x="456" y="414"/>
                  </a:lnTo>
                  <a:lnTo>
                    <a:pt x="438" y="402"/>
                  </a:lnTo>
                  <a:lnTo>
                    <a:pt x="426" y="378"/>
                  </a:lnTo>
                  <a:lnTo>
                    <a:pt x="426" y="354"/>
                  </a:lnTo>
                  <a:lnTo>
                    <a:pt x="420" y="354"/>
                  </a:lnTo>
                  <a:lnTo>
                    <a:pt x="414" y="348"/>
                  </a:lnTo>
                  <a:lnTo>
                    <a:pt x="402" y="342"/>
                  </a:lnTo>
                  <a:lnTo>
                    <a:pt x="390" y="342"/>
                  </a:lnTo>
                  <a:lnTo>
                    <a:pt x="384" y="336"/>
                  </a:lnTo>
                  <a:lnTo>
                    <a:pt x="384" y="306"/>
                  </a:lnTo>
                  <a:lnTo>
                    <a:pt x="372" y="306"/>
                  </a:lnTo>
                  <a:lnTo>
                    <a:pt x="366" y="300"/>
                  </a:lnTo>
                  <a:lnTo>
                    <a:pt x="354" y="294"/>
                  </a:lnTo>
                  <a:lnTo>
                    <a:pt x="342" y="282"/>
                  </a:lnTo>
                  <a:lnTo>
                    <a:pt x="306" y="264"/>
                  </a:lnTo>
                  <a:lnTo>
                    <a:pt x="300" y="258"/>
                  </a:lnTo>
                  <a:lnTo>
                    <a:pt x="288" y="252"/>
                  </a:lnTo>
                  <a:lnTo>
                    <a:pt x="288" y="234"/>
                  </a:lnTo>
                  <a:lnTo>
                    <a:pt x="282" y="228"/>
                  </a:lnTo>
                  <a:lnTo>
                    <a:pt x="306" y="228"/>
                  </a:lnTo>
                  <a:lnTo>
                    <a:pt x="312" y="234"/>
                  </a:lnTo>
                  <a:lnTo>
                    <a:pt x="330" y="234"/>
                  </a:lnTo>
                  <a:lnTo>
                    <a:pt x="336" y="228"/>
                  </a:lnTo>
                  <a:lnTo>
                    <a:pt x="342" y="216"/>
                  </a:lnTo>
                  <a:lnTo>
                    <a:pt x="354" y="210"/>
                  </a:lnTo>
                  <a:lnTo>
                    <a:pt x="360" y="198"/>
                  </a:lnTo>
                  <a:lnTo>
                    <a:pt x="360" y="186"/>
                  </a:lnTo>
                  <a:lnTo>
                    <a:pt x="348" y="180"/>
                  </a:lnTo>
                  <a:lnTo>
                    <a:pt x="330" y="174"/>
                  </a:lnTo>
                  <a:lnTo>
                    <a:pt x="306" y="162"/>
                  </a:lnTo>
                  <a:lnTo>
                    <a:pt x="306" y="156"/>
                  </a:lnTo>
                  <a:lnTo>
                    <a:pt x="312" y="150"/>
                  </a:lnTo>
                  <a:lnTo>
                    <a:pt x="318" y="150"/>
                  </a:lnTo>
                  <a:lnTo>
                    <a:pt x="294" y="126"/>
                  </a:lnTo>
                  <a:lnTo>
                    <a:pt x="282" y="120"/>
                  </a:lnTo>
                  <a:lnTo>
                    <a:pt x="270" y="120"/>
                  </a:lnTo>
                  <a:lnTo>
                    <a:pt x="264" y="132"/>
                  </a:lnTo>
                  <a:lnTo>
                    <a:pt x="264" y="138"/>
                  </a:lnTo>
                  <a:lnTo>
                    <a:pt x="258" y="150"/>
                  </a:lnTo>
                  <a:lnTo>
                    <a:pt x="252" y="156"/>
                  </a:lnTo>
                  <a:lnTo>
                    <a:pt x="240" y="144"/>
                  </a:lnTo>
                  <a:lnTo>
                    <a:pt x="240" y="138"/>
                  </a:lnTo>
                  <a:lnTo>
                    <a:pt x="222" y="138"/>
                  </a:lnTo>
                  <a:lnTo>
                    <a:pt x="216" y="126"/>
                  </a:lnTo>
                  <a:lnTo>
                    <a:pt x="198" y="108"/>
                  </a:lnTo>
                  <a:lnTo>
                    <a:pt x="186" y="84"/>
                  </a:lnTo>
                  <a:lnTo>
                    <a:pt x="186" y="54"/>
                  </a:lnTo>
                  <a:lnTo>
                    <a:pt x="180" y="54"/>
                  </a:lnTo>
                  <a:lnTo>
                    <a:pt x="174" y="60"/>
                  </a:lnTo>
                  <a:lnTo>
                    <a:pt x="168" y="48"/>
                  </a:lnTo>
                  <a:lnTo>
                    <a:pt x="156" y="42"/>
                  </a:lnTo>
                  <a:lnTo>
                    <a:pt x="150" y="30"/>
                  </a:lnTo>
                  <a:lnTo>
                    <a:pt x="144" y="24"/>
                  </a:lnTo>
                  <a:lnTo>
                    <a:pt x="138" y="12"/>
                  </a:lnTo>
                  <a:lnTo>
                    <a:pt x="132" y="6"/>
                  </a:lnTo>
                  <a:lnTo>
                    <a:pt x="96" y="0"/>
                  </a:lnTo>
                  <a:lnTo>
                    <a:pt x="90" y="6"/>
                  </a:lnTo>
                  <a:lnTo>
                    <a:pt x="90" y="48"/>
                  </a:lnTo>
                  <a:lnTo>
                    <a:pt x="114" y="72"/>
                  </a:lnTo>
                  <a:lnTo>
                    <a:pt x="114" y="108"/>
                  </a:lnTo>
                  <a:lnTo>
                    <a:pt x="72" y="108"/>
                  </a:lnTo>
                  <a:lnTo>
                    <a:pt x="72" y="84"/>
                  </a:lnTo>
                  <a:lnTo>
                    <a:pt x="36" y="102"/>
                  </a:lnTo>
                  <a:lnTo>
                    <a:pt x="36" y="114"/>
                  </a:lnTo>
                  <a:lnTo>
                    <a:pt x="30" y="126"/>
                  </a:lnTo>
                  <a:lnTo>
                    <a:pt x="36" y="132"/>
                  </a:lnTo>
                  <a:lnTo>
                    <a:pt x="30" y="138"/>
                  </a:lnTo>
                  <a:lnTo>
                    <a:pt x="18" y="138"/>
                  </a:lnTo>
                  <a:lnTo>
                    <a:pt x="0" y="156"/>
                  </a:lnTo>
                  <a:lnTo>
                    <a:pt x="0" y="168"/>
                  </a:lnTo>
                  <a:lnTo>
                    <a:pt x="6" y="168"/>
                  </a:lnTo>
                  <a:lnTo>
                    <a:pt x="12" y="174"/>
                  </a:lnTo>
                  <a:lnTo>
                    <a:pt x="24" y="180"/>
                  </a:lnTo>
                  <a:close/>
                </a:path>
              </a:pathLst>
            </a:custGeom>
            <a:solidFill>
              <a:srgbClr val="7030A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59" name="Kyrgyzstan" descr="© INSCALE GmbH, 05.05.2010&#10;http://www.presentationload.com/">
              <a:extLst>
                <a:ext uri="{FF2B5EF4-FFF2-40B4-BE49-F238E27FC236}">
                  <a16:creationId xmlns:a16="http://schemas.microsoft.com/office/drawing/2014/main" id="{DA3E56EC-5704-B7FB-E6C1-7DE119A2914C}"/>
                </a:ext>
              </a:extLst>
            </p:cNvPr>
            <p:cNvSpPr>
              <a:spLocks/>
            </p:cNvSpPr>
            <p:nvPr/>
          </p:nvSpPr>
          <p:spPr bwMode="gray">
            <a:xfrm>
              <a:off x="5980144" y="1900644"/>
              <a:ext cx="254967" cy="118590"/>
            </a:xfrm>
            <a:custGeom>
              <a:avLst/>
              <a:gdLst>
                <a:gd name="T0" fmla="*/ 2147483647 w 672"/>
                <a:gd name="T1" fmla="*/ 2147483647 h 312"/>
                <a:gd name="T2" fmla="*/ 2147483647 w 672"/>
                <a:gd name="T3" fmla="*/ 2147483647 h 312"/>
                <a:gd name="T4" fmla="*/ 2147483647 w 672"/>
                <a:gd name="T5" fmla="*/ 2147483647 h 312"/>
                <a:gd name="T6" fmla="*/ 2147483647 w 672"/>
                <a:gd name="T7" fmla="*/ 2147483647 h 312"/>
                <a:gd name="T8" fmla="*/ 2147483647 w 672"/>
                <a:gd name="T9" fmla="*/ 2147483647 h 312"/>
                <a:gd name="T10" fmla="*/ 2147483647 w 672"/>
                <a:gd name="T11" fmla="*/ 2147483647 h 312"/>
                <a:gd name="T12" fmla="*/ 2147483647 w 672"/>
                <a:gd name="T13" fmla="*/ 2147483647 h 312"/>
                <a:gd name="T14" fmla="*/ 2147483647 w 672"/>
                <a:gd name="T15" fmla="*/ 2147483647 h 312"/>
                <a:gd name="T16" fmla="*/ 2147483647 w 672"/>
                <a:gd name="T17" fmla="*/ 2147483647 h 312"/>
                <a:gd name="T18" fmla="*/ 2147483647 w 672"/>
                <a:gd name="T19" fmla="*/ 2147483647 h 312"/>
                <a:gd name="T20" fmla="*/ 2147483647 w 672"/>
                <a:gd name="T21" fmla="*/ 2147483647 h 312"/>
                <a:gd name="T22" fmla="*/ 2147483647 w 672"/>
                <a:gd name="T23" fmla="*/ 2147483647 h 312"/>
                <a:gd name="T24" fmla="*/ 0 w 672"/>
                <a:gd name="T25" fmla="*/ 2147483647 h 312"/>
                <a:gd name="T26" fmla="*/ 2147483647 w 672"/>
                <a:gd name="T27" fmla="*/ 2147483647 h 312"/>
                <a:gd name="T28" fmla="*/ 2147483647 w 672"/>
                <a:gd name="T29" fmla="*/ 2147483647 h 312"/>
                <a:gd name="T30" fmla="*/ 2147483647 w 672"/>
                <a:gd name="T31" fmla="*/ 2147483647 h 312"/>
                <a:gd name="T32" fmla="*/ 2147483647 w 672"/>
                <a:gd name="T33" fmla="*/ 2147483647 h 312"/>
                <a:gd name="T34" fmla="*/ 2147483647 w 672"/>
                <a:gd name="T35" fmla="*/ 2147483647 h 312"/>
                <a:gd name="T36" fmla="*/ 2147483647 w 672"/>
                <a:gd name="T37" fmla="*/ 2147483647 h 312"/>
                <a:gd name="T38" fmla="*/ 2147483647 w 672"/>
                <a:gd name="T39" fmla="*/ 2147483647 h 312"/>
                <a:gd name="T40" fmla="*/ 2147483647 w 672"/>
                <a:gd name="T41" fmla="*/ 2147483647 h 312"/>
                <a:gd name="T42" fmla="*/ 2147483647 w 672"/>
                <a:gd name="T43" fmla="*/ 2147483647 h 312"/>
                <a:gd name="T44" fmla="*/ 2147483647 w 672"/>
                <a:gd name="T45" fmla="*/ 2147483647 h 312"/>
                <a:gd name="T46" fmla="*/ 2147483647 w 672"/>
                <a:gd name="T47" fmla="*/ 2147483647 h 312"/>
                <a:gd name="T48" fmla="*/ 2147483647 w 672"/>
                <a:gd name="T49" fmla="*/ 2147483647 h 312"/>
                <a:gd name="T50" fmla="*/ 2147483647 w 672"/>
                <a:gd name="T51" fmla="*/ 2147483647 h 312"/>
                <a:gd name="T52" fmla="*/ 2147483647 w 672"/>
                <a:gd name="T53" fmla="*/ 2147483647 h 312"/>
                <a:gd name="T54" fmla="*/ 2147483647 w 672"/>
                <a:gd name="T55" fmla="*/ 2147483647 h 312"/>
                <a:gd name="T56" fmla="*/ 2147483647 w 672"/>
                <a:gd name="T57" fmla="*/ 2147483647 h 312"/>
                <a:gd name="T58" fmla="*/ 2147483647 w 672"/>
                <a:gd name="T59" fmla="*/ 2147483647 h 312"/>
                <a:gd name="T60" fmla="*/ 2147483647 w 672"/>
                <a:gd name="T61" fmla="*/ 2147483647 h 312"/>
                <a:gd name="T62" fmla="*/ 2147483647 w 672"/>
                <a:gd name="T63" fmla="*/ 2147483647 h 312"/>
                <a:gd name="T64" fmla="*/ 2147483647 w 672"/>
                <a:gd name="T65" fmla="*/ 2147483647 h 312"/>
                <a:gd name="T66" fmla="*/ 2147483647 w 672"/>
                <a:gd name="T67" fmla="*/ 2147483647 h 312"/>
                <a:gd name="T68" fmla="*/ 2147483647 w 672"/>
                <a:gd name="T69" fmla="*/ 2147483647 h 312"/>
                <a:gd name="T70" fmla="*/ 2147483647 w 672"/>
                <a:gd name="T71" fmla="*/ 2147483647 h 312"/>
                <a:gd name="T72" fmla="*/ 2147483647 w 672"/>
                <a:gd name="T73" fmla="*/ 2147483647 h 312"/>
                <a:gd name="T74" fmla="*/ 2147483647 w 672"/>
                <a:gd name="T75" fmla="*/ 2147483647 h 312"/>
                <a:gd name="T76" fmla="*/ 2147483647 w 672"/>
                <a:gd name="T77" fmla="*/ 0 h 312"/>
                <a:gd name="T78" fmla="*/ 2147483647 w 672"/>
                <a:gd name="T79" fmla="*/ 2147483647 h 312"/>
                <a:gd name="T80" fmla="*/ 2147483647 w 672"/>
                <a:gd name="T81" fmla="*/ 2147483647 h 312"/>
                <a:gd name="T82" fmla="*/ 2147483647 w 672"/>
                <a:gd name="T83" fmla="*/ 2147483647 h 312"/>
                <a:gd name="T84" fmla="*/ 2147483647 w 672"/>
                <a:gd name="T85" fmla="*/ 2147483647 h 312"/>
                <a:gd name="T86" fmla="*/ 2147483647 w 672"/>
                <a:gd name="T87" fmla="*/ 2147483647 h 312"/>
                <a:gd name="T88" fmla="*/ 2147483647 w 672"/>
                <a:gd name="T89" fmla="*/ 2147483647 h 31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672"/>
                <a:gd name="T136" fmla="*/ 0 h 312"/>
                <a:gd name="T137" fmla="*/ 672 w 672"/>
                <a:gd name="T138" fmla="*/ 312 h 31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672" h="312">
                  <a:moveTo>
                    <a:pt x="36" y="132"/>
                  </a:moveTo>
                  <a:lnTo>
                    <a:pt x="66" y="144"/>
                  </a:lnTo>
                  <a:lnTo>
                    <a:pt x="78" y="156"/>
                  </a:lnTo>
                  <a:lnTo>
                    <a:pt x="114" y="156"/>
                  </a:lnTo>
                  <a:lnTo>
                    <a:pt x="114" y="144"/>
                  </a:lnTo>
                  <a:lnTo>
                    <a:pt x="126" y="144"/>
                  </a:lnTo>
                  <a:lnTo>
                    <a:pt x="126" y="132"/>
                  </a:lnTo>
                  <a:lnTo>
                    <a:pt x="144" y="156"/>
                  </a:lnTo>
                  <a:lnTo>
                    <a:pt x="162" y="156"/>
                  </a:lnTo>
                  <a:lnTo>
                    <a:pt x="168" y="174"/>
                  </a:lnTo>
                  <a:lnTo>
                    <a:pt x="192" y="174"/>
                  </a:lnTo>
                  <a:lnTo>
                    <a:pt x="198" y="186"/>
                  </a:lnTo>
                  <a:lnTo>
                    <a:pt x="204" y="186"/>
                  </a:lnTo>
                  <a:lnTo>
                    <a:pt x="216" y="180"/>
                  </a:lnTo>
                  <a:lnTo>
                    <a:pt x="228" y="180"/>
                  </a:lnTo>
                  <a:lnTo>
                    <a:pt x="228" y="192"/>
                  </a:lnTo>
                  <a:lnTo>
                    <a:pt x="216" y="204"/>
                  </a:lnTo>
                  <a:lnTo>
                    <a:pt x="204" y="210"/>
                  </a:lnTo>
                  <a:lnTo>
                    <a:pt x="192" y="210"/>
                  </a:lnTo>
                  <a:lnTo>
                    <a:pt x="192" y="216"/>
                  </a:lnTo>
                  <a:lnTo>
                    <a:pt x="174" y="222"/>
                  </a:lnTo>
                  <a:lnTo>
                    <a:pt x="156" y="240"/>
                  </a:lnTo>
                  <a:lnTo>
                    <a:pt x="150" y="240"/>
                  </a:lnTo>
                  <a:lnTo>
                    <a:pt x="144" y="234"/>
                  </a:lnTo>
                  <a:lnTo>
                    <a:pt x="138" y="234"/>
                  </a:lnTo>
                  <a:lnTo>
                    <a:pt x="132" y="228"/>
                  </a:lnTo>
                  <a:lnTo>
                    <a:pt x="114" y="228"/>
                  </a:lnTo>
                  <a:lnTo>
                    <a:pt x="102" y="234"/>
                  </a:lnTo>
                  <a:lnTo>
                    <a:pt x="96" y="234"/>
                  </a:lnTo>
                  <a:lnTo>
                    <a:pt x="96" y="246"/>
                  </a:lnTo>
                  <a:lnTo>
                    <a:pt x="90" y="252"/>
                  </a:lnTo>
                  <a:lnTo>
                    <a:pt x="84" y="252"/>
                  </a:lnTo>
                  <a:lnTo>
                    <a:pt x="72" y="246"/>
                  </a:lnTo>
                  <a:lnTo>
                    <a:pt x="36" y="234"/>
                  </a:lnTo>
                  <a:lnTo>
                    <a:pt x="24" y="234"/>
                  </a:lnTo>
                  <a:lnTo>
                    <a:pt x="18" y="240"/>
                  </a:lnTo>
                  <a:lnTo>
                    <a:pt x="18" y="252"/>
                  </a:lnTo>
                  <a:lnTo>
                    <a:pt x="12" y="258"/>
                  </a:lnTo>
                  <a:lnTo>
                    <a:pt x="0" y="264"/>
                  </a:lnTo>
                  <a:lnTo>
                    <a:pt x="0" y="276"/>
                  </a:lnTo>
                  <a:lnTo>
                    <a:pt x="6" y="282"/>
                  </a:lnTo>
                  <a:lnTo>
                    <a:pt x="6" y="288"/>
                  </a:lnTo>
                  <a:lnTo>
                    <a:pt x="12" y="294"/>
                  </a:lnTo>
                  <a:lnTo>
                    <a:pt x="24" y="288"/>
                  </a:lnTo>
                  <a:lnTo>
                    <a:pt x="36" y="288"/>
                  </a:lnTo>
                  <a:lnTo>
                    <a:pt x="42" y="282"/>
                  </a:lnTo>
                  <a:lnTo>
                    <a:pt x="60" y="282"/>
                  </a:lnTo>
                  <a:lnTo>
                    <a:pt x="72" y="288"/>
                  </a:lnTo>
                  <a:lnTo>
                    <a:pt x="96" y="288"/>
                  </a:lnTo>
                  <a:lnTo>
                    <a:pt x="108" y="300"/>
                  </a:lnTo>
                  <a:lnTo>
                    <a:pt x="126" y="300"/>
                  </a:lnTo>
                  <a:lnTo>
                    <a:pt x="132" y="294"/>
                  </a:lnTo>
                  <a:lnTo>
                    <a:pt x="144" y="288"/>
                  </a:lnTo>
                  <a:lnTo>
                    <a:pt x="150" y="282"/>
                  </a:lnTo>
                  <a:lnTo>
                    <a:pt x="180" y="312"/>
                  </a:lnTo>
                  <a:lnTo>
                    <a:pt x="192" y="306"/>
                  </a:lnTo>
                  <a:lnTo>
                    <a:pt x="198" y="306"/>
                  </a:lnTo>
                  <a:lnTo>
                    <a:pt x="198" y="312"/>
                  </a:lnTo>
                  <a:lnTo>
                    <a:pt x="210" y="312"/>
                  </a:lnTo>
                  <a:lnTo>
                    <a:pt x="222" y="306"/>
                  </a:lnTo>
                  <a:lnTo>
                    <a:pt x="228" y="300"/>
                  </a:lnTo>
                  <a:lnTo>
                    <a:pt x="270" y="300"/>
                  </a:lnTo>
                  <a:lnTo>
                    <a:pt x="282" y="288"/>
                  </a:lnTo>
                  <a:lnTo>
                    <a:pt x="300" y="294"/>
                  </a:lnTo>
                  <a:lnTo>
                    <a:pt x="318" y="294"/>
                  </a:lnTo>
                  <a:lnTo>
                    <a:pt x="318" y="282"/>
                  </a:lnTo>
                  <a:lnTo>
                    <a:pt x="312" y="270"/>
                  </a:lnTo>
                  <a:lnTo>
                    <a:pt x="300" y="264"/>
                  </a:lnTo>
                  <a:lnTo>
                    <a:pt x="300" y="258"/>
                  </a:lnTo>
                  <a:lnTo>
                    <a:pt x="306" y="252"/>
                  </a:lnTo>
                  <a:lnTo>
                    <a:pt x="318" y="246"/>
                  </a:lnTo>
                  <a:lnTo>
                    <a:pt x="330" y="246"/>
                  </a:lnTo>
                  <a:lnTo>
                    <a:pt x="336" y="240"/>
                  </a:lnTo>
                  <a:lnTo>
                    <a:pt x="348" y="234"/>
                  </a:lnTo>
                  <a:lnTo>
                    <a:pt x="348" y="216"/>
                  </a:lnTo>
                  <a:lnTo>
                    <a:pt x="372" y="216"/>
                  </a:lnTo>
                  <a:lnTo>
                    <a:pt x="384" y="204"/>
                  </a:lnTo>
                  <a:lnTo>
                    <a:pt x="396" y="204"/>
                  </a:lnTo>
                  <a:lnTo>
                    <a:pt x="402" y="210"/>
                  </a:lnTo>
                  <a:lnTo>
                    <a:pt x="408" y="222"/>
                  </a:lnTo>
                  <a:lnTo>
                    <a:pt x="414" y="228"/>
                  </a:lnTo>
                  <a:lnTo>
                    <a:pt x="426" y="222"/>
                  </a:lnTo>
                  <a:lnTo>
                    <a:pt x="456" y="228"/>
                  </a:lnTo>
                  <a:lnTo>
                    <a:pt x="462" y="222"/>
                  </a:lnTo>
                  <a:lnTo>
                    <a:pt x="462" y="198"/>
                  </a:lnTo>
                  <a:lnTo>
                    <a:pt x="468" y="186"/>
                  </a:lnTo>
                  <a:lnTo>
                    <a:pt x="486" y="168"/>
                  </a:lnTo>
                  <a:lnTo>
                    <a:pt x="516" y="168"/>
                  </a:lnTo>
                  <a:lnTo>
                    <a:pt x="534" y="174"/>
                  </a:lnTo>
                  <a:lnTo>
                    <a:pt x="552" y="174"/>
                  </a:lnTo>
                  <a:lnTo>
                    <a:pt x="558" y="168"/>
                  </a:lnTo>
                  <a:lnTo>
                    <a:pt x="564" y="156"/>
                  </a:lnTo>
                  <a:lnTo>
                    <a:pt x="564" y="138"/>
                  </a:lnTo>
                  <a:lnTo>
                    <a:pt x="570" y="132"/>
                  </a:lnTo>
                  <a:lnTo>
                    <a:pt x="582" y="126"/>
                  </a:lnTo>
                  <a:lnTo>
                    <a:pt x="594" y="114"/>
                  </a:lnTo>
                  <a:lnTo>
                    <a:pt x="642" y="96"/>
                  </a:lnTo>
                  <a:lnTo>
                    <a:pt x="666" y="96"/>
                  </a:lnTo>
                  <a:lnTo>
                    <a:pt x="672" y="90"/>
                  </a:lnTo>
                  <a:lnTo>
                    <a:pt x="672" y="78"/>
                  </a:lnTo>
                  <a:lnTo>
                    <a:pt x="660" y="66"/>
                  </a:lnTo>
                  <a:lnTo>
                    <a:pt x="642" y="60"/>
                  </a:lnTo>
                  <a:lnTo>
                    <a:pt x="600" y="60"/>
                  </a:lnTo>
                  <a:lnTo>
                    <a:pt x="576" y="30"/>
                  </a:lnTo>
                  <a:lnTo>
                    <a:pt x="558" y="30"/>
                  </a:lnTo>
                  <a:lnTo>
                    <a:pt x="546" y="18"/>
                  </a:lnTo>
                  <a:lnTo>
                    <a:pt x="498" y="24"/>
                  </a:lnTo>
                  <a:lnTo>
                    <a:pt x="486" y="24"/>
                  </a:lnTo>
                  <a:lnTo>
                    <a:pt x="474" y="18"/>
                  </a:lnTo>
                  <a:lnTo>
                    <a:pt x="354" y="18"/>
                  </a:lnTo>
                  <a:lnTo>
                    <a:pt x="336" y="24"/>
                  </a:lnTo>
                  <a:lnTo>
                    <a:pt x="318" y="24"/>
                  </a:lnTo>
                  <a:lnTo>
                    <a:pt x="306" y="18"/>
                  </a:lnTo>
                  <a:lnTo>
                    <a:pt x="282" y="18"/>
                  </a:lnTo>
                  <a:lnTo>
                    <a:pt x="276" y="6"/>
                  </a:lnTo>
                  <a:lnTo>
                    <a:pt x="264" y="0"/>
                  </a:lnTo>
                  <a:lnTo>
                    <a:pt x="222" y="0"/>
                  </a:lnTo>
                  <a:lnTo>
                    <a:pt x="216" y="6"/>
                  </a:lnTo>
                  <a:lnTo>
                    <a:pt x="216" y="36"/>
                  </a:lnTo>
                  <a:lnTo>
                    <a:pt x="222" y="48"/>
                  </a:lnTo>
                  <a:lnTo>
                    <a:pt x="222" y="60"/>
                  </a:lnTo>
                  <a:lnTo>
                    <a:pt x="204" y="54"/>
                  </a:lnTo>
                  <a:lnTo>
                    <a:pt x="174" y="54"/>
                  </a:lnTo>
                  <a:lnTo>
                    <a:pt x="138" y="36"/>
                  </a:lnTo>
                  <a:lnTo>
                    <a:pt x="120" y="30"/>
                  </a:lnTo>
                  <a:lnTo>
                    <a:pt x="108" y="24"/>
                  </a:lnTo>
                  <a:lnTo>
                    <a:pt x="78" y="24"/>
                  </a:lnTo>
                  <a:lnTo>
                    <a:pt x="60" y="42"/>
                  </a:lnTo>
                  <a:lnTo>
                    <a:pt x="54" y="54"/>
                  </a:lnTo>
                  <a:lnTo>
                    <a:pt x="54" y="72"/>
                  </a:lnTo>
                  <a:lnTo>
                    <a:pt x="72" y="72"/>
                  </a:lnTo>
                  <a:lnTo>
                    <a:pt x="78" y="78"/>
                  </a:lnTo>
                  <a:lnTo>
                    <a:pt x="84" y="78"/>
                  </a:lnTo>
                  <a:lnTo>
                    <a:pt x="84" y="84"/>
                  </a:lnTo>
                  <a:lnTo>
                    <a:pt x="36" y="132"/>
                  </a:lnTo>
                  <a:close/>
                </a:path>
              </a:pathLst>
            </a:custGeom>
            <a:solidFill>
              <a:srgbClr val="F2F2F2"/>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60" name="Kuwait" descr="© INSCALE GmbH, 05.05.2010&#10;http://www.presentationload.com/">
              <a:extLst>
                <a:ext uri="{FF2B5EF4-FFF2-40B4-BE49-F238E27FC236}">
                  <a16:creationId xmlns:a16="http://schemas.microsoft.com/office/drawing/2014/main" id="{A936CDCA-6DDB-605F-4AAF-1C8A07ED6873}"/>
                </a:ext>
              </a:extLst>
            </p:cNvPr>
            <p:cNvSpPr>
              <a:spLocks/>
            </p:cNvSpPr>
            <p:nvPr/>
          </p:nvSpPr>
          <p:spPr bwMode="gray">
            <a:xfrm>
              <a:off x="5455385" y="2300887"/>
              <a:ext cx="51884" cy="45954"/>
            </a:xfrm>
            <a:custGeom>
              <a:avLst/>
              <a:gdLst>
                <a:gd name="T0" fmla="*/ 2147483647 w 138"/>
                <a:gd name="T1" fmla="*/ 0 h 120"/>
                <a:gd name="T2" fmla="*/ 2147483647 w 138"/>
                <a:gd name="T3" fmla="*/ 0 h 120"/>
                <a:gd name="T4" fmla="*/ 2147483647 w 138"/>
                <a:gd name="T5" fmla="*/ 2147483647 h 120"/>
                <a:gd name="T6" fmla="*/ 2147483647 w 138"/>
                <a:gd name="T7" fmla="*/ 2147483647 h 120"/>
                <a:gd name="T8" fmla="*/ 2147483647 w 138"/>
                <a:gd name="T9" fmla="*/ 2147483647 h 120"/>
                <a:gd name="T10" fmla="*/ 2147483647 w 138"/>
                <a:gd name="T11" fmla="*/ 2147483647 h 120"/>
                <a:gd name="T12" fmla="*/ 0 w 138"/>
                <a:gd name="T13" fmla="*/ 2147483647 h 120"/>
                <a:gd name="T14" fmla="*/ 2147483647 w 138"/>
                <a:gd name="T15" fmla="*/ 2147483647 h 120"/>
                <a:gd name="T16" fmla="*/ 2147483647 w 138"/>
                <a:gd name="T17" fmla="*/ 2147483647 h 120"/>
                <a:gd name="T18" fmla="*/ 2147483647 w 138"/>
                <a:gd name="T19" fmla="*/ 2147483647 h 120"/>
                <a:gd name="T20" fmla="*/ 2147483647 w 138"/>
                <a:gd name="T21" fmla="*/ 2147483647 h 120"/>
                <a:gd name="T22" fmla="*/ 2147483647 w 138"/>
                <a:gd name="T23" fmla="*/ 2147483647 h 120"/>
                <a:gd name="T24" fmla="*/ 2147483647 w 138"/>
                <a:gd name="T25" fmla="*/ 2147483647 h 120"/>
                <a:gd name="T26" fmla="*/ 2147483647 w 138"/>
                <a:gd name="T27" fmla="*/ 2147483647 h 120"/>
                <a:gd name="T28" fmla="*/ 2147483647 w 138"/>
                <a:gd name="T29" fmla="*/ 2147483647 h 120"/>
                <a:gd name="T30" fmla="*/ 2147483647 w 138"/>
                <a:gd name="T31" fmla="*/ 2147483647 h 120"/>
                <a:gd name="T32" fmla="*/ 2147483647 w 138"/>
                <a:gd name="T33" fmla="*/ 2147483647 h 120"/>
                <a:gd name="T34" fmla="*/ 2147483647 w 138"/>
                <a:gd name="T35" fmla="*/ 2147483647 h 120"/>
                <a:gd name="T36" fmla="*/ 2147483647 w 138"/>
                <a:gd name="T37" fmla="*/ 2147483647 h 120"/>
                <a:gd name="T38" fmla="*/ 2147483647 w 138"/>
                <a:gd name="T39" fmla="*/ 2147483647 h 120"/>
                <a:gd name="T40" fmla="*/ 2147483647 w 138"/>
                <a:gd name="T41" fmla="*/ 2147483647 h 120"/>
                <a:gd name="T42" fmla="*/ 2147483647 w 138"/>
                <a:gd name="T43" fmla="*/ 2147483647 h 120"/>
                <a:gd name="T44" fmla="*/ 2147483647 w 138"/>
                <a:gd name="T45" fmla="*/ 2147483647 h 120"/>
                <a:gd name="T46" fmla="*/ 2147483647 w 138"/>
                <a:gd name="T47" fmla="*/ 2147483647 h 120"/>
                <a:gd name="T48" fmla="*/ 2147483647 w 138"/>
                <a:gd name="T49" fmla="*/ 0 h 120"/>
                <a:gd name="T50" fmla="*/ 2147483647 w 138"/>
                <a:gd name="T51" fmla="*/ 0 h 12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8"/>
                <a:gd name="T79" fmla="*/ 0 h 120"/>
                <a:gd name="T80" fmla="*/ 138 w 138"/>
                <a:gd name="T81" fmla="*/ 120 h 12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8" h="120">
                  <a:moveTo>
                    <a:pt x="54" y="0"/>
                  </a:moveTo>
                  <a:lnTo>
                    <a:pt x="36" y="0"/>
                  </a:lnTo>
                  <a:lnTo>
                    <a:pt x="30" y="12"/>
                  </a:lnTo>
                  <a:lnTo>
                    <a:pt x="24" y="18"/>
                  </a:lnTo>
                  <a:lnTo>
                    <a:pt x="24" y="30"/>
                  </a:lnTo>
                  <a:lnTo>
                    <a:pt x="6" y="66"/>
                  </a:lnTo>
                  <a:lnTo>
                    <a:pt x="0" y="72"/>
                  </a:lnTo>
                  <a:lnTo>
                    <a:pt x="42" y="72"/>
                  </a:lnTo>
                  <a:lnTo>
                    <a:pt x="60" y="78"/>
                  </a:lnTo>
                  <a:lnTo>
                    <a:pt x="66" y="78"/>
                  </a:lnTo>
                  <a:lnTo>
                    <a:pt x="66" y="114"/>
                  </a:lnTo>
                  <a:lnTo>
                    <a:pt x="72" y="120"/>
                  </a:lnTo>
                  <a:lnTo>
                    <a:pt x="138" y="120"/>
                  </a:lnTo>
                  <a:lnTo>
                    <a:pt x="126" y="114"/>
                  </a:lnTo>
                  <a:lnTo>
                    <a:pt x="114" y="102"/>
                  </a:lnTo>
                  <a:lnTo>
                    <a:pt x="102" y="78"/>
                  </a:lnTo>
                  <a:lnTo>
                    <a:pt x="102" y="66"/>
                  </a:lnTo>
                  <a:lnTo>
                    <a:pt x="90" y="60"/>
                  </a:lnTo>
                  <a:lnTo>
                    <a:pt x="84" y="36"/>
                  </a:lnTo>
                  <a:lnTo>
                    <a:pt x="120" y="36"/>
                  </a:lnTo>
                  <a:lnTo>
                    <a:pt x="120" y="18"/>
                  </a:lnTo>
                  <a:lnTo>
                    <a:pt x="114" y="12"/>
                  </a:lnTo>
                  <a:lnTo>
                    <a:pt x="90" y="12"/>
                  </a:lnTo>
                  <a:lnTo>
                    <a:pt x="90" y="18"/>
                  </a:lnTo>
                  <a:lnTo>
                    <a:pt x="84" y="0"/>
                  </a:lnTo>
                  <a:lnTo>
                    <a:pt x="54" y="0"/>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61" name="Kosovo" descr="© INSCALE GmbH, 05.05.2010&#10;http://www.presentationload.com/">
              <a:extLst>
                <a:ext uri="{FF2B5EF4-FFF2-40B4-BE49-F238E27FC236}">
                  <a16:creationId xmlns:a16="http://schemas.microsoft.com/office/drawing/2014/main" id="{BCFDF891-DACC-11F6-1969-D17B11F72E5C}"/>
                </a:ext>
              </a:extLst>
            </p:cNvPr>
            <p:cNvSpPr>
              <a:spLocks noEditPoints="1"/>
            </p:cNvSpPr>
            <p:nvPr/>
          </p:nvSpPr>
          <p:spPr bwMode="gray">
            <a:xfrm>
              <a:off x="4751078" y="1888485"/>
              <a:ext cx="48855" cy="49219"/>
            </a:xfrm>
            <a:custGeom>
              <a:avLst/>
              <a:gdLst/>
              <a:ahLst/>
              <a:cxnLst>
                <a:cxn ang="0">
                  <a:pos x="6" y="75"/>
                </a:cxn>
                <a:cxn ang="0">
                  <a:pos x="0" y="72"/>
                </a:cxn>
                <a:cxn ang="0">
                  <a:pos x="227" y="122"/>
                </a:cxn>
                <a:cxn ang="0">
                  <a:pos x="218" y="127"/>
                </a:cxn>
                <a:cxn ang="0">
                  <a:pos x="214" y="120"/>
                </a:cxn>
                <a:cxn ang="0">
                  <a:pos x="206" y="113"/>
                </a:cxn>
                <a:cxn ang="0">
                  <a:pos x="197" y="111"/>
                </a:cxn>
                <a:cxn ang="0">
                  <a:pos x="190" y="110"/>
                </a:cxn>
                <a:cxn ang="0">
                  <a:pos x="185" y="110"/>
                </a:cxn>
                <a:cxn ang="0">
                  <a:pos x="185" y="101"/>
                </a:cxn>
                <a:cxn ang="0">
                  <a:pos x="189" y="95"/>
                </a:cxn>
                <a:cxn ang="0">
                  <a:pos x="187" y="84"/>
                </a:cxn>
                <a:cxn ang="0">
                  <a:pos x="177" y="78"/>
                </a:cxn>
                <a:cxn ang="0">
                  <a:pos x="169" y="76"/>
                </a:cxn>
                <a:cxn ang="0">
                  <a:pos x="170" y="61"/>
                </a:cxn>
                <a:cxn ang="0">
                  <a:pos x="165" y="56"/>
                </a:cxn>
                <a:cxn ang="0">
                  <a:pos x="161" y="61"/>
                </a:cxn>
                <a:cxn ang="0">
                  <a:pos x="157" y="53"/>
                </a:cxn>
                <a:cxn ang="0">
                  <a:pos x="158" y="35"/>
                </a:cxn>
                <a:cxn ang="0">
                  <a:pos x="154" y="32"/>
                </a:cxn>
                <a:cxn ang="0">
                  <a:pos x="147" y="32"/>
                </a:cxn>
                <a:cxn ang="0">
                  <a:pos x="137" y="32"/>
                </a:cxn>
                <a:cxn ang="0">
                  <a:pos x="126" y="27"/>
                </a:cxn>
                <a:cxn ang="0">
                  <a:pos x="131" y="20"/>
                </a:cxn>
                <a:cxn ang="0">
                  <a:pos x="130" y="12"/>
                </a:cxn>
                <a:cxn ang="0">
                  <a:pos x="122" y="0"/>
                </a:cxn>
                <a:cxn ang="0">
                  <a:pos x="115" y="6"/>
                </a:cxn>
                <a:cxn ang="0">
                  <a:pos x="104" y="13"/>
                </a:cxn>
                <a:cxn ang="0">
                  <a:pos x="96" y="15"/>
                </a:cxn>
                <a:cxn ang="0">
                  <a:pos x="89" y="13"/>
                </a:cxn>
                <a:cxn ang="0">
                  <a:pos x="91" y="22"/>
                </a:cxn>
                <a:cxn ang="0">
                  <a:pos x="101" y="27"/>
                </a:cxn>
                <a:cxn ang="0">
                  <a:pos x="97" y="33"/>
                </a:cxn>
                <a:cxn ang="0">
                  <a:pos x="100" y="40"/>
                </a:cxn>
                <a:cxn ang="0">
                  <a:pos x="99" y="46"/>
                </a:cxn>
                <a:cxn ang="0">
                  <a:pos x="92" y="49"/>
                </a:cxn>
                <a:cxn ang="0">
                  <a:pos x="88" y="45"/>
                </a:cxn>
                <a:cxn ang="0">
                  <a:pos x="70" y="59"/>
                </a:cxn>
                <a:cxn ang="0">
                  <a:pos x="73" y="71"/>
                </a:cxn>
                <a:cxn ang="0">
                  <a:pos x="45" y="74"/>
                </a:cxn>
                <a:cxn ang="0">
                  <a:pos x="14" y="72"/>
                </a:cxn>
                <a:cxn ang="0">
                  <a:pos x="6" y="75"/>
                </a:cxn>
                <a:cxn ang="0">
                  <a:pos x="6" y="141"/>
                </a:cxn>
                <a:cxn ang="0">
                  <a:pos x="14" y="155"/>
                </a:cxn>
                <a:cxn ang="0">
                  <a:pos x="27" y="173"/>
                </a:cxn>
                <a:cxn ang="0">
                  <a:pos x="50" y="175"/>
                </a:cxn>
                <a:cxn ang="0">
                  <a:pos x="60" y="211"/>
                </a:cxn>
                <a:cxn ang="0">
                  <a:pos x="60" y="237"/>
                </a:cxn>
                <a:cxn ang="0">
                  <a:pos x="92" y="226"/>
                </a:cxn>
                <a:cxn ang="0">
                  <a:pos x="138" y="205"/>
                </a:cxn>
                <a:cxn ang="0">
                  <a:pos x="146" y="184"/>
                </a:cxn>
                <a:cxn ang="0">
                  <a:pos x="189" y="173"/>
                </a:cxn>
                <a:cxn ang="0">
                  <a:pos x="209" y="163"/>
                </a:cxn>
                <a:cxn ang="0">
                  <a:pos x="217" y="156"/>
                </a:cxn>
                <a:cxn ang="0">
                  <a:pos x="225" y="144"/>
                </a:cxn>
                <a:cxn ang="0">
                  <a:pos x="228" y="137"/>
                </a:cxn>
                <a:cxn ang="0">
                  <a:pos x="232" y="129"/>
                </a:cxn>
              </a:cxnLst>
              <a:rect l="0" t="0" r="r" b="b"/>
              <a:pathLst>
                <a:path w="232" h="237">
                  <a:moveTo>
                    <a:pt x="0" y="72"/>
                  </a:moveTo>
                  <a:cubicBezTo>
                    <a:pt x="1" y="72"/>
                    <a:pt x="2" y="73"/>
                    <a:pt x="6" y="75"/>
                  </a:cubicBezTo>
                  <a:cubicBezTo>
                    <a:pt x="6" y="66"/>
                    <a:pt x="6" y="66"/>
                    <a:pt x="6" y="66"/>
                  </a:cubicBezTo>
                  <a:lnTo>
                    <a:pt x="0" y="72"/>
                  </a:lnTo>
                  <a:close/>
                  <a:moveTo>
                    <a:pt x="231" y="124"/>
                  </a:moveTo>
                  <a:cubicBezTo>
                    <a:pt x="227" y="122"/>
                    <a:pt x="227" y="122"/>
                    <a:pt x="227" y="122"/>
                  </a:cubicBezTo>
                  <a:cubicBezTo>
                    <a:pt x="223" y="124"/>
                    <a:pt x="223" y="124"/>
                    <a:pt x="223" y="124"/>
                  </a:cubicBezTo>
                  <a:cubicBezTo>
                    <a:pt x="218" y="127"/>
                    <a:pt x="218" y="127"/>
                    <a:pt x="218" y="127"/>
                  </a:cubicBezTo>
                  <a:cubicBezTo>
                    <a:pt x="216" y="124"/>
                    <a:pt x="216" y="124"/>
                    <a:pt x="216" y="124"/>
                  </a:cubicBezTo>
                  <a:cubicBezTo>
                    <a:pt x="214" y="120"/>
                    <a:pt x="214" y="120"/>
                    <a:pt x="214" y="120"/>
                  </a:cubicBezTo>
                  <a:cubicBezTo>
                    <a:pt x="210" y="117"/>
                    <a:pt x="210" y="117"/>
                    <a:pt x="210" y="117"/>
                  </a:cubicBezTo>
                  <a:cubicBezTo>
                    <a:pt x="206" y="113"/>
                    <a:pt x="206" y="113"/>
                    <a:pt x="206" y="113"/>
                  </a:cubicBezTo>
                  <a:cubicBezTo>
                    <a:pt x="202" y="113"/>
                    <a:pt x="202" y="113"/>
                    <a:pt x="202" y="113"/>
                  </a:cubicBezTo>
                  <a:cubicBezTo>
                    <a:pt x="197" y="111"/>
                    <a:pt x="197" y="111"/>
                    <a:pt x="197" y="111"/>
                  </a:cubicBezTo>
                  <a:cubicBezTo>
                    <a:pt x="195" y="113"/>
                    <a:pt x="195" y="113"/>
                    <a:pt x="195" y="113"/>
                  </a:cubicBezTo>
                  <a:cubicBezTo>
                    <a:pt x="190" y="110"/>
                    <a:pt x="190" y="110"/>
                    <a:pt x="190" y="110"/>
                  </a:cubicBezTo>
                  <a:cubicBezTo>
                    <a:pt x="186" y="111"/>
                    <a:pt x="186" y="111"/>
                    <a:pt x="186" y="111"/>
                  </a:cubicBezTo>
                  <a:cubicBezTo>
                    <a:pt x="185" y="110"/>
                    <a:pt x="185" y="110"/>
                    <a:pt x="185" y="110"/>
                  </a:cubicBezTo>
                  <a:cubicBezTo>
                    <a:pt x="187" y="106"/>
                    <a:pt x="187" y="106"/>
                    <a:pt x="187" y="106"/>
                  </a:cubicBezTo>
                  <a:cubicBezTo>
                    <a:pt x="185" y="101"/>
                    <a:pt x="185" y="101"/>
                    <a:pt x="185" y="101"/>
                  </a:cubicBezTo>
                  <a:cubicBezTo>
                    <a:pt x="189" y="100"/>
                    <a:pt x="189" y="100"/>
                    <a:pt x="189" y="100"/>
                  </a:cubicBezTo>
                  <a:cubicBezTo>
                    <a:pt x="189" y="95"/>
                    <a:pt x="189" y="95"/>
                    <a:pt x="189" y="95"/>
                  </a:cubicBezTo>
                  <a:cubicBezTo>
                    <a:pt x="191" y="85"/>
                    <a:pt x="191" y="85"/>
                    <a:pt x="191" y="85"/>
                  </a:cubicBezTo>
                  <a:cubicBezTo>
                    <a:pt x="187" y="84"/>
                    <a:pt x="187" y="84"/>
                    <a:pt x="187" y="84"/>
                  </a:cubicBezTo>
                  <a:cubicBezTo>
                    <a:pt x="182" y="80"/>
                    <a:pt x="182" y="80"/>
                    <a:pt x="182" y="80"/>
                  </a:cubicBezTo>
                  <a:cubicBezTo>
                    <a:pt x="177" y="78"/>
                    <a:pt x="177" y="78"/>
                    <a:pt x="177" y="78"/>
                  </a:cubicBezTo>
                  <a:cubicBezTo>
                    <a:pt x="172" y="78"/>
                    <a:pt x="172" y="78"/>
                    <a:pt x="172" y="78"/>
                  </a:cubicBezTo>
                  <a:cubicBezTo>
                    <a:pt x="169" y="76"/>
                    <a:pt x="169" y="76"/>
                    <a:pt x="169" y="76"/>
                  </a:cubicBezTo>
                  <a:cubicBezTo>
                    <a:pt x="169" y="71"/>
                    <a:pt x="169" y="71"/>
                    <a:pt x="169" y="71"/>
                  </a:cubicBezTo>
                  <a:cubicBezTo>
                    <a:pt x="170" y="61"/>
                    <a:pt x="170" y="61"/>
                    <a:pt x="170" y="61"/>
                  </a:cubicBezTo>
                  <a:cubicBezTo>
                    <a:pt x="167" y="57"/>
                    <a:pt x="167" y="57"/>
                    <a:pt x="167" y="57"/>
                  </a:cubicBezTo>
                  <a:cubicBezTo>
                    <a:pt x="165" y="56"/>
                    <a:pt x="165" y="56"/>
                    <a:pt x="165" y="56"/>
                  </a:cubicBezTo>
                  <a:cubicBezTo>
                    <a:pt x="163" y="59"/>
                    <a:pt x="163" y="59"/>
                    <a:pt x="163" y="59"/>
                  </a:cubicBezTo>
                  <a:cubicBezTo>
                    <a:pt x="161" y="61"/>
                    <a:pt x="161" y="61"/>
                    <a:pt x="161" y="61"/>
                  </a:cubicBezTo>
                  <a:cubicBezTo>
                    <a:pt x="158" y="60"/>
                    <a:pt x="158" y="60"/>
                    <a:pt x="158" y="60"/>
                  </a:cubicBezTo>
                  <a:cubicBezTo>
                    <a:pt x="157" y="53"/>
                    <a:pt x="157" y="53"/>
                    <a:pt x="157" y="53"/>
                  </a:cubicBezTo>
                  <a:cubicBezTo>
                    <a:pt x="159" y="36"/>
                    <a:pt x="159" y="36"/>
                    <a:pt x="159" y="36"/>
                  </a:cubicBezTo>
                  <a:cubicBezTo>
                    <a:pt x="158" y="35"/>
                    <a:pt x="158" y="35"/>
                    <a:pt x="158" y="35"/>
                  </a:cubicBezTo>
                  <a:cubicBezTo>
                    <a:pt x="151" y="36"/>
                    <a:pt x="151" y="36"/>
                    <a:pt x="151" y="36"/>
                  </a:cubicBezTo>
                  <a:cubicBezTo>
                    <a:pt x="154" y="32"/>
                    <a:pt x="154" y="32"/>
                    <a:pt x="154" y="32"/>
                  </a:cubicBezTo>
                  <a:cubicBezTo>
                    <a:pt x="152" y="29"/>
                    <a:pt x="152" y="29"/>
                    <a:pt x="152" y="29"/>
                  </a:cubicBezTo>
                  <a:cubicBezTo>
                    <a:pt x="147" y="32"/>
                    <a:pt x="147" y="32"/>
                    <a:pt x="147" y="32"/>
                  </a:cubicBezTo>
                  <a:cubicBezTo>
                    <a:pt x="142" y="30"/>
                    <a:pt x="142" y="30"/>
                    <a:pt x="142" y="30"/>
                  </a:cubicBezTo>
                  <a:cubicBezTo>
                    <a:pt x="137" y="32"/>
                    <a:pt x="137" y="32"/>
                    <a:pt x="137" y="32"/>
                  </a:cubicBezTo>
                  <a:cubicBezTo>
                    <a:pt x="132" y="28"/>
                    <a:pt x="132" y="28"/>
                    <a:pt x="132" y="28"/>
                  </a:cubicBezTo>
                  <a:cubicBezTo>
                    <a:pt x="126" y="27"/>
                    <a:pt x="126" y="27"/>
                    <a:pt x="126" y="27"/>
                  </a:cubicBezTo>
                  <a:cubicBezTo>
                    <a:pt x="125" y="24"/>
                    <a:pt x="125" y="24"/>
                    <a:pt x="125" y="24"/>
                  </a:cubicBezTo>
                  <a:cubicBezTo>
                    <a:pt x="131" y="20"/>
                    <a:pt x="131" y="20"/>
                    <a:pt x="131" y="20"/>
                  </a:cubicBezTo>
                  <a:cubicBezTo>
                    <a:pt x="131" y="17"/>
                    <a:pt x="131" y="17"/>
                    <a:pt x="131" y="17"/>
                  </a:cubicBezTo>
                  <a:cubicBezTo>
                    <a:pt x="130" y="12"/>
                    <a:pt x="130" y="12"/>
                    <a:pt x="130" y="12"/>
                  </a:cubicBezTo>
                  <a:cubicBezTo>
                    <a:pt x="126" y="5"/>
                    <a:pt x="126" y="5"/>
                    <a:pt x="126" y="5"/>
                  </a:cubicBezTo>
                  <a:cubicBezTo>
                    <a:pt x="122" y="0"/>
                    <a:pt x="122" y="0"/>
                    <a:pt x="122" y="0"/>
                  </a:cubicBezTo>
                  <a:cubicBezTo>
                    <a:pt x="116" y="2"/>
                    <a:pt x="116" y="2"/>
                    <a:pt x="116" y="2"/>
                  </a:cubicBezTo>
                  <a:cubicBezTo>
                    <a:pt x="115" y="6"/>
                    <a:pt x="115" y="6"/>
                    <a:pt x="115" y="6"/>
                  </a:cubicBezTo>
                  <a:cubicBezTo>
                    <a:pt x="112" y="8"/>
                    <a:pt x="112" y="8"/>
                    <a:pt x="112" y="8"/>
                  </a:cubicBezTo>
                  <a:cubicBezTo>
                    <a:pt x="104" y="13"/>
                    <a:pt x="104" y="13"/>
                    <a:pt x="104" y="13"/>
                  </a:cubicBezTo>
                  <a:cubicBezTo>
                    <a:pt x="100" y="16"/>
                    <a:pt x="100" y="16"/>
                    <a:pt x="100" y="16"/>
                  </a:cubicBezTo>
                  <a:cubicBezTo>
                    <a:pt x="96" y="15"/>
                    <a:pt x="96" y="15"/>
                    <a:pt x="96" y="15"/>
                  </a:cubicBezTo>
                  <a:cubicBezTo>
                    <a:pt x="92" y="17"/>
                    <a:pt x="92" y="17"/>
                    <a:pt x="92" y="17"/>
                  </a:cubicBezTo>
                  <a:cubicBezTo>
                    <a:pt x="89" y="13"/>
                    <a:pt x="89" y="13"/>
                    <a:pt x="89" y="13"/>
                  </a:cubicBezTo>
                  <a:cubicBezTo>
                    <a:pt x="88" y="16"/>
                    <a:pt x="88" y="16"/>
                    <a:pt x="88" y="16"/>
                  </a:cubicBezTo>
                  <a:cubicBezTo>
                    <a:pt x="91" y="22"/>
                    <a:pt x="91" y="22"/>
                    <a:pt x="91" y="22"/>
                  </a:cubicBezTo>
                  <a:cubicBezTo>
                    <a:pt x="99" y="24"/>
                    <a:pt x="99" y="24"/>
                    <a:pt x="99" y="24"/>
                  </a:cubicBezTo>
                  <a:cubicBezTo>
                    <a:pt x="101" y="27"/>
                    <a:pt x="101" y="27"/>
                    <a:pt x="101" y="27"/>
                  </a:cubicBezTo>
                  <a:cubicBezTo>
                    <a:pt x="97" y="30"/>
                    <a:pt x="97" y="30"/>
                    <a:pt x="97" y="30"/>
                  </a:cubicBezTo>
                  <a:cubicBezTo>
                    <a:pt x="97" y="33"/>
                    <a:pt x="97" y="33"/>
                    <a:pt x="97" y="33"/>
                  </a:cubicBezTo>
                  <a:cubicBezTo>
                    <a:pt x="101" y="35"/>
                    <a:pt x="101" y="35"/>
                    <a:pt x="101" y="35"/>
                  </a:cubicBezTo>
                  <a:cubicBezTo>
                    <a:pt x="100" y="40"/>
                    <a:pt x="100" y="40"/>
                    <a:pt x="100" y="40"/>
                  </a:cubicBezTo>
                  <a:cubicBezTo>
                    <a:pt x="97" y="42"/>
                    <a:pt x="97" y="42"/>
                    <a:pt x="97" y="42"/>
                  </a:cubicBezTo>
                  <a:cubicBezTo>
                    <a:pt x="99" y="46"/>
                    <a:pt x="99" y="46"/>
                    <a:pt x="99" y="46"/>
                  </a:cubicBezTo>
                  <a:cubicBezTo>
                    <a:pt x="96" y="47"/>
                    <a:pt x="96" y="47"/>
                    <a:pt x="96" y="47"/>
                  </a:cubicBezTo>
                  <a:cubicBezTo>
                    <a:pt x="92" y="49"/>
                    <a:pt x="92" y="49"/>
                    <a:pt x="92" y="49"/>
                  </a:cubicBezTo>
                  <a:cubicBezTo>
                    <a:pt x="91" y="44"/>
                    <a:pt x="91" y="44"/>
                    <a:pt x="91" y="44"/>
                  </a:cubicBezTo>
                  <a:cubicBezTo>
                    <a:pt x="88" y="45"/>
                    <a:pt x="88" y="45"/>
                    <a:pt x="88" y="45"/>
                  </a:cubicBezTo>
                  <a:cubicBezTo>
                    <a:pt x="78" y="53"/>
                    <a:pt x="78" y="53"/>
                    <a:pt x="78" y="53"/>
                  </a:cubicBezTo>
                  <a:cubicBezTo>
                    <a:pt x="70" y="59"/>
                    <a:pt x="70" y="59"/>
                    <a:pt x="70" y="59"/>
                  </a:cubicBezTo>
                  <a:cubicBezTo>
                    <a:pt x="72" y="65"/>
                    <a:pt x="72" y="65"/>
                    <a:pt x="72" y="65"/>
                  </a:cubicBezTo>
                  <a:cubicBezTo>
                    <a:pt x="73" y="71"/>
                    <a:pt x="73" y="71"/>
                    <a:pt x="73" y="71"/>
                  </a:cubicBezTo>
                  <a:cubicBezTo>
                    <a:pt x="63" y="74"/>
                    <a:pt x="63" y="74"/>
                    <a:pt x="63" y="74"/>
                  </a:cubicBezTo>
                  <a:cubicBezTo>
                    <a:pt x="45" y="74"/>
                    <a:pt x="45" y="74"/>
                    <a:pt x="45" y="74"/>
                  </a:cubicBezTo>
                  <a:cubicBezTo>
                    <a:pt x="32" y="75"/>
                    <a:pt x="32" y="75"/>
                    <a:pt x="32" y="75"/>
                  </a:cubicBezTo>
                  <a:cubicBezTo>
                    <a:pt x="14" y="72"/>
                    <a:pt x="14" y="72"/>
                    <a:pt x="14" y="72"/>
                  </a:cubicBezTo>
                  <a:cubicBezTo>
                    <a:pt x="9" y="77"/>
                    <a:pt x="9" y="77"/>
                    <a:pt x="9" y="77"/>
                  </a:cubicBezTo>
                  <a:cubicBezTo>
                    <a:pt x="8" y="76"/>
                    <a:pt x="7" y="76"/>
                    <a:pt x="6" y="75"/>
                  </a:cubicBezTo>
                  <a:cubicBezTo>
                    <a:pt x="6" y="116"/>
                    <a:pt x="6" y="116"/>
                    <a:pt x="6" y="116"/>
                  </a:cubicBezTo>
                  <a:cubicBezTo>
                    <a:pt x="6" y="141"/>
                    <a:pt x="6" y="141"/>
                    <a:pt x="6" y="141"/>
                  </a:cubicBezTo>
                  <a:cubicBezTo>
                    <a:pt x="14" y="153"/>
                    <a:pt x="14" y="153"/>
                    <a:pt x="14" y="153"/>
                  </a:cubicBezTo>
                  <a:cubicBezTo>
                    <a:pt x="14" y="154"/>
                    <a:pt x="14" y="155"/>
                    <a:pt x="14" y="155"/>
                  </a:cubicBezTo>
                  <a:cubicBezTo>
                    <a:pt x="14" y="155"/>
                    <a:pt x="15" y="155"/>
                    <a:pt x="16" y="156"/>
                  </a:cubicBezTo>
                  <a:cubicBezTo>
                    <a:pt x="27" y="173"/>
                    <a:pt x="27" y="173"/>
                    <a:pt x="27" y="173"/>
                  </a:cubicBezTo>
                  <a:cubicBezTo>
                    <a:pt x="48" y="173"/>
                    <a:pt x="48" y="173"/>
                    <a:pt x="48" y="173"/>
                  </a:cubicBezTo>
                  <a:cubicBezTo>
                    <a:pt x="48" y="173"/>
                    <a:pt x="49" y="174"/>
                    <a:pt x="50" y="175"/>
                  </a:cubicBezTo>
                  <a:cubicBezTo>
                    <a:pt x="59" y="201"/>
                    <a:pt x="59" y="201"/>
                    <a:pt x="59" y="201"/>
                  </a:cubicBezTo>
                  <a:cubicBezTo>
                    <a:pt x="59" y="205"/>
                    <a:pt x="60" y="208"/>
                    <a:pt x="60" y="211"/>
                  </a:cubicBezTo>
                  <a:cubicBezTo>
                    <a:pt x="60" y="229"/>
                    <a:pt x="60" y="229"/>
                    <a:pt x="60" y="229"/>
                  </a:cubicBezTo>
                  <a:cubicBezTo>
                    <a:pt x="60" y="237"/>
                    <a:pt x="60" y="237"/>
                    <a:pt x="60" y="237"/>
                  </a:cubicBezTo>
                  <a:cubicBezTo>
                    <a:pt x="76" y="232"/>
                    <a:pt x="76" y="232"/>
                    <a:pt x="76" y="232"/>
                  </a:cubicBezTo>
                  <a:cubicBezTo>
                    <a:pt x="92" y="226"/>
                    <a:pt x="92" y="226"/>
                    <a:pt x="92" y="226"/>
                  </a:cubicBezTo>
                  <a:cubicBezTo>
                    <a:pt x="103" y="205"/>
                    <a:pt x="103" y="205"/>
                    <a:pt x="103" y="205"/>
                  </a:cubicBezTo>
                  <a:cubicBezTo>
                    <a:pt x="138" y="205"/>
                    <a:pt x="138" y="205"/>
                    <a:pt x="138" y="205"/>
                  </a:cubicBezTo>
                  <a:cubicBezTo>
                    <a:pt x="146" y="205"/>
                    <a:pt x="146" y="205"/>
                    <a:pt x="146" y="205"/>
                  </a:cubicBezTo>
                  <a:cubicBezTo>
                    <a:pt x="146" y="184"/>
                    <a:pt x="146" y="184"/>
                    <a:pt x="146" y="184"/>
                  </a:cubicBezTo>
                  <a:cubicBezTo>
                    <a:pt x="178" y="184"/>
                    <a:pt x="178" y="184"/>
                    <a:pt x="178" y="184"/>
                  </a:cubicBezTo>
                  <a:cubicBezTo>
                    <a:pt x="189" y="173"/>
                    <a:pt x="189" y="173"/>
                    <a:pt x="189" y="173"/>
                  </a:cubicBezTo>
                  <a:cubicBezTo>
                    <a:pt x="210" y="170"/>
                    <a:pt x="210" y="170"/>
                    <a:pt x="210" y="170"/>
                  </a:cubicBezTo>
                  <a:cubicBezTo>
                    <a:pt x="209" y="163"/>
                    <a:pt x="209" y="163"/>
                    <a:pt x="209" y="163"/>
                  </a:cubicBezTo>
                  <a:cubicBezTo>
                    <a:pt x="213" y="159"/>
                    <a:pt x="213" y="159"/>
                    <a:pt x="213" y="159"/>
                  </a:cubicBezTo>
                  <a:cubicBezTo>
                    <a:pt x="217" y="156"/>
                    <a:pt x="217" y="156"/>
                    <a:pt x="217" y="156"/>
                  </a:cubicBezTo>
                  <a:cubicBezTo>
                    <a:pt x="219" y="147"/>
                    <a:pt x="219" y="147"/>
                    <a:pt x="219" y="147"/>
                  </a:cubicBezTo>
                  <a:cubicBezTo>
                    <a:pt x="225" y="144"/>
                    <a:pt x="225" y="144"/>
                    <a:pt x="225" y="144"/>
                  </a:cubicBezTo>
                  <a:cubicBezTo>
                    <a:pt x="225" y="141"/>
                    <a:pt x="225" y="141"/>
                    <a:pt x="225" y="141"/>
                  </a:cubicBezTo>
                  <a:cubicBezTo>
                    <a:pt x="228" y="137"/>
                    <a:pt x="228" y="137"/>
                    <a:pt x="228" y="137"/>
                  </a:cubicBezTo>
                  <a:cubicBezTo>
                    <a:pt x="229" y="133"/>
                    <a:pt x="229" y="133"/>
                    <a:pt x="229" y="133"/>
                  </a:cubicBezTo>
                  <a:cubicBezTo>
                    <a:pt x="232" y="129"/>
                    <a:pt x="232" y="129"/>
                    <a:pt x="232" y="129"/>
                  </a:cubicBezTo>
                  <a:cubicBezTo>
                    <a:pt x="231" y="124"/>
                    <a:pt x="231" y="124"/>
                    <a:pt x="231" y="124"/>
                  </a:cubicBez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62" name="Korea, South" descr="© INSCALE GmbH, 05.05.2010&#10;http://www.presentationload.com/">
              <a:extLst>
                <a:ext uri="{FF2B5EF4-FFF2-40B4-BE49-F238E27FC236}">
                  <a16:creationId xmlns:a16="http://schemas.microsoft.com/office/drawing/2014/main" id="{8CF06BFA-8F6F-B8D8-B819-061E735BD464}"/>
                </a:ext>
              </a:extLst>
            </p:cNvPr>
            <p:cNvSpPr>
              <a:spLocks noEditPoints="1"/>
            </p:cNvSpPr>
            <p:nvPr/>
          </p:nvSpPr>
          <p:spPr bwMode="gray">
            <a:xfrm>
              <a:off x="7434351" y="2041470"/>
              <a:ext cx="103766" cy="161579"/>
            </a:xfrm>
            <a:custGeom>
              <a:avLst/>
              <a:gdLst>
                <a:gd name="T0" fmla="*/ 2147483647 w 276"/>
                <a:gd name="T1" fmla="*/ 2147483647 h 426"/>
                <a:gd name="T2" fmla="*/ 2147483647 w 276"/>
                <a:gd name="T3" fmla="*/ 2147483647 h 426"/>
                <a:gd name="T4" fmla="*/ 2147483647 w 276"/>
                <a:gd name="T5" fmla="*/ 2147483647 h 426"/>
                <a:gd name="T6" fmla="*/ 2147483647 w 276"/>
                <a:gd name="T7" fmla="*/ 2147483647 h 426"/>
                <a:gd name="T8" fmla="*/ 2147483647 w 276"/>
                <a:gd name="T9" fmla="*/ 2147483647 h 426"/>
                <a:gd name="T10" fmla="*/ 2147483647 w 276"/>
                <a:gd name="T11" fmla="*/ 2147483647 h 426"/>
                <a:gd name="T12" fmla="*/ 2147483647 w 276"/>
                <a:gd name="T13" fmla="*/ 2147483647 h 426"/>
                <a:gd name="T14" fmla="*/ 2147483647 w 276"/>
                <a:gd name="T15" fmla="*/ 2147483647 h 426"/>
                <a:gd name="T16" fmla="*/ 2147483647 w 276"/>
                <a:gd name="T17" fmla="*/ 2147483647 h 426"/>
                <a:gd name="T18" fmla="*/ 2147483647 w 276"/>
                <a:gd name="T19" fmla="*/ 2147483647 h 426"/>
                <a:gd name="T20" fmla="*/ 2147483647 w 276"/>
                <a:gd name="T21" fmla="*/ 2147483647 h 426"/>
                <a:gd name="T22" fmla="*/ 2147483647 w 276"/>
                <a:gd name="T23" fmla="*/ 2147483647 h 426"/>
                <a:gd name="T24" fmla="*/ 2147483647 w 276"/>
                <a:gd name="T25" fmla="*/ 0 h 426"/>
                <a:gd name="T26" fmla="*/ 2147483647 w 276"/>
                <a:gd name="T27" fmla="*/ 2147483647 h 426"/>
                <a:gd name="T28" fmla="*/ 2147483647 w 276"/>
                <a:gd name="T29" fmla="*/ 2147483647 h 426"/>
                <a:gd name="T30" fmla="*/ 2147483647 w 276"/>
                <a:gd name="T31" fmla="*/ 2147483647 h 426"/>
                <a:gd name="T32" fmla="*/ 2147483647 w 276"/>
                <a:gd name="T33" fmla="*/ 2147483647 h 426"/>
                <a:gd name="T34" fmla="*/ 0 w 276"/>
                <a:gd name="T35" fmla="*/ 2147483647 h 426"/>
                <a:gd name="T36" fmla="*/ 2147483647 w 276"/>
                <a:gd name="T37" fmla="*/ 2147483647 h 426"/>
                <a:gd name="T38" fmla="*/ 2147483647 w 276"/>
                <a:gd name="T39" fmla="*/ 2147483647 h 426"/>
                <a:gd name="T40" fmla="*/ 2147483647 w 276"/>
                <a:gd name="T41" fmla="*/ 2147483647 h 426"/>
                <a:gd name="T42" fmla="*/ 2147483647 w 276"/>
                <a:gd name="T43" fmla="*/ 2147483647 h 426"/>
                <a:gd name="T44" fmla="*/ 2147483647 w 276"/>
                <a:gd name="T45" fmla="*/ 2147483647 h 426"/>
                <a:gd name="T46" fmla="*/ 2147483647 w 276"/>
                <a:gd name="T47" fmla="*/ 2147483647 h 426"/>
                <a:gd name="T48" fmla="*/ 2147483647 w 276"/>
                <a:gd name="T49" fmla="*/ 2147483647 h 426"/>
                <a:gd name="T50" fmla="*/ 2147483647 w 276"/>
                <a:gd name="T51" fmla="*/ 2147483647 h 426"/>
                <a:gd name="T52" fmla="*/ 2147483647 w 276"/>
                <a:gd name="T53" fmla="*/ 2147483647 h 426"/>
                <a:gd name="T54" fmla="*/ 2147483647 w 276"/>
                <a:gd name="T55" fmla="*/ 2147483647 h 426"/>
                <a:gd name="T56" fmla="*/ 2147483647 w 276"/>
                <a:gd name="T57" fmla="*/ 2147483647 h 426"/>
                <a:gd name="T58" fmla="*/ 2147483647 w 276"/>
                <a:gd name="T59" fmla="*/ 2147483647 h 426"/>
                <a:gd name="T60" fmla="*/ 2147483647 w 276"/>
                <a:gd name="T61" fmla="*/ 2147483647 h 426"/>
                <a:gd name="T62" fmla="*/ 2147483647 w 276"/>
                <a:gd name="T63" fmla="*/ 2147483647 h 426"/>
                <a:gd name="T64" fmla="*/ 2147483647 w 276"/>
                <a:gd name="T65" fmla="*/ 2147483647 h 426"/>
                <a:gd name="T66" fmla="*/ 2147483647 w 276"/>
                <a:gd name="T67" fmla="*/ 2147483647 h 426"/>
                <a:gd name="T68" fmla="*/ 2147483647 w 276"/>
                <a:gd name="T69" fmla="*/ 2147483647 h 426"/>
                <a:gd name="T70" fmla="*/ 2147483647 w 276"/>
                <a:gd name="T71" fmla="*/ 2147483647 h 426"/>
                <a:gd name="T72" fmla="*/ 2147483647 w 276"/>
                <a:gd name="T73" fmla="*/ 2147483647 h 426"/>
                <a:gd name="T74" fmla="*/ 2147483647 w 276"/>
                <a:gd name="T75" fmla="*/ 2147483647 h 4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76"/>
                <a:gd name="T115" fmla="*/ 0 h 426"/>
                <a:gd name="T116" fmla="*/ 276 w 276"/>
                <a:gd name="T117" fmla="*/ 426 h 42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76" h="426">
                  <a:moveTo>
                    <a:pt x="150" y="402"/>
                  </a:moveTo>
                  <a:lnTo>
                    <a:pt x="132" y="408"/>
                  </a:lnTo>
                  <a:lnTo>
                    <a:pt x="126" y="414"/>
                  </a:lnTo>
                  <a:lnTo>
                    <a:pt x="138" y="426"/>
                  </a:lnTo>
                  <a:lnTo>
                    <a:pt x="162" y="426"/>
                  </a:lnTo>
                  <a:lnTo>
                    <a:pt x="174" y="414"/>
                  </a:lnTo>
                  <a:lnTo>
                    <a:pt x="174" y="408"/>
                  </a:lnTo>
                  <a:lnTo>
                    <a:pt x="168" y="402"/>
                  </a:lnTo>
                  <a:lnTo>
                    <a:pt x="150" y="402"/>
                  </a:lnTo>
                  <a:close/>
                  <a:moveTo>
                    <a:pt x="276" y="246"/>
                  </a:moveTo>
                  <a:lnTo>
                    <a:pt x="270" y="228"/>
                  </a:lnTo>
                  <a:lnTo>
                    <a:pt x="264" y="216"/>
                  </a:lnTo>
                  <a:lnTo>
                    <a:pt x="246" y="198"/>
                  </a:lnTo>
                  <a:lnTo>
                    <a:pt x="252" y="186"/>
                  </a:lnTo>
                  <a:lnTo>
                    <a:pt x="252" y="180"/>
                  </a:lnTo>
                  <a:lnTo>
                    <a:pt x="246" y="162"/>
                  </a:lnTo>
                  <a:lnTo>
                    <a:pt x="240" y="150"/>
                  </a:lnTo>
                  <a:lnTo>
                    <a:pt x="210" y="120"/>
                  </a:lnTo>
                  <a:lnTo>
                    <a:pt x="198" y="102"/>
                  </a:lnTo>
                  <a:lnTo>
                    <a:pt x="168" y="72"/>
                  </a:lnTo>
                  <a:lnTo>
                    <a:pt x="144" y="66"/>
                  </a:lnTo>
                  <a:lnTo>
                    <a:pt x="144" y="60"/>
                  </a:lnTo>
                  <a:lnTo>
                    <a:pt x="138" y="54"/>
                  </a:lnTo>
                  <a:lnTo>
                    <a:pt x="132" y="42"/>
                  </a:lnTo>
                  <a:lnTo>
                    <a:pt x="102" y="12"/>
                  </a:lnTo>
                  <a:lnTo>
                    <a:pt x="96" y="0"/>
                  </a:lnTo>
                  <a:lnTo>
                    <a:pt x="78" y="12"/>
                  </a:lnTo>
                  <a:lnTo>
                    <a:pt x="48" y="12"/>
                  </a:lnTo>
                  <a:lnTo>
                    <a:pt x="24" y="24"/>
                  </a:lnTo>
                  <a:lnTo>
                    <a:pt x="18" y="30"/>
                  </a:lnTo>
                  <a:lnTo>
                    <a:pt x="12" y="30"/>
                  </a:lnTo>
                  <a:lnTo>
                    <a:pt x="12" y="36"/>
                  </a:lnTo>
                  <a:lnTo>
                    <a:pt x="18" y="42"/>
                  </a:lnTo>
                  <a:lnTo>
                    <a:pt x="18" y="48"/>
                  </a:lnTo>
                  <a:lnTo>
                    <a:pt x="12" y="54"/>
                  </a:lnTo>
                  <a:lnTo>
                    <a:pt x="0" y="60"/>
                  </a:lnTo>
                  <a:lnTo>
                    <a:pt x="0" y="66"/>
                  </a:lnTo>
                  <a:lnTo>
                    <a:pt x="6" y="72"/>
                  </a:lnTo>
                  <a:lnTo>
                    <a:pt x="12" y="84"/>
                  </a:lnTo>
                  <a:lnTo>
                    <a:pt x="24" y="90"/>
                  </a:lnTo>
                  <a:lnTo>
                    <a:pt x="30" y="90"/>
                  </a:lnTo>
                  <a:lnTo>
                    <a:pt x="42" y="96"/>
                  </a:lnTo>
                  <a:lnTo>
                    <a:pt x="60" y="132"/>
                  </a:lnTo>
                  <a:lnTo>
                    <a:pt x="54" y="132"/>
                  </a:lnTo>
                  <a:lnTo>
                    <a:pt x="48" y="126"/>
                  </a:lnTo>
                  <a:lnTo>
                    <a:pt x="36" y="126"/>
                  </a:lnTo>
                  <a:lnTo>
                    <a:pt x="24" y="120"/>
                  </a:lnTo>
                  <a:lnTo>
                    <a:pt x="6" y="120"/>
                  </a:lnTo>
                  <a:lnTo>
                    <a:pt x="6" y="126"/>
                  </a:lnTo>
                  <a:lnTo>
                    <a:pt x="18" y="132"/>
                  </a:lnTo>
                  <a:lnTo>
                    <a:pt x="30" y="144"/>
                  </a:lnTo>
                  <a:lnTo>
                    <a:pt x="42" y="150"/>
                  </a:lnTo>
                  <a:lnTo>
                    <a:pt x="54" y="192"/>
                  </a:lnTo>
                  <a:lnTo>
                    <a:pt x="90" y="198"/>
                  </a:lnTo>
                  <a:lnTo>
                    <a:pt x="90" y="228"/>
                  </a:lnTo>
                  <a:lnTo>
                    <a:pt x="78" y="240"/>
                  </a:lnTo>
                  <a:lnTo>
                    <a:pt x="78" y="270"/>
                  </a:lnTo>
                  <a:lnTo>
                    <a:pt x="84" y="282"/>
                  </a:lnTo>
                  <a:lnTo>
                    <a:pt x="102" y="300"/>
                  </a:lnTo>
                  <a:lnTo>
                    <a:pt x="108" y="300"/>
                  </a:lnTo>
                  <a:lnTo>
                    <a:pt x="108" y="306"/>
                  </a:lnTo>
                  <a:lnTo>
                    <a:pt x="102" y="312"/>
                  </a:lnTo>
                  <a:lnTo>
                    <a:pt x="102" y="324"/>
                  </a:lnTo>
                  <a:lnTo>
                    <a:pt x="108" y="330"/>
                  </a:lnTo>
                  <a:lnTo>
                    <a:pt x="132" y="330"/>
                  </a:lnTo>
                  <a:lnTo>
                    <a:pt x="144" y="324"/>
                  </a:lnTo>
                  <a:lnTo>
                    <a:pt x="144" y="318"/>
                  </a:lnTo>
                  <a:lnTo>
                    <a:pt x="150" y="312"/>
                  </a:lnTo>
                  <a:lnTo>
                    <a:pt x="150" y="306"/>
                  </a:lnTo>
                  <a:lnTo>
                    <a:pt x="198" y="282"/>
                  </a:lnTo>
                  <a:lnTo>
                    <a:pt x="222" y="288"/>
                  </a:lnTo>
                  <a:lnTo>
                    <a:pt x="234" y="270"/>
                  </a:lnTo>
                  <a:lnTo>
                    <a:pt x="258" y="270"/>
                  </a:lnTo>
                  <a:lnTo>
                    <a:pt x="270" y="264"/>
                  </a:lnTo>
                  <a:lnTo>
                    <a:pt x="276" y="264"/>
                  </a:lnTo>
                  <a:lnTo>
                    <a:pt x="276" y="246"/>
                  </a:lnTo>
                  <a:close/>
                </a:path>
              </a:pathLst>
            </a:custGeom>
            <a:solidFill>
              <a:srgbClr val="F2F2F2"/>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63" name="Korea, North" descr="© INSCALE GmbH, 05.05.2010&#10;http://www.presentationload.com/">
              <a:extLst>
                <a:ext uri="{FF2B5EF4-FFF2-40B4-BE49-F238E27FC236}">
                  <a16:creationId xmlns:a16="http://schemas.microsoft.com/office/drawing/2014/main" id="{2E125EF2-47AF-C2F8-9571-73008F2433B2}"/>
                </a:ext>
              </a:extLst>
            </p:cNvPr>
            <p:cNvSpPr>
              <a:spLocks/>
            </p:cNvSpPr>
            <p:nvPr/>
          </p:nvSpPr>
          <p:spPr bwMode="gray">
            <a:xfrm>
              <a:off x="7348373" y="1908055"/>
              <a:ext cx="124519" cy="158615"/>
            </a:xfrm>
            <a:custGeom>
              <a:avLst/>
              <a:gdLst>
                <a:gd name="T0" fmla="*/ 2147483647 w 330"/>
                <a:gd name="T1" fmla="*/ 0 h 420"/>
                <a:gd name="T2" fmla="*/ 2147483647 w 330"/>
                <a:gd name="T3" fmla="*/ 2147483647 h 420"/>
                <a:gd name="T4" fmla="*/ 2147483647 w 330"/>
                <a:gd name="T5" fmla="*/ 2147483647 h 420"/>
                <a:gd name="T6" fmla="*/ 2147483647 w 330"/>
                <a:gd name="T7" fmla="*/ 2147483647 h 420"/>
                <a:gd name="T8" fmla="*/ 2147483647 w 330"/>
                <a:gd name="T9" fmla="*/ 2147483647 h 420"/>
                <a:gd name="T10" fmla="*/ 2147483647 w 330"/>
                <a:gd name="T11" fmla="*/ 2147483647 h 420"/>
                <a:gd name="T12" fmla="*/ 2147483647 w 330"/>
                <a:gd name="T13" fmla="*/ 2147483647 h 420"/>
                <a:gd name="T14" fmla="*/ 2147483647 w 330"/>
                <a:gd name="T15" fmla="*/ 2147483647 h 420"/>
                <a:gd name="T16" fmla="*/ 2147483647 w 330"/>
                <a:gd name="T17" fmla="*/ 2147483647 h 420"/>
                <a:gd name="T18" fmla="*/ 2147483647 w 330"/>
                <a:gd name="T19" fmla="*/ 2147483647 h 420"/>
                <a:gd name="T20" fmla="*/ 2147483647 w 330"/>
                <a:gd name="T21" fmla="*/ 2147483647 h 420"/>
                <a:gd name="T22" fmla="*/ 2147483647 w 330"/>
                <a:gd name="T23" fmla="*/ 2147483647 h 420"/>
                <a:gd name="T24" fmla="*/ 2147483647 w 330"/>
                <a:gd name="T25" fmla="*/ 2147483647 h 420"/>
                <a:gd name="T26" fmla="*/ 2147483647 w 330"/>
                <a:gd name="T27" fmla="*/ 2147483647 h 420"/>
                <a:gd name="T28" fmla="*/ 2147483647 w 330"/>
                <a:gd name="T29" fmla="*/ 2147483647 h 420"/>
                <a:gd name="T30" fmla="*/ 2147483647 w 330"/>
                <a:gd name="T31" fmla="*/ 2147483647 h 420"/>
                <a:gd name="T32" fmla="*/ 2147483647 w 330"/>
                <a:gd name="T33" fmla="*/ 2147483647 h 420"/>
                <a:gd name="T34" fmla="*/ 2147483647 w 330"/>
                <a:gd name="T35" fmla="*/ 2147483647 h 420"/>
                <a:gd name="T36" fmla="*/ 2147483647 w 330"/>
                <a:gd name="T37" fmla="*/ 2147483647 h 420"/>
                <a:gd name="T38" fmla="*/ 2147483647 w 330"/>
                <a:gd name="T39" fmla="*/ 2147483647 h 420"/>
                <a:gd name="T40" fmla="*/ 2147483647 w 330"/>
                <a:gd name="T41" fmla="*/ 2147483647 h 420"/>
                <a:gd name="T42" fmla="*/ 2147483647 w 330"/>
                <a:gd name="T43" fmla="*/ 2147483647 h 420"/>
                <a:gd name="T44" fmla="*/ 2147483647 w 330"/>
                <a:gd name="T45" fmla="*/ 2147483647 h 420"/>
                <a:gd name="T46" fmla="*/ 2147483647 w 330"/>
                <a:gd name="T47" fmla="*/ 2147483647 h 420"/>
                <a:gd name="T48" fmla="*/ 2147483647 w 330"/>
                <a:gd name="T49" fmla="*/ 2147483647 h 420"/>
                <a:gd name="T50" fmla="*/ 2147483647 w 330"/>
                <a:gd name="T51" fmla="*/ 2147483647 h 420"/>
                <a:gd name="T52" fmla="*/ 2147483647 w 330"/>
                <a:gd name="T53" fmla="*/ 2147483647 h 420"/>
                <a:gd name="T54" fmla="*/ 2147483647 w 330"/>
                <a:gd name="T55" fmla="*/ 2147483647 h 420"/>
                <a:gd name="T56" fmla="*/ 2147483647 w 330"/>
                <a:gd name="T57" fmla="*/ 2147483647 h 420"/>
                <a:gd name="T58" fmla="*/ 2147483647 w 330"/>
                <a:gd name="T59" fmla="*/ 2147483647 h 420"/>
                <a:gd name="T60" fmla="*/ 2147483647 w 330"/>
                <a:gd name="T61" fmla="*/ 2147483647 h 420"/>
                <a:gd name="T62" fmla="*/ 2147483647 w 330"/>
                <a:gd name="T63" fmla="*/ 2147483647 h 420"/>
                <a:gd name="T64" fmla="*/ 2147483647 w 330"/>
                <a:gd name="T65" fmla="*/ 2147483647 h 420"/>
                <a:gd name="T66" fmla="*/ 2147483647 w 330"/>
                <a:gd name="T67" fmla="*/ 2147483647 h 420"/>
                <a:gd name="T68" fmla="*/ 2147483647 w 330"/>
                <a:gd name="T69" fmla="*/ 2147483647 h 420"/>
                <a:gd name="T70" fmla="*/ 2147483647 w 330"/>
                <a:gd name="T71" fmla="*/ 2147483647 h 420"/>
                <a:gd name="T72" fmla="*/ 2147483647 w 330"/>
                <a:gd name="T73" fmla="*/ 2147483647 h 420"/>
                <a:gd name="T74" fmla="*/ 2147483647 w 330"/>
                <a:gd name="T75" fmla="*/ 2147483647 h 420"/>
                <a:gd name="T76" fmla="*/ 2147483647 w 330"/>
                <a:gd name="T77" fmla="*/ 2147483647 h 420"/>
                <a:gd name="T78" fmla="*/ 2147483647 w 330"/>
                <a:gd name="T79" fmla="*/ 2147483647 h 420"/>
                <a:gd name="T80" fmla="*/ 2147483647 w 330"/>
                <a:gd name="T81" fmla="*/ 2147483647 h 420"/>
                <a:gd name="T82" fmla="*/ 2147483647 w 330"/>
                <a:gd name="T83" fmla="*/ 2147483647 h 420"/>
                <a:gd name="T84" fmla="*/ 2147483647 w 330"/>
                <a:gd name="T85" fmla="*/ 2147483647 h 420"/>
                <a:gd name="T86" fmla="*/ 2147483647 w 330"/>
                <a:gd name="T87" fmla="*/ 2147483647 h 420"/>
                <a:gd name="T88" fmla="*/ 2147483647 w 330"/>
                <a:gd name="T89" fmla="*/ 2147483647 h 420"/>
                <a:gd name="T90" fmla="*/ 2147483647 w 330"/>
                <a:gd name="T91" fmla="*/ 2147483647 h 420"/>
                <a:gd name="T92" fmla="*/ 2147483647 w 330"/>
                <a:gd name="T93" fmla="*/ 2147483647 h 420"/>
                <a:gd name="T94" fmla="*/ 2147483647 w 330"/>
                <a:gd name="T95" fmla="*/ 2147483647 h 420"/>
                <a:gd name="T96" fmla="*/ 2147483647 w 330"/>
                <a:gd name="T97" fmla="*/ 2147483647 h 420"/>
                <a:gd name="T98" fmla="*/ 2147483647 w 330"/>
                <a:gd name="T99" fmla="*/ 2147483647 h 420"/>
                <a:gd name="T100" fmla="*/ 2147483647 w 330"/>
                <a:gd name="T101" fmla="*/ 2147483647 h 420"/>
                <a:gd name="T102" fmla="*/ 2147483647 w 330"/>
                <a:gd name="T103" fmla="*/ 0 h 42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30"/>
                <a:gd name="T157" fmla="*/ 0 h 420"/>
                <a:gd name="T158" fmla="*/ 330 w 330"/>
                <a:gd name="T159" fmla="*/ 420 h 42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30" h="420">
                  <a:moveTo>
                    <a:pt x="270" y="0"/>
                  </a:moveTo>
                  <a:lnTo>
                    <a:pt x="240" y="0"/>
                  </a:lnTo>
                  <a:lnTo>
                    <a:pt x="240" y="6"/>
                  </a:lnTo>
                  <a:lnTo>
                    <a:pt x="246" y="12"/>
                  </a:lnTo>
                  <a:lnTo>
                    <a:pt x="252" y="24"/>
                  </a:lnTo>
                  <a:lnTo>
                    <a:pt x="252" y="42"/>
                  </a:lnTo>
                  <a:lnTo>
                    <a:pt x="228" y="42"/>
                  </a:lnTo>
                  <a:lnTo>
                    <a:pt x="234" y="54"/>
                  </a:lnTo>
                  <a:lnTo>
                    <a:pt x="234" y="60"/>
                  </a:lnTo>
                  <a:lnTo>
                    <a:pt x="228" y="72"/>
                  </a:lnTo>
                  <a:lnTo>
                    <a:pt x="216" y="78"/>
                  </a:lnTo>
                  <a:lnTo>
                    <a:pt x="204" y="72"/>
                  </a:lnTo>
                  <a:lnTo>
                    <a:pt x="180" y="72"/>
                  </a:lnTo>
                  <a:lnTo>
                    <a:pt x="174" y="66"/>
                  </a:lnTo>
                  <a:lnTo>
                    <a:pt x="168" y="72"/>
                  </a:lnTo>
                  <a:lnTo>
                    <a:pt x="168" y="84"/>
                  </a:lnTo>
                  <a:lnTo>
                    <a:pt x="192" y="108"/>
                  </a:lnTo>
                  <a:lnTo>
                    <a:pt x="198" y="108"/>
                  </a:lnTo>
                  <a:lnTo>
                    <a:pt x="198" y="120"/>
                  </a:lnTo>
                  <a:lnTo>
                    <a:pt x="150" y="120"/>
                  </a:lnTo>
                  <a:lnTo>
                    <a:pt x="138" y="114"/>
                  </a:lnTo>
                  <a:lnTo>
                    <a:pt x="126" y="114"/>
                  </a:lnTo>
                  <a:lnTo>
                    <a:pt x="114" y="102"/>
                  </a:lnTo>
                  <a:lnTo>
                    <a:pt x="102" y="96"/>
                  </a:lnTo>
                  <a:lnTo>
                    <a:pt x="90" y="96"/>
                  </a:lnTo>
                  <a:lnTo>
                    <a:pt x="90" y="102"/>
                  </a:lnTo>
                  <a:lnTo>
                    <a:pt x="84" y="108"/>
                  </a:lnTo>
                  <a:lnTo>
                    <a:pt x="84" y="138"/>
                  </a:lnTo>
                  <a:lnTo>
                    <a:pt x="66" y="174"/>
                  </a:lnTo>
                  <a:lnTo>
                    <a:pt x="54" y="186"/>
                  </a:lnTo>
                  <a:lnTo>
                    <a:pt x="18" y="204"/>
                  </a:lnTo>
                  <a:lnTo>
                    <a:pt x="12" y="216"/>
                  </a:lnTo>
                  <a:lnTo>
                    <a:pt x="6" y="222"/>
                  </a:lnTo>
                  <a:lnTo>
                    <a:pt x="6" y="234"/>
                  </a:lnTo>
                  <a:lnTo>
                    <a:pt x="0" y="246"/>
                  </a:lnTo>
                  <a:lnTo>
                    <a:pt x="12" y="228"/>
                  </a:lnTo>
                  <a:lnTo>
                    <a:pt x="18" y="246"/>
                  </a:lnTo>
                  <a:lnTo>
                    <a:pt x="36" y="270"/>
                  </a:lnTo>
                  <a:lnTo>
                    <a:pt x="48" y="252"/>
                  </a:lnTo>
                  <a:lnTo>
                    <a:pt x="54" y="258"/>
                  </a:lnTo>
                  <a:lnTo>
                    <a:pt x="60" y="270"/>
                  </a:lnTo>
                  <a:lnTo>
                    <a:pt x="96" y="270"/>
                  </a:lnTo>
                  <a:lnTo>
                    <a:pt x="96" y="282"/>
                  </a:lnTo>
                  <a:lnTo>
                    <a:pt x="102" y="294"/>
                  </a:lnTo>
                  <a:lnTo>
                    <a:pt x="102" y="336"/>
                  </a:lnTo>
                  <a:lnTo>
                    <a:pt x="138" y="336"/>
                  </a:lnTo>
                  <a:lnTo>
                    <a:pt x="144" y="348"/>
                  </a:lnTo>
                  <a:lnTo>
                    <a:pt x="132" y="342"/>
                  </a:lnTo>
                  <a:lnTo>
                    <a:pt x="108" y="342"/>
                  </a:lnTo>
                  <a:lnTo>
                    <a:pt x="102" y="348"/>
                  </a:lnTo>
                  <a:lnTo>
                    <a:pt x="102" y="360"/>
                  </a:lnTo>
                  <a:lnTo>
                    <a:pt x="108" y="378"/>
                  </a:lnTo>
                  <a:lnTo>
                    <a:pt x="114" y="384"/>
                  </a:lnTo>
                  <a:lnTo>
                    <a:pt x="126" y="408"/>
                  </a:lnTo>
                  <a:lnTo>
                    <a:pt x="156" y="396"/>
                  </a:lnTo>
                  <a:lnTo>
                    <a:pt x="162" y="402"/>
                  </a:lnTo>
                  <a:lnTo>
                    <a:pt x="174" y="408"/>
                  </a:lnTo>
                  <a:lnTo>
                    <a:pt x="180" y="414"/>
                  </a:lnTo>
                  <a:lnTo>
                    <a:pt x="192" y="420"/>
                  </a:lnTo>
                  <a:lnTo>
                    <a:pt x="198" y="420"/>
                  </a:lnTo>
                  <a:lnTo>
                    <a:pt x="216" y="414"/>
                  </a:lnTo>
                  <a:lnTo>
                    <a:pt x="228" y="414"/>
                  </a:lnTo>
                  <a:lnTo>
                    <a:pt x="240" y="408"/>
                  </a:lnTo>
                  <a:lnTo>
                    <a:pt x="246" y="402"/>
                  </a:lnTo>
                  <a:lnTo>
                    <a:pt x="246" y="396"/>
                  </a:lnTo>
                  <a:lnTo>
                    <a:pt x="240" y="390"/>
                  </a:lnTo>
                  <a:lnTo>
                    <a:pt x="240" y="384"/>
                  </a:lnTo>
                  <a:lnTo>
                    <a:pt x="246" y="384"/>
                  </a:lnTo>
                  <a:lnTo>
                    <a:pt x="252" y="378"/>
                  </a:lnTo>
                  <a:lnTo>
                    <a:pt x="276" y="366"/>
                  </a:lnTo>
                  <a:lnTo>
                    <a:pt x="306" y="366"/>
                  </a:lnTo>
                  <a:lnTo>
                    <a:pt x="324" y="354"/>
                  </a:lnTo>
                  <a:lnTo>
                    <a:pt x="312" y="342"/>
                  </a:lnTo>
                  <a:lnTo>
                    <a:pt x="312" y="336"/>
                  </a:lnTo>
                  <a:lnTo>
                    <a:pt x="264" y="312"/>
                  </a:lnTo>
                  <a:lnTo>
                    <a:pt x="240" y="312"/>
                  </a:lnTo>
                  <a:lnTo>
                    <a:pt x="240" y="300"/>
                  </a:lnTo>
                  <a:lnTo>
                    <a:pt x="246" y="288"/>
                  </a:lnTo>
                  <a:lnTo>
                    <a:pt x="252" y="282"/>
                  </a:lnTo>
                  <a:lnTo>
                    <a:pt x="246" y="276"/>
                  </a:lnTo>
                  <a:lnTo>
                    <a:pt x="234" y="270"/>
                  </a:lnTo>
                  <a:lnTo>
                    <a:pt x="228" y="264"/>
                  </a:lnTo>
                  <a:lnTo>
                    <a:pt x="228" y="252"/>
                  </a:lnTo>
                  <a:lnTo>
                    <a:pt x="240" y="246"/>
                  </a:lnTo>
                  <a:lnTo>
                    <a:pt x="246" y="240"/>
                  </a:lnTo>
                  <a:lnTo>
                    <a:pt x="258" y="234"/>
                  </a:lnTo>
                  <a:lnTo>
                    <a:pt x="270" y="234"/>
                  </a:lnTo>
                  <a:lnTo>
                    <a:pt x="276" y="228"/>
                  </a:lnTo>
                  <a:lnTo>
                    <a:pt x="288" y="204"/>
                  </a:lnTo>
                  <a:lnTo>
                    <a:pt x="288" y="192"/>
                  </a:lnTo>
                  <a:lnTo>
                    <a:pt x="294" y="186"/>
                  </a:lnTo>
                  <a:lnTo>
                    <a:pt x="300" y="174"/>
                  </a:lnTo>
                  <a:lnTo>
                    <a:pt x="324" y="162"/>
                  </a:lnTo>
                  <a:lnTo>
                    <a:pt x="312" y="132"/>
                  </a:lnTo>
                  <a:lnTo>
                    <a:pt x="306" y="126"/>
                  </a:lnTo>
                  <a:lnTo>
                    <a:pt x="294" y="102"/>
                  </a:lnTo>
                  <a:lnTo>
                    <a:pt x="294" y="90"/>
                  </a:lnTo>
                  <a:lnTo>
                    <a:pt x="306" y="66"/>
                  </a:lnTo>
                  <a:lnTo>
                    <a:pt x="318" y="60"/>
                  </a:lnTo>
                  <a:lnTo>
                    <a:pt x="324" y="54"/>
                  </a:lnTo>
                  <a:lnTo>
                    <a:pt x="330" y="54"/>
                  </a:lnTo>
                  <a:lnTo>
                    <a:pt x="312" y="36"/>
                  </a:lnTo>
                  <a:lnTo>
                    <a:pt x="288" y="24"/>
                  </a:lnTo>
                  <a:lnTo>
                    <a:pt x="270" y="0"/>
                  </a:lnTo>
                  <a:close/>
                </a:path>
              </a:pathLst>
            </a:custGeom>
            <a:solidFill>
              <a:srgbClr val="F2F2F2"/>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64" name="Kenya" descr="© INSCALE GmbH, 05.05.2010&#10;http://www.presentationload.com/">
              <a:extLst>
                <a:ext uri="{FF2B5EF4-FFF2-40B4-BE49-F238E27FC236}">
                  <a16:creationId xmlns:a16="http://schemas.microsoft.com/office/drawing/2014/main" id="{43F1A29B-F4DB-9486-646F-89FED172F650}"/>
                </a:ext>
              </a:extLst>
            </p:cNvPr>
            <p:cNvSpPr>
              <a:spLocks/>
            </p:cNvSpPr>
            <p:nvPr/>
          </p:nvSpPr>
          <p:spPr bwMode="gray">
            <a:xfrm>
              <a:off x="5152980" y="3074689"/>
              <a:ext cx="213462" cy="289065"/>
            </a:xfrm>
            <a:custGeom>
              <a:avLst/>
              <a:gdLst>
                <a:gd name="T0" fmla="*/ 2147483647 w 564"/>
                <a:gd name="T1" fmla="*/ 2147483647 h 762"/>
                <a:gd name="T2" fmla="*/ 2147483647 w 564"/>
                <a:gd name="T3" fmla="*/ 2147483647 h 762"/>
                <a:gd name="T4" fmla="*/ 2147483647 w 564"/>
                <a:gd name="T5" fmla="*/ 2147483647 h 762"/>
                <a:gd name="T6" fmla="*/ 2147483647 w 564"/>
                <a:gd name="T7" fmla="*/ 2147483647 h 762"/>
                <a:gd name="T8" fmla="*/ 2147483647 w 564"/>
                <a:gd name="T9" fmla="*/ 2147483647 h 762"/>
                <a:gd name="T10" fmla="*/ 2147483647 w 564"/>
                <a:gd name="T11" fmla="*/ 2147483647 h 762"/>
                <a:gd name="T12" fmla="*/ 2147483647 w 564"/>
                <a:gd name="T13" fmla="*/ 2147483647 h 762"/>
                <a:gd name="T14" fmla="*/ 2147483647 w 564"/>
                <a:gd name="T15" fmla="*/ 2147483647 h 762"/>
                <a:gd name="T16" fmla="*/ 2147483647 w 564"/>
                <a:gd name="T17" fmla="*/ 2147483647 h 762"/>
                <a:gd name="T18" fmla="*/ 2147483647 w 564"/>
                <a:gd name="T19" fmla="*/ 2147483647 h 762"/>
                <a:gd name="T20" fmla="*/ 2147483647 w 564"/>
                <a:gd name="T21" fmla="*/ 2147483647 h 762"/>
                <a:gd name="T22" fmla="*/ 2147483647 w 564"/>
                <a:gd name="T23" fmla="*/ 2147483647 h 762"/>
                <a:gd name="T24" fmla="*/ 2147483647 w 564"/>
                <a:gd name="T25" fmla="*/ 0 h 762"/>
                <a:gd name="T26" fmla="*/ 2147483647 w 564"/>
                <a:gd name="T27" fmla="*/ 2147483647 h 762"/>
                <a:gd name="T28" fmla="*/ 2147483647 w 564"/>
                <a:gd name="T29" fmla="*/ 2147483647 h 762"/>
                <a:gd name="T30" fmla="*/ 2147483647 w 564"/>
                <a:gd name="T31" fmla="*/ 2147483647 h 762"/>
                <a:gd name="T32" fmla="*/ 2147483647 w 564"/>
                <a:gd name="T33" fmla="*/ 2147483647 h 762"/>
                <a:gd name="T34" fmla="*/ 2147483647 w 564"/>
                <a:gd name="T35" fmla="*/ 2147483647 h 762"/>
                <a:gd name="T36" fmla="*/ 2147483647 w 564"/>
                <a:gd name="T37" fmla="*/ 2147483647 h 762"/>
                <a:gd name="T38" fmla="*/ 2147483647 w 564"/>
                <a:gd name="T39" fmla="*/ 2147483647 h 762"/>
                <a:gd name="T40" fmla="*/ 2147483647 w 564"/>
                <a:gd name="T41" fmla="*/ 2147483647 h 762"/>
                <a:gd name="T42" fmla="*/ 2147483647 w 564"/>
                <a:gd name="T43" fmla="*/ 2147483647 h 762"/>
                <a:gd name="T44" fmla="*/ 2147483647 w 564"/>
                <a:gd name="T45" fmla="*/ 2147483647 h 762"/>
                <a:gd name="T46" fmla="*/ 2147483647 w 564"/>
                <a:gd name="T47" fmla="*/ 2147483647 h 762"/>
                <a:gd name="T48" fmla="*/ 2147483647 w 564"/>
                <a:gd name="T49" fmla="*/ 2147483647 h 762"/>
                <a:gd name="T50" fmla="*/ 2147483647 w 564"/>
                <a:gd name="T51" fmla="*/ 2147483647 h 762"/>
                <a:gd name="T52" fmla="*/ 2147483647 w 564"/>
                <a:gd name="T53" fmla="*/ 2147483647 h 762"/>
                <a:gd name="T54" fmla="*/ 2147483647 w 564"/>
                <a:gd name="T55" fmla="*/ 2147483647 h 762"/>
                <a:gd name="T56" fmla="*/ 2147483647 w 564"/>
                <a:gd name="T57" fmla="*/ 2147483647 h 762"/>
                <a:gd name="T58" fmla="*/ 0 w 564"/>
                <a:gd name="T59" fmla="*/ 2147483647 h 762"/>
                <a:gd name="T60" fmla="*/ 2147483647 w 564"/>
                <a:gd name="T61" fmla="*/ 2147483647 h 762"/>
                <a:gd name="T62" fmla="*/ 2147483647 w 564"/>
                <a:gd name="T63" fmla="*/ 2147483647 h 762"/>
                <a:gd name="T64" fmla="*/ 2147483647 w 564"/>
                <a:gd name="T65" fmla="*/ 2147483647 h 762"/>
                <a:gd name="T66" fmla="*/ 2147483647 w 564"/>
                <a:gd name="T67" fmla="*/ 2147483647 h 762"/>
                <a:gd name="T68" fmla="*/ 2147483647 w 564"/>
                <a:gd name="T69" fmla="*/ 2147483647 h 762"/>
                <a:gd name="T70" fmla="*/ 0 w 564"/>
                <a:gd name="T71" fmla="*/ 2147483647 h 762"/>
                <a:gd name="T72" fmla="*/ 2147483647 w 564"/>
                <a:gd name="T73" fmla="*/ 2147483647 h 762"/>
                <a:gd name="T74" fmla="*/ 2147483647 w 564"/>
                <a:gd name="T75" fmla="*/ 2147483647 h 762"/>
                <a:gd name="T76" fmla="*/ 2147483647 w 564"/>
                <a:gd name="T77" fmla="*/ 2147483647 h 762"/>
                <a:gd name="T78" fmla="*/ 2147483647 w 564"/>
                <a:gd name="T79" fmla="*/ 2147483647 h 762"/>
                <a:gd name="T80" fmla="*/ 2147483647 w 564"/>
                <a:gd name="T81" fmla="*/ 2147483647 h 762"/>
                <a:gd name="T82" fmla="*/ 2147483647 w 564"/>
                <a:gd name="T83" fmla="*/ 2147483647 h 762"/>
                <a:gd name="T84" fmla="*/ 2147483647 w 564"/>
                <a:gd name="T85" fmla="*/ 2147483647 h 762"/>
                <a:gd name="T86" fmla="*/ 2147483647 w 564"/>
                <a:gd name="T87" fmla="*/ 2147483647 h 762"/>
                <a:gd name="T88" fmla="*/ 2147483647 w 564"/>
                <a:gd name="T89" fmla="*/ 2147483647 h 762"/>
                <a:gd name="T90" fmla="*/ 2147483647 w 564"/>
                <a:gd name="T91" fmla="*/ 2147483647 h 762"/>
                <a:gd name="T92" fmla="*/ 2147483647 w 564"/>
                <a:gd name="T93" fmla="*/ 2147483647 h 762"/>
                <a:gd name="T94" fmla="*/ 2147483647 w 564"/>
                <a:gd name="T95" fmla="*/ 2147483647 h 762"/>
                <a:gd name="T96" fmla="*/ 2147483647 w 564"/>
                <a:gd name="T97" fmla="*/ 2147483647 h 762"/>
                <a:gd name="T98" fmla="*/ 2147483647 w 564"/>
                <a:gd name="T99" fmla="*/ 2147483647 h 762"/>
                <a:gd name="T100" fmla="*/ 2147483647 w 564"/>
                <a:gd name="T101" fmla="*/ 2147483647 h 76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64"/>
                <a:gd name="T154" fmla="*/ 0 h 762"/>
                <a:gd name="T155" fmla="*/ 564 w 564"/>
                <a:gd name="T156" fmla="*/ 762 h 76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64" h="762">
                  <a:moveTo>
                    <a:pt x="498" y="150"/>
                  </a:moveTo>
                  <a:lnTo>
                    <a:pt x="540" y="108"/>
                  </a:lnTo>
                  <a:lnTo>
                    <a:pt x="558" y="72"/>
                  </a:lnTo>
                  <a:lnTo>
                    <a:pt x="564" y="66"/>
                  </a:lnTo>
                  <a:lnTo>
                    <a:pt x="564" y="60"/>
                  </a:lnTo>
                  <a:lnTo>
                    <a:pt x="540" y="54"/>
                  </a:lnTo>
                  <a:lnTo>
                    <a:pt x="534" y="60"/>
                  </a:lnTo>
                  <a:lnTo>
                    <a:pt x="504" y="60"/>
                  </a:lnTo>
                  <a:lnTo>
                    <a:pt x="480" y="30"/>
                  </a:lnTo>
                  <a:lnTo>
                    <a:pt x="462" y="48"/>
                  </a:lnTo>
                  <a:lnTo>
                    <a:pt x="456" y="48"/>
                  </a:lnTo>
                  <a:lnTo>
                    <a:pt x="450" y="54"/>
                  </a:lnTo>
                  <a:lnTo>
                    <a:pt x="438" y="60"/>
                  </a:lnTo>
                  <a:lnTo>
                    <a:pt x="426" y="60"/>
                  </a:lnTo>
                  <a:lnTo>
                    <a:pt x="414" y="72"/>
                  </a:lnTo>
                  <a:lnTo>
                    <a:pt x="414" y="84"/>
                  </a:lnTo>
                  <a:lnTo>
                    <a:pt x="390" y="102"/>
                  </a:lnTo>
                  <a:lnTo>
                    <a:pt x="378" y="96"/>
                  </a:lnTo>
                  <a:lnTo>
                    <a:pt x="372" y="96"/>
                  </a:lnTo>
                  <a:lnTo>
                    <a:pt x="360" y="90"/>
                  </a:lnTo>
                  <a:lnTo>
                    <a:pt x="330" y="90"/>
                  </a:lnTo>
                  <a:lnTo>
                    <a:pt x="318" y="84"/>
                  </a:lnTo>
                  <a:lnTo>
                    <a:pt x="288" y="84"/>
                  </a:lnTo>
                  <a:lnTo>
                    <a:pt x="210" y="24"/>
                  </a:lnTo>
                  <a:lnTo>
                    <a:pt x="138" y="18"/>
                  </a:lnTo>
                  <a:lnTo>
                    <a:pt x="132" y="0"/>
                  </a:lnTo>
                  <a:lnTo>
                    <a:pt x="108" y="12"/>
                  </a:lnTo>
                  <a:lnTo>
                    <a:pt x="18" y="12"/>
                  </a:lnTo>
                  <a:lnTo>
                    <a:pt x="0" y="42"/>
                  </a:lnTo>
                  <a:lnTo>
                    <a:pt x="6" y="48"/>
                  </a:lnTo>
                  <a:lnTo>
                    <a:pt x="12" y="60"/>
                  </a:lnTo>
                  <a:lnTo>
                    <a:pt x="12" y="84"/>
                  </a:lnTo>
                  <a:lnTo>
                    <a:pt x="18" y="84"/>
                  </a:lnTo>
                  <a:lnTo>
                    <a:pt x="24" y="90"/>
                  </a:lnTo>
                  <a:lnTo>
                    <a:pt x="24" y="84"/>
                  </a:lnTo>
                  <a:lnTo>
                    <a:pt x="30" y="84"/>
                  </a:lnTo>
                  <a:lnTo>
                    <a:pt x="30" y="96"/>
                  </a:lnTo>
                  <a:lnTo>
                    <a:pt x="24" y="102"/>
                  </a:lnTo>
                  <a:lnTo>
                    <a:pt x="24" y="108"/>
                  </a:lnTo>
                  <a:lnTo>
                    <a:pt x="42" y="126"/>
                  </a:lnTo>
                  <a:lnTo>
                    <a:pt x="36" y="132"/>
                  </a:lnTo>
                  <a:lnTo>
                    <a:pt x="72" y="174"/>
                  </a:lnTo>
                  <a:lnTo>
                    <a:pt x="66" y="180"/>
                  </a:lnTo>
                  <a:lnTo>
                    <a:pt x="60" y="180"/>
                  </a:lnTo>
                  <a:lnTo>
                    <a:pt x="54" y="186"/>
                  </a:lnTo>
                  <a:lnTo>
                    <a:pt x="54" y="192"/>
                  </a:lnTo>
                  <a:lnTo>
                    <a:pt x="66" y="216"/>
                  </a:lnTo>
                  <a:lnTo>
                    <a:pt x="72" y="222"/>
                  </a:lnTo>
                  <a:lnTo>
                    <a:pt x="78" y="234"/>
                  </a:lnTo>
                  <a:lnTo>
                    <a:pt x="78" y="246"/>
                  </a:lnTo>
                  <a:lnTo>
                    <a:pt x="66" y="258"/>
                  </a:lnTo>
                  <a:lnTo>
                    <a:pt x="60" y="282"/>
                  </a:lnTo>
                  <a:lnTo>
                    <a:pt x="42" y="282"/>
                  </a:lnTo>
                  <a:lnTo>
                    <a:pt x="36" y="288"/>
                  </a:lnTo>
                  <a:lnTo>
                    <a:pt x="36" y="312"/>
                  </a:lnTo>
                  <a:lnTo>
                    <a:pt x="18" y="324"/>
                  </a:lnTo>
                  <a:lnTo>
                    <a:pt x="12" y="342"/>
                  </a:lnTo>
                  <a:lnTo>
                    <a:pt x="6" y="348"/>
                  </a:lnTo>
                  <a:lnTo>
                    <a:pt x="0" y="360"/>
                  </a:lnTo>
                  <a:lnTo>
                    <a:pt x="0" y="384"/>
                  </a:lnTo>
                  <a:lnTo>
                    <a:pt x="18" y="402"/>
                  </a:lnTo>
                  <a:lnTo>
                    <a:pt x="30" y="402"/>
                  </a:lnTo>
                  <a:lnTo>
                    <a:pt x="30" y="390"/>
                  </a:lnTo>
                  <a:lnTo>
                    <a:pt x="54" y="390"/>
                  </a:lnTo>
                  <a:lnTo>
                    <a:pt x="60" y="408"/>
                  </a:lnTo>
                  <a:lnTo>
                    <a:pt x="42" y="408"/>
                  </a:lnTo>
                  <a:lnTo>
                    <a:pt x="30" y="420"/>
                  </a:lnTo>
                  <a:lnTo>
                    <a:pt x="24" y="414"/>
                  </a:lnTo>
                  <a:lnTo>
                    <a:pt x="18" y="414"/>
                  </a:lnTo>
                  <a:lnTo>
                    <a:pt x="6" y="420"/>
                  </a:lnTo>
                  <a:lnTo>
                    <a:pt x="0" y="432"/>
                  </a:lnTo>
                  <a:lnTo>
                    <a:pt x="0" y="438"/>
                  </a:lnTo>
                  <a:lnTo>
                    <a:pt x="12" y="450"/>
                  </a:lnTo>
                  <a:lnTo>
                    <a:pt x="6" y="468"/>
                  </a:lnTo>
                  <a:lnTo>
                    <a:pt x="258" y="624"/>
                  </a:lnTo>
                  <a:lnTo>
                    <a:pt x="270" y="636"/>
                  </a:lnTo>
                  <a:lnTo>
                    <a:pt x="270" y="642"/>
                  </a:lnTo>
                  <a:lnTo>
                    <a:pt x="264" y="648"/>
                  </a:lnTo>
                  <a:lnTo>
                    <a:pt x="258" y="648"/>
                  </a:lnTo>
                  <a:lnTo>
                    <a:pt x="252" y="654"/>
                  </a:lnTo>
                  <a:lnTo>
                    <a:pt x="366" y="762"/>
                  </a:lnTo>
                  <a:lnTo>
                    <a:pt x="384" y="756"/>
                  </a:lnTo>
                  <a:lnTo>
                    <a:pt x="414" y="690"/>
                  </a:lnTo>
                  <a:lnTo>
                    <a:pt x="414" y="660"/>
                  </a:lnTo>
                  <a:lnTo>
                    <a:pt x="426" y="648"/>
                  </a:lnTo>
                  <a:lnTo>
                    <a:pt x="432" y="648"/>
                  </a:lnTo>
                  <a:lnTo>
                    <a:pt x="444" y="636"/>
                  </a:lnTo>
                  <a:lnTo>
                    <a:pt x="444" y="624"/>
                  </a:lnTo>
                  <a:lnTo>
                    <a:pt x="438" y="618"/>
                  </a:lnTo>
                  <a:lnTo>
                    <a:pt x="438" y="600"/>
                  </a:lnTo>
                  <a:lnTo>
                    <a:pt x="444" y="594"/>
                  </a:lnTo>
                  <a:lnTo>
                    <a:pt x="456" y="588"/>
                  </a:lnTo>
                  <a:lnTo>
                    <a:pt x="468" y="588"/>
                  </a:lnTo>
                  <a:lnTo>
                    <a:pt x="474" y="582"/>
                  </a:lnTo>
                  <a:lnTo>
                    <a:pt x="480" y="582"/>
                  </a:lnTo>
                  <a:lnTo>
                    <a:pt x="486" y="540"/>
                  </a:lnTo>
                  <a:lnTo>
                    <a:pt x="516" y="540"/>
                  </a:lnTo>
                  <a:lnTo>
                    <a:pt x="528" y="534"/>
                  </a:lnTo>
                  <a:lnTo>
                    <a:pt x="534" y="522"/>
                  </a:lnTo>
                  <a:lnTo>
                    <a:pt x="540" y="516"/>
                  </a:lnTo>
                  <a:lnTo>
                    <a:pt x="498" y="450"/>
                  </a:lnTo>
                  <a:lnTo>
                    <a:pt x="498" y="150"/>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65" name="Kazakhstan" descr="© INSCALE GmbH, 05.05.2010&#10;http://www.presentationload.com/">
              <a:extLst>
                <a:ext uri="{FF2B5EF4-FFF2-40B4-BE49-F238E27FC236}">
                  <a16:creationId xmlns:a16="http://schemas.microsoft.com/office/drawing/2014/main" id="{6F07EA0C-2A7A-B0BD-96C2-BC9E9AA0BAE1}"/>
                </a:ext>
              </a:extLst>
            </p:cNvPr>
            <p:cNvSpPr>
              <a:spLocks noEditPoints="1"/>
            </p:cNvSpPr>
            <p:nvPr/>
          </p:nvSpPr>
          <p:spPr bwMode="gray">
            <a:xfrm>
              <a:off x="5370889" y="1538944"/>
              <a:ext cx="953166" cy="441749"/>
            </a:xfrm>
            <a:custGeom>
              <a:avLst/>
              <a:gdLst>
                <a:gd name="T0" fmla="*/ 2147483647 w 2514"/>
                <a:gd name="T1" fmla="*/ 2147483647 h 1164"/>
                <a:gd name="T2" fmla="*/ 2147483647 w 2514"/>
                <a:gd name="T3" fmla="*/ 2147483647 h 1164"/>
                <a:gd name="T4" fmla="*/ 2147483647 w 2514"/>
                <a:gd name="T5" fmla="*/ 2147483647 h 1164"/>
                <a:gd name="T6" fmla="*/ 2147483647 w 2514"/>
                <a:gd name="T7" fmla="*/ 2147483647 h 1164"/>
                <a:gd name="T8" fmla="*/ 2147483647 w 2514"/>
                <a:gd name="T9" fmla="*/ 2147483647 h 1164"/>
                <a:gd name="T10" fmla="*/ 2147483647 w 2514"/>
                <a:gd name="T11" fmla="*/ 2147483647 h 1164"/>
                <a:gd name="T12" fmla="*/ 2147483647 w 2514"/>
                <a:gd name="T13" fmla="*/ 2147483647 h 1164"/>
                <a:gd name="T14" fmla="*/ 2147483647 w 2514"/>
                <a:gd name="T15" fmla="*/ 2147483647 h 1164"/>
                <a:gd name="T16" fmla="*/ 2147483647 w 2514"/>
                <a:gd name="T17" fmla="*/ 2147483647 h 1164"/>
                <a:gd name="T18" fmla="*/ 2147483647 w 2514"/>
                <a:gd name="T19" fmla="*/ 2147483647 h 1164"/>
                <a:gd name="T20" fmla="*/ 2147483647 w 2514"/>
                <a:gd name="T21" fmla="*/ 2147483647 h 1164"/>
                <a:gd name="T22" fmla="*/ 2147483647 w 2514"/>
                <a:gd name="T23" fmla="*/ 2147483647 h 1164"/>
                <a:gd name="T24" fmla="*/ 2147483647 w 2514"/>
                <a:gd name="T25" fmla="*/ 2147483647 h 1164"/>
                <a:gd name="T26" fmla="*/ 2147483647 w 2514"/>
                <a:gd name="T27" fmla="*/ 2147483647 h 1164"/>
                <a:gd name="T28" fmla="*/ 2147483647 w 2514"/>
                <a:gd name="T29" fmla="*/ 2147483647 h 1164"/>
                <a:gd name="T30" fmla="*/ 2147483647 w 2514"/>
                <a:gd name="T31" fmla="*/ 2147483647 h 1164"/>
                <a:gd name="T32" fmla="*/ 2147483647 w 2514"/>
                <a:gd name="T33" fmla="*/ 2147483647 h 1164"/>
                <a:gd name="T34" fmla="*/ 2147483647 w 2514"/>
                <a:gd name="T35" fmla="*/ 2147483647 h 1164"/>
                <a:gd name="T36" fmla="*/ 2147483647 w 2514"/>
                <a:gd name="T37" fmla="*/ 2147483647 h 1164"/>
                <a:gd name="T38" fmla="*/ 2147483647 w 2514"/>
                <a:gd name="T39" fmla="*/ 2147483647 h 1164"/>
                <a:gd name="T40" fmla="*/ 2147483647 w 2514"/>
                <a:gd name="T41" fmla="*/ 2147483647 h 1164"/>
                <a:gd name="T42" fmla="*/ 2147483647 w 2514"/>
                <a:gd name="T43" fmla="*/ 2147483647 h 1164"/>
                <a:gd name="T44" fmla="*/ 2147483647 w 2514"/>
                <a:gd name="T45" fmla="*/ 2147483647 h 1164"/>
                <a:gd name="T46" fmla="*/ 2147483647 w 2514"/>
                <a:gd name="T47" fmla="*/ 2147483647 h 1164"/>
                <a:gd name="T48" fmla="*/ 2147483647 w 2514"/>
                <a:gd name="T49" fmla="*/ 2147483647 h 1164"/>
                <a:gd name="T50" fmla="*/ 2147483647 w 2514"/>
                <a:gd name="T51" fmla="*/ 2147483647 h 1164"/>
                <a:gd name="T52" fmla="*/ 2147483647 w 2514"/>
                <a:gd name="T53" fmla="*/ 2147483647 h 1164"/>
                <a:gd name="T54" fmla="*/ 2147483647 w 2514"/>
                <a:gd name="T55" fmla="*/ 2147483647 h 1164"/>
                <a:gd name="T56" fmla="*/ 2147483647 w 2514"/>
                <a:gd name="T57" fmla="*/ 2147483647 h 1164"/>
                <a:gd name="T58" fmla="*/ 2147483647 w 2514"/>
                <a:gd name="T59" fmla="*/ 2147483647 h 1164"/>
                <a:gd name="T60" fmla="*/ 2147483647 w 2514"/>
                <a:gd name="T61" fmla="*/ 2147483647 h 1164"/>
                <a:gd name="T62" fmla="*/ 2147483647 w 2514"/>
                <a:gd name="T63" fmla="*/ 2147483647 h 1164"/>
                <a:gd name="T64" fmla="*/ 2147483647 w 2514"/>
                <a:gd name="T65" fmla="*/ 2147483647 h 1164"/>
                <a:gd name="T66" fmla="*/ 2147483647 w 2514"/>
                <a:gd name="T67" fmla="*/ 2147483647 h 1164"/>
                <a:gd name="T68" fmla="*/ 2147483647 w 2514"/>
                <a:gd name="T69" fmla="*/ 2147483647 h 1164"/>
                <a:gd name="T70" fmla="*/ 2147483647 w 2514"/>
                <a:gd name="T71" fmla="*/ 2147483647 h 1164"/>
                <a:gd name="T72" fmla="*/ 2147483647 w 2514"/>
                <a:gd name="T73" fmla="*/ 2147483647 h 1164"/>
                <a:gd name="T74" fmla="*/ 2147483647 w 2514"/>
                <a:gd name="T75" fmla="*/ 2147483647 h 1164"/>
                <a:gd name="T76" fmla="*/ 2147483647 w 2514"/>
                <a:gd name="T77" fmla="*/ 2147483647 h 1164"/>
                <a:gd name="T78" fmla="*/ 2147483647 w 2514"/>
                <a:gd name="T79" fmla="*/ 2147483647 h 1164"/>
                <a:gd name="T80" fmla="*/ 2147483647 w 2514"/>
                <a:gd name="T81" fmla="*/ 2147483647 h 1164"/>
                <a:gd name="T82" fmla="*/ 2147483647 w 2514"/>
                <a:gd name="T83" fmla="*/ 2147483647 h 1164"/>
                <a:gd name="T84" fmla="*/ 2147483647 w 2514"/>
                <a:gd name="T85" fmla="*/ 2147483647 h 1164"/>
                <a:gd name="T86" fmla="*/ 2147483647 w 2514"/>
                <a:gd name="T87" fmla="*/ 2147483647 h 1164"/>
                <a:gd name="T88" fmla="*/ 2147483647 w 2514"/>
                <a:gd name="T89" fmla="*/ 2147483647 h 1164"/>
                <a:gd name="T90" fmla="*/ 2147483647 w 2514"/>
                <a:gd name="T91" fmla="*/ 2147483647 h 1164"/>
                <a:gd name="T92" fmla="*/ 2147483647 w 2514"/>
                <a:gd name="T93" fmla="*/ 2147483647 h 1164"/>
                <a:gd name="T94" fmla="*/ 2147483647 w 2514"/>
                <a:gd name="T95" fmla="*/ 2147483647 h 1164"/>
                <a:gd name="T96" fmla="*/ 2147483647 w 2514"/>
                <a:gd name="T97" fmla="*/ 2147483647 h 1164"/>
                <a:gd name="T98" fmla="*/ 2147483647 w 2514"/>
                <a:gd name="T99" fmla="*/ 2147483647 h 1164"/>
                <a:gd name="T100" fmla="*/ 2147483647 w 2514"/>
                <a:gd name="T101" fmla="*/ 2147483647 h 1164"/>
                <a:gd name="T102" fmla="*/ 2147483647 w 2514"/>
                <a:gd name="T103" fmla="*/ 2147483647 h 1164"/>
                <a:gd name="T104" fmla="*/ 2147483647 w 2514"/>
                <a:gd name="T105" fmla="*/ 2147483647 h 1164"/>
                <a:gd name="T106" fmla="*/ 2147483647 w 2514"/>
                <a:gd name="T107" fmla="*/ 2147483647 h 1164"/>
                <a:gd name="T108" fmla="*/ 2147483647 w 2514"/>
                <a:gd name="T109" fmla="*/ 2147483647 h 1164"/>
                <a:gd name="T110" fmla="*/ 2147483647 w 2514"/>
                <a:gd name="T111" fmla="*/ 2147483647 h 1164"/>
                <a:gd name="T112" fmla="*/ 2147483647 w 2514"/>
                <a:gd name="T113" fmla="*/ 2147483647 h 1164"/>
                <a:gd name="T114" fmla="*/ 2147483647 w 2514"/>
                <a:gd name="T115" fmla="*/ 2147483647 h 1164"/>
                <a:gd name="T116" fmla="*/ 2147483647 w 2514"/>
                <a:gd name="T117" fmla="*/ 2147483647 h 1164"/>
                <a:gd name="T118" fmla="*/ 2147483647 w 2514"/>
                <a:gd name="T119" fmla="*/ 2147483647 h 1164"/>
                <a:gd name="T120" fmla="*/ 2147483647 w 2514"/>
                <a:gd name="T121" fmla="*/ 2147483647 h 1164"/>
                <a:gd name="T122" fmla="*/ 2147483647 w 2514"/>
                <a:gd name="T123" fmla="*/ 2147483647 h 116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514"/>
                <a:gd name="T187" fmla="*/ 0 h 1164"/>
                <a:gd name="T188" fmla="*/ 2514 w 2514"/>
                <a:gd name="T189" fmla="*/ 1164 h 116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514" h="1164">
                  <a:moveTo>
                    <a:pt x="852" y="756"/>
                  </a:moveTo>
                  <a:lnTo>
                    <a:pt x="840" y="744"/>
                  </a:lnTo>
                  <a:lnTo>
                    <a:pt x="822" y="768"/>
                  </a:lnTo>
                  <a:lnTo>
                    <a:pt x="816" y="780"/>
                  </a:lnTo>
                  <a:lnTo>
                    <a:pt x="870" y="804"/>
                  </a:lnTo>
                  <a:lnTo>
                    <a:pt x="870" y="786"/>
                  </a:lnTo>
                  <a:lnTo>
                    <a:pt x="864" y="780"/>
                  </a:lnTo>
                  <a:lnTo>
                    <a:pt x="858" y="768"/>
                  </a:lnTo>
                  <a:lnTo>
                    <a:pt x="858" y="762"/>
                  </a:lnTo>
                  <a:lnTo>
                    <a:pt x="852" y="756"/>
                  </a:lnTo>
                  <a:close/>
                  <a:moveTo>
                    <a:pt x="2484" y="492"/>
                  </a:moveTo>
                  <a:lnTo>
                    <a:pt x="2484" y="486"/>
                  </a:lnTo>
                  <a:lnTo>
                    <a:pt x="2514" y="486"/>
                  </a:lnTo>
                  <a:lnTo>
                    <a:pt x="2478" y="444"/>
                  </a:lnTo>
                  <a:lnTo>
                    <a:pt x="2454" y="420"/>
                  </a:lnTo>
                  <a:lnTo>
                    <a:pt x="2442" y="456"/>
                  </a:lnTo>
                  <a:lnTo>
                    <a:pt x="2370" y="450"/>
                  </a:lnTo>
                  <a:lnTo>
                    <a:pt x="2370" y="444"/>
                  </a:lnTo>
                  <a:lnTo>
                    <a:pt x="2364" y="438"/>
                  </a:lnTo>
                  <a:lnTo>
                    <a:pt x="2358" y="426"/>
                  </a:lnTo>
                  <a:lnTo>
                    <a:pt x="2352" y="420"/>
                  </a:lnTo>
                  <a:lnTo>
                    <a:pt x="2346" y="408"/>
                  </a:lnTo>
                  <a:lnTo>
                    <a:pt x="2346" y="402"/>
                  </a:lnTo>
                  <a:lnTo>
                    <a:pt x="2340" y="402"/>
                  </a:lnTo>
                  <a:lnTo>
                    <a:pt x="2328" y="396"/>
                  </a:lnTo>
                  <a:lnTo>
                    <a:pt x="2316" y="396"/>
                  </a:lnTo>
                  <a:lnTo>
                    <a:pt x="2304" y="390"/>
                  </a:lnTo>
                  <a:lnTo>
                    <a:pt x="2292" y="390"/>
                  </a:lnTo>
                  <a:lnTo>
                    <a:pt x="2286" y="378"/>
                  </a:lnTo>
                  <a:lnTo>
                    <a:pt x="2274" y="372"/>
                  </a:lnTo>
                  <a:lnTo>
                    <a:pt x="2250" y="348"/>
                  </a:lnTo>
                  <a:lnTo>
                    <a:pt x="2226" y="336"/>
                  </a:lnTo>
                  <a:lnTo>
                    <a:pt x="2208" y="336"/>
                  </a:lnTo>
                  <a:lnTo>
                    <a:pt x="2196" y="342"/>
                  </a:lnTo>
                  <a:lnTo>
                    <a:pt x="2178" y="348"/>
                  </a:lnTo>
                  <a:lnTo>
                    <a:pt x="2166" y="354"/>
                  </a:lnTo>
                  <a:lnTo>
                    <a:pt x="2160" y="366"/>
                  </a:lnTo>
                  <a:lnTo>
                    <a:pt x="2136" y="366"/>
                  </a:lnTo>
                  <a:lnTo>
                    <a:pt x="2124" y="360"/>
                  </a:lnTo>
                  <a:lnTo>
                    <a:pt x="2118" y="348"/>
                  </a:lnTo>
                  <a:lnTo>
                    <a:pt x="2106" y="342"/>
                  </a:lnTo>
                  <a:lnTo>
                    <a:pt x="2076" y="342"/>
                  </a:lnTo>
                  <a:lnTo>
                    <a:pt x="2076" y="336"/>
                  </a:lnTo>
                  <a:lnTo>
                    <a:pt x="2070" y="330"/>
                  </a:lnTo>
                  <a:lnTo>
                    <a:pt x="2070" y="318"/>
                  </a:lnTo>
                  <a:lnTo>
                    <a:pt x="2064" y="312"/>
                  </a:lnTo>
                  <a:lnTo>
                    <a:pt x="2052" y="312"/>
                  </a:lnTo>
                  <a:lnTo>
                    <a:pt x="2052" y="318"/>
                  </a:lnTo>
                  <a:lnTo>
                    <a:pt x="2046" y="324"/>
                  </a:lnTo>
                  <a:lnTo>
                    <a:pt x="2046" y="336"/>
                  </a:lnTo>
                  <a:lnTo>
                    <a:pt x="2034" y="348"/>
                  </a:lnTo>
                  <a:lnTo>
                    <a:pt x="2022" y="354"/>
                  </a:lnTo>
                  <a:lnTo>
                    <a:pt x="2010" y="354"/>
                  </a:lnTo>
                  <a:lnTo>
                    <a:pt x="1998" y="348"/>
                  </a:lnTo>
                  <a:lnTo>
                    <a:pt x="1986" y="336"/>
                  </a:lnTo>
                  <a:lnTo>
                    <a:pt x="1974" y="318"/>
                  </a:lnTo>
                  <a:lnTo>
                    <a:pt x="1938" y="282"/>
                  </a:lnTo>
                  <a:lnTo>
                    <a:pt x="1920" y="258"/>
                  </a:lnTo>
                  <a:lnTo>
                    <a:pt x="1848" y="198"/>
                  </a:lnTo>
                  <a:lnTo>
                    <a:pt x="1818" y="168"/>
                  </a:lnTo>
                  <a:lnTo>
                    <a:pt x="1800" y="156"/>
                  </a:lnTo>
                  <a:lnTo>
                    <a:pt x="1788" y="150"/>
                  </a:lnTo>
                  <a:lnTo>
                    <a:pt x="1758" y="132"/>
                  </a:lnTo>
                  <a:lnTo>
                    <a:pt x="1728" y="120"/>
                  </a:lnTo>
                  <a:lnTo>
                    <a:pt x="1692" y="102"/>
                  </a:lnTo>
                  <a:lnTo>
                    <a:pt x="1698" y="102"/>
                  </a:lnTo>
                  <a:lnTo>
                    <a:pt x="1710" y="90"/>
                  </a:lnTo>
                  <a:lnTo>
                    <a:pt x="1710" y="72"/>
                  </a:lnTo>
                  <a:lnTo>
                    <a:pt x="1704" y="66"/>
                  </a:lnTo>
                  <a:lnTo>
                    <a:pt x="1698" y="66"/>
                  </a:lnTo>
                  <a:lnTo>
                    <a:pt x="1680" y="84"/>
                  </a:lnTo>
                  <a:lnTo>
                    <a:pt x="1644" y="96"/>
                  </a:lnTo>
                  <a:lnTo>
                    <a:pt x="1632" y="114"/>
                  </a:lnTo>
                  <a:lnTo>
                    <a:pt x="1620" y="114"/>
                  </a:lnTo>
                  <a:lnTo>
                    <a:pt x="1608" y="120"/>
                  </a:lnTo>
                  <a:lnTo>
                    <a:pt x="1602" y="126"/>
                  </a:lnTo>
                  <a:lnTo>
                    <a:pt x="1602" y="144"/>
                  </a:lnTo>
                  <a:lnTo>
                    <a:pt x="1590" y="156"/>
                  </a:lnTo>
                  <a:lnTo>
                    <a:pt x="1578" y="150"/>
                  </a:lnTo>
                  <a:lnTo>
                    <a:pt x="1572" y="144"/>
                  </a:lnTo>
                  <a:lnTo>
                    <a:pt x="1560" y="138"/>
                  </a:lnTo>
                  <a:lnTo>
                    <a:pt x="1554" y="132"/>
                  </a:lnTo>
                  <a:lnTo>
                    <a:pt x="1548" y="132"/>
                  </a:lnTo>
                  <a:lnTo>
                    <a:pt x="1542" y="138"/>
                  </a:lnTo>
                  <a:lnTo>
                    <a:pt x="1536" y="138"/>
                  </a:lnTo>
                  <a:lnTo>
                    <a:pt x="1530" y="144"/>
                  </a:lnTo>
                  <a:lnTo>
                    <a:pt x="1524" y="144"/>
                  </a:lnTo>
                  <a:lnTo>
                    <a:pt x="1524" y="138"/>
                  </a:lnTo>
                  <a:lnTo>
                    <a:pt x="1530" y="132"/>
                  </a:lnTo>
                  <a:lnTo>
                    <a:pt x="1530" y="108"/>
                  </a:lnTo>
                  <a:lnTo>
                    <a:pt x="1518" y="102"/>
                  </a:lnTo>
                  <a:lnTo>
                    <a:pt x="1512" y="102"/>
                  </a:lnTo>
                  <a:lnTo>
                    <a:pt x="1506" y="108"/>
                  </a:lnTo>
                  <a:lnTo>
                    <a:pt x="1482" y="96"/>
                  </a:lnTo>
                  <a:lnTo>
                    <a:pt x="1458" y="108"/>
                  </a:lnTo>
                  <a:lnTo>
                    <a:pt x="1434" y="72"/>
                  </a:lnTo>
                  <a:lnTo>
                    <a:pt x="1422" y="90"/>
                  </a:lnTo>
                  <a:lnTo>
                    <a:pt x="1404" y="90"/>
                  </a:lnTo>
                  <a:lnTo>
                    <a:pt x="1392" y="96"/>
                  </a:lnTo>
                  <a:lnTo>
                    <a:pt x="1374" y="96"/>
                  </a:lnTo>
                  <a:lnTo>
                    <a:pt x="1368" y="90"/>
                  </a:lnTo>
                  <a:lnTo>
                    <a:pt x="1368" y="48"/>
                  </a:lnTo>
                  <a:lnTo>
                    <a:pt x="1362" y="42"/>
                  </a:lnTo>
                  <a:lnTo>
                    <a:pt x="1350" y="42"/>
                  </a:lnTo>
                  <a:lnTo>
                    <a:pt x="1344" y="36"/>
                  </a:lnTo>
                  <a:lnTo>
                    <a:pt x="1338" y="24"/>
                  </a:lnTo>
                  <a:lnTo>
                    <a:pt x="1320" y="6"/>
                  </a:lnTo>
                  <a:lnTo>
                    <a:pt x="1314" y="6"/>
                  </a:lnTo>
                  <a:lnTo>
                    <a:pt x="1302" y="18"/>
                  </a:lnTo>
                  <a:lnTo>
                    <a:pt x="1290" y="18"/>
                  </a:lnTo>
                  <a:lnTo>
                    <a:pt x="1278" y="6"/>
                  </a:lnTo>
                  <a:lnTo>
                    <a:pt x="1260" y="6"/>
                  </a:lnTo>
                  <a:lnTo>
                    <a:pt x="1242" y="0"/>
                  </a:lnTo>
                  <a:lnTo>
                    <a:pt x="1218" y="0"/>
                  </a:lnTo>
                  <a:lnTo>
                    <a:pt x="1200" y="6"/>
                  </a:lnTo>
                  <a:lnTo>
                    <a:pt x="1188" y="12"/>
                  </a:lnTo>
                  <a:lnTo>
                    <a:pt x="1176" y="24"/>
                  </a:lnTo>
                  <a:lnTo>
                    <a:pt x="1176" y="36"/>
                  </a:lnTo>
                  <a:lnTo>
                    <a:pt x="1164" y="36"/>
                  </a:lnTo>
                  <a:lnTo>
                    <a:pt x="1110" y="54"/>
                  </a:lnTo>
                  <a:lnTo>
                    <a:pt x="1020" y="54"/>
                  </a:lnTo>
                  <a:lnTo>
                    <a:pt x="1014" y="60"/>
                  </a:lnTo>
                  <a:lnTo>
                    <a:pt x="1014" y="78"/>
                  </a:lnTo>
                  <a:lnTo>
                    <a:pt x="948" y="78"/>
                  </a:lnTo>
                  <a:lnTo>
                    <a:pt x="942" y="96"/>
                  </a:lnTo>
                  <a:lnTo>
                    <a:pt x="888" y="96"/>
                  </a:lnTo>
                  <a:lnTo>
                    <a:pt x="828" y="102"/>
                  </a:lnTo>
                  <a:lnTo>
                    <a:pt x="792" y="114"/>
                  </a:lnTo>
                  <a:lnTo>
                    <a:pt x="780" y="126"/>
                  </a:lnTo>
                  <a:lnTo>
                    <a:pt x="780" y="132"/>
                  </a:lnTo>
                  <a:lnTo>
                    <a:pt x="786" y="138"/>
                  </a:lnTo>
                  <a:lnTo>
                    <a:pt x="786" y="144"/>
                  </a:lnTo>
                  <a:lnTo>
                    <a:pt x="810" y="144"/>
                  </a:lnTo>
                  <a:lnTo>
                    <a:pt x="798" y="162"/>
                  </a:lnTo>
                  <a:lnTo>
                    <a:pt x="810" y="162"/>
                  </a:lnTo>
                  <a:lnTo>
                    <a:pt x="834" y="174"/>
                  </a:lnTo>
                  <a:lnTo>
                    <a:pt x="846" y="174"/>
                  </a:lnTo>
                  <a:lnTo>
                    <a:pt x="858" y="186"/>
                  </a:lnTo>
                  <a:lnTo>
                    <a:pt x="804" y="186"/>
                  </a:lnTo>
                  <a:lnTo>
                    <a:pt x="792" y="198"/>
                  </a:lnTo>
                  <a:lnTo>
                    <a:pt x="798" y="204"/>
                  </a:lnTo>
                  <a:lnTo>
                    <a:pt x="804" y="216"/>
                  </a:lnTo>
                  <a:lnTo>
                    <a:pt x="810" y="222"/>
                  </a:lnTo>
                  <a:lnTo>
                    <a:pt x="810" y="234"/>
                  </a:lnTo>
                  <a:lnTo>
                    <a:pt x="798" y="246"/>
                  </a:lnTo>
                  <a:lnTo>
                    <a:pt x="786" y="246"/>
                  </a:lnTo>
                  <a:lnTo>
                    <a:pt x="774" y="252"/>
                  </a:lnTo>
                  <a:lnTo>
                    <a:pt x="762" y="252"/>
                  </a:lnTo>
                  <a:lnTo>
                    <a:pt x="792" y="282"/>
                  </a:lnTo>
                  <a:lnTo>
                    <a:pt x="816" y="282"/>
                  </a:lnTo>
                  <a:lnTo>
                    <a:pt x="834" y="288"/>
                  </a:lnTo>
                  <a:lnTo>
                    <a:pt x="846" y="294"/>
                  </a:lnTo>
                  <a:lnTo>
                    <a:pt x="870" y="318"/>
                  </a:lnTo>
                  <a:lnTo>
                    <a:pt x="876" y="336"/>
                  </a:lnTo>
                  <a:lnTo>
                    <a:pt x="876" y="348"/>
                  </a:lnTo>
                  <a:lnTo>
                    <a:pt x="870" y="360"/>
                  </a:lnTo>
                  <a:lnTo>
                    <a:pt x="864" y="366"/>
                  </a:lnTo>
                  <a:lnTo>
                    <a:pt x="828" y="366"/>
                  </a:lnTo>
                  <a:lnTo>
                    <a:pt x="816" y="360"/>
                  </a:lnTo>
                  <a:lnTo>
                    <a:pt x="810" y="354"/>
                  </a:lnTo>
                  <a:lnTo>
                    <a:pt x="798" y="354"/>
                  </a:lnTo>
                  <a:lnTo>
                    <a:pt x="792" y="348"/>
                  </a:lnTo>
                  <a:lnTo>
                    <a:pt x="780" y="372"/>
                  </a:lnTo>
                  <a:lnTo>
                    <a:pt x="768" y="372"/>
                  </a:lnTo>
                  <a:lnTo>
                    <a:pt x="756" y="366"/>
                  </a:lnTo>
                  <a:lnTo>
                    <a:pt x="732" y="366"/>
                  </a:lnTo>
                  <a:lnTo>
                    <a:pt x="708" y="354"/>
                  </a:lnTo>
                  <a:lnTo>
                    <a:pt x="702" y="342"/>
                  </a:lnTo>
                  <a:lnTo>
                    <a:pt x="690" y="336"/>
                  </a:lnTo>
                  <a:lnTo>
                    <a:pt x="684" y="330"/>
                  </a:lnTo>
                  <a:lnTo>
                    <a:pt x="672" y="330"/>
                  </a:lnTo>
                  <a:lnTo>
                    <a:pt x="666" y="336"/>
                  </a:lnTo>
                  <a:lnTo>
                    <a:pt x="654" y="342"/>
                  </a:lnTo>
                  <a:lnTo>
                    <a:pt x="636" y="348"/>
                  </a:lnTo>
                  <a:lnTo>
                    <a:pt x="624" y="348"/>
                  </a:lnTo>
                  <a:lnTo>
                    <a:pt x="588" y="330"/>
                  </a:lnTo>
                  <a:lnTo>
                    <a:pt x="582" y="330"/>
                  </a:lnTo>
                  <a:lnTo>
                    <a:pt x="570" y="336"/>
                  </a:lnTo>
                  <a:lnTo>
                    <a:pt x="558" y="348"/>
                  </a:lnTo>
                  <a:lnTo>
                    <a:pt x="546" y="354"/>
                  </a:lnTo>
                  <a:lnTo>
                    <a:pt x="540" y="366"/>
                  </a:lnTo>
                  <a:lnTo>
                    <a:pt x="534" y="372"/>
                  </a:lnTo>
                  <a:lnTo>
                    <a:pt x="462" y="336"/>
                  </a:lnTo>
                  <a:lnTo>
                    <a:pt x="450" y="336"/>
                  </a:lnTo>
                  <a:lnTo>
                    <a:pt x="450" y="342"/>
                  </a:lnTo>
                  <a:lnTo>
                    <a:pt x="462" y="354"/>
                  </a:lnTo>
                  <a:lnTo>
                    <a:pt x="462" y="372"/>
                  </a:lnTo>
                  <a:lnTo>
                    <a:pt x="450" y="372"/>
                  </a:lnTo>
                  <a:lnTo>
                    <a:pt x="438" y="360"/>
                  </a:lnTo>
                  <a:lnTo>
                    <a:pt x="438" y="354"/>
                  </a:lnTo>
                  <a:lnTo>
                    <a:pt x="426" y="324"/>
                  </a:lnTo>
                  <a:lnTo>
                    <a:pt x="390" y="324"/>
                  </a:lnTo>
                  <a:lnTo>
                    <a:pt x="384" y="312"/>
                  </a:lnTo>
                  <a:lnTo>
                    <a:pt x="384" y="306"/>
                  </a:lnTo>
                  <a:lnTo>
                    <a:pt x="378" y="300"/>
                  </a:lnTo>
                  <a:lnTo>
                    <a:pt x="318" y="300"/>
                  </a:lnTo>
                  <a:lnTo>
                    <a:pt x="312" y="288"/>
                  </a:lnTo>
                  <a:lnTo>
                    <a:pt x="306" y="282"/>
                  </a:lnTo>
                  <a:lnTo>
                    <a:pt x="288" y="282"/>
                  </a:lnTo>
                  <a:lnTo>
                    <a:pt x="276" y="288"/>
                  </a:lnTo>
                  <a:lnTo>
                    <a:pt x="264" y="300"/>
                  </a:lnTo>
                  <a:lnTo>
                    <a:pt x="234" y="300"/>
                  </a:lnTo>
                  <a:lnTo>
                    <a:pt x="228" y="294"/>
                  </a:lnTo>
                  <a:lnTo>
                    <a:pt x="228" y="288"/>
                  </a:lnTo>
                  <a:lnTo>
                    <a:pt x="222" y="288"/>
                  </a:lnTo>
                  <a:lnTo>
                    <a:pt x="210" y="282"/>
                  </a:lnTo>
                  <a:lnTo>
                    <a:pt x="180" y="282"/>
                  </a:lnTo>
                  <a:lnTo>
                    <a:pt x="180" y="288"/>
                  </a:lnTo>
                  <a:lnTo>
                    <a:pt x="186" y="294"/>
                  </a:lnTo>
                  <a:lnTo>
                    <a:pt x="186" y="312"/>
                  </a:lnTo>
                  <a:lnTo>
                    <a:pt x="174" y="324"/>
                  </a:lnTo>
                  <a:lnTo>
                    <a:pt x="162" y="330"/>
                  </a:lnTo>
                  <a:lnTo>
                    <a:pt x="150" y="330"/>
                  </a:lnTo>
                  <a:lnTo>
                    <a:pt x="138" y="336"/>
                  </a:lnTo>
                  <a:lnTo>
                    <a:pt x="132" y="336"/>
                  </a:lnTo>
                  <a:lnTo>
                    <a:pt x="132" y="360"/>
                  </a:lnTo>
                  <a:lnTo>
                    <a:pt x="102" y="372"/>
                  </a:lnTo>
                  <a:lnTo>
                    <a:pt x="114" y="384"/>
                  </a:lnTo>
                  <a:lnTo>
                    <a:pt x="120" y="396"/>
                  </a:lnTo>
                  <a:lnTo>
                    <a:pt x="114" y="402"/>
                  </a:lnTo>
                  <a:lnTo>
                    <a:pt x="108" y="414"/>
                  </a:lnTo>
                  <a:lnTo>
                    <a:pt x="102" y="420"/>
                  </a:lnTo>
                  <a:lnTo>
                    <a:pt x="90" y="420"/>
                  </a:lnTo>
                  <a:lnTo>
                    <a:pt x="78" y="414"/>
                  </a:lnTo>
                  <a:lnTo>
                    <a:pt x="72" y="402"/>
                  </a:lnTo>
                  <a:lnTo>
                    <a:pt x="60" y="396"/>
                  </a:lnTo>
                  <a:lnTo>
                    <a:pt x="48" y="384"/>
                  </a:lnTo>
                  <a:lnTo>
                    <a:pt x="36" y="378"/>
                  </a:lnTo>
                  <a:lnTo>
                    <a:pt x="24" y="378"/>
                  </a:lnTo>
                  <a:lnTo>
                    <a:pt x="18" y="384"/>
                  </a:lnTo>
                  <a:lnTo>
                    <a:pt x="18" y="396"/>
                  </a:lnTo>
                  <a:lnTo>
                    <a:pt x="24" y="402"/>
                  </a:lnTo>
                  <a:lnTo>
                    <a:pt x="24" y="426"/>
                  </a:lnTo>
                  <a:lnTo>
                    <a:pt x="0" y="426"/>
                  </a:lnTo>
                  <a:lnTo>
                    <a:pt x="6" y="462"/>
                  </a:lnTo>
                  <a:lnTo>
                    <a:pt x="12" y="468"/>
                  </a:lnTo>
                  <a:lnTo>
                    <a:pt x="12" y="492"/>
                  </a:lnTo>
                  <a:lnTo>
                    <a:pt x="0" y="516"/>
                  </a:lnTo>
                  <a:lnTo>
                    <a:pt x="0" y="546"/>
                  </a:lnTo>
                  <a:lnTo>
                    <a:pt x="6" y="546"/>
                  </a:lnTo>
                  <a:lnTo>
                    <a:pt x="12" y="552"/>
                  </a:lnTo>
                  <a:lnTo>
                    <a:pt x="36" y="552"/>
                  </a:lnTo>
                  <a:lnTo>
                    <a:pt x="42" y="558"/>
                  </a:lnTo>
                  <a:lnTo>
                    <a:pt x="42" y="588"/>
                  </a:lnTo>
                  <a:lnTo>
                    <a:pt x="48" y="594"/>
                  </a:lnTo>
                  <a:lnTo>
                    <a:pt x="90" y="594"/>
                  </a:lnTo>
                  <a:lnTo>
                    <a:pt x="102" y="588"/>
                  </a:lnTo>
                  <a:lnTo>
                    <a:pt x="114" y="588"/>
                  </a:lnTo>
                  <a:lnTo>
                    <a:pt x="162" y="636"/>
                  </a:lnTo>
                  <a:lnTo>
                    <a:pt x="168" y="648"/>
                  </a:lnTo>
                  <a:lnTo>
                    <a:pt x="180" y="660"/>
                  </a:lnTo>
                  <a:lnTo>
                    <a:pt x="180" y="672"/>
                  </a:lnTo>
                  <a:lnTo>
                    <a:pt x="144" y="672"/>
                  </a:lnTo>
                  <a:lnTo>
                    <a:pt x="144" y="678"/>
                  </a:lnTo>
                  <a:lnTo>
                    <a:pt x="156" y="690"/>
                  </a:lnTo>
                  <a:lnTo>
                    <a:pt x="174" y="696"/>
                  </a:lnTo>
                  <a:lnTo>
                    <a:pt x="186" y="696"/>
                  </a:lnTo>
                  <a:lnTo>
                    <a:pt x="192" y="702"/>
                  </a:lnTo>
                  <a:lnTo>
                    <a:pt x="198" y="702"/>
                  </a:lnTo>
                  <a:lnTo>
                    <a:pt x="204" y="690"/>
                  </a:lnTo>
                  <a:lnTo>
                    <a:pt x="222" y="690"/>
                  </a:lnTo>
                  <a:lnTo>
                    <a:pt x="228" y="684"/>
                  </a:lnTo>
                  <a:lnTo>
                    <a:pt x="246" y="672"/>
                  </a:lnTo>
                  <a:lnTo>
                    <a:pt x="306" y="648"/>
                  </a:lnTo>
                  <a:lnTo>
                    <a:pt x="324" y="642"/>
                  </a:lnTo>
                  <a:lnTo>
                    <a:pt x="336" y="648"/>
                  </a:lnTo>
                  <a:lnTo>
                    <a:pt x="342" y="654"/>
                  </a:lnTo>
                  <a:lnTo>
                    <a:pt x="360" y="666"/>
                  </a:lnTo>
                  <a:lnTo>
                    <a:pt x="366" y="672"/>
                  </a:lnTo>
                  <a:lnTo>
                    <a:pt x="384" y="672"/>
                  </a:lnTo>
                  <a:lnTo>
                    <a:pt x="390" y="666"/>
                  </a:lnTo>
                  <a:lnTo>
                    <a:pt x="402" y="666"/>
                  </a:lnTo>
                  <a:lnTo>
                    <a:pt x="408" y="660"/>
                  </a:lnTo>
                  <a:lnTo>
                    <a:pt x="414" y="666"/>
                  </a:lnTo>
                  <a:lnTo>
                    <a:pt x="426" y="672"/>
                  </a:lnTo>
                  <a:lnTo>
                    <a:pt x="450" y="696"/>
                  </a:lnTo>
                  <a:lnTo>
                    <a:pt x="450" y="726"/>
                  </a:lnTo>
                  <a:lnTo>
                    <a:pt x="444" y="732"/>
                  </a:lnTo>
                  <a:lnTo>
                    <a:pt x="444" y="738"/>
                  </a:lnTo>
                  <a:lnTo>
                    <a:pt x="438" y="744"/>
                  </a:lnTo>
                  <a:lnTo>
                    <a:pt x="438" y="750"/>
                  </a:lnTo>
                  <a:lnTo>
                    <a:pt x="444" y="756"/>
                  </a:lnTo>
                  <a:lnTo>
                    <a:pt x="450" y="768"/>
                  </a:lnTo>
                  <a:lnTo>
                    <a:pt x="462" y="774"/>
                  </a:lnTo>
                  <a:lnTo>
                    <a:pt x="474" y="786"/>
                  </a:lnTo>
                  <a:lnTo>
                    <a:pt x="486" y="786"/>
                  </a:lnTo>
                  <a:lnTo>
                    <a:pt x="504" y="768"/>
                  </a:lnTo>
                  <a:lnTo>
                    <a:pt x="516" y="762"/>
                  </a:lnTo>
                  <a:lnTo>
                    <a:pt x="528" y="762"/>
                  </a:lnTo>
                  <a:lnTo>
                    <a:pt x="528" y="792"/>
                  </a:lnTo>
                  <a:lnTo>
                    <a:pt x="546" y="810"/>
                  </a:lnTo>
                  <a:lnTo>
                    <a:pt x="510" y="816"/>
                  </a:lnTo>
                  <a:lnTo>
                    <a:pt x="510" y="828"/>
                  </a:lnTo>
                  <a:lnTo>
                    <a:pt x="504" y="834"/>
                  </a:lnTo>
                  <a:lnTo>
                    <a:pt x="498" y="834"/>
                  </a:lnTo>
                  <a:lnTo>
                    <a:pt x="486" y="822"/>
                  </a:lnTo>
                  <a:lnTo>
                    <a:pt x="486" y="816"/>
                  </a:lnTo>
                  <a:lnTo>
                    <a:pt x="498" y="804"/>
                  </a:lnTo>
                  <a:lnTo>
                    <a:pt x="504" y="804"/>
                  </a:lnTo>
                  <a:lnTo>
                    <a:pt x="510" y="798"/>
                  </a:lnTo>
                  <a:lnTo>
                    <a:pt x="480" y="798"/>
                  </a:lnTo>
                  <a:lnTo>
                    <a:pt x="462" y="792"/>
                  </a:lnTo>
                  <a:lnTo>
                    <a:pt x="450" y="792"/>
                  </a:lnTo>
                  <a:lnTo>
                    <a:pt x="432" y="786"/>
                  </a:lnTo>
                  <a:lnTo>
                    <a:pt x="408" y="786"/>
                  </a:lnTo>
                  <a:lnTo>
                    <a:pt x="390" y="780"/>
                  </a:lnTo>
                  <a:lnTo>
                    <a:pt x="372" y="780"/>
                  </a:lnTo>
                  <a:lnTo>
                    <a:pt x="360" y="774"/>
                  </a:lnTo>
                  <a:lnTo>
                    <a:pt x="348" y="774"/>
                  </a:lnTo>
                  <a:lnTo>
                    <a:pt x="360" y="804"/>
                  </a:lnTo>
                  <a:lnTo>
                    <a:pt x="342" y="804"/>
                  </a:lnTo>
                  <a:lnTo>
                    <a:pt x="330" y="816"/>
                  </a:lnTo>
                  <a:lnTo>
                    <a:pt x="330" y="822"/>
                  </a:lnTo>
                  <a:lnTo>
                    <a:pt x="336" y="828"/>
                  </a:lnTo>
                  <a:lnTo>
                    <a:pt x="348" y="834"/>
                  </a:lnTo>
                  <a:lnTo>
                    <a:pt x="354" y="840"/>
                  </a:lnTo>
                  <a:lnTo>
                    <a:pt x="366" y="840"/>
                  </a:lnTo>
                  <a:lnTo>
                    <a:pt x="372" y="846"/>
                  </a:lnTo>
                  <a:lnTo>
                    <a:pt x="372" y="852"/>
                  </a:lnTo>
                  <a:lnTo>
                    <a:pt x="360" y="852"/>
                  </a:lnTo>
                  <a:lnTo>
                    <a:pt x="348" y="846"/>
                  </a:lnTo>
                  <a:lnTo>
                    <a:pt x="336" y="846"/>
                  </a:lnTo>
                  <a:lnTo>
                    <a:pt x="324" y="840"/>
                  </a:lnTo>
                  <a:lnTo>
                    <a:pt x="306" y="834"/>
                  </a:lnTo>
                  <a:lnTo>
                    <a:pt x="300" y="834"/>
                  </a:lnTo>
                  <a:lnTo>
                    <a:pt x="294" y="840"/>
                  </a:lnTo>
                  <a:lnTo>
                    <a:pt x="294" y="846"/>
                  </a:lnTo>
                  <a:lnTo>
                    <a:pt x="306" y="858"/>
                  </a:lnTo>
                  <a:lnTo>
                    <a:pt x="318" y="864"/>
                  </a:lnTo>
                  <a:lnTo>
                    <a:pt x="324" y="870"/>
                  </a:lnTo>
                  <a:lnTo>
                    <a:pt x="336" y="870"/>
                  </a:lnTo>
                  <a:lnTo>
                    <a:pt x="336" y="882"/>
                  </a:lnTo>
                  <a:lnTo>
                    <a:pt x="342" y="894"/>
                  </a:lnTo>
                  <a:lnTo>
                    <a:pt x="366" y="918"/>
                  </a:lnTo>
                  <a:lnTo>
                    <a:pt x="372" y="930"/>
                  </a:lnTo>
                  <a:lnTo>
                    <a:pt x="372" y="954"/>
                  </a:lnTo>
                  <a:lnTo>
                    <a:pt x="408" y="960"/>
                  </a:lnTo>
                  <a:lnTo>
                    <a:pt x="414" y="978"/>
                  </a:lnTo>
                  <a:lnTo>
                    <a:pt x="444" y="978"/>
                  </a:lnTo>
                  <a:lnTo>
                    <a:pt x="480" y="996"/>
                  </a:lnTo>
                  <a:lnTo>
                    <a:pt x="486" y="1002"/>
                  </a:lnTo>
                  <a:lnTo>
                    <a:pt x="486" y="1014"/>
                  </a:lnTo>
                  <a:lnTo>
                    <a:pt x="480" y="1020"/>
                  </a:lnTo>
                  <a:lnTo>
                    <a:pt x="468" y="1026"/>
                  </a:lnTo>
                  <a:lnTo>
                    <a:pt x="462" y="1038"/>
                  </a:lnTo>
                  <a:lnTo>
                    <a:pt x="462" y="1056"/>
                  </a:lnTo>
                  <a:lnTo>
                    <a:pt x="468" y="1062"/>
                  </a:lnTo>
                  <a:lnTo>
                    <a:pt x="492" y="1062"/>
                  </a:lnTo>
                  <a:lnTo>
                    <a:pt x="498" y="1056"/>
                  </a:lnTo>
                  <a:lnTo>
                    <a:pt x="504" y="1038"/>
                  </a:lnTo>
                  <a:lnTo>
                    <a:pt x="510" y="1026"/>
                  </a:lnTo>
                  <a:lnTo>
                    <a:pt x="516" y="1020"/>
                  </a:lnTo>
                  <a:lnTo>
                    <a:pt x="528" y="1020"/>
                  </a:lnTo>
                  <a:lnTo>
                    <a:pt x="546" y="1026"/>
                  </a:lnTo>
                  <a:lnTo>
                    <a:pt x="546" y="1020"/>
                  </a:lnTo>
                  <a:lnTo>
                    <a:pt x="552" y="1014"/>
                  </a:lnTo>
                  <a:lnTo>
                    <a:pt x="570" y="1014"/>
                  </a:lnTo>
                  <a:lnTo>
                    <a:pt x="594" y="1026"/>
                  </a:lnTo>
                  <a:lnTo>
                    <a:pt x="606" y="1026"/>
                  </a:lnTo>
                  <a:lnTo>
                    <a:pt x="618" y="1038"/>
                  </a:lnTo>
                  <a:lnTo>
                    <a:pt x="630" y="1044"/>
                  </a:lnTo>
                  <a:lnTo>
                    <a:pt x="636" y="1056"/>
                  </a:lnTo>
                  <a:lnTo>
                    <a:pt x="642" y="1062"/>
                  </a:lnTo>
                  <a:lnTo>
                    <a:pt x="648" y="1074"/>
                  </a:lnTo>
                  <a:lnTo>
                    <a:pt x="672" y="1098"/>
                  </a:lnTo>
                  <a:lnTo>
                    <a:pt x="684" y="1104"/>
                  </a:lnTo>
                  <a:lnTo>
                    <a:pt x="690" y="1110"/>
                  </a:lnTo>
                  <a:lnTo>
                    <a:pt x="696" y="1104"/>
                  </a:lnTo>
                  <a:lnTo>
                    <a:pt x="696" y="1098"/>
                  </a:lnTo>
                  <a:lnTo>
                    <a:pt x="702" y="1092"/>
                  </a:lnTo>
                  <a:lnTo>
                    <a:pt x="654" y="810"/>
                  </a:lnTo>
                  <a:lnTo>
                    <a:pt x="798" y="768"/>
                  </a:lnTo>
                  <a:lnTo>
                    <a:pt x="804" y="774"/>
                  </a:lnTo>
                  <a:lnTo>
                    <a:pt x="804" y="762"/>
                  </a:lnTo>
                  <a:lnTo>
                    <a:pt x="810" y="756"/>
                  </a:lnTo>
                  <a:lnTo>
                    <a:pt x="810" y="750"/>
                  </a:lnTo>
                  <a:lnTo>
                    <a:pt x="816" y="738"/>
                  </a:lnTo>
                  <a:lnTo>
                    <a:pt x="816" y="732"/>
                  </a:lnTo>
                  <a:lnTo>
                    <a:pt x="822" y="726"/>
                  </a:lnTo>
                  <a:lnTo>
                    <a:pt x="846" y="726"/>
                  </a:lnTo>
                  <a:lnTo>
                    <a:pt x="852" y="750"/>
                  </a:lnTo>
                  <a:lnTo>
                    <a:pt x="864" y="744"/>
                  </a:lnTo>
                  <a:lnTo>
                    <a:pt x="870" y="744"/>
                  </a:lnTo>
                  <a:lnTo>
                    <a:pt x="876" y="738"/>
                  </a:lnTo>
                  <a:lnTo>
                    <a:pt x="876" y="732"/>
                  </a:lnTo>
                  <a:lnTo>
                    <a:pt x="852" y="708"/>
                  </a:lnTo>
                  <a:lnTo>
                    <a:pt x="870" y="708"/>
                  </a:lnTo>
                  <a:lnTo>
                    <a:pt x="882" y="720"/>
                  </a:lnTo>
                  <a:lnTo>
                    <a:pt x="936" y="720"/>
                  </a:lnTo>
                  <a:lnTo>
                    <a:pt x="924" y="708"/>
                  </a:lnTo>
                  <a:lnTo>
                    <a:pt x="918" y="708"/>
                  </a:lnTo>
                  <a:lnTo>
                    <a:pt x="906" y="696"/>
                  </a:lnTo>
                  <a:lnTo>
                    <a:pt x="882" y="696"/>
                  </a:lnTo>
                  <a:lnTo>
                    <a:pt x="876" y="690"/>
                  </a:lnTo>
                  <a:lnTo>
                    <a:pt x="876" y="684"/>
                  </a:lnTo>
                  <a:lnTo>
                    <a:pt x="882" y="678"/>
                  </a:lnTo>
                  <a:lnTo>
                    <a:pt x="906" y="678"/>
                  </a:lnTo>
                  <a:lnTo>
                    <a:pt x="924" y="666"/>
                  </a:lnTo>
                  <a:lnTo>
                    <a:pt x="930" y="672"/>
                  </a:lnTo>
                  <a:lnTo>
                    <a:pt x="936" y="684"/>
                  </a:lnTo>
                  <a:lnTo>
                    <a:pt x="942" y="690"/>
                  </a:lnTo>
                  <a:lnTo>
                    <a:pt x="948" y="690"/>
                  </a:lnTo>
                  <a:lnTo>
                    <a:pt x="954" y="684"/>
                  </a:lnTo>
                  <a:lnTo>
                    <a:pt x="960" y="690"/>
                  </a:lnTo>
                  <a:lnTo>
                    <a:pt x="966" y="702"/>
                  </a:lnTo>
                  <a:lnTo>
                    <a:pt x="966" y="708"/>
                  </a:lnTo>
                  <a:lnTo>
                    <a:pt x="960" y="714"/>
                  </a:lnTo>
                  <a:lnTo>
                    <a:pt x="954" y="714"/>
                  </a:lnTo>
                  <a:lnTo>
                    <a:pt x="942" y="720"/>
                  </a:lnTo>
                  <a:lnTo>
                    <a:pt x="924" y="738"/>
                  </a:lnTo>
                  <a:lnTo>
                    <a:pt x="888" y="738"/>
                  </a:lnTo>
                  <a:lnTo>
                    <a:pt x="882" y="744"/>
                  </a:lnTo>
                  <a:lnTo>
                    <a:pt x="882" y="756"/>
                  </a:lnTo>
                  <a:lnTo>
                    <a:pt x="888" y="762"/>
                  </a:lnTo>
                  <a:lnTo>
                    <a:pt x="900" y="762"/>
                  </a:lnTo>
                  <a:lnTo>
                    <a:pt x="906" y="768"/>
                  </a:lnTo>
                  <a:lnTo>
                    <a:pt x="918" y="768"/>
                  </a:lnTo>
                  <a:lnTo>
                    <a:pt x="918" y="786"/>
                  </a:lnTo>
                  <a:lnTo>
                    <a:pt x="912" y="798"/>
                  </a:lnTo>
                  <a:lnTo>
                    <a:pt x="912" y="816"/>
                  </a:lnTo>
                  <a:lnTo>
                    <a:pt x="918" y="822"/>
                  </a:lnTo>
                  <a:lnTo>
                    <a:pt x="984" y="858"/>
                  </a:lnTo>
                  <a:lnTo>
                    <a:pt x="1062" y="930"/>
                  </a:lnTo>
                  <a:lnTo>
                    <a:pt x="1068" y="930"/>
                  </a:lnTo>
                  <a:lnTo>
                    <a:pt x="1074" y="924"/>
                  </a:lnTo>
                  <a:lnTo>
                    <a:pt x="1110" y="924"/>
                  </a:lnTo>
                  <a:lnTo>
                    <a:pt x="1128" y="918"/>
                  </a:lnTo>
                  <a:lnTo>
                    <a:pt x="1188" y="918"/>
                  </a:lnTo>
                  <a:lnTo>
                    <a:pt x="1206" y="924"/>
                  </a:lnTo>
                  <a:lnTo>
                    <a:pt x="1224" y="924"/>
                  </a:lnTo>
                  <a:lnTo>
                    <a:pt x="1230" y="918"/>
                  </a:lnTo>
                  <a:lnTo>
                    <a:pt x="1254" y="906"/>
                  </a:lnTo>
                  <a:lnTo>
                    <a:pt x="1266" y="906"/>
                  </a:lnTo>
                  <a:lnTo>
                    <a:pt x="1272" y="918"/>
                  </a:lnTo>
                  <a:lnTo>
                    <a:pt x="1290" y="936"/>
                  </a:lnTo>
                  <a:lnTo>
                    <a:pt x="1296" y="954"/>
                  </a:lnTo>
                  <a:lnTo>
                    <a:pt x="1308" y="960"/>
                  </a:lnTo>
                  <a:lnTo>
                    <a:pt x="1314" y="972"/>
                  </a:lnTo>
                  <a:lnTo>
                    <a:pt x="1344" y="972"/>
                  </a:lnTo>
                  <a:lnTo>
                    <a:pt x="1344" y="984"/>
                  </a:lnTo>
                  <a:lnTo>
                    <a:pt x="1350" y="1002"/>
                  </a:lnTo>
                  <a:lnTo>
                    <a:pt x="1350" y="1044"/>
                  </a:lnTo>
                  <a:lnTo>
                    <a:pt x="1356" y="1050"/>
                  </a:lnTo>
                  <a:lnTo>
                    <a:pt x="1362" y="1050"/>
                  </a:lnTo>
                  <a:lnTo>
                    <a:pt x="1368" y="1044"/>
                  </a:lnTo>
                  <a:lnTo>
                    <a:pt x="1380" y="1044"/>
                  </a:lnTo>
                  <a:lnTo>
                    <a:pt x="1386" y="1050"/>
                  </a:lnTo>
                  <a:lnTo>
                    <a:pt x="1416" y="1110"/>
                  </a:lnTo>
                  <a:lnTo>
                    <a:pt x="1494" y="1110"/>
                  </a:lnTo>
                  <a:lnTo>
                    <a:pt x="1512" y="1116"/>
                  </a:lnTo>
                  <a:lnTo>
                    <a:pt x="1512" y="1134"/>
                  </a:lnTo>
                  <a:lnTo>
                    <a:pt x="1506" y="1140"/>
                  </a:lnTo>
                  <a:lnTo>
                    <a:pt x="1506" y="1152"/>
                  </a:lnTo>
                  <a:lnTo>
                    <a:pt x="1512" y="1152"/>
                  </a:lnTo>
                  <a:lnTo>
                    <a:pt x="1524" y="1158"/>
                  </a:lnTo>
                  <a:lnTo>
                    <a:pt x="1536" y="1158"/>
                  </a:lnTo>
                  <a:lnTo>
                    <a:pt x="1542" y="1164"/>
                  </a:lnTo>
                  <a:lnTo>
                    <a:pt x="1542" y="1152"/>
                  </a:lnTo>
                  <a:lnTo>
                    <a:pt x="1536" y="1146"/>
                  </a:lnTo>
                  <a:lnTo>
                    <a:pt x="1536" y="1134"/>
                  </a:lnTo>
                  <a:lnTo>
                    <a:pt x="1548" y="1122"/>
                  </a:lnTo>
                  <a:lnTo>
                    <a:pt x="1560" y="1116"/>
                  </a:lnTo>
                  <a:lnTo>
                    <a:pt x="1566" y="1110"/>
                  </a:lnTo>
                  <a:lnTo>
                    <a:pt x="1572" y="1110"/>
                  </a:lnTo>
                  <a:lnTo>
                    <a:pt x="1572" y="1092"/>
                  </a:lnTo>
                  <a:lnTo>
                    <a:pt x="1584" y="1080"/>
                  </a:lnTo>
                  <a:lnTo>
                    <a:pt x="1596" y="1074"/>
                  </a:lnTo>
                  <a:lnTo>
                    <a:pt x="1608" y="1074"/>
                  </a:lnTo>
                  <a:lnTo>
                    <a:pt x="1614" y="1068"/>
                  </a:lnTo>
                  <a:lnTo>
                    <a:pt x="1620" y="1068"/>
                  </a:lnTo>
                  <a:lnTo>
                    <a:pt x="1632" y="1044"/>
                  </a:lnTo>
                  <a:lnTo>
                    <a:pt x="1656" y="1044"/>
                  </a:lnTo>
                  <a:lnTo>
                    <a:pt x="1686" y="1026"/>
                  </a:lnTo>
                  <a:lnTo>
                    <a:pt x="1662" y="1026"/>
                  </a:lnTo>
                  <a:lnTo>
                    <a:pt x="1662" y="1008"/>
                  </a:lnTo>
                  <a:lnTo>
                    <a:pt x="1668" y="996"/>
                  </a:lnTo>
                  <a:lnTo>
                    <a:pt x="1686" y="978"/>
                  </a:lnTo>
                  <a:lnTo>
                    <a:pt x="1716" y="978"/>
                  </a:lnTo>
                  <a:lnTo>
                    <a:pt x="1728" y="984"/>
                  </a:lnTo>
                  <a:lnTo>
                    <a:pt x="1746" y="990"/>
                  </a:lnTo>
                  <a:lnTo>
                    <a:pt x="1782" y="1008"/>
                  </a:lnTo>
                  <a:lnTo>
                    <a:pt x="1812" y="1008"/>
                  </a:lnTo>
                  <a:lnTo>
                    <a:pt x="1830" y="1014"/>
                  </a:lnTo>
                  <a:lnTo>
                    <a:pt x="1830" y="1002"/>
                  </a:lnTo>
                  <a:lnTo>
                    <a:pt x="1824" y="990"/>
                  </a:lnTo>
                  <a:lnTo>
                    <a:pt x="1824" y="960"/>
                  </a:lnTo>
                  <a:lnTo>
                    <a:pt x="1830" y="954"/>
                  </a:lnTo>
                  <a:lnTo>
                    <a:pt x="1872" y="954"/>
                  </a:lnTo>
                  <a:lnTo>
                    <a:pt x="1884" y="960"/>
                  </a:lnTo>
                  <a:lnTo>
                    <a:pt x="1890" y="972"/>
                  </a:lnTo>
                  <a:lnTo>
                    <a:pt x="1914" y="972"/>
                  </a:lnTo>
                  <a:lnTo>
                    <a:pt x="1926" y="978"/>
                  </a:lnTo>
                  <a:lnTo>
                    <a:pt x="1944" y="978"/>
                  </a:lnTo>
                  <a:lnTo>
                    <a:pt x="1962" y="972"/>
                  </a:lnTo>
                  <a:lnTo>
                    <a:pt x="2082" y="972"/>
                  </a:lnTo>
                  <a:lnTo>
                    <a:pt x="2094" y="978"/>
                  </a:lnTo>
                  <a:lnTo>
                    <a:pt x="2106" y="978"/>
                  </a:lnTo>
                  <a:lnTo>
                    <a:pt x="2154" y="972"/>
                  </a:lnTo>
                  <a:lnTo>
                    <a:pt x="2166" y="984"/>
                  </a:lnTo>
                  <a:lnTo>
                    <a:pt x="2184" y="984"/>
                  </a:lnTo>
                  <a:lnTo>
                    <a:pt x="2208" y="1014"/>
                  </a:lnTo>
                  <a:lnTo>
                    <a:pt x="2250" y="1014"/>
                  </a:lnTo>
                  <a:lnTo>
                    <a:pt x="2268" y="1020"/>
                  </a:lnTo>
                  <a:lnTo>
                    <a:pt x="2262" y="1014"/>
                  </a:lnTo>
                  <a:lnTo>
                    <a:pt x="2262" y="1002"/>
                  </a:lnTo>
                  <a:lnTo>
                    <a:pt x="2256" y="996"/>
                  </a:lnTo>
                  <a:lnTo>
                    <a:pt x="2256" y="984"/>
                  </a:lnTo>
                  <a:lnTo>
                    <a:pt x="2280" y="984"/>
                  </a:lnTo>
                  <a:lnTo>
                    <a:pt x="2262" y="966"/>
                  </a:lnTo>
                  <a:lnTo>
                    <a:pt x="2262" y="960"/>
                  </a:lnTo>
                  <a:lnTo>
                    <a:pt x="2268" y="954"/>
                  </a:lnTo>
                  <a:lnTo>
                    <a:pt x="2286" y="954"/>
                  </a:lnTo>
                  <a:lnTo>
                    <a:pt x="2286" y="942"/>
                  </a:lnTo>
                  <a:lnTo>
                    <a:pt x="2274" y="936"/>
                  </a:lnTo>
                  <a:lnTo>
                    <a:pt x="2268" y="924"/>
                  </a:lnTo>
                  <a:lnTo>
                    <a:pt x="2226" y="882"/>
                  </a:lnTo>
                  <a:lnTo>
                    <a:pt x="2214" y="858"/>
                  </a:lnTo>
                  <a:lnTo>
                    <a:pt x="2214" y="828"/>
                  </a:lnTo>
                  <a:lnTo>
                    <a:pt x="2196" y="828"/>
                  </a:lnTo>
                  <a:lnTo>
                    <a:pt x="2184" y="822"/>
                  </a:lnTo>
                  <a:lnTo>
                    <a:pt x="2178" y="816"/>
                  </a:lnTo>
                  <a:lnTo>
                    <a:pt x="2178" y="810"/>
                  </a:lnTo>
                  <a:lnTo>
                    <a:pt x="2184" y="804"/>
                  </a:lnTo>
                  <a:lnTo>
                    <a:pt x="2196" y="798"/>
                  </a:lnTo>
                  <a:lnTo>
                    <a:pt x="2208" y="798"/>
                  </a:lnTo>
                  <a:lnTo>
                    <a:pt x="2220" y="792"/>
                  </a:lnTo>
                  <a:lnTo>
                    <a:pt x="2232" y="792"/>
                  </a:lnTo>
                  <a:lnTo>
                    <a:pt x="2268" y="774"/>
                  </a:lnTo>
                  <a:lnTo>
                    <a:pt x="2280" y="774"/>
                  </a:lnTo>
                  <a:lnTo>
                    <a:pt x="2286" y="780"/>
                  </a:lnTo>
                  <a:lnTo>
                    <a:pt x="2292" y="792"/>
                  </a:lnTo>
                  <a:lnTo>
                    <a:pt x="2298" y="798"/>
                  </a:lnTo>
                  <a:lnTo>
                    <a:pt x="2316" y="786"/>
                  </a:lnTo>
                  <a:lnTo>
                    <a:pt x="2328" y="798"/>
                  </a:lnTo>
                  <a:lnTo>
                    <a:pt x="2334" y="798"/>
                  </a:lnTo>
                  <a:lnTo>
                    <a:pt x="2340" y="792"/>
                  </a:lnTo>
                  <a:lnTo>
                    <a:pt x="2340" y="780"/>
                  </a:lnTo>
                  <a:lnTo>
                    <a:pt x="2334" y="774"/>
                  </a:lnTo>
                  <a:lnTo>
                    <a:pt x="2328" y="774"/>
                  </a:lnTo>
                  <a:lnTo>
                    <a:pt x="2322" y="768"/>
                  </a:lnTo>
                  <a:lnTo>
                    <a:pt x="2316" y="768"/>
                  </a:lnTo>
                  <a:lnTo>
                    <a:pt x="2316" y="630"/>
                  </a:lnTo>
                  <a:lnTo>
                    <a:pt x="2328" y="630"/>
                  </a:lnTo>
                  <a:lnTo>
                    <a:pt x="2340" y="636"/>
                  </a:lnTo>
                  <a:lnTo>
                    <a:pt x="2352" y="636"/>
                  </a:lnTo>
                  <a:lnTo>
                    <a:pt x="2376" y="648"/>
                  </a:lnTo>
                  <a:lnTo>
                    <a:pt x="2424" y="648"/>
                  </a:lnTo>
                  <a:lnTo>
                    <a:pt x="2436" y="660"/>
                  </a:lnTo>
                  <a:lnTo>
                    <a:pt x="2454" y="642"/>
                  </a:lnTo>
                  <a:lnTo>
                    <a:pt x="2472" y="642"/>
                  </a:lnTo>
                  <a:lnTo>
                    <a:pt x="2478" y="636"/>
                  </a:lnTo>
                  <a:lnTo>
                    <a:pt x="2478" y="618"/>
                  </a:lnTo>
                  <a:lnTo>
                    <a:pt x="2466" y="594"/>
                  </a:lnTo>
                  <a:lnTo>
                    <a:pt x="2454" y="582"/>
                  </a:lnTo>
                  <a:lnTo>
                    <a:pt x="2442" y="558"/>
                  </a:lnTo>
                  <a:lnTo>
                    <a:pt x="2442" y="540"/>
                  </a:lnTo>
                  <a:lnTo>
                    <a:pt x="2454" y="528"/>
                  </a:lnTo>
                  <a:lnTo>
                    <a:pt x="2496" y="528"/>
                  </a:lnTo>
                  <a:lnTo>
                    <a:pt x="2502" y="522"/>
                  </a:lnTo>
                  <a:lnTo>
                    <a:pt x="2502" y="510"/>
                  </a:lnTo>
                  <a:lnTo>
                    <a:pt x="2484" y="492"/>
                  </a:lnTo>
                  <a:close/>
                  <a:moveTo>
                    <a:pt x="2082" y="696"/>
                  </a:moveTo>
                  <a:lnTo>
                    <a:pt x="2046" y="696"/>
                  </a:lnTo>
                  <a:lnTo>
                    <a:pt x="2046" y="702"/>
                  </a:lnTo>
                  <a:lnTo>
                    <a:pt x="2040" y="708"/>
                  </a:lnTo>
                  <a:lnTo>
                    <a:pt x="2028" y="708"/>
                  </a:lnTo>
                  <a:lnTo>
                    <a:pt x="2022" y="702"/>
                  </a:lnTo>
                  <a:lnTo>
                    <a:pt x="2010" y="696"/>
                  </a:lnTo>
                  <a:lnTo>
                    <a:pt x="1980" y="702"/>
                  </a:lnTo>
                  <a:lnTo>
                    <a:pt x="1950" y="696"/>
                  </a:lnTo>
                  <a:lnTo>
                    <a:pt x="1932" y="696"/>
                  </a:lnTo>
                  <a:lnTo>
                    <a:pt x="1908" y="690"/>
                  </a:lnTo>
                  <a:lnTo>
                    <a:pt x="1860" y="690"/>
                  </a:lnTo>
                  <a:lnTo>
                    <a:pt x="1854" y="684"/>
                  </a:lnTo>
                  <a:lnTo>
                    <a:pt x="1854" y="678"/>
                  </a:lnTo>
                  <a:lnTo>
                    <a:pt x="1836" y="696"/>
                  </a:lnTo>
                  <a:lnTo>
                    <a:pt x="1830" y="696"/>
                  </a:lnTo>
                  <a:lnTo>
                    <a:pt x="1824" y="708"/>
                  </a:lnTo>
                  <a:lnTo>
                    <a:pt x="1824" y="714"/>
                  </a:lnTo>
                  <a:lnTo>
                    <a:pt x="1818" y="726"/>
                  </a:lnTo>
                  <a:lnTo>
                    <a:pt x="1812" y="732"/>
                  </a:lnTo>
                  <a:lnTo>
                    <a:pt x="1794" y="732"/>
                  </a:lnTo>
                  <a:lnTo>
                    <a:pt x="1800" y="762"/>
                  </a:lnTo>
                  <a:lnTo>
                    <a:pt x="1788" y="768"/>
                  </a:lnTo>
                  <a:lnTo>
                    <a:pt x="1806" y="786"/>
                  </a:lnTo>
                  <a:lnTo>
                    <a:pt x="1800" y="810"/>
                  </a:lnTo>
                  <a:lnTo>
                    <a:pt x="1794" y="810"/>
                  </a:lnTo>
                  <a:lnTo>
                    <a:pt x="1788" y="798"/>
                  </a:lnTo>
                  <a:lnTo>
                    <a:pt x="1776" y="792"/>
                  </a:lnTo>
                  <a:lnTo>
                    <a:pt x="1770" y="780"/>
                  </a:lnTo>
                  <a:lnTo>
                    <a:pt x="1758" y="774"/>
                  </a:lnTo>
                  <a:lnTo>
                    <a:pt x="1752" y="762"/>
                  </a:lnTo>
                  <a:lnTo>
                    <a:pt x="1752" y="750"/>
                  </a:lnTo>
                  <a:lnTo>
                    <a:pt x="1746" y="732"/>
                  </a:lnTo>
                  <a:lnTo>
                    <a:pt x="1746" y="720"/>
                  </a:lnTo>
                  <a:lnTo>
                    <a:pt x="1764" y="702"/>
                  </a:lnTo>
                  <a:lnTo>
                    <a:pt x="1776" y="702"/>
                  </a:lnTo>
                  <a:lnTo>
                    <a:pt x="1782" y="696"/>
                  </a:lnTo>
                  <a:lnTo>
                    <a:pt x="1788" y="684"/>
                  </a:lnTo>
                  <a:lnTo>
                    <a:pt x="1788" y="678"/>
                  </a:lnTo>
                  <a:lnTo>
                    <a:pt x="1800" y="666"/>
                  </a:lnTo>
                  <a:lnTo>
                    <a:pt x="1818" y="666"/>
                  </a:lnTo>
                  <a:lnTo>
                    <a:pt x="1830" y="672"/>
                  </a:lnTo>
                  <a:lnTo>
                    <a:pt x="1848" y="672"/>
                  </a:lnTo>
                  <a:lnTo>
                    <a:pt x="1854" y="666"/>
                  </a:lnTo>
                  <a:lnTo>
                    <a:pt x="1896" y="666"/>
                  </a:lnTo>
                  <a:lnTo>
                    <a:pt x="1908" y="672"/>
                  </a:lnTo>
                  <a:lnTo>
                    <a:pt x="1914" y="678"/>
                  </a:lnTo>
                  <a:lnTo>
                    <a:pt x="1932" y="678"/>
                  </a:lnTo>
                  <a:lnTo>
                    <a:pt x="1944" y="684"/>
                  </a:lnTo>
                  <a:lnTo>
                    <a:pt x="1974" y="684"/>
                  </a:lnTo>
                  <a:lnTo>
                    <a:pt x="1986" y="672"/>
                  </a:lnTo>
                  <a:lnTo>
                    <a:pt x="2028" y="672"/>
                  </a:lnTo>
                  <a:lnTo>
                    <a:pt x="2034" y="678"/>
                  </a:lnTo>
                  <a:lnTo>
                    <a:pt x="2046" y="678"/>
                  </a:lnTo>
                  <a:lnTo>
                    <a:pt x="2052" y="672"/>
                  </a:lnTo>
                  <a:lnTo>
                    <a:pt x="2064" y="666"/>
                  </a:lnTo>
                  <a:lnTo>
                    <a:pt x="2088" y="666"/>
                  </a:lnTo>
                  <a:lnTo>
                    <a:pt x="2088" y="684"/>
                  </a:lnTo>
                  <a:lnTo>
                    <a:pt x="2082" y="690"/>
                  </a:lnTo>
                  <a:lnTo>
                    <a:pt x="2082" y="696"/>
                  </a:lnTo>
                  <a:close/>
                </a:path>
              </a:pathLst>
            </a:custGeom>
            <a:solidFill>
              <a:srgbClr val="7030A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66" name="Jordan" descr="© INSCALE GmbH, 05.05.2010&#10;http://www.presentationload.com/">
              <a:extLst>
                <a:ext uri="{FF2B5EF4-FFF2-40B4-BE49-F238E27FC236}">
                  <a16:creationId xmlns:a16="http://schemas.microsoft.com/office/drawing/2014/main" id="{2D4CD338-B0F2-B148-04AA-30C6C83F22C6}"/>
                </a:ext>
              </a:extLst>
            </p:cNvPr>
            <p:cNvSpPr>
              <a:spLocks/>
            </p:cNvSpPr>
            <p:nvPr/>
          </p:nvSpPr>
          <p:spPr bwMode="gray">
            <a:xfrm>
              <a:off x="5152980" y="2201567"/>
              <a:ext cx="106731" cy="127485"/>
            </a:xfrm>
            <a:custGeom>
              <a:avLst/>
              <a:gdLst>
                <a:gd name="T0" fmla="*/ 2147483647 w 282"/>
                <a:gd name="T1" fmla="*/ 2147483647 h 336"/>
                <a:gd name="T2" fmla="*/ 2147483647 w 282"/>
                <a:gd name="T3" fmla="*/ 2147483647 h 336"/>
                <a:gd name="T4" fmla="*/ 2147483647 w 282"/>
                <a:gd name="T5" fmla="*/ 0 h 336"/>
                <a:gd name="T6" fmla="*/ 2147483647 w 282"/>
                <a:gd name="T7" fmla="*/ 2147483647 h 336"/>
                <a:gd name="T8" fmla="*/ 2147483647 w 282"/>
                <a:gd name="T9" fmla="*/ 2147483647 h 336"/>
                <a:gd name="T10" fmla="*/ 2147483647 w 282"/>
                <a:gd name="T11" fmla="*/ 2147483647 h 336"/>
                <a:gd name="T12" fmla="*/ 2147483647 w 282"/>
                <a:gd name="T13" fmla="*/ 2147483647 h 336"/>
                <a:gd name="T14" fmla="*/ 2147483647 w 282"/>
                <a:gd name="T15" fmla="*/ 2147483647 h 336"/>
                <a:gd name="T16" fmla="*/ 2147483647 w 282"/>
                <a:gd name="T17" fmla="*/ 2147483647 h 336"/>
                <a:gd name="T18" fmla="*/ 2147483647 w 282"/>
                <a:gd name="T19" fmla="*/ 2147483647 h 336"/>
                <a:gd name="T20" fmla="*/ 2147483647 w 282"/>
                <a:gd name="T21" fmla="*/ 2147483647 h 336"/>
                <a:gd name="T22" fmla="*/ 2147483647 w 282"/>
                <a:gd name="T23" fmla="*/ 2147483647 h 336"/>
                <a:gd name="T24" fmla="*/ 2147483647 w 282"/>
                <a:gd name="T25" fmla="*/ 2147483647 h 336"/>
                <a:gd name="T26" fmla="*/ 2147483647 w 282"/>
                <a:gd name="T27" fmla="*/ 2147483647 h 336"/>
                <a:gd name="T28" fmla="*/ 2147483647 w 282"/>
                <a:gd name="T29" fmla="*/ 2147483647 h 336"/>
                <a:gd name="T30" fmla="*/ 2147483647 w 282"/>
                <a:gd name="T31" fmla="*/ 2147483647 h 336"/>
                <a:gd name="T32" fmla="*/ 2147483647 w 282"/>
                <a:gd name="T33" fmla="*/ 2147483647 h 336"/>
                <a:gd name="T34" fmla="*/ 2147483647 w 282"/>
                <a:gd name="T35" fmla="*/ 2147483647 h 336"/>
                <a:gd name="T36" fmla="*/ 2147483647 w 282"/>
                <a:gd name="T37" fmla="*/ 2147483647 h 336"/>
                <a:gd name="T38" fmla="*/ 2147483647 w 282"/>
                <a:gd name="T39" fmla="*/ 2147483647 h 336"/>
                <a:gd name="T40" fmla="*/ 2147483647 w 282"/>
                <a:gd name="T41" fmla="*/ 2147483647 h 336"/>
                <a:gd name="T42" fmla="*/ 2147483647 w 282"/>
                <a:gd name="T43" fmla="*/ 2147483647 h 336"/>
                <a:gd name="T44" fmla="*/ 2147483647 w 282"/>
                <a:gd name="T45" fmla="*/ 2147483647 h 336"/>
                <a:gd name="T46" fmla="*/ 0 w 282"/>
                <a:gd name="T47" fmla="*/ 2147483647 h 336"/>
                <a:gd name="T48" fmla="*/ 0 w 282"/>
                <a:gd name="T49" fmla="*/ 2147483647 h 336"/>
                <a:gd name="T50" fmla="*/ 2147483647 w 282"/>
                <a:gd name="T51" fmla="*/ 2147483647 h 336"/>
                <a:gd name="T52" fmla="*/ 2147483647 w 282"/>
                <a:gd name="T53" fmla="*/ 2147483647 h 336"/>
                <a:gd name="T54" fmla="*/ 2147483647 w 282"/>
                <a:gd name="T55" fmla="*/ 2147483647 h 336"/>
                <a:gd name="T56" fmla="*/ 2147483647 w 282"/>
                <a:gd name="T57" fmla="*/ 2147483647 h 336"/>
                <a:gd name="T58" fmla="*/ 2147483647 w 282"/>
                <a:gd name="T59" fmla="*/ 2147483647 h 336"/>
                <a:gd name="T60" fmla="*/ 2147483647 w 282"/>
                <a:gd name="T61" fmla="*/ 2147483647 h 336"/>
                <a:gd name="T62" fmla="*/ 2147483647 w 282"/>
                <a:gd name="T63" fmla="*/ 2147483647 h 336"/>
                <a:gd name="T64" fmla="*/ 2147483647 w 282"/>
                <a:gd name="T65" fmla="*/ 2147483647 h 336"/>
                <a:gd name="T66" fmla="*/ 2147483647 w 282"/>
                <a:gd name="T67" fmla="*/ 2147483647 h 336"/>
                <a:gd name="T68" fmla="*/ 2147483647 w 282"/>
                <a:gd name="T69" fmla="*/ 2147483647 h 336"/>
                <a:gd name="T70" fmla="*/ 2147483647 w 282"/>
                <a:gd name="T71" fmla="*/ 2147483647 h 336"/>
                <a:gd name="T72" fmla="*/ 2147483647 w 282"/>
                <a:gd name="T73" fmla="*/ 2147483647 h 336"/>
                <a:gd name="T74" fmla="*/ 2147483647 w 282"/>
                <a:gd name="T75" fmla="*/ 2147483647 h 336"/>
                <a:gd name="T76" fmla="*/ 2147483647 w 282"/>
                <a:gd name="T77" fmla="*/ 2147483647 h 336"/>
                <a:gd name="T78" fmla="*/ 2147483647 w 282"/>
                <a:gd name="T79" fmla="*/ 2147483647 h 336"/>
                <a:gd name="T80" fmla="*/ 2147483647 w 282"/>
                <a:gd name="T81" fmla="*/ 2147483647 h 336"/>
                <a:gd name="T82" fmla="*/ 2147483647 w 282"/>
                <a:gd name="T83" fmla="*/ 2147483647 h 336"/>
                <a:gd name="T84" fmla="*/ 2147483647 w 282"/>
                <a:gd name="T85" fmla="*/ 2147483647 h 336"/>
                <a:gd name="T86" fmla="*/ 2147483647 w 282"/>
                <a:gd name="T87" fmla="*/ 2147483647 h 336"/>
                <a:gd name="T88" fmla="*/ 2147483647 w 282"/>
                <a:gd name="T89" fmla="*/ 2147483647 h 336"/>
                <a:gd name="T90" fmla="*/ 2147483647 w 282"/>
                <a:gd name="T91" fmla="*/ 2147483647 h 336"/>
                <a:gd name="T92" fmla="*/ 2147483647 w 282"/>
                <a:gd name="T93" fmla="*/ 2147483647 h 336"/>
                <a:gd name="T94" fmla="*/ 2147483647 w 282"/>
                <a:gd name="T95" fmla="*/ 2147483647 h 336"/>
                <a:gd name="T96" fmla="*/ 2147483647 w 282"/>
                <a:gd name="T97" fmla="*/ 2147483647 h 336"/>
                <a:gd name="T98" fmla="*/ 2147483647 w 282"/>
                <a:gd name="T99" fmla="*/ 2147483647 h 336"/>
                <a:gd name="T100" fmla="*/ 2147483647 w 282"/>
                <a:gd name="T101" fmla="*/ 2147483647 h 336"/>
                <a:gd name="T102" fmla="*/ 2147483647 w 282"/>
                <a:gd name="T103" fmla="*/ 2147483647 h 336"/>
                <a:gd name="T104" fmla="*/ 2147483647 w 282"/>
                <a:gd name="T105" fmla="*/ 2147483647 h 336"/>
                <a:gd name="T106" fmla="*/ 2147483647 w 282"/>
                <a:gd name="T107" fmla="*/ 2147483647 h 336"/>
                <a:gd name="T108" fmla="*/ 2147483647 w 282"/>
                <a:gd name="T109" fmla="*/ 2147483647 h 336"/>
                <a:gd name="T110" fmla="*/ 2147483647 w 282"/>
                <a:gd name="T111" fmla="*/ 2147483647 h 336"/>
                <a:gd name="T112" fmla="*/ 2147483647 w 282"/>
                <a:gd name="T113" fmla="*/ 2147483647 h 336"/>
                <a:gd name="T114" fmla="*/ 2147483647 w 282"/>
                <a:gd name="T115" fmla="*/ 2147483647 h 336"/>
                <a:gd name="T116" fmla="*/ 2147483647 w 282"/>
                <a:gd name="T117" fmla="*/ 2147483647 h 336"/>
                <a:gd name="T118" fmla="*/ 2147483647 w 282"/>
                <a:gd name="T119" fmla="*/ 2147483647 h 336"/>
                <a:gd name="T120" fmla="*/ 2147483647 w 282"/>
                <a:gd name="T121" fmla="*/ 2147483647 h 336"/>
                <a:gd name="T122" fmla="*/ 2147483647 w 282"/>
                <a:gd name="T123" fmla="*/ 2147483647 h 3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82"/>
                <a:gd name="T187" fmla="*/ 0 h 336"/>
                <a:gd name="T188" fmla="*/ 282 w 282"/>
                <a:gd name="T189" fmla="*/ 336 h 3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82" h="336">
                  <a:moveTo>
                    <a:pt x="258" y="60"/>
                  </a:moveTo>
                  <a:lnTo>
                    <a:pt x="258" y="42"/>
                  </a:lnTo>
                  <a:lnTo>
                    <a:pt x="234" y="0"/>
                  </a:lnTo>
                  <a:lnTo>
                    <a:pt x="222" y="6"/>
                  </a:lnTo>
                  <a:lnTo>
                    <a:pt x="198" y="30"/>
                  </a:lnTo>
                  <a:lnTo>
                    <a:pt x="138" y="78"/>
                  </a:lnTo>
                  <a:lnTo>
                    <a:pt x="114" y="84"/>
                  </a:lnTo>
                  <a:lnTo>
                    <a:pt x="96" y="84"/>
                  </a:lnTo>
                  <a:lnTo>
                    <a:pt x="84" y="78"/>
                  </a:lnTo>
                  <a:lnTo>
                    <a:pt x="72" y="66"/>
                  </a:lnTo>
                  <a:lnTo>
                    <a:pt x="36" y="48"/>
                  </a:lnTo>
                  <a:lnTo>
                    <a:pt x="30" y="48"/>
                  </a:lnTo>
                  <a:lnTo>
                    <a:pt x="24" y="66"/>
                  </a:lnTo>
                  <a:lnTo>
                    <a:pt x="30" y="138"/>
                  </a:lnTo>
                  <a:lnTo>
                    <a:pt x="18" y="150"/>
                  </a:lnTo>
                  <a:lnTo>
                    <a:pt x="18" y="162"/>
                  </a:lnTo>
                  <a:lnTo>
                    <a:pt x="30" y="174"/>
                  </a:lnTo>
                  <a:lnTo>
                    <a:pt x="30" y="186"/>
                  </a:lnTo>
                  <a:lnTo>
                    <a:pt x="24" y="198"/>
                  </a:lnTo>
                  <a:lnTo>
                    <a:pt x="18" y="204"/>
                  </a:lnTo>
                  <a:lnTo>
                    <a:pt x="12" y="216"/>
                  </a:lnTo>
                  <a:lnTo>
                    <a:pt x="6" y="222"/>
                  </a:lnTo>
                  <a:lnTo>
                    <a:pt x="6" y="282"/>
                  </a:lnTo>
                  <a:lnTo>
                    <a:pt x="0" y="294"/>
                  </a:lnTo>
                  <a:lnTo>
                    <a:pt x="0" y="312"/>
                  </a:lnTo>
                  <a:lnTo>
                    <a:pt x="6" y="324"/>
                  </a:lnTo>
                  <a:lnTo>
                    <a:pt x="24" y="324"/>
                  </a:lnTo>
                  <a:lnTo>
                    <a:pt x="48" y="336"/>
                  </a:lnTo>
                  <a:lnTo>
                    <a:pt x="84" y="336"/>
                  </a:lnTo>
                  <a:lnTo>
                    <a:pt x="96" y="324"/>
                  </a:lnTo>
                  <a:lnTo>
                    <a:pt x="108" y="300"/>
                  </a:lnTo>
                  <a:lnTo>
                    <a:pt x="108" y="288"/>
                  </a:lnTo>
                  <a:lnTo>
                    <a:pt x="120" y="276"/>
                  </a:lnTo>
                  <a:lnTo>
                    <a:pt x="126" y="276"/>
                  </a:lnTo>
                  <a:lnTo>
                    <a:pt x="138" y="270"/>
                  </a:lnTo>
                  <a:lnTo>
                    <a:pt x="150" y="270"/>
                  </a:lnTo>
                  <a:lnTo>
                    <a:pt x="162" y="264"/>
                  </a:lnTo>
                  <a:lnTo>
                    <a:pt x="168" y="258"/>
                  </a:lnTo>
                  <a:lnTo>
                    <a:pt x="174" y="246"/>
                  </a:lnTo>
                  <a:lnTo>
                    <a:pt x="180" y="240"/>
                  </a:lnTo>
                  <a:lnTo>
                    <a:pt x="180" y="228"/>
                  </a:lnTo>
                  <a:lnTo>
                    <a:pt x="186" y="222"/>
                  </a:lnTo>
                  <a:lnTo>
                    <a:pt x="186" y="210"/>
                  </a:lnTo>
                  <a:lnTo>
                    <a:pt x="180" y="204"/>
                  </a:lnTo>
                  <a:lnTo>
                    <a:pt x="168" y="180"/>
                  </a:lnTo>
                  <a:lnTo>
                    <a:pt x="144" y="156"/>
                  </a:lnTo>
                  <a:lnTo>
                    <a:pt x="132" y="156"/>
                  </a:lnTo>
                  <a:lnTo>
                    <a:pt x="120" y="150"/>
                  </a:lnTo>
                  <a:lnTo>
                    <a:pt x="96" y="150"/>
                  </a:lnTo>
                  <a:lnTo>
                    <a:pt x="96" y="144"/>
                  </a:lnTo>
                  <a:lnTo>
                    <a:pt x="108" y="144"/>
                  </a:lnTo>
                  <a:lnTo>
                    <a:pt x="120" y="138"/>
                  </a:lnTo>
                  <a:lnTo>
                    <a:pt x="186" y="138"/>
                  </a:lnTo>
                  <a:lnTo>
                    <a:pt x="198" y="114"/>
                  </a:lnTo>
                  <a:lnTo>
                    <a:pt x="240" y="114"/>
                  </a:lnTo>
                  <a:lnTo>
                    <a:pt x="252" y="108"/>
                  </a:lnTo>
                  <a:lnTo>
                    <a:pt x="258" y="102"/>
                  </a:lnTo>
                  <a:lnTo>
                    <a:pt x="264" y="102"/>
                  </a:lnTo>
                  <a:lnTo>
                    <a:pt x="276" y="96"/>
                  </a:lnTo>
                  <a:lnTo>
                    <a:pt x="282" y="90"/>
                  </a:lnTo>
                  <a:lnTo>
                    <a:pt x="282" y="78"/>
                  </a:lnTo>
                  <a:lnTo>
                    <a:pt x="258" y="60"/>
                  </a:lnTo>
                  <a:close/>
                </a:path>
              </a:pathLst>
            </a:custGeom>
            <a:solidFill>
              <a:srgbClr val="F2F2F2"/>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67" name="Jamaica" descr="© INSCALE GmbH, 05.05.2010&#10;http://www.presentationload.com/">
              <a:extLst>
                <a:ext uri="{FF2B5EF4-FFF2-40B4-BE49-F238E27FC236}">
                  <a16:creationId xmlns:a16="http://schemas.microsoft.com/office/drawing/2014/main" id="{D847B876-00AB-FC24-1912-DE0A3738CE7E}"/>
                </a:ext>
              </a:extLst>
            </p:cNvPr>
            <p:cNvSpPr>
              <a:spLocks/>
            </p:cNvSpPr>
            <p:nvPr/>
          </p:nvSpPr>
          <p:spPr bwMode="gray">
            <a:xfrm>
              <a:off x="2149694" y="2656657"/>
              <a:ext cx="59295" cy="19271"/>
            </a:xfrm>
            <a:custGeom>
              <a:avLst/>
              <a:gdLst>
                <a:gd name="T0" fmla="*/ 2147483647 w 156"/>
                <a:gd name="T1" fmla="*/ 2147483647 h 54"/>
                <a:gd name="T2" fmla="*/ 2147483647 w 156"/>
                <a:gd name="T3" fmla="*/ 2147483647 h 54"/>
                <a:gd name="T4" fmla="*/ 2147483647 w 156"/>
                <a:gd name="T5" fmla="*/ 2147483647 h 54"/>
                <a:gd name="T6" fmla="*/ 2147483647 w 156"/>
                <a:gd name="T7" fmla="*/ 2147483647 h 54"/>
                <a:gd name="T8" fmla="*/ 2147483647 w 156"/>
                <a:gd name="T9" fmla="*/ 2147483647 h 54"/>
                <a:gd name="T10" fmla="*/ 2147483647 w 156"/>
                <a:gd name="T11" fmla="*/ 2147483647 h 54"/>
                <a:gd name="T12" fmla="*/ 2147483647 w 156"/>
                <a:gd name="T13" fmla="*/ 2147483647 h 54"/>
                <a:gd name="T14" fmla="*/ 2147483647 w 156"/>
                <a:gd name="T15" fmla="*/ 2147483647 h 54"/>
                <a:gd name="T16" fmla="*/ 2147483647 w 156"/>
                <a:gd name="T17" fmla="*/ 0 h 54"/>
                <a:gd name="T18" fmla="*/ 2147483647 w 156"/>
                <a:gd name="T19" fmla="*/ 0 h 54"/>
                <a:gd name="T20" fmla="*/ 2147483647 w 156"/>
                <a:gd name="T21" fmla="*/ 2147483647 h 54"/>
                <a:gd name="T22" fmla="*/ 0 w 156"/>
                <a:gd name="T23" fmla="*/ 2147483647 h 54"/>
                <a:gd name="T24" fmla="*/ 2147483647 w 156"/>
                <a:gd name="T25" fmla="*/ 2147483647 h 54"/>
                <a:gd name="T26" fmla="*/ 2147483647 w 156"/>
                <a:gd name="T27" fmla="*/ 2147483647 h 54"/>
                <a:gd name="T28" fmla="*/ 2147483647 w 156"/>
                <a:gd name="T29" fmla="*/ 2147483647 h 54"/>
                <a:gd name="T30" fmla="*/ 2147483647 w 156"/>
                <a:gd name="T31" fmla="*/ 2147483647 h 54"/>
                <a:gd name="T32" fmla="*/ 2147483647 w 156"/>
                <a:gd name="T33" fmla="*/ 2147483647 h 54"/>
                <a:gd name="T34" fmla="*/ 2147483647 w 156"/>
                <a:gd name="T35" fmla="*/ 2147483647 h 54"/>
                <a:gd name="T36" fmla="*/ 2147483647 w 156"/>
                <a:gd name="T37" fmla="*/ 2147483647 h 5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56"/>
                <a:gd name="T58" fmla="*/ 0 h 54"/>
                <a:gd name="T59" fmla="*/ 156 w 156"/>
                <a:gd name="T60" fmla="*/ 54 h 5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56" h="54">
                  <a:moveTo>
                    <a:pt x="108" y="54"/>
                  </a:moveTo>
                  <a:lnTo>
                    <a:pt x="114" y="36"/>
                  </a:lnTo>
                  <a:lnTo>
                    <a:pt x="156" y="48"/>
                  </a:lnTo>
                  <a:lnTo>
                    <a:pt x="156" y="42"/>
                  </a:lnTo>
                  <a:lnTo>
                    <a:pt x="150" y="36"/>
                  </a:lnTo>
                  <a:lnTo>
                    <a:pt x="144" y="24"/>
                  </a:lnTo>
                  <a:lnTo>
                    <a:pt x="126" y="6"/>
                  </a:lnTo>
                  <a:lnTo>
                    <a:pt x="84" y="6"/>
                  </a:lnTo>
                  <a:lnTo>
                    <a:pt x="66" y="0"/>
                  </a:lnTo>
                  <a:lnTo>
                    <a:pt x="24" y="0"/>
                  </a:lnTo>
                  <a:lnTo>
                    <a:pt x="12" y="6"/>
                  </a:lnTo>
                  <a:lnTo>
                    <a:pt x="0" y="6"/>
                  </a:lnTo>
                  <a:lnTo>
                    <a:pt x="6" y="18"/>
                  </a:lnTo>
                  <a:lnTo>
                    <a:pt x="18" y="24"/>
                  </a:lnTo>
                  <a:lnTo>
                    <a:pt x="24" y="36"/>
                  </a:lnTo>
                  <a:lnTo>
                    <a:pt x="36" y="42"/>
                  </a:lnTo>
                  <a:lnTo>
                    <a:pt x="60" y="42"/>
                  </a:lnTo>
                  <a:lnTo>
                    <a:pt x="78" y="48"/>
                  </a:lnTo>
                  <a:lnTo>
                    <a:pt x="108" y="54"/>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68" name="Japan" descr="© INSCALE GmbH, 05.05.2010&#10;http://www.presentationload.com/">
              <a:extLst>
                <a:ext uri="{FF2B5EF4-FFF2-40B4-BE49-F238E27FC236}">
                  <a16:creationId xmlns:a16="http://schemas.microsoft.com/office/drawing/2014/main" id="{02884D89-364B-2D5E-022F-B27503804571}"/>
                </a:ext>
              </a:extLst>
            </p:cNvPr>
            <p:cNvSpPr>
              <a:spLocks noEditPoints="1"/>
            </p:cNvSpPr>
            <p:nvPr/>
          </p:nvSpPr>
          <p:spPr bwMode="gray">
            <a:xfrm>
              <a:off x="7493646" y="1830973"/>
              <a:ext cx="332051" cy="647800"/>
            </a:xfrm>
            <a:custGeom>
              <a:avLst/>
              <a:gdLst>
                <a:gd name="T0" fmla="*/ 2147483647 w 876"/>
                <a:gd name="T1" fmla="*/ 2147483647 h 1710"/>
                <a:gd name="T2" fmla="*/ 2147483647 w 876"/>
                <a:gd name="T3" fmla="*/ 2147483647 h 1710"/>
                <a:gd name="T4" fmla="*/ 2147483647 w 876"/>
                <a:gd name="T5" fmla="*/ 2147483647 h 1710"/>
                <a:gd name="T6" fmla="*/ 2147483647 w 876"/>
                <a:gd name="T7" fmla="*/ 2147483647 h 1710"/>
                <a:gd name="T8" fmla="*/ 2147483647 w 876"/>
                <a:gd name="T9" fmla="*/ 2147483647 h 1710"/>
                <a:gd name="T10" fmla="*/ 2147483647 w 876"/>
                <a:gd name="T11" fmla="*/ 2147483647 h 1710"/>
                <a:gd name="T12" fmla="*/ 2147483647 w 876"/>
                <a:gd name="T13" fmla="*/ 2147483647 h 1710"/>
                <a:gd name="T14" fmla="*/ 2147483647 w 876"/>
                <a:gd name="T15" fmla="*/ 2147483647 h 1710"/>
                <a:gd name="T16" fmla="*/ 2147483647 w 876"/>
                <a:gd name="T17" fmla="*/ 2147483647 h 1710"/>
                <a:gd name="T18" fmla="*/ 2147483647 w 876"/>
                <a:gd name="T19" fmla="*/ 2147483647 h 1710"/>
                <a:gd name="T20" fmla="*/ 2147483647 w 876"/>
                <a:gd name="T21" fmla="*/ 2147483647 h 1710"/>
                <a:gd name="T22" fmla="*/ 2147483647 w 876"/>
                <a:gd name="T23" fmla="*/ 2147483647 h 1710"/>
                <a:gd name="T24" fmla="*/ 2147483647 w 876"/>
                <a:gd name="T25" fmla="*/ 2147483647 h 1710"/>
                <a:gd name="T26" fmla="*/ 2147483647 w 876"/>
                <a:gd name="T27" fmla="*/ 2147483647 h 1710"/>
                <a:gd name="T28" fmla="*/ 2147483647 w 876"/>
                <a:gd name="T29" fmla="*/ 2147483647 h 1710"/>
                <a:gd name="T30" fmla="*/ 2147483647 w 876"/>
                <a:gd name="T31" fmla="*/ 2147483647 h 1710"/>
                <a:gd name="T32" fmla="*/ 2147483647 w 876"/>
                <a:gd name="T33" fmla="*/ 2147483647 h 1710"/>
                <a:gd name="T34" fmla="*/ 2147483647 w 876"/>
                <a:gd name="T35" fmla="*/ 2147483647 h 1710"/>
                <a:gd name="T36" fmla="*/ 2147483647 w 876"/>
                <a:gd name="T37" fmla="*/ 2147483647 h 1710"/>
                <a:gd name="T38" fmla="*/ 2147483647 w 876"/>
                <a:gd name="T39" fmla="*/ 2147483647 h 1710"/>
                <a:gd name="T40" fmla="*/ 2147483647 w 876"/>
                <a:gd name="T41" fmla="*/ 2147483647 h 1710"/>
                <a:gd name="T42" fmla="*/ 2147483647 w 876"/>
                <a:gd name="T43" fmla="*/ 2147483647 h 1710"/>
                <a:gd name="T44" fmla="*/ 2147483647 w 876"/>
                <a:gd name="T45" fmla="*/ 2147483647 h 1710"/>
                <a:gd name="T46" fmla="*/ 2147483647 w 876"/>
                <a:gd name="T47" fmla="*/ 2147483647 h 1710"/>
                <a:gd name="T48" fmla="*/ 2147483647 w 876"/>
                <a:gd name="T49" fmla="*/ 2147483647 h 1710"/>
                <a:gd name="T50" fmla="*/ 2147483647 w 876"/>
                <a:gd name="T51" fmla="*/ 2147483647 h 1710"/>
                <a:gd name="T52" fmla="*/ 2147483647 w 876"/>
                <a:gd name="T53" fmla="*/ 2147483647 h 1710"/>
                <a:gd name="T54" fmla="*/ 2147483647 w 876"/>
                <a:gd name="T55" fmla="*/ 2147483647 h 1710"/>
                <a:gd name="T56" fmla="*/ 2147483647 w 876"/>
                <a:gd name="T57" fmla="*/ 2147483647 h 1710"/>
                <a:gd name="T58" fmla="*/ 2147483647 w 876"/>
                <a:gd name="T59" fmla="*/ 2147483647 h 1710"/>
                <a:gd name="T60" fmla="*/ 2147483647 w 876"/>
                <a:gd name="T61" fmla="*/ 2147483647 h 1710"/>
                <a:gd name="T62" fmla="*/ 2147483647 w 876"/>
                <a:gd name="T63" fmla="*/ 2147483647 h 1710"/>
                <a:gd name="T64" fmla="*/ 2147483647 w 876"/>
                <a:gd name="T65" fmla="*/ 2147483647 h 1710"/>
                <a:gd name="T66" fmla="*/ 2147483647 w 876"/>
                <a:gd name="T67" fmla="*/ 2147483647 h 1710"/>
                <a:gd name="T68" fmla="*/ 2147483647 w 876"/>
                <a:gd name="T69" fmla="*/ 2147483647 h 1710"/>
                <a:gd name="T70" fmla="*/ 2147483647 w 876"/>
                <a:gd name="T71" fmla="*/ 2147483647 h 1710"/>
                <a:gd name="T72" fmla="*/ 2147483647 w 876"/>
                <a:gd name="T73" fmla="*/ 2147483647 h 1710"/>
                <a:gd name="T74" fmla="*/ 2147483647 w 876"/>
                <a:gd name="T75" fmla="*/ 2147483647 h 1710"/>
                <a:gd name="T76" fmla="*/ 2147483647 w 876"/>
                <a:gd name="T77" fmla="*/ 2147483647 h 1710"/>
                <a:gd name="T78" fmla="*/ 2147483647 w 876"/>
                <a:gd name="T79" fmla="*/ 2147483647 h 1710"/>
                <a:gd name="T80" fmla="*/ 2147483647 w 876"/>
                <a:gd name="T81" fmla="*/ 2147483647 h 1710"/>
                <a:gd name="T82" fmla="*/ 2147483647 w 876"/>
                <a:gd name="T83" fmla="*/ 2147483647 h 1710"/>
                <a:gd name="T84" fmla="*/ 2147483647 w 876"/>
                <a:gd name="T85" fmla="*/ 2147483647 h 1710"/>
                <a:gd name="T86" fmla="*/ 2147483647 w 876"/>
                <a:gd name="T87" fmla="*/ 2147483647 h 1710"/>
                <a:gd name="T88" fmla="*/ 2147483647 w 876"/>
                <a:gd name="T89" fmla="*/ 2147483647 h 1710"/>
                <a:gd name="T90" fmla="*/ 2147483647 w 876"/>
                <a:gd name="T91" fmla="*/ 2147483647 h 1710"/>
                <a:gd name="T92" fmla="*/ 2147483647 w 876"/>
                <a:gd name="T93" fmla="*/ 2147483647 h 1710"/>
                <a:gd name="T94" fmla="*/ 2147483647 w 876"/>
                <a:gd name="T95" fmla="*/ 2147483647 h 1710"/>
                <a:gd name="T96" fmla="*/ 2147483647 w 876"/>
                <a:gd name="T97" fmla="*/ 2147483647 h 1710"/>
                <a:gd name="T98" fmla="*/ 2147483647 w 876"/>
                <a:gd name="T99" fmla="*/ 2147483647 h 1710"/>
                <a:gd name="T100" fmla="*/ 2147483647 w 876"/>
                <a:gd name="T101" fmla="*/ 2147483647 h 1710"/>
                <a:gd name="T102" fmla="*/ 2147483647 w 876"/>
                <a:gd name="T103" fmla="*/ 2147483647 h 1710"/>
                <a:gd name="T104" fmla="*/ 2147483647 w 876"/>
                <a:gd name="T105" fmla="*/ 2147483647 h 1710"/>
                <a:gd name="T106" fmla="*/ 2147483647 w 876"/>
                <a:gd name="T107" fmla="*/ 2147483647 h 1710"/>
                <a:gd name="T108" fmla="*/ 2147483647 w 876"/>
                <a:gd name="T109" fmla="*/ 2147483647 h 1710"/>
                <a:gd name="T110" fmla="*/ 2147483647 w 876"/>
                <a:gd name="T111" fmla="*/ 2147483647 h 1710"/>
                <a:gd name="T112" fmla="*/ 2147483647 w 876"/>
                <a:gd name="T113" fmla="*/ 2147483647 h 1710"/>
                <a:gd name="T114" fmla="*/ 2147483647 w 876"/>
                <a:gd name="T115" fmla="*/ 2147483647 h 1710"/>
                <a:gd name="T116" fmla="*/ 2147483647 w 876"/>
                <a:gd name="T117" fmla="*/ 2147483647 h 1710"/>
                <a:gd name="T118" fmla="*/ 2147483647 w 876"/>
                <a:gd name="T119" fmla="*/ 2147483647 h 171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6"/>
                <a:gd name="T181" fmla="*/ 0 h 1710"/>
                <a:gd name="T182" fmla="*/ 876 w 876"/>
                <a:gd name="T183" fmla="*/ 1710 h 171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6" h="1710">
                  <a:moveTo>
                    <a:pt x="876" y="780"/>
                  </a:moveTo>
                  <a:lnTo>
                    <a:pt x="864" y="774"/>
                  </a:lnTo>
                  <a:lnTo>
                    <a:pt x="858" y="768"/>
                  </a:lnTo>
                  <a:lnTo>
                    <a:pt x="846" y="762"/>
                  </a:lnTo>
                  <a:lnTo>
                    <a:pt x="840" y="750"/>
                  </a:lnTo>
                  <a:lnTo>
                    <a:pt x="828" y="744"/>
                  </a:lnTo>
                  <a:lnTo>
                    <a:pt x="828" y="720"/>
                  </a:lnTo>
                  <a:lnTo>
                    <a:pt x="834" y="702"/>
                  </a:lnTo>
                  <a:lnTo>
                    <a:pt x="834" y="684"/>
                  </a:lnTo>
                  <a:lnTo>
                    <a:pt x="828" y="666"/>
                  </a:lnTo>
                  <a:lnTo>
                    <a:pt x="816" y="642"/>
                  </a:lnTo>
                  <a:lnTo>
                    <a:pt x="792" y="618"/>
                  </a:lnTo>
                  <a:lnTo>
                    <a:pt x="786" y="600"/>
                  </a:lnTo>
                  <a:lnTo>
                    <a:pt x="786" y="576"/>
                  </a:lnTo>
                  <a:lnTo>
                    <a:pt x="792" y="570"/>
                  </a:lnTo>
                  <a:lnTo>
                    <a:pt x="810" y="570"/>
                  </a:lnTo>
                  <a:lnTo>
                    <a:pt x="810" y="528"/>
                  </a:lnTo>
                  <a:lnTo>
                    <a:pt x="798" y="516"/>
                  </a:lnTo>
                  <a:lnTo>
                    <a:pt x="810" y="510"/>
                  </a:lnTo>
                  <a:lnTo>
                    <a:pt x="810" y="498"/>
                  </a:lnTo>
                  <a:lnTo>
                    <a:pt x="804" y="486"/>
                  </a:lnTo>
                  <a:lnTo>
                    <a:pt x="804" y="474"/>
                  </a:lnTo>
                  <a:lnTo>
                    <a:pt x="798" y="468"/>
                  </a:lnTo>
                  <a:lnTo>
                    <a:pt x="792" y="456"/>
                  </a:lnTo>
                  <a:lnTo>
                    <a:pt x="786" y="450"/>
                  </a:lnTo>
                  <a:lnTo>
                    <a:pt x="774" y="444"/>
                  </a:lnTo>
                  <a:lnTo>
                    <a:pt x="768" y="438"/>
                  </a:lnTo>
                  <a:lnTo>
                    <a:pt x="762" y="420"/>
                  </a:lnTo>
                  <a:lnTo>
                    <a:pt x="756" y="420"/>
                  </a:lnTo>
                  <a:lnTo>
                    <a:pt x="738" y="402"/>
                  </a:lnTo>
                  <a:lnTo>
                    <a:pt x="714" y="390"/>
                  </a:lnTo>
                  <a:lnTo>
                    <a:pt x="702" y="378"/>
                  </a:lnTo>
                  <a:lnTo>
                    <a:pt x="696" y="360"/>
                  </a:lnTo>
                  <a:lnTo>
                    <a:pt x="690" y="348"/>
                  </a:lnTo>
                  <a:lnTo>
                    <a:pt x="690" y="330"/>
                  </a:lnTo>
                  <a:lnTo>
                    <a:pt x="684" y="324"/>
                  </a:lnTo>
                  <a:lnTo>
                    <a:pt x="678" y="324"/>
                  </a:lnTo>
                  <a:lnTo>
                    <a:pt x="666" y="318"/>
                  </a:lnTo>
                  <a:lnTo>
                    <a:pt x="654" y="318"/>
                  </a:lnTo>
                  <a:lnTo>
                    <a:pt x="648" y="324"/>
                  </a:lnTo>
                  <a:lnTo>
                    <a:pt x="648" y="342"/>
                  </a:lnTo>
                  <a:lnTo>
                    <a:pt x="654" y="342"/>
                  </a:lnTo>
                  <a:lnTo>
                    <a:pt x="660" y="348"/>
                  </a:lnTo>
                  <a:lnTo>
                    <a:pt x="672" y="342"/>
                  </a:lnTo>
                  <a:lnTo>
                    <a:pt x="678" y="348"/>
                  </a:lnTo>
                  <a:lnTo>
                    <a:pt x="678" y="366"/>
                  </a:lnTo>
                  <a:lnTo>
                    <a:pt x="672" y="366"/>
                  </a:lnTo>
                  <a:lnTo>
                    <a:pt x="666" y="360"/>
                  </a:lnTo>
                  <a:lnTo>
                    <a:pt x="654" y="372"/>
                  </a:lnTo>
                  <a:lnTo>
                    <a:pt x="630" y="342"/>
                  </a:lnTo>
                  <a:lnTo>
                    <a:pt x="612" y="342"/>
                  </a:lnTo>
                  <a:lnTo>
                    <a:pt x="636" y="378"/>
                  </a:lnTo>
                  <a:lnTo>
                    <a:pt x="618" y="378"/>
                  </a:lnTo>
                  <a:lnTo>
                    <a:pt x="648" y="426"/>
                  </a:lnTo>
                  <a:lnTo>
                    <a:pt x="636" y="438"/>
                  </a:lnTo>
                  <a:lnTo>
                    <a:pt x="648" y="444"/>
                  </a:lnTo>
                  <a:lnTo>
                    <a:pt x="666" y="462"/>
                  </a:lnTo>
                  <a:lnTo>
                    <a:pt x="678" y="468"/>
                  </a:lnTo>
                  <a:lnTo>
                    <a:pt x="684" y="480"/>
                  </a:lnTo>
                  <a:lnTo>
                    <a:pt x="684" y="504"/>
                  </a:lnTo>
                  <a:lnTo>
                    <a:pt x="678" y="516"/>
                  </a:lnTo>
                  <a:lnTo>
                    <a:pt x="678" y="534"/>
                  </a:lnTo>
                  <a:lnTo>
                    <a:pt x="672" y="540"/>
                  </a:lnTo>
                  <a:lnTo>
                    <a:pt x="672" y="570"/>
                  </a:lnTo>
                  <a:lnTo>
                    <a:pt x="678" y="570"/>
                  </a:lnTo>
                  <a:lnTo>
                    <a:pt x="690" y="582"/>
                  </a:lnTo>
                  <a:lnTo>
                    <a:pt x="690" y="600"/>
                  </a:lnTo>
                  <a:lnTo>
                    <a:pt x="678" y="606"/>
                  </a:lnTo>
                  <a:lnTo>
                    <a:pt x="660" y="606"/>
                  </a:lnTo>
                  <a:lnTo>
                    <a:pt x="660" y="618"/>
                  </a:lnTo>
                  <a:lnTo>
                    <a:pt x="666" y="630"/>
                  </a:lnTo>
                  <a:lnTo>
                    <a:pt x="666" y="642"/>
                  </a:lnTo>
                  <a:lnTo>
                    <a:pt x="660" y="654"/>
                  </a:lnTo>
                  <a:lnTo>
                    <a:pt x="654" y="660"/>
                  </a:lnTo>
                  <a:lnTo>
                    <a:pt x="642" y="666"/>
                  </a:lnTo>
                  <a:lnTo>
                    <a:pt x="630" y="666"/>
                  </a:lnTo>
                  <a:lnTo>
                    <a:pt x="618" y="672"/>
                  </a:lnTo>
                  <a:lnTo>
                    <a:pt x="612" y="678"/>
                  </a:lnTo>
                  <a:lnTo>
                    <a:pt x="606" y="678"/>
                  </a:lnTo>
                  <a:lnTo>
                    <a:pt x="606" y="696"/>
                  </a:lnTo>
                  <a:lnTo>
                    <a:pt x="588" y="696"/>
                  </a:lnTo>
                  <a:lnTo>
                    <a:pt x="564" y="672"/>
                  </a:lnTo>
                  <a:lnTo>
                    <a:pt x="564" y="654"/>
                  </a:lnTo>
                  <a:lnTo>
                    <a:pt x="570" y="636"/>
                  </a:lnTo>
                  <a:lnTo>
                    <a:pt x="558" y="636"/>
                  </a:lnTo>
                  <a:lnTo>
                    <a:pt x="552" y="642"/>
                  </a:lnTo>
                  <a:lnTo>
                    <a:pt x="540" y="648"/>
                  </a:lnTo>
                  <a:lnTo>
                    <a:pt x="534" y="654"/>
                  </a:lnTo>
                  <a:lnTo>
                    <a:pt x="534" y="660"/>
                  </a:lnTo>
                  <a:lnTo>
                    <a:pt x="540" y="666"/>
                  </a:lnTo>
                  <a:lnTo>
                    <a:pt x="558" y="702"/>
                  </a:lnTo>
                  <a:lnTo>
                    <a:pt x="558" y="714"/>
                  </a:lnTo>
                  <a:lnTo>
                    <a:pt x="552" y="720"/>
                  </a:lnTo>
                  <a:lnTo>
                    <a:pt x="540" y="744"/>
                  </a:lnTo>
                  <a:lnTo>
                    <a:pt x="540" y="756"/>
                  </a:lnTo>
                  <a:lnTo>
                    <a:pt x="546" y="762"/>
                  </a:lnTo>
                  <a:lnTo>
                    <a:pt x="546" y="768"/>
                  </a:lnTo>
                  <a:lnTo>
                    <a:pt x="552" y="780"/>
                  </a:lnTo>
                  <a:lnTo>
                    <a:pt x="558" y="786"/>
                  </a:lnTo>
                  <a:lnTo>
                    <a:pt x="558" y="792"/>
                  </a:lnTo>
                  <a:lnTo>
                    <a:pt x="522" y="792"/>
                  </a:lnTo>
                  <a:lnTo>
                    <a:pt x="498" y="780"/>
                  </a:lnTo>
                  <a:lnTo>
                    <a:pt x="474" y="780"/>
                  </a:lnTo>
                  <a:lnTo>
                    <a:pt x="450" y="792"/>
                  </a:lnTo>
                  <a:lnTo>
                    <a:pt x="438" y="792"/>
                  </a:lnTo>
                  <a:lnTo>
                    <a:pt x="420" y="798"/>
                  </a:lnTo>
                  <a:lnTo>
                    <a:pt x="414" y="804"/>
                  </a:lnTo>
                  <a:lnTo>
                    <a:pt x="378" y="804"/>
                  </a:lnTo>
                  <a:lnTo>
                    <a:pt x="366" y="792"/>
                  </a:lnTo>
                  <a:lnTo>
                    <a:pt x="336" y="816"/>
                  </a:lnTo>
                  <a:lnTo>
                    <a:pt x="330" y="828"/>
                  </a:lnTo>
                  <a:lnTo>
                    <a:pt x="312" y="846"/>
                  </a:lnTo>
                  <a:lnTo>
                    <a:pt x="306" y="864"/>
                  </a:lnTo>
                  <a:lnTo>
                    <a:pt x="300" y="870"/>
                  </a:lnTo>
                  <a:lnTo>
                    <a:pt x="294" y="882"/>
                  </a:lnTo>
                  <a:lnTo>
                    <a:pt x="270" y="882"/>
                  </a:lnTo>
                  <a:lnTo>
                    <a:pt x="264" y="888"/>
                  </a:lnTo>
                  <a:lnTo>
                    <a:pt x="258" y="888"/>
                  </a:lnTo>
                  <a:lnTo>
                    <a:pt x="258" y="900"/>
                  </a:lnTo>
                  <a:lnTo>
                    <a:pt x="264" y="912"/>
                  </a:lnTo>
                  <a:lnTo>
                    <a:pt x="276" y="924"/>
                  </a:lnTo>
                  <a:lnTo>
                    <a:pt x="288" y="924"/>
                  </a:lnTo>
                  <a:lnTo>
                    <a:pt x="294" y="918"/>
                  </a:lnTo>
                  <a:lnTo>
                    <a:pt x="312" y="918"/>
                  </a:lnTo>
                  <a:lnTo>
                    <a:pt x="318" y="924"/>
                  </a:lnTo>
                  <a:lnTo>
                    <a:pt x="324" y="924"/>
                  </a:lnTo>
                  <a:lnTo>
                    <a:pt x="336" y="930"/>
                  </a:lnTo>
                  <a:lnTo>
                    <a:pt x="342" y="930"/>
                  </a:lnTo>
                  <a:lnTo>
                    <a:pt x="348" y="924"/>
                  </a:lnTo>
                  <a:lnTo>
                    <a:pt x="348" y="912"/>
                  </a:lnTo>
                  <a:lnTo>
                    <a:pt x="354" y="906"/>
                  </a:lnTo>
                  <a:lnTo>
                    <a:pt x="354" y="894"/>
                  </a:lnTo>
                  <a:lnTo>
                    <a:pt x="372" y="906"/>
                  </a:lnTo>
                  <a:lnTo>
                    <a:pt x="378" y="906"/>
                  </a:lnTo>
                  <a:lnTo>
                    <a:pt x="384" y="900"/>
                  </a:lnTo>
                  <a:lnTo>
                    <a:pt x="420" y="882"/>
                  </a:lnTo>
                  <a:lnTo>
                    <a:pt x="426" y="882"/>
                  </a:lnTo>
                  <a:lnTo>
                    <a:pt x="432" y="876"/>
                  </a:lnTo>
                  <a:lnTo>
                    <a:pt x="444" y="876"/>
                  </a:lnTo>
                  <a:lnTo>
                    <a:pt x="456" y="882"/>
                  </a:lnTo>
                  <a:lnTo>
                    <a:pt x="480" y="882"/>
                  </a:lnTo>
                  <a:lnTo>
                    <a:pt x="480" y="876"/>
                  </a:lnTo>
                  <a:lnTo>
                    <a:pt x="474" y="870"/>
                  </a:lnTo>
                  <a:lnTo>
                    <a:pt x="474" y="864"/>
                  </a:lnTo>
                  <a:lnTo>
                    <a:pt x="480" y="858"/>
                  </a:lnTo>
                  <a:lnTo>
                    <a:pt x="498" y="858"/>
                  </a:lnTo>
                  <a:lnTo>
                    <a:pt x="516" y="876"/>
                  </a:lnTo>
                  <a:lnTo>
                    <a:pt x="522" y="870"/>
                  </a:lnTo>
                  <a:lnTo>
                    <a:pt x="534" y="864"/>
                  </a:lnTo>
                  <a:lnTo>
                    <a:pt x="540" y="864"/>
                  </a:lnTo>
                  <a:lnTo>
                    <a:pt x="546" y="858"/>
                  </a:lnTo>
                  <a:lnTo>
                    <a:pt x="552" y="864"/>
                  </a:lnTo>
                  <a:lnTo>
                    <a:pt x="552" y="882"/>
                  </a:lnTo>
                  <a:lnTo>
                    <a:pt x="546" y="894"/>
                  </a:lnTo>
                  <a:lnTo>
                    <a:pt x="540" y="900"/>
                  </a:lnTo>
                  <a:lnTo>
                    <a:pt x="540" y="912"/>
                  </a:lnTo>
                  <a:lnTo>
                    <a:pt x="546" y="918"/>
                  </a:lnTo>
                  <a:lnTo>
                    <a:pt x="552" y="930"/>
                  </a:lnTo>
                  <a:lnTo>
                    <a:pt x="576" y="954"/>
                  </a:lnTo>
                  <a:lnTo>
                    <a:pt x="600" y="966"/>
                  </a:lnTo>
                  <a:lnTo>
                    <a:pt x="612" y="960"/>
                  </a:lnTo>
                  <a:lnTo>
                    <a:pt x="618" y="954"/>
                  </a:lnTo>
                  <a:lnTo>
                    <a:pt x="630" y="930"/>
                  </a:lnTo>
                  <a:lnTo>
                    <a:pt x="630" y="906"/>
                  </a:lnTo>
                  <a:lnTo>
                    <a:pt x="660" y="900"/>
                  </a:lnTo>
                  <a:lnTo>
                    <a:pt x="654" y="894"/>
                  </a:lnTo>
                  <a:lnTo>
                    <a:pt x="648" y="882"/>
                  </a:lnTo>
                  <a:lnTo>
                    <a:pt x="636" y="870"/>
                  </a:lnTo>
                  <a:lnTo>
                    <a:pt x="624" y="870"/>
                  </a:lnTo>
                  <a:lnTo>
                    <a:pt x="612" y="858"/>
                  </a:lnTo>
                  <a:lnTo>
                    <a:pt x="630" y="834"/>
                  </a:lnTo>
                  <a:lnTo>
                    <a:pt x="636" y="834"/>
                  </a:lnTo>
                  <a:lnTo>
                    <a:pt x="636" y="840"/>
                  </a:lnTo>
                  <a:lnTo>
                    <a:pt x="642" y="852"/>
                  </a:lnTo>
                  <a:lnTo>
                    <a:pt x="642" y="858"/>
                  </a:lnTo>
                  <a:lnTo>
                    <a:pt x="654" y="858"/>
                  </a:lnTo>
                  <a:lnTo>
                    <a:pt x="666" y="870"/>
                  </a:lnTo>
                  <a:lnTo>
                    <a:pt x="666" y="876"/>
                  </a:lnTo>
                  <a:lnTo>
                    <a:pt x="684" y="864"/>
                  </a:lnTo>
                  <a:lnTo>
                    <a:pt x="696" y="870"/>
                  </a:lnTo>
                  <a:lnTo>
                    <a:pt x="732" y="870"/>
                  </a:lnTo>
                  <a:lnTo>
                    <a:pt x="744" y="858"/>
                  </a:lnTo>
                  <a:lnTo>
                    <a:pt x="744" y="852"/>
                  </a:lnTo>
                  <a:lnTo>
                    <a:pt x="738" y="846"/>
                  </a:lnTo>
                  <a:lnTo>
                    <a:pt x="738" y="840"/>
                  </a:lnTo>
                  <a:lnTo>
                    <a:pt x="744" y="834"/>
                  </a:lnTo>
                  <a:lnTo>
                    <a:pt x="762" y="834"/>
                  </a:lnTo>
                  <a:lnTo>
                    <a:pt x="768" y="840"/>
                  </a:lnTo>
                  <a:lnTo>
                    <a:pt x="768" y="858"/>
                  </a:lnTo>
                  <a:lnTo>
                    <a:pt x="774" y="864"/>
                  </a:lnTo>
                  <a:lnTo>
                    <a:pt x="774" y="870"/>
                  </a:lnTo>
                  <a:lnTo>
                    <a:pt x="780" y="870"/>
                  </a:lnTo>
                  <a:lnTo>
                    <a:pt x="786" y="864"/>
                  </a:lnTo>
                  <a:lnTo>
                    <a:pt x="786" y="852"/>
                  </a:lnTo>
                  <a:lnTo>
                    <a:pt x="780" y="840"/>
                  </a:lnTo>
                  <a:lnTo>
                    <a:pt x="780" y="816"/>
                  </a:lnTo>
                  <a:lnTo>
                    <a:pt x="804" y="816"/>
                  </a:lnTo>
                  <a:lnTo>
                    <a:pt x="804" y="798"/>
                  </a:lnTo>
                  <a:lnTo>
                    <a:pt x="810" y="792"/>
                  </a:lnTo>
                  <a:lnTo>
                    <a:pt x="810" y="786"/>
                  </a:lnTo>
                  <a:lnTo>
                    <a:pt x="816" y="780"/>
                  </a:lnTo>
                  <a:lnTo>
                    <a:pt x="828" y="792"/>
                  </a:lnTo>
                  <a:lnTo>
                    <a:pt x="828" y="840"/>
                  </a:lnTo>
                  <a:lnTo>
                    <a:pt x="852" y="840"/>
                  </a:lnTo>
                  <a:lnTo>
                    <a:pt x="858" y="828"/>
                  </a:lnTo>
                  <a:lnTo>
                    <a:pt x="858" y="792"/>
                  </a:lnTo>
                  <a:lnTo>
                    <a:pt x="876" y="780"/>
                  </a:lnTo>
                  <a:close/>
                  <a:moveTo>
                    <a:pt x="498" y="912"/>
                  </a:moveTo>
                  <a:lnTo>
                    <a:pt x="486" y="906"/>
                  </a:lnTo>
                  <a:lnTo>
                    <a:pt x="480" y="900"/>
                  </a:lnTo>
                  <a:lnTo>
                    <a:pt x="468" y="894"/>
                  </a:lnTo>
                  <a:lnTo>
                    <a:pt x="444" y="894"/>
                  </a:lnTo>
                  <a:lnTo>
                    <a:pt x="438" y="900"/>
                  </a:lnTo>
                  <a:lnTo>
                    <a:pt x="438" y="924"/>
                  </a:lnTo>
                  <a:lnTo>
                    <a:pt x="432" y="924"/>
                  </a:lnTo>
                  <a:lnTo>
                    <a:pt x="426" y="918"/>
                  </a:lnTo>
                  <a:lnTo>
                    <a:pt x="396" y="918"/>
                  </a:lnTo>
                  <a:lnTo>
                    <a:pt x="390" y="924"/>
                  </a:lnTo>
                  <a:lnTo>
                    <a:pt x="390" y="942"/>
                  </a:lnTo>
                  <a:lnTo>
                    <a:pt x="396" y="948"/>
                  </a:lnTo>
                  <a:lnTo>
                    <a:pt x="396" y="954"/>
                  </a:lnTo>
                  <a:lnTo>
                    <a:pt x="378" y="972"/>
                  </a:lnTo>
                  <a:lnTo>
                    <a:pt x="390" y="978"/>
                  </a:lnTo>
                  <a:lnTo>
                    <a:pt x="396" y="990"/>
                  </a:lnTo>
                  <a:lnTo>
                    <a:pt x="408" y="1002"/>
                  </a:lnTo>
                  <a:lnTo>
                    <a:pt x="432" y="1014"/>
                  </a:lnTo>
                  <a:lnTo>
                    <a:pt x="438" y="1020"/>
                  </a:lnTo>
                  <a:lnTo>
                    <a:pt x="450" y="1026"/>
                  </a:lnTo>
                  <a:lnTo>
                    <a:pt x="450" y="984"/>
                  </a:lnTo>
                  <a:lnTo>
                    <a:pt x="456" y="972"/>
                  </a:lnTo>
                  <a:lnTo>
                    <a:pt x="462" y="966"/>
                  </a:lnTo>
                  <a:lnTo>
                    <a:pt x="474" y="960"/>
                  </a:lnTo>
                  <a:lnTo>
                    <a:pt x="486" y="960"/>
                  </a:lnTo>
                  <a:lnTo>
                    <a:pt x="492" y="966"/>
                  </a:lnTo>
                  <a:lnTo>
                    <a:pt x="504" y="972"/>
                  </a:lnTo>
                  <a:lnTo>
                    <a:pt x="510" y="984"/>
                  </a:lnTo>
                  <a:lnTo>
                    <a:pt x="516" y="990"/>
                  </a:lnTo>
                  <a:lnTo>
                    <a:pt x="516" y="978"/>
                  </a:lnTo>
                  <a:lnTo>
                    <a:pt x="522" y="966"/>
                  </a:lnTo>
                  <a:lnTo>
                    <a:pt x="522" y="954"/>
                  </a:lnTo>
                  <a:lnTo>
                    <a:pt x="528" y="942"/>
                  </a:lnTo>
                  <a:lnTo>
                    <a:pt x="528" y="930"/>
                  </a:lnTo>
                  <a:lnTo>
                    <a:pt x="522" y="918"/>
                  </a:lnTo>
                  <a:lnTo>
                    <a:pt x="516" y="912"/>
                  </a:lnTo>
                  <a:lnTo>
                    <a:pt x="516" y="906"/>
                  </a:lnTo>
                  <a:lnTo>
                    <a:pt x="498" y="912"/>
                  </a:lnTo>
                  <a:close/>
                  <a:moveTo>
                    <a:pt x="354" y="1050"/>
                  </a:moveTo>
                  <a:lnTo>
                    <a:pt x="354" y="1038"/>
                  </a:lnTo>
                  <a:lnTo>
                    <a:pt x="372" y="1020"/>
                  </a:lnTo>
                  <a:lnTo>
                    <a:pt x="372" y="1008"/>
                  </a:lnTo>
                  <a:lnTo>
                    <a:pt x="360" y="1002"/>
                  </a:lnTo>
                  <a:lnTo>
                    <a:pt x="354" y="990"/>
                  </a:lnTo>
                  <a:lnTo>
                    <a:pt x="348" y="984"/>
                  </a:lnTo>
                  <a:lnTo>
                    <a:pt x="336" y="978"/>
                  </a:lnTo>
                  <a:lnTo>
                    <a:pt x="336" y="966"/>
                  </a:lnTo>
                  <a:lnTo>
                    <a:pt x="330" y="960"/>
                  </a:lnTo>
                  <a:lnTo>
                    <a:pt x="324" y="960"/>
                  </a:lnTo>
                  <a:lnTo>
                    <a:pt x="318" y="954"/>
                  </a:lnTo>
                  <a:lnTo>
                    <a:pt x="300" y="954"/>
                  </a:lnTo>
                  <a:lnTo>
                    <a:pt x="294" y="948"/>
                  </a:lnTo>
                  <a:lnTo>
                    <a:pt x="270" y="936"/>
                  </a:lnTo>
                  <a:lnTo>
                    <a:pt x="258" y="936"/>
                  </a:lnTo>
                  <a:lnTo>
                    <a:pt x="240" y="954"/>
                  </a:lnTo>
                  <a:lnTo>
                    <a:pt x="204" y="972"/>
                  </a:lnTo>
                  <a:lnTo>
                    <a:pt x="234" y="1026"/>
                  </a:lnTo>
                  <a:lnTo>
                    <a:pt x="252" y="1014"/>
                  </a:lnTo>
                  <a:lnTo>
                    <a:pt x="252" y="1008"/>
                  </a:lnTo>
                  <a:lnTo>
                    <a:pt x="246" y="1002"/>
                  </a:lnTo>
                  <a:lnTo>
                    <a:pt x="246" y="990"/>
                  </a:lnTo>
                  <a:lnTo>
                    <a:pt x="252" y="990"/>
                  </a:lnTo>
                  <a:lnTo>
                    <a:pt x="264" y="1002"/>
                  </a:lnTo>
                  <a:lnTo>
                    <a:pt x="270" y="1014"/>
                  </a:lnTo>
                  <a:lnTo>
                    <a:pt x="276" y="1020"/>
                  </a:lnTo>
                  <a:lnTo>
                    <a:pt x="282" y="1032"/>
                  </a:lnTo>
                  <a:lnTo>
                    <a:pt x="282" y="1068"/>
                  </a:lnTo>
                  <a:lnTo>
                    <a:pt x="264" y="1074"/>
                  </a:lnTo>
                  <a:lnTo>
                    <a:pt x="264" y="1080"/>
                  </a:lnTo>
                  <a:lnTo>
                    <a:pt x="270" y="1086"/>
                  </a:lnTo>
                  <a:lnTo>
                    <a:pt x="270" y="1104"/>
                  </a:lnTo>
                  <a:lnTo>
                    <a:pt x="276" y="1116"/>
                  </a:lnTo>
                  <a:lnTo>
                    <a:pt x="282" y="1134"/>
                  </a:lnTo>
                  <a:lnTo>
                    <a:pt x="294" y="1146"/>
                  </a:lnTo>
                  <a:lnTo>
                    <a:pt x="300" y="1146"/>
                  </a:lnTo>
                  <a:lnTo>
                    <a:pt x="306" y="1140"/>
                  </a:lnTo>
                  <a:lnTo>
                    <a:pt x="306" y="1104"/>
                  </a:lnTo>
                  <a:lnTo>
                    <a:pt x="336" y="1116"/>
                  </a:lnTo>
                  <a:lnTo>
                    <a:pt x="336" y="1140"/>
                  </a:lnTo>
                  <a:lnTo>
                    <a:pt x="342" y="1146"/>
                  </a:lnTo>
                  <a:lnTo>
                    <a:pt x="342" y="1152"/>
                  </a:lnTo>
                  <a:lnTo>
                    <a:pt x="348" y="1152"/>
                  </a:lnTo>
                  <a:lnTo>
                    <a:pt x="348" y="1140"/>
                  </a:lnTo>
                  <a:lnTo>
                    <a:pt x="360" y="1128"/>
                  </a:lnTo>
                  <a:lnTo>
                    <a:pt x="366" y="1116"/>
                  </a:lnTo>
                  <a:lnTo>
                    <a:pt x="366" y="1110"/>
                  </a:lnTo>
                  <a:lnTo>
                    <a:pt x="360" y="1104"/>
                  </a:lnTo>
                  <a:lnTo>
                    <a:pt x="360" y="1074"/>
                  </a:lnTo>
                  <a:lnTo>
                    <a:pt x="354" y="1062"/>
                  </a:lnTo>
                  <a:lnTo>
                    <a:pt x="354" y="1050"/>
                  </a:lnTo>
                  <a:close/>
                  <a:moveTo>
                    <a:pt x="264" y="1026"/>
                  </a:moveTo>
                  <a:lnTo>
                    <a:pt x="246" y="1062"/>
                  </a:lnTo>
                  <a:lnTo>
                    <a:pt x="264" y="1056"/>
                  </a:lnTo>
                  <a:lnTo>
                    <a:pt x="264" y="1026"/>
                  </a:lnTo>
                  <a:close/>
                  <a:moveTo>
                    <a:pt x="624" y="618"/>
                  </a:moveTo>
                  <a:lnTo>
                    <a:pt x="636" y="618"/>
                  </a:lnTo>
                  <a:lnTo>
                    <a:pt x="636" y="594"/>
                  </a:lnTo>
                  <a:lnTo>
                    <a:pt x="630" y="594"/>
                  </a:lnTo>
                  <a:lnTo>
                    <a:pt x="612" y="570"/>
                  </a:lnTo>
                  <a:lnTo>
                    <a:pt x="606" y="582"/>
                  </a:lnTo>
                  <a:lnTo>
                    <a:pt x="618" y="600"/>
                  </a:lnTo>
                  <a:lnTo>
                    <a:pt x="624" y="618"/>
                  </a:lnTo>
                  <a:close/>
                  <a:moveTo>
                    <a:pt x="546" y="72"/>
                  </a:moveTo>
                  <a:lnTo>
                    <a:pt x="552" y="96"/>
                  </a:lnTo>
                  <a:lnTo>
                    <a:pt x="558" y="102"/>
                  </a:lnTo>
                  <a:lnTo>
                    <a:pt x="570" y="108"/>
                  </a:lnTo>
                  <a:lnTo>
                    <a:pt x="576" y="114"/>
                  </a:lnTo>
                  <a:lnTo>
                    <a:pt x="576" y="132"/>
                  </a:lnTo>
                  <a:lnTo>
                    <a:pt x="564" y="144"/>
                  </a:lnTo>
                  <a:lnTo>
                    <a:pt x="564" y="150"/>
                  </a:lnTo>
                  <a:lnTo>
                    <a:pt x="570" y="156"/>
                  </a:lnTo>
                  <a:lnTo>
                    <a:pt x="576" y="168"/>
                  </a:lnTo>
                  <a:lnTo>
                    <a:pt x="582" y="174"/>
                  </a:lnTo>
                  <a:lnTo>
                    <a:pt x="582" y="186"/>
                  </a:lnTo>
                  <a:lnTo>
                    <a:pt x="576" y="186"/>
                  </a:lnTo>
                  <a:lnTo>
                    <a:pt x="564" y="180"/>
                  </a:lnTo>
                  <a:lnTo>
                    <a:pt x="552" y="180"/>
                  </a:lnTo>
                  <a:lnTo>
                    <a:pt x="540" y="174"/>
                  </a:lnTo>
                  <a:lnTo>
                    <a:pt x="528" y="174"/>
                  </a:lnTo>
                  <a:lnTo>
                    <a:pt x="522" y="168"/>
                  </a:lnTo>
                  <a:lnTo>
                    <a:pt x="522" y="180"/>
                  </a:lnTo>
                  <a:lnTo>
                    <a:pt x="540" y="198"/>
                  </a:lnTo>
                  <a:lnTo>
                    <a:pt x="516" y="228"/>
                  </a:lnTo>
                  <a:lnTo>
                    <a:pt x="522" y="240"/>
                  </a:lnTo>
                  <a:lnTo>
                    <a:pt x="528" y="246"/>
                  </a:lnTo>
                  <a:lnTo>
                    <a:pt x="528" y="252"/>
                  </a:lnTo>
                  <a:lnTo>
                    <a:pt x="534" y="258"/>
                  </a:lnTo>
                  <a:lnTo>
                    <a:pt x="546" y="264"/>
                  </a:lnTo>
                  <a:lnTo>
                    <a:pt x="552" y="270"/>
                  </a:lnTo>
                  <a:lnTo>
                    <a:pt x="564" y="276"/>
                  </a:lnTo>
                  <a:lnTo>
                    <a:pt x="570" y="282"/>
                  </a:lnTo>
                  <a:lnTo>
                    <a:pt x="576" y="282"/>
                  </a:lnTo>
                  <a:lnTo>
                    <a:pt x="576" y="318"/>
                  </a:lnTo>
                  <a:lnTo>
                    <a:pt x="582" y="330"/>
                  </a:lnTo>
                  <a:lnTo>
                    <a:pt x="600" y="330"/>
                  </a:lnTo>
                  <a:lnTo>
                    <a:pt x="600" y="300"/>
                  </a:lnTo>
                  <a:lnTo>
                    <a:pt x="636" y="300"/>
                  </a:lnTo>
                  <a:lnTo>
                    <a:pt x="642" y="294"/>
                  </a:lnTo>
                  <a:lnTo>
                    <a:pt x="606" y="270"/>
                  </a:lnTo>
                  <a:lnTo>
                    <a:pt x="588" y="270"/>
                  </a:lnTo>
                  <a:lnTo>
                    <a:pt x="576" y="264"/>
                  </a:lnTo>
                  <a:lnTo>
                    <a:pt x="570" y="264"/>
                  </a:lnTo>
                  <a:lnTo>
                    <a:pt x="558" y="258"/>
                  </a:lnTo>
                  <a:lnTo>
                    <a:pt x="558" y="246"/>
                  </a:lnTo>
                  <a:lnTo>
                    <a:pt x="564" y="240"/>
                  </a:lnTo>
                  <a:lnTo>
                    <a:pt x="576" y="234"/>
                  </a:lnTo>
                  <a:lnTo>
                    <a:pt x="600" y="246"/>
                  </a:lnTo>
                  <a:lnTo>
                    <a:pt x="606" y="252"/>
                  </a:lnTo>
                  <a:lnTo>
                    <a:pt x="618" y="240"/>
                  </a:lnTo>
                  <a:lnTo>
                    <a:pt x="630" y="234"/>
                  </a:lnTo>
                  <a:lnTo>
                    <a:pt x="636" y="234"/>
                  </a:lnTo>
                  <a:lnTo>
                    <a:pt x="690" y="252"/>
                  </a:lnTo>
                  <a:lnTo>
                    <a:pt x="726" y="270"/>
                  </a:lnTo>
                  <a:lnTo>
                    <a:pt x="756" y="282"/>
                  </a:lnTo>
                  <a:lnTo>
                    <a:pt x="768" y="282"/>
                  </a:lnTo>
                  <a:lnTo>
                    <a:pt x="768" y="270"/>
                  </a:lnTo>
                  <a:lnTo>
                    <a:pt x="762" y="258"/>
                  </a:lnTo>
                  <a:lnTo>
                    <a:pt x="762" y="222"/>
                  </a:lnTo>
                  <a:lnTo>
                    <a:pt x="780" y="204"/>
                  </a:lnTo>
                  <a:lnTo>
                    <a:pt x="792" y="204"/>
                  </a:lnTo>
                  <a:lnTo>
                    <a:pt x="798" y="210"/>
                  </a:lnTo>
                  <a:lnTo>
                    <a:pt x="816" y="210"/>
                  </a:lnTo>
                  <a:lnTo>
                    <a:pt x="840" y="198"/>
                  </a:lnTo>
                  <a:lnTo>
                    <a:pt x="858" y="180"/>
                  </a:lnTo>
                  <a:lnTo>
                    <a:pt x="804" y="144"/>
                  </a:lnTo>
                  <a:lnTo>
                    <a:pt x="804" y="120"/>
                  </a:lnTo>
                  <a:lnTo>
                    <a:pt x="798" y="108"/>
                  </a:lnTo>
                  <a:lnTo>
                    <a:pt x="792" y="102"/>
                  </a:lnTo>
                  <a:lnTo>
                    <a:pt x="786" y="102"/>
                  </a:lnTo>
                  <a:lnTo>
                    <a:pt x="774" y="114"/>
                  </a:lnTo>
                  <a:lnTo>
                    <a:pt x="774" y="126"/>
                  </a:lnTo>
                  <a:lnTo>
                    <a:pt x="756" y="120"/>
                  </a:lnTo>
                  <a:lnTo>
                    <a:pt x="720" y="114"/>
                  </a:lnTo>
                  <a:lnTo>
                    <a:pt x="678" y="102"/>
                  </a:lnTo>
                  <a:lnTo>
                    <a:pt x="648" y="90"/>
                  </a:lnTo>
                  <a:lnTo>
                    <a:pt x="624" y="72"/>
                  </a:lnTo>
                  <a:lnTo>
                    <a:pt x="552" y="24"/>
                  </a:lnTo>
                  <a:lnTo>
                    <a:pt x="516" y="6"/>
                  </a:lnTo>
                  <a:lnTo>
                    <a:pt x="498" y="0"/>
                  </a:lnTo>
                  <a:lnTo>
                    <a:pt x="498" y="18"/>
                  </a:lnTo>
                  <a:lnTo>
                    <a:pt x="510" y="30"/>
                  </a:lnTo>
                  <a:lnTo>
                    <a:pt x="516" y="42"/>
                  </a:lnTo>
                  <a:lnTo>
                    <a:pt x="528" y="54"/>
                  </a:lnTo>
                  <a:lnTo>
                    <a:pt x="534" y="66"/>
                  </a:lnTo>
                  <a:lnTo>
                    <a:pt x="546" y="72"/>
                  </a:lnTo>
                  <a:close/>
                  <a:moveTo>
                    <a:pt x="282" y="1458"/>
                  </a:moveTo>
                  <a:lnTo>
                    <a:pt x="306" y="1458"/>
                  </a:lnTo>
                  <a:lnTo>
                    <a:pt x="276" y="1440"/>
                  </a:lnTo>
                  <a:lnTo>
                    <a:pt x="282" y="1458"/>
                  </a:lnTo>
                  <a:close/>
                  <a:moveTo>
                    <a:pt x="300" y="1386"/>
                  </a:moveTo>
                  <a:lnTo>
                    <a:pt x="312" y="1398"/>
                  </a:lnTo>
                  <a:lnTo>
                    <a:pt x="318" y="1398"/>
                  </a:lnTo>
                  <a:lnTo>
                    <a:pt x="330" y="1386"/>
                  </a:lnTo>
                  <a:lnTo>
                    <a:pt x="336" y="1386"/>
                  </a:lnTo>
                  <a:lnTo>
                    <a:pt x="342" y="1380"/>
                  </a:lnTo>
                  <a:lnTo>
                    <a:pt x="342" y="1368"/>
                  </a:lnTo>
                  <a:lnTo>
                    <a:pt x="336" y="1362"/>
                  </a:lnTo>
                  <a:lnTo>
                    <a:pt x="318" y="1362"/>
                  </a:lnTo>
                  <a:lnTo>
                    <a:pt x="306" y="1368"/>
                  </a:lnTo>
                  <a:lnTo>
                    <a:pt x="300" y="1380"/>
                  </a:lnTo>
                  <a:lnTo>
                    <a:pt x="300" y="1386"/>
                  </a:lnTo>
                  <a:close/>
                  <a:moveTo>
                    <a:pt x="312" y="1416"/>
                  </a:moveTo>
                  <a:lnTo>
                    <a:pt x="300" y="1416"/>
                  </a:lnTo>
                  <a:lnTo>
                    <a:pt x="300" y="1428"/>
                  </a:lnTo>
                  <a:lnTo>
                    <a:pt x="318" y="1428"/>
                  </a:lnTo>
                  <a:lnTo>
                    <a:pt x="318" y="1422"/>
                  </a:lnTo>
                  <a:lnTo>
                    <a:pt x="312" y="1416"/>
                  </a:lnTo>
                  <a:close/>
                  <a:moveTo>
                    <a:pt x="336" y="1200"/>
                  </a:moveTo>
                  <a:lnTo>
                    <a:pt x="336" y="1206"/>
                  </a:lnTo>
                  <a:lnTo>
                    <a:pt x="330" y="1206"/>
                  </a:lnTo>
                  <a:lnTo>
                    <a:pt x="318" y="1212"/>
                  </a:lnTo>
                  <a:lnTo>
                    <a:pt x="342" y="1230"/>
                  </a:lnTo>
                  <a:lnTo>
                    <a:pt x="342" y="1218"/>
                  </a:lnTo>
                  <a:lnTo>
                    <a:pt x="336" y="1206"/>
                  </a:lnTo>
                  <a:lnTo>
                    <a:pt x="336" y="1200"/>
                  </a:lnTo>
                  <a:close/>
                  <a:moveTo>
                    <a:pt x="366" y="1170"/>
                  </a:moveTo>
                  <a:lnTo>
                    <a:pt x="366" y="1182"/>
                  </a:lnTo>
                  <a:lnTo>
                    <a:pt x="360" y="1194"/>
                  </a:lnTo>
                  <a:lnTo>
                    <a:pt x="378" y="1224"/>
                  </a:lnTo>
                  <a:lnTo>
                    <a:pt x="378" y="1200"/>
                  </a:lnTo>
                  <a:lnTo>
                    <a:pt x="372" y="1194"/>
                  </a:lnTo>
                  <a:lnTo>
                    <a:pt x="372" y="1176"/>
                  </a:lnTo>
                  <a:lnTo>
                    <a:pt x="366" y="1170"/>
                  </a:lnTo>
                  <a:close/>
                  <a:moveTo>
                    <a:pt x="36" y="1698"/>
                  </a:moveTo>
                  <a:lnTo>
                    <a:pt x="54" y="1698"/>
                  </a:lnTo>
                  <a:lnTo>
                    <a:pt x="60" y="1692"/>
                  </a:lnTo>
                  <a:lnTo>
                    <a:pt x="72" y="1692"/>
                  </a:lnTo>
                  <a:lnTo>
                    <a:pt x="42" y="1680"/>
                  </a:lnTo>
                  <a:lnTo>
                    <a:pt x="36" y="1686"/>
                  </a:lnTo>
                  <a:lnTo>
                    <a:pt x="36" y="1698"/>
                  </a:lnTo>
                  <a:close/>
                  <a:moveTo>
                    <a:pt x="114" y="1662"/>
                  </a:moveTo>
                  <a:lnTo>
                    <a:pt x="96" y="1632"/>
                  </a:lnTo>
                  <a:lnTo>
                    <a:pt x="96" y="1662"/>
                  </a:lnTo>
                  <a:lnTo>
                    <a:pt x="102" y="1674"/>
                  </a:lnTo>
                  <a:lnTo>
                    <a:pt x="114" y="1680"/>
                  </a:lnTo>
                  <a:lnTo>
                    <a:pt x="120" y="1680"/>
                  </a:lnTo>
                  <a:lnTo>
                    <a:pt x="126" y="1674"/>
                  </a:lnTo>
                  <a:lnTo>
                    <a:pt x="126" y="1662"/>
                  </a:lnTo>
                  <a:lnTo>
                    <a:pt x="114" y="1662"/>
                  </a:lnTo>
                  <a:close/>
                  <a:moveTo>
                    <a:pt x="12" y="1686"/>
                  </a:moveTo>
                  <a:lnTo>
                    <a:pt x="6" y="1686"/>
                  </a:lnTo>
                  <a:lnTo>
                    <a:pt x="0" y="1692"/>
                  </a:lnTo>
                  <a:lnTo>
                    <a:pt x="0" y="1704"/>
                  </a:lnTo>
                  <a:lnTo>
                    <a:pt x="6" y="1710"/>
                  </a:lnTo>
                  <a:lnTo>
                    <a:pt x="12" y="1710"/>
                  </a:lnTo>
                  <a:lnTo>
                    <a:pt x="24" y="1698"/>
                  </a:lnTo>
                  <a:lnTo>
                    <a:pt x="24" y="1686"/>
                  </a:lnTo>
                  <a:lnTo>
                    <a:pt x="12" y="1686"/>
                  </a:lnTo>
                  <a:close/>
                  <a:moveTo>
                    <a:pt x="168" y="1536"/>
                  </a:moveTo>
                  <a:lnTo>
                    <a:pt x="168" y="1542"/>
                  </a:lnTo>
                  <a:lnTo>
                    <a:pt x="180" y="1548"/>
                  </a:lnTo>
                  <a:lnTo>
                    <a:pt x="186" y="1548"/>
                  </a:lnTo>
                  <a:lnTo>
                    <a:pt x="186" y="1536"/>
                  </a:lnTo>
                  <a:lnTo>
                    <a:pt x="180" y="1530"/>
                  </a:lnTo>
                  <a:lnTo>
                    <a:pt x="168" y="1530"/>
                  </a:lnTo>
                  <a:lnTo>
                    <a:pt x="168" y="1536"/>
                  </a:lnTo>
                  <a:close/>
                  <a:moveTo>
                    <a:pt x="264" y="1494"/>
                  </a:moveTo>
                  <a:lnTo>
                    <a:pt x="252" y="1518"/>
                  </a:lnTo>
                  <a:lnTo>
                    <a:pt x="246" y="1536"/>
                  </a:lnTo>
                  <a:lnTo>
                    <a:pt x="246" y="1548"/>
                  </a:lnTo>
                  <a:lnTo>
                    <a:pt x="240" y="1554"/>
                  </a:lnTo>
                  <a:lnTo>
                    <a:pt x="240" y="1560"/>
                  </a:lnTo>
                  <a:lnTo>
                    <a:pt x="258" y="1566"/>
                  </a:lnTo>
                  <a:lnTo>
                    <a:pt x="264" y="1554"/>
                  </a:lnTo>
                  <a:lnTo>
                    <a:pt x="264" y="1548"/>
                  </a:lnTo>
                  <a:lnTo>
                    <a:pt x="270" y="1542"/>
                  </a:lnTo>
                  <a:lnTo>
                    <a:pt x="270" y="1524"/>
                  </a:lnTo>
                  <a:lnTo>
                    <a:pt x="288" y="1506"/>
                  </a:lnTo>
                  <a:lnTo>
                    <a:pt x="282" y="1500"/>
                  </a:lnTo>
                  <a:lnTo>
                    <a:pt x="282" y="1494"/>
                  </a:lnTo>
                  <a:lnTo>
                    <a:pt x="276" y="1488"/>
                  </a:lnTo>
                  <a:lnTo>
                    <a:pt x="264" y="1494"/>
                  </a:lnTo>
                  <a:close/>
                </a:path>
              </a:pathLst>
            </a:custGeom>
            <a:solidFill>
              <a:srgbClr val="FF1919"/>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69" name="Italy" descr="© INSCALE GmbH, 05.05.2010&#10;http://www.presentationload.com/">
              <a:extLst>
                <a:ext uri="{FF2B5EF4-FFF2-40B4-BE49-F238E27FC236}">
                  <a16:creationId xmlns:a16="http://schemas.microsoft.com/office/drawing/2014/main" id="{818D5D58-897F-E39D-819C-F7B88861E3E4}"/>
                </a:ext>
              </a:extLst>
            </p:cNvPr>
            <p:cNvSpPr>
              <a:spLocks noEditPoints="1"/>
            </p:cNvSpPr>
            <p:nvPr/>
          </p:nvSpPr>
          <p:spPr bwMode="gray">
            <a:xfrm>
              <a:off x="4420688" y="1782054"/>
              <a:ext cx="294993" cy="314264"/>
            </a:xfrm>
            <a:custGeom>
              <a:avLst/>
              <a:gdLst>
                <a:gd name="T0" fmla="*/ 2147483647 w 780"/>
                <a:gd name="T1" fmla="*/ 2147483647 h 828"/>
                <a:gd name="T2" fmla="*/ 2147483647 w 780"/>
                <a:gd name="T3" fmla="*/ 2147483647 h 828"/>
                <a:gd name="T4" fmla="*/ 2147483647 w 780"/>
                <a:gd name="T5" fmla="*/ 2147483647 h 828"/>
                <a:gd name="T6" fmla="*/ 2147483647 w 780"/>
                <a:gd name="T7" fmla="*/ 2147483647 h 828"/>
                <a:gd name="T8" fmla="*/ 2147483647 w 780"/>
                <a:gd name="T9" fmla="*/ 2147483647 h 828"/>
                <a:gd name="T10" fmla="*/ 2147483647 w 780"/>
                <a:gd name="T11" fmla="*/ 2147483647 h 828"/>
                <a:gd name="T12" fmla="*/ 2147483647 w 780"/>
                <a:gd name="T13" fmla="*/ 2147483647 h 828"/>
                <a:gd name="T14" fmla="*/ 2147483647 w 780"/>
                <a:gd name="T15" fmla="*/ 2147483647 h 828"/>
                <a:gd name="T16" fmla="*/ 2147483647 w 780"/>
                <a:gd name="T17" fmla="*/ 2147483647 h 828"/>
                <a:gd name="T18" fmla="*/ 2147483647 w 780"/>
                <a:gd name="T19" fmla="*/ 2147483647 h 828"/>
                <a:gd name="T20" fmla="*/ 2147483647 w 780"/>
                <a:gd name="T21" fmla="*/ 2147483647 h 828"/>
                <a:gd name="T22" fmla="*/ 2147483647 w 780"/>
                <a:gd name="T23" fmla="*/ 2147483647 h 828"/>
                <a:gd name="T24" fmla="*/ 2147483647 w 780"/>
                <a:gd name="T25" fmla="*/ 2147483647 h 828"/>
                <a:gd name="T26" fmla="*/ 2147483647 w 780"/>
                <a:gd name="T27" fmla="*/ 2147483647 h 828"/>
                <a:gd name="T28" fmla="*/ 2147483647 w 780"/>
                <a:gd name="T29" fmla="*/ 2147483647 h 828"/>
                <a:gd name="T30" fmla="*/ 2147483647 w 780"/>
                <a:gd name="T31" fmla="*/ 2147483647 h 828"/>
                <a:gd name="T32" fmla="*/ 2147483647 w 780"/>
                <a:gd name="T33" fmla="*/ 2147483647 h 828"/>
                <a:gd name="T34" fmla="*/ 2147483647 w 780"/>
                <a:gd name="T35" fmla="*/ 2147483647 h 828"/>
                <a:gd name="T36" fmla="*/ 2147483647 w 780"/>
                <a:gd name="T37" fmla="*/ 2147483647 h 828"/>
                <a:gd name="T38" fmla="*/ 2147483647 w 780"/>
                <a:gd name="T39" fmla="*/ 2147483647 h 828"/>
                <a:gd name="T40" fmla="*/ 2147483647 w 780"/>
                <a:gd name="T41" fmla="*/ 2147483647 h 828"/>
                <a:gd name="T42" fmla="*/ 2147483647 w 780"/>
                <a:gd name="T43" fmla="*/ 2147483647 h 828"/>
                <a:gd name="T44" fmla="*/ 2147483647 w 780"/>
                <a:gd name="T45" fmla="*/ 2147483647 h 828"/>
                <a:gd name="T46" fmla="*/ 2147483647 w 780"/>
                <a:gd name="T47" fmla="*/ 2147483647 h 828"/>
                <a:gd name="T48" fmla="*/ 2147483647 w 780"/>
                <a:gd name="T49" fmla="*/ 2147483647 h 828"/>
                <a:gd name="T50" fmla="*/ 2147483647 w 780"/>
                <a:gd name="T51" fmla="*/ 2147483647 h 828"/>
                <a:gd name="T52" fmla="*/ 2147483647 w 780"/>
                <a:gd name="T53" fmla="*/ 2147483647 h 828"/>
                <a:gd name="T54" fmla="*/ 2147483647 w 780"/>
                <a:gd name="T55" fmla="*/ 2147483647 h 828"/>
                <a:gd name="T56" fmla="*/ 2147483647 w 780"/>
                <a:gd name="T57" fmla="*/ 2147483647 h 828"/>
                <a:gd name="T58" fmla="*/ 2147483647 w 780"/>
                <a:gd name="T59" fmla="*/ 2147483647 h 828"/>
                <a:gd name="T60" fmla="*/ 2147483647 w 780"/>
                <a:gd name="T61" fmla="*/ 2147483647 h 828"/>
                <a:gd name="T62" fmla="*/ 2147483647 w 780"/>
                <a:gd name="T63" fmla="*/ 2147483647 h 828"/>
                <a:gd name="T64" fmla="*/ 2147483647 w 780"/>
                <a:gd name="T65" fmla="*/ 2147483647 h 828"/>
                <a:gd name="T66" fmla="*/ 2147483647 w 780"/>
                <a:gd name="T67" fmla="*/ 2147483647 h 828"/>
                <a:gd name="T68" fmla="*/ 2147483647 w 780"/>
                <a:gd name="T69" fmla="*/ 2147483647 h 828"/>
                <a:gd name="T70" fmla="*/ 2147483647 w 780"/>
                <a:gd name="T71" fmla="*/ 2147483647 h 828"/>
                <a:gd name="T72" fmla="*/ 2147483647 w 780"/>
                <a:gd name="T73" fmla="*/ 2147483647 h 828"/>
                <a:gd name="T74" fmla="*/ 2147483647 w 780"/>
                <a:gd name="T75" fmla="*/ 2147483647 h 828"/>
                <a:gd name="T76" fmla="*/ 2147483647 w 780"/>
                <a:gd name="T77" fmla="*/ 2147483647 h 828"/>
                <a:gd name="T78" fmla="*/ 2147483647 w 780"/>
                <a:gd name="T79" fmla="*/ 2147483647 h 828"/>
                <a:gd name="T80" fmla="*/ 2147483647 w 780"/>
                <a:gd name="T81" fmla="*/ 2147483647 h 828"/>
                <a:gd name="T82" fmla="*/ 2147483647 w 780"/>
                <a:gd name="T83" fmla="*/ 2147483647 h 828"/>
                <a:gd name="T84" fmla="*/ 2147483647 w 780"/>
                <a:gd name="T85" fmla="*/ 2147483647 h 828"/>
                <a:gd name="T86" fmla="*/ 2147483647 w 780"/>
                <a:gd name="T87" fmla="*/ 2147483647 h 828"/>
                <a:gd name="T88" fmla="*/ 2147483647 w 780"/>
                <a:gd name="T89" fmla="*/ 2147483647 h 828"/>
                <a:gd name="T90" fmla="*/ 2147483647 w 780"/>
                <a:gd name="T91" fmla="*/ 2147483647 h 828"/>
                <a:gd name="T92" fmla="*/ 2147483647 w 780"/>
                <a:gd name="T93" fmla="*/ 2147483647 h 828"/>
                <a:gd name="T94" fmla="*/ 2147483647 w 780"/>
                <a:gd name="T95" fmla="*/ 2147483647 h 828"/>
                <a:gd name="T96" fmla="*/ 2147483647 w 780"/>
                <a:gd name="T97" fmla="*/ 2147483647 h 828"/>
                <a:gd name="T98" fmla="*/ 2147483647 w 780"/>
                <a:gd name="T99" fmla="*/ 2147483647 h 828"/>
                <a:gd name="T100" fmla="*/ 2147483647 w 780"/>
                <a:gd name="T101" fmla="*/ 2147483647 h 828"/>
                <a:gd name="T102" fmla="*/ 2147483647 w 780"/>
                <a:gd name="T103" fmla="*/ 2147483647 h 828"/>
                <a:gd name="T104" fmla="*/ 2147483647 w 780"/>
                <a:gd name="T105" fmla="*/ 2147483647 h 828"/>
                <a:gd name="T106" fmla="*/ 2147483647 w 780"/>
                <a:gd name="T107" fmla="*/ 2147483647 h 828"/>
                <a:gd name="T108" fmla="*/ 2147483647 w 780"/>
                <a:gd name="T109" fmla="*/ 2147483647 h 828"/>
                <a:gd name="T110" fmla="*/ 2147483647 w 780"/>
                <a:gd name="T111" fmla="*/ 2147483647 h 828"/>
                <a:gd name="T112" fmla="*/ 2147483647 w 780"/>
                <a:gd name="T113" fmla="*/ 2147483647 h 82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80"/>
                <a:gd name="T172" fmla="*/ 0 h 828"/>
                <a:gd name="T173" fmla="*/ 780 w 780"/>
                <a:gd name="T174" fmla="*/ 828 h 82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80" h="828">
                  <a:moveTo>
                    <a:pt x="570" y="720"/>
                  </a:moveTo>
                  <a:lnTo>
                    <a:pt x="558" y="714"/>
                  </a:lnTo>
                  <a:lnTo>
                    <a:pt x="552" y="708"/>
                  </a:lnTo>
                  <a:lnTo>
                    <a:pt x="540" y="708"/>
                  </a:lnTo>
                  <a:lnTo>
                    <a:pt x="534" y="714"/>
                  </a:lnTo>
                  <a:lnTo>
                    <a:pt x="522" y="720"/>
                  </a:lnTo>
                  <a:lnTo>
                    <a:pt x="516" y="726"/>
                  </a:lnTo>
                  <a:lnTo>
                    <a:pt x="468" y="726"/>
                  </a:lnTo>
                  <a:lnTo>
                    <a:pt x="456" y="720"/>
                  </a:lnTo>
                  <a:lnTo>
                    <a:pt x="444" y="708"/>
                  </a:lnTo>
                  <a:lnTo>
                    <a:pt x="438" y="708"/>
                  </a:lnTo>
                  <a:lnTo>
                    <a:pt x="420" y="726"/>
                  </a:lnTo>
                  <a:lnTo>
                    <a:pt x="402" y="714"/>
                  </a:lnTo>
                  <a:lnTo>
                    <a:pt x="396" y="714"/>
                  </a:lnTo>
                  <a:lnTo>
                    <a:pt x="384" y="726"/>
                  </a:lnTo>
                  <a:lnTo>
                    <a:pt x="384" y="738"/>
                  </a:lnTo>
                  <a:lnTo>
                    <a:pt x="396" y="750"/>
                  </a:lnTo>
                  <a:lnTo>
                    <a:pt x="420" y="762"/>
                  </a:lnTo>
                  <a:lnTo>
                    <a:pt x="426" y="762"/>
                  </a:lnTo>
                  <a:lnTo>
                    <a:pt x="444" y="780"/>
                  </a:lnTo>
                  <a:lnTo>
                    <a:pt x="444" y="786"/>
                  </a:lnTo>
                  <a:lnTo>
                    <a:pt x="456" y="786"/>
                  </a:lnTo>
                  <a:lnTo>
                    <a:pt x="468" y="798"/>
                  </a:lnTo>
                  <a:lnTo>
                    <a:pt x="480" y="804"/>
                  </a:lnTo>
                  <a:lnTo>
                    <a:pt x="498" y="798"/>
                  </a:lnTo>
                  <a:lnTo>
                    <a:pt x="504" y="804"/>
                  </a:lnTo>
                  <a:lnTo>
                    <a:pt x="516" y="810"/>
                  </a:lnTo>
                  <a:lnTo>
                    <a:pt x="522" y="822"/>
                  </a:lnTo>
                  <a:lnTo>
                    <a:pt x="534" y="828"/>
                  </a:lnTo>
                  <a:lnTo>
                    <a:pt x="558" y="828"/>
                  </a:lnTo>
                  <a:lnTo>
                    <a:pt x="570" y="816"/>
                  </a:lnTo>
                  <a:lnTo>
                    <a:pt x="570" y="792"/>
                  </a:lnTo>
                  <a:lnTo>
                    <a:pt x="564" y="780"/>
                  </a:lnTo>
                  <a:lnTo>
                    <a:pt x="564" y="768"/>
                  </a:lnTo>
                  <a:lnTo>
                    <a:pt x="570" y="750"/>
                  </a:lnTo>
                  <a:lnTo>
                    <a:pt x="576" y="738"/>
                  </a:lnTo>
                  <a:lnTo>
                    <a:pt x="582" y="732"/>
                  </a:lnTo>
                  <a:lnTo>
                    <a:pt x="582" y="714"/>
                  </a:lnTo>
                  <a:lnTo>
                    <a:pt x="576" y="702"/>
                  </a:lnTo>
                  <a:lnTo>
                    <a:pt x="570" y="720"/>
                  </a:lnTo>
                  <a:close/>
                  <a:moveTo>
                    <a:pt x="180" y="468"/>
                  </a:moveTo>
                  <a:lnTo>
                    <a:pt x="156" y="480"/>
                  </a:lnTo>
                  <a:lnTo>
                    <a:pt x="150" y="486"/>
                  </a:lnTo>
                  <a:lnTo>
                    <a:pt x="138" y="492"/>
                  </a:lnTo>
                  <a:lnTo>
                    <a:pt x="132" y="498"/>
                  </a:lnTo>
                  <a:lnTo>
                    <a:pt x="126" y="498"/>
                  </a:lnTo>
                  <a:lnTo>
                    <a:pt x="114" y="492"/>
                  </a:lnTo>
                  <a:lnTo>
                    <a:pt x="102" y="480"/>
                  </a:lnTo>
                  <a:lnTo>
                    <a:pt x="96" y="498"/>
                  </a:lnTo>
                  <a:lnTo>
                    <a:pt x="102" y="504"/>
                  </a:lnTo>
                  <a:lnTo>
                    <a:pt x="114" y="510"/>
                  </a:lnTo>
                  <a:lnTo>
                    <a:pt x="120" y="522"/>
                  </a:lnTo>
                  <a:lnTo>
                    <a:pt x="120" y="540"/>
                  </a:lnTo>
                  <a:lnTo>
                    <a:pt x="114" y="558"/>
                  </a:lnTo>
                  <a:lnTo>
                    <a:pt x="114" y="570"/>
                  </a:lnTo>
                  <a:lnTo>
                    <a:pt x="126" y="582"/>
                  </a:lnTo>
                  <a:lnTo>
                    <a:pt x="114" y="588"/>
                  </a:lnTo>
                  <a:lnTo>
                    <a:pt x="120" y="636"/>
                  </a:lnTo>
                  <a:lnTo>
                    <a:pt x="108" y="636"/>
                  </a:lnTo>
                  <a:lnTo>
                    <a:pt x="126" y="654"/>
                  </a:lnTo>
                  <a:lnTo>
                    <a:pt x="138" y="654"/>
                  </a:lnTo>
                  <a:lnTo>
                    <a:pt x="144" y="642"/>
                  </a:lnTo>
                  <a:lnTo>
                    <a:pt x="156" y="630"/>
                  </a:lnTo>
                  <a:lnTo>
                    <a:pt x="156" y="618"/>
                  </a:lnTo>
                  <a:lnTo>
                    <a:pt x="168" y="630"/>
                  </a:lnTo>
                  <a:lnTo>
                    <a:pt x="180" y="636"/>
                  </a:lnTo>
                  <a:lnTo>
                    <a:pt x="186" y="636"/>
                  </a:lnTo>
                  <a:lnTo>
                    <a:pt x="192" y="630"/>
                  </a:lnTo>
                  <a:lnTo>
                    <a:pt x="198" y="618"/>
                  </a:lnTo>
                  <a:lnTo>
                    <a:pt x="198" y="594"/>
                  </a:lnTo>
                  <a:lnTo>
                    <a:pt x="204" y="582"/>
                  </a:lnTo>
                  <a:lnTo>
                    <a:pt x="204" y="558"/>
                  </a:lnTo>
                  <a:lnTo>
                    <a:pt x="198" y="552"/>
                  </a:lnTo>
                  <a:lnTo>
                    <a:pt x="192" y="552"/>
                  </a:lnTo>
                  <a:lnTo>
                    <a:pt x="192" y="546"/>
                  </a:lnTo>
                  <a:lnTo>
                    <a:pt x="198" y="540"/>
                  </a:lnTo>
                  <a:lnTo>
                    <a:pt x="204" y="540"/>
                  </a:lnTo>
                  <a:lnTo>
                    <a:pt x="210" y="534"/>
                  </a:lnTo>
                  <a:lnTo>
                    <a:pt x="210" y="522"/>
                  </a:lnTo>
                  <a:lnTo>
                    <a:pt x="204" y="510"/>
                  </a:lnTo>
                  <a:lnTo>
                    <a:pt x="204" y="492"/>
                  </a:lnTo>
                  <a:lnTo>
                    <a:pt x="198" y="480"/>
                  </a:lnTo>
                  <a:lnTo>
                    <a:pt x="186" y="474"/>
                  </a:lnTo>
                  <a:lnTo>
                    <a:pt x="180" y="468"/>
                  </a:lnTo>
                  <a:close/>
                  <a:moveTo>
                    <a:pt x="774" y="546"/>
                  </a:moveTo>
                  <a:lnTo>
                    <a:pt x="768" y="534"/>
                  </a:lnTo>
                  <a:lnTo>
                    <a:pt x="756" y="528"/>
                  </a:lnTo>
                  <a:lnTo>
                    <a:pt x="738" y="510"/>
                  </a:lnTo>
                  <a:lnTo>
                    <a:pt x="678" y="480"/>
                  </a:lnTo>
                  <a:lnTo>
                    <a:pt x="672" y="480"/>
                  </a:lnTo>
                  <a:lnTo>
                    <a:pt x="660" y="474"/>
                  </a:lnTo>
                  <a:lnTo>
                    <a:pt x="648" y="474"/>
                  </a:lnTo>
                  <a:lnTo>
                    <a:pt x="630" y="468"/>
                  </a:lnTo>
                  <a:lnTo>
                    <a:pt x="606" y="456"/>
                  </a:lnTo>
                  <a:lnTo>
                    <a:pt x="606" y="450"/>
                  </a:lnTo>
                  <a:lnTo>
                    <a:pt x="612" y="438"/>
                  </a:lnTo>
                  <a:lnTo>
                    <a:pt x="624" y="426"/>
                  </a:lnTo>
                  <a:lnTo>
                    <a:pt x="624" y="420"/>
                  </a:lnTo>
                  <a:lnTo>
                    <a:pt x="618" y="414"/>
                  </a:lnTo>
                  <a:lnTo>
                    <a:pt x="612" y="414"/>
                  </a:lnTo>
                  <a:lnTo>
                    <a:pt x="594" y="408"/>
                  </a:lnTo>
                  <a:lnTo>
                    <a:pt x="552" y="408"/>
                  </a:lnTo>
                  <a:lnTo>
                    <a:pt x="540" y="402"/>
                  </a:lnTo>
                  <a:lnTo>
                    <a:pt x="534" y="396"/>
                  </a:lnTo>
                  <a:lnTo>
                    <a:pt x="516" y="384"/>
                  </a:lnTo>
                  <a:lnTo>
                    <a:pt x="492" y="360"/>
                  </a:lnTo>
                  <a:lnTo>
                    <a:pt x="480" y="342"/>
                  </a:lnTo>
                  <a:lnTo>
                    <a:pt x="474" y="336"/>
                  </a:lnTo>
                  <a:lnTo>
                    <a:pt x="468" y="324"/>
                  </a:lnTo>
                  <a:lnTo>
                    <a:pt x="468" y="312"/>
                  </a:lnTo>
                  <a:lnTo>
                    <a:pt x="450" y="276"/>
                  </a:lnTo>
                  <a:lnTo>
                    <a:pt x="438" y="270"/>
                  </a:lnTo>
                  <a:lnTo>
                    <a:pt x="432" y="264"/>
                  </a:lnTo>
                  <a:lnTo>
                    <a:pt x="420" y="258"/>
                  </a:lnTo>
                  <a:lnTo>
                    <a:pt x="414" y="252"/>
                  </a:lnTo>
                  <a:lnTo>
                    <a:pt x="378" y="222"/>
                  </a:lnTo>
                  <a:lnTo>
                    <a:pt x="372" y="210"/>
                  </a:lnTo>
                  <a:lnTo>
                    <a:pt x="360" y="198"/>
                  </a:lnTo>
                  <a:lnTo>
                    <a:pt x="360" y="186"/>
                  </a:lnTo>
                  <a:lnTo>
                    <a:pt x="366" y="180"/>
                  </a:lnTo>
                  <a:lnTo>
                    <a:pt x="384" y="180"/>
                  </a:lnTo>
                  <a:lnTo>
                    <a:pt x="384" y="174"/>
                  </a:lnTo>
                  <a:lnTo>
                    <a:pt x="372" y="162"/>
                  </a:lnTo>
                  <a:lnTo>
                    <a:pt x="366" y="150"/>
                  </a:lnTo>
                  <a:lnTo>
                    <a:pt x="366" y="138"/>
                  </a:lnTo>
                  <a:lnTo>
                    <a:pt x="402" y="120"/>
                  </a:lnTo>
                  <a:lnTo>
                    <a:pt x="408" y="114"/>
                  </a:lnTo>
                  <a:lnTo>
                    <a:pt x="414" y="114"/>
                  </a:lnTo>
                  <a:lnTo>
                    <a:pt x="438" y="108"/>
                  </a:lnTo>
                  <a:lnTo>
                    <a:pt x="444" y="72"/>
                  </a:lnTo>
                  <a:lnTo>
                    <a:pt x="432" y="66"/>
                  </a:lnTo>
                  <a:lnTo>
                    <a:pt x="438" y="60"/>
                  </a:lnTo>
                  <a:lnTo>
                    <a:pt x="438" y="42"/>
                  </a:lnTo>
                  <a:lnTo>
                    <a:pt x="384" y="42"/>
                  </a:lnTo>
                  <a:lnTo>
                    <a:pt x="378" y="24"/>
                  </a:lnTo>
                  <a:lnTo>
                    <a:pt x="366" y="24"/>
                  </a:lnTo>
                  <a:lnTo>
                    <a:pt x="366" y="6"/>
                  </a:lnTo>
                  <a:lnTo>
                    <a:pt x="360" y="0"/>
                  </a:lnTo>
                  <a:lnTo>
                    <a:pt x="342" y="0"/>
                  </a:lnTo>
                  <a:lnTo>
                    <a:pt x="336" y="6"/>
                  </a:lnTo>
                  <a:lnTo>
                    <a:pt x="336" y="12"/>
                  </a:lnTo>
                  <a:lnTo>
                    <a:pt x="294" y="12"/>
                  </a:lnTo>
                  <a:lnTo>
                    <a:pt x="282" y="30"/>
                  </a:lnTo>
                  <a:lnTo>
                    <a:pt x="270" y="24"/>
                  </a:lnTo>
                  <a:lnTo>
                    <a:pt x="252" y="24"/>
                  </a:lnTo>
                  <a:lnTo>
                    <a:pt x="246" y="42"/>
                  </a:lnTo>
                  <a:lnTo>
                    <a:pt x="222" y="42"/>
                  </a:lnTo>
                  <a:lnTo>
                    <a:pt x="222" y="48"/>
                  </a:lnTo>
                  <a:lnTo>
                    <a:pt x="234" y="60"/>
                  </a:lnTo>
                  <a:lnTo>
                    <a:pt x="228" y="72"/>
                  </a:lnTo>
                  <a:lnTo>
                    <a:pt x="210" y="60"/>
                  </a:lnTo>
                  <a:lnTo>
                    <a:pt x="192" y="66"/>
                  </a:lnTo>
                  <a:lnTo>
                    <a:pt x="180" y="48"/>
                  </a:lnTo>
                  <a:lnTo>
                    <a:pt x="174" y="72"/>
                  </a:lnTo>
                  <a:lnTo>
                    <a:pt x="162" y="84"/>
                  </a:lnTo>
                  <a:lnTo>
                    <a:pt x="162" y="102"/>
                  </a:lnTo>
                  <a:lnTo>
                    <a:pt x="138" y="78"/>
                  </a:lnTo>
                  <a:lnTo>
                    <a:pt x="132" y="78"/>
                  </a:lnTo>
                  <a:lnTo>
                    <a:pt x="132" y="72"/>
                  </a:lnTo>
                  <a:lnTo>
                    <a:pt x="126" y="66"/>
                  </a:lnTo>
                  <a:lnTo>
                    <a:pt x="126" y="60"/>
                  </a:lnTo>
                  <a:lnTo>
                    <a:pt x="120" y="54"/>
                  </a:lnTo>
                  <a:lnTo>
                    <a:pt x="108" y="54"/>
                  </a:lnTo>
                  <a:lnTo>
                    <a:pt x="102" y="60"/>
                  </a:lnTo>
                  <a:lnTo>
                    <a:pt x="102" y="78"/>
                  </a:lnTo>
                  <a:lnTo>
                    <a:pt x="84" y="96"/>
                  </a:lnTo>
                  <a:lnTo>
                    <a:pt x="78" y="96"/>
                  </a:lnTo>
                  <a:lnTo>
                    <a:pt x="66" y="84"/>
                  </a:lnTo>
                  <a:lnTo>
                    <a:pt x="54" y="84"/>
                  </a:lnTo>
                  <a:lnTo>
                    <a:pt x="42" y="96"/>
                  </a:lnTo>
                  <a:lnTo>
                    <a:pt x="30" y="96"/>
                  </a:lnTo>
                  <a:lnTo>
                    <a:pt x="30" y="102"/>
                  </a:lnTo>
                  <a:lnTo>
                    <a:pt x="24" y="102"/>
                  </a:lnTo>
                  <a:lnTo>
                    <a:pt x="18" y="108"/>
                  </a:lnTo>
                  <a:lnTo>
                    <a:pt x="42" y="132"/>
                  </a:lnTo>
                  <a:lnTo>
                    <a:pt x="42" y="138"/>
                  </a:lnTo>
                  <a:lnTo>
                    <a:pt x="24" y="156"/>
                  </a:lnTo>
                  <a:lnTo>
                    <a:pt x="0" y="156"/>
                  </a:lnTo>
                  <a:lnTo>
                    <a:pt x="12" y="174"/>
                  </a:lnTo>
                  <a:lnTo>
                    <a:pt x="24" y="174"/>
                  </a:lnTo>
                  <a:lnTo>
                    <a:pt x="30" y="180"/>
                  </a:lnTo>
                  <a:lnTo>
                    <a:pt x="30" y="192"/>
                  </a:lnTo>
                  <a:lnTo>
                    <a:pt x="24" y="198"/>
                  </a:lnTo>
                  <a:lnTo>
                    <a:pt x="24" y="204"/>
                  </a:lnTo>
                  <a:lnTo>
                    <a:pt x="18" y="210"/>
                  </a:lnTo>
                  <a:lnTo>
                    <a:pt x="18" y="216"/>
                  </a:lnTo>
                  <a:lnTo>
                    <a:pt x="24" y="222"/>
                  </a:lnTo>
                  <a:lnTo>
                    <a:pt x="36" y="228"/>
                  </a:lnTo>
                  <a:lnTo>
                    <a:pt x="42" y="228"/>
                  </a:lnTo>
                  <a:lnTo>
                    <a:pt x="42" y="234"/>
                  </a:lnTo>
                  <a:lnTo>
                    <a:pt x="66" y="234"/>
                  </a:lnTo>
                  <a:lnTo>
                    <a:pt x="72" y="240"/>
                  </a:lnTo>
                  <a:lnTo>
                    <a:pt x="72" y="246"/>
                  </a:lnTo>
                  <a:lnTo>
                    <a:pt x="54" y="264"/>
                  </a:lnTo>
                  <a:lnTo>
                    <a:pt x="54" y="270"/>
                  </a:lnTo>
                  <a:lnTo>
                    <a:pt x="66" y="270"/>
                  </a:lnTo>
                  <a:lnTo>
                    <a:pt x="90" y="258"/>
                  </a:lnTo>
                  <a:lnTo>
                    <a:pt x="120" y="228"/>
                  </a:lnTo>
                  <a:lnTo>
                    <a:pt x="144" y="216"/>
                  </a:lnTo>
                  <a:lnTo>
                    <a:pt x="156" y="216"/>
                  </a:lnTo>
                  <a:lnTo>
                    <a:pt x="168" y="222"/>
                  </a:lnTo>
                  <a:lnTo>
                    <a:pt x="204" y="234"/>
                  </a:lnTo>
                  <a:lnTo>
                    <a:pt x="216" y="240"/>
                  </a:lnTo>
                  <a:lnTo>
                    <a:pt x="228" y="252"/>
                  </a:lnTo>
                  <a:lnTo>
                    <a:pt x="234" y="264"/>
                  </a:lnTo>
                  <a:lnTo>
                    <a:pt x="234" y="276"/>
                  </a:lnTo>
                  <a:lnTo>
                    <a:pt x="240" y="282"/>
                  </a:lnTo>
                  <a:lnTo>
                    <a:pt x="240" y="288"/>
                  </a:lnTo>
                  <a:lnTo>
                    <a:pt x="252" y="300"/>
                  </a:lnTo>
                  <a:lnTo>
                    <a:pt x="252" y="306"/>
                  </a:lnTo>
                  <a:lnTo>
                    <a:pt x="246" y="318"/>
                  </a:lnTo>
                  <a:lnTo>
                    <a:pt x="246" y="324"/>
                  </a:lnTo>
                  <a:lnTo>
                    <a:pt x="258" y="336"/>
                  </a:lnTo>
                  <a:lnTo>
                    <a:pt x="282" y="348"/>
                  </a:lnTo>
                  <a:lnTo>
                    <a:pt x="288" y="354"/>
                  </a:lnTo>
                  <a:lnTo>
                    <a:pt x="294" y="354"/>
                  </a:lnTo>
                  <a:lnTo>
                    <a:pt x="300" y="372"/>
                  </a:lnTo>
                  <a:lnTo>
                    <a:pt x="330" y="372"/>
                  </a:lnTo>
                  <a:lnTo>
                    <a:pt x="348" y="390"/>
                  </a:lnTo>
                  <a:lnTo>
                    <a:pt x="354" y="402"/>
                  </a:lnTo>
                  <a:lnTo>
                    <a:pt x="366" y="414"/>
                  </a:lnTo>
                  <a:lnTo>
                    <a:pt x="378" y="420"/>
                  </a:lnTo>
                  <a:lnTo>
                    <a:pt x="384" y="432"/>
                  </a:lnTo>
                  <a:lnTo>
                    <a:pt x="420" y="468"/>
                  </a:lnTo>
                  <a:lnTo>
                    <a:pt x="456" y="468"/>
                  </a:lnTo>
                  <a:lnTo>
                    <a:pt x="462" y="474"/>
                  </a:lnTo>
                  <a:lnTo>
                    <a:pt x="468" y="486"/>
                  </a:lnTo>
                  <a:lnTo>
                    <a:pt x="492" y="498"/>
                  </a:lnTo>
                  <a:lnTo>
                    <a:pt x="510" y="504"/>
                  </a:lnTo>
                  <a:lnTo>
                    <a:pt x="528" y="504"/>
                  </a:lnTo>
                  <a:lnTo>
                    <a:pt x="540" y="510"/>
                  </a:lnTo>
                  <a:lnTo>
                    <a:pt x="546" y="510"/>
                  </a:lnTo>
                  <a:lnTo>
                    <a:pt x="552" y="522"/>
                  </a:lnTo>
                  <a:lnTo>
                    <a:pt x="552" y="534"/>
                  </a:lnTo>
                  <a:lnTo>
                    <a:pt x="564" y="558"/>
                  </a:lnTo>
                  <a:lnTo>
                    <a:pt x="570" y="564"/>
                  </a:lnTo>
                  <a:lnTo>
                    <a:pt x="582" y="564"/>
                  </a:lnTo>
                  <a:lnTo>
                    <a:pt x="594" y="558"/>
                  </a:lnTo>
                  <a:lnTo>
                    <a:pt x="600" y="558"/>
                  </a:lnTo>
                  <a:lnTo>
                    <a:pt x="600" y="570"/>
                  </a:lnTo>
                  <a:lnTo>
                    <a:pt x="606" y="582"/>
                  </a:lnTo>
                  <a:lnTo>
                    <a:pt x="606" y="606"/>
                  </a:lnTo>
                  <a:lnTo>
                    <a:pt x="612" y="618"/>
                  </a:lnTo>
                  <a:lnTo>
                    <a:pt x="630" y="636"/>
                  </a:lnTo>
                  <a:lnTo>
                    <a:pt x="630" y="666"/>
                  </a:lnTo>
                  <a:lnTo>
                    <a:pt x="612" y="666"/>
                  </a:lnTo>
                  <a:lnTo>
                    <a:pt x="612" y="690"/>
                  </a:lnTo>
                  <a:lnTo>
                    <a:pt x="606" y="696"/>
                  </a:lnTo>
                  <a:lnTo>
                    <a:pt x="600" y="708"/>
                  </a:lnTo>
                  <a:lnTo>
                    <a:pt x="594" y="714"/>
                  </a:lnTo>
                  <a:lnTo>
                    <a:pt x="594" y="732"/>
                  </a:lnTo>
                  <a:lnTo>
                    <a:pt x="606" y="732"/>
                  </a:lnTo>
                  <a:lnTo>
                    <a:pt x="618" y="726"/>
                  </a:lnTo>
                  <a:lnTo>
                    <a:pt x="624" y="726"/>
                  </a:lnTo>
                  <a:lnTo>
                    <a:pt x="636" y="702"/>
                  </a:lnTo>
                  <a:lnTo>
                    <a:pt x="654" y="696"/>
                  </a:lnTo>
                  <a:lnTo>
                    <a:pt x="654" y="666"/>
                  </a:lnTo>
                  <a:lnTo>
                    <a:pt x="666" y="654"/>
                  </a:lnTo>
                  <a:lnTo>
                    <a:pt x="678" y="654"/>
                  </a:lnTo>
                  <a:lnTo>
                    <a:pt x="684" y="648"/>
                  </a:lnTo>
                  <a:lnTo>
                    <a:pt x="696" y="648"/>
                  </a:lnTo>
                  <a:lnTo>
                    <a:pt x="696" y="636"/>
                  </a:lnTo>
                  <a:lnTo>
                    <a:pt x="690" y="630"/>
                  </a:lnTo>
                  <a:lnTo>
                    <a:pt x="690" y="618"/>
                  </a:lnTo>
                  <a:lnTo>
                    <a:pt x="678" y="606"/>
                  </a:lnTo>
                  <a:lnTo>
                    <a:pt x="666" y="606"/>
                  </a:lnTo>
                  <a:lnTo>
                    <a:pt x="648" y="588"/>
                  </a:lnTo>
                  <a:lnTo>
                    <a:pt x="654" y="582"/>
                  </a:lnTo>
                  <a:lnTo>
                    <a:pt x="660" y="570"/>
                  </a:lnTo>
                  <a:lnTo>
                    <a:pt x="666" y="552"/>
                  </a:lnTo>
                  <a:lnTo>
                    <a:pt x="672" y="540"/>
                  </a:lnTo>
                  <a:lnTo>
                    <a:pt x="684" y="528"/>
                  </a:lnTo>
                  <a:lnTo>
                    <a:pt x="690" y="534"/>
                  </a:lnTo>
                  <a:lnTo>
                    <a:pt x="702" y="534"/>
                  </a:lnTo>
                  <a:lnTo>
                    <a:pt x="708" y="540"/>
                  </a:lnTo>
                  <a:lnTo>
                    <a:pt x="738" y="540"/>
                  </a:lnTo>
                  <a:lnTo>
                    <a:pt x="738" y="552"/>
                  </a:lnTo>
                  <a:lnTo>
                    <a:pt x="744" y="558"/>
                  </a:lnTo>
                  <a:lnTo>
                    <a:pt x="744" y="564"/>
                  </a:lnTo>
                  <a:lnTo>
                    <a:pt x="750" y="576"/>
                  </a:lnTo>
                  <a:lnTo>
                    <a:pt x="762" y="576"/>
                  </a:lnTo>
                  <a:lnTo>
                    <a:pt x="774" y="570"/>
                  </a:lnTo>
                  <a:lnTo>
                    <a:pt x="780" y="564"/>
                  </a:lnTo>
                  <a:lnTo>
                    <a:pt x="780" y="558"/>
                  </a:lnTo>
                  <a:lnTo>
                    <a:pt x="774" y="546"/>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70" name="Israel" descr="© INSCALE GmbH, 05.05.2010&#10;http://www.presentationload.com/">
              <a:extLst>
                <a:ext uri="{FF2B5EF4-FFF2-40B4-BE49-F238E27FC236}">
                  <a16:creationId xmlns:a16="http://schemas.microsoft.com/office/drawing/2014/main" id="{08C2A984-D9CB-28C0-CCA2-FBEB5DF5B2DB}"/>
                </a:ext>
              </a:extLst>
            </p:cNvPr>
            <p:cNvSpPr>
              <a:spLocks/>
            </p:cNvSpPr>
            <p:nvPr/>
          </p:nvSpPr>
          <p:spPr bwMode="gray">
            <a:xfrm>
              <a:off x="5130744" y="2197120"/>
              <a:ext cx="38542" cy="121556"/>
            </a:xfrm>
            <a:custGeom>
              <a:avLst/>
              <a:gdLst>
                <a:gd name="T0" fmla="*/ 0 w 102"/>
                <a:gd name="T1" fmla="*/ 2147483647 h 324"/>
                <a:gd name="T2" fmla="*/ 2147483647 w 102"/>
                <a:gd name="T3" fmla="*/ 2147483647 h 324"/>
                <a:gd name="T4" fmla="*/ 2147483647 w 102"/>
                <a:gd name="T5" fmla="*/ 2147483647 h 324"/>
                <a:gd name="T6" fmla="*/ 2147483647 w 102"/>
                <a:gd name="T7" fmla="*/ 2147483647 h 324"/>
                <a:gd name="T8" fmla="*/ 2147483647 w 102"/>
                <a:gd name="T9" fmla="*/ 2147483647 h 324"/>
                <a:gd name="T10" fmla="*/ 2147483647 w 102"/>
                <a:gd name="T11" fmla="*/ 2147483647 h 324"/>
                <a:gd name="T12" fmla="*/ 2147483647 w 102"/>
                <a:gd name="T13" fmla="*/ 2147483647 h 324"/>
                <a:gd name="T14" fmla="*/ 2147483647 w 102"/>
                <a:gd name="T15" fmla="*/ 2147483647 h 324"/>
                <a:gd name="T16" fmla="*/ 2147483647 w 102"/>
                <a:gd name="T17" fmla="*/ 2147483647 h 324"/>
                <a:gd name="T18" fmla="*/ 2147483647 w 102"/>
                <a:gd name="T19" fmla="*/ 2147483647 h 324"/>
                <a:gd name="T20" fmla="*/ 2147483647 w 102"/>
                <a:gd name="T21" fmla="*/ 2147483647 h 324"/>
                <a:gd name="T22" fmla="*/ 2147483647 w 102"/>
                <a:gd name="T23" fmla="*/ 2147483647 h 324"/>
                <a:gd name="T24" fmla="*/ 2147483647 w 102"/>
                <a:gd name="T25" fmla="*/ 2147483647 h 324"/>
                <a:gd name="T26" fmla="*/ 2147483647 w 102"/>
                <a:gd name="T27" fmla="*/ 2147483647 h 324"/>
                <a:gd name="T28" fmla="*/ 2147483647 w 102"/>
                <a:gd name="T29" fmla="*/ 2147483647 h 324"/>
                <a:gd name="T30" fmla="*/ 2147483647 w 102"/>
                <a:gd name="T31" fmla="*/ 2147483647 h 324"/>
                <a:gd name="T32" fmla="*/ 2147483647 w 102"/>
                <a:gd name="T33" fmla="*/ 2147483647 h 324"/>
                <a:gd name="T34" fmla="*/ 2147483647 w 102"/>
                <a:gd name="T35" fmla="*/ 2147483647 h 324"/>
                <a:gd name="T36" fmla="*/ 2147483647 w 102"/>
                <a:gd name="T37" fmla="*/ 2147483647 h 324"/>
                <a:gd name="T38" fmla="*/ 2147483647 w 102"/>
                <a:gd name="T39" fmla="*/ 2147483647 h 324"/>
                <a:gd name="T40" fmla="*/ 2147483647 w 102"/>
                <a:gd name="T41" fmla="*/ 2147483647 h 324"/>
                <a:gd name="T42" fmla="*/ 2147483647 w 102"/>
                <a:gd name="T43" fmla="*/ 2147483647 h 324"/>
                <a:gd name="T44" fmla="*/ 2147483647 w 102"/>
                <a:gd name="T45" fmla="*/ 2147483647 h 324"/>
                <a:gd name="T46" fmla="*/ 2147483647 w 102"/>
                <a:gd name="T47" fmla="*/ 2147483647 h 324"/>
                <a:gd name="T48" fmla="*/ 2147483647 w 102"/>
                <a:gd name="T49" fmla="*/ 0 h 324"/>
                <a:gd name="T50" fmla="*/ 2147483647 w 102"/>
                <a:gd name="T51" fmla="*/ 2147483647 h 324"/>
                <a:gd name="T52" fmla="*/ 2147483647 w 102"/>
                <a:gd name="T53" fmla="*/ 2147483647 h 324"/>
                <a:gd name="T54" fmla="*/ 2147483647 w 102"/>
                <a:gd name="T55" fmla="*/ 2147483647 h 324"/>
                <a:gd name="T56" fmla="*/ 2147483647 w 102"/>
                <a:gd name="T57" fmla="*/ 2147483647 h 324"/>
                <a:gd name="T58" fmla="*/ 2147483647 w 102"/>
                <a:gd name="T59" fmla="*/ 2147483647 h 324"/>
                <a:gd name="T60" fmla="*/ 2147483647 w 102"/>
                <a:gd name="T61" fmla="*/ 2147483647 h 324"/>
                <a:gd name="T62" fmla="*/ 2147483647 w 102"/>
                <a:gd name="T63" fmla="*/ 2147483647 h 324"/>
                <a:gd name="T64" fmla="*/ 2147483647 w 102"/>
                <a:gd name="T65" fmla="*/ 2147483647 h 324"/>
                <a:gd name="T66" fmla="*/ 2147483647 w 102"/>
                <a:gd name="T67" fmla="*/ 2147483647 h 324"/>
                <a:gd name="T68" fmla="*/ 2147483647 w 102"/>
                <a:gd name="T69" fmla="*/ 2147483647 h 324"/>
                <a:gd name="T70" fmla="*/ 2147483647 w 102"/>
                <a:gd name="T71" fmla="*/ 2147483647 h 324"/>
                <a:gd name="T72" fmla="*/ 2147483647 w 102"/>
                <a:gd name="T73" fmla="*/ 2147483647 h 324"/>
                <a:gd name="T74" fmla="*/ 2147483647 w 102"/>
                <a:gd name="T75" fmla="*/ 2147483647 h 324"/>
                <a:gd name="T76" fmla="*/ 2147483647 w 102"/>
                <a:gd name="T77" fmla="*/ 2147483647 h 324"/>
                <a:gd name="T78" fmla="*/ 0 w 102"/>
                <a:gd name="T79" fmla="*/ 2147483647 h 32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02"/>
                <a:gd name="T121" fmla="*/ 0 h 324"/>
                <a:gd name="T122" fmla="*/ 102 w 102"/>
                <a:gd name="T123" fmla="*/ 324 h 32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02" h="324">
                  <a:moveTo>
                    <a:pt x="0" y="168"/>
                  </a:moveTo>
                  <a:lnTo>
                    <a:pt x="54" y="312"/>
                  </a:lnTo>
                  <a:lnTo>
                    <a:pt x="60" y="324"/>
                  </a:lnTo>
                  <a:lnTo>
                    <a:pt x="60" y="306"/>
                  </a:lnTo>
                  <a:lnTo>
                    <a:pt x="66" y="294"/>
                  </a:lnTo>
                  <a:lnTo>
                    <a:pt x="66" y="234"/>
                  </a:lnTo>
                  <a:lnTo>
                    <a:pt x="72" y="228"/>
                  </a:lnTo>
                  <a:lnTo>
                    <a:pt x="78" y="216"/>
                  </a:lnTo>
                  <a:lnTo>
                    <a:pt x="84" y="210"/>
                  </a:lnTo>
                  <a:lnTo>
                    <a:pt x="90" y="198"/>
                  </a:lnTo>
                  <a:lnTo>
                    <a:pt x="90" y="186"/>
                  </a:lnTo>
                  <a:lnTo>
                    <a:pt x="78" y="174"/>
                  </a:lnTo>
                  <a:lnTo>
                    <a:pt x="78" y="162"/>
                  </a:lnTo>
                  <a:lnTo>
                    <a:pt x="72" y="156"/>
                  </a:lnTo>
                  <a:lnTo>
                    <a:pt x="66" y="162"/>
                  </a:lnTo>
                  <a:lnTo>
                    <a:pt x="66" y="168"/>
                  </a:lnTo>
                  <a:lnTo>
                    <a:pt x="60" y="168"/>
                  </a:lnTo>
                  <a:lnTo>
                    <a:pt x="54" y="174"/>
                  </a:lnTo>
                  <a:lnTo>
                    <a:pt x="48" y="168"/>
                  </a:lnTo>
                  <a:lnTo>
                    <a:pt x="48" y="96"/>
                  </a:lnTo>
                  <a:lnTo>
                    <a:pt x="66" y="78"/>
                  </a:lnTo>
                  <a:lnTo>
                    <a:pt x="84" y="78"/>
                  </a:lnTo>
                  <a:lnTo>
                    <a:pt x="90" y="60"/>
                  </a:lnTo>
                  <a:lnTo>
                    <a:pt x="84" y="18"/>
                  </a:lnTo>
                  <a:lnTo>
                    <a:pt x="102" y="0"/>
                  </a:lnTo>
                  <a:lnTo>
                    <a:pt x="78" y="6"/>
                  </a:lnTo>
                  <a:lnTo>
                    <a:pt x="78" y="18"/>
                  </a:lnTo>
                  <a:lnTo>
                    <a:pt x="72" y="30"/>
                  </a:lnTo>
                  <a:lnTo>
                    <a:pt x="66" y="36"/>
                  </a:lnTo>
                  <a:lnTo>
                    <a:pt x="60" y="36"/>
                  </a:lnTo>
                  <a:lnTo>
                    <a:pt x="54" y="30"/>
                  </a:lnTo>
                  <a:lnTo>
                    <a:pt x="42" y="54"/>
                  </a:lnTo>
                  <a:lnTo>
                    <a:pt x="30" y="60"/>
                  </a:lnTo>
                  <a:lnTo>
                    <a:pt x="36" y="72"/>
                  </a:lnTo>
                  <a:lnTo>
                    <a:pt x="36" y="84"/>
                  </a:lnTo>
                  <a:lnTo>
                    <a:pt x="42" y="90"/>
                  </a:lnTo>
                  <a:lnTo>
                    <a:pt x="42" y="96"/>
                  </a:lnTo>
                  <a:lnTo>
                    <a:pt x="18" y="138"/>
                  </a:lnTo>
                  <a:lnTo>
                    <a:pt x="18" y="156"/>
                  </a:lnTo>
                  <a:lnTo>
                    <a:pt x="0" y="168"/>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71" name="Ireland" descr="© INSCALE GmbH, 05.05.2010&#10;http://www.presentationload.com/">
              <a:extLst>
                <a:ext uri="{FF2B5EF4-FFF2-40B4-BE49-F238E27FC236}">
                  <a16:creationId xmlns:a16="http://schemas.microsoft.com/office/drawing/2014/main" id="{C5B99F0C-9588-561B-39FC-223EC6517D15}"/>
                </a:ext>
              </a:extLst>
            </p:cNvPr>
            <p:cNvSpPr>
              <a:spLocks/>
            </p:cNvSpPr>
            <p:nvPr/>
          </p:nvSpPr>
          <p:spPr bwMode="gray">
            <a:xfrm>
              <a:off x="4033788" y="1541909"/>
              <a:ext cx="106731" cy="112660"/>
            </a:xfrm>
            <a:custGeom>
              <a:avLst/>
              <a:gdLst>
                <a:gd name="T0" fmla="*/ 2147483647 w 282"/>
                <a:gd name="T1" fmla="*/ 2147483647 h 300"/>
                <a:gd name="T2" fmla="*/ 2147483647 w 282"/>
                <a:gd name="T3" fmla="*/ 2147483647 h 300"/>
                <a:gd name="T4" fmla="*/ 2147483647 w 282"/>
                <a:gd name="T5" fmla="*/ 2147483647 h 300"/>
                <a:gd name="T6" fmla="*/ 2147483647 w 282"/>
                <a:gd name="T7" fmla="*/ 2147483647 h 300"/>
                <a:gd name="T8" fmla="*/ 2147483647 w 282"/>
                <a:gd name="T9" fmla="*/ 2147483647 h 300"/>
                <a:gd name="T10" fmla="*/ 2147483647 w 282"/>
                <a:gd name="T11" fmla="*/ 2147483647 h 300"/>
                <a:gd name="T12" fmla="*/ 2147483647 w 282"/>
                <a:gd name="T13" fmla="*/ 2147483647 h 300"/>
                <a:gd name="T14" fmla="*/ 2147483647 w 282"/>
                <a:gd name="T15" fmla="*/ 2147483647 h 300"/>
                <a:gd name="T16" fmla="*/ 2147483647 w 282"/>
                <a:gd name="T17" fmla="*/ 2147483647 h 300"/>
                <a:gd name="T18" fmla="*/ 2147483647 w 282"/>
                <a:gd name="T19" fmla="*/ 2147483647 h 300"/>
                <a:gd name="T20" fmla="*/ 2147483647 w 282"/>
                <a:gd name="T21" fmla="*/ 2147483647 h 300"/>
                <a:gd name="T22" fmla="*/ 2147483647 w 282"/>
                <a:gd name="T23" fmla="*/ 2147483647 h 300"/>
                <a:gd name="T24" fmla="*/ 2147483647 w 282"/>
                <a:gd name="T25" fmla="*/ 0 h 300"/>
                <a:gd name="T26" fmla="*/ 2147483647 w 282"/>
                <a:gd name="T27" fmla="*/ 2147483647 h 300"/>
                <a:gd name="T28" fmla="*/ 2147483647 w 282"/>
                <a:gd name="T29" fmla="*/ 2147483647 h 300"/>
                <a:gd name="T30" fmla="*/ 2147483647 w 282"/>
                <a:gd name="T31" fmla="*/ 2147483647 h 300"/>
                <a:gd name="T32" fmla="*/ 2147483647 w 282"/>
                <a:gd name="T33" fmla="*/ 2147483647 h 300"/>
                <a:gd name="T34" fmla="*/ 2147483647 w 282"/>
                <a:gd name="T35" fmla="*/ 2147483647 h 300"/>
                <a:gd name="T36" fmla="*/ 2147483647 w 282"/>
                <a:gd name="T37" fmla="*/ 2147483647 h 300"/>
                <a:gd name="T38" fmla="*/ 2147483647 w 282"/>
                <a:gd name="T39" fmla="*/ 2147483647 h 300"/>
                <a:gd name="T40" fmla="*/ 2147483647 w 282"/>
                <a:gd name="T41" fmla="*/ 2147483647 h 300"/>
                <a:gd name="T42" fmla="*/ 2147483647 w 282"/>
                <a:gd name="T43" fmla="*/ 2147483647 h 300"/>
                <a:gd name="T44" fmla="*/ 2147483647 w 282"/>
                <a:gd name="T45" fmla="*/ 2147483647 h 300"/>
                <a:gd name="T46" fmla="*/ 2147483647 w 282"/>
                <a:gd name="T47" fmla="*/ 2147483647 h 300"/>
                <a:gd name="T48" fmla="*/ 2147483647 w 282"/>
                <a:gd name="T49" fmla="*/ 2147483647 h 300"/>
                <a:gd name="T50" fmla="*/ 2147483647 w 282"/>
                <a:gd name="T51" fmla="*/ 2147483647 h 300"/>
                <a:gd name="T52" fmla="*/ 2147483647 w 282"/>
                <a:gd name="T53" fmla="*/ 2147483647 h 300"/>
                <a:gd name="T54" fmla="*/ 2147483647 w 282"/>
                <a:gd name="T55" fmla="*/ 2147483647 h 300"/>
                <a:gd name="T56" fmla="*/ 2147483647 w 282"/>
                <a:gd name="T57" fmla="*/ 2147483647 h 300"/>
                <a:gd name="T58" fmla="*/ 2147483647 w 282"/>
                <a:gd name="T59" fmla="*/ 2147483647 h 300"/>
                <a:gd name="T60" fmla="*/ 2147483647 w 282"/>
                <a:gd name="T61" fmla="*/ 2147483647 h 300"/>
                <a:gd name="T62" fmla="*/ 2147483647 w 282"/>
                <a:gd name="T63" fmla="*/ 2147483647 h 300"/>
                <a:gd name="T64" fmla="*/ 2147483647 w 282"/>
                <a:gd name="T65" fmla="*/ 2147483647 h 300"/>
                <a:gd name="T66" fmla="*/ 2147483647 w 282"/>
                <a:gd name="T67" fmla="*/ 2147483647 h 300"/>
                <a:gd name="T68" fmla="*/ 2147483647 w 282"/>
                <a:gd name="T69" fmla="*/ 2147483647 h 300"/>
                <a:gd name="T70" fmla="*/ 2147483647 w 282"/>
                <a:gd name="T71" fmla="*/ 2147483647 h 300"/>
                <a:gd name="T72" fmla="*/ 2147483647 w 282"/>
                <a:gd name="T73" fmla="*/ 2147483647 h 300"/>
                <a:gd name="T74" fmla="*/ 2147483647 w 282"/>
                <a:gd name="T75" fmla="*/ 2147483647 h 300"/>
                <a:gd name="T76" fmla="*/ 2147483647 w 282"/>
                <a:gd name="T77" fmla="*/ 2147483647 h 300"/>
                <a:gd name="T78" fmla="*/ 2147483647 w 282"/>
                <a:gd name="T79" fmla="*/ 2147483647 h 300"/>
                <a:gd name="T80" fmla="*/ 0 w 282"/>
                <a:gd name="T81" fmla="*/ 2147483647 h 300"/>
                <a:gd name="T82" fmla="*/ 2147483647 w 282"/>
                <a:gd name="T83" fmla="*/ 2147483647 h 300"/>
                <a:gd name="T84" fmla="*/ 2147483647 w 282"/>
                <a:gd name="T85" fmla="*/ 2147483647 h 300"/>
                <a:gd name="T86" fmla="*/ 2147483647 w 282"/>
                <a:gd name="T87" fmla="*/ 2147483647 h 300"/>
                <a:gd name="T88" fmla="*/ 2147483647 w 282"/>
                <a:gd name="T89" fmla="*/ 2147483647 h 300"/>
                <a:gd name="T90" fmla="*/ 2147483647 w 282"/>
                <a:gd name="T91" fmla="*/ 2147483647 h 300"/>
                <a:gd name="T92" fmla="*/ 2147483647 w 282"/>
                <a:gd name="T93" fmla="*/ 2147483647 h 300"/>
                <a:gd name="T94" fmla="*/ 2147483647 w 282"/>
                <a:gd name="T95" fmla="*/ 2147483647 h 300"/>
                <a:gd name="T96" fmla="*/ 2147483647 w 282"/>
                <a:gd name="T97" fmla="*/ 2147483647 h 300"/>
                <a:gd name="T98" fmla="*/ 2147483647 w 282"/>
                <a:gd name="T99" fmla="*/ 2147483647 h 300"/>
                <a:gd name="T100" fmla="*/ 2147483647 w 282"/>
                <a:gd name="T101" fmla="*/ 2147483647 h 300"/>
                <a:gd name="T102" fmla="*/ 2147483647 w 282"/>
                <a:gd name="T103" fmla="*/ 2147483647 h 300"/>
                <a:gd name="T104" fmla="*/ 2147483647 w 282"/>
                <a:gd name="T105" fmla="*/ 2147483647 h 300"/>
                <a:gd name="T106" fmla="*/ 2147483647 w 282"/>
                <a:gd name="T107" fmla="*/ 2147483647 h 300"/>
                <a:gd name="T108" fmla="*/ 2147483647 w 282"/>
                <a:gd name="T109" fmla="*/ 2147483647 h 300"/>
                <a:gd name="T110" fmla="*/ 2147483647 w 282"/>
                <a:gd name="T111" fmla="*/ 2147483647 h 3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82"/>
                <a:gd name="T169" fmla="*/ 0 h 300"/>
                <a:gd name="T170" fmla="*/ 282 w 282"/>
                <a:gd name="T171" fmla="*/ 300 h 30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82" h="300">
                  <a:moveTo>
                    <a:pt x="276" y="156"/>
                  </a:moveTo>
                  <a:lnTo>
                    <a:pt x="276" y="144"/>
                  </a:lnTo>
                  <a:lnTo>
                    <a:pt x="270" y="132"/>
                  </a:lnTo>
                  <a:lnTo>
                    <a:pt x="264" y="126"/>
                  </a:lnTo>
                  <a:lnTo>
                    <a:pt x="264" y="114"/>
                  </a:lnTo>
                  <a:lnTo>
                    <a:pt x="258" y="108"/>
                  </a:lnTo>
                  <a:lnTo>
                    <a:pt x="258" y="102"/>
                  </a:lnTo>
                  <a:lnTo>
                    <a:pt x="276" y="102"/>
                  </a:lnTo>
                  <a:lnTo>
                    <a:pt x="282" y="96"/>
                  </a:lnTo>
                  <a:lnTo>
                    <a:pt x="246" y="90"/>
                  </a:lnTo>
                  <a:lnTo>
                    <a:pt x="228" y="66"/>
                  </a:lnTo>
                  <a:lnTo>
                    <a:pt x="204" y="90"/>
                  </a:lnTo>
                  <a:lnTo>
                    <a:pt x="192" y="90"/>
                  </a:lnTo>
                  <a:lnTo>
                    <a:pt x="168" y="78"/>
                  </a:lnTo>
                  <a:lnTo>
                    <a:pt x="162" y="72"/>
                  </a:lnTo>
                  <a:lnTo>
                    <a:pt x="174" y="60"/>
                  </a:lnTo>
                  <a:lnTo>
                    <a:pt x="180" y="60"/>
                  </a:lnTo>
                  <a:lnTo>
                    <a:pt x="186" y="54"/>
                  </a:lnTo>
                  <a:lnTo>
                    <a:pt x="192" y="54"/>
                  </a:lnTo>
                  <a:lnTo>
                    <a:pt x="192" y="42"/>
                  </a:lnTo>
                  <a:lnTo>
                    <a:pt x="234" y="18"/>
                  </a:lnTo>
                  <a:lnTo>
                    <a:pt x="240" y="12"/>
                  </a:lnTo>
                  <a:lnTo>
                    <a:pt x="240" y="6"/>
                  </a:lnTo>
                  <a:lnTo>
                    <a:pt x="234" y="6"/>
                  </a:lnTo>
                  <a:lnTo>
                    <a:pt x="228" y="0"/>
                  </a:lnTo>
                  <a:lnTo>
                    <a:pt x="222" y="0"/>
                  </a:lnTo>
                  <a:lnTo>
                    <a:pt x="210" y="6"/>
                  </a:lnTo>
                  <a:lnTo>
                    <a:pt x="204" y="18"/>
                  </a:lnTo>
                  <a:lnTo>
                    <a:pt x="198" y="6"/>
                  </a:lnTo>
                  <a:lnTo>
                    <a:pt x="174" y="6"/>
                  </a:lnTo>
                  <a:lnTo>
                    <a:pt x="162" y="12"/>
                  </a:lnTo>
                  <a:lnTo>
                    <a:pt x="156" y="12"/>
                  </a:lnTo>
                  <a:lnTo>
                    <a:pt x="150" y="18"/>
                  </a:lnTo>
                  <a:lnTo>
                    <a:pt x="150" y="30"/>
                  </a:lnTo>
                  <a:lnTo>
                    <a:pt x="144" y="36"/>
                  </a:lnTo>
                  <a:lnTo>
                    <a:pt x="144" y="42"/>
                  </a:lnTo>
                  <a:lnTo>
                    <a:pt x="126" y="42"/>
                  </a:lnTo>
                  <a:lnTo>
                    <a:pt x="120" y="48"/>
                  </a:lnTo>
                  <a:lnTo>
                    <a:pt x="120" y="54"/>
                  </a:lnTo>
                  <a:lnTo>
                    <a:pt x="138" y="54"/>
                  </a:lnTo>
                  <a:lnTo>
                    <a:pt x="144" y="60"/>
                  </a:lnTo>
                  <a:lnTo>
                    <a:pt x="150" y="60"/>
                  </a:lnTo>
                  <a:lnTo>
                    <a:pt x="150" y="66"/>
                  </a:lnTo>
                  <a:lnTo>
                    <a:pt x="144" y="72"/>
                  </a:lnTo>
                  <a:lnTo>
                    <a:pt x="132" y="72"/>
                  </a:lnTo>
                  <a:lnTo>
                    <a:pt x="132" y="78"/>
                  </a:lnTo>
                  <a:lnTo>
                    <a:pt x="126" y="84"/>
                  </a:lnTo>
                  <a:lnTo>
                    <a:pt x="102" y="84"/>
                  </a:lnTo>
                  <a:lnTo>
                    <a:pt x="102" y="90"/>
                  </a:lnTo>
                  <a:lnTo>
                    <a:pt x="90" y="78"/>
                  </a:lnTo>
                  <a:lnTo>
                    <a:pt x="42" y="78"/>
                  </a:lnTo>
                  <a:lnTo>
                    <a:pt x="42" y="102"/>
                  </a:lnTo>
                  <a:lnTo>
                    <a:pt x="54" y="102"/>
                  </a:lnTo>
                  <a:lnTo>
                    <a:pt x="54" y="108"/>
                  </a:lnTo>
                  <a:lnTo>
                    <a:pt x="60" y="114"/>
                  </a:lnTo>
                  <a:lnTo>
                    <a:pt x="42" y="126"/>
                  </a:lnTo>
                  <a:lnTo>
                    <a:pt x="36" y="126"/>
                  </a:lnTo>
                  <a:lnTo>
                    <a:pt x="30" y="132"/>
                  </a:lnTo>
                  <a:lnTo>
                    <a:pt x="30" y="138"/>
                  </a:lnTo>
                  <a:lnTo>
                    <a:pt x="42" y="150"/>
                  </a:lnTo>
                  <a:lnTo>
                    <a:pt x="54" y="156"/>
                  </a:lnTo>
                  <a:lnTo>
                    <a:pt x="60" y="162"/>
                  </a:lnTo>
                  <a:lnTo>
                    <a:pt x="72" y="162"/>
                  </a:lnTo>
                  <a:lnTo>
                    <a:pt x="78" y="156"/>
                  </a:lnTo>
                  <a:lnTo>
                    <a:pt x="96" y="156"/>
                  </a:lnTo>
                  <a:lnTo>
                    <a:pt x="96" y="168"/>
                  </a:lnTo>
                  <a:lnTo>
                    <a:pt x="90" y="174"/>
                  </a:lnTo>
                  <a:lnTo>
                    <a:pt x="72" y="174"/>
                  </a:lnTo>
                  <a:lnTo>
                    <a:pt x="72" y="192"/>
                  </a:lnTo>
                  <a:lnTo>
                    <a:pt x="54" y="192"/>
                  </a:lnTo>
                  <a:lnTo>
                    <a:pt x="48" y="198"/>
                  </a:lnTo>
                  <a:lnTo>
                    <a:pt x="48" y="210"/>
                  </a:lnTo>
                  <a:lnTo>
                    <a:pt x="42" y="222"/>
                  </a:lnTo>
                  <a:lnTo>
                    <a:pt x="42" y="234"/>
                  </a:lnTo>
                  <a:lnTo>
                    <a:pt x="18" y="234"/>
                  </a:lnTo>
                  <a:lnTo>
                    <a:pt x="12" y="240"/>
                  </a:lnTo>
                  <a:lnTo>
                    <a:pt x="6" y="240"/>
                  </a:lnTo>
                  <a:lnTo>
                    <a:pt x="6" y="246"/>
                  </a:lnTo>
                  <a:lnTo>
                    <a:pt x="12" y="246"/>
                  </a:lnTo>
                  <a:lnTo>
                    <a:pt x="18" y="252"/>
                  </a:lnTo>
                  <a:lnTo>
                    <a:pt x="6" y="252"/>
                  </a:lnTo>
                  <a:lnTo>
                    <a:pt x="0" y="258"/>
                  </a:lnTo>
                  <a:lnTo>
                    <a:pt x="0" y="270"/>
                  </a:lnTo>
                  <a:lnTo>
                    <a:pt x="42" y="270"/>
                  </a:lnTo>
                  <a:lnTo>
                    <a:pt x="24" y="288"/>
                  </a:lnTo>
                  <a:lnTo>
                    <a:pt x="30" y="282"/>
                  </a:lnTo>
                  <a:lnTo>
                    <a:pt x="48" y="282"/>
                  </a:lnTo>
                  <a:lnTo>
                    <a:pt x="48" y="288"/>
                  </a:lnTo>
                  <a:lnTo>
                    <a:pt x="42" y="288"/>
                  </a:lnTo>
                  <a:lnTo>
                    <a:pt x="36" y="294"/>
                  </a:lnTo>
                  <a:lnTo>
                    <a:pt x="30" y="294"/>
                  </a:lnTo>
                  <a:lnTo>
                    <a:pt x="36" y="300"/>
                  </a:lnTo>
                  <a:lnTo>
                    <a:pt x="60" y="300"/>
                  </a:lnTo>
                  <a:lnTo>
                    <a:pt x="96" y="288"/>
                  </a:lnTo>
                  <a:lnTo>
                    <a:pt x="108" y="282"/>
                  </a:lnTo>
                  <a:lnTo>
                    <a:pt x="120" y="270"/>
                  </a:lnTo>
                  <a:lnTo>
                    <a:pt x="120" y="264"/>
                  </a:lnTo>
                  <a:lnTo>
                    <a:pt x="132" y="270"/>
                  </a:lnTo>
                  <a:lnTo>
                    <a:pt x="138" y="270"/>
                  </a:lnTo>
                  <a:lnTo>
                    <a:pt x="150" y="264"/>
                  </a:lnTo>
                  <a:lnTo>
                    <a:pt x="162" y="252"/>
                  </a:lnTo>
                  <a:lnTo>
                    <a:pt x="180" y="246"/>
                  </a:lnTo>
                  <a:lnTo>
                    <a:pt x="204" y="246"/>
                  </a:lnTo>
                  <a:lnTo>
                    <a:pt x="210" y="240"/>
                  </a:lnTo>
                  <a:lnTo>
                    <a:pt x="252" y="240"/>
                  </a:lnTo>
                  <a:lnTo>
                    <a:pt x="246" y="222"/>
                  </a:lnTo>
                  <a:lnTo>
                    <a:pt x="264" y="222"/>
                  </a:lnTo>
                  <a:lnTo>
                    <a:pt x="264" y="198"/>
                  </a:lnTo>
                  <a:lnTo>
                    <a:pt x="270" y="192"/>
                  </a:lnTo>
                  <a:lnTo>
                    <a:pt x="270" y="180"/>
                  </a:lnTo>
                  <a:lnTo>
                    <a:pt x="276" y="168"/>
                  </a:lnTo>
                  <a:lnTo>
                    <a:pt x="276" y="156"/>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72" name="Iraq" descr="© INSCALE GmbH, 05.05.2010&#10;http://www.presentationload.com/">
              <a:extLst>
                <a:ext uri="{FF2B5EF4-FFF2-40B4-BE49-F238E27FC236}">
                  <a16:creationId xmlns:a16="http://schemas.microsoft.com/office/drawing/2014/main" id="{CB6DDE4C-DB29-F316-26D0-6B9539C8B7BD}"/>
                </a:ext>
              </a:extLst>
            </p:cNvPr>
            <p:cNvSpPr>
              <a:spLocks/>
            </p:cNvSpPr>
            <p:nvPr/>
          </p:nvSpPr>
          <p:spPr bwMode="gray">
            <a:xfrm>
              <a:off x="5241923" y="2078530"/>
              <a:ext cx="259416" cy="250522"/>
            </a:xfrm>
            <a:custGeom>
              <a:avLst/>
              <a:gdLst>
                <a:gd name="T0" fmla="*/ 2147483647 w 684"/>
                <a:gd name="T1" fmla="*/ 2147483647 h 660"/>
                <a:gd name="T2" fmla="*/ 2147483647 w 684"/>
                <a:gd name="T3" fmla="*/ 2147483647 h 660"/>
                <a:gd name="T4" fmla="*/ 2147483647 w 684"/>
                <a:gd name="T5" fmla="*/ 2147483647 h 660"/>
                <a:gd name="T6" fmla="*/ 2147483647 w 684"/>
                <a:gd name="T7" fmla="*/ 2147483647 h 660"/>
                <a:gd name="T8" fmla="*/ 2147483647 w 684"/>
                <a:gd name="T9" fmla="*/ 2147483647 h 660"/>
                <a:gd name="T10" fmla="*/ 2147483647 w 684"/>
                <a:gd name="T11" fmla="*/ 2147483647 h 660"/>
                <a:gd name="T12" fmla="*/ 2147483647 w 684"/>
                <a:gd name="T13" fmla="*/ 2147483647 h 660"/>
                <a:gd name="T14" fmla="*/ 2147483647 w 684"/>
                <a:gd name="T15" fmla="*/ 2147483647 h 660"/>
                <a:gd name="T16" fmla="*/ 2147483647 w 684"/>
                <a:gd name="T17" fmla="*/ 2147483647 h 660"/>
                <a:gd name="T18" fmla="*/ 2147483647 w 684"/>
                <a:gd name="T19" fmla="*/ 2147483647 h 660"/>
                <a:gd name="T20" fmla="*/ 2147483647 w 684"/>
                <a:gd name="T21" fmla="*/ 2147483647 h 660"/>
                <a:gd name="T22" fmla="*/ 2147483647 w 684"/>
                <a:gd name="T23" fmla="*/ 2147483647 h 660"/>
                <a:gd name="T24" fmla="*/ 2147483647 w 684"/>
                <a:gd name="T25" fmla="*/ 2147483647 h 660"/>
                <a:gd name="T26" fmla="*/ 2147483647 w 684"/>
                <a:gd name="T27" fmla="*/ 2147483647 h 660"/>
                <a:gd name="T28" fmla="*/ 2147483647 w 684"/>
                <a:gd name="T29" fmla="*/ 2147483647 h 660"/>
                <a:gd name="T30" fmla="*/ 2147483647 w 684"/>
                <a:gd name="T31" fmla="*/ 2147483647 h 660"/>
                <a:gd name="T32" fmla="*/ 2147483647 w 684"/>
                <a:gd name="T33" fmla="*/ 2147483647 h 660"/>
                <a:gd name="T34" fmla="*/ 2147483647 w 684"/>
                <a:gd name="T35" fmla="*/ 2147483647 h 660"/>
                <a:gd name="T36" fmla="*/ 2147483647 w 684"/>
                <a:gd name="T37" fmla="*/ 2147483647 h 660"/>
                <a:gd name="T38" fmla="*/ 2147483647 w 684"/>
                <a:gd name="T39" fmla="*/ 2147483647 h 660"/>
                <a:gd name="T40" fmla="*/ 2147483647 w 684"/>
                <a:gd name="T41" fmla="*/ 2147483647 h 660"/>
                <a:gd name="T42" fmla="*/ 2147483647 w 684"/>
                <a:gd name="T43" fmla="*/ 2147483647 h 660"/>
                <a:gd name="T44" fmla="*/ 2147483647 w 684"/>
                <a:gd name="T45" fmla="*/ 2147483647 h 660"/>
                <a:gd name="T46" fmla="*/ 2147483647 w 684"/>
                <a:gd name="T47" fmla="*/ 2147483647 h 660"/>
                <a:gd name="T48" fmla="*/ 2147483647 w 684"/>
                <a:gd name="T49" fmla="*/ 2147483647 h 660"/>
                <a:gd name="T50" fmla="*/ 2147483647 w 684"/>
                <a:gd name="T51" fmla="*/ 2147483647 h 660"/>
                <a:gd name="T52" fmla="*/ 2147483647 w 684"/>
                <a:gd name="T53" fmla="*/ 0 h 660"/>
                <a:gd name="T54" fmla="*/ 2147483647 w 684"/>
                <a:gd name="T55" fmla="*/ 2147483647 h 660"/>
                <a:gd name="T56" fmla="*/ 2147483647 w 684"/>
                <a:gd name="T57" fmla="*/ 2147483647 h 660"/>
                <a:gd name="T58" fmla="*/ 2147483647 w 684"/>
                <a:gd name="T59" fmla="*/ 0 h 660"/>
                <a:gd name="T60" fmla="*/ 2147483647 w 684"/>
                <a:gd name="T61" fmla="*/ 2147483647 h 660"/>
                <a:gd name="T62" fmla="*/ 2147483647 w 684"/>
                <a:gd name="T63" fmla="*/ 2147483647 h 660"/>
                <a:gd name="T64" fmla="*/ 2147483647 w 684"/>
                <a:gd name="T65" fmla="*/ 2147483647 h 660"/>
                <a:gd name="T66" fmla="*/ 2147483647 w 684"/>
                <a:gd name="T67" fmla="*/ 2147483647 h 660"/>
                <a:gd name="T68" fmla="*/ 2147483647 w 684"/>
                <a:gd name="T69" fmla="*/ 2147483647 h 660"/>
                <a:gd name="T70" fmla="*/ 2147483647 w 684"/>
                <a:gd name="T71" fmla="*/ 2147483647 h 660"/>
                <a:gd name="T72" fmla="*/ 2147483647 w 684"/>
                <a:gd name="T73" fmla="*/ 2147483647 h 660"/>
                <a:gd name="T74" fmla="*/ 2147483647 w 684"/>
                <a:gd name="T75" fmla="*/ 2147483647 h 660"/>
                <a:gd name="T76" fmla="*/ 2147483647 w 684"/>
                <a:gd name="T77" fmla="*/ 2147483647 h 660"/>
                <a:gd name="T78" fmla="*/ 2147483647 w 684"/>
                <a:gd name="T79" fmla="*/ 2147483647 h 660"/>
                <a:gd name="T80" fmla="*/ 2147483647 w 684"/>
                <a:gd name="T81" fmla="*/ 2147483647 h 660"/>
                <a:gd name="T82" fmla="*/ 2147483647 w 684"/>
                <a:gd name="T83" fmla="*/ 2147483647 h 660"/>
                <a:gd name="T84" fmla="*/ 2147483647 w 684"/>
                <a:gd name="T85" fmla="*/ 2147483647 h 660"/>
                <a:gd name="T86" fmla="*/ 0 w 684"/>
                <a:gd name="T87" fmla="*/ 2147483647 h 660"/>
                <a:gd name="T88" fmla="*/ 2147483647 w 684"/>
                <a:gd name="T89" fmla="*/ 2147483647 h 660"/>
                <a:gd name="T90" fmla="*/ 2147483647 w 684"/>
                <a:gd name="T91" fmla="*/ 2147483647 h 660"/>
                <a:gd name="T92" fmla="*/ 2147483647 w 684"/>
                <a:gd name="T93" fmla="*/ 2147483647 h 660"/>
                <a:gd name="T94" fmla="*/ 2147483647 w 684"/>
                <a:gd name="T95" fmla="*/ 2147483647 h 660"/>
                <a:gd name="T96" fmla="*/ 2147483647 w 684"/>
                <a:gd name="T97" fmla="*/ 2147483647 h 660"/>
                <a:gd name="T98" fmla="*/ 2147483647 w 684"/>
                <a:gd name="T99" fmla="*/ 2147483647 h 660"/>
                <a:gd name="T100" fmla="*/ 2147483647 w 684"/>
                <a:gd name="T101" fmla="*/ 2147483647 h 660"/>
                <a:gd name="T102" fmla="*/ 2147483647 w 684"/>
                <a:gd name="T103" fmla="*/ 2147483647 h 660"/>
                <a:gd name="T104" fmla="*/ 2147483647 w 684"/>
                <a:gd name="T105" fmla="*/ 2147483647 h 660"/>
                <a:gd name="T106" fmla="*/ 2147483647 w 684"/>
                <a:gd name="T107" fmla="*/ 2147483647 h 660"/>
                <a:gd name="T108" fmla="*/ 2147483647 w 684"/>
                <a:gd name="T109" fmla="*/ 2147483647 h 660"/>
                <a:gd name="T110" fmla="*/ 2147483647 w 684"/>
                <a:gd name="T111" fmla="*/ 2147483647 h 660"/>
                <a:gd name="T112" fmla="*/ 2147483647 w 684"/>
                <a:gd name="T113" fmla="*/ 2147483647 h 660"/>
                <a:gd name="T114" fmla="*/ 2147483647 w 684"/>
                <a:gd name="T115" fmla="*/ 2147483647 h 6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84"/>
                <a:gd name="T175" fmla="*/ 0 h 660"/>
                <a:gd name="T176" fmla="*/ 684 w 684"/>
                <a:gd name="T177" fmla="*/ 660 h 6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84" h="660">
                  <a:moveTo>
                    <a:pt x="678" y="564"/>
                  </a:moveTo>
                  <a:lnTo>
                    <a:pt x="666" y="552"/>
                  </a:lnTo>
                  <a:lnTo>
                    <a:pt x="654" y="546"/>
                  </a:lnTo>
                  <a:lnTo>
                    <a:pt x="648" y="516"/>
                  </a:lnTo>
                  <a:lnTo>
                    <a:pt x="642" y="516"/>
                  </a:lnTo>
                  <a:lnTo>
                    <a:pt x="636" y="510"/>
                  </a:lnTo>
                  <a:lnTo>
                    <a:pt x="624" y="504"/>
                  </a:lnTo>
                  <a:lnTo>
                    <a:pt x="618" y="498"/>
                  </a:lnTo>
                  <a:lnTo>
                    <a:pt x="618" y="462"/>
                  </a:lnTo>
                  <a:lnTo>
                    <a:pt x="624" y="450"/>
                  </a:lnTo>
                  <a:lnTo>
                    <a:pt x="624" y="438"/>
                  </a:lnTo>
                  <a:lnTo>
                    <a:pt x="594" y="402"/>
                  </a:lnTo>
                  <a:lnTo>
                    <a:pt x="588" y="390"/>
                  </a:lnTo>
                  <a:lnTo>
                    <a:pt x="582" y="384"/>
                  </a:lnTo>
                  <a:lnTo>
                    <a:pt x="564" y="384"/>
                  </a:lnTo>
                  <a:lnTo>
                    <a:pt x="546" y="366"/>
                  </a:lnTo>
                  <a:lnTo>
                    <a:pt x="534" y="360"/>
                  </a:lnTo>
                  <a:lnTo>
                    <a:pt x="528" y="354"/>
                  </a:lnTo>
                  <a:lnTo>
                    <a:pt x="504" y="354"/>
                  </a:lnTo>
                  <a:lnTo>
                    <a:pt x="504" y="312"/>
                  </a:lnTo>
                  <a:lnTo>
                    <a:pt x="498" y="312"/>
                  </a:lnTo>
                  <a:lnTo>
                    <a:pt x="492" y="306"/>
                  </a:lnTo>
                  <a:lnTo>
                    <a:pt x="468" y="294"/>
                  </a:lnTo>
                  <a:lnTo>
                    <a:pt x="456" y="282"/>
                  </a:lnTo>
                  <a:lnTo>
                    <a:pt x="444" y="276"/>
                  </a:lnTo>
                  <a:lnTo>
                    <a:pt x="438" y="270"/>
                  </a:lnTo>
                  <a:lnTo>
                    <a:pt x="438" y="264"/>
                  </a:lnTo>
                  <a:lnTo>
                    <a:pt x="444" y="252"/>
                  </a:lnTo>
                  <a:lnTo>
                    <a:pt x="450" y="246"/>
                  </a:lnTo>
                  <a:lnTo>
                    <a:pt x="438" y="234"/>
                  </a:lnTo>
                  <a:lnTo>
                    <a:pt x="438" y="228"/>
                  </a:lnTo>
                  <a:lnTo>
                    <a:pt x="450" y="216"/>
                  </a:lnTo>
                  <a:lnTo>
                    <a:pt x="462" y="216"/>
                  </a:lnTo>
                  <a:lnTo>
                    <a:pt x="462" y="186"/>
                  </a:lnTo>
                  <a:lnTo>
                    <a:pt x="468" y="186"/>
                  </a:lnTo>
                  <a:lnTo>
                    <a:pt x="480" y="174"/>
                  </a:lnTo>
                  <a:lnTo>
                    <a:pt x="480" y="168"/>
                  </a:lnTo>
                  <a:lnTo>
                    <a:pt x="474" y="156"/>
                  </a:lnTo>
                  <a:lnTo>
                    <a:pt x="462" y="144"/>
                  </a:lnTo>
                  <a:lnTo>
                    <a:pt x="462" y="138"/>
                  </a:lnTo>
                  <a:lnTo>
                    <a:pt x="480" y="120"/>
                  </a:lnTo>
                  <a:lnTo>
                    <a:pt x="480" y="114"/>
                  </a:lnTo>
                  <a:lnTo>
                    <a:pt x="468" y="114"/>
                  </a:lnTo>
                  <a:lnTo>
                    <a:pt x="456" y="120"/>
                  </a:lnTo>
                  <a:lnTo>
                    <a:pt x="450" y="126"/>
                  </a:lnTo>
                  <a:lnTo>
                    <a:pt x="438" y="108"/>
                  </a:lnTo>
                  <a:lnTo>
                    <a:pt x="414" y="102"/>
                  </a:lnTo>
                  <a:lnTo>
                    <a:pt x="414" y="84"/>
                  </a:lnTo>
                  <a:lnTo>
                    <a:pt x="402" y="72"/>
                  </a:lnTo>
                  <a:lnTo>
                    <a:pt x="378" y="24"/>
                  </a:lnTo>
                  <a:lnTo>
                    <a:pt x="378" y="12"/>
                  </a:lnTo>
                  <a:lnTo>
                    <a:pt x="336" y="24"/>
                  </a:lnTo>
                  <a:lnTo>
                    <a:pt x="336" y="6"/>
                  </a:lnTo>
                  <a:lnTo>
                    <a:pt x="330" y="0"/>
                  </a:lnTo>
                  <a:lnTo>
                    <a:pt x="306" y="0"/>
                  </a:lnTo>
                  <a:lnTo>
                    <a:pt x="306" y="6"/>
                  </a:lnTo>
                  <a:lnTo>
                    <a:pt x="300" y="12"/>
                  </a:lnTo>
                  <a:lnTo>
                    <a:pt x="288" y="12"/>
                  </a:lnTo>
                  <a:lnTo>
                    <a:pt x="276" y="0"/>
                  </a:lnTo>
                  <a:lnTo>
                    <a:pt x="234" y="0"/>
                  </a:lnTo>
                  <a:lnTo>
                    <a:pt x="234" y="12"/>
                  </a:lnTo>
                  <a:lnTo>
                    <a:pt x="228" y="18"/>
                  </a:lnTo>
                  <a:lnTo>
                    <a:pt x="216" y="24"/>
                  </a:lnTo>
                  <a:lnTo>
                    <a:pt x="204" y="36"/>
                  </a:lnTo>
                  <a:lnTo>
                    <a:pt x="198" y="48"/>
                  </a:lnTo>
                  <a:lnTo>
                    <a:pt x="192" y="54"/>
                  </a:lnTo>
                  <a:lnTo>
                    <a:pt x="180" y="54"/>
                  </a:lnTo>
                  <a:lnTo>
                    <a:pt x="168" y="60"/>
                  </a:lnTo>
                  <a:lnTo>
                    <a:pt x="156" y="60"/>
                  </a:lnTo>
                  <a:lnTo>
                    <a:pt x="150" y="66"/>
                  </a:lnTo>
                  <a:lnTo>
                    <a:pt x="144" y="78"/>
                  </a:lnTo>
                  <a:lnTo>
                    <a:pt x="144" y="90"/>
                  </a:lnTo>
                  <a:lnTo>
                    <a:pt x="150" y="102"/>
                  </a:lnTo>
                  <a:lnTo>
                    <a:pt x="156" y="108"/>
                  </a:lnTo>
                  <a:lnTo>
                    <a:pt x="156" y="120"/>
                  </a:lnTo>
                  <a:lnTo>
                    <a:pt x="162" y="132"/>
                  </a:lnTo>
                  <a:lnTo>
                    <a:pt x="162" y="162"/>
                  </a:lnTo>
                  <a:lnTo>
                    <a:pt x="156" y="174"/>
                  </a:lnTo>
                  <a:lnTo>
                    <a:pt x="150" y="192"/>
                  </a:lnTo>
                  <a:lnTo>
                    <a:pt x="150" y="198"/>
                  </a:lnTo>
                  <a:lnTo>
                    <a:pt x="168" y="216"/>
                  </a:lnTo>
                  <a:lnTo>
                    <a:pt x="168" y="222"/>
                  </a:lnTo>
                  <a:lnTo>
                    <a:pt x="162" y="228"/>
                  </a:lnTo>
                  <a:lnTo>
                    <a:pt x="138" y="240"/>
                  </a:lnTo>
                  <a:lnTo>
                    <a:pt x="78" y="264"/>
                  </a:lnTo>
                  <a:lnTo>
                    <a:pt x="66" y="270"/>
                  </a:lnTo>
                  <a:lnTo>
                    <a:pt x="6" y="318"/>
                  </a:lnTo>
                  <a:lnTo>
                    <a:pt x="0" y="318"/>
                  </a:lnTo>
                  <a:lnTo>
                    <a:pt x="0" y="324"/>
                  </a:lnTo>
                  <a:lnTo>
                    <a:pt x="24" y="366"/>
                  </a:lnTo>
                  <a:lnTo>
                    <a:pt x="24" y="384"/>
                  </a:lnTo>
                  <a:lnTo>
                    <a:pt x="48" y="402"/>
                  </a:lnTo>
                  <a:lnTo>
                    <a:pt x="48" y="414"/>
                  </a:lnTo>
                  <a:lnTo>
                    <a:pt x="60" y="426"/>
                  </a:lnTo>
                  <a:lnTo>
                    <a:pt x="126" y="426"/>
                  </a:lnTo>
                  <a:lnTo>
                    <a:pt x="156" y="456"/>
                  </a:lnTo>
                  <a:lnTo>
                    <a:pt x="168" y="462"/>
                  </a:lnTo>
                  <a:lnTo>
                    <a:pt x="180" y="474"/>
                  </a:lnTo>
                  <a:lnTo>
                    <a:pt x="228" y="498"/>
                  </a:lnTo>
                  <a:lnTo>
                    <a:pt x="234" y="504"/>
                  </a:lnTo>
                  <a:lnTo>
                    <a:pt x="246" y="510"/>
                  </a:lnTo>
                  <a:lnTo>
                    <a:pt x="438" y="654"/>
                  </a:lnTo>
                  <a:lnTo>
                    <a:pt x="522" y="654"/>
                  </a:lnTo>
                  <a:lnTo>
                    <a:pt x="570" y="660"/>
                  </a:lnTo>
                  <a:lnTo>
                    <a:pt x="564" y="660"/>
                  </a:lnTo>
                  <a:lnTo>
                    <a:pt x="570" y="654"/>
                  </a:lnTo>
                  <a:lnTo>
                    <a:pt x="588" y="618"/>
                  </a:lnTo>
                  <a:lnTo>
                    <a:pt x="588" y="606"/>
                  </a:lnTo>
                  <a:lnTo>
                    <a:pt x="594" y="600"/>
                  </a:lnTo>
                  <a:lnTo>
                    <a:pt x="600" y="588"/>
                  </a:lnTo>
                  <a:lnTo>
                    <a:pt x="648" y="588"/>
                  </a:lnTo>
                  <a:lnTo>
                    <a:pt x="654" y="594"/>
                  </a:lnTo>
                  <a:lnTo>
                    <a:pt x="678" y="582"/>
                  </a:lnTo>
                  <a:lnTo>
                    <a:pt x="684" y="576"/>
                  </a:lnTo>
                  <a:lnTo>
                    <a:pt x="678" y="570"/>
                  </a:lnTo>
                  <a:lnTo>
                    <a:pt x="678" y="564"/>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73" name="Iran" descr="© INSCALE GmbH, 05.05.2010&#10;http://www.presentationload.com/">
              <a:extLst>
                <a:ext uri="{FF2B5EF4-FFF2-40B4-BE49-F238E27FC236}">
                  <a16:creationId xmlns:a16="http://schemas.microsoft.com/office/drawing/2014/main" id="{A8A482FC-BA2C-5B65-9176-696DAA5E659F}"/>
                </a:ext>
              </a:extLst>
            </p:cNvPr>
            <p:cNvSpPr>
              <a:spLocks/>
            </p:cNvSpPr>
            <p:nvPr/>
          </p:nvSpPr>
          <p:spPr bwMode="gray">
            <a:xfrm>
              <a:off x="5353100" y="2002928"/>
              <a:ext cx="545513" cy="447678"/>
            </a:xfrm>
            <a:custGeom>
              <a:avLst/>
              <a:gdLst>
                <a:gd name="T0" fmla="*/ 2147483647 w 1440"/>
                <a:gd name="T1" fmla="*/ 2147483647 h 1182"/>
                <a:gd name="T2" fmla="*/ 2147483647 w 1440"/>
                <a:gd name="T3" fmla="*/ 2147483647 h 1182"/>
                <a:gd name="T4" fmla="*/ 2147483647 w 1440"/>
                <a:gd name="T5" fmla="*/ 2147483647 h 1182"/>
                <a:gd name="T6" fmla="*/ 2147483647 w 1440"/>
                <a:gd name="T7" fmla="*/ 2147483647 h 1182"/>
                <a:gd name="T8" fmla="*/ 2147483647 w 1440"/>
                <a:gd name="T9" fmla="*/ 2147483647 h 1182"/>
                <a:gd name="T10" fmla="*/ 2147483647 w 1440"/>
                <a:gd name="T11" fmla="*/ 2147483647 h 1182"/>
                <a:gd name="T12" fmla="*/ 2147483647 w 1440"/>
                <a:gd name="T13" fmla="*/ 2147483647 h 1182"/>
                <a:gd name="T14" fmla="*/ 2147483647 w 1440"/>
                <a:gd name="T15" fmla="*/ 2147483647 h 1182"/>
                <a:gd name="T16" fmla="*/ 2147483647 w 1440"/>
                <a:gd name="T17" fmla="*/ 2147483647 h 1182"/>
                <a:gd name="T18" fmla="*/ 2147483647 w 1440"/>
                <a:gd name="T19" fmla="*/ 2147483647 h 1182"/>
                <a:gd name="T20" fmla="*/ 2147483647 w 1440"/>
                <a:gd name="T21" fmla="*/ 2147483647 h 1182"/>
                <a:gd name="T22" fmla="*/ 2147483647 w 1440"/>
                <a:gd name="T23" fmla="*/ 2147483647 h 1182"/>
                <a:gd name="T24" fmla="*/ 2147483647 w 1440"/>
                <a:gd name="T25" fmla="*/ 2147483647 h 1182"/>
                <a:gd name="T26" fmla="*/ 2147483647 w 1440"/>
                <a:gd name="T27" fmla="*/ 2147483647 h 1182"/>
                <a:gd name="T28" fmla="*/ 2147483647 w 1440"/>
                <a:gd name="T29" fmla="*/ 2147483647 h 1182"/>
                <a:gd name="T30" fmla="*/ 2147483647 w 1440"/>
                <a:gd name="T31" fmla="*/ 2147483647 h 1182"/>
                <a:gd name="T32" fmla="*/ 2147483647 w 1440"/>
                <a:gd name="T33" fmla="*/ 2147483647 h 1182"/>
                <a:gd name="T34" fmla="*/ 2147483647 w 1440"/>
                <a:gd name="T35" fmla="*/ 2147483647 h 1182"/>
                <a:gd name="T36" fmla="*/ 2147483647 w 1440"/>
                <a:gd name="T37" fmla="*/ 2147483647 h 1182"/>
                <a:gd name="T38" fmla="*/ 2147483647 w 1440"/>
                <a:gd name="T39" fmla="*/ 2147483647 h 1182"/>
                <a:gd name="T40" fmla="*/ 2147483647 w 1440"/>
                <a:gd name="T41" fmla="*/ 2147483647 h 1182"/>
                <a:gd name="T42" fmla="*/ 2147483647 w 1440"/>
                <a:gd name="T43" fmla="*/ 2147483647 h 1182"/>
                <a:gd name="T44" fmla="*/ 2147483647 w 1440"/>
                <a:gd name="T45" fmla="*/ 2147483647 h 1182"/>
                <a:gd name="T46" fmla="*/ 2147483647 w 1440"/>
                <a:gd name="T47" fmla="*/ 2147483647 h 1182"/>
                <a:gd name="T48" fmla="*/ 2147483647 w 1440"/>
                <a:gd name="T49" fmla="*/ 2147483647 h 1182"/>
                <a:gd name="T50" fmla="*/ 2147483647 w 1440"/>
                <a:gd name="T51" fmla="*/ 2147483647 h 1182"/>
                <a:gd name="T52" fmla="*/ 2147483647 w 1440"/>
                <a:gd name="T53" fmla="*/ 2147483647 h 1182"/>
                <a:gd name="T54" fmla="*/ 2147483647 w 1440"/>
                <a:gd name="T55" fmla="*/ 2147483647 h 1182"/>
                <a:gd name="T56" fmla="*/ 2147483647 w 1440"/>
                <a:gd name="T57" fmla="*/ 2147483647 h 1182"/>
                <a:gd name="T58" fmla="*/ 2147483647 w 1440"/>
                <a:gd name="T59" fmla="*/ 2147483647 h 1182"/>
                <a:gd name="T60" fmla="*/ 2147483647 w 1440"/>
                <a:gd name="T61" fmla="*/ 0 h 1182"/>
                <a:gd name="T62" fmla="*/ 2147483647 w 1440"/>
                <a:gd name="T63" fmla="*/ 2147483647 h 1182"/>
                <a:gd name="T64" fmla="*/ 2147483647 w 1440"/>
                <a:gd name="T65" fmla="*/ 2147483647 h 1182"/>
                <a:gd name="T66" fmla="*/ 2147483647 w 1440"/>
                <a:gd name="T67" fmla="*/ 2147483647 h 1182"/>
                <a:gd name="T68" fmla="*/ 2147483647 w 1440"/>
                <a:gd name="T69" fmla="*/ 2147483647 h 1182"/>
                <a:gd name="T70" fmla="*/ 2147483647 w 1440"/>
                <a:gd name="T71" fmla="*/ 2147483647 h 1182"/>
                <a:gd name="T72" fmla="*/ 2147483647 w 1440"/>
                <a:gd name="T73" fmla="*/ 2147483647 h 1182"/>
                <a:gd name="T74" fmla="*/ 2147483647 w 1440"/>
                <a:gd name="T75" fmla="*/ 2147483647 h 1182"/>
                <a:gd name="T76" fmla="*/ 2147483647 w 1440"/>
                <a:gd name="T77" fmla="*/ 2147483647 h 1182"/>
                <a:gd name="T78" fmla="*/ 2147483647 w 1440"/>
                <a:gd name="T79" fmla="*/ 2147483647 h 1182"/>
                <a:gd name="T80" fmla="*/ 2147483647 w 1440"/>
                <a:gd name="T81" fmla="*/ 2147483647 h 1182"/>
                <a:gd name="T82" fmla="*/ 2147483647 w 1440"/>
                <a:gd name="T83" fmla="*/ 2147483647 h 1182"/>
                <a:gd name="T84" fmla="*/ 2147483647 w 1440"/>
                <a:gd name="T85" fmla="*/ 2147483647 h 1182"/>
                <a:gd name="T86" fmla="*/ 2147483647 w 1440"/>
                <a:gd name="T87" fmla="*/ 2147483647 h 1182"/>
                <a:gd name="T88" fmla="*/ 2147483647 w 1440"/>
                <a:gd name="T89" fmla="*/ 2147483647 h 1182"/>
                <a:gd name="T90" fmla="*/ 2147483647 w 1440"/>
                <a:gd name="T91" fmla="*/ 2147483647 h 1182"/>
                <a:gd name="T92" fmla="*/ 2147483647 w 1440"/>
                <a:gd name="T93" fmla="*/ 2147483647 h 1182"/>
                <a:gd name="T94" fmla="*/ 2147483647 w 1440"/>
                <a:gd name="T95" fmla="*/ 2147483647 h 1182"/>
                <a:gd name="T96" fmla="*/ 2147483647 w 1440"/>
                <a:gd name="T97" fmla="*/ 2147483647 h 1182"/>
                <a:gd name="T98" fmla="*/ 2147483647 w 1440"/>
                <a:gd name="T99" fmla="*/ 2147483647 h 1182"/>
                <a:gd name="T100" fmla="*/ 2147483647 w 1440"/>
                <a:gd name="T101" fmla="*/ 2147483647 h 1182"/>
                <a:gd name="T102" fmla="*/ 2147483647 w 1440"/>
                <a:gd name="T103" fmla="*/ 2147483647 h 1182"/>
                <a:gd name="T104" fmla="*/ 2147483647 w 1440"/>
                <a:gd name="T105" fmla="*/ 2147483647 h 1182"/>
                <a:gd name="T106" fmla="*/ 2147483647 w 1440"/>
                <a:gd name="T107" fmla="*/ 2147483647 h 1182"/>
                <a:gd name="T108" fmla="*/ 2147483647 w 1440"/>
                <a:gd name="T109" fmla="*/ 2147483647 h 1182"/>
                <a:gd name="T110" fmla="*/ 2147483647 w 1440"/>
                <a:gd name="T111" fmla="*/ 2147483647 h 118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440"/>
                <a:gd name="T169" fmla="*/ 0 h 1182"/>
                <a:gd name="T170" fmla="*/ 1440 w 1440"/>
                <a:gd name="T171" fmla="*/ 1182 h 118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440" h="1182">
                  <a:moveTo>
                    <a:pt x="1338" y="1176"/>
                  </a:moveTo>
                  <a:lnTo>
                    <a:pt x="1338" y="1170"/>
                  </a:lnTo>
                  <a:lnTo>
                    <a:pt x="1332" y="1158"/>
                  </a:lnTo>
                  <a:lnTo>
                    <a:pt x="1332" y="1128"/>
                  </a:lnTo>
                  <a:lnTo>
                    <a:pt x="1344" y="1116"/>
                  </a:lnTo>
                  <a:lnTo>
                    <a:pt x="1344" y="1110"/>
                  </a:lnTo>
                  <a:lnTo>
                    <a:pt x="1350" y="1104"/>
                  </a:lnTo>
                  <a:lnTo>
                    <a:pt x="1356" y="1086"/>
                  </a:lnTo>
                  <a:lnTo>
                    <a:pt x="1368" y="1086"/>
                  </a:lnTo>
                  <a:lnTo>
                    <a:pt x="1374" y="1080"/>
                  </a:lnTo>
                  <a:lnTo>
                    <a:pt x="1374" y="1074"/>
                  </a:lnTo>
                  <a:lnTo>
                    <a:pt x="1380" y="1074"/>
                  </a:lnTo>
                  <a:lnTo>
                    <a:pt x="1380" y="1068"/>
                  </a:lnTo>
                  <a:lnTo>
                    <a:pt x="1386" y="1062"/>
                  </a:lnTo>
                  <a:lnTo>
                    <a:pt x="1398" y="1056"/>
                  </a:lnTo>
                  <a:lnTo>
                    <a:pt x="1428" y="1056"/>
                  </a:lnTo>
                  <a:lnTo>
                    <a:pt x="1428" y="1062"/>
                  </a:lnTo>
                  <a:lnTo>
                    <a:pt x="1434" y="1062"/>
                  </a:lnTo>
                  <a:lnTo>
                    <a:pt x="1440" y="1056"/>
                  </a:lnTo>
                  <a:lnTo>
                    <a:pt x="1440" y="1044"/>
                  </a:lnTo>
                  <a:lnTo>
                    <a:pt x="1434" y="1026"/>
                  </a:lnTo>
                  <a:lnTo>
                    <a:pt x="1428" y="1014"/>
                  </a:lnTo>
                  <a:lnTo>
                    <a:pt x="1422" y="1008"/>
                  </a:lnTo>
                  <a:lnTo>
                    <a:pt x="1404" y="1008"/>
                  </a:lnTo>
                  <a:lnTo>
                    <a:pt x="1404" y="996"/>
                  </a:lnTo>
                  <a:lnTo>
                    <a:pt x="1398" y="984"/>
                  </a:lnTo>
                  <a:lnTo>
                    <a:pt x="1398" y="960"/>
                  </a:lnTo>
                  <a:lnTo>
                    <a:pt x="1392" y="960"/>
                  </a:lnTo>
                  <a:lnTo>
                    <a:pt x="1398" y="930"/>
                  </a:lnTo>
                  <a:lnTo>
                    <a:pt x="1374" y="930"/>
                  </a:lnTo>
                  <a:lnTo>
                    <a:pt x="1362" y="912"/>
                  </a:lnTo>
                  <a:lnTo>
                    <a:pt x="1350" y="918"/>
                  </a:lnTo>
                  <a:lnTo>
                    <a:pt x="1332" y="918"/>
                  </a:lnTo>
                  <a:lnTo>
                    <a:pt x="1326" y="912"/>
                  </a:lnTo>
                  <a:lnTo>
                    <a:pt x="1314" y="894"/>
                  </a:lnTo>
                  <a:lnTo>
                    <a:pt x="1308" y="876"/>
                  </a:lnTo>
                  <a:lnTo>
                    <a:pt x="1296" y="864"/>
                  </a:lnTo>
                  <a:lnTo>
                    <a:pt x="1284" y="846"/>
                  </a:lnTo>
                  <a:lnTo>
                    <a:pt x="1278" y="840"/>
                  </a:lnTo>
                  <a:lnTo>
                    <a:pt x="1272" y="828"/>
                  </a:lnTo>
                  <a:lnTo>
                    <a:pt x="1248" y="804"/>
                  </a:lnTo>
                  <a:lnTo>
                    <a:pt x="1242" y="804"/>
                  </a:lnTo>
                  <a:lnTo>
                    <a:pt x="1242" y="792"/>
                  </a:lnTo>
                  <a:lnTo>
                    <a:pt x="1260" y="774"/>
                  </a:lnTo>
                  <a:lnTo>
                    <a:pt x="1266" y="762"/>
                  </a:lnTo>
                  <a:lnTo>
                    <a:pt x="1272" y="756"/>
                  </a:lnTo>
                  <a:lnTo>
                    <a:pt x="1296" y="708"/>
                  </a:lnTo>
                  <a:lnTo>
                    <a:pt x="1284" y="684"/>
                  </a:lnTo>
                  <a:lnTo>
                    <a:pt x="1278" y="678"/>
                  </a:lnTo>
                  <a:lnTo>
                    <a:pt x="1242" y="678"/>
                  </a:lnTo>
                  <a:lnTo>
                    <a:pt x="1230" y="672"/>
                  </a:lnTo>
                  <a:lnTo>
                    <a:pt x="1224" y="672"/>
                  </a:lnTo>
                  <a:lnTo>
                    <a:pt x="1218" y="666"/>
                  </a:lnTo>
                  <a:lnTo>
                    <a:pt x="1218" y="612"/>
                  </a:lnTo>
                  <a:lnTo>
                    <a:pt x="1212" y="606"/>
                  </a:lnTo>
                  <a:lnTo>
                    <a:pt x="1200" y="582"/>
                  </a:lnTo>
                  <a:lnTo>
                    <a:pt x="1188" y="564"/>
                  </a:lnTo>
                  <a:lnTo>
                    <a:pt x="1176" y="540"/>
                  </a:lnTo>
                  <a:lnTo>
                    <a:pt x="1182" y="528"/>
                  </a:lnTo>
                  <a:lnTo>
                    <a:pt x="1200" y="510"/>
                  </a:lnTo>
                  <a:lnTo>
                    <a:pt x="1200" y="504"/>
                  </a:lnTo>
                  <a:lnTo>
                    <a:pt x="1194" y="498"/>
                  </a:lnTo>
                  <a:lnTo>
                    <a:pt x="1170" y="498"/>
                  </a:lnTo>
                  <a:lnTo>
                    <a:pt x="1170" y="468"/>
                  </a:lnTo>
                  <a:lnTo>
                    <a:pt x="1158" y="456"/>
                  </a:lnTo>
                  <a:lnTo>
                    <a:pt x="1158" y="450"/>
                  </a:lnTo>
                  <a:lnTo>
                    <a:pt x="1164" y="444"/>
                  </a:lnTo>
                  <a:lnTo>
                    <a:pt x="1176" y="438"/>
                  </a:lnTo>
                  <a:lnTo>
                    <a:pt x="1182" y="432"/>
                  </a:lnTo>
                  <a:lnTo>
                    <a:pt x="1188" y="432"/>
                  </a:lnTo>
                  <a:lnTo>
                    <a:pt x="1176" y="414"/>
                  </a:lnTo>
                  <a:lnTo>
                    <a:pt x="1200" y="408"/>
                  </a:lnTo>
                  <a:lnTo>
                    <a:pt x="1200" y="402"/>
                  </a:lnTo>
                  <a:lnTo>
                    <a:pt x="1194" y="396"/>
                  </a:lnTo>
                  <a:lnTo>
                    <a:pt x="1194" y="372"/>
                  </a:lnTo>
                  <a:lnTo>
                    <a:pt x="1188" y="360"/>
                  </a:lnTo>
                  <a:lnTo>
                    <a:pt x="1188" y="354"/>
                  </a:lnTo>
                  <a:lnTo>
                    <a:pt x="1194" y="342"/>
                  </a:lnTo>
                  <a:lnTo>
                    <a:pt x="1200" y="336"/>
                  </a:lnTo>
                  <a:lnTo>
                    <a:pt x="1188" y="306"/>
                  </a:lnTo>
                  <a:lnTo>
                    <a:pt x="1194" y="282"/>
                  </a:lnTo>
                  <a:lnTo>
                    <a:pt x="1182" y="282"/>
                  </a:lnTo>
                  <a:lnTo>
                    <a:pt x="1182" y="246"/>
                  </a:lnTo>
                  <a:lnTo>
                    <a:pt x="1116" y="252"/>
                  </a:lnTo>
                  <a:lnTo>
                    <a:pt x="1110" y="246"/>
                  </a:lnTo>
                  <a:lnTo>
                    <a:pt x="1104" y="234"/>
                  </a:lnTo>
                  <a:lnTo>
                    <a:pt x="1092" y="228"/>
                  </a:lnTo>
                  <a:lnTo>
                    <a:pt x="1080" y="216"/>
                  </a:lnTo>
                  <a:lnTo>
                    <a:pt x="1068" y="216"/>
                  </a:lnTo>
                  <a:lnTo>
                    <a:pt x="1062" y="210"/>
                  </a:lnTo>
                  <a:lnTo>
                    <a:pt x="1056" y="210"/>
                  </a:lnTo>
                  <a:lnTo>
                    <a:pt x="1050" y="204"/>
                  </a:lnTo>
                  <a:lnTo>
                    <a:pt x="1044" y="192"/>
                  </a:lnTo>
                  <a:lnTo>
                    <a:pt x="1044" y="186"/>
                  </a:lnTo>
                  <a:lnTo>
                    <a:pt x="1038" y="180"/>
                  </a:lnTo>
                  <a:lnTo>
                    <a:pt x="1032" y="180"/>
                  </a:lnTo>
                  <a:lnTo>
                    <a:pt x="1020" y="174"/>
                  </a:lnTo>
                  <a:lnTo>
                    <a:pt x="1002" y="174"/>
                  </a:lnTo>
                  <a:lnTo>
                    <a:pt x="990" y="168"/>
                  </a:lnTo>
                  <a:lnTo>
                    <a:pt x="972" y="168"/>
                  </a:lnTo>
                  <a:lnTo>
                    <a:pt x="972" y="174"/>
                  </a:lnTo>
                  <a:lnTo>
                    <a:pt x="960" y="168"/>
                  </a:lnTo>
                  <a:lnTo>
                    <a:pt x="954" y="162"/>
                  </a:lnTo>
                  <a:lnTo>
                    <a:pt x="942" y="156"/>
                  </a:lnTo>
                  <a:lnTo>
                    <a:pt x="936" y="150"/>
                  </a:lnTo>
                  <a:lnTo>
                    <a:pt x="906" y="150"/>
                  </a:lnTo>
                  <a:lnTo>
                    <a:pt x="906" y="138"/>
                  </a:lnTo>
                  <a:lnTo>
                    <a:pt x="894" y="126"/>
                  </a:lnTo>
                  <a:lnTo>
                    <a:pt x="834" y="126"/>
                  </a:lnTo>
                  <a:lnTo>
                    <a:pt x="834" y="132"/>
                  </a:lnTo>
                  <a:lnTo>
                    <a:pt x="828" y="138"/>
                  </a:lnTo>
                  <a:lnTo>
                    <a:pt x="816" y="132"/>
                  </a:lnTo>
                  <a:lnTo>
                    <a:pt x="780" y="132"/>
                  </a:lnTo>
                  <a:lnTo>
                    <a:pt x="768" y="138"/>
                  </a:lnTo>
                  <a:lnTo>
                    <a:pt x="750" y="156"/>
                  </a:lnTo>
                  <a:lnTo>
                    <a:pt x="738" y="162"/>
                  </a:lnTo>
                  <a:lnTo>
                    <a:pt x="732" y="168"/>
                  </a:lnTo>
                  <a:lnTo>
                    <a:pt x="732" y="180"/>
                  </a:lnTo>
                  <a:lnTo>
                    <a:pt x="720" y="186"/>
                  </a:lnTo>
                  <a:lnTo>
                    <a:pt x="708" y="198"/>
                  </a:lnTo>
                  <a:lnTo>
                    <a:pt x="678" y="198"/>
                  </a:lnTo>
                  <a:lnTo>
                    <a:pt x="690" y="210"/>
                  </a:lnTo>
                  <a:lnTo>
                    <a:pt x="690" y="222"/>
                  </a:lnTo>
                  <a:lnTo>
                    <a:pt x="696" y="228"/>
                  </a:lnTo>
                  <a:lnTo>
                    <a:pt x="696" y="234"/>
                  </a:lnTo>
                  <a:lnTo>
                    <a:pt x="690" y="240"/>
                  </a:lnTo>
                  <a:lnTo>
                    <a:pt x="678" y="240"/>
                  </a:lnTo>
                  <a:lnTo>
                    <a:pt x="666" y="234"/>
                  </a:lnTo>
                  <a:lnTo>
                    <a:pt x="660" y="228"/>
                  </a:lnTo>
                  <a:lnTo>
                    <a:pt x="654" y="228"/>
                  </a:lnTo>
                  <a:lnTo>
                    <a:pt x="648" y="234"/>
                  </a:lnTo>
                  <a:lnTo>
                    <a:pt x="624" y="234"/>
                  </a:lnTo>
                  <a:lnTo>
                    <a:pt x="612" y="240"/>
                  </a:lnTo>
                  <a:lnTo>
                    <a:pt x="600" y="240"/>
                  </a:lnTo>
                  <a:lnTo>
                    <a:pt x="582" y="246"/>
                  </a:lnTo>
                  <a:lnTo>
                    <a:pt x="558" y="258"/>
                  </a:lnTo>
                  <a:lnTo>
                    <a:pt x="546" y="252"/>
                  </a:lnTo>
                  <a:lnTo>
                    <a:pt x="534" y="252"/>
                  </a:lnTo>
                  <a:lnTo>
                    <a:pt x="522" y="246"/>
                  </a:lnTo>
                  <a:lnTo>
                    <a:pt x="498" y="246"/>
                  </a:lnTo>
                  <a:lnTo>
                    <a:pt x="480" y="240"/>
                  </a:lnTo>
                  <a:lnTo>
                    <a:pt x="468" y="228"/>
                  </a:lnTo>
                  <a:lnTo>
                    <a:pt x="456" y="222"/>
                  </a:lnTo>
                  <a:lnTo>
                    <a:pt x="444" y="210"/>
                  </a:lnTo>
                  <a:lnTo>
                    <a:pt x="438" y="198"/>
                  </a:lnTo>
                  <a:lnTo>
                    <a:pt x="432" y="192"/>
                  </a:lnTo>
                  <a:lnTo>
                    <a:pt x="432" y="186"/>
                  </a:lnTo>
                  <a:lnTo>
                    <a:pt x="378" y="186"/>
                  </a:lnTo>
                  <a:lnTo>
                    <a:pt x="354" y="162"/>
                  </a:lnTo>
                  <a:lnTo>
                    <a:pt x="336" y="126"/>
                  </a:lnTo>
                  <a:lnTo>
                    <a:pt x="330" y="120"/>
                  </a:lnTo>
                  <a:lnTo>
                    <a:pt x="330" y="114"/>
                  </a:lnTo>
                  <a:lnTo>
                    <a:pt x="312" y="114"/>
                  </a:lnTo>
                  <a:lnTo>
                    <a:pt x="312" y="108"/>
                  </a:lnTo>
                  <a:lnTo>
                    <a:pt x="306" y="102"/>
                  </a:lnTo>
                  <a:lnTo>
                    <a:pt x="300" y="102"/>
                  </a:lnTo>
                  <a:lnTo>
                    <a:pt x="294" y="96"/>
                  </a:lnTo>
                  <a:lnTo>
                    <a:pt x="282" y="90"/>
                  </a:lnTo>
                  <a:lnTo>
                    <a:pt x="270" y="78"/>
                  </a:lnTo>
                  <a:lnTo>
                    <a:pt x="270" y="72"/>
                  </a:lnTo>
                  <a:lnTo>
                    <a:pt x="282" y="72"/>
                  </a:lnTo>
                  <a:lnTo>
                    <a:pt x="288" y="66"/>
                  </a:lnTo>
                  <a:lnTo>
                    <a:pt x="288" y="60"/>
                  </a:lnTo>
                  <a:lnTo>
                    <a:pt x="282" y="54"/>
                  </a:lnTo>
                  <a:lnTo>
                    <a:pt x="276" y="54"/>
                  </a:lnTo>
                  <a:lnTo>
                    <a:pt x="276" y="42"/>
                  </a:lnTo>
                  <a:lnTo>
                    <a:pt x="282" y="36"/>
                  </a:lnTo>
                  <a:lnTo>
                    <a:pt x="282" y="18"/>
                  </a:lnTo>
                  <a:lnTo>
                    <a:pt x="276" y="12"/>
                  </a:lnTo>
                  <a:lnTo>
                    <a:pt x="270" y="0"/>
                  </a:lnTo>
                  <a:lnTo>
                    <a:pt x="258" y="0"/>
                  </a:lnTo>
                  <a:lnTo>
                    <a:pt x="246" y="6"/>
                  </a:lnTo>
                  <a:lnTo>
                    <a:pt x="234" y="18"/>
                  </a:lnTo>
                  <a:lnTo>
                    <a:pt x="222" y="24"/>
                  </a:lnTo>
                  <a:lnTo>
                    <a:pt x="204" y="36"/>
                  </a:lnTo>
                  <a:lnTo>
                    <a:pt x="192" y="48"/>
                  </a:lnTo>
                  <a:lnTo>
                    <a:pt x="192" y="54"/>
                  </a:lnTo>
                  <a:lnTo>
                    <a:pt x="186" y="60"/>
                  </a:lnTo>
                  <a:lnTo>
                    <a:pt x="180" y="72"/>
                  </a:lnTo>
                  <a:lnTo>
                    <a:pt x="132" y="72"/>
                  </a:lnTo>
                  <a:lnTo>
                    <a:pt x="96" y="60"/>
                  </a:lnTo>
                  <a:lnTo>
                    <a:pt x="84" y="54"/>
                  </a:lnTo>
                  <a:lnTo>
                    <a:pt x="66" y="36"/>
                  </a:lnTo>
                  <a:lnTo>
                    <a:pt x="54" y="12"/>
                  </a:lnTo>
                  <a:lnTo>
                    <a:pt x="54" y="6"/>
                  </a:lnTo>
                  <a:lnTo>
                    <a:pt x="48" y="0"/>
                  </a:lnTo>
                  <a:lnTo>
                    <a:pt x="42" y="0"/>
                  </a:lnTo>
                  <a:lnTo>
                    <a:pt x="24" y="18"/>
                  </a:lnTo>
                  <a:lnTo>
                    <a:pt x="24" y="30"/>
                  </a:lnTo>
                  <a:lnTo>
                    <a:pt x="0" y="30"/>
                  </a:lnTo>
                  <a:lnTo>
                    <a:pt x="18" y="54"/>
                  </a:lnTo>
                  <a:lnTo>
                    <a:pt x="18" y="84"/>
                  </a:lnTo>
                  <a:lnTo>
                    <a:pt x="30" y="96"/>
                  </a:lnTo>
                  <a:lnTo>
                    <a:pt x="30" y="108"/>
                  </a:lnTo>
                  <a:lnTo>
                    <a:pt x="36" y="114"/>
                  </a:lnTo>
                  <a:lnTo>
                    <a:pt x="42" y="114"/>
                  </a:lnTo>
                  <a:lnTo>
                    <a:pt x="36" y="120"/>
                  </a:lnTo>
                  <a:lnTo>
                    <a:pt x="36" y="126"/>
                  </a:lnTo>
                  <a:lnTo>
                    <a:pt x="30" y="138"/>
                  </a:lnTo>
                  <a:lnTo>
                    <a:pt x="24" y="144"/>
                  </a:lnTo>
                  <a:lnTo>
                    <a:pt x="60" y="162"/>
                  </a:lnTo>
                  <a:lnTo>
                    <a:pt x="60" y="192"/>
                  </a:lnTo>
                  <a:lnTo>
                    <a:pt x="84" y="198"/>
                  </a:lnTo>
                  <a:lnTo>
                    <a:pt x="84" y="210"/>
                  </a:lnTo>
                  <a:lnTo>
                    <a:pt x="96" y="246"/>
                  </a:lnTo>
                  <a:lnTo>
                    <a:pt x="108" y="270"/>
                  </a:lnTo>
                  <a:lnTo>
                    <a:pt x="120" y="282"/>
                  </a:lnTo>
                  <a:lnTo>
                    <a:pt x="120" y="300"/>
                  </a:lnTo>
                  <a:lnTo>
                    <a:pt x="144" y="306"/>
                  </a:lnTo>
                  <a:lnTo>
                    <a:pt x="156" y="324"/>
                  </a:lnTo>
                  <a:lnTo>
                    <a:pt x="162" y="318"/>
                  </a:lnTo>
                  <a:lnTo>
                    <a:pt x="174" y="312"/>
                  </a:lnTo>
                  <a:lnTo>
                    <a:pt x="186" y="312"/>
                  </a:lnTo>
                  <a:lnTo>
                    <a:pt x="186" y="318"/>
                  </a:lnTo>
                  <a:lnTo>
                    <a:pt x="168" y="336"/>
                  </a:lnTo>
                  <a:lnTo>
                    <a:pt x="168" y="342"/>
                  </a:lnTo>
                  <a:lnTo>
                    <a:pt x="180" y="354"/>
                  </a:lnTo>
                  <a:lnTo>
                    <a:pt x="186" y="366"/>
                  </a:lnTo>
                  <a:lnTo>
                    <a:pt x="186" y="372"/>
                  </a:lnTo>
                  <a:lnTo>
                    <a:pt x="174" y="384"/>
                  </a:lnTo>
                  <a:lnTo>
                    <a:pt x="168" y="384"/>
                  </a:lnTo>
                  <a:lnTo>
                    <a:pt x="168" y="414"/>
                  </a:lnTo>
                  <a:lnTo>
                    <a:pt x="156" y="414"/>
                  </a:lnTo>
                  <a:lnTo>
                    <a:pt x="144" y="426"/>
                  </a:lnTo>
                  <a:lnTo>
                    <a:pt x="144" y="432"/>
                  </a:lnTo>
                  <a:lnTo>
                    <a:pt x="156" y="444"/>
                  </a:lnTo>
                  <a:lnTo>
                    <a:pt x="150" y="450"/>
                  </a:lnTo>
                  <a:lnTo>
                    <a:pt x="144" y="462"/>
                  </a:lnTo>
                  <a:lnTo>
                    <a:pt x="144" y="468"/>
                  </a:lnTo>
                  <a:lnTo>
                    <a:pt x="150" y="474"/>
                  </a:lnTo>
                  <a:lnTo>
                    <a:pt x="162" y="480"/>
                  </a:lnTo>
                  <a:lnTo>
                    <a:pt x="174" y="492"/>
                  </a:lnTo>
                  <a:lnTo>
                    <a:pt x="198" y="504"/>
                  </a:lnTo>
                  <a:lnTo>
                    <a:pt x="204" y="510"/>
                  </a:lnTo>
                  <a:lnTo>
                    <a:pt x="210" y="510"/>
                  </a:lnTo>
                  <a:lnTo>
                    <a:pt x="210" y="552"/>
                  </a:lnTo>
                  <a:lnTo>
                    <a:pt x="234" y="552"/>
                  </a:lnTo>
                  <a:lnTo>
                    <a:pt x="240" y="558"/>
                  </a:lnTo>
                  <a:lnTo>
                    <a:pt x="252" y="564"/>
                  </a:lnTo>
                  <a:lnTo>
                    <a:pt x="270" y="582"/>
                  </a:lnTo>
                  <a:lnTo>
                    <a:pt x="288" y="582"/>
                  </a:lnTo>
                  <a:lnTo>
                    <a:pt x="294" y="588"/>
                  </a:lnTo>
                  <a:lnTo>
                    <a:pt x="300" y="600"/>
                  </a:lnTo>
                  <a:lnTo>
                    <a:pt x="330" y="636"/>
                  </a:lnTo>
                  <a:lnTo>
                    <a:pt x="330" y="648"/>
                  </a:lnTo>
                  <a:lnTo>
                    <a:pt x="324" y="660"/>
                  </a:lnTo>
                  <a:lnTo>
                    <a:pt x="324" y="696"/>
                  </a:lnTo>
                  <a:lnTo>
                    <a:pt x="330" y="702"/>
                  </a:lnTo>
                  <a:lnTo>
                    <a:pt x="342" y="708"/>
                  </a:lnTo>
                  <a:lnTo>
                    <a:pt x="348" y="714"/>
                  </a:lnTo>
                  <a:lnTo>
                    <a:pt x="354" y="714"/>
                  </a:lnTo>
                  <a:lnTo>
                    <a:pt x="360" y="744"/>
                  </a:lnTo>
                  <a:lnTo>
                    <a:pt x="372" y="750"/>
                  </a:lnTo>
                  <a:lnTo>
                    <a:pt x="384" y="762"/>
                  </a:lnTo>
                  <a:lnTo>
                    <a:pt x="384" y="768"/>
                  </a:lnTo>
                  <a:lnTo>
                    <a:pt x="390" y="774"/>
                  </a:lnTo>
                  <a:lnTo>
                    <a:pt x="402" y="780"/>
                  </a:lnTo>
                  <a:lnTo>
                    <a:pt x="408" y="786"/>
                  </a:lnTo>
                  <a:lnTo>
                    <a:pt x="420" y="792"/>
                  </a:lnTo>
                  <a:lnTo>
                    <a:pt x="426" y="786"/>
                  </a:lnTo>
                  <a:lnTo>
                    <a:pt x="426" y="774"/>
                  </a:lnTo>
                  <a:lnTo>
                    <a:pt x="420" y="768"/>
                  </a:lnTo>
                  <a:lnTo>
                    <a:pt x="420" y="762"/>
                  </a:lnTo>
                  <a:lnTo>
                    <a:pt x="426" y="756"/>
                  </a:lnTo>
                  <a:lnTo>
                    <a:pt x="438" y="750"/>
                  </a:lnTo>
                  <a:lnTo>
                    <a:pt x="444" y="756"/>
                  </a:lnTo>
                  <a:lnTo>
                    <a:pt x="450" y="756"/>
                  </a:lnTo>
                  <a:lnTo>
                    <a:pt x="450" y="768"/>
                  </a:lnTo>
                  <a:lnTo>
                    <a:pt x="456" y="780"/>
                  </a:lnTo>
                  <a:lnTo>
                    <a:pt x="474" y="780"/>
                  </a:lnTo>
                  <a:lnTo>
                    <a:pt x="474" y="786"/>
                  </a:lnTo>
                  <a:lnTo>
                    <a:pt x="474" y="780"/>
                  </a:lnTo>
                  <a:lnTo>
                    <a:pt x="480" y="780"/>
                  </a:lnTo>
                  <a:lnTo>
                    <a:pt x="480" y="768"/>
                  </a:lnTo>
                  <a:lnTo>
                    <a:pt x="504" y="768"/>
                  </a:lnTo>
                  <a:lnTo>
                    <a:pt x="504" y="804"/>
                  </a:lnTo>
                  <a:lnTo>
                    <a:pt x="510" y="810"/>
                  </a:lnTo>
                  <a:lnTo>
                    <a:pt x="516" y="810"/>
                  </a:lnTo>
                  <a:lnTo>
                    <a:pt x="528" y="816"/>
                  </a:lnTo>
                  <a:lnTo>
                    <a:pt x="540" y="828"/>
                  </a:lnTo>
                  <a:lnTo>
                    <a:pt x="540" y="846"/>
                  </a:lnTo>
                  <a:lnTo>
                    <a:pt x="552" y="858"/>
                  </a:lnTo>
                  <a:lnTo>
                    <a:pt x="558" y="870"/>
                  </a:lnTo>
                  <a:lnTo>
                    <a:pt x="564" y="876"/>
                  </a:lnTo>
                  <a:lnTo>
                    <a:pt x="570" y="876"/>
                  </a:lnTo>
                  <a:lnTo>
                    <a:pt x="582" y="894"/>
                  </a:lnTo>
                  <a:lnTo>
                    <a:pt x="582" y="906"/>
                  </a:lnTo>
                  <a:lnTo>
                    <a:pt x="594" y="930"/>
                  </a:lnTo>
                  <a:lnTo>
                    <a:pt x="600" y="936"/>
                  </a:lnTo>
                  <a:lnTo>
                    <a:pt x="606" y="936"/>
                  </a:lnTo>
                  <a:lnTo>
                    <a:pt x="612" y="942"/>
                  </a:lnTo>
                  <a:lnTo>
                    <a:pt x="618" y="954"/>
                  </a:lnTo>
                  <a:lnTo>
                    <a:pt x="618" y="960"/>
                  </a:lnTo>
                  <a:lnTo>
                    <a:pt x="648" y="960"/>
                  </a:lnTo>
                  <a:lnTo>
                    <a:pt x="666" y="984"/>
                  </a:lnTo>
                  <a:lnTo>
                    <a:pt x="684" y="978"/>
                  </a:lnTo>
                  <a:lnTo>
                    <a:pt x="702" y="978"/>
                  </a:lnTo>
                  <a:lnTo>
                    <a:pt x="720" y="996"/>
                  </a:lnTo>
                  <a:lnTo>
                    <a:pt x="738" y="1008"/>
                  </a:lnTo>
                  <a:lnTo>
                    <a:pt x="756" y="1026"/>
                  </a:lnTo>
                  <a:lnTo>
                    <a:pt x="792" y="1050"/>
                  </a:lnTo>
                  <a:lnTo>
                    <a:pt x="810" y="1050"/>
                  </a:lnTo>
                  <a:lnTo>
                    <a:pt x="822" y="1056"/>
                  </a:lnTo>
                  <a:lnTo>
                    <a:pt x="834" y="1068"/>
                  </a:lnTo>
                  <a:lnTo>
                    <a:pt x="852" y="1068"/>
                  </a:lnTo>
                  <a:lnTo>
                    <a:pt x="876" y="1056"/>
                  </a:lnTo>
                  <a:lnTo>
                    <a:pt x="876" y="1050"/>
                  </a:lnTo>
                  <a:lnTo>
                    <a:pt x="900" y="1056"/>
                  </a:lnTo>
                  <a:lnTo>
                    <a:pt x="912" y="1032"/>
                  </a:lnTo>
                  <a:lnTo>
                    <a:pt x="930" y="1032"/>
                  </a:lnTo>
                  <a:lnTo>
                    <a:pt x="954" y="1008"/>
                  </a:lnTo>
                  <a:lnTo>
                    <a:pt x="966" y="1020"/>
                  </a:lnTo>
                  <a:lnTo>
                    <a:pt x="972" y="1014"/>
                  </a:lnTo>
                  <a:lnTo>
                    <a:pt x="984" y="1014"/>
                  </a:lnTo>
                  <a:lnTo>
                    <a:pt x="1002" y="1032"/>
                  </a:lnTo>
                  <a:lnTo>
                    <a:pt x="1014" y="1050"/>
                  </a:lnTo>
                  <a:lnTo>
                    <a:pt x="1020" y="1068"/>
                  </a:lnTo>
                  <a:lnTo>
                    <a:pt x="1032" y="1080"/>
                  </a:lnTo>
                  <a:lnTo>
                    <a:pt x="1032" y="1098"/>
                  </a:lnTo>
                  <a:lnTo>
                    <a:pt x="1038" y="1110"/>
                  </a:lnTo>
                  <a:lnTo>
                    <a:pt x="1044" y="1116"/>
                  </a:lnTo>
                  <a:lnTo>
                    <a:pt x="1056" y="1122"/>
                  </a:lnTo>
                  <a:lnTo>
                    <a:pt x="1080" y="1122"/>
                  </a:lnTo>
                  <a:lnTo>
                    <a:pt x="1080" y="1128"/>
                  </a:lnTo>
                  <a:lnTo>
                    <a:pt x="1086" y="1134"/>
                  </a:lnTo>
                  <a:lnTo>
                    <a:pt x="1098" y="1140"/>
                  </a:lnTo>
                  <a:lnTo>
                    <a:pt x="1164" y="1140"/>
                  </a:lnTo>
                  <a:lnTo>
                    <a:pt x="1176" y="1146"/>
                  </a:lnTo>
                  <a:lnTo>
                    <a:pt x="1200" y="1170"/>
                  </a:lnTo>
                  <a:lnTo>
                    <a:pt x="1212" y="1170"/>
                  </a:lnTo>
                  <a:lnTo>
                    <a:pt x="1224" y="1164"/>
                  </a:lnTo>
                  <a:lnTo>
                    <a:pt x="1230" y="1164"/>
                  </a:lnTo>
                  <a:lnTo>
                    <a:pt x="1242" y="1158"/>
                  </a:lnTo>
                  <a:lnTo>
                    <a:pt x="1248" y="1158"/>
                  </a:lnTo>
                  <a:lnTo>
                    <a:pt x="1254" y="1164"/>
                  </a:lnTo>
                  <a:lnTo>
                    <a:pt x="1278" y="1176"/>
                  </a:lnTo>
                  <a:lnTo>
                    <a:pt x="1296" y="1182"/>
                  </a:lnTo>
                  <a:lnTo>
                    <a:pt x="1326" y="1182"/>
                  </a:lnTo>
                  <a:lnTo>
                    <a:pt x="1338" y="1176"/>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74" name="Indonesia" descr="© INSCALE GmbH, 05.05.2010&#10;http://www.presentationload.com/">
              <a:extLst>
                <a:ext uri="{FF2B5EF4-FFF2-40B4-BE49-F238E27FC236}">
                  <a16:creationId xmlns:a16="http://schemas.microsoft.com/office/drawing/2014/main" id="{C20A9B28-BF69-E72A-A196-1AB156227D28}"/>
                </a:ext>
              </a:extLst>
            </p:cNvPr>
            <p:cNvSpPr>
              <a:spLocks noEditPoints="1"/>
            </p:cNvSpPr>
            <p:nvPr/>
          </p:nvSpPr>
          <p:spPr bwMode="gray">
            <a:xfrm>
              <a:off x="6801378" y="3045040"/>
              <a:ext cx="1237782" cy="493632"/>
            </a:xfrm>
            <a:custGeom>
              <a:avLst/>
              <a:gdLst>
                <a:gd name="T0" fmla="*/ 2147483647 w 3264"/>
                <a:gd name="T1" fmla="*/ 2147483647 h 1302"/>
                <a:gd name="T2" fmla="*/ 2147483647 w 3264"/>
                <a:gd name="T3" fmla="*/ 2147483647 h 1302"/>
                <a:gd name="T4" fmla="*/ 2147483647 w 3264"/>
                <a:gd name="T5" fmla="*/ 2147483647 h 1302"/>
                <a:gd name="T6" fmla="*/ 2147483647 w 3264"/>
                <a:gd name="T7" fmla="*/ 2147483647 h 1302"/>
                <a:gd name="T8" fmla="*/ 2147483647 w 3264"/>
                <a:gd name="T9" fmla="*/ 2147483647 h 1302"/>
                <a:gd name="T10" fmla="*/ 2147483647 w 3264"/>
                <a:gd name="T11" fmla="*/ 2147483647 h 1302"/>
                <a:gd name="T12" fmla="*/ 2147483647 w 3264"/>
                <a:gd name="T13" fmla="*/ 2147483647 h 1302"/>
                <a:gd name="T14" fmla="*/ 2147483647 w 3264"/>
                <a:gd name="T15" fmla="*/ 2147483647 h 1302"/>
                <a:gd name="T16" fmla="*/ 2147483647 w 3264"/>
                <a:gd name="T17" fmla="*/ 2147483647 h 1302"/>
                <a:gd name="T18" fmla="*/ 2147483647 w 3264"/>
                <a:gd name="T19" fmla="*/ 2147483647 h 1302"/>
                <a:gd name="T20" fmla="*/ 2147483647 w 3264"/>
                <a:gd name="T21" fmla="*/ 2147483647 h 1302"/>
                <a:gd name="T22" fmla="*/ 2147483647 w 3264"/>
                <a:gd name="T23" fmla="*/ 2147483647 h 1302"/>
                <a:gd name="T24" fmla="*/ 2147483647 w 3264"/>
                <a:gd name="T25" fmla="*/ 2147483647 h 1302"/>
                <a:gd name="T26" fmla="*/ 2147483647 w 3264"/>
                <a:gd name="T27" fmla="*/ 2147483647 h 1302"/>
                <a:gd name="T28" fmla="*/ 2147483647 w 3264"/>
                <a:gd name="T29" fmla="*/ 2147483647 h 1302"/>
                <a:gd name="T30" fmla="*/ 2147483647 w 3264"/>
                <a:gd name="T31" fmla="*/ 2147483647 h 1302"/>
                <a:gd name="T32" fmla="*/ 2147483647 w 3264"/>
                <a:gd name="T33" fmla="*/ 2147483647 h 1302"/>
                <a:gd name="T34" fmla="*/ 2147483647 w 3264"/>
                <a:gd name="T35" fmla="*/ 2147483647 h 1302"/>
                <a:gd name="T36" fmla="*/ 2147483647 w 3264"/>
                <a:gd name="T37" fmla="*/ 2147483647 h 1302"/>
                <a:gd name="T38" fmla="*/ 2147483647 w 3264"/>
                <a:gd name="T39" fmla="*/ 2147483647 h 1302"/>
                <a:gd name="T40" fmla="*/ 2147483647 w 3264"/>
                <a:gd name="T41" fmla="*/ 2147483647 h 1302"/>
                <a:gd name="T42" fmla="*/ 2147483647 w 3264"/>
                <a:gd name="T43" fmla="*/ 2147483647 h 1302"/>
                <a:gd name="T44" fmla="*/ 2147483647 w 3264"/>
                <a:gd name="T45" fmla="*/ 2147483647 h 1302"/>
                <a:gd name="T46" fmla="*/ 2147483647 w 3264"/>
                <a:gd name="T47" fmla="*/ 2147483647 h 1302"/>
                <a:gd name="T48" fmla="*/ 2147483647 w 3264"/>
                <a:gd name="T49" fmla="*/ 2147483647 h 1302"/>
                <a:gd name="T50" fmla="*/ 2147483647 w 3264"/>
                <a:gd name="T51" fmla="*/ 2147483647 h 1302"/>
                <a:gd name="T52" fmla="*/ 2147483647 w 3264"/>
                <a:gd name="T53" fmla="*/ 2147483647 h 1302"/>
                <a:gd name="T54" fmla="*/ 2147483647 w 3264"/>
                <a:gd name="T55" fmla="*/ 2147483647 h 1302"/>
                <a:gd name="T56" fmla="*/ 2147483647 w 3264"/>
                <a:gd name="T57" fmla="*/ 2147483647 h 1302"/>
                <a:gd name="T58" fmla="*/ 2147483647 w 3264"/>
                <a:gd name="T59" fmla="*/ 2147483647 h 1302"/>
                <a:gd name="T60" fmla="*/ 2147483647 w 3264"/>
                <a:gd name="T61" fmla="*/ 2147483647 h 1302"/>
                <a:gd name="T62" fmla="*/ 2147483647 w 3264"/>
                <a:gd name="T63" fmla="*/ 2147483647 h 1302"/>
                <a:gd name="T64" fmla="*/ 2147483647 w 3264"/>
                <a:gd name="T65" fmla="*/ 2147483647 h 1302"/>
                <a:gd name="T66" fmla="*/ 2147483647 w 3264"/>
                <a:gd name="T67" fmla="*/ 2147483647 h 1302"/>
                <a:gd name="T68" fmla="*/ 2147483647 w 3264"/>
                <a:gd name="T69" fmla="*/ 2147483647 h 1302"/>
                <a:gd name="T70" fmla="*/ 2147483647 w 3264"/>
                <a:gd name="T71" fmla="*/ 2147483647 h 1302"/>
                <a:gd name="T72" fmla="*/ 2147483647 w 3264"/>
                <a:gd name="T73" fmla="*/ 2147483647 h 1302"/>
                <a:gd name="T74" fmla="*/ 2147483647 w 3264"/>
                <a:gd name="T75" fmla="*/ 2147483647 h 1302"/>
                <a:gd name="T76" fmla="*/ 2147483647 w 3264"/>
                <a:gd name="T77" fmla="*/ 2147483647 h 1302"/>
                <a:gd name="T78" fmla="*/ 2147483647 w 3264"/>
                <a:gd name="T79" fmla="*/ 2147483647 h 1302"/>
                <a:gd name="T80" fmla="*/ 2147483647 w 3264"/>
                <a:gd name="T81" fmla="*/ 2147483647 h 1302"/>
                <a:gd name="T82" fmla="*/ 2147483647 w 3264"/>
                <a:gd name="T83" fmla="*/ 2147483647 h 1302"/>
                <a:gd name="T84" fmla="*/ 2147483647 w 3264"/>
                <a:gd name="T85" fmla="*/ 2147483647 h 1302"/>
                <a:gd name="T86" fmla="*/ 2147483647 w 3264"/>
                <a:gd name="T87" fmla="*/ 2147483647 h 1302"/>
                <a:gd name="T88" fmla="*/ 2147483647 w 3264"/>
                <a:gd name="T89" fmla="*/ 2147483647 h 1302"/>
                <a:gd name="T90" fmla="*/ 2147483647 w 3264"/>
                <a:gd name="T91" fmla="*/ 2147483647 h 1302"/>
                <a:gd name="T92" fmla="*/ 2147483647 w 3264"/>
                <a:gd name="T93" fmla="*/ 2147483647 h 1302"/>
                <a:gd name="T94" fmla="*/ 2147483647 w 3264"/>
                <a:gd name="T95" fmla="*/ 2147483647 h 1302"/>
                <a:gd name="T96" fmla="*/ 2147483647 w 3264"/>
                <a:gd name="T97" fmla="*/ 2147483647 h 1302"/>
                <a:gd name="T98" fmla="*/ 2147483647 w 3264"/>
                <a:gd name="T99" fmla="*/ 2147483647 h 1302"/>
                <a:gd name="T100" fmla="*/ 2147483647 w 3264"/>
                <a:gd name="T101" fmla="*/ 2147483647 h 1302"/>
                <a:gd name="T102" fmla="*/ 2147483647 w 3264"/>
                <a:gd name="T103" fmla="*/ 2147483647 h 1302"/>
                <a:gd name="T104" fmla="*/ 2147483647 w 3264"/>
                <a:gd name="T105" fmla="*/ 2147483647 h 1302"/>
                <a:gd name="T106" fmla="*/ 2147483647 w 3264"/>
                <a:gd name="T107" fmla="*/ 2147483647 h 1302"/>
                <a:gd name="T108" fmla="*/ 2147483647 w 3264"/>
                <a:gd name="T109" fmla="*/ 2147483647 h 1302"/>
                <a:gd name="T110" fmla="*/ 2147483647 w 3264"/>
                <a:gd name="T111" fmla="*/ 2147483647 h 1302"/>
                <a:gd name="T112" fmla="*/ 2147483647 w 3264"/>
                <a:gd name="T113" fmla="*/ 2147483647 h 1302"/>
                <a:gd name="T114" fmla="*/ 2147483647 w 3264"/>
                <a:gd name="T115" fmla="*/ 2147483647 h 1302"/>
                <a:gd name="T116" fmla="*/ 2147483647 w 3264"/>
                <a:gd name="T117" fmla="*/ 2147483647 h 1302"/>
                <a:gd name="T118" fmla="*/ 2147483647 w 3264"/>
                <a:gd name="T119" fmla="*/ 2147483647 h 1302"/>
                <a:gd name="T120" fmla="*/ 2147483647 w 3264"/>
                <a:gd name="T121" fmla="*/ 2147483647 h 1302"/>
                <a:gd name="T122" fmla="*/ 2147483647 w 3264"/>
                <a:gd name="T123" fmla="*/ 2147483647 h 1302"/>
                <a:gd name="T124" fmla="*/ 2147483647 w 3264"/>
                <a:gd name="T125" fmla="*/ 2147483647 h 130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264"/>
                <a:gd name="T190" fmla="*/ 0 h 1302"/>
                <a:gd name="T191" fmla="*/ 3264 w 3264"/>
                <a:gd name="T192" fmla="*/ 1302 h 130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264" h="1302">
                  <a:moveTo>
                    <a:pt x="1788" y="984"/>
                  </a:moveTo>
                  <a:lnTo>
                    <a:pt x="1806" y="978"/>
                  </a:lnTo>
                  <a:lnTo>
                    <a:pt x="1818" y="954"/>
                  </a:lnTo>
                  <a:lnTo>
                    <a:pt x="1812" y="930"/>
                  </a:lnTo>
                  <a:lnTo>
                    <a:pt x="1788" y="984"/>
                  </a:lnTo>
                  <a:close/>
                  <a:moveTo>
                    <a:pt x="672" y="462"/>
                  </a:moveTo>
                  <a:lnTo>
                    <a:pt x="702" y="480"/>
                  </a:lnTo>
                  <a:lnTo>
                    <a:pt x="702" y="450"/>
                  </a:lnTo>
                  <a:lnTo>
                    <a:pt x="672" y="426"/>
                  </a:lnTo>
                  <a:lnTo>
                    <a:pt x="672" y="462"/>
                  </a:lnTo>
                  <a:close/>
                  <a:moveTo>
                    <a:pt x="678" y="492"/>
                  </a:moveTo>
                  <a:lnTo>
                    <a:pt x="654" y="516"/>
                  </a:lnTo>
                  <a:lnTo>
                    <a:pt x="678" y="546"/>
                  </a:lnTo>
                  <a:lnTo>
                    <a:pt x="678" y="492"/>
                  </a:lnTo>
                  <a:close/>
                  <a:moveTo>
                    <a:pt x="906" y="714"/>
                  </a:moveTo>
                  <a:lnTo>
                    <a:pt x="930" y="732"/>
                  </a:lnTo>
                  <a:lnTo>
                    <a:pt x="936" y="708"/>
                  </a:lnTo>
                  <a:lnTo>
                    <a:pt x="936" y="702"/>
                  </a:lnTo>
                  <a:lnTo>
                    <a:pt x="930" y="696"/>
                  </a:lnTo>
                  <a:lnTo>
                    <a:pt x="930" y="690"/>
                  </a:lnTo>
                  <a:lnTo>
                    <a:pt x="912" y="672"/>
                  </a:lnTo>
                  <a:lnTo>
                    <a:pt x="900" y="666"/>
                  </a:lnTo>
                  <a:lnTo>
                    <a:pt x="888" y="666"/>
                  </a:lnTo>
                  <a:lnTo>
                    <a:pt x="882" y="672"/>
                  </a:lnTo>
                  <a:lnTo>
                    <a:pt x="876" y="684"/>
                  </a:lnTo>
                  <a:lnTo>
                    <a:pt x="882" y="696"/>
                  </a:lnTo>
                  <a:lnTo>
                    <a:pt x="882" y="708"/>
                  </a:lnTo>
                  <a:lnTo>
                    <a:pt x="888" y="720"/>
                  </a:lnTo>
                  <a:lnTo>
                    <a:pt x="906" y="714"/>
                  </a:lnTo>
                  <a:close/>
                  <a:moveTo>
                    <a:pt x="684" y="372"/>
                  </a:moveTo>
                  <a:lnTo>
                    <a:pt x="672" y="360"/>
                  </a:lnTo>
                  <a:lnTo>
                    <a:pt x="660" y="372"/>
                  </a:lnTo>
                  <a:lnTo>
                    <a:pt x="672" y="396"/>
                  </a:lnTo>
                  <a:lnTo>
                    <a:pt x="684" y="396"/>
                  </a:lnTo>
                  <a:lnTo>
                    <a:pt x="684" y="372"/>
                  </a:lnTo>
                  <a:close/>
                  <a:moveTo>
                    <a:pt x="750" y="624"/>
                  </a:moveTo>
                  <a:lnTo>
                    <a:pt x="750" y="630"/>
                  </a:lnTo>
                  <a:lnTo>
                    <a:pt x="756" y="636"/>
                  </a:lnTo>
                  <a:lnTo>
                    <a:pt x="756" y="648"/>
                  </a:lnTo>
                  <a:lnTo>
                    <a:pt x="774" y="684"/>
                  </a:lnTo>
                  <a:lnTo>
                    <a:pt x="786" y="690"/>
                  </a:lnTo>
                  <a:lnTo>
                    <a:pt x="804" y="696"/>
                  </a:lnTo>
                  <a:lnTo>
                    <a:pt x="816" y="702"/>
                  </a:lnTo>
                  <a:lnTo>
                    <a:pt x="834" y="702"/>
                  </a:lnTo>
                  <a:lnTo>
                    <a:pt x="828" y="660"/>
                  </a:lnTo>
                  <a:lnTo>
                    <a:pt x="810" y="648"/>
                  </a:lnTo>
                  <a:lnTo>
                    <a:pt x="810" y="618"/>
                  </a:lnTo>
                  <a:lnTo>
                    <a:pt x="804" y="606"/>
                  </a:lnTo>
                  <a:lnTo>
                    <a:pt x="792" y="600"/>
                  </a:lnTo>
                  <a:lnTo>
                    <a:pt x="786" y="588"/>
                  </a:lnTo>
                  <a:lnTo>
                    <a:pt x="768" y="582"/>
                  </a:lnTo>
                  <a:lnTo>
                    <a:pt x="756" y="576"/>
                  </a:lnTo>
                  <a:lnTo>
                    <a:pt x="732" y="576"/>
                  </a:lnTo>
                  <a:lnTo>
                    <a:pt x="732" y="582"/>
                  </a:lnTo>
                  <a:lnTo>
                    <a:pt x="726" y="588"/>
                  </a:lnTo>
                  <a:lnTo>
                    <a:pt x="726" y="600"/>
                  </a:lnTo>
                  <a:lnTo>
                    <a:pt x="714" y="600"/>
                  </a:lnTo>
                  <a:lnTo>
                    <a:pt x="714" y="606"/>
                  </a:lnTo>
                  <a:lnTo>
                    <a:pt x="708" y="612"/>
                  </a:lnTo>
                  <a:lnTo>
                    <a:pt x="714" y="624"/>
                  </a:lnTo>
                  <a:lnTo>
                    <a:pt x="750" y="624"/>
                  </a:lnTo>
                  <a:close/>
                  <a:moveTo>
                    <a:pt x="246" y="438"/>
                  </a:moveTo>
                  <a:lnTo>
                    <a:pt x="222" y="462"/>
                  </a:lnTo>
                  <a:lnTo>
                    <a:pt x="234" y="492"/>
                  </a:lnTo>
                  <a:lnTo>
                    <a:pt x="234" y="498"/>
                  </a:lnTo>
                  <a:lnTo>
                    <a:pt x="228" y="504"/>
                  </a:lnTo>
                  <a:lnTo>
                    <a:pt x="228" y="510"/>
                  </a:lnTo>
                  <a:lnTo>
                    <a:pt x="240" y="510"/>
                  </a:lnTo>
                  <a:lnTo>
                    <a:pt x="246" y="504"/>
                  </a:lnTo>
                  <a:lnTo>
                    <a:pt x="246" y="468"/>
                  </a:lnTo>
                  <a:lnTo>
                    <a:pt x="252" y="456"/>
                  </a:lnTo>
                  <a:lnTo>
                    <a:pt x="246" y="438"/>
                  </a:lnTo>
                  <a:close/>
                  <a:moveTo>
                    <a:pt x="264" y="534"/>
                  </a:moveTo>
                  <a:lnTo>
                    <a:pt x="258" y="546"/>
                  </a:lnTo>
                  <a:lnTo>
                    <a:pt x="258" y="588"/>
                  </a:lnTo>
                  <a:lnTo>
                    <a:pt x="264" y="600"/>
                  </a:lnTo>
                  <a:lnTo>
                    <a:pt x="276" y="612"/>
                  </a:lnTo>
                  <a:lnTo>
                    <a:pt x="288" y="612"/>
                  </a:lnTo>
                  <a:lnTo>
                    <a:pt x="294" y="606"/>
                  </a:lnTo>
                  <a:lnTo>
                    <a:pt x="294" y="588"/>
                  </a:lnTo>
                  <a:lnTo>
                    <a:pt x="288" y="576"/>
                  </a:lnTo>
                  <a:lnTo>
                    <a:pt x="282" y="558"/>
                  </a:lnTo>
                  <a:lnTo>
                    <a:pt x="282" y="546"/>
                  </a:lnTo>
                  <a:lnTo>
                    <a:pt x="276" y="534"/>
                  </a:lnTo>
                  <a:lnTo>
                    <a:pt x="264" y="534"/>
                  </a:lnTo>
                  <a:close/>
                  <a:moveTo>
                    <a:pt x="48" y="222"/>
                  </a:moveTo>
                  <a:lnTo>
                    <a:pt x="42" y="228"/>
                  </a:lnTo>
                  <a:lnTo>
                    <a:pt x="42" y="246"/>
                  </a:lnTo>
                  <a:lnTo>
                    <a:pt x="48" y="258"/>
                  </a:lnTo>
                  <a:lnTo>
                    <a:pt x="66" y="258"/>
                  </a:lnTo>
                  <a:lnTo>
                    <a:pt x="84" y="276"/>
                  </a:lnTo>
                  <a:lnTo>
                    <a:pt x="90" y="270"/>
                  </a:lnTo>
                  <a:lnTo>
                    <a:pt x="90" y="252"/>
                  </a:lnTo>
                  <a:lnTo>
                    <a:pt x="78" y="246"/>
                  </a:lnTo>
                  <a:lnTo>
                    <a:pt x="72" y="234"/>
                  </a:lnTo>
                  <a:lnTo>
                    <a:pt x="60" y="228"/>
                  </a:lnTo>
                  <a:lnTo>
                    <a:pt x="54" y="222"/>
                  </a:lnTo>
                  <a:lnTo>
                    <a:pt x="48" y="222"/>
                  </a:lnTo>
                  <a:close/>
                  <a:moveTo>
                    <a:pt x="162" y="330"/>
                  </a:moveTo>
                  <a:lnTo>
                    <a:pt x="156" y="330"/>
                  </a:lnTo>
                  <a:lnTo>
                    <a:pt x="144" y="342"/>
                  </a:lnTo>
                  <a:lnTo>
                    <a:pt x="144" y="354"/>
                  </a:lnTo>
                  <a:lnTo>
                    <a:pt x="156" y="366"/>
                  </a:lnTo>
                  <a:lnTo>
                    <a:pt x="162" y="378"/>
                  </a:lnTo>
                  <a:lnTo>
                    <a:pt x="174" y="390"/>
                  </a:lnTo>
                  <a:lnTo>
                    <a:pt x="180" y="402"/>
                  </a:lnTo>
                  <a:lnTo>
                    <a:pt x="192" y="414"/>
                  </a:lnTo>
                  <a:lnTo>
                    <a:pt x="198" y="408"/>
                  </a:lnTo>
                  <a:lnTo>
                    <a:pt x="198" y="402"/>
                  </a:lnTo>
                  <a:lnTo>
                    <a:pt x="204" y="390"/>
                  </a:lnTo>
                  <a:lnTo>
                    <a:pt x="204" y="384"/>
                  </a:lnTo>
                  <a:lnTo>
                    <a:pt x="198" y="372"/>
                  </a:lnTo>
                  <a:lnTo>
                    <a:pt x="198" y="366"/>
                  </a:lnTo>
                  <a:lnTo>
                    <a:pt x="192" y="360"/>
                  </a:lnTo>
                  <a:lnTo>
                    <a:pt x="186" y="348"/>
                  </a:lnTo>
                  <a:lnTo>
                    <a:pt x="180" y="342"/>
                  </a:lnTo>
                  <a:lnTo>
                    <a:pt x="168" y="336"/>
                  </a:lnTo>
                  <a:lnTo>
                    <a:pt x="162" y="330"/>
                  </a:lnTo>
                  <a:close/>
                  <a:moveTo>
                    <a:pt x="2574" y="486"/>
                  </a:moveTo>
                  <a:lnTo>
                    <a:pt x="2574" y="474"/>
                  </a:lnTo>
                  <a:lnTo>
                    <a:pt x="2568" y="474"/>
                  </a:lnTo>
                  <a:lnTo>
                    <a:pt x="2556" y="468"/>
                  </a:lnTo>
                  <a:lnTo>
                    <a:pt x="2520" y="468"/>
                  </a:lnTo>
                  <a:lnTo>
                    <a:pt x="2514" y="474"/>
                  </a:lnTo>
                  <a:lnTo>
                    <a:pt x="2520" y="498"/>
                  </a:lnTo>
                  <a:lnTo>
                    <a:pt x="2526" y="498"/>
                  </a:lnTo>
                  <a:lnTo>
                    <a:pt x="2538" y="492"/>
                  </a:lnTo>
                  <a:lnTo>
                    <a:pt x="2562" y="492"/>
                  </a:lnTo>
                  <a:lnTo>
                    <a:pt x="2568" y="486"/>
                  </a:lnTo>
                  <a:lnTo>
                    <a:pt x="2574" y="486"/>
                  </a:lnTo>
                  <a:close/>
                  <a:moveTo>
                    <a:pt x="336" y="648"/>
                  </a:moveTo>
                  <a:lnTo>
                    <a:pt x="342" y="648"/>
                  </a:lnTo>
                  <a:lnTo>
                    <a:pt x="342" y="636"/>
                  </a:lnTo>
                  <a:lnTo>
                    <a:pt x="330" y="624"/>
                  </a:lnTo>
                  <a:lnTo>
                    <a:pt x="318" y="624"/>
                  </a:lnTo>
                  <a:lnTo>
                    <a:pt x="318" y="636"/>
                  </a:lnTo>
                  <a:lnTo>
                    <a:pt x="330" y="648"/>
                  </a:lnTo>
                  <a:lnTo>
                    <a:pt x="336" y="648"/>
                  </a:lnTo>
                  <a:close/>
                  <a:moveTo>
                    <a:pt x="2472" y="654"/>
                  </a:moveTo>
                  <a:lnTo>
                    <a:pt x="2484" y="648"/>
                  </a:lnTo>
                  <a:lnTo>
                    <a:pt x="2502" y="630"/>
                  </a:lnTo>
                  <a:lnTo>
                    <a:pt x="2502" y="618"/>
                  </a:lnTo>
                  <a:lnTo>
                    <a:pt x="2430" y="612"/>
                  </a:lnTo>
                  <a:lnTo>
                    <a:pt x="2430" y="624"/>
                  </a:lnTo>
                  <a:lnTo>
                    <a:pt x="2436" y="630"/>
                  </a:lnTo>
                  <a:lnTo>
                    <a:pt x="2442" y="642"/>
                  </a:lnTo>
                  <a:lnTo>
                    <a:pt x="2448" y="648"/>
                  </a:lnTo>
                  <a:lnTo>
                    <a:pt x="2460" y="654"/>
                  </a:lnTo>
                  <a:lnTo>
                    <a:pt x="2472" y="654"/>
                  </a:lnTo>
                  <a:close/>
                  <a:moveTo>
                    <a:pt x="2406" y="288"/>
                  </a:moveTo>
                  <a:lnTo>
                    <a:pt x="2418" y="276"/>
                  </a:lnTo>
                  <a:lnTo>
                    <a:pt x="2418" y="264"/>
                  </a:lnTo>
                  <a:lnTo>
                    <a:pt x="2412" y="258"/>
                  </a:lnTo>
                  <a:lnTo>
                    <a:pt x="2400" y="252"/>
                  </a:lnTo>
                  <a:lnTo>
                    <a:pt x="2376" y="252"/>
                  </a:lnTo>
                  <a:lnTo>
                    <a:pt x="2370" y="258"/>
                  </a:lnTo>
                  <a:lnTo>
                    <a:pt x="2370" y="264"/>
                  </a:lnTo>
                  <a:lnTo>
                    <a:pt x="2394" y="288"/>
                  </a:lnTo>
                  <a:lnTo>
                    <a:pt x="2406" y="288"/>
                  </a:lnTo>
                  <a:close/>
                  <a:moveTo>
                    <a:pt x="2868" y="528"/>
                  </a:moveTo>
                  <a:lnTo>
                    <a:pt x="2886" y="534"/>
                  </a:lnTo>
                  <a:lnTo>
                    <a:pt x="2892" y="534"/>
                  </a:lnTo>
                  <a:lnTo>
                    <a:pt x="2898" y="528"/>
                  </a:lnTo>
                  <a:lnTo>
                    <a:pt x="2898" y="522"/>
                  </a:lnTo>
                  <a:lnTo>
                    <a:pt x="2874" y="510"/>
                  </a:lnTo>
                  <a:lnTo>
                    <a:pt x="2868" y="516"/>
                  </a:lnTo>
                  <a:lnTo>
                    <a:pt x="2862" y="516"/>
                  </a:lnTo>
                  <a:lnTo>
                    <a:pt x="2862" y="522"/>
                  </a:lnTo>
                  <a:lnTo>
                    <a:pt x="2868" y="528"/>
                  </a:lnTo>
                  <a:close/>
                  <a:moveTo>
                    <a:pt x="2916" y="618"/>
                  </a:moveTo>
                  <a:lnTo>
                    <a:pt x="2928" y="618"/>
                  </a:lnTo>
                  <a:lnTo>
                    <a:pt x="2940" y="612"/>
                  </a:lnTo>
                  <a:lnTo>
                    <a:pt x="2958" y="612"/>
                  </a:lnTo>
                  <a:lnTo>
                    <a:pt x="2964" y="606"/>
                  </a:lnTo>
                  <a:lnTo>
                    <a:pt x="2970" y="606"/>
                  </a:lnTo>
                  <a:lnTo>
                    <a:pt x="2964" y="606"/>
                  </a:lnTo>
                  <a:lnTo>
                    <a:pt x="2958" y="600"/>
                  </a:lnTo>
                  <a:lnTo>
                    <a:pt x="2946" y="594"/>
                  </a:lnTo>
                  <a:lnTo>
                    <a:pt x="2934" y="594"/>
                  </a:lnTo>
                  <a:lnTo>
                    <a:pt x="2928" y="588"/>
                  </a:lnTo>
                  <a:lnTo>
                    <a:pt x="2922" y="588"/>
                  </a:lnTo>
                  <a:lnTo>
                    <a:pt x="2910" y="594"/>
                  </a:lnTo>
                  <a:lnTo>
                    <a:pt x="2892" y="594"/>
                  </a:lnTo>
                  <a:lnTo>
                    <a:pt x="2886" y="600"/>
                  </a:lnTo>
                  <a:lnTo>
                    <a:pt x="2880" y="600"/>
                  </a:lnTo>
                  <a:lnTo>
                    <a:pt x="2892" y="606"/>
                  </a:lnTo>
                  <a:lnTo>
                    <a:pt x="2898" y="612"/>
                  </a:lnTo>
                  <a:lnTo>
                    <a:pt x="2910" y="618"/>
                  </a:lnTo>
                  <a:lnTo>
                    <a:pt x="2916" y="618"/>
                  </a:lnTo>
                  <a:close/>
                  <a:moveTo>
                    <a:pt x="1710" y="552"/>
                  </a:moveTo>
                  <a:lnTo>
                    <a:pt x="1710" y="564"/>
                  </a:lnTo>
                  <a:lnTo>
                    <a:pt x="1716" y="570"/>
                  </a:lnTo>
                  <a:lnTo>
                    <a:pt x="1716" y="582"/>
                  </a:lnTo>
                  <a:lnTo>
                    <a:pt x="1722" y="594"/>
                  </a:lnTo>
                  <a:lnTo>
                    <a:pt x="1722" y="612"/>
                  </a:lnTo>
                  <a:lnTo>
                    <a:pt x="1716" y="618"/>
                  </a:lnTo>
                  <a:lnTo>
                    <a:pt x="1692" y="630"/>
                  </a:lnTo>
                  <a:lnTo>
                    <a:pt x="1686" y="636"/>
                  </a:lnTo>
                  <a:lnTo>
                    <a:pt x="1674" y="642"/>
                  </a:lnTo>
                  <a:lnTo>
                    <a:pt x="1674" y="678"/>
                  </a:lnTo>
                  <a:lnTo>
                    <a:pt x="1680" y="684"/>
                  </a:lnTo>
                  <a:lnTo>
                    <a:pt x="1686" y="696"/>
                  </a:lnTo>
                  <a:lnTo>
                    <a:pt x="1674" y="708"/>
                  </a:lnTo>
                  <a:lnTo>
                    <a:pt x="1674" y="720"/>
                  </a:lnTo>
                  <a:lnTo>
                    <a:pt x="1680" y="726"/>
                  </a:lnTo>
                  <a:lnTo>
                    <a:pt x="1692" y="732"/>
                  </a:lnTo>
                  <a:lnTo>
                    <a:pt x="1698" y="726"/>
                  </a:lnTo>
                  <a:lnTo>
                    <a:pt x="1722" y="726"/>
                  </a:lnTo>
                  <a:lnTo>
                    <a:pt x="1728" y="732"/>
                  </a:lnTo>
                  <a:lnTo>
                    <a:pt x="1728" y="756"/>
                  </a:lnTo>
                  <a:lnTo>
                    <a:pt x="1722" y="762"/>
                  </a:lnTo>
                  <a:lnTo>
                    <a:pt x="1740" y="780"/>
                  </a:lnTo>
                  <a:lnTo>
                    <a:pt x="1728" y="846"/>
                  </a:lnTo>
                  <a:lnTo>
                    <a:pt x="1710" y="864"/>
                  </a:lnTo>
                  <a:lnTo>
                    <a:pt x="1704" y="876"/>
                  </a:lnTo>
                  <a:lnTo>
                    <a:pt x="1704" y="888"/>
                  </a:lnTo>
                  <a:lnTo>
                    <a:pt x="1710" y="906"/>
                  </a:lnTo>
                  <a:lnTo>
                    <a:pt x="1722" y="924"/>
                  </a:lnTo>
                  <a:lnTo>
                    <a:pt x="1746" y="936"/>
                  </a:lnTo>
                  <a:lnTo>
                    <a:pt x="1764" y="930"/>
                  </a:lnTo>
                  <a:lnTo>
                    <a:pt x="1788" y="906"/>
                  </a:lnTo>
                  <a:lnTo>
                    <a:pt x="1788" y="864"/>
                  </a:lnTo>
                  <a:lnTo>
                    <a:pt x="1782" y="858"/>
                  </a:lnTo>
                  <a:lnTo>
                    <a:pt x="1776" y="846"/>
                  </a:lnTo>
                  <a:lnTo>
                    <a:pt x="1800" y="822"/>
                  </a:lnTo>
                  <a:lnTo>
                    <a:pt x="1806" y="804"/>
                  </a:lnTo>
                  <a:lnTo>
                    <a:pt x="1806" y="774"/>
                  </a:lnTo>
                  <a:lnTo>
                    <a:pt x="1812" y="756"/>
                  </a:lnTo>
                  <a:lnTo>
                    <a:pt x="1812" y="726"/>
                  </a:lnTo>
                  <a:lnTo>
                    <a:pt x="1806" y="714"/>
                  </a:lnTo>
                  <a:lnTo>
                    <a:pt x="1800" y="696"/>
                  </a:lnTo>
                  <a:lnTo>
                    <a:pt x="1794" y="684"/>
                  </a:lnTo>
                  <a:lnTo>
                    <a:pt x="1794" y="636"/>
                  </a:lnTo>
                  <a:lnTo>
                    <a:pt x="1800" y="630"/>
                  </a:lnTo>
                  <a:lnTo>
                    <a:pt x="1800" y="624"/>
                  </a:lnTo>
                  <a:lnTo>
                    <a:pt x="1806" y="618"/>
                  </a:lnTo>
                  <a:lnTo>
                    <a:pt x="1812" y="618"/>
                  </a:lnTo>
                  <a:lnTo>
                    <a:pt x="1818" y="624"/>
                  </a:lnTo>
                  <a:lnTo>
                    <a:pt x="1824" y="642"/>
                  </a:lnTo>
                  <a:lnTo>
                    <a:pt x="1830" y="666"/>
                  </a:lnTo>
                  <a:lnTo>
                    <a:pt x="1836" y="684"/>
                  </a:lnTo>
                  <a:lnTo>
                    <a:pt x="1836" y="702"/>
                  </a:lnTo>
                  <a:lnTo>
                    <a:pt x="1866" y="738"/>
                  </a:lnTo>
                  <a:lnTo>
                    <a:pt x="1866" y="792"/>
                  </a:lnTo>
                  <a:lnTo>
                    <a:pt x="1890" y="822"/>
                  </a:lnTo>
                  <a:lnTo>
                    <a:pt x="1890" y="858"/>
                  </a:lnTo>
                  <a:lnTo>
                    <a:pt x="1902" y="930"/>
                  </a:lnTo>
                  <a:lnTo>
                    <a:pt x="1920" y="918"/>
                  </a:lnTo>
                  <a:lnTo>
                    <a:pt x="1962" y="930"/>
                  </a:lnTo>
                  <a:lnTo>
                    <a:pt x="1962" y="870"/>
                  </a:lnTo>
                  <a:lnTo>
                    <a:pt x="1968" y="864"/>
                  </a:lnTo>
                  <a:lnTo>
                    <a:pt x="1974" y="852"/>
                  </a:lnTo>
                  <a:lnTo>
                    <a:pt x="1980" y="876"/>
                  </a:lnTo>
                  <a:lnTo>
                    <a:pt x="1998" y="876"/>
                  </a:lnTo>
                  <a:lnTo>
                    <a:pt x="2004" y="870"/>
                  </a:lnTo>
                  <a:lnTo>
                    <a:pt x="2010" y="858"/>
                  </a:lnTo>
                  <a:lnTo>
                    <a:pt x="2010" y="828"/>
                  </a:lnTo>
                  <a:lnTo>
                    <a:pt x="2004" y="822"/>
                  </a:lnTo>
                  <a:lnTo>
                    <a:pt x="2004" y="816"/>
                  </a:lnTo>
                  <a:lnTo>
                    <a:pt x="1992" y="810"/>
                  </a:lnTo>
                  <a:lnTo>
                    <a:pt x="1986" y="798"/>
                  </a:lnTo>
                  <a:lnTo>
                    <a:pt x="1974" y="792"/>
                  </a:lnTo>
                  <a:lnTo>
                    <a:pt x="1962" y="780"/>
                  </a:lnTo>
                  <a:lnTo>
                    <a:pt x="1956" y="768"/>
                  </a:lnTo>
                  <a:lnTo>
                    <a:pt x="1944" y="756"/>
                  </a:lnTo>
                  <a:lnTo>
                    <a:pt x="1944" y="750"/>
                  </a:lnTo>
                  <a:lnTo>
                    <a:pt x="1956" y="726"/>
                  </a:lnTo>
                  <a:lnTo>
                    <a:pt x="1968" y="720"/>
                  </a:lnTo>
                  <a:lnTo>
                    <a:pt x="1968" y="708"/>
                  </a:lnTo>
                  <a:lnTo>
                    <a:pt x="1962" y="696"/>
                  </a:lnTo>
                  <a:lnTo>
                    <a:pt x="1938" y="684"/>
                  </a:lnTo>
                  <a:lnTo>
                    <a:pt x="1932" y="672"/>
                  </a:lnTo>
                  <a:lnTo>
                    <a:pt x="1932" y="642"/>
                  </a:lnTo>
                  <a:lnTo>
                    <a:pt x="1938" y="636"/>
                  </a:lnTo>
                  <a:lnTo>
                    <a:pt x="1938" y="630"/>
                  </a:lnTo>
                  <a:lnTo>
                    <a:pt x="1926" y="618"/>
                  </a:lnTo>
                  <a:lnTo>
                    <a:pt x="1914" y="612"/>
                  </a:lnTo>
                  <a:lnTo>
                    <a:pt x="1896" y="594"/>
                  </a:lnTo>
                  <a:lnTo>
                    <a:pt x="1884" y="588"/>
                  </a:lnTo>
                  <a:lnTo>
                    <a:pt x="1878" y="582"/>
                  </a:lnTo>
                  <a:lnTo>
                    <a:pt x="1914" y="582"/>
                  </a:lnTo>
                  <a:lnTo>
                    <a:pt x="1926" y="576"/>
                  </a:lnTo>
                  <a:lnTo>
                    <a:pt x="1932" y="570"/>
                  </a:lnTo>
                  <a:lnTo>
                    <a:pt x="1944" y="546"/>
                  </a:lnTo>
                  <a:lnTo>
                    <a:pt x="1950" y="540"/>
                  </a:lnTo>
                  <a:lnTo>
                    <a:pt x="1956" y="528"/>
                  </a:lnTo>
                  <a:lnTo>
                    <a:pt x="1992" y="528"/>
                  </a:lnTo>
                  <a:lnTo>
                    <a:pt x="2004" y="522"/>
                  </a:lnTo>
                  <a:lnTo>
                    <a:pt x="2010" y="522"/>
                  </a:lnTo>
                  <a:lnTo>
                    <a:pt x="2016" y="516"/>
                  </a:lnTo>
                  <a:lnTo>
                    <a:pt x="2016" y="504"/>
                  </a:lnTo>
                  <a:lnTo>
                    <a:pt x="1998" y="486"/>
                  </a:lnTo>
                  <a:lnTo>
                    <a:pt x="1986" y="480"/>
                  </a:lnTo>
                  <a:lnTo>
                    <a:pt x="1974" y="486"/>
                  </a:lnTo>
                  <a:lnTo>
                    <a:pt x="1956" y="504"/>
                  </a:lnTo>
                  <a:lnTo>
                    <a:pt x="1956" y="510"/>
                  </a:lnTo>
                  <a:lnTo>
                    <a:pt x="1944" y="510"/>
                  </a:lnTo>
                  <a:lnTo>
                    <a:pt x="1932" y="504"/>
                  </a:lnTo>
                  <a:lnTo>
                    <a:pt x="1896" y="504"/>
                  </a:lnTo>
                  <a:lnTo>
                    <a:pt x="1890" y="510"/>
                  </a:lnTo>
                  <a:lnTo>
                    <a:pt x="1884" y="522"/>
                  </a:lnTo>
                  <a:lnTo>
                    <a:pt x="1854" y="552"/>
                  </a:lnTo>
                  <a:lnTo>
                    <a:pt x="1848" y="546"/>
                  </a:lnTo>
                  <a:lnTo>
                    <a:pt x="1836" y="540"/>
                  </a:lnTo>
                  <a:lnTo>
                    <a:pt x="1824" y="516"/>
                  </a:lnTo>
                  <a:lnTo>
                    <a:pt x="1788" y="498"/>
                  </a:lnTo>
                  <a:lnTo>
                    <a:pt x="1776" y="498"/>
                  </a:lnTo>
                  <a:lnTo>
                    <a:pt x="1776" y="486"/>
                  </a:lnTo>
                  <a:lnTo>
                    <a:pt x="1782" y="468"/>
                  </a:lnTo>
                  <a:lnTo>
                    <a:pt x="1782" y="456"/>
                  </a:lnTo>
                  <a:lnTo>
                    <a:pt x="1794" y="420"/>
                  </a:lnTo>
                  <a:lnTo>
                    <a:pt x="1806" y="408"/>
                  </a:lnTo>
                  <a:lnTo>
                    <a:pt x="1824" y="408"/>
                  </a:lnTo>
                  <a:lnTo>
                    <a:pt x="1842" y="414"/>
                  </a:lnTo>
                  <a:lnTo>
                    <a:pt x="1896" y="414"/>
                  </a:lnTo>
                  <a:lnTo>
                    <a:pt x="1902" y="408"/>
                  </a:lnTo>
                  <a:lnTo>
                    <a:pt x="1908" y="408"/>
                  </a:lnTo>
                  <a:lnTo>
                    <a:pt x="1908" y="402"/>
                  </a:lnTo>
                  <a:lnTo>
                    <a:pt x="1914" y="396"/>
                  </a:lnTo>
                  <a:lnTo>
                    <a:pt x="1920" y="396"/>
                  </a:lnTo>
                  <a:lnTo>
                    <a:pt x="1944" y="402"/>
                  </a:lnTo>
                  <a:lnTo>
                    <a:pt x="1980" y="420"/>
                  </a:lnTo>
                  <a:lnTo>
                    <a:pt x="2010" y="432"/>
                  </a:lnTo>
                  <a:lnTo>
                    <a:pt x="2034" y="438"/>
                  </a:lnTo>
                  <a:lnTo>
                    <a:pt x="2040" y="438"/>
                  </a:lnTo>
                  <a:lnTo>
                    <a:pt x="2052" y="432"/>
                  </a:lnTo>
                  <a:lnTo>
                    <a:pt x="2064" y="420"/>
                  </a:lnTo>
                  <a:lnTo>
                    <a:pt x="2082" y="420"/>
                  </a:lnTo>
                  <a:lnTo>
                    <a:pt x="2094" y="414"/>
                  </a:lnTo>
                  <a:lnTo>
                    <a:pt x="2106" y="414"/>
                  </a:lnTo>
                  <a:lnTo>
                    <a:pt x="2112" y="408"/>
                  </a:lnTo>
                  <a:lnTo>
                    <a:pt x="2112" y="402"/>
                  </a:lnTo>
                  <a:lnTo>
                    <a:pt x="2106" y="396"/>
                  </a:lnTo>
                  <a:lnTo>
                    <a:pt x="2106" y="390"/>
                  </a:lnTo>
                  <a:lnTo>
                    <a:pt x="2118" y="378"/>
                  </a:lnTo>
                  <a:lnTo>
                    <a:pt x="2142" y="366"/>
                  </a:lnTo>
                  <a:lnTo>
                    <a:pt x="2148" y="360"/>
                  </a:lnTo>
                  <a:lnTo>
                    <a:pt x="2160" y="354"/>
                  </a:lnTo>
                  <a:lnTo>
                    <a:pt x="2148" y="324"/>
                  </a:lnTo>
                  <a:lnTo>
                    <a:pt x="2070" y="360"/>
                  </a:lnTo>
                  <a:lnTo>
                    <a:pt x="2076" y="366"/>
                  </a:lnTo>
                  <a:lnTo>
                    <a:pt x="2076" y="372"/>
                  </a:lnTo>
                  <a:lnTo>
                    <a:pt x="2070" y="378"/>
                  </a:lnTo>
                  <a:lnTo>
                    <a:pt x="2046" y="378"/>
                  </a:lnTo>
                  <a:lnTo>
                    <a:pt x="2022" y="366"/>
                  </a:lnTo>
                  <a:lnTo>
                    <a:pt x="2004" y="366"/>
                  </a:lnTo>
                  <a:lnTo>
                    <a:pt x="1968" y="384"/>
                  </a:lnTo>
                  <a:lnTo>
                    <a:pt x="1950" y="384"/>
                  </a:lnTo>
                  <a:lnTo>
                    <a:pt x="1938" y="378"/>
                  </a:lnTo>
                  <a:lnTo>
                    <a:pt x="1926" y="378"/>
                  </a:lnTo>
                  <a:lnTo>
                    <a:pt x="1902" y="366"/>
                  </a:lnTo>
                  <a:lnTo>
                    <a:pt x="1860" y="366"/>
                  </a:lnTo>
                  <a:lnTo>
                    <a:pt x="1872" y="348"/>
                  </a:lnTo>
                  <a:lnTo>
                    <a:pt x="1860" y="348"/>
                  </a:lnTo>
                  <a:lnTo>
                    <a:pt x="1848" y="342"/>
                  </a:lnTo>
                  <a:lnTo>
                    <a:pt x="1824" y="342"/>
                  </a:lnTo>
                  <a:lnTo>
                    <a:pt x="1824" y="366"/>
                  </a:lnTo>
                  <a:lnTo>
                    <a:pt x="1812" y="378"/>
                  </a:lnTo>
                  <a:lnTo>
                    <a:pt x="1788" y="390"/>
                  </a:lnTo>
                  <a:lnTo>
                    <a:pt x="1764" y="390"/>
                  </a:lnTo>
                  <a:lnTo>
                    <a:pt x="1758" y="396"/>
                  </a:lnTo>
                  <a:lnTo>
                    <a:pt x="1758" y="426"/>
                  </a:lnTo>
                  <a:lnTo>
                    <a:pt x="1740" y="432"/>
                  </a:lnTo>
                  <a:lnTo>
                    <a:pt x="1752" y="498"/>
                  </a:lnTo>
                  <a:lnTo>
                    <a:pt x="1740" y="498"/>
                  </a:lnTo>
                  <a:lnTo>
                    <a:pt x="1734" y="510"/>
                  </a:lnTo>
                  <a:lnTo>
                    <a:pt x="1728" y="516"/>
                  </a:lnTo>
                  <a:lnTo>
                    <a:pt x="1710" y="552"/>
                  </a:lnTo>
                  <a:close/>
                  <a:moveTo>
                    <a:pt x="1986" y="576"/>
                  </a:moveTo>
                  <a:lnTo>
                    <a:pt x="1986" y="594"/>
                  </a:lnTo>
                  <a:lnTo>
                    <a:pt x="1992" y="600"/>
                  </a:lnTo>
                  <a:lnTo>
                    <a:pt x="2004" y="600"/>
                  </a:lnTo>
                  <a:lnTo>
                    <a:pt x="2016" y="588"/>
                  </a:lnTo>
                  <a:lnTo>
                    <a:pt x="2016" y="576"/>
                  </a:lnTo>
                  <a:lnTo>
                    <a:pt x="1986" y="576"/>
                  </a:lnTo>
                  <a:close/>
                  <a:moveTo>
                    <a:pt x="1686" y="1110"/>
                  </a:moveTo>
                  <a:lnTo>
                    <a:pt x="1674" y="1110"/>
                  </a:lnTo>
                  <a:lnTo>
                    <a:pt x="1668" y="1116"/>
                  </a:lnTo>
                  <a:lnTo>
                    <a:pt x="1662" y="1116"/>
                  </a:lnTo>
                  <a:lnTo>
                    <a:pt x="1614" y="1104"/>
                  </a:lnTo>
                  <a:lnTo>
                    <a:pt x="1644" y="1146"/>
                  </a:lnTo>
                  <a:lnTo>
                    <a:pt x="1650" y="1152"/>
                  </a:lnTo>
                  <a:lnTo>
                    <a:pt x="1662" y="1158"/>
                  </a:lnTo>
                  <a:lnTo>
                    <a:pt x="1668" y="1164"/>
                  </a:lnTo>
                  <a:lnTo>
                    <a:pt x="1680" y="1170"/>
                  </a:lnTo>
                  <a:lnTo>
                    <a:pt x="1692" y="1158"/>
                  </a:lnTo>
                  <a:lnTo>
                    <a:pt x="1698" y="1140"/>
                  </a:lnTo>
                  <a:lnTo>
                    <a:pt x="1698" y="1128"/>
                  </a:lnTo>
                  <a:lnTo>
                    <a:pt x="1692" y="1116"/>
                  </a:lnTo>
                  <a:lnTo>
                    <a:pt x="1686" y="1110"/>
                  </a:lnTo>
                  <a:close/>
                  <a:moveTo>
                    <a:pt x="2094" y="1104"/>
                  </a:moveTo>
                  <a:lnTo>
                    <a:pt x="2064" y="1128"/>
                  </a:lnTo>
                  <a:lnTo>
                    <a:pt x="2094" y="1134"/>
                  </a:lnTo>
                  <a:lnTo>
                    <a:pt x="2094" y="1104"/>
                  </a:lnTo>
                  <a:close/>
                  <a:moveTo>
                    <a:pt x="486" y="294"/>
                  </a:moveTo>
                  <a:lnTo>
                    <a:pt x="474" y="288"/>
                  </a:lnTo>
                  <a:lnTo>
                    <a:pt x="468" y="288"/>
                  </a:lnTo>
                  <a:lnTo>
                    <a:pt x="456" y="294"/>
                  </a:lnTo>
                  <a:lnTo>
                    <a:pt x="456" y="312"/>
                  </a:lnTo>
                  <a:lnTo>
                    <a:pt x="468" y="324"/>
                  </a:lnTo>
                  <a:lnTo>
                    <a:pt x="474" y="318"/>
                  </a:lnTo>
                  <a:lnTo>
                    <a:pt x="486" y="318"/>
                  </a:lnTo>
                  <a:lnTo>
                    <a:pt x="486" y="312"/>
                  </a:lnTo>
                  <a:lnTo>
                    <a:pt x="492" y="300"/>
                  </a:lnTo>
                  <a:lnTo>
                    <a:pt x="486" y="294"/>
                  </a:lnTo>
                  <a:close/>
                  <a:moveTo>
                    <a:pt x="2346" y="588"/>
                  </a:moveTo>
                  <a:lnTo>
                    <a:pt x="2340" y="576"/>
                  </a:lnTo>
                  <a:lnTo>
                    <a:pt x="2328" y="570"/>
                  </a:lnTo>
                  <a:lnTo>
                    <a:pt x="2310" y="552"/>
                  </a:lnTo>
                  <a:lnTo>
                    <a:pt x="2304" y="552"/>
                  </a:lnTo>
                  <a:lnTo>
                    <a:pt x="2304" y="600"/>
                  </a:lnTo>
                  <a:lnTo>
                    <a:pt x="2316" y="600"/>
                  </a:lnTo>
                  <a:lnTo>
                    <a:pt x="2328" y="606"/>
                  </a:lnTo>
                  <a:lnTo>
                    <a:pt x="2334" y="606"/>
                  </a:lnTo>
                  <a:lnTo>
                    <a:pt x="2346" y="600"/>
                  </a:lnTo>
                  <a:lnTo>
                    <a:pt x="2346" y="588"/>
                  </a:lnTo>
                  <a:close/>
                  <a:moveTo>
                    <a:pt x="2310" y="474"/>
                  </a:moveTo>
                  <a:lnTo>
                    <a:pt x="2340" y="504"/>
                  </a:lnTo>
                  <a:lnTo>
                    <a:pt x="2358" y="516"/>
                  </a:lnTo>
                  <a:lnTo>
                    <a:pt x="2382" y="528"/>
                  </a:lnTo>
                  <a:lnTo>
                    <a:pt x="2400" y="528"/>
                  </a:lnTo>
                  <a:lnTo>
                    <a:pt x="2400" y="522"/>
                  </a:lnTo>
                  <a:lnTo>
                    <a:pt x="2358" y="480"/>
                  </a:lnTo>
                  <a:lnTo>
                    <a:pt x="2358" y="468"/>
                  </a:lnTo>
                  <a:lnTo>
                    <a:pt x="2364" y="456"/>
                  </a:lnTo>
                  <a:lnTo>
                    <a:pt x="2376" y="450"/>
                  </a:lnTo>
                  <a:lnTo>
                    <a:pt x="2394" y="450"/>
                  </a:lnTo>
                  <a:lnTo>
                    <a:pt x="2406" y="456"/>
                  </a:lnTo>
                  <a:lnTo>
                    <a:pt x="2424" y="444"/>
                  </a:lnTo>
                  <a:lnTo>
                    <a:pt x="2400" y="432"/>
                  </a:lnTo>
                  <a:lnTo>
                    <a:pt x="2412" y="426"/>
                  </a:lnTo>
                  <a:lnTo>
                    <a:pt x="2424" y="402"/>
                  </a:lnTo>
                  <a:lnTo>
                    <a:pt x="2412" y="378"/>
                  </a:lnTo>
                  <a:lnTo>
                    <a:pt x="2400" y="372"/>
                  </a:lnTo>
                  <a:lnTo>
                    <a:pt x="2382" y="372"/>
                  </a:lnTo>
                  <a:lnTo>
                    <a:pt x="2358" y="396"/>
                  </a:lnTo>
                  <a:lnTo>
                    <a:pt x="2346" y="402"/>
                  </a:lnTo>
                  <a:lnTo>
                    <a:pt x="2340" y="408"/>
                  </a:lnTo>
                  <a:lnTo>
                    <a:pt x="2334" y="408"/>
                  </a:lnTo>
                  <a:lnTo>
                    <a:pt x="2328" y="402"/>
                  </a:lnTo>
                  <a:lnTo>
                    <a:pt x="2328" y="366"/>
                  </a:lnTo>
                  <a:lnTo>
                    <a:pt x="2334" y="360"/>
                  </a:lnTo>
                  <a:lnTo>
                    <a:pt x="2346" y="336"/>
                  </a:lnTo>
                  <a:lnTo>
                    <a:pt x="2346" y="318"/>
                  </a:lnTo>
                  <a:lnTo>
                    <a:pt x="2340" y="312"/>
                  </a:lnTo>
                  <a:lnTo>
                    <a:pt x="2358" y="276"/>
                  </a:lnTo>
                  <a:lnTo>
                    <a:pt x="2316" y="312"/>
                  </a:lnTo>
                  <a:lnTo>
                    <a:pt x="2316" y="342"/>
                  </a:lnTo>
                  <a:lnTo>
                    <a:pt x="2304" y="348"/>
                  </a:lnTo>
                  <a:lnTo>
                    <a:pt x="2298" y="354"/>
                  </a:lnTo>
                  <a:lnTo>
                    <a:pt x="2286" y="378"/>
                  </a:lnTo>
                  <a:lnTo>
                    <a:pt x="2286" y="408"/>
                  </a:lnTo>
                  <a:lnTo>
                    <a:pt x="2298" y="420"/>
                  </a:lnTo>
                  <a:lnTo>
                    <a:pt x="2304" y="432"/>
                  </a:lnTo>
                  <a:lnTo>
                    <a:pt x="2310" y="438"/>
                  </a:lnTo>
                  <a:lnTo>
                    <a:pt x="2310" y="444"/>
                  </a:lnTo>
                  <a:lnTo>
                    <a:pt x="2304" y="450"/>
                  </a:lnTo>
                  <a:lnTo>
                    <a:pt x="2304" y="468"/>
                  </a:lnTo>
                  <a:lnTo>
                    <a:pt x="2310" y="474"/>
                  </a:lnTo>
                  <a:close/>
                  <a:moveTo>
                    <a:pt x="2250" y="708"/>
                  </a:moveTo>
                  <a:lnTo>
                    <a:pt x="2238" y="696"/>
                  </a:lnTo>
                  <a:lnTo>
                    <a:pt x="2214" y="708"/>
                  </a:lnTo>
                  <a:lnTo>
                    <a:pt x="2214" y="732"/>
                  </a:lnTo>
                  <a:lnTo>
                    <a:pt x="2220" y="744"/>
                  </a:lnTo>
                  <a:lnTo>
                    <a:pt x="2226" y="750"/>
                  </a:lnTo>
                  <a:lnTo>
                    <a:pt x="2250" y="762"/>
                  </a:lnTo>
                  <a:lnTo>
                    <a:pt x="2274" y="762"/>
                  </a:lnTo>
                  <a:lnTo>
                    <a:pt x="2280" y="750"/>
                  </a:lnTo>
                  <a:lnTo>
                    <a:pt x="2280" y="738"/>
                  </a:lnTo>
                  <a:lnTo>
                    <a:pt x="2274" y="726"/>
                  </a:lnTo>
                  <a:lnTo>
                    <a:pt x="2274" y="714"/>
                  </a:lnTo>
                  <a:lnTo>
                    <a:pt x="2268" y="708"/>
                  </a:lnTo>
                  <a:lnTo>
                    <a:pt x="2268" y="702"/>
                  </a:lnTo>
                  <a:lnTo>
                    <a:pt x="2250" y="708"/>
                  </a:lnTo>
                  <a:close/>
                  <a:moveTo>
                    <a:pt x="2148" y="1104"/>
                  </a:moveTo>
                  <a:lnTo>
                    <a:pt x="2226" y="1092"/>
                  </a:lnTo>
                  <a:lnTo>
                    <a:pt x="2166" y="1074"/>
                  </a:lnTo>
                  <a:lnTo>
                    <a:pt x="2148" y="1104"/>
                  </a:lnTo>
                  <a:close/>
                  <a:moveTo>
                    <a:pt x="2544" y="750"/>
                  </a:moveTo>
                  <a:lnTo>
                    <a:pt x="2520" y="732"/>
                  </a:lnTo>
                  <a:lnTo>
                    <a:pt x="2526" y="714"/>
                  </a:lnTo>
                  <a:lnTo>
                    <a:pt x="2514" y="702"/>
                  </a:lnTo>
                  <a:lnTo>
                    <a:pt x="2508" y="690"/>
                  </a:lnTo>
                  <a:lnTo>
                    <a:pt x="2490" y="684"/>
                  </a:lnTo>
                  <a:lnTo>
                    <a:pt x="2472" y="672"/>
                  </a:lnTo>
                  <a:lnTo>
                    <a:pt x="2442" y="666"/>
                  </a:lnTo>
                  <a:lnTo>
                    <a:pt x="2424" y="666"/>
                  </a:lnTo>
                  <a:lnTo>
                    <a:pt x="2388" y="684"/>
                  </a:lnTo>
                  <a:lnTo>
                    <a:pt x="2358" y="684"/>
                  </a:lnTo>
                  <a:lnTo>
                    <a:pt x="2346" y="696"/>
                  </a:lnTo>
                  <a:lnTo>
                    <a:pt x="2340" y="708"/>
                  </a:lnTo>
                  <a:lnTo>
                    <a:pt x="2340" y="726"/>
                  </a:lnTo>
                  <a:lnTo>
                    <a:pt x="2346" y="732"/>
                  </a:lnTo>
                  <a:lnTo>
                    <a:pt x="2364" y="714"/>
                  </a:lnTo>
                  <a:lnTo>
                    <a:pt x="2364" y="726"/>
                  </a:lnTo>
                  <a:lnTo>
                    <a:pt x="2370" y="738"/>
                  </a:lnTo>
                  <a:lnTo>
                    <a:pt x="2376" y="744"/>
                  </a:lnTo>
                  <a:lnTo>
                    <a:pt x="2388" y="738"/>
                  </a:lnTo>
                  <a:lnTo>
                    <a:pt x="2394" y="732"/>
                  </a:lnTo>
                  <a:lnTo>
                    <a:pt x="2394" y="726"/>
                  </a:lnTo>
                  <a:lnTo>
                    <a:pt x="2400" y="720"/>
                  </a:lnTo>
                  <a:lnTo>
                    <a:pt x="2400" y="714"/>
                  </a:lnTo>
                  <a:lnTo>
                    <a:pt x="2406" y="726"/>
                  </a:lnTo>
                  <a:lnTo>
                    <a:pt x="2418" y="732"/>
                  </a:lnTo>
                  <a:lnTo>
                    <a:pt x="2430" y="732"/>
                  </a:lnTo>
                  <a:lnTo>
                    <a:pt x="2442" y="720"/>
                  </a:lnTo>
                  <a:lnTo>
                    <a:pt x="2454" y="714"/>
                  </a:lnTo>
                  <a:lnTo>
                    <a:pt x="2460" y="708"/>
                  </a:lnTo>
                  <a:lnTo>
                    <a:pt x="2472" y="762"/>
                  </a:lnTo>
                  <a:lnTo>
                    <a:pt x="2502" y="738"/>
                  </a:lnTo>
                  <a:lnTo>
                    <a:pt x="2538" y="774"/>
                  </a:lnTo>
                  <a:lnTo>
                    <a:pt x="2544" y="750"/>
                  </a:lnTo>
                  <a:close/>
                  <a:moveTo>
                    <a:pt x="3264" y="678"/>
                  </a:moveTo>
                  <a:lnTo>
                    <a:pt x="3222" y="648"/>
                  </a:lnTo>
                  <a:lnTo>
                    <a:pt x="3210" y="648"/>
                  </a:lnTo>
                  <a:lnTo>
                    <a:pt x="3198" y="654"/>
                  </a:lnTo>
                  <a:lnTo>
                    <a:pt x="3180" y="654"/>
                  </a:lnTo>
                  <a:lnTo>
                    <a:pt x="3162" y="648"/>
                  </a:lnTo>
                  <a:lnTo>
                    <a:pt x="3126" y="630"/>
                  </a:lnTo>
                  <a:lnTo>
                    <a:pt x="3096" y="612"/>
                  </a:lnTo>
                  <a:lnTo>
                    <a:pt x="3060" y="594"/>
                  </a:lnTo>
                  <a:lnTo>
                    <a:pt x="3042" y="582"/>
                  </a:lnTo>
                  <a:lnTo>
                    <a:pt x="3030" y="582"/>
                  </a:lnTo>
                  <a:lnTo>
                    <a:pt x="3006" y="594"/>
                  </a:lnTo>
                  <a:lnTo>
                    <a:pt x="3000" y="600"/>
                  </a:lnTo>
                  <a:lnTo>
                    <a:pt x="2988" y="606"/>
                  </a:lnTo>
                  <a:lnTo>
                    <a:pt x="3006" y="630"/>
                  </a:lnTo>
                  <a:lnTo>
                    <a:pt x="2928" y="642"/>
                  </a:lnTo>
                  <a:lnTo>
                    <a:pt x="2934" y="666"/>
                  </a:lnTo>
                  <a:lnTo>
                    <a:pt x="2928" y="678"/>
                  </a:lnTo>
                  <a:lnTo>
                    <a:pt x="2922" y="684"/>
                  </a:lnTo>
                  <a:lnTo>
                    <a:pt x="2916" y="696"/>
                  </a:lnTo>
                  <a:lnTo>
                    <a:pt x="2880" y="720"/>
                  </a:lnTo>
                  <a:lnTo>
                    <a:pt x="2862" y="726"/>
                  </a:lnTo>
                  <a:lnTo>
                    <a:pt x="2844" y="726"/>
                  </a:lnTo>
                  <a:lnTo>
                    <a:pt x="2832" y="720"/>
                  </a:lnTo>
                  <a:lnTo>
                    <a:pt x="2826" y="714"/>
                  </a:lnTo>
                  <a:lnTo>
                    <a:pt x="2820" y="702"/>
                  </a:lnTo>
                  <a:lnTo>
                    <a:pt x="2820" y="678"/>
                  </a:lnTo>
                  <a:lnTo>
                    <a:pt x="2814" y="672"/>
                  </a:lnTo>
                  <a:lnTo>
                    <a:pt x="2814" y="660"/>
                  </a:lnTo>
                  <a:lnTo>
                    <a:pt x="2808" y="666"/>
                  </a:lnTo>
                  <a:lnTo>
                    <a:pt x="2808" y="672"/>
                  </a:lnTo>
                  <a:lnTo>
                    <a:pt x="2802" y="684"/>
                  </a:lnTo>
                  <a:lnTo>
                    <a:pt x="2796" y="690"/>
                  </a:lnTo>
                  <a:lnTo>
                    <a:pt x="2796" y="696"/>
                  </a:lnTo>
                  <a:lnTo>
                    <a:pt x="2796" y="690"/>
                  </a:lnTo>
                  <a:lnTo>
                    <a:pt x="2790" y="684"/>
                  </a:lnTo>
                  <a:lnTo>
                    <a:pt x="2790" y="672"/>
                  </a:lnTo>
                  <a:lnTo>
                    <a:pt x="2784" y="660"/>
                  </a:lnTo>
                  <a:lnTo>
                    <a:pt x="2784" y="576"/>
                  </a:lnTo>
                  <a:lnTo>
                    <a:pt x="2778" y="558"/>
                  </a:lnTo>
                  <a:lnTo>
                    <a:pt x="2760" y="522"/>
                  </a:lnTo>
                  <a:lnTo>
                    <a:pt x="2724" y="522"/>
                  </a:lnTo>
                  <a:lnTo>
                    <a:pt x="2718" y="510"/>
                  </a:lnTo>
                  <a:lnTo>
                    <a:pt x="2694" y="498"/>
                  </a:lnTo>
                  <a:lnTo>
                    <a:pt x="2676" y="486"/>
                  </a:lnTo>
                  <a:lnTo>
                    <a:pt x="2652" y="486"/>
                  </a:lnTo>
                  <a:lnTo>
                    <a:pt x="2634" y="498"/>
                  </a:lnTo>
                  <a:lnTo>
                    <a:pt x="2628" y="504"/>
                  </a:lnTo>
                  <a:lnTo>
                    <a:pt x="2616" y="510"/>
                  </a:lnTo>
                  <a:lnTo>
                    <a:pt x="2610" y="522"/>
                  </a:lnTo>
                  <a:lnTo>
                    <a:pt x="2586" y="528"/>
                  </a:lnTo>
                  <a:lnTo>
                    <a:pt x="2580" y="546"/>
                  </a:lnTo>
                  <a:lnTo>
                    <a:pt x="2562" y="558"/>
                  </a:lnTo>
                  <a:lnTo>
                    <a:pt x="2562" y="540"/>
                  </a:lnTo>
                  <a:lnTo>
                    <a:pt x="2556" y="534"/>
                  </a:lnTo>
                  <a:lnTo>
                    <a:pt x="2532" y="534"/>
                  </a:lnTo>
                  <a:lnTo>
                    <a:pt x="2532" y="546"/>
                  </a:lnTo>
                  <a:lnTo>
                    <a:pt x="2544" y="570"/>
                  </a:lnTo>
                  <a:lnTo>
                    <a:pt x="2568" y="582"/>
                  </a:lnTo>
                  <a:lnTo>
                    <a:pt x="2604" y="582"/>
                  </a:lnTo>
                  <a:lnTo>
                    <a:pt x="2616" y="588"/>
                  </a:lnTo>
                  <a:lnTo>
                    <a:pt x="2622" y="594"/>
                  </a:lnTo>
                  <a:lnTo>
                    <a:pt x="2628" y="594"/>
                  </a:lnTo>
                  <a:lnTo>
                    <a:pt x="2628" y="618"/>
                  </a:lnTo>
                  <a:lnTo>
                    <a:pt x="2634" y="630"/>
                  </a:lnTo>
                  <a:lnTo>
                    <a:pt x="2640" y="636"/>
                  </a:lnTo>
                  <a:lnTo>
                    <a:pt x="2652" y="642"/>
                  </a:lnTo>
                  <a:lnTo>
                    <a:pt x="2694" y="642"/>
                  </a:lnTo>
                  <a:lnTo>
                    <a:pt x="2712" y="636"/>
                  </a:lnTo>
                  <a:lnTo>
                    <a:pt x="2754" y="636"/>
                  </a:lnTo>
                  <a:lnTo>
                    <a:pt x="2760" y="642"/>
                  </a:lnTo>
                  <a:lnTo>
                    <a:pt x="2760" y="660"/>
                  </a:lnTo>
                  <a:lnTo>
                    <a:pt x="2700" y="660"/>
                  </a:lnTo>
                  <a:lnTo>
                    <a:pt x="2688" y="666"/>
                  </a:lnTo>
                  <a:lnTo>
                    <a:pt x="2676" y="678"/>
                  </a:lnTo>
                  <a:lnTo>
                    <a:pt x="2640" y="678"/>
                  </a:lnTo>
                  <a:lnTo>
                    <a:pt x="2616" y="690"/>
                  </a:lnTo>
                  <a:lnTo>
                    <a:pt x="2616" y="696"/>
                  </a:lnTo>
                  <a:lnTo>
                    <a:pt x="2622" y="696"/>
                  </a:lnTo>
                  <a:lnTo>
                    <a:pt x="2646" y="708"/>
                  </a:lnTo>
                  <a:lnTo>
                    <a:pt x="2658" y="708"/>
                  </a:lnTo>
                  <a:lnTo>
                    <a:pt x="2676" y="726"/>
                  </a:lnTo>
                  <a:lnTo>
                    <a:pt x="2682" y="738"/>
                  </a:lnTo>
                  <a:lnTo>
                    <a:pt x="2688" y="744"/>
                  </a:lnTo>
                  <a:lnTo>
                    <a:pt x="2682" y="750"/>
                  </a:lnTo>
                  <a:lnTo>
                    <a:pt x="2676" y="762"/>
                  </a:lnTo>
                  <a:lnTo>
                    <a:pt x="2676" y="774"/>
                  </a:lnTo>
                  <a:lnTo>
                    <a:pt x="2670" y="780"/>
                  </a:lnTo>
                  <a:lnTo>
                    <a:pt x="2676" y="792"/>
                  </a:lnTo>
                  <a:lnTo>
                    <a:pt x="2682" y="798"/>
                  </a:lnTo>
                  <a:lnTo>
                    <a:pt x="2694" y="792"/>
                  </a:lnTo>
                  <a:lnTo>
                    <a:pt x="2706" y="780"/>
                  </a:lnTo>
                  <a:lnTo>
                    <a:pt x="2712" y="768"/>
                  </a:lnTo>
                  <a:lnTo>
                    <a:pt x="2718" y="762"/>
                  </a:lnTo>
                  <a:lnTo>
                    <a:pt x="2718" y="750"/>
                  </a:lnTo>
                  <a:lnTo>
                    <a:pt x="2724" y="744"/>
                  </a:lnTo>
                  <a:lnTo>
                    <a:pt x="2736" y="720"/>
                  </a:lnTo>
                  <a:lnTo>
                    <a:pt x="2742" y="714"/>
                  </a:lnTo>
                  <a:lnTo>
                    <a:pt x="2748" y="702"/>
                  </a:lnTo>
                  <a:lnTo>
                    <a:pt x="2748" y="744"/>
                  </a:lnTo>
                  <a:lnTo>
                    <a:pt x="2754" y="750"/>
                  </a:lnTo>
                  <a:lnTo>
                    <a:pt x="2766" y="756"/>
                  </a:lnTo>
                  <a:lnTo>
                    <a:pt x="2772" y="768"/>
                  </a:lnTo>
                  <a:lnTo>
                    <a:pt x="2784" y="774"/>
                  </a:lnTo>
                  <a:lnTo>
                    <a:pt x="2790" y="780"/>
                  </a:lnTo>
                  <a:lnTo>
                    <a:pt x="2814" y="780"/>
                  </a:lnTo>
                  <a:lnTo>
                    <a:pt x="2820" y="774"/>
                  </a:lnTo>
                  <a:lnTo>
                    <a:pt x="2826" y="774"/>
                  </a:lnTo>
                  <a:lnTo>
                    <a:pt x="2814" y="792"/>
                  </a:lnTo>
                  <a:lnTo>
                    <a:pt x="2844" y="822"/>
                  </a:lnTo>
                  <a:lnTo>
                    <a:pt x="2904" y="822"/>
                  </a:lnTo>
                  <a:lnTo>
                    <a:pt x="2940" y="846"/>
                  </a:lnTo>
                  <a:lnTo>
                    <a:pt x="2976" y="864"/>
                  </a:lnTo>
                  <a:lnTo>
                    <a:pt x="3006" y="876"/>
                  </a:lnTo>
                  <a:lnTo>
                    <a:pt x="3036" y="894"/>
                  </a:lnTo>
                  <a:lnTo>
                    <a:pt x="3066" y="924"/>
                  </a:lnTo>
                  <a:lnTo>
                    <a:pt x="3066" y="972"/>
                  </a:lnTo>
                  <a:lnTo>
                    <a:pt x="3090" y="996"/>
                  </a:lnTo>
                  <a:lnTo>
                    <a:pt x="3102" y="1002"/>
                  </a:lnTo>
                  <a:lnTo>
                    <a:pt x="3096" y="1002"/>
                  </a:lnTo>
                  <a:lnTo>
                    <a:pt x="3084" y="1008"/>
                  </a:lnTo>
                  <a:lnTo>
                    <a:pt x="3078" y="1014"/>
                  </a:lnTo>
                  <a:lnTo>
                    <a:pt x="3078" y="1020"/>
                  </a:lnTo>
                  <a:lnTo>
                    <a:pt x="3090" y="1032"/>
                  </a:lnTo>
                  <a:lnTo>
                    <a:pt x="3114" y="1032"/>
                  </a:lnTo>
                  <a:lnTo>
                    <a:pt x="3090" y="1044"/>
                  </a:lnTo>
                  <a:lnTo>
                    <a:pt x="3090" y="1056"/>
                  </a:lnTo>
                  <a:lnTo>
                    <a:pt x="3102" y="1062"/>
                  </a:lnTo>
                  <a:lnTo>
                    <a:pt x="3108" y="1092"/>
                  </a:lnTo>
                  <a:lnTo>
                    <a:pt x="3096" y="1122"/>
                  </a:lnTo>
                  <a:lnTo>
                    <a:pt x="3120" y="1122"/>
                  </a:lnTo>
                  <a:lnTo>
                    <a:pt x="3126" y="1116"/>
                  </a:lnTo>
                  <a:lnTo>
                    <a:pt x="3138" y="1116"/>
                  </a:lnTo>
                  <a:lnTo>
                    <a:pt x="3150" y="1110"/>
                  </a:lnTo>
                  <a:lnTo>
                    <a:pt x="3162" y="1110"/>
                  </a:lnTo>
                  <a:lnTo>
                    <a:pt x="3168" y="1104"/>
                  </a:lnTo>
                  <a:lnTo>
                    <a:pt x="3174" y="1104"/>
                  </a:lnTo>
                  <a:lnTo>
                    <a:pt x="3174" y="1134"/>
                  </a:lnTo>
                  <a:lnTo>
                    <a:pt x="3234" y="1194"/>
                  </a:lnTo>
                  <a:lnTo>
                    <a:pt x="3240" y="1194"/>
                  </a:lnTo>
                  <a:lnTo>
                    <a:pt x="3240" y="1146"/>
                  </a:lnTo>
                  <a:lnTo>
                    <a:pt x="3234" y="1122"/>
                  </a:lnTo>
                  <a:lnTo>
                    <a:pt x="3234" y="1116"/>
                  </a:lnTo>
                  <a:lnTo>
                    <a:pt x="3240" y="1110"/>
                  </a:lnTo>
                  <a:lnTo>
                    <a:pt x="3240" y="1098"/>
                  </a:lnTo>
                  <a:lnTo>
                    <a:pt x="3246" y="1086"/>
                  </a:lnTo>
                  <a:lnTo>
                    <a:pt x="3246" y="1062"/>
                  </a:lnTo>
                  <a:lnTo>
                    <a:pt x="3252" y="1050"/>
                  </a:lnTo>
                  <a:lnTo>
                    <a:pt x="3252" y="1020"/>
                  </a:lnTo>
                  <a:lnTo>
                    <a:pt x="3240" y="1020"/>
                  </a:lnTo>
                  <a:lnTo>
                    <a:pt x="3228" y="1014"/>
                  </a:lnTo>
                  <a:lnTo>
                    <a:pt x="3222" y="1008"/>
                  </a:lnTo>
                  <a:lnTo>
                    <a:pt x="3222" y="1002"/>
                  </a:lnTo>
                  <a:lnTo>
                    <a:pt x="3234" y="990"/>
                  </a:lnTo>
                  <a:lnTo>
                    <a:pt x="3246" y="984"/>
                  </a:lnTo>
                  <a:lnTo>
                    <a:pt x="3252" y="978"/>
                  </a:lnTo>
                  <a:lnTo>
                    <a:pt x="3252" y="864"/>
                  </a:lnTo>
                  <a:lnTo>
                    <a:pt x="3258" y="846"/>
                  </a:lnTo>
                  <a:lnTo>
                    <a:pt x="3258" y="708"/>
                  </a:lnTo>
                  <a:lnTo>
                    <a:pt x="3264" y="678"/>
                  </a:lnTo>
                  <a:close/>
                  <a:moveTo>
                    <a:pt x="336" y="666"/>
                  </a:moveTo>
                  <a:lnTo>
                    <a:pt x="330" y="672"/>
                  </a:lnTo>
                  <a:lnTo>
                    <a:pt x="354" y="696"/>
                  </a:lnTo>
                  <a:lnTo>
                    <a:pt x="360" y="708"/>
                  </a:lnTo>
                  <a:lnTo>
                    <a:pt x="366" y="714"/>
                  </a:lnTo>
                  <a:lnTo>
                    <a:pt x="378" y="714"/>
                  </a:lnTo>
                  <a:lnTo>
                    <a:pt x="378" y="696"/>
                  </a:lnTo>
                  <a:lnTo>
                    <a:pt x="366" y="690"/>
                  </a:lnTo>
                  <a:lnTo>
                    <a:pt x="360" y="678"/>
                  </a:lnTo>
                  <a:lnTo>
                    <a:pt x="348" y="672"/>
                  </a:lnTo>
                  <a:lnTo>
                    <a:pt x="342" y="666"/>
                  </a:lnTo>
                  <a:lnTo>
                    <a:pt x="336" y="666"/>
                  </a:lnTo>
                  <a:close/>
                  <a:moveTo>
                    <a:pt x="2526" y="1104"/>
                  </a:moveTo>
                  <a:lnTo>
                    <a:pt x="2544" y="1116"/>
                  </a:lnTo>
                  <a:lnTo>
                    <a:pt x="2574" y="1092"/>
                  </a:lnTo>
                  <a:lnTo>
                    <a:pt x="2592" y="1092"/>
                  </a:lnTo>
                  <a:lnTo>
                    <a:pt x="2604" y="1080"/>
                  </a:lnTo>
                  <a:lnTo>
                    <a:pt x="2604" y="1062"/>
                  </a:lnTo>
                  <a:lnTo>
                    <a:pt x="2592" y="1056"/>
                  </a:lnTo>
                  <a:lnTo>
                    <a:pt x="2586" y="1056"/>
                  </a:lnTo>
                  <a:lnTo>
                    <a:pt x="2574" y="1062"/>
                  </a:lnTo>
                  <a:lnTo>
                    <a:pt x="2556" y="1068"/>
                  </a:lnTo>
                  <a:lnTo>
                    <a:pt x="2526" y="1098"/>
                  </a:lnTo>
                  <a:lnTo>
                    <a:pt x="2526" y="1104"/>
                  </a:lnTo>
                  <a:close/>
                  <a:moveTo>
                    <a:pt x="3096" y="1068"/>
                  </a:moveTo>
                  <a:lnTo>
                    <a:pt x="3090" y="1068"/>
                  </a:lnTo>
                  <a:lnTo>
                    <a:pt x="3090" y="1062"/>
                  </a:lnTo>
                  <a:lnTo>
                    <a:pt x="3084" y="1062"/>
                  </a:lnTo>
                  <a:lnTo>
                    <a:pt x="3078" y="1056"/>
                  </a:lnTo>
                  <a:lnTo>
                    <a:pt x="3066" y="1056"/>
                  </a:lnTo>
                  <a:lnTo>
                    <a:pt x="3048" y="1062"/>
                  </a:lnTo>
                  <a:lnTo>
                    <a:pt x="3024" y="1086"/>
                  </a:lnTo>
                  <a:lnTo>
                    <a:pt x="3012" y="1122"/>
                  </a:lnTo>
                  <a:lnTo>
                    <a:pt x="3012" y="1134"/>
                  </a:lnTo>
                  <a:lnTo>
                    <a:pt x="3072" y="1128"/>
                  </a:lnTo>
                  <a:lnTo>
                    <a:pt x="3084" y="1128"/>
                  </a:lnTo>
                  <a:lnTo>
                    <a:pt x="3090" y="1122"/>
                  </a:lnTo>
                  <a:lnTo>
                    <a:pt x="3102" y="1092"/>
                  </a:lnTo>
                  <a:lnTo>
                    <a:pt x="3096" y="1068"/>
                  </a:lnTo>
                  <a:close/>
                  <a:moveTo>
                    <a:pt x="2778" y="942"/>
                  </a:moveTo>
                  <a:lnTo>
                    <a:pt x="2766" y="960"/>
                  </a:lnTo>
                  <a:lnTo>
                    <a:pt x="2766" y="1014"/>
                  </a:lnTo>
                  <a:lnTo>
                    <a:pt x="2784" y="1014"/>
                  </a:lnTo>
                  <a:lnTo>
                    <a:pt x="2778" y="996"/>
                  </a:lnTo>
                  <a:lnTo>
                    <a:pt x="2790" y="990"/>
                  </a:lnTo>
                  <a:lnTo>
                    <a:pt x="2790" y="972"/>
                  </a:lnTo>
                  <a:lnTo>
                    <a:pt x="2778" y="972"/>
                  </a:lnTo>
                  <a:lnTo>
                    <a:pt x="2796" y="936"/>
                  </a:lnTo>
                  <a:lnTo>
                    <a:pt x="2814" y="906"/>
                  </a:lnTo>
                  <a:lnTo>
                    <a:pt x="2784" y="912"/>
                  </a:lnTo>
                  <a:lnTo>
                    <a:pt x="2778" y="942"/>
                  </a:lnTo>
                  <a:close/>
                  <a:moveTo>
                    <a:pt x="2136" y="600"/>
                  </a:moveTo>
                  <a:lnTo>
                    <a:pt x="2124" y="594"/>
                  </a:lnTo>
                  <a:lnTo>
                    <a:pt x="2118" y="594"/>
                  </a:lnTo>
                  <a:lnTo>
                    <a:pt x="2106" y="588"/>
                  </a:lnTo>
                  <a:lnTo>
                    <a:pt x="2088" y="588"/>
                  </a:lnTo>
                  <a:lnTo>
                    <a:pt x="2082" y="594"/>
                  </a:lnTo>
                  <a:lnTo>
                    <a:pt x="2082" y="600"/>
                  </a:lnTo>
                  <a:lnTo>
                    <a:pt x="2076" y="606"/>
                  </a:lnTo>
                  <a:lnTo>
                    <a:pt x="2082" y="612"/>
                  </a:lnTo>
                  <a:lnTo>
                    <a:pt x="2094" y="618"/>
                  </a:lnTo>
                  <a:lnTo>
                    <a:pt x="2136" y="618"/>
                  </a:lnTo>
                  <a:lnTo>
                    <a:pt x="2214" y="606"/>
                  </a:lnTo>
                  <a:lnTo>
                    <a:pt x="2136" y="600"/>
                  </a:lnTo>
                  <a:close/>
                  <a:moveTo>
                    <a:pt x="1308" y="1038"/>
                  </a:moveTo>
                  <a:lnTo>
                    <a:pt x="1368" y="1002"/>
                  </a:lnTo>
                  <a:lnTo>
                    <a:pt x="1362" y="990"/>
                  </a:lnTo>
                  <a:lnTo>
                    <a:pt x="1350" y="990"/>
                  </a:lnTo>
                  <a:lnTo>
                    <a:pt x="1332" y="996"/>
                  </a:lnTo>
                  <a:lnTo>
                    <a:pt x="1320" y="996"/>
                  </a:lnTo>
                  <a:lnTo>
                    <a:pt x="1302" y="1002"/>
                  </a:lnTo>
                  <a:lnTo>
                    <a:pt x="1290" y="1008"/>
                  </a:lnTo>
                  <a:lnTo>
                    <a:pt x="1284" y="1014"/>
                  </a:lnTo>
                  <a:lnTo>
                    <a:pt x="1284" y="1032"/>
                  </a:lnTo>
                  <a:lnTo>
                    <a:pt x="1290" y="1038"/>
                  </a:lnTo>
                  <a:lnTo>
                    <a:pt x="1308" y="1038"/>
                  </a:lnTo>
                  <a:close/>
                  <a:moveTo>
                    <a:pt x="1428" y="1116"/>
                  </a:moveTo>
                  <a:lnTo>
                    <a:pt x="1392" y="1116"/>
                  </a:lnTo>
                  <a:lnTo>
                    <a:pt x="1386" y="1146"/>
                  </a:lnTo>
                  <a:lnTo>
                    <a:pt x="1386" y="1152"/>
                  </a:lnTo>
                  <a:lnTo>
                    <a:pt x="1404" y="1170"/>
                  </a:lnTo>
                  <a:lnTo>
                    <a:pt x="1416" y="1176"/>
                  </a:lnTo>
                  <a:lnTo>
                    <a:pt x="1428" y="1164"/>
                  </a:lnTo>
                  <a:lnTo>
                    <a:pt x="1440" y="1140"/>
                  </a:lnTo>
                  <a:lnTo>
                    <a:pt x="1440" y="1128"/>
                  </a:lnTo>
                  <a:lnTo>
                    <a:pt x="1428" y="1116"/>
                  </a:lnTo>
                  <a:close/>
                  <a:moveTo>
                    <a:pt x="708" y="930"/>
                  </a:moveTo>
                  <a:lnTo>
                    <a:pt x="714" y="924"/>
                  </a:lnTo>
                  <a:lnTo>
                    <a:pt x="714" y="900"/>
                  </a:lnTo>
                  <a:lnTo>
                    <a:pt x="744" y="924"/>
                  </a:lnTo>
                  <a:lnTo>
                    <a:pt x="744" y="918"/>
                  </a:lnTo>
                  <a:lnTo>
                    <a:pt x="750" y="912"/>
                  </a:lnTo>
                  <a:lnTo>
                    <a:pt x="750" y="900"/>
                  </a:lnTo>
                  <a:lnTo>
                    <a:pt x="756" y="882"/>
                  </a:lnTo>
                  <a:lnTo>
                    <a:pt x="756" y="840"/>
                  </a:lnTo>
                  <a:lnTo>
                    <a:pt x="762" y="822"/>
                  </a:lnTo>
                  <a:lnTo>
                    <a:pt x="762" y="810"/>
                  </a:lnTo>
                  <a:lnTo>
                    <a:pt x="768" y="792"/>
                  </a:lnTo>
                  <a:lnTo>
                    <a:pt x="768" y="780"/>
                  </a:lnTo>
                  <a:lnTo>
                    <a:pt x="762" y="774"/>
                  </a:lnTo>
                  <a:lnTo>
                    <a:pt x="756" y="762"/>
                  </a:lnTo>
                  <a:lnTo>
                    <a:pt x="756" y="750"/>
                  </a:lnTo>
                  <a:lnTo>
                    <a:pt x="768" y="726"/>
                  </a:lnTo>
                  <a:lnTo>
                    <a:pt x="774" y="720"/>
                  </a:lnTo>
                  <a:lnTo>
                    <a:pt x="774" y="714"/>
                  </a:lnTo>
                  <a:lnTo>
                    <a:pt x="756" y="696"/>
                  </a:lnTo>
                  <a:lnTo>
                    <a:pt x="744" y="654"/>
                  </a:lnTo>
                  <a:lnTo>
                    <a:pt x="702" y="654"/>
                  </a:lnTo>
                  <a:lnTo>
                    <a:pt x="702" y="618"/>
                  </a:lnTo>
                  <a:lnTo>
                    <a:pt x="666" y="618"/>
                  </a:lnTo>
                  <a:lnTo>
                    <a:pt x="660" y="546"/>
                  </a:lnTo>
                  <a:lnTo>
                    <a:pt x="606" y="546"/>
                  </a:lnTo>
                  <a:lnTo>
                    <a:pt x="594" y="534"/>
                  </a:lnTo>
                  <a:lnTo>
                    <a:pt x="594" y="504"/>
                  </a:lnTo>
                  <a:lnTo>
                    <a:pt x="600" y="498"/>
                  </a:lnTo>
                  <a:lnTo>
                    <a:pt x="606" y="486"/>
                  </a:lnTo>
                  <a:lnTo>
                    <a:pt x="582" y="486"/>
                  </a:lnTo>
                  <a:lnTo>
                    <a:pt x="600" y="468"/>
                  </a:lnTo>
                  <a:lnTo>
                    <a:pt x="606" y="456"/>
                  </a:lnTo>
                  <a:lnTo>
                    <a:pt x="612" y="450"/>
                  </a:lnTo>
                  <a:lnTo>
                    <a:pt x="612" y="438"/>
                  </a:lnTo>
                  <a:lnTo>
                    <a:pt x="600" y="426"/>
                  </a:lnTo>
                  <a:lnTo>
                    <a:pt x="588" y="432"/>
                  </a:lnTo>
                  <a:lnTo>
                    <a:pt x="570" y="432"/>
                  </a:lnTo>
                  <a:lnTo>
                    <a:pt x="552" y="438"/>
                  </a:lnTo>
                  <a:lnTo>
                    <a:pt x="540" y="438"/>
                  </a:lnTo>
                  <a:lnTo>
                    <a:pt x="534" y="444"/>
                  </a:lnTo>
                  <a:lnTo>
                    <a:pt x="528" y="444"/>
                  </a:lnTo>
                  <a:lnTo>
                    <a:pt x="534" y="438"/>
                  </a:lnTo>
                  <a:lnTo>
                    <a:pt x="546" y="432"/>
                  </a:lnTo>
                  <a:lnTo>
                    <a:pt x="552" y="420"/>
                  </a:lnTo>
                  <a:lnTo>
                    <a:pt x="558" y="414"/>
                  </a:lnTo>
                  <a:lnTo>
                    <a:pt x="558" y="402"/>
                  </a:lnTo>
                  <a:lnTo>
                    <a:pt x="546" y="396"/>
                  </a:lnTo>
                  <a:lnTo>
                    <a:pt x="534" y="396"/>
                  </a:lnTo>
                  <a:lnTo>
                    <a:pt x="522" y="390"/>
                  </a:lnTo>
                  <a:lnTo>
                    <a:pt x="510" y="390"/>
                  </a:lnTo>
                  <a:lnTo>
                    <a:pt x="516" y="384"/>
                  </a:lnTo>
                  <a:lnTo>
                    <a:pt x="516" y="378"/>
                  </a:lnTo>
                  <a:lnTo>
                    <a:pt x="504" y="354"/>
                  </a:lnTo>
                  <a:lnTo>
                    <a:pt x="492" y="342"/>
                  </a:lnTo>
                  <a:lnTo>
                    <a:pt x="480" y="336"/>
                  </a:lnTo>
                  <a:lnTo>
                    <a:pt x="462" y="330"/>
                  </a:lnTo>
                  <a:lnTo>
                    <a:pt x="456" y="324"/>
                  </a:lnTo>
                  <a:lnTo>
                    <a:pt x="450" y="324"/>
                  </a:lnTo>
                  <a:lnTo>
                    <a:pt x="450" y="318"/>
                  </a:lnTo>
                  <a:lnTo>
                    <a:pt x="444" y="312"/>
                  </a:lnTo>
                  <a:lnTo>
                    <a:pt x="438" y="300"/>
                  </a:lnTo>
                  <a:lnTo>
                    <a:pt x="438" y="288"/>
                  </a:lnTo>
                  <a:lnTo>
                    <a:pt x="426" y="276"/>
                  </a:lnTo>
                  <a:lnTo>
                    <a:pt x="414" y="276"/>
                  </a:lnTo>
                  <a:lnTo>
                    <a:pt x="408" y="282"/>
                  </a:lnTo>
                  <a:lnTo>
                    <a:pt x="414" y="306"/>
                  </a:lnTo>
                  <a:lnTo>
                    <a:pt x="408" y="300"/>
                  </a:lnTo>
                  <a:lnTo>
                    <a:pt x="396" y="294"/>
                  </a:lnTo>
                  <a:lnTo>
                    <a:pt x="360" y="258"/>
                  </a:lnTo>
                  <a:lnTo>
                    <a:pt x="360" y="246"/>
                  </a:lnTo>
                  <a:lnTo>
                    <a:pt x="354" y="240"/>
                  </a:lnTo>
                  <a:lnTo>
                    <a:pt x="348" y="228"/>
                  </a:lnTo>
                  <a:lnTo>
                    <a:pt x="342" y="222"/>
                  </a:lnTo>
                  <a:lnTo>
                    <a:pt x="342" y="216"/>
                  </a:lnTo>
                  <a:lnTo>
                    <a:pt x="330" y="210"/>
                  </a:lnTo>
                  <a:lnTo>
                    <a:pt x="312" y="192"/>
                  </a:lnTo>
                  <a:lnTo>
                    <a:pt x="294" y="186"/>
                  </a:lnTo>
                  <a:lnTo>
                    <a:pt x="288" y="174"/>
                  </a:lnTo>
                  <a:lnTo>
                    <a:pt x="276" y="168"/>
                  </a:lnTo>
                  <a:lnTo>
                    <a:pt x="264" y="156"/>
                  </a:lnTo>
                  <a:lnTo>
                    <a:pt x="252" y="150"/>
                  </a:lnTo>
                  <a:lnTo>
                    <a:pt x="240" y="138"/>
                  </a:lnTo>
                  <a:lnTo>
                    <a:pt x="234" y="126"/>
                  </a:lnTo>
                  <a:lnTo>
                    <a:pt x="222" y="120"/>
                  </a:lnTo>
                  <a:lnTo>
                    <a:pt x="222" y="102"/>
                  </a:lnTo>
                  <a:lnTo>
                    <a:pt x="204" y="84"/>
                  </a:lnTo>
                  <a:lnTo>
                    <a:pt x="198" y="72"/>
                  </a:lnTo>
                  <a:lnTo>
                    <a:pt x="168" y="42"/>
                  </a:lnTo>
                  <a:lnTo>
                    <a:pt x="150" y="42"/>
                  </a:lnTo>
                  <a:lnTo>
                    <a:pt x="66" y="36"/>
                  </a:lnTo>
                  <a:lnTo>
                    <a:pt x="42" y="12"/>
                  </a:lnTo>
                  <a:lnTo>
                    <a:pt x="30" y="6"/>
                  </a:lnTo>
                  <a:lnTo>
                    <a:pt x="24" y="0"/>
                  </a:lnTo>
                  <a:lnTo>
                    <a:pt x="18" y="0"/>
                  </a:lnTo>
                  <a:lnTo>
                    <a:pt x="6" y="6"/>
                  </a:lnTo>
                  <a:lnTo>
                    <a:pt x="0" y="18"/>
                  </a:lnTo>
                  <a:lnTo>
                    <a:pt x="0" y="48"/>
                  </a:lnTo>
                  <a:lnTo>
                    <a:pt x="6" y="60"/>
                  </a:lnTo>
                  <a:lnTo>
                    <a:pt x="18" y="78"/>
                  </a:lnTo>
                  <a:lnTo>
                    <a:pt x="66" y="126"/>
                  </a:lnTo>
                  <a:lnTo>
                    <a:pt x="96" y="150"/>
                  </a:lnTo>
                  <a:lnTo>
                    <a:pt x="126" y="180"/>
                  </a:lnTo>
                  <a:lnTo>
                    <a:pt x="162" y="234"/>
                  </a:lnTo>
                  <a:lnTo>
                    <a:pt x="174" y="228"/>
                  </a:lnTo>
                  <a:lnTo>
                    <a:pt x="174" y="252"/>
                  </a:lnTo>
                  <a:lnTo>
                    <a:pt x="180" y="264"/>
                  </a:lnTo>
                  <a:lnTo>
                    <a:pt x="186" y="270"/>
                  </a:lnTo>
                  <a:lnTo>
                    <a:pt x="198" y="276"/>
                  </a:lnTo>
                  <a:lnTo>
                    <a:pt x="216" y="288"/>
                  </a:lnTo>
                  <a:lnTo>
                    <a:pt x="228" y="300"/>
                  </a:lnTo>
                  <a:lnTo>
                    <a:pt x="246" y="312"/>
                  </a:lnTo>
                  <a:lnTo>
                    <a:pt x="258" y="324"/>
                  </a:lnTo>
                  <a:lnTo>
                    <a:pt x="264" y="336"/>
                  </a:lnTo>
                  <a:lnTo>
                    <a:pt x="276" y="372"/>
                  </a:lnTo>
                  <a:lnTo>
                    <a:pt x="276" y="384"/>
                  </a:lnTo>
                  <a:lnTo>
                    <a:pt x="282" y="390"/>
                  </a:lnTo>
                  <a:lnTo>
                    <a:pt x="282" y="426"/>
                  </a:lnTo>
                  <a:lnTo>
                    <a:pt x="288" y="438"/>
                  </a:lnTo>
                  <a:lnTo>
                    <a:pt x="288" y="444"/>
                  </a:lnTo>
                  <a:lnTo>
                    <a:pt x="294" y="450"/>
                  </a:lnTo>
                  <a:lnTo>
                    <a:pt x="300" y="450"/>
                  </a:lnTo>
                  <a:lnTo>
                    <a:pt x="312" y="444"/>
                  </a:lnTo>
                  <a:lnTo>
                    <a:pt x="324" y="444"/>
                  </a:lnTo>
                  <a:lnTo>
                    <a:pt x="324" y="450"/>
                  </a:lnTo>
                  <a:lnTo>
                    <a:pt x="330" y="462"/>
                  </a:lnTo>
                  <a:lnTo>
                    <a:pt x="330" y="474"/>
                  </a:lnTo>
                  <a:lnTo>
                    <a:pt x="336" y="480"/>
                  </a:lnTo>
                  <a:lnTo>
                    <a:pt x="336" y="486"/>
                  </a:lnTo>
                  <a:lnTo>
                    <a:pt x="378" y="522"/>
                  </a:lnTo>
                  <a:lnTo>
                    <a:pt x="372" y="546"/>
                  </a:lnTo>
                  <a:lnTo>
                    <a:pt x="408" y="606"/>
                  </a:lnTo>
                  <a:lnTo>
                    <a:pt x="402" y="618"/>
                  </a:lnTo>
                  <a:lnTo>
                    <a:pt x="402" y="636"/>
                  </a:lnTo>
                  <a:lnTo>
                    <a:pt x="408" y="648"/>
                  </a:lnTo>
                  <a:lnTo>
                    <a:pt x="438" y="678"/>
                  </a:lnTo>
                  <a:lnTo>
                    <a:pt x="438" y="684"/>
                  </a:lnTo>
                  <a:lnTo>
                    <a:pt x="444" y="690"/>
                  </a:lnTo>
                  <a:lnTo>
                    <a:pt x="462" y="726"/>
                  </a:lnTo>
                  <a:lnTo>
                    <a:pt x="498" y="744"/>
                  </a:lnTo>
                  <a:lnTo>
                    <a:pt x="504" y="750"/>
                  </a:lnTo>
                  <a:lnTo>
                    <a:pt x="510" y="750"/>
                  </a:lnTo>
                  <a:lnTo>
                    <a:pt x="510" y="786"/>
                  </a:lnTo>
                  <a:lnTo>
                    <a:pt x="522" y="792"/>
                  </a:lnTo>
                  <a:lnTo>
                    <a:pt x="528" y="804"/>
                  </a:lnTo>
                  <a:lnTo>
                    <a:pt x="540" y="810"/>
                  </a:lnTo>
                  <a:lnTo>
                    <a:pt x="564" y="834"/>
                  </a:lnTo>
                  <a:lnTo>
                    <a:pt x="576" y="840"/>
                  </a:lnTo>
                  <a:lnTo>
                    <a:pt x="594" y="858"/>
                  </a:lnTo>
                  <a:lnTo>
                    <a:pt x="600" y="858"/>
                  </a:lnTo>
                  <a:lnTo>
                    <a:pt x="606" y="864"/>
                  </a:lnTo>
                  <a:lnTo>
                    <a:pt x="612" y="864"/>
                  </a:lnTo>
                  <a:lnTo>
                    <a:pt x="612" y="870"/>
                  </a:lnTo>
                  <a:lnTo>
                    <a:pt x="618" y="876"/>
                  </a:lnTo>
                  <a:lnTo>
                    <a:pt x="630" y="900"/>
                  </a:lnTo>
                  <a:lnTo>
                    <a:pt x="642" y="912"/>
                  </a:lnTo>
                  <a:lnTo>
                    <a:pt x="654" y="936"/>
                  </a:lnTo>
                  <a:lnTo>
                    <a:pt x="660" y="942"/>
                  </a:lnTo>
                  <a:lnTo>
                    <a:pt x="660" y="906"/>
                  </a:lnTo>
                  <a:lnTo>
                    <a:pt x="672" y="906"/>
                  </a:lnTo>
                  <a:lnTo>
                    <a:pt x="684" y="918"/>
                  </a:lnTo>
                  <a:lnTo>
                    <a:pt x="696" y="924"/>
                  </a:lnTo>
                  <a:lnTo>
                    <a:pt x="702" y="930"/>
                  </a:lnTo>
                  <a:lnTo>
                    <a:pt x="708" y="930"/>
                  </a:lnTo>
                  <a:close/>
                  <a:moveTo>
                    <a:pt x="2118" y="1194"/>
                  </a:moveTo>
                  <a:lnTo>
                    <a:pt x="2106" y="1176"/>
                  </a:lnTo>
                  <a:lnTo>
                    <a:pt x="2088" y="1176"/>
                  </a:lnTo>
                  <a:lnTo>
                    <a:pt x="2064" y="1200"/>
                  </a:lnTo>
                  <a:lnTo>
                    <a:pt x="2064" y="1212"/>
                  </a:lnTo>
                  <a:lnTo>
                    <a:pt x="2052" y="1212"/>
                  </a:lnTo>
                  <a:lnTo>
                    <a:pt x="2040" y="1218"/>
                  </a:lnTo>
                  <a:lnTo>
                    <a:pt x="2010" y="1248"/>
                  </a:lnTo>
                  <a:lnTo>
                    <a:pt x="1998" y="1272"/>
                  </a:lnTo>
                  <a:lnTo>
                    <a:pt x="1992" y="1278"/>
                  </a:lnTo>
                  <a:lnTo>
                    <a:pt x="1992" y="1290"/>
                  </a:lnTo>
                  <a:lnTo>
                    <a:pt x="2004" y="1302"/>
                  </a:lnTo>
                  <a:lnTo>
                    <a:pt x="2022" y="1302"/>
                  </a:lnTo>
                  <a:lnTo>
                    <a:pt x="2052" y="1284"/>
                  </a:lnTo>
                  <a:lnTo>
                    <a:pt x="2082" y="1260"/>
                  </a:lnTo>
                  <a:lnTo>
                    <a:pt x="2106" y="1242"/>
                  </a:lnTo>
                  <a:lnTo>
                    <a:pt x="2100" y="1236"/>
                  </a:lnTo>
                  <a:lnTo>
                    <a:pt x="2100" y="1224"/>
                  </a:lnTo>
                  <a:lnTo>
                    <a:pt x="2112" y="1200"/>
                  </a:lnTo>
                  <a:lnTo>
                    <a:pt x="2118" y="1194"/>
                  </a:lnTo>
                  <a:close/>
                  <a:moveTo>
                    <a:pt x="1374" y="1128"/>
                  </a:moveTo>
                  <a:lnTo>
                    <a:pt x="1374" y="1116"/>
                  </a:lnTo>
                  <a:lnTo>
                    <a:pt x="1368" y="1110"/>
                  </a:lnTo>
                  <a:lnTo>
                    <a:pt x="1344" y="1098"/>
                  </a:lnTo>
                  <a:lnTo>
                    <a:pt x="1332" y="1098"/>
                  </a:lnTo>
                  <a:lnTo>
                    <a:pt x="1320" y="1092"/>
                  </a:lnTo>
                  <a:lnTo>
                    <a:pt x="1314" y="1092"/>
                  </a:lnTo>
                  <a:lnTo>
                    <a:pt x="1302" y="1098"/>
                  </a:lnTo>
                  <a:lnTo>
                    <a:pt x="1296" y="1104"/>
                  </a:lnTo>
                  <a:lnTo>
                    <a:pt x="1296" y="1116"/>
                  </a:lnTo>
                  <a:lnTo>
                    <a:pt x="1290" y="1122"/>
                  </a:lnTo>
                  <a:lnTo>
                    <a:pt x="1290" y="1134"/>
                  </a:lnTo>
                  <a:lnTo>
                    <a:pt x="1254" y="1104"/>
                  </a:lnTo>
                  <a:lnTo>
                    <a:pt x="1260" y="1092"/>
                  </a:lnTo>
                  <a:lnTo>
                    <a:pt x="1260" y="1080"/>
                  </a:lnTo>
                  <a:lnTo>
                    <a:pt x="1266" y="1068"/>
                  </a:lnTo>
                  <a:lnTo>
                    <a:pt x="1266" y="1050"/>
                  </a:lnTo>
                  <a:lnTo>
                    <a:pt x="1260" y="1038"/>
                  </a:lnTo>
                  <a:lnTo>
                    <a:pt x="1254" y="1032"/>
                  </a:lnTo>
                  <a:lnTo>
                    <a:pt x="1242" y="1026"/>
                  </a:lnTo>
                  <a:lnTo>
                    <a:pt x="1188" y="1026"/>
                  </a:lnTo>
                  <a:lnTo>
                    <a:pt x="1158" y="1008"/>
                  </a:lnTo>
                  <a:lnTo>
                    <a:pt x="1158" y="984"/>
                  </a:lnTo>
                  <a:lnTo>
                    <a:pt x="1116" y="984"/>
                  </a:lnTo>
                  <a:lnTo>
                    <a:pt x="1116" y="996"/>
                  </a:lnTo>
                  <a:lnTo>
                    <a:pt x="1110" y="1008"/>
                  </a:lnTo>
                  <a:lnTo>
                    <a:pt x="1110" y="1026"/>
                  </a:lnTo>
                  <a:lnTo>
                    <a:pt x="1086" y="1026"/>
                  </a:lnTo>
                  <a:lnTo>
                    <a:pt x="1074" y="1020"/>
                  </a:lnTo>
                  <a:lnTo>
                    <a:pt x="1056" y="1014"/>
                  </a:lnTo>
                  <a:lnTo>
                    <a:pt x="1044" y="1014"/>
                  </a:lnTo>
                  <a:lnTo>
                    <a:pt x="1032" y="1008"/>
                  </a:lnTo>
                  <a:lnTo>
                    <a:pt x="966" y="1008"/>
                  </a:lnTo>
                  <a:lnTo>
                    <a:pt x="960" y="996"/>
                  </a:lnTo>
                  <a:lnTo>
                    <a:pt x="948" y="990"/>
                  </a:lnTo>
                  <a:lnTo>
                    <a:pt x="942" y="978"/>
                  </a:lnTo>
                  <a:lnTo>
                    <a:pt x="918" y="954"/>
                  </a:lnTo>
                  <a:lnTo>
                    <a:pt x="900" y="954"/>
                  </a:lnTo>
                  <a:lnTo>
                    <a:pt x="888" y="960"/>
                  </a:lnTo>
                  <a:lnTo>
                    <a:pt x="876" y="954"/>
                  </a:lnTo>
                  <a:lnTo>
                    <a:pt x="870" y="948"/>
                  </a:lnTo>
                  <a:lnTo>
                    <a:pt x="858" y="942"/>
                  </a:lnTo>
                  <a:lnTo>
                    <a:pt x="846" y="942"/>
                  </a:lnTo>
                  <a:lnTo>
                    <a:pt x="840" y="936"/>
                  </a:lnTo>
                  <a:lnTo>
                    <a:pt x="822" y="936"/>
                  </a:lnTo>
                  <a:lnTo>
                    <a:pt x="810" y="930"/>
                  </a:lnTo>
                  <a:lnTo>
                    <a:pt x="792" y="930"/>
                  </a:lnTo>
                  <a:lnTo>
                    <a:pt x="786" y="924"/>
                  </a:lnTo>
                  <a:lnTo>
                    <a:pt x="762" y="924"/>
                  </a:lnTo>
                  <a:lnTo>
                    <a:pt x="750" y="930"/>
                  </a:lnTo>
                  <a:lnTo>
                    <a:pt x="738" y="954"/>
                  </a:lnTo>
                  <a:lnTo>
                    <a:pt x="738" y="966"/>
                  </a:lnTo>
                  <a:lnTo>
                    <a:pt x="732" y="978"/>
                  </a:lnTo>
                  <a:lnTo>
                    <a:pt x="720" y="990"/>
                  </a:lnTo>
                  <a:lnTo>
                    <a:pt x="714" y="990"/>
                  </a:lnTo>
                  <a:lnTo>
                    <a:pt x="702" y="1002"/>
                  </a:lnTo>
                  <a:lnTo>
                    <a:pt x="702" y="1014"/>
                  </a:lnTo>
                  <a:lnTo>
                    <a:pt x="738" y="1008"/>
                  </a:lnTo>
                  <a:lnTo>
                    <a:pt x="786" y="1008"/>
                  </a:lnTo>
                  <a:lnTo>
                    <a:pt x="780" y="1014"/>
                  </a:lnTo>
                  <a:lnTo>
                    <a:pt x="768" y="1020"/>
                  </a:lnTo>
                  <a:lnTo>
                    <a:pt x="762" y="1032"/>
                  </a:lnTo>
                  <a:lnTo>
                    <a:pt x="762" y="1044"/>
                  </a:lnTo>
                  <a:lnTo>
                    <a:pt x="774" y="1050"/>
                  </a:lnTo>
                  <a:lnTo>
                    <a:pt x="780" y="1050"/>
                  </a:lnTo>
                  <a:lnTo>
                    <a:pt x="798" y="1044"/>
                  </a:lnTo>
                  <a:lnTo>
                    <a:pt x="810" y="1044"/>
                  </a:lnTo>
                  <a:lnTo>
                    <a:pt x="816" y="1038"/>
                  </a:lnTo>
                  <a:lnTo>
                    <a:pt x="828" y="1032"/>
                  </a:lnTo>
                  <a:lnTo>
                    <a:pt x="840" y="1038"/>
                  </a:lnTo>
                  <a:lnTo>
                    <a:pt x="870" y="1056"/>
                  </a:lnTo>
                  <a:lnTo>
                    <a:pt x="900" y="1068"/>
                  </a:lnTo>
                  <a:lnTo>
                    <a:pt x="924" y="1080"/>
                  </a:lnTo>
                  <a:lnTo>
                    <a:pt x="960" y="1086"/>
                  </a:lnTo>
                  <a:lnTo>
                    <a:pt x="1014" y="1092"/>
                  </a:lnTo>
                  <a:lnTo>
                    <a:pt x="1062" y="1092"/>
                  </a:lnTo>
                  <a:lnTo>
                    <a:pt x="1080" y="1110"/>
                  </a:lnTo>
                  <a:lnTo>
                    <a:pt x="1086" y="1122"/>
                  </a:lnTo>
                  <a:lnTo>
                    <a:pt x="1098" y="1128"/>
                  </a:lnTo>
                  <a:lnTo>
                    <a:pt x="1110" y="1140"/>
                  </a:lnTo>
                  <a:lnTo>
                    <a:pt x="1128" y="1146"/>
                  </a:lnTo>
                  <a:lnTo>
                    <a:pt x="1152" y="1152"/>
                  </a:lnTo>
                  <a:lnTo>
                    <a:pt x="1170" y="1152"/>
                  </a:lnTo>
                  <a:lnTo>
                    <a:pt x="1182" y="1158"/>
                  </a:lnTo>
                  <a:lnTo>
                    <a:pt x="1248" y="1158"/>
                  </a:lnTo>
                  <a:lnTo>
                    <a:pt x="1260" y="1164"/>
                  </a:lnTo>
                  <a:lnTo>
                    <a:pt x="1278" y="1170"/>
                  </a:lnTo>
                  <a:lnTo>
                    <a:pt x="1290" y="1182"/>
                  </a:lnTo>
                  <a:lnTo>
                    <a:pt x="1302" y="1188"/>
                  </a:lnTo>
                  <a:lnTo>
                    <a:pt x="1320" y="1206"/>
                  </a:lnTo>
                  <a:lnTo>
                    <a:pt x="1338" y="1206"/>
                  </a:lnTo>
                  <a:lnTo>
                    <a:pt x="1350" y="1200"/>
                  </a:lnTo>
                  <a:lnTo>
                    <a:pt x="1356" y="1206"/>
                  </a:lnTo>
                  <a:lnTo>
                    <a:pt x="1374" y="1206"/>
                  </a:lnTo>
                  <a:lnTo>
                    <a:pt x="1374" y="1194"/>
                  </a:lnTo>
                  <a:lnTo>
                    <a:pt x="1368" y="1182"/>
                  </a:lnTo>
                  <a:lnTo>
                    <a:pt x="1362" y="1176"/>
                  </a:lnTo>
                  <a:lnTo>
                    <a:pt x="1356" y="1164"/>
                  </a:lnTo>
                  <a:lnTo>
                    <a:pt x="1374" y="1146"/>
                  </a:lnTo>
                  <a:lnTo>
                    <a:pt x="1374" y="1128"/>
                  </a:lnTo>
                  <a:close/>
                  <a:moveTo>
                    <a:pt x="1500" y="726"/>
                  </a:moveTo>
                  <a:lnTo>
                    <a:pt x="1542" y="684"/>
                  </a:lnTo>
                  <a:lnTo>
                    <a:pt x="1548" y="672"/>
                  </a:lnTo>
                  <a:lnTo>
                    <a:pt x="1554" y="654"/>
                  </a:lnTo>
                  <a:lnTo>
                    <a:pt x="1560" y="642"/>
                  </a:lnTo>
                  <a:lnTo>
                    <a:pt x="1566" y="624"/>
                  </a:lnTo>
                  <a:lnTo>
                    <a:pt x="1566" y="612"/>
                  </a:lnTo>
                  <a:lnTo>
                    <a:pt x="1572" y="606"/>
                  </a:lnTo>
                  <a:lnTo>
                    <a:pt x="1572" y="600"/>
                  </a:lnTo>
                  <a:lnTo>
                    <a:pt x="1566" y="600"/>
                  </a:lnTo>
                  <a:lnTo>
                    <a:pt x="1554" y="594"/>
                  </a:lnTo>
                  <a:lnTo>
                    <a:pt x="1542" y="582"/>
                  </a:lnTo>
                  <a:lnTo>
                    <a:pt x="1542" y="564"/>
                  </a:lnTo>
                  <a:lnTo>
                    <a:pt x="1554" y="516"/>
                  </a:lnTo>
                  <a:lnTo>
                    <a:pt x="1590" y="498"/>
                  </a:lnTo>
                  <a:lnTo>
                    <a:pt x="1626" y="498"/>
                  </a:lnTo>
                  <a:lnTo>
                    <a:pt x="1632" y="486"/>
                  </a:lnTo>
                  <a:lnTo>
                    <a:pt x="1638" y="480"/>
                  </a:lnTo>
                  <a:lnTo>
                    <a:pt x="1644" y="468"/>
                  </a:lnTo>
                  <a:lnTo>
                    <a:pt x="1644" y="444"/>
                  </a:lnTo>
                  <a:lnTo>
                    <a:pt x="1626" y="444"/>
                  </a:lnTo>
                  <a:lnTo>
                    <a:pt x="1620" y="450"/>
                  </a:lnTo>
                  <a:lnTo>
                    <a:pt x="1608" y="450"/>
                  </a:lnTo>
                  <a:lnTo>
                    <a:pt x="1608" y="438"/>
                  </a:lnTo>
                  <a:lnTo>
                    <a:pt x="1614" y="420"/>
                  </a:lnTo>
                  <a:lnTo>
                    <a:pt x="1626" y="408"/>
                  </a:lnTo>
                  <a:lnTo>
                    <a:pt x="1650" y="396"/>
                  </a:lnTo>
                  <a:lnTo>
                    <a:pt x="1662" y="396"/>
                  </a:lnTo>
                  <a:lnTo>
                    <a:pt x="1680" y="402"/>
                  </a:lnTo>
                  <a:lnTo>
                    <a:pt x="1704" y="402"/>
                  </a:lnTo>
                  <a:lnTo>
                    <a:pt x="1716" y="390"/>
                  </a:lnTo>
                  <a:lnTo>
                    <a:pt x="1716" y="384"/>
                  </a:lnTo>
                  <a:lnTo>
                    <a:pt x="1680" y="348"/>
                  </a:lnTo>
                  <a:lnTo>
                    <a:pt x="1680" y="312"/>
                  </a:lnTo>
                  <a:lnTo>
                    <a:pt x="1668" y="312"/>
                  </a:lnTo>
                  <a:lnTo>
                    <a:pt x="1650" y="294"/>
                  </a:lnTo>
                  <a:lnTo>
                    <a:pt x="1650" y="282"/>
                  </a:lnTo>
                  <a:lnTo>
                    <a:pt x="1662" y="270"/>
                  </a:lnTo>
                  <a:lnTo>
                    <a:pt x="1668" y="258"/>
                  </a:lnTo>
                  <a:lnTo>
                    <a:pt x="1668" y="246"/>
                  </a:lnTo>
                  <a:lnTo>
                    <a:pt x="1662" y="240"/>
                  </a:lnTo>
                  <a:lnTo>
                    <a:pt x="1638" y="228"/>
                  </a:lnTo>
                  <a:lnTo>
                    <a:pt x="1614" y="228"/>
                  </a:lnTo>
                  <a:lnTo>
                    <a:pt x="1632" y="198"/>
                  </a:lnTo>
                  <a:lnTo>
                    <a:pt x="1614" y="192"/>
                  </a:lnTo>
                  <a:lnTo>
                    <a:pt x="1620" y="162"/>
                  </a:lnTo>
                  <a:lnTo>
                    <a:pt x="1608" y="144"/>
                  </a:lnTo>
                  <a:lnTo>
                    <a:pt x="1602" y="138"/>
                  </a:lnTo>
                  <a:lnTo>
                    <a:pt x="1590" y="132"/>
                  </a:lnTo>
                  <a:lnTo>
                    <a:pt x="1566" y="108"/>
                  </a:lnTo>
                  <a:lnTo>
                    <a:pt x="1470" y="108"/>
                  </a:lnTo>
                  <a:lnTo>
                    <a:pt x="1464" y="114"/>
                  </a:lnTo>
                  <a:lnTo>
                    <a:pt x="1458" y="126"/>
                  </a:lnTo>
                  <a:lnTo>
                    <a:pt x="1458" y="180"/>
                  </a:lnTo>
                  <a:lnTo>
                    <a:pt x="1452" y="198"/>
                  </a:lnTo>
                  <a:lnTo>
                    <a:pt x="1452" y="204"/>
                  </a:lnTo>
                  <a:lnTo>
                    <a:pt x="1446" y="216"/>
                  </a:lnTo>
                  <a:lnTo>
                    <a:pt x="1428" y="216"/>
                  </a:lnTo>
                  <a:lnTo>
                    <a:pt x="1422" y="222"/>
                  </a:lnTo>
                  <a:lnTo>
                    <a:pt x="1422" y="246"/>
                  </a:lnTo>
                  <a:lnTo>
                    <a:pt x="1428" y="252"/>
                  </a:lnTo>
                  <a:lnTo>
                    <a:pt x="1434" y="264"/>
                  </a:lnTo>
                  <a:lnTo>
                    <a:pt x="1398" y="294"/>
                  </a:lnTo>
                  <a:lnTo>
                    <a:pt x="1404" y="306"/>
                  </a:lnTo>
                  <a:lnTo>
                    <a:pt x="1374" y="342"/>
                  </a:lnTo>
                  <a:lnTo>
                    <a:pt x="1350" y="342"/>
                  </a:lnTo>
                  <a:lnTo>
                    <a:pt x="1344" y="348"/>
                  </a:lnTo>
                  <a:lnTo>
                    <a:pt x="1332" y="354"/>
                  </a:lnTo>
                  <a:lnTo>
                    <a:pt x="1320" y="366"/>
                  </a:lnTo>
                  <a:lnTo>
                    <a:pt x="1314" y="366"/>
                  </a:lnTo>
                  <a:lnTo>
                    <a:pt x="1308" y="360"/>
                  </a:lnTo>
                  <a:lnTo>
                    <a:pt x="1284" y="348"/>
                  </a:lnTo>
                  <a:lnTo>
                    <a:pt x="1272" y="336"/>
                  </a:lnTo>
                  <a:lnTo>
                    <a:pt x="1230" y="336"/>
                  </a:lnTo>
                  <a:lnTo>
                    <a:pt x="1224" y="348"/>
                  </a:lnTo>
                  <a:lnTo>
                    <a:pt x="1194" y="378"/>
                  </a:lnTo>
                  <a:lnTo>
                    <a:pt x="1170" y="378"/>
                  </a:lnTo>
                  <a:lnTo>
                    <a:pt x="1152" y="372"/>
                  </a:lnTo>
                  <a:lnTo>
                    <a:pt x="1128" y="372"/>
                  </a:lnTo>
                  <a:lnTo>
                    <a:pt x="1110" y="390"/>
                  </a:lnTo>
                  <a:lnTo>
                    <a:pt x="1104" y="390"/>
                  </a:lnTo>
                  <a:lnTo>
                    <a:pt x="1080" y="378"/>
                  </a:lnTo>
                  <a:lnTo>
                    <a:pt x="1074" y="372"/>
                  </a:lnTo>
                  <a:lnTo>
                    <a:pt x="1062" y="366"/>
                  </a:lnTo>
                  <a:lnTo>
                    <a:pt x="1050" y="354"/>
                  </a:lnTo>
                  <a:lnTo>
                    <a:pt x="1050" y="342"/>
                  </a:lnTo>
                  <a:lnTo>
                    <a:pt x="1044" y="336"/>
                  </a:lnTo>
                  <a:lnTo>
                    <a:pt x="1032" y="330"/>
                  </a:lnTo>
                  <a:lnTo>
                    <a:pt x="1008" y="330"/>
                  </a:lnTo>
                  <a:lnTo>
                    <a:pt x="996" y="336"/>
                  </a:lnTo>
                  <a:lnTo>
                    <a:pt x="990" y="348"/>
                  </a:lnTo>
                  <a:lnTo>
                    <a:pt x="978" y="366"/>
                  </a:lnTo>
                  <a:lnTo>
                    <a:pt x="972" y="384"/>
                  </a:lnTo>
                  <a:lnTo>
                    <a:pt x="972" y="402"/>
                  </a:lnTo>
                  <a:lnTo>
                    <a:pt x="966" y="408"/>
                  </a:lnTo>
                  <a:lnTo>
                    <a:pt x="966" y="414"/>
                  </a:lnTo>
                  <a:lnTo>
                    <a:pt x="990" y="444"/>
                  </a:lnTo>
                  <a:lnTo>
                    <a:pt x="1002" y="498"/>
                  </a:lnTo>
                  <a:lnTo>
                    <a:pt x="1050" y="528"/>
                  </a:lnTo>
                  <a:lnTo>
                    <a:pt x="1038" y="564"/>
                  </a:lnTo>
                  <a:lnTo>
                    <a:pt x="1068" y="582"/>
                  </a:lnTo>
                  <a:lnTo>
                    <a:pt x="1050" y="606"/>
                  </a:lnTo>
                  <a:lnTo>
                    <a:pt x="1068" y="636"/>
                  </a:lnTo>
                  <a:lnTo>
                    <a:pt x="1056" y="648"/>
                  </a:lnTo>
                  <a:lnTo>
                    <a:pt x="1068" y="702"/>
                  </a:lnTo>
                  <a:lnTo>
                    <a:pt x="1110" y="696"/>
                  </a:lnTo>
                  <a:lnTo>
                    <a:pt x="1140" y="708"/>
                  </a:lnTo>
                  <a:lnTo>
                    <a:pt x="1146" y="696"/>
                  </a:lnTo>
                  <a:lnTo>
                    <a:pt x="1170" y="672"/>
                  </a:lnTo>
                  <a:lnTo>
                    <a:pt x="1182" y="672"/>
                  </a:lnTo>
                  <a:lnTo>
                    <a:pt x="1182" y="690"/>
                  </a:lnTo>
                  <a:lnTo>
                    <a:pt x="1188" y="702"/>
                  </a:lnTo>
                  <a:lnTo>
                    <a:pt x="1188" y="726"/>
                  </a:lnTo>
                  <a:lnTo>
                    <a:pt x="1194" y="738"/>
                  </a:lnTo>
                  <a:lnTo>
                    <a:pt x="1212" y="738"/>
                  </a:lnTo>
                  <a:lnTo>
                    <a:pt x="1218" y="726"/>
                  </a:lnTo>
                  <a:lnTo>
                    <a:pt x="1218" y="720"/>
                  </a:lnTo>
                  <a:lnTo>
                    <a:pt x="1224" y="714"/>
                  </a:lnTo>
                  <a:lnTo>
                    <a:pt x="1224" y="708"/>
                  </a:lnTo>
                  <a:lnTo>
                    <a:pt x="1254" y="726"/>
                  </a:lnTo>
                  <a:lnTo>
                    <a:pt x="1266" y="720"/>
                  </a:lnTo>
                  <a:lnTo>
                    <a:pt x="1272" y="708"/>
                  </a:lnTo>
                  <a:lnTo>
                    <a:pt x="1284" y="702"/>
                  </a:lnTo>
                  <a:lnTo>
                    <a:pt x="1296" y="702"/>
                  </a:lnTo>
                  <a:lnTo>
                    <a:pt x="1296" y="714"/>
                  </a:lnTo>
                  <a:lnTo>
                    <a:pt x="1302" y="720"/>
                  </a:lnTo>
                  <a:lnTo>
                    <a:pt x="1302" y="738"/>
                  </a:lnTo>
                  <a:lnTo>
                    <a:pt x="1308" y="744"/>
                  </a:lnTo>
                  <a:lnTo>
                    <a:pt x="1332" y="744"/>
                  </a:lnTo>
                  <a:lnTo>
                    <a:pt x="1350" y="738"/>
                  </a:lnTo>
                  <a:lnTo>
                    <a:pt x="1362" y="732"/>
                  </a:lnTo>
                  <a:lnTo>
                    <a:pt x="1392" y="732"/>
                  </a:lnTo>
                  <a:lnTo>
                    <a:pt x="1404" y="744"/>
                  </a:lnTo>
                  <a:lnTo>
                    <a:pt x="1404" y="786"/>
                  </a:lnTo>
                  <a:lnTo>
                    <a:pt x="1398" y="798"/>
                  </a:lnTo>
                  <a:lnTo>
                    <a:pt x="1398" y="810"/>
                  </a:lnTo>
                  <a:lnTo>
                    <a:pt x="1404" y="810"/>
                  </a:lnTo>
                  <a:lnTo>
                    <a:pt x="1410" y="804"/>
                  </a:lnTo>
                  <a:lnTo>
                    <a:pt x="1422" y="798"/>
                  </a:lnTo>
                  <a:lnTo>
                    <a:pt x="1440" y="792"/>
                  </a:lnTo>
                  <a:lnTo>
                    <a:pt x="1452" y="786"/>
                  </a:lnTo>
                  <a:lnTo>
                    <a:pt x="1476" y="762"/>
                  </a:lnTo>
                  <a:lnTo>
                    <a:pt x="1482" y="750"/>
                  </a:lnTo>
                  <a:lnTo>
                    <a:pt x="1500" y="732"/>
                  </a:lnTo>
                  <a:lnTo>
                    <a:pt x="1500" y="726"/>
                  </a:lnTo>
                  <a:close/>
                  <a:moveTo>
                    <a:pt x="1476" y="1116"/>
                  </a:moveTo>
                  <a:lnTo>
                    <a:pt x="1470" y="1116"/>
                  </a:lnTo>
                  <a:lnTo>
                    <a:pt x="1458" y="1122"/>
                  </a:lnTo>
                  <a:lnTo>
                    <a:pt x="1452" y="1128"/>
                  </a:lnTo>
                  <a:lnTo>
                    <a:pt x="1458" y="1134"/>
                  </a:lnTo>
                  <a:lnTo>
                    <a:pt x="1470" y="1140"/>
                  </a:lnTo>
                  <a:lnTo>
                    <a:pt x="1476" y="1140"/>
                  </a:lnTo>
                  <a:lnTo>
                    <a:pt x="1488" y="1146"/>
                  </a:lnTo>
                  <a:lnTo>
                    <a:pt x="1500" y="1134"/>
                  </a:lnTo>
                  <a:lnTo>
                    <a:pt x="1500" y="1128"/>
                  </a:lnTo>
                  <a:lnTo>
                    <a:pt x="1488" y="1116"/>
                  </a:lnTo>
                  <a:lnTo>
                    <a:pt x="1476" y="1116"/>
                  </a:lnTo>
                  <a:close/>
                  <a:moveTo>
                    <a:pt x="1716" y="1230"/>
                  </a:moveTo>
                  <a:lnTo>
                    <a:pt x="1680" y="1218"/>
                  </a:lnTo>
                  <a:lnTo>
                    <a:pt x="1674" y="1224"/>
                  </a:lnTo>
                  <a:lnTo>
                    <a:pt x="1674" y="1230"/>
                  </a:lnTo>
                  <a:lnTo>
                    <a:pt x="1686" y="1254"/>
                  </a:lnTo>
                  <a:lnTo>
                    <a:pt x="1692" y="1260"/>
                  </a:lnTo>
                  <a:lnTo>
                    <a:pt x="1704" y="1266"/>
                  </a:lnTo>
                  <a:lnTo>
                    <a:pt x="1716" y="1266"/>
                  </a:lnTo>
                  <a:lnTo>
                    <a:pt x="1722" y="1260"/>
                  </a:lnTo>
                  <a:lnTo>
                    <a:pt x="1740" y="1260"/>
                  </a:lnTo>
                  <a:lnTo>
                    <a:pt x="1746" y="1266"/>
                  </a:lnTo>
                  <a:lnTo>
                    <a:pt x="1746" y="1278"/>
                  </a:lnTo>
                  <a:lnTo>
                    <a:pt x="1752" y="1290"/>
                  </a:lnTo>
                  <a:lnTo>
                    <a:pt x="1764" y="1296"/>
                  </a:lnTo>
                  <a:lnTo>
                    <a:pt x="1788" y="1296"/>
                  </a:lnTo>
                  <a:lnTo>
                    <a:pt x="1794" y="1290"/>
                  </a:lnTo>
                  <a:lnTo>
                    <a:pt x="1800" y="1290"/>
                  </a:lnTo>
                  <a:lnTo>
                    <a:pt x="1800" y="1284"/>
                  </a:lnTo>
                  <a:lnTo>
                    <a:pt x="1794" y="1272"/>
                  </a:lnTo>
                  <a:lnTo>
                    <a:pt x="1782" y="1260"/>
                  </a:lnTo>
                  <a:lnTo>
                    <a:pt x="1770" y="1236"/>
                  </a:lnTo>
                  <a:lnTo>
                    <a:pt x="1746" y="1224"/>
                  </a:lnTo>
                  <a:lnTo>
                    <a:pt x="1728" y="1224"/>
                  </a:lnTo>
                  <a:lnTo>
                    <a:pt x="1716" y="1230"/>
                  </a:lnTo>
                  <a:close/>
                  <a:moveTo>
                    <a:pt x="1962" y="1122"/>
                  </a:moveTo>
                  <a:lnTo>
                    <a:pt x="1932" y="1146"/>
                  </a:lnTo>
                  <a:lnTo>
                    <a:pt x="1920" y="1134"/>
                  </a:lnTo>
                  <a:lnTo>
                    <a:pt x="1890" y="1134"/>
                  </a:lnTo>
                  <a:lnTo>
                    <a:pt x="1884" y="1140"/>
                  </a:lnTo>
                  <a:lnTo>
                    <a:pt x="1872" y="1146"/>
                  </a:lnTo>
                  <a:lnTo>
                    <a:pt x="1866" y="1152"/>
                  </a:lnTo>
                  <a:lnTo>
                    <a:pt x="1860" y="1140"/>
                  </a:lnTo>
                  <a:lnTo>
                    <a:pt x="1836" y="1116"/>
                  </a:lnTo>
                  <a:lnTo>
                    <a:pt x="1824" y="1116"/>
                  </a:lnTo>
                  <a:lnTo>
                    <a:pt x="1800" y="1128"/>
                  </a:lnTo>
                  <a:lnTo>
                    <a:pt x="1764" y="1164"/>
                  </a:lnTo>
                  <a:lnTo>
                    <a:pt x="1728" y="1158"/>
                  </a:lnTo>
                  <a:lnTo>
                    <a:pt x="1716" y="1176"/>
                  </a:lnTo>
                  <a:lnTo>
                    <a:pt x="1746" y="1176"/>
                  </a:lnTo>
                  <a:lnTo>
                    <a:pt x="1752" y="1182"/>
                  </a:lnTo>
                  <a:lnTo>
                    <a:pt x="1764" y="1182"/>
                  </a:lnTo>
                  <a:lnTo>
                    <a:pt x="1776" y="1188"/>
                  </a:lnTo>
                  <a:lnTo>
                    <a:pt x="1788" y="1188"/>
                  </a:lnTo>
                  <a:lnTo>
                    <a:pt x="1794" y="1182"/>
                  </a:lnTo>
                  <a:lnTo>
                    <a:pt x="1806" y="1176"/>
                  </a:lnTo>
                  <a:lnTo>
                    <a:pt x="1812" y="1170"/>
                  </a:lnTo>
                  <a:lnTo>
                    <a:pt x="1908" y="1164"/>
                  </a:lnTo>
                  <a:lnTo>
                    <a:pt x="1956" y="1158"/>
                  </a:lnTo>
                  <a:lnTo>
                    <a:pt x="1992" y="1128"/>
                  </a:lnTo>
                  <a:lnTo>
                    <a:pt x="1992" y="1110"/>
                  </a:lnTo>
                  <a:lnTo>
                    <a:pt x="1962" y="1122"/>
                  </a:lnTo>
                  <a:close/>
                  <a:moveTo>
                    <a:pt x="1578" y="1158"/>
                  </a:moveTo>
                  <a:lnTo>
                    <a:pt x="1566" y="1152"/>
                  </a:lnTo>
                  <a:lnTo>
                    <a:pt x="1560" y="1146"/>
                  </a:lnTo>
                  <a:lnTo>
                    <a:pt x="1548" y="1140"/>
                  </a:lnTo>
                  <a:lnTo>
                    <a:pt x="1536" y="1140"/>
                  </a:lnTo>
                  <a:lnTo>
                    <a:pt x="1512" y="1164"/>
                  </a:lnTo>
                  <a:lnTo>
                    <a:pt x="1506" y="1176"/>
                  </a:lnTo>
                  <a:lnTo>
                    <a:pt x="1500" y="1182"/>
                  </a:lnTo>
                  <a:lnTo>
                    <a:pt x="1554" y="1188"/>
                  </a:lnTo>
                  <a:lnTo>
                    <a:pt x="1554" y="1212"/>
                  </a:lnTo>
                  <a:lnTo>
                    <a:pt x="1578" y="1206"/>
                  </a:lnTo>
                  <a:lnTo>
                    <a:pt x="1590" y="1188"/>
                  </a:lnTo>
                  <a:lnTo>
                    <a:pt x="1614" y="1206"/>
                  </a:lnTo>
                  <a:lnTo>
                    <a:pt x="1644" y="1170"/>
                  </a:lnTo>
                  <a:lnTo>
                    <a:pt x="1596" y="1152"/>
                  </a:lnTo>
                  <a:lnTo>
                    <a:pt x="1578" y="1158"/>
                  </a:lnTo>
                  <a:close/>
                </a:path>
              </a:pathLst>
            </a:custGeom>
            <a:solidFill>
              <a:srgbClr val="7030A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75" name="India" descr="© INSCALE GmbH, 05.05.2010&#10;http://www.presentationload.com/">
              <a:extLst>
                <a:ext uri="{FF2B5EF4-FFF2-40B4-BE49-F238E27FC236}">
                  <a16:creationId xmlns:a16="http://schemas.microsoft.com/office/drawing/2014/main" id="{084C9C05-2CBE-506A-F33B-8D77AFBDCC90}"/>
                </a:ext>
              </a:extLst>
            </p:cNvPr>
            <p:cNvSpPr>
              <a:spLocks noEditPoints="1"/>
            </p:cNvSpPr>
            <p:nvPr/>
          </p:nvSpPr>
          <p:spPr bwMode="gray">
            <a:xfrm>
              <a:off x="6042403" y="2118554"/>
              <a:ext cx="741186" cy="893874"/>
            </a:xfrm>
            <a:custGeom>
              <a:avLst/>
              <a:gdLst>
                <a:gd name="T0" fmla="*/ 2147483647 w 1956"/>
                <a:gd name="T1" fmla="*/ 2147483647 h 2358"/>
                <a:gd name="T2" fmla="*/ 2147483647 w 1956"/>
                <a:gd name="T3" fmla="*/ 2147483647 h 2358"/>
                <a:gd name="T4" fmla="*/ 2147483647 w 1956"/>
                <a:gd name="T5" fmla="*/ 2147483647 h 2358"/>
                <a:gd name="T6" fmla="*/ 2147483647 w 1956"/>
                <a:gd name="T7" fmla="*/ 2147483647 h 2358"/>
                <a:gd name="T8" fmla="*/ 2147483647 w 1956"/>
                <a:gd name="T9" fmla="*/ 2147483647 h 2358"/>
                <a:gd name="T10" fmla="*/ 2147483647 w 1956"/>
                <a:gd name="T11" fmla="*/ 2147483647 h 2358"/>
                <a:gd name="T12" fmla="*/ 2147483647 w 1956"/>
                <a:gd name="T13" fmla="*/ 2147483647 h 2358"/>
                <a:gd name="T14" fmla="*/ 2147483647 w 1956"/>
                <a:gd name="T15" fmla="*/ 2147483647 h 2358"/>
                <a:gd name="T16" fmla="*/ 2147483647 w 1956"/>
                <a:gd name="T17" fmla="*/ 2147483647 h 2358"/>
                <a:gd name="T18" fmla="*/ 2147483647 w 1956"/>
                <a:gd name="T19" fmla="*/ 2147483647 h 2358"/>
                <a:gd name="T20" fmla="*/ 2147483647 w 1956"/>
                <a:gd name="T21" fmla="*/ 2147483647 h 2358"/>
                <a:gd name="T22" fmla="*/ 2147483647 w 1956"/>
                <a:gd name="T23" fmla="*/ 2147483647 h 2358"/>
                <a:gd name="T24" fmla="*/ 2147483647 w 1956"/>
                <a:gd name="T25" fmla="*/ 2147483647 h 2358"/>
                <a:gd name="T26" fmla="*/ 2147483647 w 1956"/>
                <a:gd name="T27" fmla="*/ 2147483647 h 2358"/>
                <a:gd name="T28" fmla="*/ 2147483647 w 1956"/>
                <a:gd name="T29" fmla="*/ 2147483647 h 2358"/>
                <a:gd name="T30" fmla="*/ 2147483647 w 1956"/>
                <a:gd name="T31" fmla="*/ 2147483647 h 2358"/>
                <a:gd name="T32" fmla="*/ 2147483647 w 1956"/>
                <a:gd name="T33" fmla="*/ 2147483647 h 2358"/>
                <a:gd name="T34" fmla="*/ 2147483647 w 1956"/>
                <a:gd name="T35" fmla="*/ 2147483647 h 2358"/>
                <a:gd name="T36" fmla="*/ 2147483647 w 1956"/>
                <a:gd name="T37" fmla="*/ 2147483647 h 2358"/>
                <a:gd name="T38" fmla="*/ 2147483647 w 1956"/>
                <a:gd name="T39" fmla="*/ 2147483647 h 2358"/>
                <a:gd name="T40" fmla="*/ 2147483647 w 1956"/>
                <a:gd name="T41" fmla="*/ 2147483647 h 2358"/>
                <a:gd name="T42" fmla="*/ 2147483647 w 1956"/>
                <a:gd name="T43" fmla="*/ 2147483647 h 2358"/>
                <a:gd name="T44" fmla="*/ 2147483647 w 1956"/>
                <a:gd name="T45" fmla="*/ 2147483647 h 2358"/>
                <a:gd name="T46" fmla="*/ 2147483647 w 1956"/>
                <a:gd name="T47" fmla="*/ 2147483647 h 2358"/>
                <a:gd name="T48" fmla="*/ 2147483647 w 1956"/>
                <a:gd name="T49" fmla="*/ 2147483647 h 2358"/>
                <a:gd name="T50" fmla="*/ 2147483647 w 1956"/>
                <a:gd name="T51" fmla="*/ 2147483647 h 2358"/>
                <a:gd name="T52" fmla="*/ 2147483647 w 1956"/>
                <a:gd name="T53" fmla="*/ 2147483647 h 2358"/>
                <a:gd name="T54" fmla="*/ 2147483647 w 1956"/>
                <a:gd name="T55" fmla="*/ 2147483647 h 2358"/>
                <a:gd name="T56" fmla="*/ 2147483647 w 1956"/>
                <a:gd name="T57" fmla="*/ 2147483647 h 2358"/>
                <a:gd name="T58" fmla="*/ 2147483647 w 1956"/>
                <a:gd name="T59" fmla="*/ 2147483647 h 2358"/>
                <a:gd name="T60" fmla="*/ 2147483647 w 1956"/>
                <a:gd name="T61" fmla="*/ 2147483647 h 2358"/>
                <a:gd name="T62" fmla="*/ 2147483647 w 1956"/>
                <a:gd name="T63" fmla="*/ 2147483647 h 2358"/>
                <a:gd name="T64" fmla="*/ 2147483647 w 1956"/>
                <a:gd name="T65" fmla="*/ 2147483647 h 2358"/>
                <a:gd name="T66" fmla="*/ 2147483647 w 1956"/>
                <a:gd name="T67" fmla="*/ 2147483647 h 2358"/>
                <a:gd name="T68" fmla="*/ 2147483647 w 1956"/>
                <a:gd name="T69" fmla="*/ 2147483647 h 2358"/>
                <a:gd name="T70" fmla="*/ 2147483647 w 1956"/>
                <a:gd name="T71" fmla="*/ 2147483647 h 2358"/>
                <a:gd name="T72" fmla="*/ 2147483647 w 1956"/>
                <a:gd name="T73" fmla="*/ 2147483647 h 2358"/>
                <a:gd name="T74" fmla="*/ 2147483647 w 1956"/>
                <a:gd name="T75" fmla="*/ 2147483647 h 2358"/>
                <a:gd name="T76" fmla="*/ 2147483647 w 1956"/>
                <a:gd name="T77" fmla="*/ 2147483647 h 2358"/>
                <a:gd name="T78" fmla="*/ 2147483647 w 1956"/>
                <a:gd name="T79" fmla="*/ 2147483647 h 2358"/>
                <a:gd name="T80" fmla="*/ 2147483647 w 1956"/>
                <a:gd name="T81" fmla="*/ 2147483647 h 2358"/>
                <a:gd name="T82" fmla="*/ 2147483647 w 1956"/>
                <a:gd name="T83" fmla="*/ 2147483647 h 2358"/>
                <a:gd name="T84" fmla="*/ 2147483647 w 1956"/>
                <a:gd name="T85" fmla="*/ 2147483647 h 2358"/>
                <a:gd name="T86" fmla="*/ 2147483647 w 1956"/>
                <a:gd name="T87" fmla="*/ 2147483647 h 2358"/>
                <a:gd name="T88" fmla="*/ 2147483647 w 1956"/>
                <a:gd name="T89" fmla="*/ 2147483647 h 2358"/>
                <a:gd name="T90" fmla="*/ 2147483647 w 1956"/>
                <a:gd name="T91" fmla="*/ 2147483647 h 2358"/>
                <a:gd name="T92" fmla="*/ 2147483647 w 1956"/>
                <a:gd name="T93" fmla="*/ 2147483647 h 2358"/>
                <a:gd name="T94" fmla="*/ 2147483647 w 1956"/>
                <a:gd name="T95" fmla="*/ 2147483647 h 2358"/>
                <a:gd name="T96" fmla="*/ 2147483647 w 1956"/>
                <a:gd name="T97" fmla="*/ 2147483647 h 2358"/>
                <a:gd name="T98" fmla="*/ 2147483647 w 1956"/>
                <a:gd name="T99" fmla="*/ 2147483647 h 2358"/>
                <a:gd name="T100" fmla="*/ 2147483647 w 1956"/>
                <a:gd name="T101" fmla="*/ 2147483647 h 2358"/>
                <a:gd name="T102" fmla="*/ 2147483647 w 1956"/>
                <a:gd name="T103" fmla="*/ 2147483647 h 2358"/>
                <a:gd name="T104" fmla="*/ 2147483647 w 1956"/>
                <a:gd name="T105" fmla="*/ 2147483647 h 2358"/>
                <a:gd name="T106" fmla="*/ 2147483647 w 1956"/>
                <a:gd name="T107" fmla="*/ 2147483647 h 2358"/>
                <a:gd name="T108" fmla="*/ 2147483647 w 1956"/>
                <a:gd name="T109" fmla="*/ 2147483647 h 2358"/>
                <a:gd name="T110" fmla="*/ 2147483647 w 1956"/>
                <a:gd name="T111" fmla="*/ 2147483647 h 2358"/>
                <a:gd name="T112" fmla="*/ 2147483647 w 1956"/>
                <a:gd name="T113" fmla="*/ 2147483647 h 2358"/>
                <a:gd name="T114" fmla="*/ 2147483647 w 1956"/>
                <a:gd name="T115" fmla="*/ 2147483647 h 2358"/>
                <a:gd name="T116" fmla="*/ 2147483647 w 1956"/>
                <a:gd name="T117" fmla="*/ 2147483647 h 2358"/>
                <a:gd name="T118" fmla="*/ 2147483647 w 1956"/>
                <a:gd name="T119" fmla="*/ 2147483647 h 235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956"/>
                <a:gd name="T181" fmla="*/ 0 h 2358"/>
                <a:gd name="T182" fmla="*/ 1956 w 1956"/>
                <a:gd name="T183" fmla="*/ 2358 h 235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956" h="2358">
                  <a:moveTo>
                    <a:pt x="1806" y="1788"/>
                  </a:moveTo>
                  <a:lnTo>
                    <a:pt x="1794" y="1800"/>
                  </a:lnTo>
                  <a:lnTo>
                    <a:pt x="1782" y="1824"/>
                  </a:lnTo>
                  <a:lnTo>
                    <a:pt x="1782" y="1884"/>
                  </a:lnTo>
                  <a:lnTo>
                    <a:pt x="1788" y="1980"/>
                  </a:lnTo>
                  <a:lnTo>
                    <a:pt x="1800" y="1950"/>
                  </a:lnTo>
                  <a:lnTo>
                    <a:pt x="1800" y="1848"/>
                  </a:lnTo>
                  <a:lnTo>
                    <a:pt x="1806" y="1836"/>
                  </a:lnTo>
                  <a:lnTo>
                    <a:pt x="1806" y="1830"/>
                  </a:lnTo>
                  <a:lnTo>
                    <a:pt x="1812" y="1818"/>
                  </a:lnTo>
                  <a:lnTo>
                    <a:pt x="1812" y="1806"/>
                  </a:lnTo>
                  <a:lnTo>
                    <a:pt x="1818" y="1800"/>
                  </a:lnTo>
                  <a:lnTo>
                    <a:pt x="1812" y="1788"/>
                  </a:lnTo>
                  <a:lnTo>
                    <a:pt x="1806" y="1788"/>
                  </a:lnTo>
                  <a:close/>
                  <a:moveTo>
                    <a:pt x="1794" y="2028"/>
                  </a:moveTo>
                  <a:lnTo>
                    <a:pt x="1788" y="2028"/>
                  </a:lnTo>
                  <a:lnTo>
                    <a:pt x="1782" y="2040"/>
                  </a:lnTo>
                  <a:lnTo>
                    <a:pt x="1782" y="2046"/>
                  </a:lnTo>
                  <a:lnTo>
                    <a:pt x="1788" y="2058"/>
                  </a:lnTo>
                  <a:lnTo>
                    <a:pt x="1788" y="2064"/>
                  </a:lnTo>
                  <a:lnTo>
                    <a:pt x="1794" y="2076"/>
                  </a:lnTo>
                  <a:lnTo>
                    <a:pt x="1800" y="2064"/>
                  </a:lnTo>
                  <a:lnTo>
                    <a:pt x="1800" y="2028"/>
                  </a:lnTo>
                  <a:lnTo>
                    <a:pt x="1794" y="2028"/>
                  </a:lnTo>
                  <a:close/>
                  <a:moveTo>
                    <a:pt x="1890" y="2310"/>
                  </a:moveTo>
                  <a:lnTo>
                    <a:pt x="1884" y="2316"/>
                  </a:lnTo>
                  <a:lnTo>
                    <a:pt x="1884" y="2334"/>
                  </a:lnTo>
                  <a:lnTo>
                    <a:pt x="1890" y="2346"/>
                  </a:lnTo>
                  <a:lnTo>
                    <a:pt x="1896" y="2352"/>
                  </a:lnTo>
                  <a:lnTo>
                    <a:pt x="1908" y="2358"/>
                  </a:lnTo>
                  <a:lnTo>
                    <a:pt x="1908" y="2346"/>
                  </a:lnTo>
                  <a:lnTo>
                    <a:pt x="1902" y="2334"/>
                  </a:lnTo>
                  <a:lnTo>
                    <a:pt x="1902" y="2322"/>
                  </a:lnTo>
                  <a:lnTo>
                    <a:pt x="1896" y="2310"/>
                  </a:lnTo>
                  <a:lnTo>
                    <a:pt x="1890" y="2310"/>
                  </a:lnTo>
                  <a:close/>
                  <a:moveTo>
                    <a:pt x="1920" y="672"/>
                  </a:moveTo>
                  <a:lnTo>
                    <a:pt x="1932" y="660"/>
                  </a:lnTo>
                  <a:lnTo>
                    <a:pt x="1944" y="654"/>
                  </a:lnTo>
                  <a:lnTo>
                    <a:pt x="1950" y="648"/>
                  </a:lnTo>
                  <a:lnTo>
                    <a:pt x="1956" y="648"/>
                  </a:lnTo>
                  <a:lnTo>
                    <a:pt x="1956" y="618"/>
                  </a:lnTo>
                  <a:lnTo>
                    <a:pt x="1950" y="618"/>
                  </a:lnTo>
                  <a:lnTo>
                    <a:pt x="1944" y="612"/>
                  </a:lnTo>
                  <a:lnTo>
                    <a:pt x="1878" y="612"/>
                  </a:lnTo>
                  <a:lnTo>
                    <a:pt x="1878" y="606"/>
                  </a:lnTo>
                  <a:lnTo>
                    <a:pt x="1890" y="594"/>
                  </a:lnTo>
                  <a:lnTo>
                    <a:pt x="1896" y="594"/>
                  </a:lnTo>
                  <a:lnTo>
                    <a:pt x="1878" y="564"/>
                  </a:lnTo>
                  <a:lnTo>
                    <a:pt x="1848" y="564"/>
                  </a:lnTo>
                  <a:lnTo>
                    <a:pt x="1842" y="558"/>
                  </a:lnTo>
                  <a:lnTo>
                    <a:pt x="1848" y="558"/>
                  </a:lnTo>
                  <a:lnTo>
                    <a:pt x="1860" y="546"/>
                  </a:lnTo>
                  <a:lnTo>
                    <a:pt x="1854" y="540"/>
                  </a:lnTo>
                  <a:lnTo>
                    <a:pt x="1818" y="522"/>
                  </a:lnTo>
                  <a:lnTo>
                    <a:pt x="1806" y="534"/>
                  </a:lnTo>
                  <a:lnTo>
                    <a:pt x="1806" y="558"/>
                  </a:lnTo>
                  <a:lnTo>
                    <a:pt x="1788" y="558"/>
                  </a:lnTo>
                  <a:lnTo>
                    <a:pt x="1770" y="546"/>
                  </a:lnTo>
                  <a:lnTo>
                    <a:pt x="1758" y="540"/>
                  </a:lnTo>
                  <a:lnTo>
                    <a:pt x="1740" y="540"/>
                  </a:lnTo>
                  <a:lnTo>
                    <a:pt x="1728" y="552"/>
                  </a:lnTo>
                  <a:lnTo>
                    <a:pt x="1716" y="558"/>
                  </a:lnTo>
                  <a:lnTo>
                    <a:pt x="1692" y="582"/>
                  </a:lnTo>
                  <a:lnTo>
                    <a:pt x="1656" y="582"/>
                  </a:lnTo>
                  <a:lnTo>
                    <a:pt x="1656" y="588"/>
                  </a:lnTo>
                  <a:lnTo>
                    <a:pt x="1662" y="594"/>
                  </a:lnTo>
                  <a:lnTo>
                    <a:pt x="1662" y="618"/>
                  </a:lnTo>
                  <a:lnTo>
                    <a:pt x="1656" y="624"/>
                  </a:lnTo>
                  <a:lnTo>
                    <a:pt x="1626" y="624"/>
                  </a:lnTo>
                  <a:lnTo>
                    <a:pt x="1632" y="636"/>
                  </a:lnTo>
                  <a:lnTo>
                    <a:pt x="1632" y="654"/>
                  </a:lnTo>
                  <a:lnTo>
                    <a:pt x="1620" y="666"/>
                  </a:lnTo>
                  <a:lnTo>
                    <a:pt x="1566" y="666"/>
                  </a:lnTo>
                  <a:lnTo>
                    <a:pt x="1566" y="684"/>
                  </a:lnTo>
                  <a:lnTo>
                    <a:pt x="1572" y="690"/>
                  </a:lnTo>
                  <a:lnTo>
                    <a:pt x="1596" y="690"/>
                  </a:lnTo>
                  <a:lnTo>
                    <a:pt x="1596" y="714"/>
                  </a:lnTo>
                  <a:lnTo>
                    <a:pt x="1608" y="726"/>
                  </a:lnTo>
                  <a:lnTo>
                    <a:pt x="1608" y="732"/>
                  </a:lnTo>
                  <a:lnTo>
                    <a:pt x="1584" y="744"/>
                  </a:lnTo>
                  <a:lnTo>
                    <a:pt x="1572" y="744"/>
                  </a:lnTo>
                  <a:lnTo>
                    <a:pt x="1566" y="738"/>
                  </a:lnTo>
                  <a:lnTo>
                    <a:pt x="1554" y="738"/>
                  </a:lnTo>
                  <a:lnTo>
                    <a:pt x="1542" y="744"/>
                  </a:lnTo>
                  <a:lnTo>
                    <a:pt x="1512" y="744"/>
                  </a:lnTo>
                  <a:lnTo>
                    <a:pt x="1500" y="738"/>
                  </a:lnTo>
                  <a:lnTo>
                    <a:pt x="1482" y="738"/>
                  </a:lnTo>
                  <a:lnTo>
                    <a:pt x="1476" y="744"/>
                  </a:lnTo>
                  <a:lnTo>
                    <a:pt x="1464" y="750"/>
                  </a:lnTo>
                  <a:lnTo>
                    <a:pt x="1440" y="750"/>
                  </a:lnTo>
                  <a:lnTo>
                    <a:pt x="1428" y="738"/>
                  </a:lnTo>
                  <a:lnTo>
                    <a:pt x="1428" y="732"/>
                  </a:lnTo>
                  <a:lnTo>
                    <a:pt x="1428" y="738"/>
                  </a:lnTo>
                  <a:lnTo>
                    <a:pt x="1416" y="738"/>
                  </a:lnTo>
                  <a:lnTo>
                    <a:pt x="1392" y="726"/>
                  </a:lnTo>
                  <a:lnTo>
                    <a:pt x="1374" y="708"/>
                  </a:lnTo>
                  <a:lnTo>
                    <a:pt x="1374" y="696"/>
                  </a:lnTo>
                  <a:lnTo>
                    <a:pt x="1380" y="696"/>
                  </a:lnTo>
                  <a:lnTo>
                    <a:pt x="1374" y="696"/>
                  </a:lnTo>
                  <a:lnTo>
                    <a:pt x="1368" y="690"/>
                  </a:lnTo>
                  <a:lnTo>
                    <a:pt x="1368" y="642"/>
                  </a:lnTo>
                  <a:lnTo>
                    <a:pt x="1362" y="636"/>
                  </a:lnTo>
                  <a:lnTo>
                    <a:pt x="1350" y="630"/>
                  </a:lnTo>
                  <a:lnTo>
                    <a:pt x="1338" y="630"/>
                  </a:lnTo>
                  <a:lnTo>
                    <a:pt x="1326" y="642"/>
                  </a:lnTo>
                  <a:lnTo>
                    <a:pt x="1314" y="648"/>
                  </a:lnTo>
                  <a:lnTo>
                    <a:pt x="1326" y="666"/>
                  </a:lnTo>
                  <a:lnTo>
                    <a:pt x="1326" y="714"/>
                  </a:lnTo>
                  <a:lnTo>
                    <a:pt x="1338" y="738"/>
                  </a:lnTo>
                  <a:lnTo>
                    <a:pt x="1338" y="774"/>
                  </a:lnTo>
                  <a:lnTo>
                    <a:pt x="1272" y="774"/>
                  </a:lnTo>
                  <a:lnTo>
                    <a:pt x="1272" y="762"/>
                  </a:lnTo>
                  <a:lnTo>
                    <a:pt x="1266" y="756"/>
                  </a:lnTo>
                  <a:lnTo>
                    <a:pt x="1260" y="756"/>
                  </a:lnTo>
                  <a:lnTo>
                    <a:pt x="1248" y="762"/>
                  </a:lnTo>
                  <a:lnTo>
                    <a:pt x="1242" y="774"/>
                  </a:lnTo>
                  <a:lnTo>
                    <a:pt x="1236" y="762"/>
                  </a:lnTo>
                  <a:lnTo>
                    <a:pt x="1224" y="756"/>
                  </a:lnTo>
                  <a:lnTo>
                    <a:pt x="1206" y="750"/>
                  </a:lnTo>
                  <a:lnTo>
                    <a:pt x="1188" y="750"/>
                  </a:lnTo>
                  <a:lnTo>
                    <a:pt x="1182" y="756"/>
                  </a:lnTo>
                  <a:lnTo>
                    <a:pt x="1152" y="738"/>
                  </a:lnTo>
                  <a:lnTo>
                    <a:pt x="1134" y="750"/>
                  </a:lnTo>
                  <a:lnTo>
                    <a:pt x="1080" y="696"/>
                  </a:lnTo>
                  <a:lnTo>
                    <a:pt x="1056" y="696"/>
                  </a:lnTo>
                  <a:lnTo>
                    <a:pt x="1056" y="690"/>
                  </a:lnTo>
                  <a:lnTo>
                    <a:pt x="1044" y="678"/>
                  </a:lnTo>
                  <a:lnTo>
                    <a:pt x="1038" y="678"/>
                  </a:lnTo>
                  <a:lnTo>
                    <a:pt x="1032" y="684"/>
                  </a:lnTo>
                  <a:lnTo>
                    <a:pt x="1032" y="702"/>
                  </a:lnTo>
                  <a:lnTo>
                    <a:pt x="1032" y="696"/>
                  </a:lnTo>
                  <a:lnTo>
                    <a:pt x="1026" y="690"/>
                  </a:lnTo>
                  <a:lnTo>
                    <a:pt x="1008" y="690"/>
                  </a:lnTo>
                  <a:lnTo>
                    <a:pt x="996" y="702"/>
                  </a:lnTo>
                  <a:lnTo>
                    <a:pt x="990" y="690"/>
                  </a:lnTo>
                  <a:lnTo>
                    <a:pt x="984" y="684"/>
                  </a:lnTo>
                  <a:lnTo>
                    <a:pt x="960" y="684"/>
                  </a:lnTo>
                  <a:lnTo>
                    <a:pt x="954" y="678"/>
                  </a:lnTo>
                  <a:lnTo>
                    <a:pt x="954" y="666"/>
                  </a:lnTo>
                  <a:lnTo>
                    <a:pt x="942" y="666"/>
                  </a:lnTo>
                  <a:lnTo>
                    <a:pt x="936" y="672"/>
                  </a:lnTo>
                  <a:lnTo>
                    <a:pt x="918" y="672"/>
                  </a:lnTo>
                  <a:lnTo>
                    <a:pt x="912" y="666"/>
                  </a:lnTo>
                  <a:lnTo>
                    <a:pt x="906" y="654"/>
                  </a:lnTo>
                  <a:lnTo>
                    <a:pt x="900" y="648"/>
                  </a:lnTo>
                  <a:lnTo>
                    <a:pt x="888" y="648"/>
                  </a:lnTo>
                  <a:lnTo>
                    <a:pt x="846" y="630"/>
                  </a:lnTo>
                  <a:lnTo>
                    <a:pt x="834" y="612"/>
                  </a:lnTo>
                  <a:lnTo>
                    <a:pt x="810" y="612"/>
                  </a:lnTo>
                  <a:lnTo>
                    <a:pt x="792" y="588"/>
                  </a:lnTo>
                  <a:lnTo>
                    <a:pt x="780" y="594"/>
                  </a:lnTo>
                  <a:lnTo>
                    <a:pt x="750" y="564"/>
                  </a:lnTo>
                  <a:lnTo>
                    <a:pt x="750" y="552"/>
                  </a:lnTo>
                  <a:lnTo>
                    <a:pt x="762" y="540"/>
                  </a:lnTo>
                  <a:lnTo>
                    <a:pt x="768" y="540"/>
                  </a:lnTo>
                  <a:lnTo>
                    <a:pt x="756" y="528"/>
                  </a:lnTo>
                  <a:lnTo>
                    <a:pt x="756" y="522"/>
                  </a:lnTo>
                  <a:lnTo>
                    <a:pt x="762" y="516"/>
                  </a:lnTo>
                  <a:lnTo>
                    <a:pt x="756" y="504"/>
                  </a:lnTo>
                  <a:lnTo>
                    <a:pt x="780" y="480"/>
                  </a:lnTo>
                  <a:lnTo>
                    <a:pt x="786" y="456"/>
                  </a:lnTo>
                  <a:lnTo>
                    <a:pt x="762" y="438"/>
                  </a:lnTo>
                  <a:lnTo>
                    <a:pt x="750" y="438"/>
                  </a:lnTo>
                  <a:lnTo>
                    <a:pt x="738" y="432"/>
                  </a:lnTo>
                  <a:lnTo>
                    <a:pt x="738" y="414"/>
                  </a:lnTo>
                  <a:lnTo>
                    <a:pt x="720" y="420"/>
                  </a:lnTo>
                  <a:lnTo>
                    <a:pt x="702" y="402"/>
                  </a:lnTo>
                  <a:lnTo>
                    <a:pt x="696" y="402"/>
                  </a:lnTo>
                  <a:lnTo>
                    <a:pt x="690" y="396"/>
                  </a:lnTo>
                  <a:lnTo>
                    <a:pt x="678" y="396"/>
                  </a:lnTo>
                  <a:lnTo>
                    <a:pt x="666" y="390"/>
                  </a:lnTo>
                  <a:lnTo>
                    <a:pt x="654" y="378"/>
                  </a:lnTo>
                  <a:lnTo>
                    <a:pt x="648" y="366"/>
                  </a:lnTo>
                  <a:lnTo>
                    <a:pt x="618" y="366"/>
                  </a:lnTo>
                  <a:lnTo>
                    <a:pt x="612" y="360"/>
                  </a:lnTo>
                  <a:lnTo>
                    <a:pt x="612" y="342"/>
                  </a:lnTo>
                  <a:lnTo>
                    <a:pt x="618" y="336"/>
                  </a:lnTo>
                  <a:lnTo>
                    <a:pt x="618" y="324"/>
                  </a:lnTo>
                  <a:lnTo>
                    <a:pt x="612" y="324"/>
                  </a:lnTo>
                  <a:lnTo>
                    <a:pt x="600" y="312"/>
                  </a:lnTo>
                  <a:lnTo>
                    <a:pt x="594" y="300"/>
                  </a:lnTo>
                  <a:lnTo>
                    <a:pt x="588" y="294"/>
                  </a:lnTo>
                  <a:lnTo>
                    <a:pt x="588" y="276"/>
                  </a:lnTo>
                  <a:lnTo>
                    <a:pt x="594" y="276"/>
                  </a:lnTo>
                  <a:lnTo>
                    <a:pt x="600" y="270"/>
                  </a:lnTo>
                  <a:lnTo>
                    <a:pt x="612" y="270"/>
                  </a:lnTo>
                  <a:lnTo>
                    <a:pt x="612" y="288"/>
                  </a:lnTo>
                  <a:lnTo>
                    <a:pt x="624" y="300"/>
                  </a:lnTo>
                  <a:lnTo>
                    <a:pt x="636" y="282"/>
                  </a:lnTo>
                  <a:lnTo>
                    <a:pt x="642" y="282"/>
                  </a:lnTo>
                  <a:lnTo>
                    <a:pt x="648" y="276"/>
                  </a:lnTo>
                  <a:lnTo>
                    <a:pt x="660" y="270"/>
                  </a:lnTo>
                  <a:lnTo>
                    <a:pt x="660" y="258"/>
                  </a:lnTo>
                  <a:lnTo>
                    <a:pt x="642" y="240"/>
                  </a:lnTo>
                  <a:lnTo>
                    <a:pt x="636" y="228"/>
                  </a:lnTo>
                  <a:lnTo>
                    <a:pt x="630" y="222"/>
                  </a:lnTo>
                  <a:lnTo>
                    <a:pt x="618" y="222"/>
                  </a:lnTo>
                  <a:lnTo>
                    <a:pt x="594" y="210"/>
                  </a:lnTo>
                  <a:lnTo>
                    <a:pt x="594" y="186"/>
                  </a:lnTo>
                  <a:lnTo>
                    <a:pt x="612" y="180"/>
                  </a:lnTo>
                  <a:lnTo>
                    <a:pt x="594" y="156"/>
                  </a:lnTo>
                  <a:lnTo>
                    <a:pt x="624" y="156"/>
                  </a:lnTo>
                  <a:lnTo>
                    <a:pt x="636" y="150"/>
                  </a:lnTo>
                  <a:lnTo>
                    <a:pt x="642" y="138"/>
                  </a:lnTo>
                  <a:lnTo>
                    <a:pt x="642" y="114"/>
                  </a:lnTo>
                  <a:lnTo>
                    <a:pt x="636" y="108"/>
                  </a:lnTo>
                  <a:lnTo>
                    <a:pt x="636" y="102"/>
                  </a:lnTo>
                  <a:lnTo>
                    <a:pt x="654" y="102"/>
                  </a:lnTo>
                  <a:lnTo>
                    <a:pt x="660" y="96"/>
                  </a:lnTo>
                  <a:lnTo>
                    <a:pt x="660" y="36"/>
                  </a:lnTo>
                  <a:lnTo>
                    <a:pt x="618" y="36"/>
                  </a:lnTo>
                  <a:lnTo>
                    <a:pt x="594" y="12"/>
                  </a:lnTo>
                  <a:lnTo>
                    <a:pt x="576" y="0"/>
                  </a:lnTo>
                  <a:lnTo>
                    <a:pt x="564" y="0"/>
                  </a:lnTo>
                  <a:lnTo>
                    <a:pt x="540" y="12"/>
                  </a:lnTo>
                  <a:lnTo>
                    <a:pt x="522" y="18"/>
                  </a:lnTo>
                  <a:lnTo>
                    <a:pt x="516" y="30"/>
                  </a:lnTo>
                  <a:lnTo>
                    <a:pt x="504" y="36"/>
                  </a:lnTo>
                  <a:lnTo>
                    <a:pt x="480" y="36"/>
                  </a:lnTo>
                  <a:lnTo>
                    <a:pt x="456" y="72"/>
                  </a:lnTo>
                  <a:lnTo>
                    <a:pt x="432" y="78"/>
                  </a:lnTo>
                  <a:lnTo>
                    <a:pt x="432" y="96"/>
                  </a:lnTo>
                  <a:lnTo>
                    <a:pt x="408" y="96"/>
                  </a:lnTo>
                  <a:lnTo>
                    <a:pt x="402" y="102"/>
                  </a:lnTo>
                  <a:lnTo>
                    <a:pt x="396" y="96"/>
                  </a:lnTo>
                  <a:lnTo>
                    <a:pt x="390" y="102"/>
                  </a:lnTo>
                  <a:lnTo>
                    <a:pt x="378" y="108"/>
                  </a:lnTo>
                  <a:lnTo>
                    <a:pt x="372" y="114"/>
                  </a:lnTo>
                  <a:lnTo>
                    <a:pt x="360" y="120"/>
                  </a:lnTo>
                  <a:lnTo>
                    <a:pt x="348" y="120"/>
                  </a:lnTo>
                  <a:lnTo>
                    <a:pt x="348" y="108"/>
                  </a:lnTo>
                  <a:lnTo>
                    <a:pt x="342" y="102"/>
                  </a:lnTo>
                  <a:lnTo>
                    <a:pt x="324" y="102"/>
                  </a:lnTo>
                  <a:lnTo>
                    <a:pt x="306" y="96"/>
                  </a:lnTo>
                  <a:lnTo>
                    <a:pt x="264" y="96"/>
                  </a:lnTo>
                  <a:lnTo>
                    <a:pt x="240" y="108"/>
                  </a:lnTo>
                  <a:lnTo>
                    <a:pt x="234" y="120"/>
                  </a:lnTo>
                  <a:lnTo>
                    <a:pt x="234" y="126"/>
                  </a:lnTo>
                  <a:lnTo>
                    <a:pt x="258" y="144"/>
                  </a:lnTo>
                  <a:lnTo>
                    <a:pt x="252" y="156"/>
                  </a:lnTo>
                  <a:lnTo>
                    <a:pt x="282" y="162"/>
                  </a:lnTo>
                  <a:lnTo>
                    <a:pt x="276" y="168"/>
                  </a:lnTo>
                  <a:lnTo>
                    <a:pt x="270" y="180"/>
                  </a:lnTo>
                  <a:lnTo>
                    <a:pt x="264" y="186"/>
                  </a:lnTo>
                  <a:lnTo>
                    <a:pt x="264" y="192"/>
                  </a:lnTo>
                  <a:lnTo>
                    <a:pt x="276" y="204"/>
                  </a:lnTo>
                  <a:lnTo>
                    <a:pt x="282" y="204"/>
                  </a:lnTo>
                  <a:lnTo>
                    <a:pt x="282" y="210"/>
                  </a:lnTo>
                  <a:lnTo>
                    <a:pt x="276" y="222"/>
                  </a:lnTo>
                  <a:lnTo>
                    <a:pt x="276" y="234"/>
                  </a:lnTo>
                  <a:lnTo>
                    <a:pt x="294" y="234"/>
                  </a:lnTo>
                  <a:lnTo>
                    <a:pt x="306" y="252"/>
                  </a:lnTo>
                  <a:lnTo>
                    <a:pt x="324" y="252"/>
                  </a:lnTo>
                  <a:lnTo>
                    <a:pt x="330" y="288"/>
                  </a:lnTo>
                  <a:lnTo>
                    <a:pt x="366" y="288"/>
                  </a:lnTo>
                  <a:lnTo>
                    <a:pt x="378" y="294"/>
                  </a:lnTo>
                  <a:lnTo>
                    <a:pt x="384" y="300"/>
                  </a:lnTo>
                  <a:lnTo>
                    <a:pt x="384" y="306"/>
                  </a:lnTo>
                  <a:lnTo>
                    <a:pt x="378" y="312"/>
                  </a:lnTo>
                  <a:lnTo>
                    <a:pt x="354" y="324"/>
                  </a:lnTo>
                  <a:lnTo>
                    <a:pt x="342" y="324"/>
                  </a:lnTo>
                  <a:lnTo>
                    <a:pt x="336" y="330"/>
                  </a:lnTo>
                  <a:lnTo>
                    <a:pt x="336" y="366"/>
                  </a:lnTo>
                  <a:lnTo>
                    <a:pt x="342" y="378"/>
                  </a:lnTo>
                  <a:lnTo>
                    <a:pt x="354" y="390"/>
                  </a:lnTo>
                  <a:lnTo>
                    <a:pt x="354" y="396"/>
                  </a:lnTo>
                  <a:lnTo>
                    <a:pt x="324" y="414"/>
                  </a:lnTo>
                  <a:lnTo>
                    <a:pt x="300" y="450"/>
                  </a:lnTo>
                  <a:lnTo>
                    <a:pt x="318" y="474"/>
                  </a:lnTo>
                  <a:lnTo>
                    <a:pt x="306" y="474"/>
                  </a:lnTo>
                  <a:lnTo>
                    <a:pt x="300" y="480"/>
                  </a:lnTo>
                  <a:lnTo>
                    <a:pt x="288" y="486"/>
                  </a:lnTo>
                  <a:lnTo>
                    <a:pt x="282" y="492"/>
                  </a:lnTo>
                  <a:lnTo>
                    <a:pt x="282" y="504"/>
                  </a:lnTo>
                  <a:lnTo>
                    <a:pt x="276" y="522"/>
                  </a:lnTo>
                  <a:lnTo>
                    <a:pt x="276" y="534"/>
                  </a:lnTo>
                  <a:lnTo>
                    <a:pt x="270" y="552"/>
                  </a:lnTo>
                  <a:lnTo>
                    <a:pt x="258" y="564"/>
                  </a:lnTo>
                  <a:lnTo>
                    <a:pt x="234" y="576"/>
                  </a:lnTo>
                  <a:lnTo>
                    <a:pt x="228" y="582"/>
                  </a:lnTo>
                  <a:lnTo>
                    <a:pt x="228" y="588"/>
                  </a:lnTo>
                  <a:lnTo>
                    <a:pt x="222" y="594"/>
                  </a:lnTo>
                  <a:lnTo>
                    <a:pt x="222" y="612"/>
                  </a:lnTo>
                  <a:lnTo>
                    <a:pt x="204" y="624"/>
                  </a:lnTo>
                  <a:lnTo>
                    <a:pt x="204" y="630"/>
                  </a:lnTo>
                  <a:lnTo>
                    <a:pt x="198" y="636"/>
                  </a:lnTo>
                  <a:lnTo>
                    <a:pt x="192" y="648"/>
                  </a:lnTo>
                  <a:lnTo>
                    <a:pt x="186" y="654"/>
                  </a:lnTo>
                  <a:lnTo>
                    <a:pt x="168" y="654"/>
                  </a:lnTo>
                  <a:lnTo>
                    <a:pt x="162" y="648"/>
                  </a:lnTo>
                  <a:lnTo>
                    <a:pt x="156" y="654"/>
                  </a:lnTo>
                  <a:lnTo>
                    <a:pt x="132" y="666"/>
                  </a:lnTo>
                  <a:lnTo>
                    <a:pt x="126" y="666"/>
                  </a:lnTo>
                  <a:lnTo>
                    <a:pt x="120" y="660"/>
                  </a:lnTo>
                  <a:lnTo>
                    <a:pt x="120" y="648"/>
                  </a:lnTo>
                  <a:lnTo>
                    <a:pt x="114" y="642"/>
                  </a:lnTo>
                  <a:lnTo>
                    <a:pt x="108" y="642"/>
                  </a:lnTo>
                  <a:lnTo>
                    <a:pt x="96" y="648"/>
                  </a:lnTo>
                  <a:lnTo>
                    <a:pt x="84" y="660"/>
                  </a:lnTo>
                  <a:lnTo>
                    <a:pt x="84" y="666"/>
                  </a:lnTo>
                  <a:lnTo>
                    <a:pt x="78" y="678"/>
                  </a:lnTo>
                  <a:lnTo>
                    <a:pt x="72" y="684"/>
                  </a:lnTo>
                  <a:lnTo>
                    <a:pt x="66" y="696"/>
                  </a:lnTo>
                  <a:lnTo>
                    <a:pt x="54" y="708"/>
                  </a:lnTo>
                  <a:lnTo>
                    <a:pt x="48" y="720"/>
                  </a:lnTo>
                  <a:lnTo>
                    <a:pt x="48" y="744"/>
                  </a:lnTo>
                  <a:lnTo>
                    <a:pt x="54" y="750"/>
                  </a:lnTo>
                  <a:lnTo>
                    <a:pt x="66" y="756"/>
                  </a:lnTo>
                  <a:lnTo>
                    <a:pt x="72" y="756"/>
                  </a:lnTo>
                  <a:lnTo>
                    <a:pt x="102" y="750"/>
                  </a:lnTo>
                  <a:lnTo>
                    <a:pt x="102" y="768"/>
                  </a:lnTo>
                  <a:lnTo>
                    <a:pt x="96" y="798"/>
                  </a:lnTo>
                  <a:lnTo>
                    <a:pt x="102" y="804"/>
                  </a:lnTo>
                  <a:lnTo>
                    <a:pt x="108" y="816"/>
                  </a:lnTo>
                  <a:lnTo>
                    <a:pt x="120" y="828"/>
                  </a:lnTo>
                  <a:lnTo>
                    <a:pt x="144" y="828"/>
                  </a:lnTo>
                  <a:lnTo>
                    <a:pt x="144" y="852"/>
                  </a:lnTo>
                  <a:lnTo>
                    <a:pt x="168" y="894"/>
                  </a:lnTo>
                  <a:lnTo>
                    <a:pt x="174" y="906"/>
                  </a:lnTo>
                  <a:lnTo>
                    <a:pt x="180" y="912"/>
                  </a:lnTo>
                  <a:lnTo>
                    <a:pt x="180" y="936"/>
                  </a:lnTo>
                  <a:lnTo>
                    <a:pt x="168" y="942"/>
                  </a:lnTo>
                  <a:lnTo>
                    <a:pt x="162" y="948"/>
                  </a:lnTo>
                  <a:lnTo>
                    <a:pt x="144" y="948"/>
                  </a:lnTo>
                  <a:lnTo>
                    <a:pt x="138" y="942"/>
                  </a:lnTo>
                  <a:lnTo>
                    <a:pt x="138" y="930"/>
                  </a:lnTo>
                  <a:lnTo>
                    <a:pt x="132" y="930"/>
                  </a:lnTo>
                  <a:lnTo>
                    <a:pt x="120" y="936"/>
                  </a:lnTo>
                  <a:lnTo>
                    <a:pt x="108" y="948"/>
                  </a:lnTo>
                  <a:lnTo>
                    <a:pt x="84" y="948"/>
                  </a:lnTo>
                  <a:lnTo>
                    <a:pt x="78" y="942"/>
                  </a:lnTo>
                  <a:lnTo>
                    <a:pt x="78" y="936"/>
                  </a:lnTo>
                  <a:lnTo>
                    <a:pt x="54" y="948"/>
                  </a:lnTo>
                  <a:lnTo>
                    <a:pt x="48" y="942"/>
                  </a:lnTo>
                  <a:lnTo>
                    <a:pt x="36" y="936"/>
                  </a:lnTo>
                  <a:lnTo>
                    <a:pt x="24" y="936"/>
                  </a:lnTo>
                  <a:lnTo>
                    <a:pt x="12" y="948"/>
                  </a:lnTo>
                  <a:lnTo>
                    <a:pt x="12" y="960"/>
                  </a:lnTo>
                  <a:lnTo>
                    <a:pt x="18" y="966"/>
                  </a:lnTo>
                  <a:lnTo>
                    <a:pt x="0" y="972"/>
                  </a:lnTo>
                  <a:lnTo>
                    <a:pt x="36" y="972"/>
                  </a:lnTo>
                  <a:lnTo>
                    <a:pt x="30" y="984"/>
                  </a:lnTo>
                  <a:lnTo>
                    <a:pt x="30" y="1014"/>
                  </a:lnTo>
                  <a:lnTo>
                    <a:pt x="36" y="1026"/>
                  </a:lnTo>
                  <a:lnTo>
                    <a:pt x="48" y="1032"/>
                  </a:lnTo>
                  <a:lnTo>
                    <a:pt x="66" y="1038"/>
                  </a:lnTo>
                  <a:lnTo>
                    <a:pt x="120" y="1038"/>
                  </a:lnTo>
                  <a:lnTo>
                    <a:pt x="132" y="1032"/>
                  </a:lnTo>
                  <a:lnTo>
                    <a:pt x="150" y="1014"/>
                  </a:lnTo>
                  <a:lnTo>
                    <a:pt x="162" y="1008"/>
                  </a:lnTo>
                  <a:lnTo>
                    <a:pt x="168" y="1020"/>
                  </a:lnTo>
                  <a:lnTo>
                    <a:pt x="168" y="1026"/>
                  </a:lnTo>
                  <a:lnTo>
                    <a:pt x="162" y="1038"/>
                  </a:lnTo>
                  <a:lnTo>
                    <a:pt x="144" y="1056"/>
                  </a:lnTo>
                  <a:lnTo>
                    <a:pt x="120" y="1068"/>
                  </a:lnTo>
                  <a:lnTo>
                    <a:pt x="114" y="1074"/>
                  </a:lnTo>
                  <a:lnTo>
                    <a:pt x="90" y="1074"/>
                  </a:lnTo>
                  <a:lnTo>
                    <a:pt x="78" y="1080"/>
                  </a:lnTo>
                  <a:lnTo>
                    <a:pt x="60" y="1086"/>
                  </a:lnTo>
                  <a:lnTo>
                    <a:pt x="48" y="1092"/>
                  </a:lnTo>
                  <a:lnTo>
                    <a:pt x="42" y="1098"/>
                  </a:lnTo>
                  <a:lnTo>
                    <a:pt x="54" y="1122"/>
                  </a:lnTo>
                  <a:lnTo>
                    <a:pt x="66" y="1128"/>
                  </a:lnTo>
                  <a:lnTo>
                    <a:pt x="78" y="1140"/>
                  </a:lnTo>
                  <a:lnTo>
                    <a:pt x="96" y="1152"/>
                  </a:lnTo>
                  <a:lnTo>
                    <a:pt x="108" y="1164"/>
                  </a:lnTo>
                  <a:lnTo>
                    <a:pt x="132" y="1182"/>
                  </a:lnTo>
                  <a:lnTo>
                    <a:pt x="162" y="1206"/>
                  </a:lnTo>
                  <a:lnTo>
                    <a:pt x="204" y="1224"/>
                  </a:lnTo>
                  <a:lnTo>
                    <a:pt x="240" y="1218"/>
                  </a:lnTo>
                  <a:lnTo>
                    <a:pt x="270" y="1200"/>
                  </a:lnTo>
                  <a:lnTo>
                    <a:pt x="294" y="1176"/>
                  </a:lnTo>
                  <a:lnTo>
                    <a:pt x="300" y="1158"/>
                  </a:lnTo>
                  <a:lnTo>
                    <a:pt x="300" y="1128"/>
                  </a:lnTo>
                  <a:lnTo>
                    <a:pt x="306" y="1116"/>
                  </a:lnTo>
                  <a:lnTo>
                    <a:pt x="318" y="1104"/>
                  </a:lnTo>
                  <a:lnTo>
                    <a:pt x="324" y="1092"/>
                  </a:lnTo>
                  <a:lnTo>
                    <a:pt x="330" y="1086"/>
                  </a:lnTo>
                  <a:lnTo>
                    <a:pt x="342" y="1086"/>
                  </a:lnTo>
                  <a:lnTo>
                    <a:pt x="348" y="1080"/>
                  </a:lnTo>
                  <a:lnTo>
                    <a:pt x="354" y="1080"/>
                  </a:lnTo>
                  <a:lnTo>
                    <a:pt x="360" y="1086"/>
                  </a:lnTo>
                  <a:lnTo>
                    <a:pt x="360" y="1098"/>
                  </a:lnTo>
                  <a:lnTo>
                    <a:pt x="348" y="1110"/>
                  </a:lnTo>
                  <a:lnTo>
                    <a:pt x="336" y="1128"/>
                  </a:lnTo>
                  <a:lnTo>
                    <a:pt x="324" y="1140"/>
                  </a:lnTo>
                  <a:lnTo>
                    <a:pt x="318" y="1152"/>
                  </a:lnTo>
                  <a:lnTo>
                    <a:pt x="318" y="1164"/>
                  </a:lnTo>
                  <a:lnTo>
                    <a:pt x="324" y="1176"/>
                  </a:lnTo>
                  <a:lnTo>
                    <a:pt x="336" y="1182"/>
                  </a:lnTo>
                  <a:lnTo>
                    <a:pt x="342" y="1182"/>
                  </a:lnTo>
                  <a:lnTo>
                    <a:pt x="354" y="1194"/>
                  </a:lnTo>
                  <a:lnTo>
                    <a:pt x="354" y="1206"/>
                  </a:lnTo>
                  <a:lnTo>
                    <a:pt x="348" y="1242"/>
                  </a:lnTo>
                  <a:lnTo>
                    <a:pt x="342" y="1284"/>
                  </a:lnTo>
                  <a:lnTo>
                    <a:pt x="336" y="1338"/>
                  </a:lnTo>
                  <a:lnTo>
                    <a:pt x="342" y="1398"/>
                  </a:lnTo>
                  <a:lnTo>
                    <a:pt x="354" y="1446"/>
                  </a:lnTo>
                  <a:lnTo>
                    <a:pt x="384" y="1536"/>
                  </a:lnTo>
                  <a:lnTo>
                    <a:pt x="402" y="1554"/>
                  </a:lnTo>
                  <a:lnTo>
                    <a:pt x="402" y="1596"/>
                  </a:lnTo>
                  <a:lnTo>
                    <a:pt x="414" y="1620"/>
                  </a:lnTo>
                  <a:lnTo>
                    <a:pt x="426" y="1626"/>
                  </a:lnTo>
                  <a:lnTo>
                    <a:pt x="438" y="1626"/>
                  </a:lnTo>
                  <a:lnTo>
                    <a:pt x="444" y="1632"/>
                  </a:lnTo>
                  <a:lnTo>
                    <a:pt x="450" y="1632"/>
                  </a:lnTo>
                  <a:lnTo>
                    <a:pt x="450" y="1644"/>
                  </a:lnTo>
                  <a:lnTo>
                    <a:pt x="456" y="1656"/>
                  </a:lnTo>
                  <a:lnTo>
                    <a:pt x="456" y="1674"/>
                  </a:lnTo>
                  <a:lnTo>
                    <a:pt x="474" y="1710"/>
                  </a:lnTo>
                  <a:lnTo>
                    <a:pt x="498" y="1722"/>
                  </a:lnTo>
                  <a:lnTo>
                    <a:pt x="504" y="1728"/>
                  </a:lnTo>
                  <a:lnTo>
                    <a:pt x="510" y="1728"/>
                  </a:lnTo>
                  <a:lnTo>
                    <a:pt x="510" y="1746"/>
                  </a:lnTo>
                  <a:lnTo>
                    <a:pt x="516" y="1782"/>
                  </a:lnTo>
                  <a:lnTo>
                    <a:pt x="522" y="1830"/>
                  </a:lnTo>
                  <a:lnTo>
                    <a:pt x="534" y="1872"/>
                  </a:lnTo>
                  <a:lnTo>
                    <a:pt x="552" y="1908"/>
                  </a:lnTo>
                  <a:lnTo>
                    <a:pt x="576" y="1944"/>
                  </a:lnTo>
                  <a:lnTo>
                    <a:pt x="600" y="1974"/>
                  </a:lnTo>
                  <a:lnTo>
                    <a:pt x="612" y="1998"/>
                  </a:lnTo>
                  <a:lnTo>
                    <a:pt x="618" y="2016"/>
                  </a:lnTo>
                  <a:lnTo>
                    <a:pt x="618" y="2070"/>
                  </a:lnTo>
                  <a:lnTo>
                    <a:pt x="624" y="2094"/>
                  </a:lnTo>
                  <a:lnTo>
                    <a:pt x="642" y="2124"/>
                  </a:lnTo>
                  <a:lnTo>
                    <a:pt x="672" y="2166"/>
                  </a:lnTo>
                  <a:lnTo>
                    <a:pt x="696" y="2202"/>
                  </a:lnTo>
                  <a:lnTo>
                    <a:pt x="714" y="2232"/>
                  </a:lnTo>
                  <a:lnTo>
                    <a:pt x="720" y="2244"/>
                  </a:lnTo>
                  <a:lnTo>
                    <a:pt x="726" y="2244"/>
                  </a:lnTo>
                  <a:lnTo>
                    <a:pt x="732" y="2238"/>
                  </a:lnTo>
                  <a:lnTo>
                    <a:pt x="744" y="2238"/>
                  </a:lnTo>
                  <a:lnTo>
                    <a:pt x="768" y="2226"/>
                  </a:lnTo>
                  <a:lnTo>
                    <a:pt x="774" y="2220"/>
                  </a:lnTo>
                  <a:lnTo>
                    <a:pt x="780" y="2208"/>
                  </a:lnTo>
                  <a:lnTo>
                    <a:pt x="780" y="2172"/>
                  </a:lnTo>
                  <a:lnTo>
                    <a:pt x="786" y="2160"/>
                  </a:lnTo>
                  <a:lnTo>
                    <a:pt x="798" y="2154"/>
                  </a:lnTo>
                  <a:lnTo>
                    <a:pt x="804" y="2154"/>
                  </a:lnTo>
                  <a:lnTo>
                    <a:pt x="810" y="2160"/>
                  </a:lnTo>
                  <a:lnTo>
                    <a:pt x="828" y="2160"/>
                  </a:lnTo>
                  <a:lnTo>
                    <a:pt x="834" y="2154"/>
                  </a:lnTo>
                  <a:lnTo>
                    <a:pt x="846" y="2148"/>
                  </a:lnTo>
                  <a:lnTo>
                    <a:pt x="852" y="2142"/>
                  </a:lnTo>
                  <a:lnTo>
                    <a:pt x="864" y="2136"/>
                  </a:lnTo>
                  <a:lnTo>
                    <a:pt x="852" y="2136"/>
                  </a:lnTo>
                  <a:lnTo>
                    <a:pt x="846" y="2130"/>
                  </a:lnTo>
                  <a:lnTo>
                    <a:pt x="846" y="2118"/>
                  </a:lnTo>
                  <a:lnTo>
                    <a:pt x="852" y="2100"/>
                  </a:lnTo>
                  <a:lnTo>
                    <a:pt x="858" y="2088"/>
                  </a:lnTo>
                  <a:lnTo>
                    <a:pt x="906" y="2064"/>
                  </a:lnTo>
                  <a:lnTo>
                    <a:pt x="918" y="2052"/>
                  </a:lnTo>
                  <a:lnTo>
                    <a:pt x="918" y="2040"/>
                  </a:lnTo>
                  <a:lnTo>
                    <a:pt x="912" y="2028"/>
                  </a:lnTo>
                  <a:lnTo>
                    <a:pt x="912" y="2010"/>
                  </a:lnTo>
                  <a:lnTo>
                    <a:pt x="900" y="1974"/>
                  </a:lnTo>
                  <a:lnTo>
                    <a:pt x="900" y="1908"/>
                  </a:lnTo>
                  <a:lnTo>
                    <a:pt x="906" y="1890"/>
                  </a:lnTo>
                  <a:lnTo>
                    <a:pt x="906" y="1884"/>
                  </a:lnTo>
                  <a:lnTo>
                    <a:pt x="912" y="1878"/>
                  </a:lnTo>
                  <a:lnTo>
                    <a:pt x="912" y="1860"/>
                  </a:lnTo>
                  <a:lnTo>
                    <a:pt x="918" y="1842"/>
                  </a:lnTo>
                  <a:lnTo>
                    <a:pt x="918" y="1800"/>
                  </a:lnTo>
                  <a:lnTo>
                    <a:pt x="906" y="1776"/>
                  </a:lnTo>
                  <a:lnTo>
                    <a:pt x="888" y="1758"/>
                  </a:lnTo>
                  <a:lnTo>
                    <a:pt x="888" y="1728"/>
                  </a:lnTo>
                  <a:lnTo>
                    <a:pt x="894" y="1722"/>
                  </a:lnTo>
                  <a:lnTo>
                    <a:pt x="900" y="1710"/>
                  </a:lnTo>
                  <a:lnTo>
                    <a:pt x="900" y="1698"/>
                  </a:lnTo>
                  <a:lnTo>
                    <a:pt x="894" y="1686"/>
                  </a:lnTo>
                  <a:lnTo>
                    <a:pt x="894" y="1644"/>
                  </a:lnTo>
                  <a:lnTo>
                    <a:pt x="918" y="1632"/>
                  </a:lnTo>
                  <a:lnTo>
                    <a:pt x="924" y="1632"/>
                  </a:lnTo>
                  <a:lnTo>
                    <a:pt x="948" y="1620"/>
                  </a:lnTo>
                  <a:lnTo>
                    <a:pt x="948" y="1596"/>
                  </a:lnTo>
                  <a:lnTo>
                    <a:pt x="954" y="1584"/>
                  </a:lnTo>
                  <a:lnTo>
                    <a:pt x="960" y="1578"/>
                  </a:lnTo>
                  <a:lnTo>
                    <a:pt x="972" y="1572"/>
                  </a:lnTo>
                  <a:lnTo>
                    <a:pt x="990" y="1572"/>
                  </a:lnTo>
                  <a:lnTo>
                    <a:pt x="996" y="1560"/>
                  </a:lnTo>
                  <a:lnTo>
                    <a:pt x="1002" y="1566"/>
                  </a:lnTo>
                  <a:lnTo>
                    <a:pt x="1032" y="1566"/>
                  </a:lnTo>
                  <a:lnTo>
                    <a:pt x="1032" y="1548"/>
                  </a:lnTo>
                  <a:lnTo>
                    <a:pt x="1038" y="1530"/>
                  </a:lnTo>
                  <a:lnTo>
                    <a:pt x="1050" y="1518"/>
                  </a:lnTo>
                  <a:lnTo>
                    <a:pt x="1056" y="1500"/>
                  </a:lnTo>
                  <a:lnTo>
                    <a:pt x="1068" y="1488"/>
                  </a:lnTo>
                  <a:lnTo>
                    <a:pt x="1074" y="1476"/>
                  </a:lnTo>
                  <a:lnTo>
                    <a:pt x="1086" y="1470"/>
                  </a:lnTo>
                  <a:lnTo>
                    <a:pt x="1092" y="1464"/>
                  </a:lnTo>
                  <a:lnTo>
                    <a:pt x="1110" y="1458"/>
                  </a:lnTo>
                  <a:lnTo>
                    <a:pt x="1116" y="1452"/>
                  </a:lnTo>
                  <a:lnTo>
                    <a:pt x="1128" y="1446"/>
                  </a:lnTo>
                  <a:lnTo>
                    <a:pt x="1134" y="1428"/>
                  </a:lnTo>
                  <a:lnTo>
                    <a:pt x="1158" y="1380"/>
                  </a:lnTo>
                  <a:lnTo>
                    <a:pt x="1176" y="1362"/>
                  </a:lnTo>
                  <a:lnTo>
                    <a:pt x="1188" y="1356"/>
                  </a:lnTo>
                  <a:lnTo>
                    <a:pt x="1206" y="1344"/>
                  </a:lnTo>
                  <a:lnTo>
                    <a:pt x="1218" y="1338"/>
                  </a:lnTo>
                  <a:lnTo>
                    <a:pt x="1236" y="1320"/>
                  </a:lnTo>
                  <a:lnTo>
                    <a:pt x="1242" y="1320"/>
                  </a:lnTo>
                  <a:lnTo>
                    <a:pt x="1230" y="1290"/>
                  </a:lnTo>
                  <a:lnTo>
                    <a:pt x="1236" y="1284"/>
                  </a:lnTo>
                  <a:lnTo>
                    <a:pt x="1260" y="1314"/>
                  </a:lnTo>
                  <a:lnTo>
                    <a:pt x="1320" y="1254"/>
                  </a:lnTo>
                  <a:lnTo>
                    <a:pt x="1332" y="1230"/>
                  </a:lnTo>
                  <a:lnTo>
                    <a:pt x="1326" y="1224"/>
                  </a:lnTo>
                  <a:lnTo>
                    <a:pt x="1320" y="1212"/>
                  </a:lnTo>
                  <a:lnTo>
                    <a:pt x="1314" y="1206"/>
                  </a:lnTo>
                  <a:lnTo>
                    <a:pt x="1308" y="1194"/>
                  </a:lnTo>
                  <a:lnTo>
                    <a:pt x="1308" y="1182"/>
                  </a:lnTo>
                  <a:lnTo>
                    <a:pt x="1320" y="1176"/>
                  </a:lnTo>
                  <a:lnTo>
                    <a:pt x="1326" y="1170"/>
                  </a:lnTo>
                  <a:lnTo>
                    <a:pt x="1338" y="1170"/>
                  </a:lnTo>
                  <a:lnTo>
                    <a:pt x="1350" y="1164"/>
                  </a:lnTo>
                  <a:lnTo>
                    <a:pt x="1362" y="1152"/>
                  </a:lnTo>
                  <a:lnTo>
                    <a:pt x="1374" y="1134"/>
                  </a:lnTo>
                  <a:lnTo>
                    <a:pt x="1374" y="1110"/>
                  </a:lnTo>
                  <a:lnTo>
                    <a:pt x="1392" y="1116"/>
                  </a:lnTo>
                  <a:lnTo>
                    <a:pt x="1398" y="1146"/>
                  </a:lnTo>
                  <a:lnTo>
                    <a:pt x="1416" y="1110"/>
                  </a:lnTo>
                  <a:lnTo>
                    <a:pt x="1416" y="1128"/>
                  </a:lnTo>
                  <a:lnTo>
                    <a:pt x="1422" y="1140"/>
                  </a:lnTo>
                  <a:lnTo>
                    <a:pt x="1422" y="1158"/>
                  </a:lnTo>
                  <a:lnTo>
                    <a:pt x="1428" y="1170"/>
                  </a:lnTo>
                  <a:lnTo>
                    <a:pt x="1434" y="1176"/>
                  </a:lnTo>
                  <a:lnTo>
                    <a:pt x="1440" y="1176"/>
                  </a:lnTo>
                  <a:lnTo>
                    <a:pt x="1446" y="1170"/>
                  </a:lnTo>
                  <a:lnTo>
                    <a:pt x="1446" y="1158"/>
                  </a:lnTo>
                  <a:lnTo>
                    <a:pt x="1452" y="1152"/>
                  </a:lnTo>
                  <a:lnTo>
                    <a:pt x="1452" y="1140"/>
                  </a:lnTo>
                  <a:lnTo>
                    <a:pt x="1458" y="1110"/>
                  </a:lnTo>
                  <a:lnTo>
                    <a:pt x="1440" y="1068"/>
                  </a:lnTo>
                  <a:lnTo>
                    <a:pt x="1440" y="1038"/>
                  </a:lnTo>
                  <a:lnTo>
                    <a:pt x="1410" y="1014"/>
                  </a:lnTo>
                  <a:lnTo>
                    <a:pt x="1398" y="984"/>
                  </a:lnTo>
                  <a:lnTo>
                    <a:pt x="1404" y="972"/>
                  </a:lnTo>
                  <a:lnTo>
                    <a:pt x="1410" y="966"/>
                  </a:lnTo>
                  <a:lnTo>
                    <a:pt x="1416" y="948"/>
                  </a:lnTo>
                  <a:lnTo>
                    <a:pt x="1416" y="942"/>
                  </a:lnTo>
                  <a:lnTo>
                    <a:pt x="1410" y="936"/>
                  </a:lnTo>
                  <a:lnTo>
                    <a:pt x="1398" y="930"/>
                  </a:lnTo>
                  <a:lnTo>
                    <a:pt x="1380" y="930"/>
                  </a:lnTo>
                  <a:lnTo>
                    <a:pt x="1368" y="924"/>
                  </a:lnTo>
                  <a:lnTo>
                    <a:pt x="1356" y="912"/>
                  </a:lnTo>
                  <a:lnTo>
                    <a:pt x="1368" y="900"/>
                  </a:lnTo>
                  <a:lnTo>
                    <a:pt x="1374" y="900"/>
                  </a:lnTo>
                  <a:lnTo>
                    <a:pt x="1374" y="870"/>
                  </a:lnTo>
                  <a:lnTo>
                    <a:pt x="1410" y="870"/>
                  </a:lnTo>
                  <a:lnTo>
                    <a:pt x="1410" y="858"/>
                  </a:lnTo>
                  <a:lnTo>
                    <a:pt x="1380" y="840"/>
                  </a:lnTo>
                  <a:lnTo>
                    <a:pt x="1374" y="840"/>
                  </a:lnTo>
                  <a:lnTo>
                    <a:pt x="1362" y="828"/>
                  </a:lnTo>
                  <a:lnTo>
                    <a:pt x="1350" y="822"/>
                  </a:lnTo>
                  <a:lnTo>
                    <a:pt x="1344" y="810"/>
                  </a:lnTo>
                  <a:lnTo>
                    <a:pt x="1344" y="804"/>
                  </a:lnTo>
                  <a:lnTo>
                    <a:pt x="1350" y="792"/>
                  </a:lnTo>
                  <a:lnTo>
                    <a:pt x="1362" y="780"/>
                  </a:lnTo>
                  <a:lnTo>
                    <a:pt x="1350" y="762"/>
                  </a:lnTo>
                  <a:lnTo>
                    <a:pt x="1368" y="762"/>
                  </a:lnTo>
                  <a:lnTo>
                    <a:pt x="1392" y="774"/>
                  </a:lnTo>
                  <a:lnTo>
                    <a:pt x="1386" y="768"/>
                  </a:lnTo>
                  <a:lnTo>
                    <a:pt x="1404" y="762"/>
                  </a:lnTo>
                  <a:lnTo>
                    <a:pt x="1410" y="774"/>
                  </a:lnTo>
                  <a:lnTo>
                    <a:pt x="1410" y="780"/>
                  </a:lnTo>
                  <a:lnTo>
                    <a:pt x="1416" y="792"/>
                  </a:lnTo>
                  <a:lnTo>
                    <a:pt x="1422" y="798"/>
                  </a:lnTo>
                  <a:lnTo>
                    <a:pt x="1434" y="798"/>
                  </a:lnTo>
                  <a:lnTo>
                    <a:pt x="1440" y="804"/>
                  </a:lnTo>
                  <a:lnTo>
                    <a:pt x="1446" y="786"/>
                  </a:lnTo>
                  <a:lnTo>
                    <a:pt x="1452" y="792"/>
                  </a:lnTo>
                  <a:lnTo>
                    <a:pt x="1458" y="792"/>
                  </a:lnTo>
                  <a:lnTo>
                    <a:pt x="1464" y="798"/>
                  </a:lnTo>
                  <a:lnTo>
                    <a:pt x="1464" y="828"/>
                  </a:lnTo>
                  <a:lnTo>
                    <a:pt x="1470" y="828"/>
                  </a:lnTo>
                  <a:lnTo>
                    <a:pt x="1470" y="864"/>
                  </a:lnTo>
                  <a:lnTo>
                    <a:pt x="1476" y="864"/>
                  </a:lnTo>
                  <a:lnTo>
                    <a:pt x="1482" y="870"/>
                  </a:lnTo>
                  <a:lnTo>
                    <a:pt x="1542" y="870"/>
                  </a:lnTo>
                  <a:lnTo>
                    <a:pt x="1554" y="876"/>
                  </a:lnTo>
                  <a:lnTo>
                    <a:pt x="1572" y="876"/>
                  </a:lnTo>
                  <a:lnTo>
                    <a:pt x="1620" y="864"/>
                  </a:lnTo>
                  <a:lnTo>
                    <a:pt x="1626" y="864"/>
                  </a:lnTo>
                  <a:lnTo>
                    <a:pt x="1650" y="888"/>
                  </a:lnTo>
                  <a:lnTo>
                    <a:pt x="1650" y="894"/>
                  </a:lnTo>
                  <a:lnTo>
                    <a:pt x="1644" y="900"/>
                  </a:lnTo>
                  <a:lnTo>
                    <a:pt x="1638" y="900"/>
                  </a:lnTo>
                  <a:lnTo>
                    <a:pt x="1638" y="912"/>
                  </a:lnTo>
                  <a:lnTo>
                    <a:pt x="1632" y="930"/>
                  </a:lnTo>
                  <a:lnTo>
                    <a:pt x="1626" y="942"/>
                  </a:lnTo>
                  <a:lnTo>
                    <a:pt x="1620" y="948"/>
                  </a:lnTo>
                  <a:lnTo>
                    <a:pt x="1614" y="948"/>
                  </a:lnTo>
                  <a:lnTo>
                    <a:pt x="1602" y="954"/>
                  </a:lnTo>
                  <a:lnTo>
                    <a:pt x="1596" y="954"/>
                  </a:lnTo>
                  <a:lnTo>
                    <a:pt x="1584" y="966"/>
                  </a:lnTo>
                  <a:lnTo>
                    <a:pt x="1578" y="978"/>
                  </a:lnTo>
                  <a:lnTo>
                    <a:pt x="1578" y="996"/>
                  </a:lnTo>
                  <a:lnTo>
                    <a:pt x="1584" y="1008"/>
                  </a:lnTo>
                  <a:lnTo>
                    <a:pt x="1602" y="1026"/>
                  </a:lnTo>
                  <a:lnTo>
                    <a:pt x="1608" y="1026"/>
                  </a:lnTo>
                  <a:lnTo>
                    <a:pt x="1626" y="1050"/>
                  </a:lnTo>
                  <a:lnTo>
                    <a:pt x="1632" y="1014"/>
                  </a:lnTo>
                  <a:lnTo>
                    <a:pt x="1632" y="990"/>
                  </a:lnTo>
                  <a:lnTo>
                    <a:pt x="1650" y="990"/>
                  </a:lnTo>
                  <a:lnTo>
                    <a:pt x="1662" y="996"/>
                  </a:lnTo>
                  <a:lnTo>
                    <a:pt x="1668" y="1002"/>
                  </a:lnTo>
                  <a:lnTo>
                    <a:pt x="1668" y="1020"/>
                  </a:lnTo>
                  <a:lnTo>
                    <a:pt x="1674" y="1032"/>
                  </a:lnTo>
                  <a:lnTo>
                    <a:pt x="1674" y="1038"/>
                  </a:lnTo>
                  <a:lnTo>
                    <a:pt x="1680" y="1050"/>
                  </a:lnTo>
                  <a:lnTo>
                    <a:pt x="1680" y="1062"/>
                  </a:lnTo>
                  <a:lnTo>
                    <a:pt x="1686" y="1074"/>
                  </a:lnTo>
                  <a:lnTo>
                    <a:pt x="1692" y="1092"/>
                  </a:lnTo>
                  <a:lnTo>
                    <a:pt x="1698" y="1104"/>
                  </a:lnTo>
                  <a:lnTo>
                    <a:pt x="1704" y="1110"/>
                  </a:lnTo>
                  <a:lnTo>
                    <a:pt x="1704" y="1116"/>
                  </a:lnTo>
                  <a:lnTo>
                    <a:pt x="1722" y="1134"/>
                  </a:lnTo>
                  <a:lnTo>
                    <a:pt x="1722" y="1110"/>
                  </a:lnTo>
                  <a:lnTo>
                    <a:pt x="1728" y="1110"/>
                  </a:lnTo>
                  <a:lnTo>
                    <a:pt x="1734" y="1116"/>
                  </a:lnTo>
                  <a:lnTo>
                    <a:pt x="1746" y="1116"/>
                  </a:lnTo>
                  <a:lnTo>
                    <a:pt x="1746" y="1104"/>
                  </a:lnTo>
                  <a:lnTo>
                    <a:pt x="1728" y="1086"/>
                  </a:lnTo>
                  <a:lnTo>
                    <a:pt x="1728" y="1062"/>
                  </a:lnTo>
                  <a:lnTo>
                    <a:pt x="1722" y="1050"/>
                  </a:lnTo>
                  <a:lnTo>
                    <a:pt x="1740" y="1032"/>
                  </a:lnTo>
                  <a:lnTo>
                    <a:pt x="1746" y="1032"/>
                  </a:lnTo>
                  <a:lnTo>
                    <a:pt x="1740" y="984"/>
                  </a:lnTo>
                  <a:lnTo>
                    <a:pt x="1722" y="966"/>
                  </a:lnTo>
                  <a:lnTo>
                    <a:pt x="1716" y="966"/>
                  </a:lnTo>
                  <a:lnTo>
                    <a:pt x="1770" y="966"/>
                  </a:lnTo>
                  <a:lnTo>
                    <a:pt x="1782" y="972"/>
                  </a:lnTo>
                  <a:lnTo>
                    <a:pt x="1794" y="972"/>
                  </a:lnTo>
                  <a:lnTo>
                    <a:pt x="1794" y="936"/>
                  </a:lnTo>
                  <a:lnTo>
                    <a:pt x="1812" y="882"/>
                  </a:lnTo>
                  <a:lnTo>
                    <a:pt x="1806" y="876"/>
                  </a:lnTo>
                  <a:lnTo>
                    <a:pt x="1800" y="864"/>
                  </a:lnTo>
                  <a:lnTo>
                    <a:pt x="1800" y="846"/>
                  </a:lnTo>
                  <a:lnTo>
                    <a:pt x="1812" y="840"/>
                  </a:lnTo>
                  <a:lnTo>
                    <a:pt x="1818" y="834"/>
                  </a:lnTo>
                  <a:lnTo>
                    <a:pt x="1836" y="804"/>
                  </a:lnTo>
                  <a:lnTo>
                    <a:pt x="1836" y="792"/>
                  </a:lnTo>
                  <a:lnTo>
                    <a:pt x="1830" y="786"/>
                  </a:lnTo>
                  <a:lnTo>
                    <a:pt x="1830" y="780"/>
                  </a:lnTo>
                  <a:lnTo>
                    <a:pt x="1824" y="774"/>
                  </a:lnTo>
                  <a:lnTo>
                    <a:pt x="1824" y="750"/>
                  </a:lnTo>
                  <a:lnTo>
                    <a:pt x="1830" y="750"/>
                  </a:lnTo>
                  <a:lnTo>
                    <a:pt x="1836" y="744"/>
                  </a:lnTo>
                  <a:lnTo>
                    <a:pt x="1848" y="744"/>
                  </a:lnTo>
                  <a:lnTo>
                    <a:pt x="1860" y="738"/>
                  </a:lnTo>
                  <a:lnTo>
                    <a:pt x="1872" y="726"/>
                  </a:lnTo>
                  <a:lnTo>
                    <a:pt x="1872" y="708"/>
                  </a:lnTo>
                  <a:lnTo>
                    <a:pt x="1878" y="708"/>
                  </a:lnTo>
                  <a:lnTo>
                    <a:pt x="1890" y="702"/>
                  </a:lnTo>
                  <a:lnTo>
                    <a:pt x="1926" y="702"/>
                  </a:lnTo>
                  <a:lnTo>
                    <a:pt x="1932" y="708"/>
                  </a:lnTo>
                  <a:lnTo>
                    <a:pt x="1950" y="708"/>
                  </a:lnTo>
                  <a:lnTo>
                    <a:pt x="1950" y="702"/>
                  </a:lnTo>
                  <a:lnTo>
                    <a:pt x="1944" y="696"/>
                  </a:lnTo>
                  <a:lnTo>
                    <a:pt x="1932" y="690"/>
                  </a:lnTo>
                  <a:lnTo>
                    <a:pt x="1926" y="684"/>
                  </a:lnTo>
                  <a:lnTo>
                    <a:pt x="1920" y="672"/>
                  </a:lnTo>
                  <a:close/>
                </a:path>
              </a:pathLst>
            </a:custGeom>
            <a:solidFill>
              <a:srgbClr val="7030A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76" name="Iceland" descr="© INSCALE GmbH, 05.05.2010&#10;http://www.presentationload.com/">
              <a:extLst>
                <a:ext uri="{FF2B5EF4-FFF2-40B4-BE49-F238E27FC236}">
                  <a16:creationId xmlns:a16="http://schemas.microsoft.com/office/drawing/2014/main" id="{48A952F6-3573-A01E-330F-92B15F2B53CA}"/>
                </a:ext>
              </a:extLst>
            </p:cNvPr>
            <p:cNvSpPr>
              <a:spLocks/>
            </p:cNvSpPr>
            <p:nvPr/>
          </p:nvSpPr>
          <p:spPr bwMode="gray">
            <a:xfrm>
              <a:off x="3805503" y="1229127"/>
              <a:ext cx="216427" cy="84496"/>
            </a:xfrm>
            <a:custGeom>
              <a:avLst/>
              <a:gdLst>
                <a:gd name="T0" fmla="*/ 2147483647 w 570"/>
                <a:gd name="T1" fmla="*/ 2147483647 h 222"/>
                <a:gd name="T2" fmla="*/ 2147483647 w 570"/>
                <a:gd name="T3" fmla="*/ 2147483647 h 222"/>
                <a:gd name="T4" fmla="*/ 2147483647 w 570"/>
                <a:gd name="T5" fmla="*/ 2147483647 h 222"/>
                <a:gd name="T6" fmla="*/ 2147483647 w 570"/>
                <a:gd name="T7" fmla="*/ 2147483647 h 222"/>
                <a:gd name="T8" fmla="*/ 2147483647 w 570"/>
                <a:gd name="T9" fmla="*/ 2147483647 h 222"/>
                <a:gd name="T10" fmla="*/ 2147483647 w 570"/>
                <a:gd name="T11" fmla="*/ 2147483647 h 222"/>
                <a:gd name="T12" fmla="*/ 2147483647 w 570"/>
                <a:gd name="T13" fmla="*/ 2147483647 h 222"/>
                <a:gd name="T14" fmla="*/ 2147483647 w 570"/>
                <a:gd name="T15" fmla="*/ 2147483647 h 222"/>
                <a:gd name="T16" fmla="*/ 2147483647 w 570"/>
                <a:gd name="T17" fmla="*/ 2147483647 h 222"/>
                <a:gd name="T18" fmla="*/ 2147483647 w 570"/>
                <a:gd name="T19" fmla="*/ 2147483647 h 222"/>
                <a:gd name="T20" fmla="*/ 2147483647 w 570"/>
                <a:gd name="T21" fmla="*/ 2147483647 h 222"/>
                <a:gd name="T22" fmla="*/ 2147483647 w 570"/>
                <a:gd name="T23" fmla="*/ 2147483647 h 222"/>
                <a:gd name="T24" fmla="*/ 2147483647 w 570"/>
                <a:gd name="T25" fmla="*/ 2147483647 h 222"/>
                <a:gd name="T26" fmla="*/ 2147483647 w 570"/>
                <a:gd name="T27" fmla="*/ 2147483647 h 222"/>
                <a:gd name="T28" fmla="*/ 2147483647 w 570"/>
                <a:gd name="T29" fmla="*/ 2147483647 h 222"/>
                <a:gd name="T30" fmla="*/ 2147483647 w 570"/>
                <a:gd name="T31" fmla="*/ 2147483647 h 222"/>
                <a:gd name="T32" fmla="*/ 2147483647 w 570"/>
                <a:gd name="T33" fmla="*/ 2147483647 h 222"/>
                <a:gd name="T34" fmla="*/ 2147483647 w 570"/>
                <a:gd name="T35" fmla="*/ 2147483647 h 222"/>
                <a:gd name="T36" fmla="*/ 2147483647 w 570"/>
                <a:gd name="T37" fmla="*/ 2147483647 h 222"/>
                <a:gd name="T38" fmla="*/ 2147483647 w 570"/>
                <a:gd name="T39" fmla="*/ 2147483647 h 222"/>
                <a:gd name="T40" fmla="*/ 2147483647 w 570"/>
                <a:gd name="T41" fmla="*/ 2147483647 h 222"/>
                <a:gd name="T42" fmla="*/ 2147483647 w 570"/>
                <a:gd name="T43" fmla="*/ 2147483647 h 222"/>
                <a:gd name="T44" fmla="*/ 2147483647 w 570"/>
                <a:gd name="T45" fmla="*/ 2147483647 h 222"/>
                <a:gd name="T46" fmla="*/ 2147483647 w 570"/>
                <a:gd name="T47" fmla="*/ 2147483647 h 222"/>
                <a:gd name="T48" fmla="*/ 2147483647 w 570"/>
                <a:gd name="T49" fmla="*/ 2147483647 h 222"/>
                <a:gd name="T50" fmla="*/ 2147483647 w 570"/>
                <a:gd name="T51" fmla="*/ 2147483647 h 222"/>
                <a:gd name="T52" fmla="*/ 2147483647 w 570"/>
                <a:gd name="T53" fmla="*/ 2147483647 h 222"/>
                <a:gd name="T54" fmla="*/ 2147483647 w 570"/>
                <a:gd name="T55" fmla="*/ 2147483647 h 222"/>
                <a:gd name="T56" fmla="*/ 2147483647 w 570"/>
                <a:gd name="T57" fmla="*/ 2147483647 h 222"/>
                <a:gd name="T58" fmla="*/ 2147483647 w 570"/>
                <a:gd name="T59" fmla="*/ 2147483647 h 222"/>
                <a:gd name="T60" fmla="*/ 2147483647 w 570"/>
                <a:gd name="T61" fmla="*/ 2147483647 h 222"/>
                <a:gd name="T62" fmla="*/ 2147483647 w 570"/>
                <a:gd name="T63" fmla="*/ 2147483647 h 222"/>
                <a:gd name="T64" fmla="*/ 2147483647 w 570"/>
                <a:gd name="T65" fmla="*/ 2147483647 h 222"/>
                <a:gd name="T66" fmla="*/ 0 w 570"/>
                <a:gd name="T67" fmla="*/ 2147483647 h 222"/>
                <a:gd name="T68" fmla="*/ 2147483647 w 570"/>
                <a:gd name="T69" fmla="*/ 2147483647 h 222"/>
                <a:gd name="T70" fmla="*/ 2147483647 w 570"/>
                <a:gd name="T71" fmla="*/ 2147483647 h 222"/>
                <a:gd name="T72" fmla="*/ 2147483647 w 570"/>
                <a:gd name="T73" fmla="*/ 2147483647 h 222"/>
                <a:gd name="T74" fmla="*/ 2147483647 w 570"/>
                <a:gd name="T75" fmla="*/ 2147483647 h 222"/>
                <a:gd name="T76" fmla="*/ 2147483647 w 570"/>
                <a:gd name="T77" fmla="*/ 2147483647 h 222"/>
                <a:gd name="T78" fmla="*/ 2147483647 w 570"/>
                <a:gd name="T79" fmla="*/ 2147483647 h 222"/>
                <a:gd name="T80" fmla="*/ 2147483647 w 570"/>
                <a:gd name="T81" fmla="*/ 2147483647 h 222"/>
                <a:gd name="T82" fmla="*/ 2147483647 w 570"/>
                <a:gd name="T83" fmla="*/ 2147483647 h 222"/>
                <a:gd name="T84" fmla="*/ 2147483647 w 570"/>
                <a:gd name="T85" fmla="*/ 2147483647 h 222"/>
                <a:gd name="T86" fmla="*/ 2147483647 w 570"/>
                <a:gd name="T87" fmla="*/ 2147483647 h 222"/>
                <a:gd name="T88" fmla="*/ 2147483647 w 570"/>
                <a:gd name="T89" fmla="*/ 2147483647 h 222"/>
                <a:gd name="T90" fmla="*/ 2147483647 w 570"/>
                <a:gd name="T91" fmla="*/ 2147483647 h 222"/>
                <a:gd name="T92" fmla="*/ 2147483647 w 570"/>
                <a:gd name="T93" fmla="*/ 2147483647 h 22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70"/>
                <a:gd name="T142" fmla="*/ 0 h 222"/>
                <a:gd name="T143" fmla="*/ 570 w 570"/>
                <a:gd name="T144" fmla="*/ 222 h 22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70" h="222">
                  <a:moveTo>
                    <a:pt x="252" y="222"/>
                  </a:moveTo>
                  <a:lnTo>
                    <a:pt x="270" y="216"/>
                  </a:lnTo>
                  <a:lnTo>
                    <a:pt x="306" y="216"/>
                  </a:lnTo>
                  <a:lnTo>
                    <a:pt x="312" y="204"/>
                  </a:lnTo>
                  <a:lnTo>
                    <a:pt x="312" y="192"/>
                  </a:lnTo>
                  <a:lnTo>
                    <a:pt x="324" y="198"/>
                  </a:lnTo>
                  <a:lnTo>
                    <a:pt x="330" y="198"/>
                  </a:lnTo>
                  <a:lnTo>
                    <a:pt x="342" y="204"/>
                  </a:lnTo>
                  <a:lnTo>
                    <a:pt x="348" y="204"/>
                  </a:lnTo>
                  <a:lnTo>
                    <a:pt x="360" y="192"/>
                  </a:lnTo>
                  <a:lnTo>
                    <a:pt x="360" y="186"/>
                  </a:lnTo>
                  <a:lnTo>
                    <a:pt x="372" y="186"/>
                  </a:lnTo>
                  <a:lnTo>
                    <a:pt x="378" y="192"/>
                  </a:lnTo>
                  <a:lnTo>
                    <a:pt x="390" y="192"/>
                  </a:lnTo>
                  <a:lnTo>
                    <a:pt x="414" y="180"/>
                  </a:lnTo>
                  <a:lnTo>
                    <a:pt x="432" y="168"/>
                  </a:lnTo>
                  <a:lnTo>
                    <a:pt x="456" y="156"/>
                  </a:lnTo>
                  <a:lnTo>
                    <a:pt x="474" y="156"/>
                  </a:lnTo>
                  <a:lnTo>
                    <a:pt x="480" y="162"/>
                  </a:lnTo>
                  <a:lnTo>
                    <a:pt x="492" y="162"/>
                  </a:lnTo>
                  <a:lnTo>
                    <a:pt x="504" y="156"/>
                  </a:lnTo>
                  <a:lnTo>
                    <a:pt x="510" y="144"/>
                  </a:lnTo>
                  <a:lnTo>
                    <a:pt x="510" y="138"/>
                  </a:lnTo>
                  <a:lnTo>
                    <a:pt x="516" y="126"/>
                  </a:lnTo>
                  <a:lnTo>
                    <a:pt x="528" y="126"/>
                  </a:lnTo>
                  <a:lnTo>
                    <a:pt x="552" y="114"/>
                  </a:lnTo>
                  <a:lnTo>
                    <a:pt x="564" y="102"/>
                  </a:lnTo>
                  <a:lnTo>
                    <a:pt x="570" y="102"/>
                  </a:lnTo>
                  <a:lnTo>
                    <a:pt x="552" y="102"/>
                  </a:lnTo>
                  <a:lnTo>
                    <a:pt x="570" y="84"/>
                  </a:lnTo>
                  <a:lnTo>
                    <a:pt x="570" y="78"/>
                  </a:lnTo>
                  <a:lnTo>
                    <a:pt x="564" y="72"/>
                  </a:lnTo>
                  <a:lnTo>
                    <a:pt x="552" y="66"/>
                  </a:lnTo>
                  <a:lnTo>
                    <a:pt x="540" y="66"/>
                  </a:lnTo>
                  <a:lnTo>
                    <a:pt x="534" y="72"/>
                  </a:lnTo>
                  <a:lnTo>
                    <a:pt x="528" y="72"/>
                  </a:lnTo>
                  <a:lnTo>
                    <a:pt x="534" y="60"/>
                  </a:lnTo>
                  <a:lnTo>
                    <a:pt x="504" y="60"/>
                  </a:lnTo>
                  <a:lnTo>
                    <a:pt x="522" y="36"/>
                  </a:lnTo>
                  <a:lnTo>
                    <a:pt x="504" y="36"/>
                  </a:lnTo>
                  <a:lnTo>
                    <a:pt x="510" y="18"/>
                  </a:lnTo>
                  <a:lnTo>
                    <a:pt x="480" y="24"/>
                  </a:lnTo>
                  <a:lnTo>
                    <a:pt x="474" y="18"/>
                  </a:lnTo>
                  <a:lnTo>
                    <a:pt x="462" y="12"/>
                  </a:lnTo>
                  <a:lnTo>
                    <a:pt x="456" y="6"/>
                  </a:lnTo>
                  <a:lnTo>
                    <a:pt x="444" y="0"/>
                  </a:lnTo>
                  <a:lnTo>
                    <a:pt x="432" y="0"/>
                  </a:lnTo>
                  <a:lnTo>
                    <a:pt x="432" y="24"/>
                  </a:lnTo>
                  <a:lnTo>
                    <a:pt x="414" y="30"/>
                  </a:lnTo>
                  <a:lnTo>
                    <a:pt x="408" y="30"/>
                  </a:lnTo>
                  <a:lnTo>
                    <a:pt x="402" y="24"/>
                  </a:lnTo>
                  <a:lnTo>
                    <a:pt x="378" y="24"/>
                  </a:lnTo>
                  <a:lnTo>
                    <a:pt x="372" y="30"/>
                  </a:lnTo>
                  <a:lnTo>
                    <a:pt x="366" y="42"/>
                  </a:lnTo>
                  <a:lnTo>
                    <a:pt x="360" y="36"/>
                  </a:lnTo>
                  <a:lnTo>
                    <a:pt x="348" y="30"/>
                  </a:lnTo>
                  <a:lnTo>
                    <a:pt x="342" y="24"/>
                  </a:lnTo>
                  <a:lnTo>
                    <a:pt x="336" y="24"/>
                  </a:lnTo>
                  <a:lnTo>
                    <a:pt x="330" y="30"/>
                  </a:lnTo>
                  <a:lnTo>
                    <a:pt x="330" y="60"/>
                  </a:lnTo>
                  <a:lnTo>
                    <a:pt x="324" y="48"/>
                  </a:lnTo>
                  <a:lnTo>
                    <a:pt x="318" y="42"/>
                  </a:lnTo>
                  <a:lnTo>
                    <a:pt x="306" y="36"/>
                  </a:lnTo>
                  <a:lnTo>
                    <a:pt x="300" y="24"/>
                  </a:lnTo>
                  <a:lnTo>
                    <a:pt x="288" y="24"/>
                  </a:lnTo>
                  <a:lnTo>
                    <a:pt x="288" y="30"/>
                  </a:lnTo>
                  <a:lnTo>
                    <a:pt x="270" y="30"/>
                  </a:lnTo>
                  <a:lnTo>
                    <a:pt x="264" y="36"/>
                  </a:lnTo>
                  <a:lnTo>
                    <a:pt x="264" y="54"/>
                  </a:lnTo>
                  <a:lnTo>
                    <a:pt x="252" y="54"/>
                  </a:lnTo>
                  <a:lnTo>
                    <a:pt x="240" y="42"/>
                  </a:lnTo>
                  <a:lnTo>
                    <a:pt x="228" y="36"/>
                  </a:lnTo>
                  <a:lnTo>
                    <a:pt x="222" y="30"/>
                  </a:lnTo>
                  <a:lnTo>
                    <a:pt x="216" y="30"/>
                  </a:lnTo>
                  <a:lnTo>
                    <a:pt x="216" y="48"/>
                  </a:lnTo>
                  <a:lnTo>
                    <a:pt x="210" y="60"/>
                  </a:lnTo>
                  <a:lnTo>
                    <a:pt x="210" y="72"/>
                  </a:lnTo>
                  <a:lnTo>
                    <a:pt x="204" y="72"/>
                  </a:lnTo>
                  <a:lnTo>
                    <a:pt x="192" y="60"/>
                  </a:lnTo>
                  <a:lnTo>
                    <a:pt x="186" y="60"/>
                  </a:lnTo>
                  <a:lnTo>
                    <a:pt x="162" y="84"/>
                  </a:lnTo>
                  <a:lnTo>
                    <a:pt x="162" y="90"/>
                  </a:lnTo>
                  <a:lnTo>
                    <a:pt x="156" y="84"/>
                  </a:lnTo>
                  <a:lnTo>
                    <a:pt x="144" y="60"/>
                  </a:lnTo>
                  <a:lnTo>
                    <a:pt x="162" y="42"/>
                  </a:lnTo>
                  <a:lnTo>
                    <a:pt x="162" y="36"/>
                  </a:lnTo>
                  <a:lnTo>
                    <a:pt x="156" y="30"/>
                  </a:lnTo>
                  <a:lnTo>
                    <a:pt x="108" y="6"/>
                  </a:lnTo>
                  <a:lnTo>
                    <a:pt x="96" y="6"/>
                  </a:lnTo>
                  <a:lnTo>
                    <a:pt x="96" y="36"/>
                  </a:lnTo>
                  <a:lnTo>
                    <a:pt x="90" y="36"/>
                  </a:lnTo>
                  <a:lnTo>
                    <a:pt x="84" y="30"/>
                  </a:lnTo>
                  <a:lnTo>
                    <a:pt x="78" y="30"/>
                  </a:lnTo>
                  <a:lnTo>
                    <a:pt x="66" y="24"/>
                  </a:lnTo>
                  <a:lnTo>
                    <a:pt x="54" y="24"/>
                  </a:lnTo>
                  <a:lnTo>
                    <a:pt x="42" y="30"/>
                  </a:lnTo>
                  <a:lnTo>
                    <a:pt x="30" y="42"/>
                  </a:lnTo>
                  <a:lnTo>
                    <a:pt x="48" y="54"/>
                  </a:lnTo>
                  <a:lnTo>
                    <a:pt x="30" y="54"/>
                  </a:lnTo>
                  <a:lnTo>
                    <a:pt x="18" y="60"/>
                  </a:lnTo>
                  <a:lnTo>
                    <a:pt x="12" y="66"/>
                  </a:lnTo>
                  <a:lnTo>
                    <a:pt x="0" y="66"/>
                  </a:lnTo>
                  <a:lnTo>
                    <a:pt x="6" y="72"/>
                  </a:lnTo>
                  <a:lnTo>
                    <a:pt x="18" y="78"/>
                  </a:lnTo>
                  <a:lnTo>
                    <a:pt x="30" y="78"/>
                  </a:lnTo>
                  <a:lnTo>
                    <a:pt x="54" y="66"/>
                  </a:lnTo>
                  <a:lnTo>
                    <a:pt x="66" y="66"/>
                  </a:lnTo>
                  <a:lnTo>
                    <a:pt x="72" y="60"/>
                  </a:lnTo>
                  <a:lnTo>
                    <a:pt x="78" y="60"/>
                  </a:lnTo>
                  <a:lnTo>
                    <a:pt x="126" y="72"/>
                  </a:lnTo>
                  <a:lnTo>
                    <a:pt x="90" y="90"/>
                  </a:lnTo>
                  <a:lnTo>
                    <a:pt x="102" y="90"/>
                  </a:lnTo>
                  <a:lnTo>
                    <a:pt x="108" y="96"/>
                  </a:lnTo>
                  <a:lnTo>
                    <a:pt x="114" y="96"/>
                  </a:lnTo>
                  <a:lnTo>
                    <a:pt x="120" y="102"/>
                  </a:lnTo>
                  <a:lnTo>
                    <a:pt x="114" y="102"/>
                  </a:lnTo>
                  <a:lnTo>
                    <a:pt x="108" y="108"/>
                  </a:lnTo>
                  <a:lnTo>
                    <a:pt x="6" y="108"/>
                  </a:lnTo>
                  <a:lnTo>
                    <a:pt x="0" y="114"/>
                  </a:lnTo>
                  <a:lnTo>
                    <a:pt x="12" y="120"/>
                  </a:lnTo>
                  <a:lnTo>
                    <a:pt x="60" y="120"/>
                  </a:lnTo>
                  <a:lnTo>
                    <a:pt x="84" y="132"/>
                  </a:lnTo>
                  <a:lnTo>
                    <a:pt x="90" y="138"/>
                  </a:lnTo>
                  <a:lnTo>
                    <a:pt x="126" y="132"/>
                  </a:lnTo>
                  <a:lnTo>
                    <a:pt x="108" y="150"/>
                  </a:lnTo>
                  <a:lnTo>
                    <a:pt x="120" y="156"/>
                  </a:lnTo>
                  <a:lnTo>
                    <a:pt x="114" y="162"/>
                  </a:lnTo>
                  <a:lnTo>
                    <a:pt x="114" y="168"/>
                  </a:lnTo>
                  <a:lnTo>
                    <a:pt x="108" y="174"/>
                  </a:lnTo>
                  <a:lnTo>
                    <a:pt x="90" y="174"/>
                  </a:lnTo>
                  <a:lnTo>
                    <a:pt x="78" y="180"/>
                  </a:lnTo>
                  <a:lnTo>
                    <a:pt x="54" y="180"/>
                  </a:lnTo>
                  <a:lnTo>
                    <a:pt x="54" y="186"/>
                  </a:lnTo>
                  <a:lnTo>
                    <a:pt x="66" y="192"/>
                  </a:lnTo>
                  <a:lnTo>
                    <a:pt x="120" y="192"/>
                  </a:lnTo>
                  <a:lnTo>
                    <a:pt x="132" y="186"/>
                  </a:lnTo>
                  <a:lnTo>
                    <a:pt x="138" y="180"/>
                  </a:lnTo>
                  <a:lnTo>
                    <a:pt x="168" y="198"/>
                  </a:lnTo>
                  <a:lnTo>
                    <a:pt x="180" y="186"/>
                  </a:lnTo>
                  <a:lnTo>
                    <a:pt x="180" y="198"/>
                  </a:lnTo>
                  <a:lnTo>
                    <a:pt x="228" y="222"/>
                  </a:lnTo>
                  <a:lnTo>
                    <a:pt x="252" y="222"/>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77" name="Hungary" descr="© INSCALE GmbH, 05.05.2010&#10;http://www.presentationload.com/">
              <a:extLst>
                <a:ext uri="{FF2B5EF4-FFF2-40B4-BE49-F238E27FC236}">
                  <a16:creationId xmlns:a16="http://schemas.microsoft.com/office/drawing/2014/main" id="{49F19E72-D0C2-F267-4D10-49C8FACEE461}"/>
                </a:ext>
              </a:extLst>
            </p:cNvPr>
            <p:cNvSpPr>
              <a:spLocks/>
            </p:cNvSpPr>
            <p:nvPr/>
          </p:nvSpPr>
          <p:spPr bwMode="gray">
            <a:xfrm>
              <a:off x="4651939" y="1739065"/>
              <a:ext cx="161579" cy="84496"/>
            </a:xfrm>
            <a:custGeom>
              <a:avLst/>
              <a:gdLst>
                <a:gd name="T0" fmla="*/ 2147483647 w 426"/>
                <a:gd name="T1" fmla="*/ 2147483647 h 222"/>
                <a:gd name="T2" fmla="*/ 2147483647 w 426"/>
                <a:gd name="T3" fmla="*/ 2147483647 h 222"/>
                <a:gd name="T4" fmla="*/ 2147483647 w 426"/>
                <a:gd name="T5" fmla="*/ 2147483647 h 222"/>
                <a:gd name="T6" fmla="*/ 0 w 426"/>
                <a:gd name="T7" fmla="*/ 2147483647 h 222"/>
                <a:gd name="T8" fmla="*/ 2147483647 w 426"/>
                <a:gd name="T9" fmla="*/ 2147483647 h 222"/>
                <a:gd name="T10" fmla="*/ 2147483647 w 426"/>
                <a:gd name="T11" fmla="*/ 2147483647 h 222"/>
                <a:gd name="T12" fmla="*/ 2147483647 w 426"/>
                <a:gd name="T13" fmla="*/ 2147483647 h 222"/>
                <a:gd name="T14" fmla="*/ 2147483647 w 426"/>
                <a:gd name="T15" fmla="*/ 2147483647 h 222"/>
                <a:gd name="T16" fmla="*/ 2147483647 w 426"/>
                <a:gd name="T17" fmla="*/ 2147483647 h 222"/>
                <a:gd name="T18" fmla="*/ 2147483647 w 426"/>
                <a:gd name="T19" fmla="*/ 2147483647 h 222"/>
                <a:gd name="T20" fmla="*/ 2147483647 w 426"/>
                <a:gd name="T21" fmla="*/ 2147483647 h 222"/>
                <a:gd name="T22" fmla="*/ 2147483647 w 426"/>
                <a:gd name="T23" fmla="*/ 2147483647 h 222"/>
                <a:gd name="T24" fmla="*/ 2147483647 w 426"/>
                <a:gd name="T25" fmla="*/ 2147483647 h 222"/>
                <a:gd name="T26" fmla="*/ 2147483647 w 426"/>
                <a:gd name="T27" fmla="*/ 2147483647 h 222"/>
                <a:gd name="T28" fmla="*/ 2147483647 w 426"/>
                <a:gd name="T29" fmla="*/ 2147483647 h 222"/>
                <a:gd name="T30" fmla="*/ 2147483647 w 426"/>
                <a:gd name="T31" fmla="*/ 2147483647 h 222"/>
                <a:gd name="T32" fmla="*/ 2147483647 w 426"/>
                <a:gd name="T33" fmla="*/ 2147483647 h 222"/>
                <a:gd name="T34" fmla="*/ 2147483647 w 426"/>
                <a:gd name="T35" fmla="*/ 2147483647 h 222"/>
                <a:gd name="T36" fmla="*/ 2147483647 w 426"/>
                <a:gd name="T37" fmla="*/ 2147483647 h 222"/>
                <a:gd name="T38" fmla="*/ 2147483647 w 426"/>
                <a:gd name="T39" fmla="*/ 2147483647 h 222"/>
                <a:gd name="T40" fmla="*/ 2147483647 w 426"/>
                <a:gd name="T41" fmla="*/ 2147483647 h 222"/>
                <a:gd name="T42" fmla="*/ 2147483647 w 426"/>
                <a:gd name="T43" fmla="*/ 2147483647 h 222"/>
                <a:gd name="T44" fmla="*/ 2147483647 w 426"/>
                <a:gd name="T45" fmla="*/ 2147483647 h 222"/>
                <a:gd name="T46" fmla="*/ 2147483647 w 426"/>
                <a:gd name="T47" fmla="*/ 2147483647 h 222"/>
                <a:gd name="T48" fmla="*/ 2147483647 w 426"/>
                <a:gd name="T49" fmla="*/ 0 h 222"/>
                <a:gd name="T50" fmla="*/ 2147483647 w 426"/>
                <a:gd name="T51" fmla="*/ 2147483647 h 222"/>
                <a:gd name="T52" fmla="*/ 2147483647 w 426"/>
                <a:gd name="T53" fmla="*/ 0 h 222"/>
                <a:gd name="T54" fmla="*/ 2147483647 w 426"/>
                <a:gd name="T55" fmla="*/ 2147483647 h 222"/>
                <a:gd name="T56" fmla="*/ 2147483647 w 426"/>
                <a:gd name="T57" fmla="*/ 2147483647 h 222"/>
                <a:gd name="T58" fmla="*/ 2147483647 w 426"/>
                <a:gd name="T59" fmla="*/ 2147483647 h 222"/>
                <a:gd name="T60" fmla="*/ 2147483647 w 426"/>
                <a:gd name="T61" fmla="*/ 2147483647 h 222"/>
                <a:gd name="T62" fmla="*/ 2147483647 w 426"/>
                <a:gd name="T63" fmla="*/ 2147483647 h 222"/>
                <a:gd name="T64" fmla="*/ 2147483647 w 426"/>
                <a:gd name="T65" fmla="*/ 2147483647 h 222"/>
                <a:gd name="T66" fmla="*/ 2147483647 w 426"/>
                <a:gd name="T67" fmla="*/ 2147483647 h 222"/>
                <a:gd name="T68" fmla="*/ 2147483647 w 426"/>
                <a:gd name="T69" fmla="*/ 2147483647 h 222"/>
                <a:gd name="T70" fmla="*/ 2147483647 w 426"/>
                <a:gd name="T71" fmla="*/ 2147483647 h 22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26"/>
                <a:gd name="T109" fmla="*/ 0 h 222"/>
                <a:gd name="T110" fmla="*/ 426 w 426"/>
                <a:gd name="T111" fmla="*/ 222 h 22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26" h="222">
                  <a:moveTo>
                    <a:pt x="42" y="66"/>
                  </a:moveTo>
                  <a:lnTo>
                    <a:pt x="24" y="66"/>
                  </a:lnTo>
                  <a:lnTo>
                    <a:pt x="18" y="78"/>
                  </a:lnTo>
                  <a:lnTo>
                    <a:pt x="30" y="78"/>
                  </a:lnTo>
                  <a:lnTo>
                    <a:pt x="18" y="96"/>
                  </a:lnTo>
                  <a:lnTo>
                    <a:pt x="18" y="120"/>
                  </a:lnTo>
                  <a:lnTo>
                    <a:pt x="0" y="120"/>
                  </a:lnTo>
                  <a:lnTo>
                    <a:pt x="0" y="126"/>
                  </a:lnTo>
                  <a:lnTo>
                    <a:pt x="6" y="132"/>
                  </a:lnTo>
                  <a:lnTo>
                    <a:pt x="12" y="150"/>
                  </a:lnTo>
                  <a:lnTo>
                    <a:pt x="30" y="162"/>
                  </a:lnTo>
                  <a:lnTo>
                    <a:pt x="42" y="168"/>
                  </a:lnTo>
                  <a:lnTo>
                    <a:pt x="48" y="174"/>
                  </a:lnTo>
                  <a:lnTo>
                    <a:pt x="48" y="180"/>
                  </a:lnTo>
                  <a:lnTo>
                    <a:pt x="60" y="192"/>
                  </a:lnTo>
                  <a:lnTo>
                    <a:pt x="72" y="198"/>
                  </a:lnTo>
                  <a:lnTo>
                    <a:pt x="78" y="204"/>
                  </a:lnTo>
                  <a:lnTo>
                    <a:pt x="90" y="210"/>
                  </a:lnTo>
                  <a:lnTo>
                    <a:pt x="108" y="210"/>
                  </a:lnTo>
                  <a:lnTo>
                    <a:pt x="114" y="222"/>
                  </a:lnTo>
                  <a:lnTo>
                    <a:pt x="156" y="216"/>
                  </a:lnTo>
                  <a:lnTo>
                    <a:pt x="168" y="210"/>
                  </a:lnTo>
                  <a:lnTo>
                    <a:pt x="174" y="204"/>
                  </a:lnTo>
                  <a:lnTo>
                    <a:pt x="198" y="204"/>
                  </a:lnTo>
                  <a:lnTo>
                    <a:pt x="216" y="186"/>
                  </a:lnTo>
                  <a:lnTo>
                    <a:pt x="240" y="186"/>
                  </a:lnTo>
                  <a:lnTo>
                    <a:pt x="258" y="198"/>
                  </a:lnTo>
                  <a:lnTo>
                    <a:pt x="288" y="192"/>
                  </a:lnTo>
                  <a:lnTo>
                    <a:pt x="288" y="174"/>
                  </a:lnTo>
                  <a:lnTo>
                    <a:pt x="306" y="180"/>
                  </a:lnTo>
                  <a:lnTo>
                    <a:pt x="312" y="174"/>
                  </a:lnTo>
                  <a:lnTo>
                    <a:pt x="324" y="168"/>
                  </a:lnTo>
                  <a:lnTo>
                    <a:pt x="330" y="162"/>
                  </a:lnTo>
                  <a:lnTo>
                    <a:pt x="330" y="144"/>
                  </a:lnTo>
                  <a:lnTo>
                    <a:pt x="336" y="138"/>
                  </a:lnTo>
                  <a:lnTo>
                    <a:pt x="348" y="132"/>
                  </a:lnTo>
                  <a:lnTo>
                    <a:pt x="366" y="114"/>
                  </a:lnTo>
                  <a:lnTo>
                    <a:pt x="366" y="72"/>
                  </a:lnTo>
                  <a:lnTo>
                    <a:pt x="378" y="60"/>
                  </a:lnTo>
                  <a:lnTo>
                    <a:pt x="408" y="60"/>
                  </a:lnTo>
                  <a:lnTo>
                    <a:pt x="426" y="42"/>
                  </a:lnTo>
                  <a:lnTo>
                    <a:pt x="420" y="36"/>
                  </a:lnTo>
                  <a:lnTo>
                    <a:pt x="408" y="36"/>
                  </a:lnTo>
                  <a:lnTo>
                    <a:pt x="402" y="30"/>
                  </a:lnTo>
                  <a:lnTo>
                    <a:pt x="396" y="30"/>
                  </a:lnTo>
                  <a:lnTo>
                    <a:pt x="372" y="6"/>
                  </a:lnTo>
                  <a:lnTo>
                    <a:pt x="348" y="6"/>
                  </a:lnTo>
                  <a:lnTo>
                    <a:pt x="336" y="12"/>
                  </a:lnTo>
                  <a:lnTo>
                    <a:pt x="324" y="12"/>
                  </a:lnTo>
                  <a:lnTo>
                    <a:pt x="324" y="0"/>
                  </a:lnTo>
                  <a:lnTo>
                    <a:pt x="312" y="0"/>
                  </a:lnTo>
                  <a:lnTo>
                    <a:pt x="312" y="18"/>
                  </a:lnTo>
                  <a:lnTo>
                    <a:pt x="294" y="12"/>
                  </a:lnTo>
                  <a:lnTo>
                    <a:pt x="294" y="0"/>
                  </a:lnTo>
                  <a:lnTo>
                    <a:pt x="270" y="0"/>
                  </a:lnTo>
                  <a:lnTo>
                    <a:pt x="264" y="12"/>
                  </a:lnTo>
                  <a:lnTo>
                    <a:pt x="252" y="24"/>
                  </a:lnTo>
                  <a:lnTo>
                    <a:pt x="246" y="24"/>
                  </a:lnTo>
                  <a:lnTo>
                    <a:pt x="234" y="30"/>
                  </a:lnTo>
                  <a:lnTo>
                    <a:pt x="210" y="30"/>
                  </a:lnTo>
                  <a:lnTo>
                    <a:pt x="204" y="42"/>
                  </a:lnTo>
                  <a:lnTo>
                    <a:pt x="168" y="36"/>
                  </a:lnTo>
                  <a:lnTo>
                    <a:pt x="156" y="60"/>
                  </a:lnTo>
                  <a:lnTo>
                    <a:pt x="144" y="60"/>
                  </a:lnTo>
                  <a:lnTo>
                    <a:pt x="126" y="66"/>
                  </a:lnTo>
                  <a:lnTo>
                    <a:pt x="84" y="66"/>
                  </a:lnTo>
                  <a:lnTo>
                    <a:pt x="78" y="60"/>
                  </a:lnTo>
                  <a:lnTo>
                    <a:pt x="72" y="48"/>
                  </a:lnTo>
                  <a:lnTo>
                    <a:pt x="66" y="42"/>
                  </a:lnTo>
                  <a:lnTo>
                    <a:pt x="54" y="60"/>
                  </a:lnTo>
                  <a:lnTo>
                    <a:pt x="42" y="54"/>
                  </a:lnTo>
                  <a:lnTo>
                    <a:pt x="42" y="66"/>
                  </a:lnTo>
                  <a:close/>
                </a:path>
              </a:pathLst>
            </a:custGeom>
            <a:solidFill>
              <a:srgbClr val="F2F2F2"/>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78" name="Honduras" descr="© INSCALE GmbH, 05.05.2010&#10;http://www.presentationload.com/">
              <a:extLst>
                <a:ext uri="{FF2B5EF4-FFF2-40B4-BE49-F238E27FC236}">
                  <a16:creationId xmlns:a16="http://schemas.microsoft.com/office/drawing/2014/main" id="{3BC9FA85-1AEF-5519-EF98-AAB016095BA2}"/>
                </a:ext>
              </a:extLst>
            </p:cNvPr>
            <p:cNvSpPr>
              <a:spLocks/>
            </p:cNvSpPr>
            <p:nvPr/>
          </p:nvSpPr>
          <p:spPr bwMode="gray">
            <a:xfrm>
              <a:off x="1847289" y="2729294"/>
              <a:ext cx="168991" cy="93390"/>
            </a:xfrm>
            <a:custGeom>
              <a:avLst/>
              <a:gdLst>
                <a:gd name="T0" fmla="*/ 2147483647 w 444"/>
                <a:gd name="T1" fmla="*/ 2147483647 h 246"/>
                <a:gd name="T2" fmla="*/ 2147483647 w 444"/>
                <a:gd name="T3" fmla="*/ 2147483647 h 246"/>
                <a:gd name="T4" fmla="*/ 2147483647 w 444"/>
                <a:gd name="T5" fmla="*/ 2147483647 h 246"/>
                <a:gd name="T6" fmla="*/ 2147483647 w 444"/>
                <a:gd name="T7" fmla="*/ 2147483647 h 246"/>
                <a:gd name="T8" fmla="*/ 2147483647 w 444"/>
                <a:gd name="T9" fmla="*/ 2147483647 h 246"/>
                <a:gd name="T10" fmla="*/ 2147483647 w 444"/>
                <a:gd name="T11" fmla="*/ 2147483647 h 246"/>
                <a:gd name="T12" fmla="*/ 2147483647 w 444"/>
                <a:gd name="T13" fmla="*/ 2147483647 h 246"/>
                <a:gd name="T14" fmla="*/ 2147483647 w 444"/>
                <a:gd name="T15" fmla="*/ 2147483647 h 246"/>
                <a:gd name="T16" fmla="*/ 2147483647 w 444"/>
                <a:gd name="T17" fmla="*/ 2147483647 h 246"/>
                <a:gd name="T18" fmla="*/ 2147483647 w 444"/>
                <a:gd name="T19" fmla="*/ 2147483647 h 246"/>
                <a:gd name="T20" fmla="*/ 2147483647 w 444"/>
                <a:gd name="T21" fmla="*/ 2147483647 h 246"/>
                <a:gd name="T22" fmla="*/ 2147483647 w 444"/>
                <a:gd name="T23" fmla="*/ 2147483647 h 246"/>
                <a:gd name="T24" fmla="*/ 2147483647 w 444"/>
                <a:gd name="T25" fmla="*/ 2147483647 h 246"/>
                <a:gd name="T26" fmla="*/ 2147483647 w 444"/>
                <a:gd name="T27" fmla="*/ 2147483647 h 246"/>
                <a:gd name="T28" fmla="*/ 2147483647 w 444"/>
                <a:gd name="T29" fmla="*/ 2147483647 h 246"/>
                <a:gd name="T30" fmla="*/ 2147483647 w 444"/>
                <a:gd name="T31" fmla="*/ 2147483647 h 246"/>
                <a:gd name="T32" fmla="*/ 2147483647 w 444"/>
                <a:gd name="T33" fmla="*/ 2147483647 h 246"/>
                <a:gd name="T34" fmla="*/ 2147483647 w 444"/>
                <a:gd name="T35" fmla="*/ 2147483647 h 246"/>
                <a:gd name="T36" fmla="*/ 2147483647 w 444"/>
                <a:gd name="T37" fmla="*/ 2147483647 h 246"/>
                <a:gd name="T38" fmla="*/ 2147483647 w 444"/>
                <a:gd name="T39" fmla="*/ 0 h 246"/>
                <a:gd name="T40" fmla="*/ 2147483647 w 444"/>
                <a:gd name="T41" fmla="*/ 2147483647 h 246"/>
                <a:gd name="T42" fmla="*/ 2147483647 w 444"/>
                <a:gd name="T43" fmla="*/ 2147483647 h 246"/>
                <a:gd name="T44" fmla="*/ 2147483647 w 444"/>
                <a:gd name="T45" fmla="*/ 0 h 246"/>
                <a:gd name="T46" fmla="*/ 2147483647 w 444"/>
                <a:gd name="T47" fmla="*/ 2147483647 h 246"/>
                <a:gd name="T48" fmla="*/ 2147483647 w 444"/>
                <a:gd name="T49" fmla="*/ 2147483647 h 246"/>
                <a:gd name="T50" fmla="*/ 2147483647 w 444"/>
                <a:gd name="T51" fmla="*/ 2147483647 h 246"/>
                <a:gd name="T52" fmla="*/ 2147483647 w 444"/>
                <a:gd name="T53" fmla="*/ 2147483647 h 246"/>
                <a:gd name="T54" fmla="*/ 2147483647 w 444"/>
                <a:gd name="T55" fmla="*/ 2147483647 h 246"/>
                <a:gd name="T56" fmla="*/ 2147483647 w 444"/>
                <a:gd name="T57" fmla="*/ 2147483647 h 246"/>
                <a:gd name="T58" fmla="*/ 2147483647 w 444"/>
                <a:gd name="T59" fmla="*/ 2147483647 h 246"/>
                <a:gd name="T60" fmla="*/ 2147483647 w 444"/>
                <a:gd name="T61" fmla="*/ 0 h 246"/>
                <a:gd name="T62" fmla="*/ 2147483647 w 444"/>
                <a:gd name="T63" fmla="*/ 2147483647 h 246"/>
                <a:gd name="T64" fmla="*/ 2147483647 w 444"/>
                <a:gd name="T65" fmla="*/ 2147483647 h 246"/>
                <a:gd name="T66" fmla="*/ 2147483647 w 444"/>
                <a:gd name="T67" fmla="*/ 2147483647 h 246"/>
                <a:gd name="T68" fmla="*/ 2147483647 w 444"/>
                <a:gd name="T69" fmla="*/ 2147483647 h 246"/>
                <a:gd name="T70" fmla="*/ 2147483647 w 444"/>
                <a:gd name="T71" fmla="*/ 2147483647 h 246"/>
                <a:gd name="T72" fmla="*/ 0 w 444"/>
                <a:gd name="T73" fmla="*/ 2147483647 h 246"/>
                <a:gd name="T74" fmla="*/ 2147483647 w 444"/>
                <a:gd name="T75" fmla="*/ 2147483647 h 246"/>
                <a:gd name="T76" fmla="*/ 2147483647 w 444"/>
                <a:gd name="T77" fmla="*/ 2147483647 h 246"/>
                <a:gd name="T78" fmla="*/ 2147483647 w 444"/>
                <a:gd name="T79" fmla="*/ 2147483647 h 246"/>
                <a:gd name="T80" fmla="*/ 2147483647 w 444"/>
                <a:gd name="T81" fmla="*/ 2147483647 h 246"/>
                <a:gd name="T82" fmla="*/ 2147483647 w 444"/>
                <a:gd name="T83" fmla="*/ 2147483647 h 246"/>
                <a:gd name="T84" fmla="*/ 2147483647 w 444"/>
                <a:gd name="T85" fmla="*/ 2147483647 h 246"/>
                <a:gd name="T86" fmla="*/ 2147483647 w 444"/>
                <a:gd name="T87" fmla="*/ 2147483647 h 24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44"/>
                <a:gd name="T133" fmla="*/ 0 h 246"/>
                <a:gd name="T134" fmla="*/ 444 w 444"/>
                <a:gd name="T135" fmla="*/ 246 h 24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44" h="246">
                  <a:moveTo>
                    <a:pt x="156" y="240"/>
                  </a:moveTo>
                  <a:lnTo>
                    <a:pt x="156" y="222"/>
                  </a:lnTo>
                  <a:lnTo>
                    <a:pt x="174" y="222"/>
                  </a:lnTo>
                  <a:lnTo>
                    <a:pt x="168" y="216"/>
                  </a:lnTo>
                  <a:lnTo>
                    <a:pt x="168" y="204"/>
                  </a:lnTo>
                  <a:lnTo>
                    <a:pt x="162" y="198"/>
                  </a:lnTo>
                  <a:lnTo>
                    <a:pt x="162" y="186"/>
                  </a:lnTo>
                  <a:lnTo>
                    <a:pt x="168" y="180"/>
                  </a:lnTo>
                  <a:lnTo>
                    <a:pt x="204" y="180"/>
                  </a:lnTo>
                  <a:lnTo>
                    <a:pt x="210" y="168"/>
                  </a:lnTo>
                  <a:lnTo>
                    <a:pt x="216" y="162"/>
                  </a:lnTo>
                  <a:lnTo>
                    <a:pt x="228" y="162"/>
                  </a:lnTo>
                  <a:lnTo>
                    <a:pt x="228" y="168"/>
                  </a:lnTo>
                  <a:lnTo>
                    <a:pt x="234" y="174"/>
                  </a:lnTo>
                  <a:lnTo>
                    <a:pt x="252" y="174"/>
                  </a:lnTo>
                  <a:lnTo>
                    <a:pt x="276" y="150"/>
                  </a:lnTo>
                  <a:lnTo>
                    <a:pt x="288" y="126"/>
                  </a:lnTo>
                  <a:lnTo>
                    <a:pt x="306" y="126"/>
                  </a:lnTo>
                  <a:lnTo>
                    <a:pt x="306" y="108"/>
                  </a:lnTo>
                  <a:lnTo>
                    <a:pt x="318" y="96"/>
                  </a:lnTo>
                  <a:lnTo>
                    <a:pt x="330" y="96"/>
                  </a:lnTo>
                  <a:lnTo>
                    <a:pt x="348" y="114"/>
                  </a:lnTo>
                  <a:lnTo>
                    <a:pt x="360" y="114"/>
                  </a:lnTo>
                  <a:lnTo>
                    <a:pt x="372" y="102"/>
                  </a:lnTo>
                  <a:lnTo>
                    <a:pt x="372" y="96"/>
                  </a:lnTo>
                  <a:lnTo>
                    <a:pt x="420" y="96"/>
                  </a:lnTo>
                  <a:lnTo>
                    <a:pt x="426" y="90"/>
                  </a:lnTo>
                  <a:lnTo>
                    <a:pt x="432" y="90"/>
                  </a:lnTo>
                  <a:lnTo>
                    <a:pt x="444" y="84"/>
                  </a:lnTo>
                  <a:lnTo>
                    <a:pt x="444" y="78"/>
                  </a:lnTo>
                  <a:lnTo>
                    <a:pt x="426" y="60"/>
                  </a:lnTo>
                  <a:lnTo>
                    <a:pt x="402" y="48"/>
                  </a:lnTo>
                  <a:lnTo>
                    <a:pt x="396" y="48"/>
                  </a:lnTo>
                  <a:lnTo>
                    <a:pt x="390" y="42"/>
                  </a:lnTo>
                  <a:lnTo>
                    <a:pt x="384" y="30"/>
                  </a:lnTo>
                  <a:lnTo>
                    <a:pt x="372" y="24"/>
                  </a:lnTo>
                  <a:lnTo>
                    <a:pt x="366" y="18"/>
                  </a:lnTo>
                  <a:lnTo>
                    <a:pt x="348" y="18"/>
                  </a:lnTo>
                  <a:lnTo>
                    <a:pt x="342" y="6"/>
                  </a:lnTo>
                  <a:lnTo>
                    <a:pt x="336" y="0"/>
                  </a:lnTo>
                  <a:lnTo>
                    <a:pt x="312" y="0"/>
                  </a:lnTo>
                  <a:lnTo>
                    <a:pt x="300" y="6"/>
                  </a:lnTo>
                  <a:lnTo>
                    <a:pt x="294" y="12"/>
                  </a:lnTo>
                  <a:lnTo>
                    <a:pt x="282" y="12"/>
                  </a:lnTo>
                  <a:lnTo>
                    <a:pt x="270" y="0"/>
                  </a:lnTo>
                  <a:lnTo>
                    <a:pt x="252" y="0"/>
                  </a:lnTo>
                  <a:lnTo>
                    <a:pt x="240" y="6"/>
                  </a:lnTo>
                  <a:lnTo>
                    <a:pt x="234" y="18"/>
                  </a:lnTo>
                  <a:lnTo>
                    <a:pt x="222" y="24"/>
                  </a:lnTo>
                  <a:lnTo>
                    <a:pt x="186" y="24"/>
                  </a:lnTo>
                  <a:lnTo>
                    <a:pt x="174" y="18"/>
                  </a:lnTo>
                  <a:lnTo>
                    <a:pt x="168" y="12"/>
                  </a:lnTo>
                  <a:lnTo>
                    <a:pt x="156" y="12"/>
                  </a:lnTo>
                  <a:lnTo>
                    <a:pt x="150" y="18"/>
                  </a:lnTo>
                  <a:lnTo>
                    <a:pt x="144" y="18"/>
                  </a:lnTo>
                  <a:lnTo>
                    <a:pt x="138" y="24"/>
                  </a:lnTo>
                  <a:lnTo>
                    <a:pt x="132" y="24"/>
                  </a:lnTo>
                  <a:lnTo>
                    <a:pt x="132" y="18"/>
                  </a:lnTo>
                  <a:lnTo>
                    <a:pt x="126" y="12"/>
                  </a:lnTo>
                  <a:lnTo>
                    <a:pt x="126" y="6"/>
                  </a:lnTo>
                  <a:lnTo>
                    <a:pt x="120" y="0"/>
                  </a:lnTo>
                  <a:lnTo>
                    <a:pt x="114" y="0"/>
                  </a:lnTo>
                  <a:lnTo>
                    <a:pt x="96" y="18"/>
                  </a:lnTo>
                  <a:lnTo>
                    <a:pt x="90" y="18"/>
                  </a:lnTo>
                  <a:lnTo>
                    <a:pt x="84" y="30"/>
                  </a:lnTo>
                  <a:lnTo>
                    <a:pt x="72" y="36"/>
                  </a:lnTo>
                  <a:lnTo>
                    <a:pt x="60" y="48"/>
                  </a:lnTo>
                  <a:lnTo>
                    <a:pt x="48" y="54"/>
                  </a:lnTo>
                  <a:lnTo>
                    <a:pt x="36" y="66"/>
                  </a:lnTo>
                  <a:lnTo>
                    <a:pt x="24" y="72"/>
                  </a:lnTo>
                  <a:lnTo>
                    <a:pt x="18" y="84"/>
                  </a:lnTo>
                  <a:lnTo>
                    <a:pt x="18" y="102"/>
                  </a:lnTo>
                  <a:lnTo>
                    <a:pt x="12" y="114"/>
                  </a:lnTo>
                  <a:lnTo>
                    <a:pt x="0" y="126"/>
                  </a:lnTo>
                  <a:lnTo>
                    <a:pt x="6" y="138"/>
                  </a:lnTo>
                  <a:lnTo>
                    <a:pt x="18" y="150"/>
                  </a:lnTo>
                  <a:lnTo>
                    <a:pt x="42" y="150"/>
                  </a:lnTo>
                  <a:lnTo>
                    <a:pt x="42" y="168"/>
                  </a:lnTo>
                  <a:lnTo>
                    <a:pt x="48" y="174"/>
                  </a:lnTo>
                  <a:lnTo>
                    <a:pt x="60" y="174"/>
                  </a:lnTo>
                  <a:lnTo>
                    <a:pt x="66" y="168"/>
                  </a:lnTo>
                  <a:lnTo>
                    <a:pt x="102" y="168"/>
                  </a:lnTo>
                  <a:lnTo>
                    <a:pt x="102" y="210"/>
                  </a:lnTo>
                  <a:lnTo>
                    <a:pt x="126" y="222"/>
                  </a:lnTo>
                  <a:lnTo>
                    <a:pt x="132" y="228"/>
                  </a:lnTo>
                  <a:lnTo>
                    <a:pt x="132" y="246"/>
                  </a:lnTo>
                  <a:lnTo>
                    <a:pt x="144" y="246"/>
                  </a:lnTo>
                  <a:lnTo>
                    <a:pt x="156" y="240"/>
                  </a:lnTo>
                  <a:close/>
                </a:path>
              </a:pathLst>
            </a:custGeom>
            <a:solidFill>
              <a:srgbClr val="F2F2F2"/>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79" name="Haiti" descr="© INSCALE GmbH, 05.05.2010&#10;http://www.presentationload.com/">
              <a:extLst>
                <a:ext uri="{FF2B5EF4-FFF2-40B4-BE49-F238E27FC236}">
                  <a16:creationId xmlns:a16="http://schemas.microsoft.com/office/drawing/2014/main" id="{60B4A5F7-49D5-5696-EB47-C842B957B84A}"/>
                </a:ext>
              </a:extLst>
            </p:cNvPr>
            <p:cNvSpPr>
              <a:spLocks/>
            </p:cNvSpPr>
            <p:nvPr/>
          </p:nvSpPr>
          <p:spPr bwMode="gray">
            <a:xfrm>
              <a:off x="2262354" y="2610703"/>
              <a:ext cx="74119" cy="59295"/>
            </a:xfrm>
            <a:custGeom>
              <a:avLst/>
              <a:gdLst>
                <a:gd name="T0" fmla="*/ 2147483647 w 198"/>
                <a:gd name="T1" fmla="*/ 2147483647 h 156"/>
                <a:gd name="T2" fmla="*/ 2147483647 w 198"/>
                <a:gd name="T3" fmla="*/ 2147483647 h 156"/>
                <a:gd name="T4" fmla="*/ 2147483647 w 198"/>
                <a:gd name="T5" fmla="*/ 2147483647 h 156"/>
                <a:gd name="T6" fmla="*/ 2147483647 w 198"/>
                <a:gd name="T7" fmla="*/ 2147483647 h 156"/>
                <a:gd name="T8" fmla="*/ 2147483647 w 198"/>
                <a:gd name="T9" fmla="*/ 2147483647 h 156"/>
                <a:gd name="T10" fmla="*/ 2147483647 w 198"/>
                <a:gd name="T11" fmla="*/ 2147483647 h 156"/>
                <a:gd name="T12" fmla="*/ 2147483647 w 198"/>
                <a:gd name="T13" fmla="*/ 2147483647 h 156"/>
                <a:gd name="T14" fmla="*/ 2147483647 w 198"/>
                <a:gd name="T15" fmla="*/ 2147483647 h 156"/>
                <a:gd name="T16" fmla="*/ 2147483647 w 198"/>
                <a:gd name="T17" fmla="*/ 2147483647 h 156"/>
                <a:gd name="T18" fmla="*/ 2147483647 w 198"/>
                <a:gd name="T19" fmla="*/ 2147483647 h 156"/>
                <a:gd name="T20" fmla="*/ 2147483647 w 198"/>
                <a:gd name="T21" fmla="*/ 2147483647 h 156"/>
                <a:gd name="T22" fmla="*/ 2147483647 w 198"/>
                <a:gd name="T23" fmla="*/ 2147483647 h 156"/>
                <a:gd name="T24" fmla="*/ 2147483647 w 198"/>
                <a:gd name="T25" fmla="*/ 2147483647 h 156"/>
                <a:gd name="T26" fmla="*/ 2147483647 w 198"/>
                <a:gd name="T27" fmla="*/ 2147483647 h 156"/>
                <a:gd name="T28" fmla="*/ 2147483647 w 198"/>
                <a:gd name="T29" fmla="*/ 2147483647 h 156"/>
                <a:gd name="T30" fmla="*/ 2147483647 w 198"/>
                <a:gd name="T31" fmla="*/ 2147483647 h 156"/>
                <a:gd name="T32" fmla="*/ 2147483647 w 198"/>
                <a:gd name="T33" fmla="*/ 2147483647 h 156"/>
                <a:gd name="T34" fmla="*/ 2147483647 w 198"/>
                <a:gd name="T35" fmla="*/ 0 h 156"/>
                <a:gd name="T36" fmla="*/ 2147483647 w 198"/>
                <a:gd name="T37" fmla="*/ 0 h 156"/>
                <a:gd name="T38" fmla="*/ 2147483647 w 198"/>
                <a:gd name="T39" fmla="*/ 2147483647 h 156"/>
                <a:gd name="T40" fmla="*/ 2147483647 w 198"/>
                <a:gd name="T41" fmla="*/ 2147483647 h 156"/>
                <a:gd name="T42" fmla="*/ 2147483647 w 198"/>
                <a:gd name="T43" fmla="*/ 2147483647 h 156"/>
                <a:gd name="T44" fmla="*/ 2147483647 w 198"/>
                <a:gd name="T45" fmla="*/ 2147483647 h 156"/>
                <a:gd name="T46" fmla="*/ 2147483647 w 198"/>
                <a:gd name="T47" fmla="*/ 2147483647 h 156"/>
                <a:gd name="T48" fmla="*/ 2147483647 w 198"/>
                <a:gd name="T49" fmla="*/ 2147483647 h 156"/>
                <a:gd name="T50" fmla="*/ 2147483647 w 198"/>
                <a:gd name="T51" fmla="*/ 2147483647 h 156"/>
                <a:gd name="T52" fmla="*/ 2147483647 w 198"/>
                <a:gd name="T53" fmla="*/ 2147483647 h 156"/>
                <a:gd name="T54" fmla="*/ 2147483647 w 198"/>
                <a:gd name="T55" fmla="*/ 2147483647 h 156"/>
                <a:gd name="T56" fmla="*/ 2147483647 w 198"/>
                <a:gd name="T57" fmla="*/ 2147483647 h 156"/>
                <a:gd name="T58" fmla="*/ 2147483647 w 198"/>
                <a:gd name="T59" fmla="*/ 2147483647 h 156"/>
                <a:gd name="T60" fmla="*/ 2147483647 w 198"/>
                <a:gd name="T61" fmla="*/ 2147483647 h 156"/>
                <a:gd name="T62" fmla="*/ 2147483647 w 198"/>
                <a:gd name="T63" fmla="*/ 2147483647 h 156"/>
                <a:gd name="T64" fmla="*/ 2147483647 w 198"/>
                <a:gd name="T65" fmla="*/ 2147483647 h 156"/>
                <a:gd name="T66" fmla="*/ 2147483647 w 198"/>
                <a:gd name="T67" fmla="*/ 2147483647 h 156"/>
                <a:gd name="T68" fmla="*/ 2147483647 w 198"/>
                <a:gd name="T69" fmla="*/ 2147483647 h 156"/>
                <a:gd name="T70" fmla="*/ 2147483647 w 198"/>
                <a:gd name="T71" fmla="*/ 2147483647 h 156"/>
                <a:gd name="T72" fmla="*/ 2147483647 w 198"/>
                <a:gd name="T73" fmla="*/ 2147483647 h 156"/>
                <a:gd name="T74" fmla="*/ 2147483647 w 198"/>
                <a:gd name="T75" fmla="*/ 2147483647 h 156"/>
                <a:gd name="T76" fmla="*/ 2147483647 w 198"/>
                <a:gd name="T77" fmla="*/ 2147483647 h 156"/>
                <a:gd name="T78" fmla="*/ 2147483647 w 198"/>
                <a:gd name="T79" fmla="*/ 2147483647 h 156"/>
                <a:gd name="T80" fmla="*/ 2147483647 w 198"/>
                <a:gd name="T81" fmla="*/ 2147483647 h 156"/>
                <a:gd name="T82" fmla="*/ 0 w 198"/>
                <a:gd name="T83" fmla="*/ 2147483647 h 156"/>
                <a:gd name="T84" fmla="*/ 0 w 198"/>
                <a:gd name="T85" fmla="*/ 2147483647 h 156"/>
                <a:gd name="T86" fmla="*/ 2147483647 w 198"/>
                <a:gd name="T87" fmla="*/ 2147483647 h 156"/>
                <a:gd name="T88" fmla="*/ 2147483647 w 198"/>
                <a:gd name="T89" fmla="*/ 2147483647 h 156"/>
                <a:gd name="T90" fmla="*/ 2147483647 w 198"/>
                <a:gd name="T91" fmla="*/ 2147483647 h 156"/>
                <a:gd name="T92" fmla="*/ 2147483647 w 198"/>
                <a:gd name="T93" fmla="*/ 2147483647 h 156"/>
                <a:gd name="T94" fmla="*/ 2147483647 w 198"/>
                <a:gd name="T95" fmla="*/ 2147483647 h 156"/>
                <a:gd name="T96" fmla="*/ 2147483647 w 198"/>
                <a:gd name="T97" fmla="*/ 2147483647 h 156"/>
                <a:gd name="T98" fmla="*/ 2147483647 w 198"/>
                <a:gd name="T99" fmla="*/ 2147483647 h 156"/>
                <a:gd name="T100" fmla="*/ 2147483647 w 198"/>
                <a:gd name="T101" fmla="*/ 2147483647 h 156"/>
                <a:gd name="T102" fmla="*/ 2147483647 w 198"/>
                <a:gd name="T103" fmla="*/ 2147483647 h 156"/>
                <a:gd name="T104" fmla="*/ 2147483647 w 198"/>
                <a:gd name="T105" fmla="*/ 2147483647 h 156"/>
                <a:gd name="T106" fmla="*/ 2147483647 w 198"/>
                <a:gd name="T107" fmla="*/ 2147483647 h 156"/>
                <a:gd name="T108" fmla="*/ 2147483647 w 198"/>
                <a:gd name="T109" fmla="*/ 2147483647 h 156"/>
                <a:gd name="T110" fmla="*/ 2147483647 w 198"/>
                <a:gd name="T111" fmla="*/ 2147483647 h 156"/>
                <a:gd name="T112" fmla="*/ 2147483647 w 198"/>
                <a:gd name="T113" fmla="*/ 2147483647 h 15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98"/>
                <a:gd name="T172" fmla="*/ 0 h 156"/>
                <a:gd name="T173" fmla="*/ 198 w 198"/>
                <a:gd name="T174" fmla="*/ 156 h 15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98" h="156">
                  <a:moveTo>
                    <a:pt x="168" y="114"/>
                  </a:moveTo>
                  <a:lnTo>
                    <a:pt x="168" y="108"/>
                  </a:lnTo>
                  <a:lnTo>
                    <a:pt x="174" y="102"/>
                  </a:lnTo>
                  <a:lnTo>
                    <a:pt x="180" y="90"/>
                  </a:lnTo>
                  <a:lnTo>
                    <a:pt x="180" y="78"/>
                  </a:lnTo>
                  <a:lnTo>
                    <a:pt x="186" y="72"/>
                  </a:lnTo>
                  <a:lnTo>
                    <a:pt x="192" y="60"/>
                  </a:lnTo>
                  <a:lnTo>
                    <a:pt x="198" y="54"/>
                  </a:lnTo>
                  <a:lnTo>
                    <a:pt x="198" y="42"/>
                  </a:lnTo>
                  <a:lnTo>
                    <a:pt x="186" y="6"/>
                  </a:lnTo>
                  <a:lnTo>
                    <a:pt x="180" y="12"/>
                  </a:lnTo>
                  <a:lnTo>
                    <a:pt x="180" y="18"/>
                  </a:lnTo>
                  <a:lnTo>
                    <a:pt x="174" y="18"/>
                  </a:lnTo>
                  <a:lnTo>
                    <a:pt x="168" y="12"/>
                  </a:lnTo>
                  <a:lnTo>
                    <a:pt x="156" y="12"/>
                  </a:lnTo>
                  <a:lnTo>
                    <a:pt x="144" y="6"/>
                  </a:lnTo>
                  <a:lnTo>
                    <a:pt x="126" y="6"/>
                  </a:lnTo>
                  <a:lnTo>
                    <a:pt x="114" y="0"/>
                  </a:lnTo>
                  <a:lnTo>
                    <a:pt x="84" y="0"/>
                  </a:lnTo>
                  <a:lnTo>
                    <a:pt x="72" y="6"/>
                  </a:lnTo>
                  <a:lnTo>
                    <a:pt x="66" y="12"/>
                  </a:lnTo>
                  <a:lnTo>
                    <a:pt x="66" y="18"/>
                  </a:lnTo>
                  <a:lnTo>
                    <a:pt x="72" y="24"/>
                  </a:lnTo>
                  <a:lnTo>
                    <a:pt x="108" y="24"/>
                  </a:lnTo>
                  <a:lnTo>
                    <a:pt x="114" y="30"/>
                  </a:lnTo>
                  <a:lnTo>
                    <a:pt x="120" y="42"/>
                  </a:lnTo>
                  <a:lnTo>
                    <a:pt x="126" y="48"/>
                  </a:lnTo>
                  <a:lnTo>
                    <a:pt x="114" y="54"/>
                  </a:lnTo>
                  <a:lnTo>
                    <a:pt x="108" y="60"/>
                  </a:lnTo>
                  <a:lnTo>
                    <a:pt x="108" y="72"/>
                  </a:lnTo>
                  <a:lnTo>
                    <a:pt x="114" y="84"/>
                  </a:lnTo>
                  <a:lnTo>
                    <a:pt x="114" y="96"/>
                  </a:lnTo>
                  <a:lnTo>
                    <a:pt x="120" y="102"/>
                  </a:lnTo>
                  <a:lnTo>
                    <a:pt x="114" y="108"/>
                  </a:lnTo>
                  <a:lnTo>
                    <a:pt x="96" y="108"/>
                  </a:lnTo>
                  <a:lnTo>
                    <a:pt x="78" y="102"/>
                  </a:lnTo>
                  <a:lnTo>
                    <a:pt x="66" y="102"/>
                  </a:lnTo>
                  <a:lnTo>
                    <a:pt x="54" y="96"/>
                  </a:lnTo>
                  <a:lnTo>
                    <a:pt x="36" y="96"/>
                  </a:lnTo>
                  <a:lnTo>
                    <a:pt x="24" y="102"/>
                  </a:lnTo>
                  <a:lnTo>
                    <a:pt x="6" y="102"/>
                  </a:lnTo>
                  <a:lnTo>
                    <a:pt x="0" y="108"/>
                  </a:lnTo>
                  <a:lnTo>
                    <a:pt x="0" y="114"/>
                  </a:lnTo>
                  <a:lnTo>
                    <a:pt x="6" y="120"/>
                  </a:lnTo>
                  <a:lnTo>
                    <a:pt x="12" y="132"/>
                  </a:lnTo>
                  <a:lnTo>
                    <a:pt x="24" y="138"/>
                  </a:lnTo>
                  <a:lnTo>
                    <a:pt x="30" y="150"/>
                  </a:lnTo>
                  <a:lnTo>
                    <a:pt x="36" y="156"/>
                  </a:lnTo>
                  <a:lnTo>
                    <a:pt x="42" y="156"/>
                  </a:lnTo>
                  <a:lnTo>
                    <a:pt x="48" y="150"/>
                  </a:lnTo>
                  <a:lnTo>
                    <a:pt x="54" y="138"/>
                  </a:lnTo>
                  <a:lnTo>
                    <a:pt x="60" y="132"/>
                  </a:lnTo>
                  <a:lnTo>
                    <a:pt x="138" y="132"/>
                  </a:lnTo>
                  <a:lnTo>
                    <a:pt x="156" y="126"/>
                  </a:lnTo>
                  <a:lnTo>
                    <a:pt x="168" y="126"/>
                  </a:lnTo>
                  <a:lnTo>
                    <a:pt x="180" y="144"/>
                  </a:lnTo>
                  <a:lnTo>
                    <a:pt x="168" y="114"/>
                  </a:lnTo>
                  <a:close/>
                </a:path>
              </a:pathLst>
            </a:custGeom>
            <a:grp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80" name="Guyane (French Guiana)" descr="© INSCALE GmbH, 05.05.2010&#10;http://www.presentationload.com/">
              <a:extLst>
                <a:ext uri="{FF2B5EF4-FFF2-40B4-BE49-F238E27FC236}">
                  <a16:creationId xmlns:a16="http://schemas.microsoft.com/office/drawing/2014/main" id="{B2512AE5-ADFD-C3C6-508A-471FC4C4FAD9}"/>
                </a:ext>
              </a:extLst>
            </p:cNvPr>
            <p:cNvSpPr>
              <a:spLocks/>
            </p:cNvSpPr>
            <p:nvPr/>
          </p:nvSpPr>
          <p:spPr bwMode="gray">
            <a:xfrm>
              <a:off x="2760431" y="3042075"/>
              <a:ext cx="77083" cy="112660"/>
            </a:xfrm>
            <a:custGeom>
              <a:avLst/>
              <a:gdLst>
                <a:gd name="T0" fmla="*/ 2147483647 w 52"/>
                <a:gd name="T1" fmla="*/ 2147483647 h 76"/>
                <a:gd name="T2" fmla="*/ 2147483647 w 52"/>
                <a:gd name="T3" fmla="*/ 2147483647 h 76"/>
                <a:gd name="T4" fmla="*/ 2147483647 w 52"/>
                <a:gd name="T5" fmla="*/ 2147483647 h 76"/>
                <a:gd name="T6" fmla="*/ 2147483647 w 52"/>
                <a:gd name="T7" fmla="*/ 2147483647 h 76"/>
                <a:gd name="T8" fmla="*/ 2147483647 w 52"/>
                <a:gd name="T9" fmla="*/ 2147483647 h 76"/>
                <a:gd name="T10" fmla="*/ 2147483647 w 52"/>
                <a:gd name="T11" fmla="*/ 2147483647 h 76"/>
                <a:gd name="T12" fmla="*/ 2147483647 w 52"/>
                <a:gd name="T13" fmla="*/ 2147483647 h 76"/>
                <a:gd name="T14" fmla="*/ 2147483647 w 52"/>
                <a:gd name="T15" fmla="*/ 2147483647 h 76"/>
                <a:gd name="T16" fmla="*/ 2147483647 w 52"/>
                <a:gd name="T17" fmla="*/ 2147483647 h 76"/>
                <a:gd name="T18" fmla="*/ 2147483647 w 52"/>
                <a:gd name="T19" fmla="*/ 2147483647 h 76"/>
                <a:gd name="T20" fmla="*/ 2147483647 w 52"/>
                <a:gd name="T21" fmla="*/ 2147483647 h 76"/>
                <a:gd name="T22" fmla="*/ 2147483647 w 52"/>
                <a:gd name="T23" fmla="*/ 0 h 76"/>
                <a:gd name="T24" fmla="*/ 2147483647 w 52"/>
                <a:gd name="T25" fmla="*/ 2147483647 h 76"/>
                <a:gd name="T26" fmla="*/ 2147483647 w 52"/>
                <a:gd name="T27" fmla="*/ 2147483647 h 76"/>
                <a:gd name="T28" fmla="*/ 2147483647 w 52"/>
                <a:gd name="T29" fmla="*/ 2147483647 h 76"/>
                <a:gd name="T30" fmla="*/ 2147483647 w 52"/>
                <a:gd name="T31" fmla="*/ 2147483647 h 76"/>
                <a:gd name="T32" fmla="*/ 2147483647 w 52"/>
                <a:gd name="T33" fmla="*/ 2147483647 h 76"/>
                <a:gd name="T34" fmla="*/ 2147483647 w 52"/>
                <a:gd name="T35" fmla="*/ 2147483647 h 76"/>
                <a:gd name="T36" fmla="*/ 2147483647 w 52"/>
                <a:gd name="T37" fmla="*/ 2147483647 h 76"/>
                <a:gd name="T38" fmla="*/ 2147483647 w 52"/>
                <a:gd name="T39" fmla="*/ 2147483647 h 76"/>
                <a:gd name="T40" fmla="*/ 2147483647 w 52"/>
                <a:gd name="T41" fmla="*/ 2147483647 h 76"/>
                <a:gd name="T42" fmla="*/ 2147483647 w 52"/>
                <a:gd name="T43" fmla="*/ 2147483647 h 76"/>
                <a:gd name="T44" fmla="*/ 2147483647 w 52"/>
                <a:gd name="T45" fmla="*/ 2147483647 h 76"/>
                <a:gd name="T46" fmla="*/ 2147483647 w 52"/>
                <a:gd name="T47" fmla="*/ 2147483647 h 76"/>
                <a:gd name="T48" fmla="*/ 2147483647 w 52"/>
                <a:gd name="T49" fmla="*/ 2147483647 h 76"/>
                <a:gd name="T50" fmla="*/ 2147483647 w 52"/>
                <a:gd name="T51" fmla="*/ 2147483647 h 76"/>
                <a:gd name="T52" fmla="*/ 2147483647 w 52"/>
                <a:gd name="T53" fmla="*/ 2147483647 h 76"/>
                <a:gd name="T54" fmla="*/ 2147483647 w 52"/>
                <a:gd name="T55" fmla="*/ 2147483647 h 76"/>
                <a:gd name="T56" fmla="*/ 2147483647 w 52"/>
                <a:gd name="T57" fmla="*/ 2147483647 h 76"/>
                <a:gd name="T58" fmla="*/ 2147483647 w 52"/>
                <a:gd name="T59" fmla="*/ 2147483647 h 76"/>
                <a:gd name="T60" fmla="*/ 2147483647 w 52"/>
                <a:gd name="T61" fmla="*/ 2147483647 h 76"/>
                <a:gd name="T62" fmla="*/ 2147483647 w 52"/>
                <a:gd name="T63" fmla="*/ 2147483647 h 76"/>
                <a:gd name="T64" fmla="*/ 0 w 52"/>
                <a:gd name="T65" fmla="*/ 2147483647 h 76"/>
                <a:gd name="T66" fmla="*/ 0 w 52"/>
                <a:gd name="T67" fmla="*/ 2147483647 h 76"/>
                <a:gd name="T68" fmla="*/ 2147483647 w 52"/>
                <a:gd name="T69" fmla="*/ 2147483647 h 76"/>
                <a:gd name="T70" fmla="*/ 2147483647 w 52"/>
                <a:gd name="T71" fmla="*/ 2147483647 h 76"/>
                <a:gd name="T72" fmla="*/ 2147483647 w 52"/>
                <a:gd name="T73" fmla="*/ 2147483647 h 76"/>
                <a:gd name="T74" fmla="*/ 2147483647 w 52"/>
                <a:gd name="T75" fmla="*/ 2147483647 h 76"/>
                <a:gd name="T76" fmla="*/ 2147483647 w 52"/>
                <a:gd name="T77" fmla="*/ 2147483647 h 76"/>
                <a:gd name="T78" fmla="*/ 2147483647 w 52"/>
                <a:gd name="T79" fmla="*/ 2147483647 h 76"/>
                <a:gd name="T80" fmla="*/ 2147483647 w 52"/>
                <a:gd name="T81" fmla="*/ 2147483647 h 76"/>
                <a:gd name="T82" fmla="*/ 2147483647 w 52"/>
                <a:gd name="T83" fmla="*/ 2147483647 h 76"/>
                <a:gd name="T84" fmla="*/ 2147483647 w 52"/>
                <a:gd name="T85" fmla="*/ 2147483647 h 76"/>
                <a:gd name="T86" fmla="*/ 2147483647 w 52"/>
                <a:gd name="T87" fmla="*/ 2147483647 h 76"/>
                <a:gd name="T88" fmla="*/ 2147483647 w 52"/>
                <a:gd name="T89" fmla="*/ 2147483647 h 76"/>
                <a:gd name="T90" fmla="*/ 2147483647 w 52"/>
                <a:gd name="T91" fmla="*/ 2147483647 h 76"/>
                <a:gd name="T92" fmla="*/ 2147483647 w 52"/>
                <a:gd name="T93" fmla="*/ 2147483647 h 76"/>
                <a:gd name="T94" fmla="*/ 2147483647 w 52"/>
                <a:gd name="T95" fmla="*/ 2147483647 h 76"/>
                <a:gd name="T96" fmla="*/ 2147483647 w 52"/>
                <a:gd name="T97" fmla="*/ 2147483647 h 76"/>
                <a:gd name="T98" fmla="*/ 2147483647 w 52"/>
                <a:gd name="T99" fmla="*/ 2147483647 h 76"/>
                <a:gd name="T100" fmla="*/ 2147483647 w 52"/>
                <a:gd name="T101" fmla="*/ 2147483647 h 76"/>
                <a:gd name="T102" fmla="*/ 2147483647 w 52"/>
                <a:gd name="T103" fmla="*/ 2147483647 h 76"/>
                <a:gd name="T104" fmla="*/ 2147483647 w 52"/>
                <a:gd name="T105" fmla="*/ 2147483647 h 76"/>
                <a:gd name="T106" fmla="*/ 2147483647 w 52"/>
                <a:gd name="T107" fmla="*/ 2147483647 h 76"/>
                <a:gd name="T108" fmla="*/ 2147483647 w 52"/>
                <a:gd name="T109" fmla="*/ 2147483647 h 76"/>
                <a:gd name="T110" fmla="*/ 2147483647 w 52"/>
                <a:gd name="T111" fmla="*/ 2147483647 h 76"/>
                <a:gd name="T112" fmla="*/ 2147483647 w 52"/>
                <a:gd name="T113" fmla="*/ 2147483647 h 76"/>
                <a:gd name="T114" fmla="*/ 2147483647 w 52"/>
                <a:gd name="T115" fmla="*/ 2147483647 h 7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2"/>
                <a:gd name="T175" fmla="*/ 0 h 76"/>
                <a:gd name="T176" fmla="*/ 52 w 52"/>
                <a:gd name="T177" fmla="*/ 76 h 7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2" h="76">
                  <a:moveTo>
                    <a:pt x="52" y="32"/>
                  </a:moveTo>
                  <a:lnTo>
                    <a:pt x="50" y="26"/>
                  </a:lnTo>
                  <a:lnTo>
                    <a:pt x="48" y="24"/>
                  </a:lnTo>
                  <a:lnTo>
                    <a:pt x="46" y="22"/>
                  </a:lnTo>
                  <a:lnTo>
                    <a:pt x="46" y="20"/>
                  </a:lnTo>
                  <a:lnTo>
                    <a:pt x="40" y="20"/>
                  </a:lnTo>
                  <a:lnTo>
                    <a:pt x="32" y="6"/>
                  </a:lnTo>
                  <a:lnTo>
                    <a:pt x="24" y="6"/>
                  </a:lnTo>
                  <a:lnTo>
                    <a:pt x="22" y="4"/>
                  </a:lnTo>
                  <a:lnTo>
                    <a:pt x="20" y="4"/>
                  </a:lnTo>
                  <a:lnTo>
                    <a:pt x="16" y="2"/>
                  </a:lnTo>
                  <a:lnTo>
                    <a:pt x="14" y="0"/>
                  </a:lnTo>
                  <a:lnTo>
                    <a:pt x="12" y="4"/>
                  </a:lnTo>
                  <a:lnTo>
                    <a:pt x="12" y="10"/>
                  </a:lnTo>
                  <a:lnTo>
                    <a:pt x="10" y="10"/>
                  </a:lnTo>
                  <a:lnTo>
                    <a:pt x="8" y="12"/>
                  </a:lnTo>
                  <a:lnTo>
                    <a:pt x="6" y="14"/>
                  </a:lnTo>
                  <a:lnTo>
                    <a:pt x="4" y="16"/>
                  </a:lnTo>
                  <a:lnTo>
                    <a:pt x="2" y="20"/>
                  </a:lnTo>
                  <a:lnTo>
                    <a:pt x="2" y="28"/>
                  </a:lnTo>
                  <a:lnTo>
                    <a:pt x="4" y="32"/>
                  </a:lnTo>
                  <a:lnTo>
                    <a:pt x="4" y="36"/>
                  </a:lnTo>
                  <a:lnTo>
                    <a:pt x="6" y="40"/>
                  </a:lnTo>
                  <a:lnTo>
                    <a:pt x="10" y="44"/>
                  </a:lnTo>
                  <a:lnTo>
                    <a:pt x="12" y="46"/>
                  </a:lnTo>
                  <a:lnTo>
                    <a:pt x="12" y="48"/>
                  </a:lnTo>
                  <a:lnTo>
                    <a:pt x="6" y="54"/>
                  </a:lnTo>
                  <a:lnTo>
                    <a:pt x="8" y="62"/>
                  </a:lnTo>
                  <a:lnTo>
                    <a:pt x="6" y="64"/>
                  </a:lnTo>
                  <a:lnTo>
                    <a:pt x="4" y="64"/>
                  </a:lnTo>
                  <a:lnTo>
                    <a:pt x="4" y="66"/>
                  </a:lnTo>
                  <a:lnTo>
                    <a:pt x="2" y="68"/>
                  </a:lnTo>
                  <a:lnTo>
                    <a:pt x="0" y="72"/>
                  </a:lnTo>
                  <a:lnTo>
                    <a:pt x="4" y="76"/>
                  </a:lnTo>
                  <a:lnTo>
                    <a:pt x="10" y="76"/>
                  </a:lnTo>
                  <a:lnTo>
                    <a:pt x="12" y="74"/>
                  </a:lnTo>
                  <a:lnTo>
                    <a:pt x="12" y="72"/>
                  </a:lnTo>
                  <a:lnTo>
                    <a:pt x="14" y="72"/>
                  </a:lnTo>
                  <a:lnTo>
                    <a:pt x="16" y="72"/>
                  </a:lnTo>
                  <a:lnTo>
                    <a:pt x="18" y="72"/>
                  </a:lnTo>
                  <a:lnTo>
                    <a:pt x="20" y="72"/>
                  </a:lnTo>
                  <a:lnTo>
                    <a:pt x="22" y="72"/>
                  </a:lnTo>
                  <a:lnTo>
                    <a:pt x="26" y="74"/>
                  </a:lnTo>
                  <a:lnTo>
                    <a:pt x="30" y="74"/>
                  </a:lnTo>
                  <a:lnTo>
                    <a:pt x="32" y="72"/>
                  </a:lnTo>
                  <a:lnTo>
                    <a:pt x="40" y="64"/>
                  </a:lnTo>
                  <a:lnTo>
                    <a:pt x="40" y="60"/>
                  </a:lnTo>
                  <a:lnTo>
                    <a:pt x="44" y="50"/>
                  </a:lnTo>
                  <a:lnTo>
                    <a:pt x="46" y="46"/>
                  </a:lnTo>
                  <a:lnTo>
                    <a:pt x="48" y="44"/>
                  </a:lnTo>
                  <a:lnTo>
                    <a:pt x="50" y="42"/>
                  </a:lnTo>
                  <a:lnTo>
                    <a:pt x="50" y="40"/>
                  </a:lnTo>
                  <a:lnTo>
                    <a:pt x="52" y="38"/>
                  </a:lnTo>
                  <a:lnTo>
                    <a:pt x="52" y="36"/>
                  </a:lnTo>
                  <a:lnTo>
                    <a:pt x="52" y="34"/>
                  </a:lnTo>
                  <a:lnTo>
                    <a:pt x="52" y="32"/>
                  </a:lnTo>
                  <a:close/>
                </a:path>
              </a:pathLst>
            </a:custGeom>
            <a:grp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81" name="Guyana" descr="© INSCALE GmbH, 05.05.2010&#10;http://www.presentationload.com/">
              <a:extLst>
                <a:ext uri="{FF2B5EF4-FFF2-40B4-BE49-F238E27FC236}">
                  <a16:creationId xmlns:a16="http://schemas.microsoft.com/office/drawing/2014/main" id="{8AD79F22-DA1F-97A0-151E-F6CD16FAD36A}"/>
                </a:ext>
              </a:extLst>
            </p:cNvPr>
            <p:cNvSpPr>
              <a:spLocks/>
            </p:cNvSpPr>
            <p:nvPr/>
          </p:nvSpPr>
          <p:spPr bwMode="gray">
            <a:xfrm>
              <a:off x="2579582" y="2960544"/>
              <a:ext cx="123038" cy="220874"/>
            </a:xfrm>
            <a:custGeom>
              <a:avLst/>
              <a:gdLst>
                <a:gd name="T0" fmla="*/ 2147483647 w 324"/>
                <a:gd name="T1" fmla="*/ 2147483647 h 582"/>
                <a:gd name="T2" fmla="*/ 2147483647 w 324"/>
                <a:gd name="T3" fmla="*/ 2147483647 h 582"/>
                <a:gd name="T4" fmla="*/ 2147483647 w 324"/>
                <a:gd name="T5" fmla="*/ 2147483647 h 582"/>
                <a:gd name="T6" fmla="*/ 2147483647 w 324"/>
                <a:gd name="T7" fmla="*/ 2147483647 h 582"/>
                <a:gd name="T8" fmla="*/ 2147483647 w 324"/>
                <a:gd name="T9" fmla="*/ 2147483647 h 582"/>
                <a:gd name="T10" fmla="*/ 2147483647 w 324"/>
                <a:gd name="T11" fmla="*/ 2147483647 h 582"/>
                <a:gd name="T12" fmla="*/ 2147483647 w 324"/>
                <a:gd name="T13" fmla="*/ 2147483647 h 582"/>
                <a:gd name="T14" fmla="*/ 2147483647 w 324"/>
                <a:gd name="T15" fmla="*/ 2147483647 h 582"/>
                <a:gd name="T16" fmla="*/ 0 w 324"/>
                <a:gd name="T17" fmla="*/ 2147483647 h 582"/>
                <a:gd name="T18" fmla="*/ 2147483647 w 324"/>
                <a:gd name="T19" fmla="*/ 2147483647 h 582"/>
                <a:gd name="T20" fmla="*/ 2147483647 w 324"/>
                <a:gd name="T21" fmla="*/ 2147483647 h 582"/>
                <a:gd name="T22" fmla="*/ 2147483647 w 324"/>
                <a:gd name="T23" fmla="*/ 2147483647 h 582"/>
                <a:gd name="T24" fmla="*/ 2147483647 w 324"/>
                <a:gd name="T25" fmla="*/ 2147483647 h 582"/>
                <a:gd name="T26" fmla="*/ 2147483647 w 324"/>
                <a:gd name="T27" fmla="*/ 2147483647 h 582"/>
                <a:gd name="T28" fmla="*/ 2147483647 w 324"/>
                <a:gd name="T29" fmla="*/ 2147483647 h 582"/>
                <a:gd name="T30" fmla="*/ 2147483647 w 324"/>
                <a:gd name="T31" fmla="*/ 2147483647 h 582"/>
                <a:gd name="T32" fmla="*/ 2147483647 w 324"/>
                <a:gd name="T33" fmla="*/ 2147483647 h 582"/>
                <a:gd name="T34" fmla="*/ 2147483647 w 324"/>
                <a:gd name="T35" fmla="*/ 2147483647 h 582"/>
                <a:gd name="T36" fmla="*/ 2147483647 w 324"/>
                <a:gd name="T37" fmla="*/ 2147483647 h 582"/>
                <a:gd name="T38" fmla="*/ 2147483647 w 324"/>
                <a:gd name="T39" fmla="*/ 2147483647 h 582"/>
                <a:gd name="T40" fmla="*/ 2147483647 w 324"/>
                <a:gd name="T41" fmla="*/ 2147483647 h 582"/>
                <a:gd name="T42" fmla="*/ 2147483647 w 324"/>
                <a:gd name="T43" fmla="*/ 2147483647 h 582"/>
                <a:gd name="T44" fmla="*/ 2147483647 w 324"/>
                <a:gd name="T45" fmla="*/ 2147483647 h 582"/>
                <a:gd name="T46" fmla="*/ 2147483647 w 324"/>
                <a:gd name="T47" fmla="*/ 2147483647 h 582"/>
                <a:gd name="T48" fmla="*/ 2147483647 w 324"/>
                <a:gd name="T49" fmla="*/ 2147483647 h 582"/>
                <a:gd name="T50" fmla="*/ 2147483647 w 324"/>
                <a:gd name="T51" fmla="*/ 2147483647 h 582"/>
                <a:gd name="T52" fmla="*/ 2147483647 w 324"/>
                <a:gd name="T53" fmla="*/ 2147483647 h 582"/>
                <a:gd name="T54" fmla="*/ 2147483647 w 324"/>
                <a:gd name="T55" fmla="*/ 2147483647 h 582"/>
                <a:gd name="T56" fmla="*/ 2147483647 w 324"/>
                <a:gd name="T57" fmla="*/ 2147483647 h 582"/>
                <a:gd name="T58" fmla="*/ 2147483647 w 324"/>
                <a:gd name="T59" fmla="*/ 2147483647 h 582"/>
                <a:gd name="T60" fmla="*/ 2147483647 w 324"/>
                <a:gd name="T61" fmla="*/ 2147483647 h 582"/>
                <a:gd name="T62" fmla="*/ 2147483647 w 324"/>
                <a:gd name="T63" fmla="*/ 2147483647 h 582"/>
                <a:gd name="T64" fmla="*/ 2147483647 w 324"/>
                <a:gd name="T65" fmla="*/ 2147483647 h 582"/>
                <a:gd name="T66" fmla="*/ 2147483647 w 324"/>
                <a:gd name="T67" fmla="*/ 2147483647 h 582"/>
                <a:gd name="T68" fmla="*/ 2147483647 w 324"/>
                <a:gd name="T69" fmla="*/ 2147483647 h 582"/>
                <a:gd name="T70" fmla="*/ 2147483647 w 324"/>
                <a:gd name="T71" fmla="*/ 2147483647 h 582"/>
                <a:gd name="T72" fmla="*/ 2147483647 w 324"/>
                <a:gd name="T73" fmla="*/ 2147483647 h 582"/>
                <a:gd name="T74" fmla="*/ 2147483647 w 324"/>
                <a:gd name="T75" fmla="*/ 2147483647 h 582"/>
                <a:gd name="T76" fmla="*/ 2147483647 w 324"/>
                <a:gd name="T77" fmla="*/ 2147483647 h 582"/>
                <a:gd name="T78" fmla="*/ 2147483647 w 324"/>
                <a:gd name="T79" fmla="*/ 2147483647 h 582"/>
                <a:gd name="T80" fmla="*/ 2147483647 w 324"/>
                <a:gd name="T81" fmla="*/ 2147483647 h 582"/>
                <a:gd name="T82" fmla="*/ 2147483647 w 324"/>
                <a:gd name="T83" fmla="*/ 2147483647 h 582"/>
                <a:gd name="T84" fmla="*/ 2147483647 w 324"/>
                <a:gd name="T85" fmla="*/ 2147483647 h 582"/>
                <a:gd name="T86" fmla="*/ 2147483647 w 324"/>
                <a:gd name="T87" fmla="*/ 2147483647 h 582"/>
                <a:gd name="T88" fmla="*/ 2147483647 w 324"/>
                <a:gd name="T89" fmla="*/ 2147483647 h 582"/>
                <a:gd name="T90" fmla="*/ 2147483647 w 324"/>
                <a:gd name="T91" fmla="*/ 2147483647 h 582"/>
                <a:gd name="T92" fmla="*/ 2147483647 w 324"/>
                <a:gd name="T93" fmla="*/ 2147483647 h 582"/>
                <a:gd name="T94" fmla="*/ 2147483647 w 324"/>
                <a:gd name="T95" fmla="*/ 2147483647 h 582"/>
                <a:gd name="T96" fmla="*/ 2147483647 w 324"/>
                <a:gd name="T97" fmla="*/ 2147483647 h 582"/>
                <a:gd name="T98" fmla="*/ 2147483647 w 324"/>
                <a:gd name="T99" fmla="*/ 2147483647 h 582"/>
                <a:gd name="T100" fmla="*/ 2147483647 w 324"/>
                <a:gd name="T101" fmla="*/ 2147483647 h 582"/>
                <a:gd name="T102" fmla="*/ 2147483647 w 324"/>
                <a:gd name="T103" fmla="*/ 2147483647 h 582"/>
                <a:gd name="T104" fmla="*/ 2147483647 w 324"/>
                <a:gd name="T105" fmla="*/ 2147483647 h 582"/>
                <a:gd name="T106" fmla="*/ 2147483647 w 324"/>
                <a:gd name="T107" fmla="*/ 2147483647 h 582"/>
                <a:gd name="T108" fmla="*/ 2147483647 w 324"/>
                <a:gd name="T109" fmla="*/ 2147483647 h 582"/>
                <a:gd name="T110" fmla="*/ 2147483647 w 324"/>
                <a:gd name="T111" fmla="*/ 2147483647 h 582"/>
                <a:gd name="T112" fmla="*/ 2147483647 w 324"/>
                <a:gd name="T113" fmla="*/ 2147483647 h 582"/>
                <a:gd name="T114" fmla="*/ 2147483647 w 324"/>
                <a:gd name="T115" fmla="*/ 2147483647 h 582"/>
                <a:gd name="T116" fmla="*/ 2147483647 w 324"/>
                <a:gd name="T117" fmla="*/ 2147483647 h 582"/>
                <a:gd name="T118" fmla="*/ 2147483647 w 324"/>
                <a:gd name="T119" fmla="*/ 2147483647 h 582"/>
                <a:gd name="T120" fmla="*/ 2147483647 w 324"/>
                <a:gd name="T121" fmla="*/ 2147483647 h 582"/>
                <a:gd name="T122" fmla="*/ 2147483647 w 324"/>
                <a:gd name="T123" fmla="*/ 0 h 582"/>
                <a:gd name="T124" fmla="*/ 2147483647 w 324"/>
                <a:gd name="T125" fmla="*/ 2147483647 h 58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24"/>
                <a:gd name="T190" fmla="*/ 0 h 582"/>
                <a:gd name="T191" fmla="*/ 324 w 324"/>
                <a:gd name="T192" fmla="*/ 582 h 58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24" h="582">
                  <a:moveTo>
                    <a:pt x="90" y="42"/>
                  </a:moveTo>
                  <a:lnTo>
                    <a:pt x="84" y="48"/>
                  </a:lnTo>
                  <a:lnTo>
                    <a:pt x="72" y="48"/>
                  </a:lnTo>
                  <a:lnTo>
                    <a:pt x="60" y="60"/>
                  </a:lnTo>
                  <a:lnTo>
                    <a:pt x="60" y="102"/>
                  </a:lnTo>
                  <a:lnTo>
                    <a:pt x="84" y="102"/>
                  </a:lnTo>
                  <a:lnTo>
                    <a:pt x="84" y="120"/>
                  </a:lnTo>
                  <a:lnTo>
                    <a:pt x="78" y="126"/>
                  </a:lnTo>
                  <a:lnTo>
                    <a:pt x="66" y="132"/>
                  </a:lnTo>
                  <a:lnTo>
                    <a:pt x="54" y="132"/>
                  </a:lnTo>
                  <a:lnTo>
                    <a:pt x="42" y="138"/>
                  </a:lnTo>
                  <a:lnTo>
                    <a:pt x="12" y="138"/>
                  </a:lnTo>
                  <a:lnTo>
                    <a:pt x="12" y="144"/>
                  </a:lnTo>
                  <a:lnTo>
                    <a:pt x="30" y="162"/>
                  </a:lnTo>
                  <a:lnTo>
                    <a:pt x="30" y="180"/>
                  </a:lnTo>
                  <a:lnTo>
                    <a:pt x="18" y="186"/>
                  </a:lnTo>
                  <a:lnTo>
                    <a:pt x="12" y="186"/>
                  </a:lnTo>
                  <a:lnTo>
                    <a:pt x="0" y="192"/>
                  </a:lnTo>
                  <a:lnTo>
                    <a:pt x="0" y="204"/>
                  </a:lnTo>
                  <a:lnTo>
                    <a:pt x="6" y="210"/>
                  </a:lnTo>
                  <a:lnTo>
                    <a:pt x="12" y="222"/>
                  </a:lnTo>
                  <a:lnTo>
                    <a:pt x="48" y="258"/>
                  </a:lnTo>
                  <a:lnTo>
                    <a:pt x="72" y="264"/>
                  </a:lnTo>
                  <a:lnTo>
                    <a:pt x="78" y="252"/>
                  </a:lnTo>
                  <a:lnTo>
                    <a:pt x="90" y="264"/>
                  </a:lnTo>
                  <a:lnTo>
                    <a:pt x="96" y="276"/>
                  </a:lnTo>
                  <a:lnTo>
                    <a:pt x="96" y="294"/>
                  </a:lnTo>
                  <a:lnTo>
                    <a:pt x="90" y="306"/>
                  </a:lnTo>
                  <a:lnTo>
                    <a:pt x="84" y="312"/>
                  </a:lnTo>
                  <a:lnTo>
                    <a:pt x="84" y="318"/>
                  </a:lnTo>
                  <a:lnTo>
                    <a:pt x="90" y="324"/>
                  </a:lnTo>
                  <a:lnTo>
                    <a:pt x="96" y="324"/>
                  </a:lnTo>
                  <a:lnTo>
                    <a:pt x="108" y="318"/>
                  </a:lnTo>
                  <a:lnTo>
                    <a:pt x="114" y="318"/>
                  </a:lnTo>
                  <a:lnTo>
                    <a:pt x="114" y="348"/>
                  </a:lnTo>
                  <a:lnTo>
                    <a:pt x="120" y="354"/>
                  </a:lnTo>
                  <a:lnTo>
                    <a:pt x="126" y="354"/>
                  </a:lnTo>
                  <a:lnTo>
                    <a:pt x="126" y="366"/>
                  </a:lnTo>
                  <a:lnTo>
                    <a:pt x="120" y="378"/>
                  </a:lnTo>
                  <a:lnTo>
                    <a:pt x="108" y="390"/>
                  </a:lnTo>
                  <a:lnTo>
                    <a:pt x="96" y="432"/>
                  </a:lnTo>
                  <a:lnTo>
                    <a:pt x="90" y="444"/>
                  </a:lnTo>
                  <a:lnTo>
                    <a:pt x="90" y="450"/>
                  </a:lnTo>
                  <a:lnTo>
                    <a:pt x="84" y="462"/>
                  </a:lnTo>
                  <a:lnTo>
                    <a:pt x="84" y="468"/>
                  </a:lnTo>
                  <a:lnTo>
                    <a:pt x="90" y="480"/>
                  </a:lnTo>
                  <a:lnTo>
                    <a:pt x="114" y="504"/>
                  </a:lnTo>
                  <a:lnTo>
                    <a:pt x="114" y="534"/>
                  </a:lnTo>
                  <a:lnTo>
                    <a:pt x="144" y="570"/>
                  </a:lnTo>
                  <a:lnTo>
                    <a:pt x="156" y="570"/>
                  </a:lnTo>
                  <a:lnTo>
                    <a:pt x="162" y="582"/>
                  </a:lnTo>
                  <a:lnTo>
                    <a:pt x="198" y="582"/>
                  </a:lnTo>
                  <a:lnTo>
                    <a:pt x="204" y="576"/>
                  </a:lnTo>
                  <a:lnTo>
                    <a:pt x="204" y="564"/>
                  </a:lnTo>
                  <a:lnTo>
                    <a:pt x="216" y="552"/>
                  </a:lnTo>
                  <a:lnTo>
                    <a:pt x="234" y="552"/>
                  </a:lnTo>
                  <a:lnTo>
                    <a:pt x="240" y="540"/>
                  </a:lnTo>
                  <a:lnTo>
                    <a:pt x="270" y="540"/>
                  </a:lnTo>
                  <a:lnTo>
                    <a:pt x="270" y="534"/>
                  </a:lnTo>
                  <a:lnTo>
                    <a:pt x="288" y="516"/>
                  </a:lnTo>
                  <a:lnTo>
                    <a:pt x="300" y="516"/>
                  </a:lnTo>
                  <a:lnTo>
                    <a:pt x="312" y="528"/>
                  </a:lnTo>
                  <a:lnTo>
                    <a:pt x="318" y="528"/>
                  </a:lnTo>
                  <a:lnTo>
                    <a:pt x="324" y="522"/>
                  </a:lnTo>
                  <a:lnTo>
                    <a:pt x="324" y="510"/>
                  </a:lnTo>
                  <a:lnTo>
                    <a:pt x="318" y="504"/>
                  </a:lnTo>
                  <a:lnTo>
                    <a:pt x="312" y="492"/>
                  </a:lnTo>
                  <a:lnTo>
                    <a:pt x="306" y="474"/>
                  </a:lnTo>
                  <a:lnTo>
                    <a:pt x="288" y="456"/>
                  </a:lnTo>
                  <a:lnTo>
                    <a:pt x="282" y="444"/>
                  </a:lnTo>
                  <a:lnTo>
                    <a:pt x="282" y="420"/>
                  </a:lnTo>
                  <a:lnTo>
                    <a:pt x="288" y="414"/>
                  </a:lnTo>
                  <a:lnTo>
                    <a:pt x="288" y="396"/>
                  </a:lnTo>
                  <a:lnTo>
                    <a:pt x="276" y="408"/>
                  </a:lnTo>
                  <a:lnTo>
                    <a:pt x="276" y="414"/>
                  </a:lnTo>
                  <a:lnTo>
                    <a:pt x="264" y="414"/>
                  </a:lnTo>
                  <a:lnTo>
                    <a:pt x="258" y="402"/>
                  </a:lnTo>
                  <a:lnTo>
                    <a:pt x="252" y="396"/>
                  </a:lnTo>
                  <a:lnTo>
                    <a:pt x="246" y="384"/>
                  </a:lnTo>
                  <a:lnTo>
                    <a:pt x="246" y="372"/>
                  </a:lnTo>
                  <a:lnTo>
                    <a:pt x="240" y="372"/>
                  </a:lnTo>
                  <a:lnTo>
                    <a:pt x="240" y="366"/>
                  </a:lnTo>
                  <a:lnTo>
                    <a:pt x="234" y="360"/>
                  </a:lnTo>
                  <a:lnTo>
                    <a:pt x="234" y="348"/>
                  </a:lnTo>
                  <a:lnTo>
                    <a:pt x="240" y="336"/>
                  </a:lnTo>
                  <a:lnTo>
                    <a:pt x="246" y="330"/>
                  </a:lnTo>
                  <a:lnTo>
                    <a:pt x="246" y="288"/>
                  </a:lnTo>
                  <a:lnTo>
                    <a:pt x="252" y="282"/>
                  </a:lnTo>
                  <a:lnTo>
                    <a:pt x="264" y="276"/>
                  </a:lnTo>
                  <a:lnTo>
                    <a:pt x="294" y="276"/>
                  </a:lnTo>
                  <a:lnTo>
                    <a:pt x="300" y="270"/>
                  </a:lnTo>
                  <a:lnTo>
                    <a:pt x="300" y="258"/>
                  </a:lnTo>
                  <a:lnTo>
                    <a:pt x="288" y="246"/>
                  </a:lnTo>
                  <a:lnTo>
                    <a:pt x="288" y="234"/>
                  </a:lnTo>
                  <a:lnTo>
                    <a:pt x="294" y="222"/>
                  </a:lnTo>
                  <a:lnTo>
                    <a:pt x="300" y="216"/>
                  </a:lnTo>
                  <a:lnTo>
                    <a:pt x="306" y="204"/>
                  </a:lnTo>
                  <a:lnTo>
                    <a:pt x="306" y="192"/>
                  </a:lnTo>
                  <a:lnTo>
                    <a:pt x="300" y="180"/>
                  </a:lnTo>
                  <a:lnTo>
                    <a:pt x="294" y="174"/>
                  </a:lnTo>
                  <a:lnTo>
                    <a:pt x="276" y="174"/>
                  </a:lnTo>
                  <a:lnTo>
                    <a:pt x="270" y="180"/>
                  </a:lnTo>
                  <a:lnTo>
                    <a:pt x="270" y="156"/>
                  </a:lnTo>
                  <a:lnTo>
                    <a:pt x="258" y="150"/>
                  </a:lnTo>
                  <a:lnTo>
                    <a:pt x="252" y="138"/>
                  </a:lnTo>
                  <a:lnTo>
                    <a:pt x="234" y="132"/>
                  </a:lnTo>
                  <a:lnTo>
                    <a:pt x="216" y="132"/>
                  </a:lnTo>
                  <a:lnTo>
                    <a:pt x="204" y="138"/>
                  </a:lnTo>
                  <a:lnTo>
                    <a:pt x="198" y="150"/>
                  </a:lnTo>
                  <a:lnTo>
                    <a:pt x="198" y="156"/>
                  </a:lnTo>
                  <a:lnTo>
                    <a:pt x="192" y="162"/>
                  </a:lnTo>
                  <a:lnTo>
                    <a:pt x="192" y="168"/>
                  </a:lnTo>
                  <a:lnTo>
                    <a:pt x="192" y="162"/>
                  </a:lnTo>
                  <a:lnTo>
                    <a:pt x="198" y="156"/>
                  </a:lnTo>
                  <a:lnTo>
                    <a:pt x="198" y="144"/>
                  </a:lnTo>
                  <a:lnTo>
                    <a:pt x="204" y="132"/>
                  </a:lnTo>
                  <a:lnTo>
                    <a:pt x="204" y="114"/>
                  </a:lnTo>
                  <a:lnTo>
                    <a:pt x="210" y="102"/>
                  </a:lnTo>
                  <a:lnTo>
                    <a:pt x="210" y="78"/>
                  </a:lnTo>
                  <a:lnTo>
                    <a:pt x="192" y="42"/>
                  </a:lnTo>
                  <a:lnTo>
                    <a:pt x="180" y="30"/>
                  </a:lnTo>
                  <a:lnTo>
                    <a:pt x="132" y="6"/>
                  </a:lnTo>
                  <a:lnTo>
                    <a:pt x="126" y="0"/>
                  </a:lnTo>
                  <a:lnTo>
                    <a:pt x="120" y="0"/>
                  </a:lnTo>
                  <a:lnTo>
                    <a:pt x="102" y="36"/>
                  </a:lnTo>
                  <a:lnTo>
                    <a:pt x="96" y="42"/>
                  </a:lnTo>
                  <a:lnTo>
                    <a:pt x="90" y="42"/>
                  </a:lnTo>
                  <a:close/>
                </a:path>
              </a:pathLst>
            </a:custGeom>
            <a:solidFill>
              <a:srgbClr val="F2F2F2"/>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82" name="Guinea-Bissau" descr="© INSCALE GmbH, 05.05.2010&#10;http://www.presentationload.com/">
              <a:extLst>
                <a:ext uri="{FF2B5EF4-FFF2-40B4-BE49-F238E27FC236}">
                  <a16:creationId xmlns:a16="http://schemas.microsoft.com/office/drawing/2014/main" id="{F2903689-36AF-7755-7FEB-68BD888CF77C}"/>
                </a:ext>
              </a:extLst>
            </p:cNvPr>
            <p:cNvSpPr>
              <a:spLocks/>
            </p:cNvSpPr>
            <p:nvPr/>
          </p:nvSpPr>
          <p:spPr bwMode="gray">
            <a:xfrm>
              <a:off x="3799574" y="2828614"/>
              <a:ext cx="69672" cy="59295"/>
            </a:xfrm>
            <a:custGeom>
              <a:avLst/>
              <a:gdLst>
                <a:gd name="T0" fmla="*/ 2147483647 w 186"/>
                <a:gd name="T1" fmla="*/ 2147483647 h 156"/>
                <a:gd name="T2" fmla="*/ 2147483647 w 186"/>
                <a:gd name="T3" fmla="*/ 2147483647 h 156"/>
                <a:gd name="T4" fmla="*/ 2147483647 w 186"/>
                <a:gd name="T5" fmla="*/ 2147483647 h 156"/>
                <a:gd name="T6" fmla="*/ 2147483647 w 186"/>
                <a:gd name="T7" fmla="*/ 2147483647 h 156"/>
                <a:gd name="T8" fmla="*/ 2147483647 w 186"/>
                <a:gd name="T9" fmla="*/ 2147483647 h 156"/>
                <a:gd name="T10" fmla="*/ 2147483647 w 186"/>
                <a:gd name="T11" fmla="*/ 2147483647 h 156"/>
                <a:gd name="T12" fmla="*/ 2147483647 w 186"/>
                <a:gd name="T13" fmla="*/ 2147483647 h 156"/>
                <a:gd name="T14" fmla="*/ 2147483647 w 186"/>
                <a:gd name="T15" fmla="*/ 2147483647 h 156"/>
                <a:gd name="T16" fmla="*/ 2147483647 w 186"/>
                <a:gd name="T17" fmla="*/ 2147483647 h 156"/>
                <a:gd name="T18" fmla="*/ 2147483647 w 186"/>
                <a:gd name="T19" fmla="*/ 2147483647 h 156"/>
                <a:gd name="T20" fmla="*/ 2147483647 w 186"/>
                <a:gd name="T21" fmla="*/ 2147483647 h 156"/>
                <a:gd name="T22" fmla="*/ 2147483647 w 186"/>
                <a:gd name="T23" fmla="*/ 2147483647 h 156"/>
                <a:gd name="T24" fmla="*/ 2147483647 w 186"/>
                <a:gd name="T25" fmla="*/ 2147483647 h 156"/>
                <a:gd name="T26" fmla="*/ 2147483647 w 186"/>
                <a:gd name="T27" fmla="*/ 2147483647 h 156"/>
                <a:gd name="T28" fmla="*/ 2147483647 w 186"/>
                <a:gd name="T29" fmla="*/ 0 h 156"/>
                <a:gd name="T30" fmla="*/ 2147483647 w 186"/>
                <a:gd name="T31" fmla="*/ 2147483647 h 156"/>
                <a:gd name="T32" fmla="*/ 2147483647 w 186"/>
                <a:gd name="T33" fmla="*/ 2147483647 h 156"/>
                <a:gd name="T34" fmla="*/ 2147483647 w 186"/>
                <a:gd name="T35" fmla="*/ 2147483647 h 156"/>
                <a:gd name="T36" fmla="*/ 0 w 186"/>
                <a:gd name="T37" fmla="*/ 2147483647 h 156"/>
                <a:gd name="T38" fmla="*/ 2147483647 w 186"/>
                <a:gd name="T39" fmla="*/ 2147483647 h 156"/>
                <a:gd name="T40" fmla="*/ 2147483647 w 186"/>
                <a:gd name="T41" fmla="*/ 2147483647 h 156"/>
                <a:gd name="T42" fmla="*/ 2147483647 w 186"/>
                <a:gd name="T43" fmla="*/ 2147483647 h 156"/>
                <a:gd name="T44" fmla="*/ 2147483647 w 186"/>
                <a:gd name="T45" fmla="*/ 2147483647 h 156"/>
                <a:gd name="T46" fmla="*/ 2147483647 w 186"/>
                <a:gd name="T47" fmla="*/ 2147483647 h 156"/>
                <a:gd name="T48" fmla="*/ 2147483647 w 186"/>
                <a:gd name="T49" fmla="*/ 2147483647 h 156"/>
                <a:gd name="T50" fmla="*/ 2147483647 w 186"/>
                <a:gd name="T51" fmla="*/ 2147483647 h 156"/>
                <a:gd name="T52" fmla="*/ 2147483647 w 186"/>
                <a:gd name="T53" fmla="*/ 2147483647 h 156"/>
                <a:gd name="T54" fmla="*/ 2147483647 w 186"/>
                <a:gd name="T55" fmla="*/ 2147483647 h 156"/>
                <a:gd name="T56" fmla="*/ 2147483647 w 186"/>
                <a:gd name="T57" fmla="*/ 2147483647 h 156"/>
                <a:gd name="T58" fmla="*/ 2147483647 w 186"/>
                <a:gd name="T59" fmla="*/ 2147483647 h 156"/>
                <a:gd name="T60" fmla="*/ 2147483647 w 186"/>
                <a:gd name="T61" fmla="*/ 2147483647 h 156"/>
                <a:gd name="T62" fmla="*/ 2147483647 w 186"/>
                <a:gd name="T63" fmla="*/ 2147483647 h 156"/>
                <a:gd name="T64" fmla="*/ 2147483647 w 186"/>
                <a:gd name="T65" fmla="*/ 2147483647 h 156"/>
                <a:gd name="T66" fmla="*/ 2147483647 w 186"/>
                <a:gd name="T67" fmla="*/ 2147483647 h 156"/>
                <a:gd name="T68" fmla="*/ 2147483647 w 186"/>
                <a:gd name="T69" fmla="*/ 2147483647 h 156"/>
                <a:gd name="T70" fmla="*/ 2147483647 w 186"/>
                <a:gd name="T71" fmla="*/ 2147483647 h 156"/>
                <a:gd name="T72" fmla="*/ 2147483647 w 186"/>
                <a:gd name="T73" fmla="*/ 2147483647 h 1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6"/>
                <a:gd name="T112" fmla="*/ 0 h 156"/>
                <a:gd name="T113" fmla="*/ 186 w 186"/>
                <a:gd name="T114" fmla="*/ 156 h 1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6" h="156">
                  <a:moveTo>
                    <a:pt x="126" y="102"/>
                  </a:moveTo>
                  <a:lnTo>
                    <a:pt x="132" y="96"/>
                  </a:lnTo>
                  <a:lnTo>
                    <a:pt x="144" y="90"/>
                  </a:lnTo>
                  <a:lnTo>
                    <a:pt x="174" y="90"/>
                  </a:lnTo>
                  <a:lnTo>
                    <a:pt x="180" y="84"/>
                  </a:lnTo>
                  <a:lnTo>
                    <a:pt x="186" y="72"/>
                  </a:lnTo>
                  <a:lnTo>
                    <a:pt x="186" y="66"/>
                  </a:lnTo>
                  <a:lnTo>
                    <a:pt x="180" y="60"/>
                  </a:lnTo>
                  <a:lnTo>
                    <a:pt x="168" y="54"/>
                  </a:lnTo>
                  <a:lnTo>
                    <a:pt x="162" y="48"/>
                  </a:lnTo>
                  <a:lnTo>
                    <a:pt x="162" y="36"/>
                  </a:lnTo>
                  <a:lnTo>
                    <a:pt x="168" y="30"/>
                  </a:lnTo>
                  <a:lnTo>
                    <a:pt x="186" y="30"/>
                  </a:lnTo>
                  <a:lnTo>
                    <a:pt x="186" y="6"/>
                  </a:lnTo>
                  <a:lnTo>
                    <a:pt x="84" y="0"/>
                  </a:lnTo>
                  <a:lnTo>
                    <a:pt x="54" y="24"/>
                  </a:lnTo>
                  <a:lnTo>
                    <a:pt x="18" y="24"/>
                  </a:lnTo>
                  <a:lnTo>
                    <a:pt x="6" y="36"/>
                  </a:lnTo>
                  <a:lnTo>
                    <a:pt x="0" y="72"/>
                  </a:lnTo>
                  <a:lnTo>
                    <a:pt x="6" y="78"/>
                  </a:lnTo>
                  <a:lnTo>
                    <a:pt x="18" y="78"/>
                  </a:lnTo>
                  <a:lnTo>
                    <a:pt x="42" y="66"/>
                  </a:lnTo>
                  <a:lnTo>
                    <a:pt x="66" y="66"/>
                  </a:lnTo>
                  <a:lnTo>
                    <a:pt x="90" y="60"/>
                  </a:lnTo>
                  <a:lnTo>
                    <a:pt x="90" y="84"/>
                  </a:lnTo>
                  <a:lnTo>
                    <a:pt x="78" y="78"/>
                  </a:lnTo>
                  <a:lnTo>
                    <a:pt x="72" y="78"/>
                  </a:lnTo>
                  <a:lnTo>
                    <a:pt x="66" y="72"/>
                  </a:lnTo>
                  <a:lnTo>
                    <a:pt x="54" y="72"/>
                  </a:lnTo>
                  <a:lnTo>
                    <a:pt x="54" y="96"/>
                  </a:lnTo>
                  <a:lnTo>
                    <a:pt x="60" y="102"/>
                  </a:lnTo>
                  <a:lnTo>
                    <a:pt x="90" y="96"/>
                  </a:lnTo>
                  <a:lnTo>
                    <a:pt x="54" y="114"/>
                  </a:lnTo>
                  <a:lnTo>
                    <a:pt x="84" y="156"/>
                  </a:lnTo>
                  <a:lnTo>
                    <a:pt x="90" y="132"/>
                  </a:lnTo>
                  <a:lnTo>
                    <a:pt x="108" y="102"/>
                  </a:lnTo>
                  <a:lnTo>
                    <a:pt x="126" y="102"/>
                  </a:lnTo>
                  <a:close/>
                </a:path>
              </a:pathLst>
            </a:custGeom>
            <a:solidFill>
              <a:srgbClr val="F2F2F2"/>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83" name="Guinea" descr="© INSCALE GmbH, 05.05.2010&#10;http://www.presentationload.com/">
              <a:extLst>
                <a:ext uri="{FF2B5EF4-FFF2-40B4-BE49-F238E27FC236}">
                  <a16:creationId xmlns:a16="http://schemas.microsoft.com/office/drawing/2014/main" id="{D5FC572F-0F78-B607-D61E-BC70917F3A8B}"/>
                </a:ext>
              </a:extLst>
            </p:cNvPr>
            <p:cNvSpPr>
              <a:spLocks/>
            </p:cNvSpPr>
            <p:nvPr/>
          </p:nvSpPr>
          <p:spPr bwMode="gray">
            <a:xfrm>
              <a:off x="3833669" y="2831578"/>
              <a:ext cx="197155" cy="167509"/>
            </a:xfrm>
            <a:custGeom>
              <a:avLst/>
              <a:gdLst>
                <a:gd name="T0" fmla="*/ 2147483647 w 522"/>
                <a:gd name="T1" fmla="*/ 2147483647 h 444"/>
                <a:gd name="T2" fmla="*/ 2147483647 w 522"/>
                <a:gd name="T3" fmla="*/ 2147483647 h 444"/>
                <a:gd name="T4" fmla="*/ 2147483647 w 522"/>
                <a:gd name="T5" fmla="*/ 2147483647 h 444"/>
                <a:gd name="T6" fmla="*/ 2147483647 w 522"/>
                <a:gd name="T7" fmla="*/ 2147483647 h 444"/>
                <a:gd name="T8" fmla="*/ 2147483647 w 522"/>
                <a:gd name="T9" fmla="*/ 2147483647 h 444"/>
                <a:gd name="T10" fmla="*/ 2147483647 w 522"/>
                <a:gd name="T11" fmla="*/ 2147483647 h 444"/>
                <a:gd name="T12" fmla="*/ 2147483647 w 522"/>
                <a:gd name="T13" fmla="*/ 2147483647 h 444"/>
                <a:gd name="T14" fmla="*/ 2147483647 w 522"/>
                <a:gd name="T15" fmla="*/ 2147483647 h 444"/>
                <a:gd name="T16" fmla="*/ 2147483647 w 522"/>
                <a:gd name="T17" fmla="*/ 2147483647 h 444"/>
                <a:gd name="T18" fmla="*/ 2147483647 w 522"/>
                <a:gd name="T19" fmla="*/ 2147483647 h 444"/>
                <a:gd name="T20" fmla="*/ 2147483647 w 522"/>
                <a:gd name="T21" fmla="*/ 2147483647 h 444"/>
                <a:gd name="T22" fmla="*/ 2147483647 w 522"/>
                <a:gd name="T23" fmla="*/ 2147483647 h 444"/>
                <a:gd name="T24" fmla="*/ 2147483647 w 522"/>
                <a:gd name="T25" fmla="*/ 2147483647 h 444"/>
                <a:gd name="T26" fmla="*/ 2147483647 w 522"/>
                <a:gd name="T27" fmla="*/ 2147483647 h 444"/>
                <a:gd name="T28" fmla="*/ 2147483647 w 522"/>
                <a:gd name="T29" fmla="*/ 2147483647 h 444"/>
                <a:gd name="T30" fmla="*/ 2147483647 w 522"/>
                <a:gd name="T31" fmla="*/ 2147483647 h 444"/>
                <a:gd name="T32" fmla="*/ 2147483647 w 522"/>
                <a:gd name="T33" fmla="*/ 2147483647 h 444"/>
                <a:gd name="T34" fmla="*/ 2147483647 w 522"/>
                <a:gd name="T35" fmla="*/ 2147483647 h 444"/>
                <a:gd name="T36" fmla="*/ 2147483647 w 522"/>
                <a:gd name="T37" fmla="*/ 2147483647 h 444"/>
                <a:gd name="T38" fmla="*/ 2147483647 w 522"/>
                <a:gd name="T39" fmla="*/ 2147483647 h 444"/>
                <a:gd name="T40" fmla="*/ 2147483647 w 522"/>
                <a:gd name="T41" fmla="*/ 2147483647 h 444"/>
                <a:gd name="T42" fmla="*/ 2147483647 w 522"/>
                <a:gd name="T43" fmla="*/ 2147483647 h 444"/>
                <a:gd name="T44" fmla="*/ 2147483647 w 522"/>
                <a:gd name="T45" fmla="*/ 2147483647 h 444"/>
                <a:gd name="T46" fmla="*/ 2147483647 w 522"/>
                <a:gd name="T47" fmla="*/ 2147483647 h 444"/>
                <a:gd name="T48" fmla="*/ 2147483647 w 522"/>
                <a:gd name="T49" fmla="*/ 2147483647 h 444"/>
                <a:gd name="T50" fmla="*/ 2147483647 w 522"/>
                <a:gd name="T51" fmla="*/ 2147483647 h 444"/>
                <a:gd name="T52" fmla="*/ 2147483647 w 522"/>
                <a:gd name="T53" fmla="*/ 2147483647 h 444"/>
                <a:gd name="T54" fmla="*/ 2147483647 w 522"/>
                <a:gd name="T55" fmla="*/ 2147483647 h 444"/>
                <a:gd name="T56" fmla="*/ 2147483647 w 522"/>
                <a:gd name="T57" fmla="*/ 2147483647 h 444"/>
                <a:gd name="T58" fmla="*/ 2147483647 w 522"/>
                <a:gd name="T59" fmla="*/ 2147483647 h 444"/>
                <a:gd name="T60" fmla="*/ 2147483647 w 522"/>
                <a:gd name="T61" fmla="*/ 2147483647 h 444"/>
                <a:gd name="T62" fmla="*/ 2147483647 w 522"/>
                <a:gd name="T63" fmla="*/ 2147483647 h 444"/>
                <a:gd name="T64" fmla="*/ 2147483647 w 522"/>
                <a:gd name="T65" fmla="*/ 2147483647 h 444"/>
                <a:gd name="T66" fmla="*/ 2147483647 w 522"/>
                <a:gd name="T67" fmla="*/ 2147483647 h 444"/>
                <a:gd name="T68" fmla="*/ 2147483647 w 522"/>
                <a:gd name="T69" fmla="*/ 2147483647 h 444"/>
                <a:gd name="T70" fmla="*/ 2147483647 w 522"/>
                <a:gd name="T71" fmla="*/ 2147483647 h 444"/>
                <a:gd name="T72" fmla="*/ 2147483647 w 522"/>
                <a:gd name="T73" fmla="*/ 2147483647 h 444"/>
                <a:gd name="T74" fmla="*/ 2147483647 w 522"/>
                <a:gd name="T75" fmla="*/ 2147483647 h 444"/>
                <a:gd name="T76" fmla="*/ 2147483647 w 522"/>
                <a:gd name="T77" fmla="*/ 2147483647 h 444"/>
                <a:gd name="T78" fmla="*/ 2147483647 w 522"/>
                <a:gd name="T79" fmla="*/ 2147483647 h 444"/>
                <a:gd name="T80" fmla="*/ 2147483647 w 522"/>
                <a:gd name="T81" fmla="*/ 2147483647 h 444"/>
                <a:gd name="T82" fmla="*/ 2147483647 w 522"/>
                <a:gd name="T83" fmla="*/ 2147483647 h 444"/>
                <a:gd name="T84" fmla="*/ 2147483647 w 522"/>
                <a:gd name="T85" fmla="*/ 2147483647 h 444"/>
                <a:gd name="T86" fmla="*/ 2147483647 w 522"/>
                <a:gd name="T87" fmla="*/ 2147483647 h 444"/>
                <a:gd name="T88" fmla="*/ 2147483647 w 522"/>
                <a:gd name="T89" fmla="*/ 2147483647 h 444"/>
                <a:gd name="T90" fmla="*/ 2147483647 w 522"/>
                <a:gd name="T91" fmla="*/ 2147483647 h 444"/>
                <a:gd name="T92" fmla="*/ 2147483647 w 522"/>
                <a:gd name="T93" fmla="*/ 2147483647 h 44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22"/>
                <a:gd name="T142" fmla="*/ 0 h 444"/>
                <a:gd name="T143" fmla="*/ 522 w 522"/>
                <a:gd name="T144" fmla="*/ 444 h 44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22" h="444">
                  <a:moveTo>
                    <a:pt x="96" y="0"/>
                  </a:moveTo>
                  <a:lnTo>
                    <a:pt x="96" y="24"/>
                  </a:lnTo>
                  <a:lnTo>
                    <a:pt x="78" y="24"/>
                  </a:lnTo>
                  <a:lnTo>
                    <a:pt x="72" y="30"/>
                  </a:lnTo>
                  <a:lnTo>
                    <a:pt x="72" y="42"/>
                  </a:lnTo>
                  <a:lnTo>
                    <a:pt x="78" y="48"/>
                  </a:lnTo>
                  <a:lnTo>
                    <a:pt x="90" y="54"/>
                  </a:lnTo>
                  <a:lnTo>
                    <a:pt x="96" y="60"/>
                  </a:lnTo>
                  <a:lnTo>
                    <a:pt x="96" y="66"/>
                  </a:lnTo>
                  <a:lnTo>
                    <a:pt x="90" y="78"/>
                  </a:lnTo>
                  <a:lnTo>
                    <a:pt x="84" y="84"/>
                  </a:lnTo>
                  <a:lnTo>
                    <a:pt x="54" y="84"/>
                  </a:lnTo>
                  <a:lnTo>
                    <a:pt x="42" y="90"/>
                  </a:lnTo>
                  <a:lnTo>
                    <a:pt x="36" y="96"/>
                  </a:lnTo>
                  <a:lnTo>
                    <a:pt x="18" y="96"/>
                  </a:lnTo>
                  <a:lnTo>
                    <a:pt x="0" y="126"/>
                  </a:lnTo>
                  <a:lnTo>
                    <a:pt x="0" y="132"/>
                  </a:lnTo>
                  <a:lnTo>
                    <a:pt x="18" y="150"/>
                  </a:lnTo>
                  <a:lnTo>
                    <a:pt x="30" y="150"/>
                  </a:lnTo>
                  <a:lnTo>
                    <a:pt x="30" y="162"/>
                  </a:lnTo>
                  <a:lnTo>
                    <a:pt x="24" y="168"/>
                  </a:lnTo>
                  <a:lnTo>
                    <a:pt x="30" y="180"/>
                  </a:lnTo>
                  <a:lnTo>
                    <a:pt x="30" y="192"/>
                  </a:lnTo>
                  <a:lnTo>
                    <a:pt x="54" y="204"/>
                  </a:lnTo>
                  <a:lnTo>
                    <a:pt x="72" y="204"/>
                  </a:lnTo>
                  <a:lnTo>
                    <a:pt x="72" y="228"/>
                  </a:lnTo>
                  <a:lnTo>
                    <a:pt x="84" y="228"/>
                  </a:lnTo>
                  <a:lnTo>
                    <a:pt x="90" y="222"/>
                  </a:lnTo>
                  <a:lnTo>
                    <a:pt x="90" y="234"/>
                  </a:lnTo>
                  <a:lnTo>
                    <a:pt x="96" y="246"/>
                  </a:lnTo>
                  <a:lnTo>
                    <a:pt x="96" y="258"/>
                  </a:lnTo>
                  <a:lnTo>
                    <a:pt x="114" y="276"/>
                  </a:lnTo>
                  <a:lnTo>
                    <a:pt x="126" y="282"/>
                  </a:lnTo>
                  <a:lnTo>
                    <a:pt x="132" y="288"/>
                  </a:lnTo>
                  <a:lnTo>
                    <a:pt x="138" y="282"/>
                  </a:lnTo>
                  <a:lnTo>
                    <a:pt x="150" y="276"/>
                  </a:lnTo>
                  <a:lnTo>
                    <a:pt x="156" y="264"/>
                  </a:lnTo>
                  <a:lnTo>
                    <a:pt x="168" y="252"/>
                  </a:lnTo>
                  <a:lnTo>
                    <a:pt x="174" y="240"/>
                  </a:lnTo>
                  <a:lnTo>
                    <a:pt x="180" y="234"/>
                  </a:lnTo>
                  <a:lnTo>
                    <a:pt x="180" y="228"/>
                  </a:lnTo>
                  <a:lnTo>
                    <a:pt x="216" y="228"/>
                  </a:lnTo>
                  <a:lnTo>
                    <a:pt x="222" y="210"/>
                  </a:lnTo>
                  <a:lnTo>
                    <a:pt x="258" y="210"/>
                  </a:lnTo>
                  <a:lnTo>
                    <a:pt x="300" y="270"/>
                  </a:lnTo>
                  <a:lnTo>
                    <a:pt x="300" y="288"/>
                  </a:lnTo>
                  <a:lnTo>
                    <a:pt x="312" y="300"/>
                  </a:lnTo>
                  <a:lnTo>
                    <a:pt x="312" y="318"/>
                  </a:lnTo>
                  <a:lnTo>
                    <a:pt x="306" y="330"/>
                  </a:lnTo>
                  <a:lnTo>
                    <a:pt x="300" y="336"/>
                  </a:lnTo>
                  <a:lnTo>
                    <a:pt x="294" y="354"/>
                  </a:lnTo>
                  <a:lnTo>
                    <a:pt x="324" y="342"/>
                  </a:lnTo>
                  <a:lnTo>
                    <a:pt x="348" y="348"/>
                  </a:lnTo>
                  <a:lnTo>
                    <a:pt x="348" y="336"/>
                  </a:lnTo>
                  <a:lnTo>
                    <a:pt x="354" y="330"/>
                  </a:lnTo>
                  <a:lnTo>
                    <a:pt x="360" y="330"/>
                  </a:lnTo>
                  <a:lnTo>
                    <a:pt x="372" y="336"/>
                  </a:lnTo>
                  <a:lnTo>
                    <a:pt x="384" y="348"/>
                  </a:lnTo>
                  <a:lnTo>
                    <a:pt x="390" y="366"/>
                  </a:lnTo>
                  <a:lnTo>
                    <a:pt x="390" y="426"/>
                  </a:lnTo>
                  <a:lnTo>
                    <a:pt x="402" y="426"/>
                  </a:lnTo>
                  <a:lnTo>
                    <a:pt x="402" y="432"/>
                  </a:lnTo>
                  <a:lnTo>
                    <a:pt x="414" y="444"/>
                  </a:lnTo>
                  <a:lnTo>
                    <a:pt x="420" y="444"/>
                  </a:lnTo>
                  <a:lnTo>
                    <a:pt x="432" y="432"/>
                  </a:lnTo>
                  <a:lnTo>
                    <a:pt x="432" y="420"/>
                  </a:lnTo>
                  <a:lnTo>
                    <a:pt x="438" y="408"/>
                  </a:lnTo>
                  <a:lnTo>
                    <a:pt x="444" y="402"/>
                  </a:lnTo>
                  <a:lnTo>
                    <a:pt x="456" y="402"/>
                  </a:lnTo>
                  <a:lnTo>
                    <a:pt x="468" y="408"/>
                  </a:lnTo>
                  <a:lnTo>
                    <a:pt x="474" y="414"/>
                  </a:lnTo>
                  <a:lnTo>
                    <a:pt x="480" y="414"/>
                  </a:lnTo>
                  <a:lnTo>
                    <a:pt x="486" y="408"/>
                  </a:lnTo>
                  <a:lnTo>
                    <a:pt x="486" y="390"/>
                  </a:lnTo>
                  <a:lnTo>
                    <a:pt x="480" y="384"/>
                  </a:lnTo>
                  <a:lnTo>
                    <a:pt x="480" y="378"/>
                  </a:lnTo>
                  <a:lnTo>
                    <a:pt x="498" y="378"/>
                  </a:lnTo>
                  <a:lnTo>
                    <a:pt x="492" y="366"/>
                  </a:lnTo>
                  <a:lnTo>
                    <a:pt x="480" y="360"/>
                  </a:lnTo>
                  <a:lnTo>
                    <a:pt x="474" y="348"/>
                  </a:lnTo>
                  <a:lnTo>
                    <a:pt x="474" y="336"/>
                  </a:lnTo>
                  <a:lnTo>
                    <a:pt x="492" y="336"/>
                  </a:lnTo>
                  <a:lnTo>
                    <a:pt x="498" y="342"/>
                  </a:lnTo>
                  <a:lnTo>
                    <a:pt x="510" y="342"/>
                  </a:lnTo>
                  <a:lnTo>
                    <a:pt x="516" y="348"/>
                  </a:lnTo>
                  <a:lnTo>
                    <a:pt x="516" y="342"/>
                  </a:lnTo>
                  <a:lnTo>
                    <a:pt x="522" y="336"/>
                  </a:lnTo>
                  <a:lnTo>
                    <a:pt x="522" y="324"/>
                  </a:lnTo>
                  <a:lnTo>
                    <a:pt x="516" y="324"/>
                  </a:lnTo>
                  <a:lnTo>
                    <a:pt x="504" y="318"/>
                  </a:lnTo>
                  <a:lnTo>
                    <a:pt x="498" y="318"/>
                  </a:lnTo>
                  <a:lnTo>
                    <a:pt x="498" y="306"/>
                  </a:lnTo>
                  <a:lnTo>
                    <a:pt x="504" y="294"/>
                  </a:lnTo>
                  <a:lnTo>
                    <a:pt x="510" y="288"/>
                  </a:lnTo>
                  <a:lnTo>
                    <a:pt x="492" y="282"/>
                  </a:lnTo>
                  <a:lnTo>
                    <a:pt x="504" y="264"/>
                  </a:lnTo>
                  <a:lnTo>
                    <a:pt x="486" y="258"/>
                  </a:lnTo>
                  <a:lnTo>
                    <a:pt x="480" y="222"/>
                  </a:lnTo>
                  <a:lnTo>
                    <a:pt x="498" y="198"/>
                  </a:lnTo>
                  <a:lnTo>
                    <a:pt x="468" y="168"/>
                  </a:lnTo>
                  <a:lnTo>
                    <a:pt x="468" y="132"/>
                  </a:lnTo>
                  <a:lnTo>
                    <a:pt x="444" y="132"/>
                  </a:lnTo>
                  <a:lnTo>
                    <a:pt x="468" y="96"/>
                  </a:lnTo>
                  <a:lnTo>
                    <a:pt x="432" y="78"/>
                  </a:lnTo>
                  <a:lnTo>
                    <a:pt x="444" y="48"/>
                  </a:lnTo>
                  <a:lnTo>
                    <a:pt x="426" y="36"/>
                  </a:lnTo>
                  <a:lnTo>
                    <a:pt x="426" y="18"/>
                  </a:lnTo>
                  <a:lnTo>
                    <a:pt x="414" y="12"/>
                  </a:lnTo>
                  <a:lnTo>
                    <a:pt x="402" y="12"/>
                  </a:lnTo>
                  <a:lnTo>
                    <a:pt x="396" y="18"/>
                  </a:lnTo>
                  <a:lnTo>
                    <a:pt x="396" y="36"/>
                  </a:lnTo>
                  <a:lnTo>
                    <a:pt x="378" y="54"/>
                  </a:lnTo>
                  <a:lnTo>
                    <a:pt x="366" y="48"/>
                  </a:lnTo>
                  <a:lnTo>
                    <a:pt x="360" y="42"/>
                  </a:lnTo>
                  <a:lnTo>
                    <a:pt x="348" y="36"/>
                  </a:lnTo>
                  <a:lnTo>
                    <a:pt x="342" y="36"/>
                  </a:lnTo>
                  <a:lnTo>
                    <a:pt x="336" y="30"/>
                  </a:lnTo>
                  <a:lnTo>
                    <a:pt x="330" y="30"/>
                  </a:lnTo>
                  <a:lnTo>
                    <a:pt x="324" y="42"/>
                  </a:lnTo>
                  <a:lnTo>
                    <a:pt x="312" y="54"/>
                  </a:lnTo>
                  <a:lnTo>
                    <a:pt x="306" y="66"/>
                  </a:lnTo>
                  <a:lnTo>
                    <a:pt x="306" y="54"/>
                  </a:lnTo>
                  <a:lnTo>
                    <a:pt x="300" y="42"/>
                  </a:lnTo>
                  <a:lnTo>
                    <a:pt x="288" y="30"/>
                  </a:lnTo>
                  <a:lnTo>
                    <a:pt x="276" y="42"/>
                  </a:lnTo>
                  <a:lnTo>
                    <a:pt x="270" y="54"/>
                  </a:lnTo>
                  <a:lnTo>
                    <a:pt x="264" y="60"/>
                  </a:lnTo>
                  <a:lnTo>
                    <a:pt x="258" y="54"/>
                  </a:lnTo>
                  <a:lnTo>
                    <a:pt x="258" y="48"/>
                  </a:lnTo>
                  <a:lnTo>
                    <a:pt x="252" y="36"/>
                  </a:lnTo>
                  <a:lnTo>
                    <a:pt x="252" y="24"/>
                  </a:lnTo>
                  <a:lnTo>
                    <a:pt x="210" y="24"/>
                  </a:lnTo>
                  <a:lnTo>
                    <a:pt x="204" y="30"/>
                  </a:lnTo>
                  <a:lnTo>
                    <a:pt x="192" y="36"/>
                  </a:lnTo>
                  <a:lnTo>
                    <a:pt x="180" y="36"/>
                  </a:lnTo>
                  <a:lnTo>
                    <a:pt x="174" y="30"/>
                  </a:lnTo>
                  <a:lnTo>
                    <a:pt x="168" y="18"/>
                  </a:lnTo>
                  <a:lnTo>
                    <a:pt x="162" y="12"/>
                  </a:lnTo>
                  <a:lnTo>
                    <a:pt x="156" y="18"/>
                  </a:lnTo>
                  <a:lnTo>
                    <a:pt x="138" y="18"/>
                  </a:lnTo>
                  <a:lnTo>
                    <a:pt x="132" y="6"/>
                  </a:lnTo>
                  <a:lnTo>
                    <a:pt x="132" y="0"/>
                  </a:lnTo>
                  <a:lnTo>
                    <a:pt x="96" y="0"/>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84" name="Guatemala" descr="© INSCALE GmbH, 05.05.2010&#10;http://www.presentationload.com/">
              <a:extLst>
                <a:ext uri="{FF2B5EF4-FFF2-40B4-BE49-F238E27FC236}">
                  <a16:creationId xmlns:a16="http://schemas.microsoft.com/office/drawing/2014/main" id="{EB7F2300-38BA-366A-3EB9-CD415E3ABB7C}"/>
                </a:ext>
              </a:extLst>
            </p:cNvPr>
            <p:cNvSpPr>
              <a:spLocks/>
            </p:cNvSpPr>
            <p:nvPr/>
          </p:nvSpPr>
          <p:spPr bwMode="gray">
            <a:xfrm>
              <a:off x="1768724" y="2671482"/>
              <a:ext cx="112660" cy="127485"/>
            </a:xfrm>
            <a:custGeom>
              <a:avLst/>
              <a:gdLst>
                <a:gd name="T0" fmla="*/ 2147483647 w 300"/>
                <a:gd name="T1" fmla="*/ 2147483647 h 336"/>
                <a:gd name="T2" fmla="*/ 2147483647 w 300"/>
                <a:gd name="T3" fmla="*/ 2147483647 h 336"/>
                <a:gd name="T4" fmla="*/ 2147483647 w 300"/>
                <a:gd name="T5" fmla="*/ 2147483647 h 336"/>
                <a:gd name="T6" fmla="*/ 2147483647 w 300"/>
                <a:gd name="T7" fmla="*/ 2147483647 h 336"/>
                <a:gd name="T8" fmla="*/ 2147483647 w 300"/>
                <a:gd name="T9" fmla="*/ 2147483647 h 336"/>
                <a:gd name="T10" fmla="*/ 2147483647 w 300"/>
                <a:gd name="T11" fmla="*/ 0 h 336"/>
                <a:gd name="T12" fmla="*/ 2147483647 w 300"/>
                <a:gd name="T13" fmla="*/ 2147483647 h 336"/>
                <a:gd name="T14" fmla="*/ 2147483647 w 300"/>
                <a:gd name="T15" fmla="*/ 2147483647 h 336"/>
                <a:gd name="T16" fmla="*/ 2147483647 w 300"/>
                <a:gd name="T17" fmla="*/ 2147483647 h 336"/>
                <a:gd name="T18" fmla="*/ 2147483647 w 300"/>
                <a:gd name="T19" fmla="*/ 2147483647 h 336"/>
                <a:gd name="T20" fmla="*/ 2147483647 w 300"/>
                <a:gd name="T21" fmla="*/ 2147483647 h 336"/>
                <a:gd name="T22" fmla="*/ 2147483647 w 300"/>
                <a:gd name="T23" fmla="*/ 2147483647 h 336"/>
                <a:gd name="T24" fmla="*/ 2147483647 w 300"/>
                <a:gd name="T25" fmla="*/ 2147483647 h 336"/>
                <a:gd name="T26" fmla="*/ 2147483647 w 300"/>
                <a:gd name="T27" fmla="*/ 2147483647 h 336"/>
                <a:gd name="T28" fmla="*/ 2147483647 w 300"/>
                <a:gd name="T29" fmla="*/ 2147483647 h 336"/>
                <a:gd name="T30" fmla="*/ 2147483647 w 300"/>
                <a:gd name="T31" fmla="*/ 2147483647 h 336"/>
                <a:gd name="T32" fmla="*/ 2147483647 w 300"/>
                <a:gd name="T33" fmla="*/ 2147483647 h 336"/>
                <a:gd name="T34" fmla="*/ 2147483647 w 300"/>
                <a:gd name="T35" fmla="*/ 2147483647 h 336"/>
                <a:gd name="T36" fmla="*/ 2147483647 w 300"/>
                <a:gd name="T37" fmla="*/ 2147483647 h 336"/>
                <a:gd name="T38" fmla="*/ 2147483647 w 300"/>
                <a:gd name="T39" fmla="*/ 2147483647 h 336"/>
                <a:gd name="T40" fmla="*/ 2147483647 w 300"/>
                <a:gd name="T41" fmla="*/ 2147483647 h 336"/>
                <a:gd name="T42" fmla="*/ 2147483647 w 300"/>
                <a:gd name="T43" fmla="*/ 2147483647 h 336"/>
                <a:gd name="T44" fmla="*/ 2147483647 w 300"/>
                <a:gd name="T45" fmla="*/ 2147483647 h 336"/>
                <a:gd name="T46" fmla="*/ 2147483647 w 300"/>
                <a:gd name="T47" fmla="*/ 2147483647 h 336"/>
                <a:gd name="T48" fmla="*/ 2147483647 w 300"/>
                <a:gd name="T49" fmla="*/ 2147483647 h 336"/>
                <a:gd name="T50" fmla="*/ 2147483647 w 300"/>
                <a:gd name="T51" fmla="*/ 2147483647 h 336"/>
                <a:gd name="T52" fmla="*/ 2147483647 w 300"/>
                <a:gd name="T53" fmla="*/ 2147483647 h 336"/>
                <a:gd name="T54" fmla="*/ 2147483647 w 300"/>
                <a:gd name="T55" fmla="*/ 2147483647 h 336"/>
                <a:gd name="T56" fmla="*/ 2147483647 w 300"/>
                <a:gd name="T57" fmla="*/ 2147483647 h 336"/>
                <a:gd name="T58" fmla="*/ 0 w 300"/>
                <a:gd name="T59" fmla="*/ 2147483647 h 336"/>
                <a:gd name="T60" fmla="*/ 2147483647 w 300"/>
                <a:gd name="T61" fmla="*/ 2147483647 h 336"/>
                <a:gd name="T62" fmla="*/ 2147483647 w 300"/>
                <a:gd name="T63" fmla="*/ 2147483647 h 336"/>
                <a:gd name="T64" fmla="*/ 2147483647 w 300"/>
                <a:gd name="T65" fmla="*/ 2147483647 h 336"/>
                <a:gd name="T66" fmla="*/ 2147483647 w 300"/>
                <a:gd name="T67" fmla="*/ 2147483647 h 336"/>
                <a:gd name="T68" fmla="*/ 2147483647 w 300"/>
                <a:gd name="T69" fmla="*/ 2147483647 h 336"/>
                <a:gd name="T70" fmla="*/ 2147483647 w 300"/>
                <a:gd name="T71" fmla="*/ 2147483647 h 336"/>
                <a:gd name="T72" fmla="*/ 2147483647 w 300"/>
                <a:gd name="T73" fmla="*/ 2147483647 h 336"/>
                <a:gd name="T74" fmla="*/ 2147483647 w 300"/>
                <a:gd name="T75" fmla="*/ 2147483647 h 336"/>
                <a:gd name="T76" fmla="*/ 2147483647 w 300"/>
                <a:gd name="T77" fmla="*/ 2147483647 h 336"/>
                <a:gd name="T78" fmla="*/ 2147483647 w 300"/>
                <a:gd name="T79" fmla="*/ 2147483647 h 336"/>
                <a:gd name="T80" fmla="*/ 2147483647 w 300"/>
                <a:gd name="T81" fmla="*/ 2147483647 h 336"/>
                <a:gd name="T82" fmla="*/ 2147483647 w 300"/>
                <a:gd name="T83" fmla="*/ 2147483647 h 336"/>
                <a:gd name="T84" fmla="*/ 2147483647 w 300"/>
                <a:gd name="T85" fmla="*/ 2147483647 h 336"/>
                <a:gd name="T86" fmla="*/ 2147483647 w 300"/>
                <a:gd name="T87" fmla="*/ 2147483647 h 336"/>
                <a:gd name="T88" fmla="*/ 2147483647 w 300"/>
                <a:gd name="T89" fmla="*/ 2147483647 h 336"/>
                <a:gd name="T90" fmla="*/ 2147483647 w 300"/>
                <a:gd name="T91" fmla="*/ 2147483647 h 336"/>
                <a:gd name="T92" fmla="*/ 2147483647 w 300"/>
                <a:gd name="T93" fmla="*/ 2147483647 h 336"/>
                <a:gd name="T94" fmla="*/ 2147483647 w 300"/>
                <a:gd name="T95" fmla="*/ 2147483647 h 336"/>
                <a:gd name="T96" fmla="*/ 2147483647 w 300"/>
                <a:gd name="T97" fmla="*/ 2147483647 h 336"/>
                <a:gd name="T98" fmla="*/ 2147483647 w 300"/>
                <a:gd name="T99" fmla="*/ 2147483647 h 336"/>
                <a:gd name="T100" fmla="*/ 2147483647 w 300"/>
                <a:gd name="T101" fmla="*/ 2147483647 h 336"/>
                <a:gd name="T102" fmla="*/ 2147483647 w 300"/>
                <a:gd name="T103" fmla="*/ 2147483647 h 336"/>
                <a:gd name="T104" fmla="*/ 2147483647 w 300"/>
                <a:gd name="T105" fmla="*/ 2147483647 h 336"/>
                <a:gd name="T106" fmla="*/ 2147483647 w 300"/>
                <a:gd name="T107" fmla="*/ 2147483647 h 336"/>
                <a:gd name="T108" fmla="*/ 2147483647 w 300"/>
                <a:gd name="T109" fmla="*/ 2147483647 h 336"/>
                <a:gd name="T110" fmla="*/ 2147483647 w 300"/>
                <a:gd name="T111" fmla="*/ 2147483647 h 336"/>
                <a:gd name="T112" fmla="*/ 2147483647 w 300"/>
                <a:gd name="T113" fmla="*/ 2147483647 h 336"/>
                <a:gd name="T114" fmla="*/ 2147483647 w 300"/>
                <a:gd name="T115" fmla="*/ 2147483647 h 336"/>
                <a:gd name="T116" fmla="*/ 2147483647 w 300"/>
                <a:gd name="T117" fmla="*/ 2147483647 h 336"/>
                <a:gd name="T118" fmla="*/ 2147483647 w 300"/>
                <a:gd name="T119" fmla="*/ 2147483647 h 336"/>
                <a:gd name="T120" fmla="*/ 2147483647 w 300"/>
                <a:gd name="T121" fmla="*/ 2147483647 h 3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00"/>
                <a:gd name="T184" fmla="*/ 0 h 336"/>
                <a:gd name="T185" fmla="*/ 300 w 300"/>
                <a:gd name="T186" fmla="*/ 336 h 3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00" h="336">
                  <a:moveTo>
                    <a:pt x="288" y="156"/>
                  </a:moveTo>
                  <a:lnTo>
                    <a:pt x="270" y="168"/>
                  </a:lnTo>
                  <a:lnTo>
                    <a:pt x="258" y="162"/>
                  </a:lnTo>
                  <a:lnTo>
                    <a:pt x="228" y="162"/>
                  </a:lnTo>
                  <a:lnTo>
                    <a:pt x="252" y="6"/>
                  </a:lnTo>
                  <a:lnTo>
                    <a:pt x="120" y="0"/>
                  </a:lnTo>
                  <a:lnTo>
                    <a:pt x="120" y="12"/>
                  </a:lnTo>
                  <a:lnTo>
                    <a:pt x="126" y="24"/>
                  </a:lnTo>
                  <a:lnTo>
                    <a:pt x="126" y="48"/>
                  </a:lnTo>
                  <a:lnTo>
                    <a:pt x="120" y="48"/>
                  </a:lnTo>
                  <a:lnTo>
                    <a:pt x="108" y="54"/>
                  </a:lnTo>
                  <a:lnTo>
                    <a:pt x="84" y="54"/>
                  </a:lnTo>
                  <a:lnTo>
                    <a:pt x="96" y="60"/>
                  </a:lnTo>
                  <a:lnTo>
                    <a:pt x="96" y="66"/>
                  </a:lnTo>
                  <a:lnTo>
                    <a:pt x="102" y="78"/>
                  </a:lnTo>
                  <a:lnTo>
                    <a:pt x="108" y="84"/>
                  </a:lnTo>
                  <a:lnTo>
                    <a:pt x="114" y="84"/>
                  </a:lnTo>
                  <a:lnTo>
                    <a:pt x="126" y="90"/>
                  </a:lnTo>
                  <a:lnTo>
                    <a:pt x="132" y="90"/>
                  </a:lnTo>
                  <a:lnTo>
                    <a:pt x="138" y="114"/>
                  </a:lnTo>
                  <a:lnTo>
                    <a:pt x="156" y="114"/>
                  </a:lnTo>
                  <a:lnTo>
                    <a:pt x="156" y="126"/>
                  </a:lnTo>
                  <a:lnTo>
                    <a:pt x="150" y="132"/>
                  </a:lnTo>
                  <a:lnTo>
                    <a:pt x="144" y="132"/>
                  </a:lnTo>
                  <a:lnTo>
                    <a:pt x="144" y="150"/>
                  </a:lnTo>
                  <a:lnTo>
                    <a:pt x="54" y="144"/>
                  </a:lnTo>
                  <a:lnTo>
                    <a:pt x="24" y="192"/>
                  </a:lnTo>
                  <a:lnTo>
                    <a:pt x="24" y="264"/>
                  </a:lnTo>
                  <a:lnTo>
                    <a:pt x="18" y="270"/>
                  </a:lnTo>
                  <a:lnTo>
                    <a:pt x="0" y="270"/>
                  </a:lnTo>
                  <a:lnTo>
                    <a:pt x="6" y="282"/>
                  </a:lnTo>
                  <a:lnTo>
                    <a:pt x="12" y="288"/>
                  </a:lnTo>
                  <a:lnTo>
                    <a:pt x="24" y="288"/>
                  </a:lnTo>
                  <a:lnTo>
                    <a:pt x="42" y="300"/>
                  </a:lnTo>
                  <a:lnTo>
                    <a:pt x="60" y="318"/>
                  </a:lnTo>
                  <a:lnTo>
                    <a:pt x="72" y="324"/>
                  </a:lnTo>
                  <a:lnTo>
                    <a:pt x="120" y="324"/>
                  </a:lnTo>
                  <a:lnTo>
                    <a:pt x="126" y="330"/>
                  </a:lnTo>
                  <a:lnTo>
                    <a:pt x="132" y="330"/>
                  </a:lnTo>
                  <a:lnTo>
                    <a:pt x="138" y="336"/>
                  </a:lnTo>
                  <a:lnTo>
                    <a:pt x="150" y="324"/>
                  </a:lnTo>
                  <a:lnTo>
                    <a:pt x="162" y="318"/>
                  </a:lnTo>
                  <a:lnTo>
                    <a:pt x="168" y="312"/>
                  </a:lnTo>
                  <a:lnTo>
                    <a:pt x="174" y="312"/>
                  </a:lnTo>
                  <a:lnTo>
                    <a:pt x="180" y="300"/>
                  </a:lnTo>
                  <a:lnTo>
                    <a:pt x="186" y="294"/>
                  </a:lnTo>
                  <a:lnTo>
                    <a:pt x="186" y="282"/>
                  </a:lnTo>
                  <a:lnTo>
                    <a:pt x="204" y="282"/>
                  </a:lnTo>
                  <a:lnTo>
                    <a:pt x="210" y="276"/>
                  </a:lnTo>
                  <a:lnTo>
                    <a:pt x="222" y="270"/>
                  </a:lnTo>
                  <a:lnTo>
                    <a:pt x="222" y="264"/>
                  </a:lnTo>
                  <a:lnTo>
                    <a:pt x="228" y="252"/>
                  </a:lnTo>
                  <a:lnTo>
                    <a:pt x="228" y="234"/>
                  </a:lnTo>
                  <a:lnTo>
                    <a:pt x="234" y="222"/>
                  </a:lnTo>
                  <a:lnTo>
                    <a:pt x="246" y="216"/>
                  </a:lnTo>
                  <a:lnTo>
                    <a:pt x="258" y="204"/>
                  </a:lnTo>
                  <a:lnTo>
                    <a:pt x="270" y="198"/>
                  </a:lnTo>
                  <a:lnTo>
                    <a:pt x="282" y="186"/>
                  </a:lnTo>
                  <a:lnTo>
                    <a:pt x="294" y="180"/>
                  </a:lnTo>
                  <a:lnTo>
                    <a:pt x="300" y="168"/>
                  </a:lnTo>
                  <a:lnTo>
                    <a:pt x="288" y="156"/>
                  </a:lnTo>
                  <a:close/>
                </a:path>
              </a:pathLst>
            </a:custGeom>
            <a:solidFill>
              <a:srgbClr val="F2F2F2"/>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85" name="Greenland" descr="© INSCALE GmbH, 05.05.2010&#10;http://www.presentationload.com/">
              <a:extLst>
                <a:ext uri="{FF2B5EF4-FFF2-40B4-BE49-F238E27FC236}">
                  <a16:creationId xmlns:a16="http://schemas.microsoft.com/office/drawing/2014/main" id="{522FF3A0-7AD3-58E1-82CE-D943637E677C}"/>
                </a:ext>
              </a:extLst>
            </p:cNvPr>
            <p:cNvSpPr>
              <a:spLocks noEditPoints="1"/>
            </p:cNvSpPr>
            <p:nvPr/>
          </p:nvSpPr>
          <p:spPr bwMode="gray">
            <a:xfrm>
              <a:off x="3076176" y="834814"/>
              <a:ext cx="1062861" cy="578127"/>
            </a:xfrm>
            <a:custGeom>
              <a:avLst/>
              <a:gdLst>
                <a:gd name="T0" fmla="*/ 2147483647 w 732"/>
                <a:gd name="T1" fmla="*/ 2147483647 h 398"/>
                <a:gd name="T2" fmla="*/ 2147483647 w 732"/>
                <a:gd name="T3" fmla="*/ 2147483647 h 398"/>
                <a:gd name="T4" fmla="*/ 2147483647 w 732"/>
                <a:gd name="T5" fmla="*/ 2147483647 h 398"/>
                <a:gd name="T6" fmla="*/ 2147483647 w 732"/>
                <a:gd name="T7" fmla="*/ 2147483647 h 398"/>
                <a:gd name="T8" fmla="*/ 2147483647 w 732"/>
                <a:gd name="T9" fmla="*/ 2147483647 h 398"/>
                <a:gd name="T10" fmla="*/ 2147483647 w 732"/>
                <a:gd name="T11" fmla="*/ 2147483647 h 398"/>
                <a:gd name="T12" fmla="*/ 2147483647 w 732"/>
                <a:gd name="T13" fmla="*/ 2147483647 h 398"/>
                <a:gd name="T14" fmla="*/ 2147483647 w 732"/>
                <a:gd name="T15" fmla="*/ 2147483647 h 398"/>
                <a:gd name="T16" fmla="*/ 2147483647 w 732"/>
                <a:gd name="T17" fmla="*/ 2147483647 h 398"/>
                <a:gd name="T18" fmla="*/ 2147483647 w 732"/>
                <a:gd name="T19" fmla="*/ 2147483647 h 398"/>
                <a:gd name="T20" fmla="*/ 2147483647 w 732"/>
                <a:gd name="T21" fmla="*/ 2147483647 h 398"/>
                <a:gd name="T22" fmla="*/ 2147483647 w 732"/>
                <a:gd name="T23" fmla="*/ 2147483647 h 398"/>
                <a:gd name="T24" fmla="*/ 2147483647 w 732"/>
                <a:gd name="T25" fmla="*/ 2147483647 h 398"/>
                <a:gd name="T26" fmla="*/ 2147483647 w 732"/>
                <a:gd name="T27" fmla="*/ 2147483647 h 398"/>
                <a:gd name="T28" fmla="*/ 2147483647 w 732"/>
                <a:gd name="T29" fmla="*/ 2147483647 h 398"/>
                <a:gd name="T30" fmla="*/ 2147483647 w 732"/>
                <a:gd name="T31" fmla="*/ 2147483647 h 398"/>
                <a:gd name="T32" fmla="*/ 2147483647 w 732"/>
                <a:gd name="T33" fmla="*/ 2147483647 h 398"/>
                <a:gd name="T34" fmla="*/ 2147483647 w 732"/>
                <a:gd name="T35" fmla="*/ 2147483647 h 398"/>
                <a:gd name="T36" fmla="*/ 2147483647 w 732"/>
                <a:gd name="T37" fmla="*/ 2147483647 h 398"/>
                <a:gd name="T38" fmla="*/ 2147483647 w 732"/>
                <a:gd name="T39" fmla="*/ 2147483647 h 398"/>
                <a:gd name="T40" fmla="*/ 2147483647 w 732"/>
                <a:gd name="T41" fmla="*/ 2147483647 h 398"/>
                <a:gd name="T42" fmla="*/ 2147483647 w 732"/>
                <a:gd name="T43" fmla="*/ 2147483647 h 398"/>
                <a:gd name="T44" fmla="*/ 2147483647 w 732"/>
                <a:gd name="T45" fmla="*/ 2147483647 h 398"/>
                <a:gd name="T46" fmla="*/ 2147483647 w 732"/>
                <a:gd name="T47" fmla="*/ 2147483647 h 398"/>
                <a:gd name="T48" fmla="*/ 2147483647 w 732"/>
                <a:gd name="T49" fmla="*/ 2147483647 h 398"/>
                <a:gd name="T50" fmla="*/ 2147483647 w 732"/>
                <a:gd name="T51" fmla="*/ 2147483647 h 398"/>
                <a:gd name="T52" fmla="*/ 2147483647 w 732"/>
                <a:gd name="T53" fmla="*/ 2147483647 h 398"/>
                <a:gd name="T54" fmla="*/ 2147483647 w 732"/>
                <a:gd name="T55" fmla="*/ 2147483647 h 398"/>
                <a:gd name="T56" fmla="*/ 2147483647 w 732"/>
                <a:gd name="T57" fmla="*/ 2147483647 h 398"/>
                <a:gd name="T58" fmla="*/ 2147483647 w 732"/>
                <a:gd name="T59" fmla="*/ 2147483647 h 398"/>
                <a:gd name="T60" fmla="*/ 2147483647 w 732"/>
                <a:gd name="T61" fmla="*/ 2147483647 h 398"/>
                <a:gd name="T62" fmla="*/ 2147483647 w 732"/>
                <a:gd name="T63" fmla="*/ 2147483647 h 398"/>
                <a:gd name="T64" fmla="*/ 2147483647 w 732"/>
                <a:gd name="T65" fmla="*/ 2147483647 h 398"/>
                <a:gd name="T66" fmla="*/ 2147483647 w 732"/>
                <a:gd name="T67" fmla="*/ 2147483647 h 398"/>
                <a:gd name="T68" fmla="*/ 2147483647 w 732"/>
                <a:gd name="T69" fmla="*/ 2147483647 h 398"/>
                <a:gd name="T70" fmla="*/ 2147483647 w 732"/>
                <a:gd name="T71" fmla="*/ 2147483647 h 398"/>
                <a:gd name="T72" fmla="*/ 2147483647 w 732"/>
                <a:gd name="T73" fmla="*/ 2147483647 h 398"/>
                <a:gd name="T74" fmla="*/ 2147483647 w 732"/>
                <a:gd name="T75" fmla="*/ 2147483647 h 398"/>
                <a:gd name="T76" fmla="*/ 2147483647 w 732"/>
                <a:gd name="T77" fmla="*/ 2147483647 h 398"/>
                <a:gd name="T78" fmla="*/ 2147483647 w 732"/>
                <a:gd name="T79" fmla="*/ 2147483647 h 398"/>
                <a:gd name="T80" fmla="*/ 2147483647 w 732"/>
                <a:gd name="T81" fmla="*/ 2147483647 h 398"/>
                <a:gd name="T82" fmla="*/ 2147483647 w 732"/>
                <a:gd name="T83" fmla="*/ 2147483647 h 398"/>
                <a:gd name="T84" fmla="*/ 2147483647 w 732"/>
                <a:gd name="T85" fmla="*/ 2147483647 h 398"/>
                <a:gd name="T86" fmla="*/ 2147483647 w 732"/>
                <a:gd name="T87" fmla="*/ 2147483647 h 398"/>
                <a:gd name="T88" fmla="*/ 2147483647 w 732"/>
                <a:gd name="T89" fmla="*/ 2147483647 h 398"/>
                <a:gd name="T90" fmla="*/ 2147483647 w 732"/>
                <a:gd name="T91" fmla="*/ 2147483647 h 398"/>
                <a:gd name="T92" fmla="*/ 2147483647 w 732"/>
                <a:gd name="T93" fmla="*/ 2147483647 h 398"/>
                <a:gd name="T94" fmla="*/ 2147483647 w 732"/>
                <a:gd name="T95" fmla="*/ 2147483647 h 398"/>
                <a:gd name="T96" fmla="*/ 2147483647 w 732"/>
                <a:gd name="T97" fmla="*/ 2147483647 h 398"/>
                <a:gd name="T98" fmla="*/ 2147483647 w 732"/>
                <a:gd name="T99" fmla="*/ 2147483647 h 398"/>
                <a:gd name="T100" fmla="*/ 2147483647 w 732"/>
                <a:gd name="T101" fmla="*/ 2147483647 h 398"/>
                <a:gd name="T102" fmla="*/ 2147483647 w 732"/>
                <a:gd name="T103" fmla="*/ 2147483647 h 398"/>
                <a:gd name="T104" fmla="*/ 2147483647 w 732"/>
                <a:gd name="T105" fmla="*/ 2147483647 h 398"/>
                <a:gd name="T106" fmla="*/ 2147483647 w 732"/>
                <a:gd name="T107" fmla="*/ 2147483647 h 398"/>
                <a:gd name="T108" fmla="*/ 2147483647 w 732"/>
                <a:gd name="T109" fmla="*/ 2147483647 h 398"/>
                <a:gd name="T110" fmla="*/ 2147483647 w 732"/>
                <a:gd name="T111" fmla="*/ 2147483647 h 398"/>
                <a:gd name="T112" fmla="*/ 2147483647 w 732"/>
                <a:gd name="T113" fmla="*/ 2147483647 h 398"/>
                <a:gd name="T114" fmla="*/ 2147483647 w 732"/>
                <a:gd name="T115" fmla="*/ 2147483647 h 398"/>
                <a:gd name="T116" fmla="*/ 2147483647 w 732"/>
                <a:gd name="T117" fmla="*/ 2147483647 h 398"/>
                <a:gd name="T118" fmla="*/ 2147483647 w 732"/>
                <a:gd name="T119" fmla="*/ 2147483647 h 398"/>
                <a:gd name="T120" fmla="*/ 2147483647 w 732"/>
                <a:gd name="T121" fmla="*/ 2147483647 h 398"/>
                <a:gd name="T122" fmla="*/ 2147483647 w 732"/>
                <a:gd name="T123" fmla="*/ 2147483647 h 39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32"/>
                <a:gd name="T187" fmla="*/ 0 h 398"/>
                <a:gd name="T188" fmla="*/ 732 w 732"/>
                <a:gd name="T189" fmla="*/ 398 h 39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32" h="398">
                  <a:moveTo>
                    <a:pt x="730" y="24"/>
                  </a:moveTo>
                  <a:lnTo>
                    <a:pt x="728" y="24"/>
                  </a:lnTo>
                  <a:lnTo>
                    <a:pt x="723" y="24"/>
                  </a:lnTo>
                  <a:lnTo>
                    <a:pt x="718" y="22"/>
                  </a:lnTo>
                  <a:lnTo>
                    <a:pt x="678" y="22"/>
                  </a:lnTo>
                  <a:lnTo>
                    <a:pt x="678" y="24"/>
                  </a:lnTo>
                  <a:lnTo>
                    <a:pt x="670" y="26"/>
                  </a:lnTo>
                  <a:lnTo>
                    <a:pt x="659" y="26"/>
                  </a:lnTo>
                  <a:lnTo>
                    <a:pt x="651" y="24"/>
                  </a:lnTo>
                  <a:lnTo>
                    <a:pt x="637" y="24"/>
                  </a:lnTo>
                  <a:lnTo>
                    <a:pt x="623" y="29"/>
                  </a:lnTo>
                  <a:lnTo>
                    <a:pt x="616" y="34"/>
                  </a:lnTo>
                  <a:lnTo>
                    <a:pt x="611" y="34"/>
                  </a:lnTo>
                  <a:lnTo>
                    <a:pt x="606" y="34"/>
                  </a:lnTo>
                  <a:lnTo>
                    <a:pt x="604" y="36"/>
                  </a:lnTo>
                  <a:lnTo>
                    <a:pt x="602" y="36"/>
                  </a:lnTo>
                  <a:lnTo>
                    <a:pt x="597" y="38"/>
                  </a:lnTo>
                  <a:lnTo>
                    <a:pt x="592" y="38"/>
                  </a:lnTo>
                  <a:lnTo>
                    <a:pt x="599" y="34"/>
                  </a:lnTo>
                  <a:lnTo>
                    <a:pt x="609" y="31"/>
                  </a:lnTo>
                  <a:lnTo>
                    <a:pt x="621" y="26"/>
                  </a:lnTo>
                  <a:lnTo>
                    <a:pt x="623" y="24"/>
                  </a:lnTo>
                  <a:lnTo>
                    <a:pt x="618" y="19"/>
                  </a:lnTo>
                  <a:lnTo>
                    <a:pt x="606" y="19"/>
                  </a:lnTo>
                  <a:lnTo>
                    <a:pt x="604" y="22"/>
                  </a:lnTo>
                  <a:lnTo>
                    <a:pt x="602" y="22"/>
                  </a:lnTo>
                  <a:lnTo>
                    <a:pt x="597" y="24"/>
                  </a:lnTo>
                  <a:lnTo>
                    <a:pt x="594" y="24"/>
                  </a:lnTo>
                  <a:lnTo>
                    <a:pt x="566" y="26"/>
                  </a:lnTo>
                  <a:lnTo>
                    <a:pt x="566" y="29"/>
                  </a:lnTo>
                  <a:lnTo>
                    <a:pt x="563" y="29"/>
                  </a:lnTo>
                  <a:lnTo>
                    <a:pt x="566" y="26"/>
                  </a:lnTo>
                  <a:lnTo>
                    <a:pt x="568" y="26"/>
                  </a:lnTo>
                  <a:lnTo>
                    <a:pt x="573" y="26"/>
                  </a:lnTo>
                  <a:lnTo>
                    <a:pt x="578" y="24"/>
                  </a:lnTo>
                  <a:lnTo>
                    <a:pt x="580" y="24"/>
                  </a:lnTo>
                  <a:lnTo>
                    <a:pt x="582" y="24"/>
                  </a:lnTo>
                  <a:lnTo>
                    <a:pt x="585" y="22"/>
                  </a:lnTo>
                  <a:lnTo>
                    <a:pt x="578" y="19"/>
                  </a:lnTo>
                  <a:lnTo>
                    <a:pt x="552" y="19"/>
                  </a:lnTo>
                  <a:lnTo>
                    <a:pt x="542" y="22"/>
                  </a:lnTo>
                  <a:lnTo>
                    <a:pt x="525" y="19"/>
                  </a:lnTo>
                  <a:lnTo>
                    <a:pt x="523" y="19"/>
                  </a:lnTo>
                  <a:lnTo>
                    <a:pt x="523" y="22"/>
                  </a:lnTo>
                  <a:lnTo>
                    <a:pt x="518" y="22"/>
                  </a:lnTo>
                  <a:lnTo>
                    <a:pt x="514" y="24"/>
                  </a:lnTo>
                  <a:lnTo>
                    <a:pt x="511" y="24"/>
                  </a:lnTo>
                  <a:lnTo>
                    <a:pt x="509" y="24"/>
                  </a:lnTo>
                  <a:lnTo>
                    <a:pt x="506" y="24"/>
                  </a:lnTo>
                  <a:lnTo>
                    <a:pt x="509" y="22"/>
                  </a:lnTo>
                  <a:lnTo>
                    <a:pt x="518" y="19"/>
                  </a:lnTo>
                  <a:lnTo>
                    <a:pt x="530" y="19"/>
                  </a:lnTo>
                  <a:lnTo>
                    <a:pt x="563" y="19"/>
                  </a:lnTo>
                  <a:lnTo>
                    <a:pt x="580" y="17"/>
                  </a:lnTo>
                  <a:lnTo>
                    <a:pt x="625" y="17"/>
                  </a:lnTo>
                  <a:lnTo>
                    <a:pt x="632" y="14"/>
                  </a:lnTo>
                  <a:lnTo>
                    <a:pt x="628" y="12"/>
                  </a:lnTo>
                  <a:lnTo>
                    <a:pt x="618" y="10"/>
                  </a:lnTo>
                  <a:lnTo>
                    <a:pt x="592" y="10"/>
                  </a:lnTo>
                  <a:lnTo>
                    <a:pt x="594" y="10"/>
                  </a:lnTo>
                  <a:lnTo>
                    <a:pt x="597" y="7"/>
                  </a:lnTo>
                  <a:lnTo>
                    <a:pt x="594" y="5"/>
                  </a:lnTo>
                  <a:lnTo>
                    <a:pt x="585" y="5"/>
                  </a:lnTo>
                  <a:lnTo>
                    <a:pt x="582" y="7"/>
                  </a:lnTo>
                  <a:lnTo>
                    <a:pt x="568" y="7"/>
                  </a:lnTo>
                  <a:lnTo>
                    <a:pt x="566" y="5"/>
                  </a:lnTo>
                  <a:lnTo>
                    <a:pt x="571" y="5"/>
                  </a:lnTo>
                  <a:lnTo>
                    <a:pt x="573" y="5"/>
                  </a:lnTo>
                  <a:lnTo>
                    <a:pt x="578" y="5"/>
                  </a:lnTo>
                  <a:lnTo>
                    <a:pt x="578" y="2"/>
                  </a:lnTo>
                  <a:lnTo>
                    <a:pt x="575" y="2"/>
                  </a:lnTo>
                  <a:lnTo>
                    <a:pt x="571" y="0"/>
                  </a:lnTo>
                  <a:lnTo>
                    <a:pt x="537" y="0"/>
                  </a:lnTo>
                  <a:lnTo>
                    <a:pt x="528" y="2"/>
                  </a:lnTo>
                  <a:lnTo>
                    <a:pt x="518" y="2"/>
                  </a:lnTo>
                  <a:lnTo>
                    <a:pt x="509" y="0"/>
                  </a:lnTo>
                  <a:lnTo>
                    <a:pt x="483" y="0"/>
                  </a:lnTo>
                  <a:lnTo>
                    <a:pt x="478" y="2"/>
                  </a:lnTo>
                  <a:lnTo>
                    <a:pt x="454" y="2"/>
                  </a:lnTo>
                  <a:lnTo>
                    <a:pt x="452" y="0"/>
                  </a:lnTo>
                  <a:lnTo>
                    <a:pt x="447" y="0"/>
                  </a:lnTo>
                  <a:lnTo>
                    <a:pt x="445" y="2"/>
                  </a:lnTo>
                  <a:lnTo>
                    <a:pt x="442" y="2"/>
                  </a:lnTo>
                  <a:lnTo>
                    <a:pt x="442" y="5"/>
                  </a:lnTo>
                  <a:lnTo>
                    <a:pt x="445" y="5"/>
                  </a:lnTo>
                  <a:lnTo>
                    <a:pt x="447" y="5"/>
                  </a:lnTo>
                  <a:lnTo>
                    <a:pt x="442" y="7"/>
                  </a:lnTo>
                  <a:lnTo>
                    <a:pt x="428" y="7"/>
                  </a:lnTo>
                  <a:lnTo>
                    <a:pt x="409" y="5"/>
                  </a:lnTo>
                  <a:lnTo>
                    <a:pt x="378" y="5"/>
                  </a:lnTo>
                  <a:lnTo>
                    <a:pt x="373" y="5"/>
                  </a:lnTo>
                  <a:lnTo>
                    <a:pt x="371" y="5"/>
                  </a:lnTo>
                  <a:lnTo>
                    <a:pt x="368" y="7"/>
                  </a:lnTo>
                  <a:lnTo>
                    <a:pt x="366" y="7"/>
                  </a:lnTo>
                  <a:lnTo>
                    <a:pt x="366" y="10"/>
                  </a:lnTo>
                  <a:lnTo>
                    <a:pt x="368" y="10"/>
                  </a:lnTo>
                  <a:lnTo>
                    <a:pt x="378" y="10"/>
                  </a:lnTo>
                  <a:lnTo>
                    <a:pt x="387" y="10"/>
                  </a:lnTo>
                  <a:lnTo>
                    <a:pt x="399" y="12"/>
                  </a:lnTo>
                  <a:lnTo>
                    <a:pt x="404" y="12"/>
                  </a:lnTo>
                  <a:lnTo>
                    <a:pt x="426" y="14"/>
                  </a:lnTo>
                  <a:lnTo>
                    <a:pt x="399" y="14"/>
                  </a:lnTo>
                  <a:lnTo>
                    <a:pt x="395" y="14"/>
                  </a:lnTo>
                  <a:lnTo>
                    <a:pt x="392" y="14"/>
                  </a:lnTo>
                  <a:lnTo>
                    <a:pt x="387" y="12"/>
                  </a:lnTo>
                  <a:lnTo>
                    <a:pt x="378" y="12"/>
                  </a:lnTo>
                  <a:lnTo>
                    <a:pt x="380" y="14"/>
                  </a:lnTo>
                  <a:lnTo>
                    <a:pt x="383" y="14"/>
                  </a:lnTo>
                  <a:lnTo>
                    <a:pt x="385" y="14"/>
                  </a:lnTo>
                  <a:lnTo>
                    <a:pt x="376" y="14"/>
                  </a:lnTo>
                  <a:lnTo>
                    <a:pt x="373" y="17"/>
                  </a:lnTo>
                  <a:lnTo>
                    <a:pt x="373" y="19"/>
                  </a:lnTo>
                  <a:lnTo>
                    <a:pt x="371" y="22"/>
                  </a:lnTo>
                  <a:lnTo>
                    <a:pt x="371" y="24"/>
                  </a:lnTo>
                  <a:lnTo>
                    <a:pt x="368" y="24"/>
                  </a:lnTo>
                  <a:lnTo>
                    <a:pt x="366" y="24"/>
                  </a:lnTo>
                  <a:lnTo>
                    <a:pt x="364" y="24"/>
                  </a:lnTo>
                  <a:lnTo>
                    <a:pt x="359" y="24"/>
                  </a:lnTo>
                  <a:lnTo>
                    <a:pt x="357" y="22"/>
                  </a:lnTo>
                  <a:lnTo>
                    <a:pt x="345" y="19"/>
                  </a:lnTo>
                  <a:lnTo>
                    <a:pt x="330" y="14"/>
                  </a:lnTo>
                  <a:lnTo>
                    <a:pt x="309" y="14"/>
                  </a:lnTo>
                  <a:lnTo>
                    <a:pt x="309" y="24"/>
                  </a:lnTo>
                  <a:lnTo>
                    <a:pt x="297" y="24"/>
                  </a:lnTo>
                  <a:lnTo>
                    <a:pt x="292" y="22"/>
                  </a:lnTo>
                  <a:lnTo>
                    <a:pt x="288" y="22"/>
                  </a:lnTo>
                  <a:lnTo>
                    <a:pt x="285" y="19"/>
                  </a:lnTo>
                  <a:lnTo>
                    <a:pt x="278" y="19"/>
                  </a:lnTo>
                  <a:lnTo>
                    <a:pt x="273" y="22"/>
                  </a:lnTo>
                  <a:lnTo>
                    <a:pt x="273" y="24"/>
                  </a:lnTo>
                  <a:lnTo>
                    <a:pt x="269" y="24"/>
                  </a:lnTo>
                  <a:lnTo>
                    <a:pt x="271" y="19"/>
                  </a:lnTo>
                  <a:lnTo>
                    <a:pt x="269" y="17"/>
                  </a:lnTo>
                  <a:lnTo>
                    <a:pt x="238" y="17"/>
                  </a:lnTo>
                  <a:lnTo>
                    <a:pt x="228" y="19"/>
                  </a:lnTo>
                  <a:lnTo>
                    <a:pt x="209" y="19"/>
                  </a:lnTo>
                  <a:lnTo>
                    <a:pt x="214" y="22"/>
                  </a:lnTo>
                  <a:lnTo>
                    <a:pt x="223" y="26"/>
                  </a:lnTo>
                  <a:lnTo>
                    <a:pt x="226" y="29"/>
                  </a:lnTo>
                  <a:lnTo>
                    <a:pt x="223" y="29"/>
                  </a:lnTo>
                  <a:lnTo>
                    <a:pt x="223" y="26"/>
                  </a:lnTo>
                  <a:lnTo>
                    <a:pt x="214" y="24"/>
                  </a:lnTo>
                  <a:lnTo>
                    <a:pt x="207" y="24"/>
                  </a:lnTo>
                  <a:lnTo>
                    <a:pt x="202" y="22"/>
                  </a:lnTo>
                  <a:lnTo>
                    <a:pt x="197" y="22"/>
                  </a:lnTo>
                  <a:lnTo>
                    <a:pt x="192" y="19"/>
                  </a:lnTo>
                  <a:lnTo>
                    <a:pt x="190" y="19"/>
                  </a:lnTo>
                  <a:lnTo>
                    <a:pt x="188" y="22"/>
                  </a:lnTo>
                  <a:lnTo>
                    <a:pt x="185" y="24"/>
                  </a:lnTo>
                  <a:lnTo>
                    <a:pt x="183" y="26"/>
                  </a:lnTo>
                  <a:lnTo>
                    <a:pt x="178" y="29"/>
                  </a:lnTo>
                  <a:lnTo>
                    <a:pt x="176" y="29"/>
                  </a:lnTo>
                  <a:lnTo>
                    <a:pt x="171" y="31"/>
                  </a:lnTo>
                  <a:lnTo>
                    <a:pt x="150" y="31"/>
                  </a:lnTo>
                  <a:lnTo>
                    <a:pt x="143" y="34"/>
                  </a:lnTo>
                  <a:lnTo>
                    <a:pt x="133" y="36"/>
                  </a:lnTo>
                  <a:lnTo>
                    <a:pt x="124" y="38"/>
                  </a:lnTo>
                  <a:lnTo>
                    <a:pt x="119" y="38"/>
                  </a:lnTo>
                  <a:lnTo>
                    <a:pt x="102" y="41"/>
                  </a:lnTo>
                  <a:lnTo>
                    <a:pt x="97" y="43"/>
                  </a:lnTo>
                  <a:lnTo>
                    <a:pt x="100" y="46"/>
                  </a:lnTo>
                  <a:lnTo>
                    <a:pt x="105" y="48"/>
                  </a:lnTo>
                  <a:lnTo>
                    <a:pt x="126" y="48"/>
                  </a:lnTo>
                  <a:lnTo>
                    <a:pt x="116" y="50"/>
                  </a:lnTo>
                  <a:lnTo>
                    <a:pt x="112" y="55"/>
                  </a:lnTo>
                  <a:lnTo>
                    <a:pt x="109" y="55"/>
                  </a:lnTo>
                  <a:lnTo>
                    <a:pt x="93" y="60"/>
                  </a:lnTo>
                  <a:lnTo>
                    <a:pt x="88" y="60"/>
                  </a:lnTo>
                  <a:lnTo>
                    <a:pt x="66" y="60"/>
                  </a:lnTo>
                  <a:lnTo>
                    <a:pt x="57" y="62"/>
                  </a:lnTo>
                  <a:lnTo>
                    <a:pt x="47" y="65"/>
                  </a:lnTo>
                  <a:lnTo>
                    <a:pt x="45" y="67"/>
                  </a:lnTo>
                  <a:lnTo>
                    <a:pt x="40" y="67"/>
                  </a:lnTo>
                  <a:lnTo>
                    <a:pt x="38" y="65"/>
                  </a:lnTo>
                  <a:lnTo>
                    <a:pt x="31" y="70"/>
                  </a:lnTo>
                  <a:lnTo>
                    <a:pt x="9" y="70"/>
                  </a:lnTo>
                  <a:lnTo>
                    <a:pt x="7" y="70"/>
                  </a:lnTo>
                  <a:lnTo>
                    <a:pt x="2" y="70"/>
                  </a:lnTo>
                  <a:lnTo>
                    <a:pt x="0" y="74"/>
                  </a:lnTo>
                  <a:lnTo>
                    <a:pt x="2" y="74"/>
                  </a:lnTo>
                  <a:lnTo>
                    <a:pt x="9" y="79"/>
                  </a:lnTo>
                  <a:lnTo>
                    <a:pt x="12" y="82"/>
                  </a:lnTo>
                  <a:lnTo>
                    <a:pt x="14" y="84"/>
                  </a:lnTo>
                  <a:lnTo>
                    <a:pt x="24" y="79"/>
                  </a:lnTo>
                  <a:lnTo>
                    <a:pt x="24" y="84"/>
                  </a:lnTo>
                  <a:lnTo>
                    <a:pt x="28" y="86"/>
                  </a:lnTo>
                  <a:lnTo>
                    <a:pt x="33" y="86"/>
                  </a:lnTo>
                  <a:lnTo>
                    <a:pt x="36" y="84"/>
                  </a:lnTo>
                  <a:lnTo>
                    <a:pt x="38" y="84"/>
                  </a:lnTo>
                  <a:lnTo>
                    <a:pt x="40" y="82"/>
                  </a:lnTo>
                  <a:lnTo>
                    <a:pt x="40" y="84"/>
                  </a:lnTo>
                  <a:lnTo>
                    <a:pt x="43" y="86"/>
                  </a:lnTo>
                  <a:lnTo>
                    <a:pt x="45" y="86"/>
                  </a:lnTo>
                  <a:lnTo>
                    <a:pt x="47" y="84"/>
                  </a:lnTo>
                  <a:lnTo>
                    <a:pt x="52" y="84"/>
                  </a:lnTo>
                  <a:lnTo>
                    <a:pt x="57" y="84"/>
                  </a:lnTo>
                  <a:lnTo>
                    <a:pt x="59" y="82"/>
                  </a:lnTo>
                  <a:lnTo>
                    <a:pt x="64" y="82"/>
                  </a:lnTo>
                  <a:lnTo>
                    <a:pt x="64" y="84"/>
                  </a:lnTo>
                  <a:lnTo>
                    <a:pt x="64" y="86"/>
                  </a:lnTo>
                  <a:lnTo>
                    <a:pt x="62" y="86"/>
                  </a:lnTo>
                  <a:lnTo>
                    <a:pt x="57" y="91"/>
                  </a:lnTo>
                  <a:lnTo>
                    <a:pt x="55" y="91"/>
                  </a:lnTo>
                  <a:lnTo>
                    <a:pt x="52" y="89"/>
                  </a:lnTo>
                  <a:lnTo>
                    <a:pt x="40" y="89"/>
                  </a:lnTo>
                  <a:lnTo>
                    <a:pt x="36" y="91"/>
                  </a:lnTo>
                  <a:lnTo>
                    <a:pt x="33" y="91"/>
                  </a:lnTo>
                  <a:lnTo>
                    <a:pt x="21" y="89"/>
                  </a:lnTo>
                  <a:lnTo>
                    <a:pt x="19" y="89"/>
                  </a:lnTo>
                  <a:lnTo>
                    <a:pt x="14" y="86"/>
                  </a:lnTo>
                  <a:lnTo>
                    <a:pt x="7" y="86"/>
                  </a:lnTo>
                  <a:lnTo>
                    <a:pt x="2" y="89"/>
                  </a:lnTo>
                  <a:lnTo>
                    <a:pt x="2" y="93"/>
                  </a:lnTo>
                  <a:lnTo>
                    <a:pt x="2" y="96"/>
                  </a:lnTo>
                  <a:lnTo>
                    <a:pt x="7" y="98"/>
                  </a:lnTo>
                  <a:lnTo>
                    <a:pt x="19" y="98"/>
                  </a:lnTo>
                  <a:lnTo>
                    <a:pt x="17" y="101"/>
                  </a:lnTo>
                  <a:lnTo>
                    <a:pt x="14" y="101"/>
                  </a:lnTo>
                  <a:lnTo>
                    <a:pt x="9" y="101"/>
                  </a:lnTo>
                  <a:lnTo>
                    <a:pt x="12" y="103"/>
                  </a:lnTo>
                  <a:lnTo>
                    <a:pt x="19" y="105"/>
                  </a:lnTo>
                  <a:lnTo>
                    <a:pt x="21" y="105"/>
                  </a:lnTo>
                  <a:lnTo>
                    <a:pt x="24" y="108"/>
                  </a:lnTo>
                  <a:lnTo>
                    <a:pt x="33" y="108"/>
                  </a:lnTo>
                  <a:lnTo>
                    <a:pt x="33" y="105"/>
                  </a:lnTo>
                  <a:lnTo>
                    <a:pt x="36" y="105"/>
                  </a:lnTo>
                  <a:lnTo>
                    <a:pt x="38" y="105"/>
                  </a:lnTo>
                  <a:lnTo>
                    <a:pt x="43" y="108"/>
                  </a:lnTo>
                  <a:lnTo>
                    <a:pt x="52" y="105"/>
                  </a:lnTo>
                  <a:lnTo>
                    <a:pt x="52" y="108"/>
                  </a:lnTo>
                  <a:lnTo>
                    <a:pt x="57" y="108"/>
                  </a:lnTo>
                  <a:lnTo>
                    <a:pt x="62" y="105"/>
                  </a:lnTo>
                  <a:lnTo>
                    <a:pt x="64" y="105"/>
                  </a:lnTo>
                  <a:lnTo>
                    <a:pt x="69" y="103"/>
                  </a:lnTo>
                  <a:lnTo>
                    <a:pt x="76" y="105"/>
                  </a:lnTo>
                  <a:lnTo>
                    <a:pt x="81" y="105"/>
                  </a:lnTo>
                  <a:lnTo>
                    <a:pt x="83" y="105"/>
                  </a:lnTo>
                  <a:lnTo>
                    <a:pt x="85" y="103"/>
                  </a:lnTo>
                  <a:lnTo>
                    <a:pt x="88" y="103"/>
                  </a:lnTo>
                  <a:lnTo>
                    <a:pt x="93" y="105"/>
                  </a:lnTo>
                  <a:lnTo>
                    <a:pt x="97" y="105"/>
                  </a:lnTo>
                  <a:lnTo>
                    <a:pt x="112" y="105"/>
                  </a:lnTo>
                  <a:lnTo>
                    <a:pt x="121" y="110"/>
                  </a:lnTo>
                  <a:lnTo>
                    <a:pt x="124" y="110"/>
                  </a:lnTo>
                  <a:lnTo>
                    <a:pt x="128" y="115"/>
                  </a:lnTo>
                  <a:lnTo>
                    <a:pt x="135" y="115"/>
                  </a:lnTo>
                  <a:lnTo>
                    <a:pt x="133" y="117"/>
                  </a:lnTo>
                  <a:lnTo>
                    <a:pt x="133" y="120"/>
                  </a:lnTo>
                  <a:lnTo>
                    <a:pt x="133" y="125"/>
                  </a:lnTo>
                  <a:lnTo>
                    <a:pt x="138" y="125"/>
                  </a:lnTo>
                  <a:lnTo>
                    <a:pt x="140" y="125"/>
                  </a:lnTo>
                  <a:lnTo>
                    <a:pt x="145" y="127"/>
                  </a:lnTo>
                  <a:lnTo>
                    <a:pt x="147" y="129"/>
                  </a:lnTo>
                  <a:lnTo>
                    <a:pt x="143" y="134"/>
                  </a:lnTo>
                  <a:lnTo>
                    <a:pt x="145" y="141"/>
                  </a:lnTo>
                  <a:lnTo>
                    <a:pt x="152" y="144"/>
                  </a:lnTo>
                  <a:lnTo>
                    <a:pt x="145" y="149"/>
                  </a:lnTo>
                  <a:lnTo>
                    <a:pt x="150" y="151"/>
                  </a:lnTo>
                  <a:lnTo>
                    <a:pt x="147" y="151"/>
                  </a:lnTo>
                  <a:lnTo>
                    <a:pt x="145" y="153"/>
                  </a:lnTo>
                  <a:lnTo>
                    <a:pt x="145" y="156"/>
                  </a:lnTo>
                  <a:lnTo>
                    <a:pt x="150" y="161"/>
                  </a:lnTo>
                  <a:lnTo>
                    <a:pt x="152" y="161"/>
                  </a:lnTo>
                  <a:lnTo>
                    <a:pt x="152" y="163"/>
                  </a:lnTo>
                  <a:lnTo>
                    <a:pt x="147" y="165"/>
                  </a:lnTo>
                  <a:lnTo>
                    <a:pt x="145" y="168"/>
                  </a:lnTo>
                  <a:lnTo>
                    <a:pt x="143" y="168"/>
                  </a:lnTo>
                  <a:lnTo>
                    <a:pt x="147" y="170"/>
                  </a:lnTo>
                  <a:lnTo>
                    <a:pt x="143" y="170"/>
                  </a:lnTo>
                  <a:lnTo>
                    <a:pt x="140" y="170"/>
                  </a:lnTo>
                  <a:lnTo>
                    <a:pt x="138" y="170"/>
                  </a:lnTo>
                  <a:lnTo>
                    <a:pt x="133" y="173"/>
                  </a:lnTo>
                  <a:lnTo>
                    <a:pt x="131" y="173"/>
                  </a:lnTo>
                  <a:lnTo>
                    <a:pt x="131" y="175"/>
                  </a:lnTo>
                  <a:lnTo>
                    <a:pt x="143" y="175"/>
                  </a:lnTo>
                  <a:lnTo>
                    <a:pt x="138" y="180"/>
                  </a:lnTo>
                  <a:lnTo>
                    <a:pt x="126" y="180"/>
                  </a:lnTo>
                  <a:lnTo>
                    <a:pt x="124" y="180"/>
                  </a:lnTo>
                  <a:lnTo>
                    <a:pt x="124" y="182"/>
                  </a:lnTo>
                  <a:lnTo>
                    <a:pt x="133" y="189"/>
                  </a:lnTo>
                  <a:lnTo>
                    <a:pt x="138" y="189"/>
                  </a:lnTo>
                  <a:lnTo>
                    <a:pt x="145" y="184"/>
                  </a:lnTo>
                  <a:lnTo>
                    <a:pt x="147" y="184"/>
                  </a:lnTo>
                  <a:lnTo>
                    <a:pt x="152" y="184"/>
                  </a:lnTo>
                  <a:lnTo>
                    <a:pt x="154" y="182"/>
                  </a:lnTo>
                  <a:lnTo>
                    <a:pt x="157" y="182"/>
                  </a:lnTo>
                  <a:lnTo>
                    <a:pt x="157" y="180"/>
                  </a:lnTo>
                  <a:lnTo>
                    <a:pt x="157" y="175"/>
                  </a:lnTo>
                  <a:lnTo>
                    <a:pt x="159" y="173"/>
                  </a:lnTo>
                  <a:lnTo>
                    <a:pt x="159" y="180"/>
                  </a:lnTo>
                  <a:lnTo>
                    <a:pt x="166" y="175"/>
                  </a:lnTo>
                  <a:lnTo>
                    <a:pt x="164" y="177"/>
                  </a:lnTo>
                  <a:lnTo>
                    <a:pt x="164" y="180"/>
                  </a:lnTo>
                  <a:lnTo>
                    <a:pt x="166" y="180"/>
                  </a:lnTo>
                  <a:lnTo>
                    <a:pt x="169" y="182"/>
                  </a:lnTo>
                  <a:lnTo>
                    <a:pt x="176" y="182"/>
                  </a:lnTo>
                  <a:lnTo>
                    <a:pt x="171" y="187"/>
                  </a:lnTo>
                  <a:lnTo>
                    <a:pt x="171" y="189"/>
                  </a:lnTo>
                  <a:lnTo>
                    <a:pt x="173" y="192"/>
                  </a:lnTo>
                  <a:lnTo>
                    <a:pt x="176" y="194"/>
                  </a:lnTo>
                  <a:lnTo>
                    <a:pt x="178" y="196"/>
                  </a:lnTo>
                  <a:lnTo>
                    <a:pt x="181" y="199"/>
                  </a:lnTo>
                  <a:lnTo>
                    <a:pt x="178" y="201"/>
                  </a:lnTo>
                  <a:lnTo>
                    <a:pt x="173" y="201"/>
                  </a:lnTo>
                  <a:lnTo>
                    <a:pt x="173" y="204"/>
                  </a:lnTo>
                  <a:lnTo>
                    <a:pt x="166" y="204"/>
                  </a:lnTo>
                  <a:lnTo>
                    <a:pt x="164" y="201"/>
                  </a:lnTo>
                  <a:lnTo>
                    <a:pt x="162" y="201"/>
                  </a:lnTo>
                  <a:lnTo>
                    <a:pt x="159" y="201"/>
                  </a:lnTo>
                  <a:lnTo>
                    <a:pt x="157" y="199"/>
                  </a:lnTo>
                  <a:lnTo>
                    <a:pt x="143" y="199"/>
                  </a:lnTo>
                  <a:lnTo>
                    <a:pt x="140" y="196"/>
                  </a:lnTo>
                  <a:lnTo>
                    <a:pt x="138" y="194"/>
                  </a:lnTo>
                  <a:lnTo>
                    <a:pt x="131" y="194"/>
                  </a:lnTo>
                  <a:lnTo>
                    <a:pt x="128" y="199"/>
                  </a:lnTo>
                  <a:lnTo>
                    <a:pt x="128" y="201"/>
                  </a:lnTo>
                  <a:lnTo>
                    <a:pt x="133" y="201"/>
                  </a:lnTo>
                  <a:lnTo>
                    <a:pt x="133" y="204"/>
                  </a:lnTo>
                  <a:lnTo>
                    <a:pt x="140" y="204"/>
                  </a:lnTo>
                  <a:lnTo>
                    <a:pt x="143" y="206"/>
                  </a:lnTo>
                  <a:lnTo>
                    <a:pt x="145" y="206"/>
                  </a:lnTo>
                  <a:lnTo>
                    <a:pt x="147" y="206"/>
                  </a:lnTo>
                  <a:lnTo>
                    <a:pt x="152" y="211"/>
                  </a:lnTo>
                  <a:lnTo>
                    <a:pt x="162" y="211"/>
                  </a:lnTo>
                  <a:lnTo>
                    <a:pt x="164" y="211"/>
                  </a:lnTo>
                  <a:lnTo>
                    <a:pt x="166" y="211"/>
                  </a:lnTo>
                  <a:lnTo>
                    <a:pt x="173" y="213"/>
                  </a:lnTo>
                  <a:lnTo>
                    <a:pt x="178" y="208"/>
                  </a:lnTo>
                  <a:lnTo>
                    <a:pt x="178" y="216"/>
                  </a:lnTo>
                  <a:lnTo>
                    <a:pt x="176" y="213"/>
                  </a:lnTo>
                  <a:lnTo>
                    <a:pt x="173" y="213"/>
                  </a:lnTo>
                  <a:lnTo>
                    <a:pt x="171" y="213"/>
                  </a:lnTo>
                  <a:lnTo>
                    <a:pt x="171" y="216"/>
                  </a:lnTo>
                  <a:lnTo>
                    <a:pt x="173" y="220"/>
                  </a:lnTo>
                  <a:lnTo>
                    <a:pt x="169" y="220"/>
                  </a:lnTo>
                  <a:lnTo>
                    <a:pt x="166" y="220"/>
                  </a:lnTo>
                  <a:lnTo>
                    <a:pt x="164" y="220"/>
                  </a:lnTo>
                  <a:lnTo>
                    <a:pt x="164" y="223"/>
                  </a:lnTo>
                  <a:lnTo>
                    <a:pt x="164" y="225"/>
                  </a:lnTo>
                  <a:lnTo>
                    <a:pt x="173" y="225"/>
                  </a:lnTo>
                  <a:lnTo>
                    <a:pt x="171" y="225"/>
                  </a:lnTo>
                  <a:lnTo>
                    <a:pt x="171" y="228"/>
                  </a:lnTo>
                  <a:lnTo>
                    <a:pt x="169" y="230"/>
                  </a:lnTo>
                  <a:lnTo>
                    <a:pt x="162" y="225"/>
                  </a:lnTo>
                  <a:lnTo>
                    <a:pt x="159" y="225"/>
                  </a:lnTo>
                  <a:lnTo>
                    <a:pt x="159" y="228"/>
                  </a:lnTo>
                  <a:lnTo>
                    <a:pt x="159" y="230"/>
                  </a:lnTo>
                  <a:lnTo>
                    <a:pt x="162" y="232"/>
                  </a:lnTo>
                  <a:lnTo>
                    <a:pt x="157" y="232"/>
                  </a:lnTo>
                  <a:lnTo>
                    <a:pt x="157" y="237"/>
                  </a:lnTo>
                  <a:lnTo>
                    <a:pt x="154" y="237"/>
                  </a:lnTo>
                  <a:lnTo>
                    <a:pt x="152" y="240"/>
                  </a:lnTo>
                  <a:lnTo>
                    <a:pt x="152" y="242"/>
                  </a:lnTo>
                  <a:lnTo>
                    <a:pt x="157" y="247"/>
                  </a:lnTo>
                  <a:lnTo>
                    <a:pt x="159" y="247"/>
                  </a:lnTo>
                  <a:lnTo>
                    <a:pt x="159" y="252"/>
                  </a:lnTo>
                  <a:lnTo>
                    <a:pt x="157" y="252"/>
                  </a:lnTo>
                  <a:lnTo>
                    <a:pt x="154" y="252"/>
                  </a:lnTo>
                  <a:lnTo>
                    <a:pt x="152" y="249"/>
                  </a:lnTo>
                  <a:lnTo>
                    <a:pt x="150" y="244"/>
                  </a:lnTo>
                  <a:lnTo>
                    <a:pt x="147" y="242"/>
                  </a:lnTo>
                  <a:lnTo>
                    <a:pt x="147" y="240"/>
                  </a:lnTo>
                  <a:lnTo>
                    <a:pt x="145" y="237"/>
                  </a:lnTo>
                  <a:lnTo>
                    <a:pt x="143" y="235"/>
                  </a:lnTo>
                  <a:lnTo>
                    <a:pt x="140" y="235"/>
                  </a:lnTo>
                  <a:lnTo>
                    <a:pt x="135" y="235"/>
                  </a:lnTo>
                  <a:lnTo>
                    <a:pt x="133" y="235"/>
                  </a:lnTo>
                  <a:lnTo>
                    <a:pt x="128" y="240"/>
                  </a:lnTo>
                  <a:lnTo>
                    <a:pt x="128" y="242"/>
                  </a:lnTo>
                  <a:lnTo>
                    <a:pt x="133" y="244"/>
                  </a:lnTo>
                  <a:lnTo>
                    <a:pt x="138" y="244"/>
                  </a:lnTo>
                  <a:lnTo>
                    <a:pt x="140" y="247"/>
                  </a:lnTo>
                  <a:lnTo>
                    <a:pt x="135" y="249"/>
                  </a:lnTo>
                  <a:lnTo>
                    <a:pt x="131" y="249"/>
                  </a:lnTo>
                  <a:lnTo>
                    <a:pt x="128" y="247"/>
                  </a:lnTo>
                  <a:lnTo>
                    <a:pt x="121" y="247"/>
                  </a:lnTo>
                  <a:lnTo>
                    <a:pt x="119" y="249"/>
                  </a:lnTo>
                  <a:lnTo>
                    <a:pt x="116" y="249"/>
                  </a:lnTo>
                  <a:lnTo>
                    <a:pt x="114" y="249"/>
                  </a:lnTo>
                  <a:lnTo>
                    <a:pt x="112" y="252"/>
                  </a:lnTo>
                  <a:lnTo>
                    <a:pt x="109" y="252"/>
                  </a:lnTo>
                  <a:lnTo>
                    <a:pt x="121" y="252"/>
                  </a:lnTo>
                  <a:lnTo>
                    <a:pt x="126" y="252"/>
                  </a:lnTo>
                  <a:lnTo>
                    <a:pt x="140" y="252"/>
                  </a:lnTo>
                  <a:lnTo>
                    <a:pt x="143" y="252"/>
                  </a:lnTo>
                  <a:lnTo>
                    <a:pt x="131" y="252"/>
                  </a:lnTo>
                  <a:lnTo>
                    <a:pt x="112" y="256"/>
                  </a:lnTo>
                  <a:lnTo>
                    <a:pt x="107" y="256"/>
                  </a:lnTo>
                  <a:lnTo>
                    <a:pt x="105" y="259"/>
                  </a:lnTo>
                  <a:lnTo>
                    <a:pt x="107" y="259"/>
                  </a:lnTo>
                  <a:lnTo>
                    <a:pt x="107" y="261"/>
                  </a:lnTo>
                  <a:lnTo>
                    <a:pt x="114" y="261"/>
                  </a:lnTo>
                  <a:lnTo>
                    <a:pt x="119" y="259"/>
                  </a:lnTo>
                  <a:lnTo>
                    <a:pt x="124" y="259"/>
                  </a:lnTo>
                  <a:lnTo>
                    <a:pt x="128" y="256"/>
                  </a:lnTo>
                  <a:lnTo>
                    <a:pt x="138" y="256"/>
                  </a:lnTo>
                  <a:lnTo>
                    <a:pt x="140" y="259"/>
                  </a:lnTo>
                  <a:lnTo>
                    <a:pt x="138" y="261"/>
                  </a:lnTo>
                  <a:lnTo>
                    <a:pt x="114" y="261"/>
                  </a:lnTo>
                  <a:lnTo>
                    <a:pt x="112" y="261"/>
                  </a:lnTo>
                  <a:lnTo>
                    <a:pt x="102" y="261"/>
                  </a:lnTo>
                  <a:lnTo>
                    <a:pt x="102" y="264"/>
                  </a:lnTo>
                  <a:lnTo>
                    <a:pt x="107" y="264"/>
                  </a:lnTo>
                  <a:lnTo>
                    <a:pt x="107" y="266"/>
                  </a:lnTo>
                  <a:lnTo>
                    <a:pt x="112" y="266"/>
                  </a:lnTo>
                  <a:lnTo>
                    <a:pt x="114" y="266"/>
                  </a:lnTo>
                  <a:lnTo>
                    <a:pt x="109" y="266"/>
                  </a:lnTo>
                  <a:lnTo>
                    <a:pt x="107" y="268"/>
                  </a:lnTo>
                  <a:lnTo>
                    <a:pt x="107" y="271"/>
                  </a:lnTo>
                  <a:lnTo>
                    <a:pt x="105" y="273"/>
                  </a:lnTo>
                  <a:lnTo>
                    <a:pt x="102" y="273"/>
                  </a:lnTo>
                  <a:lnTo>
                    <a:pt x="100" y="275"/>
                  </a:lnTo>
                  <a:lnTo>
                    <a:pt x="97" y="275"/>
                  </a:lnTo>
                  <a:lnTo>
                    <a:pt x="107" y="278"/>
                  </a:lnTo>
                  <a:lnTo>
                    <a:pt x="97" y="280"/>
                  </a:lnTo>
                  <a:lnTo>
                    <a:pt x="97" y="283"/>
                  </a:lnTo>
                  <a:lnTo>
                    <a:pt x="100" y="285"/>
                  </a:lnTo>
                  <a:lnTo>
                    <a:pt x="105" y="285"/>
                  </a:lnTo>
                  <a:lnTo>
                    <a:pt x="107" y="285"/>
                  </a:lnTo>
                  <a:lnTo>
                    <a:pt x="114" y="285"/>
                  </a:lnTo>
                  <a:lnTo>
                    <a:pt x="112" y="285"/>
                  </a:lnTo>
                  <a:lnTo>
                    <a:pt x="109" y="285"/>
                  </a:lnTo>
                  <a:lnTo>
                    <a:pt x="107" y="287"/>
                  </a:lnTo>
                  <a:lnTo>
                    <a:pt x="102" y="290"/>
                  </a:lnTo>
                  <a:lnTo>
                    <a:pt x="102" y="292"/>
                  </a:lnTo>
                  <a:lnTo>
                    <a:pt x="105" y="295"/>
                  </a:lnTo>
                  <a:lnTo>
                    <a:pt x="107" y="295"/>
                  </a:lnTo>
                  <a:lnTo>
                    <a:pt x="109" y="292"/>
                  </a:lnTo>
                  <a:lnTo>
                    <a:pt x="114" y="290"/>
                  </a:lnTo>
                  <a:lnTo>
                    <a:pt x="112" y="295"/>
                  </a:lnTo>
                  <a:lnTo>
                    <a:pt x="109" y="295"/>
                  </a:lnTo>
                  <a:lnTo>
                    <a:pt x="107" y="299"/>
                  </a:lnTo>
                  <a:lnTo>
                    <a:pt x="107" y="304"/>
                  </a:lnTo>
                  <a:lnTo>
                    <a:pt x="109" y="304"/>
                  </a:lnTo>
                  <a:lnTo>
                    <a:pt x="109" y="302"/>
                  </a:lnTo>
                  <a:lnTo>
                    <a:pt x="114" y="302"/>
                  </a:lnTo>
                  <a:lnTo>
                    <a:pt x="109" y="307"/>
                  </a:lnTo>
                  <a:lnTo>
                    <a:pt x="107" y="307"/>
                  </a:lnTo>
                  <a:lnTo>
                    <a:pt x="105" y="309"/>
                  </a:lnTo>
                  <a:lnTo>
                    <a:pt x="102" y="311"/>
                  </a:lnTo>
                  <a:lnTo>
                    <a:pt x="102" y="316"/>
                  </a:lnTo>
                  <a:lnTo>
                    <a:pt x="105" y="316"/>
                  </a:lnTo>
                  <a:lnTo>
                    <a:pt x="107" y="314"/>
                  </a:lnTo>
                  <a:lnTo>
                    <a:pt x="114" y="307"/>
                  </a:lnTo>
                  <a:lnTo>
                    <a:pt x="124" y="307"/>
                  </a:lnTo>
                  <a:lnTo>
                    <a:pt x="126" y="304"/>
                  </a:lnTo>
                  <a:lnTo>
                    <a:pt x="128" y="304"/>
                  </a:lnTo>
                  <a:lnTo>
                    <a:pt x="128" y="307"/>
                  </a:lnTo>
                  <a:lnTo>
                    <a:pt x="133" y="304"/>
                  </a:lnTo>
                  <a:lnTo>
                    <a:pt x="128" y="311"/>
                  </a:lnTo>
                  <a:lnTo>
                    <a:pt x="135" y="311"/>
                  </a:lnTo>
                  <a:lnTo>
                    <a:pt x="128" y="311"/>
                  </a:lnTo>
                  <a:lnTo>
                    <a:pt x="124" y="314"/>
                  </a:lnTo>
                  <a:lnTo>
                    <a:pt x="124" y="316"/>
                  </a:lnTo>
                  <a:lnTo>
                    <a:pt x="119" y="316"/>
                  </a:lnTo>
                  <a:lnTo>
                    <a:pt x="116" y="316"/>
                  </a:lnTo>
                  <a:lnTo>
                    <a:pt x="114" y="319"/>
                  </a:lnTo>
                  <a:lnTo>
                    <a:pt x="114" y="321"/>
                  </a:lnTo>
                  <a:lnTo>
                    <a:pt x="112" y="321"/>
                  </a:lnTo>
                  <a:lnTo>
                    <a:pt x="107" y="323"/>
                  </a:lnTo>
                  <a:lnTo>
                    <a:pt x="105" y="326"/>
                  </a:lnTo>
                  <a:lnTo>
                    <a:pt x="109" y="326"/>
                  </a:lnTo>
                  <a:lnTo>
                    <a:pt x="107" y="326"/>
                  </a:lnTo>
                  <a:lnTo>
                    <a:pt x="107" y="328"/>
                  </a:lnTo>
                  <a:lnTo>
                    <a:pt x="107" y="331"/>
                  </a:lnTo>
                  <a:lnTo>
                    <a:pt x="109" y="331"/>
                  </a:lnTo>
                  <a:lnTo>
                    <a:pt x="107" y="333"/>
                  </a:lnTo>
                  <a:lnTo>
                    <a:pt x="107" y="335"/>
                  </a:lnTo>
                  <a:lnTo>
                    <a:pt x="116" y="335"/>
                  </a:lnTo>
                  <a:lnTo>
                    <a:pt x="112" y="343"/>
                  </a:lnTo>
                  <a:lnTo>
                    <a:pt x="116" y="340"/>
                  </a:lnTo>
                  <a:lnTo>
                    <a:pt x="119" y="340"/>
                  </a:lnTo>
                  <a:lnTo>
                    <a:pt x="116" y="340"/>
                  </a:lnTo>
                  <a:lnTo>
                    <a:pt x="114" y="343"/>
                  </a:lnTo>
                  <a:lnTo>
                    <a:pt x="114" y="345"/>
                  </a:lnTo>
                  <a:lnTo>
                    <a:pt x="112" y="347"/>
                  </a:lnTo>
                  <a:lnTo>
                    <a:pt x="112" y="352"/>
                  </a:lnTo>
                  <a:lnTo>
                    <a:pt x="114" y="352"/>
                  </a:lnTo>
                  <a:lnTo>
                    <a:pt x="121" y="352"/>
                  </a:lnTo>
                  <a:lnTo>
                    <a:pt x="116" y="359"/>
                  </a:lnTo>
                  <a:lnTo>
                    <a:pt x="126" y="357"/>
                  </a:lnTo>
                  <a:lnTo>
                    <a:pt x="121" y="362"/>
                  </a:lnTo>
                  <a:lnTo>
                    <a:pt x="124" y="366"/>
                  </a:lnTo>
                  <a:lnTo>
                    <a:pt x="128" y="366"/>
                  </a:lnTo>
                  <a:lnTo>
                    <a:pt x="126" y="366"/>
                  </a:lnTo>
                  <a:lnTo>
                    <a:pt x="126" y="369"/>
                  </a:lnTo>
                  <a:lnTo>
                    <a:pt x="128" y="371"/>
                  </a:lnTo>
                  <a:lnTo>
                    <a:pt x="133" y="371"/>
                  </a:lnTo>
                  <a:lnTo>
                    <a:pt x="128" y="376"/>
                  </a:lnTo>
                  <a:lnTo>
                    <a:pt x="135" y="376"/>
                  </a:lnTo>
                  <a:lnTo>
                    <a:pt x="133" y="381"/>
                  </a:lnTo>
                  <a:lnTo>
                    <a:pt x="145" y="378"/>
                  </a:lnTo>
                  <a:lnTo>
                    <a:pt x="147" y="381"/>
                  </a:lnTo>
                  <a:lnTo>
                    <a:pt x="150" y="381"/>
                  </a:lnTo>
                  <a:lnTo>
                    <a:pt x="152" y="378"/>
                  </a:lnTo>
                  <a:lnTo>
                    <a:pt x="162" y="374"/>
                  </a:lnTo>
                  <a:lnTo>
                    <a:pt x="164" y="371"/>
                  </a:lnTo>
                  <a:lnTo>
                    <a:pt x="164" y="374"/>
                  </a:lnTo>
                  <a:lnTo>
                    <a:pt x="162" y="376"/>
                  </a:lnTo>
                  <a:lnTo>
                    <a:pt x="169" y="378"/>
                  </a:lnTo>
                  <a:lnTo>
                    <a:pt x="171" y="376"/>
                  </a:lnTo>
                  <a:lnTo>
                    <a:pt x="173" y="376"/>
                  </a:lnTo>
                  <a:lnTo>
                    <a:pt x="169" y="378"/>
                  </a:lnTo>
                  <a:lnTo>
                    <a:pt x="164" y="381"/>
                  </a:lnTo>
                  <a:lnTo>
                    <a:pt x="162" y="383"/>
                  </a:lnTo>
                  <a:lnTo>
                    <a:pt x="162" y="386"/>
                  </a:lnTo>
                  <a:lnTo>
                    <a:pt x="169" y="386"/>
                  </a:lnTo>
                  <a:lnTo>
                    <a:pt x="173" y="386"/>
                  </a:lnTo>
                  <a:lnTo>
                    <a:pt x="176" y="386"/>
                  </a:lnTo>
                  <a:lnTo>
                    <a:pt x="173" y="386"/>
                  </a:lnTo>
                  <a:lnTo>
                    <a:pt x="171" y="388"/>
                  </a:lnTo>
                  <a:lnTo>
                    <a:pt x="169" y="390"/>
                  </a:lnTo>
                  <a:lnTo>
                    <a:pt x="169" y="393"/>
                  </a:lnTo>
                  <a:lnTo>
                    <a:pt x="169" y="395"/>
                  </a:lnTo>
                  <a:lnTo>
                    <a:pt x="176" y="395"/>
                  </a:lnTo>
                  <a:lnTo>
                    <a:pt x="178" y="393"/>
                  </a:lnTo>
                  <a:lnTo>
                    <a:pt x="178" y="395"/>
                  </a:lnTo>
                  <a:lnTo>
                    <a:pt x="183" y="398"/>
                  </a:lnTo>
                  <a:lnTo>
                    <a:pt x="188" y="398"/>
                  </a:lnTo>
                  <a:lnTo>
                    <a:pt x="192" y="395"/>
                  </a:lnTo>
                  <a:lnTo>
                    <a:pt x="195" y="393"/>
                  </a:lnTo>
                  <a:lnTo>
                    <a:pt x="192" y="390"/>
                  </a:lnTo>
                  <a:lnTo>
                    <a:pt x="192" y="388"/>
                  </a:lnTo>
                  <a:lnTo>
                    <a:pt x="197" y="388"/>
                  </a:lnTo>
                  <a:lnTo>
                    <a:pt x="200" y="386"/>
                  </a:lnTo>
                  <a:lnTo>
                    <a:pt x="200" y="378"/>
                  </a:lnTo>
                  <a:lnTo>
                    <a:pt x="202" y="381"/>
                  </a:lnTo>
                  <a:lnTo>
                    <a:pt x="207" y="381"/>
                  </a:lnTo>
                  <a:lnTo>
                    <a:pt x="207" y="376"/>
                  </a:lnTo>
                  <a:lnTo>
                    <a:pt x="207" y="374"/>
                  </a:lnTo>
                  <a:lnTo>
                    <a:pt x="207" y="371"/>
                  </a:lnTo>
                  <a:lnTo>
                    <a:pt x="207" y="374"/>
                  </a:lnTo>
                  <a:lnTo>
                    <a:pt x="209" y="376"/>
                  </a:lnTo>
                  <a:lnTo>
                    <a:pt x="212" y="376"/>
                  </a:lnTo>
                  <a:lnTo>
                    <a:pt x="214" y="374"/>
                  </a:lnTo>
                  <a:lnTo>
                    <a:pt x="214" y="371"/>
                  </a:lnTo>
                  <a:lnTo>
                    <a:pt x="209" y="366"/>
                  </a:lnTo>
                  <a:lnTo>
                    <a:pt x="216" y="366"/>
                  </a:lnTo>
                  <a:lnTo>
                    <a:pt x="216" y="364"/>
                  </a:lnTo>
                  <a:lnTo>
                    <a:pt x="214" y="362"/>
                  </a:lnTo>
                  <a:lnTo>
                    <a:pt x="223" y="362"/>
                  </a:lnTo>
                  <a:lnTo>
                    <a:pt x="219" y="357"/>
                  </a:lnTo>
                  <a:lnTo>
                    <a:pt x="223" y="355"/>
                  </a:lnTo>
                  <a:lnTo>
                    <a:pt x="219" y="352"/>
                  </a:lnTo>
                  <a:lnTo>
                    <a:pt x="216" y="350"/>
                  </a:lnTo>
                  <a:lnTo>
                    <a:pt x="219" y="350"/>
                  </a:lnTo>
                  <a:lnTo>
                    <a:pt x="221" y="350"/>
                  </a:lnTo>
                  <a:lnTo>
                    <a:pt x="216" y="343"/>
                  </a:lnTo>
                  <a:lnTo>
                    <a:pt x="221" y="347"/>
                  </a:lnTo>
                  <a:lnTo>
                    <a:pt x="223" y="347"/>
                  </a:lnTo>
                  <a:lnTo>
                    <a:pt x="228" y="343"/>
                  </a:lnTo>
                  <a:lnTo>
                    <a:pt x="235" y="343"/>
                  </a:lnTo>
                  <a:lnTo>
                    <a:pt x="235" y="340"/>
                  </a:lnTo>
                  <a:lnTo>
                    <a:pt x="233" y="338"/>
                  </a:lnTo>
                  <a:lnTo>
                    <a:pt x="238" y="338"/>
                  </a:lnTo>
                  <a:lnTo>
                    <a:pt x="242" y="331"/>
                  </a:lnTo>
                  <a:lnTo>
                    <a:pt x="245" y="331"/>
                  </a:lnTo>
                  <a:lnTo>
                    <a:pt x="252" y="331"/>
                  </a:lnTo>
                  <a:lnTo>
                    <a:pt x="252" y="326"/>
                  </a:lnTo>
                  <a:lnTo>
                    <a:pt x="257" y="331"/>
                  </a:lnTo>
                  <a:lnTo>
                    <a:pt x="259" y="326"/>
                  </a:lnTo>
                  <a:lnTo>
                    <a:pt x="259" y="319"/>
                  </a:lnTo>
                  <a:lnTo>
                    <a:pt x="252" y="316"/>
                  </a:lnTo>
                  <a:lnTo>
                    <a:pt x="257" y="316"/>
                  </a:lnTo>
                  <a:lnTo>
                    <a:pt x="264" y="311"/>
                  </a:lnTo>
                  <a:lnTo>
                    <a:pt x="266" y="307"/>
                  </a:lnTo>
                  <a:lnTo>
                    <a:pt x="259" y="304"/>
                  </a:lnTo>
                  <a:lnTo>
                    <a:pt x="264" y="299"/>
                  </a:lnTo>
                  <a:lnTo>
                    <a:pt x="278" y="299"/>
                  </a:lnTo>
                  <a:lnTo>
                    <a:pt x="280" y="297"/>
                  </a:lnTo>
                  <a:lnTo>
                    <a:pt x="280" y="292"/>
                  </a:lnTo>
                  <a:lnTo>
                    <a:pt x="288" y="290"/>
                  </a:lnTo>
                  <a:lnTo>
                    <a:pt x="292" y="290"/>
                  </a:lnTo>
                  <a:lnTo>
                    <a:pt x="295" y="292"/>
                  </a:lnTo>
                  <a:lnTo>
                    <a:pt x="302" y="292"/>
                  </a:lnTo>
                  <a:lnTo>
                    <a:pt x="311" y="283"/>
                  </a:lnTo>
                  <a:lnTo>
                    <a:pt x="311" y="280"/>
                  </a:lnTo>
                  <a:lnTo>
                    <a:pt x="314" y="280"/>
                  </a:lnTo>
                  <a:lnTo>
                    <a:pt x="316" y="278"/>
                  </a:lnTo>
                  <a:lnTo>
                    <a:pt x="319" y="278"/>
                  </a:lnTo>
                  <a:lnTo>
                    <a:pt x="319" y="280"/>
                  </a:lnTo>
                  <a:lnTo>
                    <a:pt x="316" y="283"/>
                  </a:lnTo>
                  <a:lnTo>
                    <a:pt x="314" y="285"/>
                  </a:lnTo>
                  <a:lnTo>
                    <a:pt x="311" y="290"/>
                  </a:lnTo>
                  <a:lnTo>
                    <a:pt x="319" y="290"/>
                  </a:lnTo>
                  <a:lnTo>
                    <a:pt x="319" y="285"/>
                  </a:lnTo>
                  <a:lnTo>
                    <a:pt x="323" y="285"/>
                  </a:lnTo>
                  <a:lnTo>
                    <a:pt x="326" y="283"/>
                  </a:lnTo>
                  <a:lnTo>
                    <a:pt x="328" y="283"/>
                  </a:lnTo>
                  <a:lnTo>
                    <a:pt x="328" y="285"/>
                  </a:lnTo>
                  <a:lnTo>
                    <a:pt x="333" y="285"/>
                  </a:lnTo>
                  <a:lnTo>
                    <a:pt x="335" y="285"/>
                  </a:lnTo>
                  <a:lnTo>
                    <a:pt x="342" y="283"/>
                  </a:lnTo>
                  <a:lnTo>
                    <a:pt x="347" y="278"/>
                  </a:lnTo>
                  <a:lnTo>
                    <a:pt x="349" y="275"/>
                  </a:lnTo>
                  <a:lnTo>
                    <a:pt x="359" y="275"/>
                  </a:lnTo>
                  <a:lnTo>
                    <a:pt x="366" y="275"/>
                  </a:lnTo>
                  <a:lnTo>
                    <a:pt x="371" y="271"/>
                  </a:lnTo>
                  <a:lnTo>
                    <a:pt x="373" y="268"/>
                  </a:lnTo>
                  <a:lnTo>
                    <a:pt x="376" y="266"/>
                  </a:lnTo>
                  <a:lnTo>
                    <a:pt x="383" y="259"/>
                  </a:lnTo>
                  <a:lnTo>
                    <a:pt x="385" y="256"/>
                  </a:lnTo>
                  <a:lnTo>
                    <a:pt x="390" y="254"/>
                  </a:lnTo>
                  <a:lnTo>
                    <a:pt x="399" y="252"/>
                  </a:lnTo>
                  <a:lnTo>
                    <a:pt x="402" y="252"/>
                  </a:lnTo>
                  <a:lnTo>
                    <a:pt x="404" y="249"/>
                  </a:lnTo>
                  <a:lnTo>
                    <a:pt x="407" y="249"/>
                  </a:lnTo>
                  <a:lnTo>
                    <a:pt x="407" y="247"/>
                  </a:lnTo>
                  <a:lnTo>
                    <a:pt x="407" y="244"/>
                  </a:lnTo>
                  <a:lnTo>
                    <a:pt x="407" y="240"/>
                  </a:lnTo>
                  <a:lnTo>
                    <a:pt x="407" y="235"/>
                  </a:lnTo>
                  <a:lnTo>
                    <a:pt x="414" y="242"/>
                  </a:lnTo>
                  <a:lnTo>
                    <a:pt x="416" y="244"/>
                  </a:lnTo>
                  <a:lnTo>
                    <a:pt x="418" y="244"/>
                  </a:lnTo>
                  <a:lnTo>
                    <a:pt x="437" y="244"/>
                  </a:lnTo>
                  <a:lnTo>
                    <a:pt x="447" y="242"/>
                  </a:lnTo>
                  <a:lnTo>
                    <a:pt x="454" y="240"/>
                  </a:lnTo>
                  <a:lnTo>
                    <a:pt x="459" y="240"/>
                  </a:lnTo>
                  <a:lnTo>
                    <a:pt x="468" y="237"/>
                  </a:lnTo>
                  <a:lnTo>
                    <a:pt x="480" y="235"/>
                  </a:lnTo>
                  <a:lnTo>
                    <a:pt x="487" y="235"/>
                  </a:lnTo>
                  <a:lnTo>
                    <a:pt x="492" y="230"/>
                  </a:lnTo>
                  <a:lnTo>
                    <a:pt x="499" y="230"/>
                  </a:lnTo>
                  <a:lnTo>
                    <a:pt x="502" y="228"/>
                  </a:lnTo>
                  <a:lnTo>
                    <a:pt x="509" y="228"/>
                  </a:lnTo>
                  <a:lnTo>
                    <a:pt x="516" y="220"/>
                  </a:lnTo>
                  <a:lnTo>
                    <a:pt x="518" y="220"/>
                  </a:lnTo>
                  <a:lnTo>
                    <a:pt x="518" y="218"/>
                  </a:lnTo>
                  <a:lnTo>
                    <a:pt x="523" y="218"/>
                  </a:lnTo>
                  <a:lnTo>
                    <a:pt x="525" y="216"/>
                  </a:lnTo>
                  <a:lnTo>
                    <a:pt x="528" y="216"/>
                  </a:lnTo>
                  <a:lnTo>
                    <a:pt x="542" y="213"/>
                  </a:lnTo>
                  <a:lnTo>
                    <a:pt x="552" y="211"/>
                  </a:lnTo>
                  <a:lnTo>
                    <a:pt x="552" y="206"/>
                  </a:lnTo>
                  <a:lnTo>
                    <a:pt x="549" y="206"/>
                  </a:lnTo>
                  <a:lnTo>
                    <a:pt x="547" y="208"/>
                  </a:lnTo>
                  <a:lnTo>
                    <a:pt x="537" y="208"/>
                  </a:lnTo>
                  <a:lnTo>
                    <a:pt x="530" y="206"/>
                  </a:lnTo>
                  <a:lnTo>
                    <a:pt x="525" y="206"/>
                  </a:lnTo>
                  <a:lnTo>
                    <a:pt x="521" y="204"/>
                  </a:lnTo>
                  <a:lnTo>
                    <a:pt x="509" y="204"/>
                  </a:lnTo>
                  <a:lnTo>
                    <a:pt x="499" y="206"/>
                  </a:lnTo>
                  <a:lnTo>
                    <a:pt x="490" y="206"/>
                  </a:lnTo>
                  <a:lnTo>
                    <a:pt x="487" y="211"/>
                  </a:lnTo>
                  <a:lnTo>
                    <a:pt x="471" y="211"/>
                  </a:lnTo>
                  <a:lnTo>
                    <a:pt x="485" y="206"/>
                  </a:lnTo>
                  <a:lnTo>
                    <a:pt x="494" y="204"/>
                  </a:lnTo>
                  <a:lnTo>
                    <a:pt x="499" y="204"/>
                  </a:lnTo>
                  <a:lnTo>
                    <a:pt x="502" y="201"/>
                  </a:lnTo>
                  <a:lnTo>
                    <a:pt x="506" y="201"/>
                  </a:lnTo>
                  <a:lnTo>
                    <a:pt x="511" y="199"/>
                  </a:lnTo>
                  <a:lnTo>
                    <a:pt x="514" y="199"/>
                  </a:lnTo>
                  <a:lnTo>
                    <a:pt x="516" y="199"/>
                  </a:lnTo>
                  <a:lnTo>
                    <a:pt x="514" y="196"/>
                  </a:lnTo>
                  <a:lnTo>
                    <a:pt x="509" y="194"/>
                  </a:lnTo>
                  <a:lnTo>
                    <a:pt x="506" y="194"/>
                  </a:lnTo>
                  <a:lnTo>
                    <a:pt x="504" y="194"/>
                  </a:lnTo>
                  <a:lnTo>
                    <a:pt x="497" y="196"/>
                  </a:lnTo>
                  <a:lnTo>
                    <a:pt x="483" y="201"/>
                  </a:lnTo>
                  <a:lnTo>
                    <a:pt x="468" y="201"/>
                  </a:lnTo>
                  <a:lnTo>
                    <a:pt x="478" y="196"/>
                  </a:lnTo>
                  <a:lnTo>
                    <a:pt x="485" y="192"/>
                  </a:lnTo>
                  <a:lnTo>
                    <a:pt x="487" y="192"/>
                  </a:lnTo>
                  <a:lnTo>
                    <a:pt x="492" y="194"/>
                  </a:lnTo>
                  <a:lnTo>
                    <a:pt x="497" y="194"/>
                  </a:lnTo>
                  <a:lnTo>
                    <a:pt x="499" y="192"/>
                  </a:lnTo>
                  <a:lnTo>
                    <a:pt x="504" y="192"/>
                  </a:lnTo>
                  <a:lnTo>
                    <a:pt x="506" y="189"/>
                  </a:lnTo>
                  <a:lnTo>
                    <a:pt x="516" y="189"/>
                  </a:lnTo>
                  <a:lnTo>
                    <a:pt x="518" y="189"/>
                  </a:lnTo>
                  <a:lnTo>
                    <a:pt x="516" y="187"/>
                  </a:lnTo>
                  <a:lnTo>
                    <a:pt x="514" y="187"/>
                  </a:lnTo>
                  <a:lnTo>
                    <a:pt x="509" y="184"/>
                  </a:lnTo>
                  <a:lnTo>
                    <a:pt x="485" y="184"/>
                  </a:lnTo>
                  <a:lnTo>
                    <a:pt x="492" y="182"/>
                  </a:lnTo>
                  <a:lnTo>
                    <a:pt x="485" y="180"/>
                  </a:lnTo>
                  <a:lnTo>
                    <a:pt x="485" y="175"/>
                  </a:lnTo>
                  <a:lnTo>
                    <a:pt x="487" y="175"/>
                  </a:lnTo>
                  <a:lnTo>
                    <a:pt x="490" y="177"/>
                  </a:lnTo>
                  <a:lnTo>
                    <a:pt x="492" y="180"/>
                  </a:lnTo>
                  <a:lnTo>
                    <a:pt x="497" y="182"/>
                  </a:lnTo>
                  <a:lnTo>
                    <a:pt x="504" y="182"/>
                  </a:lnTo>
                  <a:lnTo>
                    <a:pt x="506" y="184"/>
                  </a:lnTo>
                  <a:lnTo>
                    <a:pt x="509" y="184"/>
                  </a:lnTo>
                  <a:lnTo>
                    <a:pt x="514" y="184"/>
                  </a:lnTo>
                  <a:lnTo>
                    <a:pt x="518" y="184"/>
                  </a:lnTo>
                  <a:lnTo>
                    <a:pt x="518" y="187"/>
                  </a:lnTo>
                  <a:lnTo>
                    <a:pt x="523" y="187"/>
                  </a:lnTo>
                  <a:lnTo>
                    <a:pt x="523" y="184"/>
                  </a:lnTo>
                  <a:lnTo>
                    <a:pt x="528" y="184"/>
                  </a:lnTo>
                  <a:lnTo>
                    <a:pt x="528" y="187"/>
                  </a:lnTo>
                  <a:lnTo>
                    <a:pt x="528" y="189"/>
                  </a:lnTo>
                  <a:lnTo>
                    <a:pt x="528" y="192"/>
                  </a:lnTo>
                  <a:lnTo>
                    <a:pt x="528" y="196"/>
                  </a:lnTo>
                  <a:lnTo>
                    <a:pt x="528" y="199"/>
                  </a:lnTo>
                  <a:lnTo>
                    <a:pt x="533" y="199"/>
                  </a:lnTo>
                  <a:lnTo>
                    <a:pt x="537" y="201"/>
                  </a:lnTo>
                  <a:lnTo>
                    <a:pt x="542" y="201"/>
                  </a:lnTo>
                  <a:lnTo>
                    <a:pt x="547" y="201"/>
                  </a:lnTo>
                  <a:lnTo>
                    <a:pt x="549" y="201"/>
                  </a:lnTo>
                  <a:lnTo>
                    <a:pt x="552" y="199"/>
                  </a:lnTo>
                  <a:lnTo>
                    <a:pt x="554" y="199"/>
                  </a:lnTo>
                  <a:lnTo>
                    <a:pt x="554" y="204"/>
                  </a:lnTo>
                  <a:lnTo>
                    <a:pt x="559" y="204"/>
                  </a:lnTo>
                  <a:lnTo>
                    <a:pt x="561" y="201"/>
                  </a:lnTo>
                  <a:lnTo>
                    <a:pt x="563" y="201"/>
                  </a:lnTo>
                  <a:lnTo>
                    <a:pt x="563" y="194"/>
                  </a:lnTo>
                  <a:lnTo>
                    <a:pt x="561" y="194"/>
                  </a:lnTo>
                  <a:lnTo>
                    <a:pt x="563" y="189"/>
                  </a:lnTo>
                  <a:lnTo>
                    <a:pt x="563" y="187"/>
                  </a:lnTo>
                  <a:lnTo>
                    <a:pt x="559" y="187"/>
                  </a:lnTo>
                  <a:lnTo>
                    <a:pt x="556" y="182"/>
                  </a:lnTo>
                  <a:lnTo>
                    <a:pt x="552" y="180"/>
                  </a:lnTo>
                  <a:lnTo>
                    <a:pt x="552" y="175"/>
                  </a:lnTo>
                  <a:lnTo>
                    <a:pt x="533" y="170"/>
                  </a:lnTo>
                  <a:lnTo>
                    <a:pt x="523" y="170"/>
                  </a:lnTo>
                  <a:lnTo>
                    <a:pt x="521" y="170"/>
                  </a:lnTo>
                  <a:lnTo>
                    <a:pt x="528" y="168"/>
                  </a:lnTo>
                  <a:lnTo>
                    <a:pt x="530" y="165"/>
                  </a:lnTo>
                  <a:lnTo>
                    <a:pt x="528" y="165"/>
                  </a:lnTo>
                  <a:lnTo>
                    <a:pt x="525" y="163"/>
                  </a:lnTo>
                  <a:lnTo>
                    <a:pt x="514" y="163"/>
                  </a:lnTo>
                  <a:lnTo>
                    <a:pt x="509" y="161"/>
                  </a:lnTo>
                  <a:lnTo>
                    <a:pt x="504" y="161"/>
                  </a:lnTo>
                  <a:lnTo>
                    <a:pt x="509" y="156"/>
                  </a:lnTo>
                  <a:lnTo>
                    <a:pt x="523" y="156"/>
                  </a:lnTo>
                  <a:lnTo>
                    <a:pt x="528" y="153"/>
                  </a:lnTo>
                  <a:lnTo>
                    <a:pt x="533" y="153"/>
                  </a:lnTo>
                  <a:lnTo>
                    <a:pt x="547" y="156"/>
                  </a:lnTo>
                  <a:lnTo>
                    <a:pt x="552" y="156"/>
                  </a:lnTo>
                  <a:lnTo>
                    <a:pt x="554" y="156"/>
                  </a:lnTo>
                  <a:lnTo>
                    <a:pt x="556" y="158"/>
                  </a:lnTo>
                  <a:lnTo>
                    <a:pt x="559" y="161"/>
                  </a:lnTo>
                  <a:lnTo>
                    <a:pt x="563" y="165"/>
                  </a:lnTo>
                  <a:lnTo>
                    <a:pt x="568" y="165"/>
                  </a:lnTo>
                  <a:lnTo>
                    <a:pt x="568" y="163"/>
                  </a:lnTo>
                  <a:lnTo>
                    <a:pt x="568" y="158"/>
                  </a:lnTo>
                  <a:lnTo>
                    <a:pt x="559" y="156"/>
                  </a:lnTo>
                  <a:lnTo>
                    <a:pt x="552" y="153"/>
                  </a:lnTo>
                  <a:lnTo>
                    <a:pt x="540" y="151"/>
                  </a:lnTo>
                  <a:lnTo>
                    <a:pt x="544" y="149"/>
                  </a:lnTo>
                  <a:lnTo>
                    <a:pt x="547" y="149"/>
                  </a:lnTo>
                  <a:lnTo>
                    <a:pt x="552" y="151"/>
                  </a:lnTo>
                  <a:lnTo>
                    <a:pt x="556" y="151"/>
                  </a:lnTo>
                  <a:lnTo>
                    <a:pt x="559" y="153"/>
                  </a:lnTo>
                  <a:lnTo>
                    <a:pt x="578" y="153"/>
                  </a:lnTo>
                  <a:lnTo>
                    <a:pt x="594" y="151"/>
                  </a:lnTo>
                  <a:lnTo>
                    <a:pt x="594" y="144"/>
                  </a:lnTo>
                  <a:lnTo>
                    <a:pt x="582" y="141"/>
                  </a:lnTo>
                  <a:lnTo>
                    <a:pt x="578" y="146"/>
                  </a:lnTo>
                  <a:lnTo>
                    <a:pt x="573" y="141"/>
                  </a:lnTo>
                  <a:lnTo>
                    <a:pt x="573" y="139"/>
                  </a:lnTo>
                  <a:lnTo>
                    <a:pt x="587" y="139"/>
                  </a:lnTo>
                  <a:lnTo>
                    <a:pt x="599" y="137"/>
                  </a:lnTo>
                  <a:lnTo>
                    <a:pt x="602" y="139"/>
                  </a:lnTo>
                  <a:lnTo>
                    <a:pt x="609" y="139"/>
                  </a:lnTo>
                  <a:lnTo>
                    <a:pt x="616" y="134"/>
                  </a:lnTo>
                  <a:lnTo>
                    <a:pt x="618" y="134"/>
                  </a:lnTo>
                  <a:lnTo>
                    <a:pt x="618" y="132"/>
                  </a:lnTo>
                  <a:lnTo>
                    <a:pt x="599" y="132"/>
                  </a:lnTo>
                  <a:lnTo>
                    <a:pt x="599" y="129"/>
                  </a:lnTo>
                  <a:lnTo>
                    <a:pt x="597" y="129"/>
                  </a:lnTo>
                  <a:lnTo>
                    <a:pt x="597" y="127"/>
                  </a:lnTo>
                  <a:lnTo>
                    <a:pt x="592" y="127"/>
                  </a:lnTo>
                  <a:lnTo>
                    <a:pt x="587" y="125"/>
                  </a:lnTo>
                  <a:lnTo>
                    <a:pt x="592" y="125"/>
                  </a:lnTo>
                  <a:lnTo>
                    <a:pt x="594" y="125"/>
                  </a:lnTo>
                  <a:lnTo>
                    <a:pt x="594" y="122"/>
                  </a:lnTo>
                  <a:lnTo>
                    <a:pt x="592" y="120"/>
                  </a:lnTo>
                  <a:lnTo>
                    <a:pt x="590" y="120"/>
                  </a:lnTo>
                  <a:lnTo>
                    <a:pt x="582" y="117"/>
                  </a:lnTo>
                  <a:lnTo>
                    <a:pt x="592" y="117"/>
                  </a:lnTo>
                  <a:lnTo>
                    <a:pt x="594" y="120"/>
                  </a:lnTo>
                  <a:lnTo>
                    <a:pt x="597" y="120"/>
                  </a:lnTo>
                  <a:lnTo>
                    <a:pt x="602" y="120"/>
                  </a:lnTo>
                  <a:lnTo>
                    <a:pt x="606" y="120"/>
                  </a:lnTo>
                  <a:lnTo>
                    <a:pt x="609" y="125"/>
                  </a:lnTo>
                  <a:lnTo>
                    <a:pt x="613" y="125"/>
                  </a:lnTo>
                  <a:lnTo>
                    <a:pt x="618" y="120"/>
                  </a:lnTo>
                  <a:lnTo>
                    <a:pt x="618" y="113"/>
                  </a:lnTo>
                  <a:lnTo>
                    <a:pt x="616" y="110"/>
                  </a:lnTo>
                  <a:lnTo>
                    <a:pt x="613" y="110"/>
                  </a:lnTo>
                  <a:lnTo>
                    <a:pt x="611" y="108"/>
                  </a:lnTo>
                  <a:lnTo>
                    <a:pt x="609" y="105"/>
                  </a:lnTo>
                  <a:lnTo>
                    <a:pt x="592" y="103"/>
                  </a:lnTo>
                  <a:lnTo>
                    <a:pt x="587" y="101"/>
                  </a:lnTo>
                  <a:lnTo>
                    <a:pt x="587" y="98"/>
                  </a:lnTo>
                  <a:lnTo>
                    <a:pt x="590" y="98"/>
                  </a:lnTo>
                  <a:lnTo>
                    <a:pt x="599" y="98"/>
                  </a:lnTo>
                  <a:lnTo>
                    <a:pt x="611" y="96"/>
                  </a:lnTo>
                  <a:lnTo>
                    <a:pt x="618" y="96"/>
                  </a:lnTo>
                  <a:lnTo>
                    <a:pt x="623" y="98"/>
                  </a:lnTo>
                  <a:lnTo>
                    <a:pt x="632" y="98"/>
                  </a:lnTo>
                  <a:lnTo>
                    <a:pt x="637" y="96"/>
                  </a:lnTo>
                  <a:lnTo>
                    <a:pt x="642" y="93"/>
                  </a:lnTo>
                  <a:lnTo>
                    <a:pt x="642" y="91"/>
                  </a:lnTo>
                  <a:lnTo>
                    <a:pt x="642" y="89"/>
                  </a:lnTo>
                  <a:lnTo>
                    <a:pt x="632" y="89"/>
                  </a:lnTo>
                  <a:lnTo>
                    <a:pt x="625" y="86"/>
                  </a:lnTo>
                  <a:lnTo>
                    <a:pt x="616" y="86"/>
                  </a:lnTo>
                  <a:lnTo>
                    <a:pt x="613" y="84"/>
                  </a:lnTo>
                  <a:lnTo>
                    <a:pt x="623" y="84"/>
                  </a:lnTo>
                  <a:lnTo>
                    <a:pt x="621" y="82"/>
                  </a:lnTo>
                  <a:lnTo>
                    <a:pt x="618" y="79"/>
                  </a:lnTo>
                  <a:lnTo>
                    <a:pt x="618" y="77"/>
                  </a:lnTo>
                  <a:lnTo>
                    <a:pt x="613" y="77"/>
                  </a:lnTo>
                  <a:lnTo>
                    <a:pt x="611" y="79"/>
                  </a:lnTo>
                  <a:lnTo>
                    <a:pt x="611" y="84"/>
                  </a:lnTo>
                  <a:lnTo>
                    <a:pt x="606" y="84"/>
                  </a:lnTo>
                  <a:lnTo>
                    <a:pt x="604" y="84"/>
                  </a:lnTo>
                  <a:lnTo>
                    <a:pt x="602" y="82"/>
                  </a:lnTo>
                  <a:lnTo>
                    <a:pt x="599" y="79"/>
                  </a:lnTo>
                  <a:lnTo>
                    <a:pt x="602" y="79"/>
                  </a:lnTo>
                  <a:lnTo>
                    <a:pt x="606" y="77"/>
                  </a:lnTo>
                  <a:lnTo>
                    <a:pt x="609" y="74"/>
                  </a:lnTo>
                  <a:lnTo>
                    <a:pt x="613" y="70"/>
                  </a:lnTo>
                  <a:lnTo>
                    <a:pt x="616" y="67"/>
                  </a:lnTo>
                  <a:lnTo>
                    <a:pt x="618" y="65"/>
                  </a:lnTo>
                  <a:lnTo>
                    <a:pt x="621" y="65"/>
                  </a:lnTo>
                  <a:lnTo>
                    <a:pt x="623" y="65"/>
                  </a:lnTo>
                  <a:lnTo>
                    <a:pt x="628" y="65"/>
                  </a:lnTo>
                  <a:lnTo>
                    <a:pt x="630" y="65"/>
                  </a:lnTo>
                  <a:lnTo>
                    <a:pt x="632" y="62"/>
                  </a:lnTo>
                  <a:lnTo>
                    <a:pt x="637" y="60"/>
                  </a:lnTo>
                  <a:lnTo>
                    <a:pt x="635" y="55"/>
                  </a:lnTo>
                  <a:lnTo>
                    <a:pt x="637" y="53"/>
                  </a:lnTo>
                  <a:lnTo>
                    <a:pt x="640" y="50"/>
                  </a:lnTo>
                  <a:lnTo>
                    <a:pt x="642" y="50"/>
                  </a:lnTo>
                  <a:lnTo>
                    <a:pt x="647" y="50"/>
                  </a:lnTo>
                  <a:lnTo>
                    <a:pt x="649" y="50"/>
                  </a:lnTo>
                  <a:lnTo>
                    <a:pt x="651" y="53"/>
                  </a:lnTo>
                  <a:lnTo>
                    <a:pt x="656" y="53"/>
                  </a:lnTo>
                  <a:lnTo>
                    <a:pt x="659" y="50"/>
                  </a:lnTo>
                  <a:lnTo>
                    <a:pt x="661" y="50"/>
                  </a:lnTo>
                  <a:lnTo>
                    <a:pt x="663" y="48"/>
                  </a:lnTo>
                  <a:lnTo>
                    <a:pt x="644" y="48"/>
                  </a:lnTo>
                  <a:lnTo>
                    <a:pt x="642" y="48"/>
                  </a:lnTo>
                  <a:lnTo>
                    <a:pt x="637" y="48"/>
                  </a:lnTo>
                  <a:lnTo>
                    <a:pt x="635" y="50"/>
                  </a:lnTo>
                  <a:lnTo>
                    <a:pt x="630" y="50"/>
                  </a:lnTo>
                  <a:lnTo>
                    <a:pt x="630" y="48"/>
                  </a:lnTo>
                  <a:lnTo>
                    <a:pt x="640" y="43"/>
                  </a:lnTo>
                  <a:lnTo>
                    <a:pt x="670" y="43"/>
                  </a:lnTo>
                  <a:lnTo>
                    <a:pt x="675" y="43"/>
                  </a:lnTo>
                  <a:lnTo>
                    <a:pt x="678" y="43"/>
                  </a:lnTo>
                  <a:lnTo>
                    <a:pt x="682" y="41"/>
                  </a:lnTo>
                  <a:lnTo>
                    <a:pt x="678" y="41"/>
                  </a:lnTo>
                  <a:lnTo>
                    <a:pt x="673" y="38"/>
                  </a:lnTo>
                  <a:lnTo>
                    <a:pt x="656" y="38"/>
                  </a:lnTo>
                  <a:lnTo>
                    <a:pt x="651" y="41"/>
                  </a:lnTo>
                  <a:lnTo>
                    <a:pt x="635" y="41"/>
                  </a:lnTo>
                  <a:lnTo>
                    <a:pt x="635" y="38"/>
                  </a:lnTo>
                  <a:lnTo>
                    <a:pt x="637" y="38"/>
                  </a:lnTo>
                  <a:lnTo>
                    <a:pt x="642" y="38"/>
                  </a:lnTo>
                  <a:lnTo>
                    <a:pt x="687" y="38"/>
                  </a:lnTo>
                  <a:lnTo>
                    <a:pt x="692" y="36"/>
                  </a:lnTo>
                  <a:lnTo>
                    <a:pt x="699" y="34"/>
                  </a:lnTo>
                  <a:lnTo>
                    <a:pt x="701" y="31"/>
                  </a:lnTo>
                  <a:lnTo>
                    <a:pt x="718" y="31"/>
                  </a:lnTo>
                  <a:lnTo>
                    <a:pt x="723" y="29"/>
                  </a:lnTo>
                  <a:lnTo>
                    <a:pt x="725" y="29"/>
                  </a:lnTo>
                  <a:lnTo>
                    <a:pt x="730" y="29"/>
                  </a:lnTo>
                  <a:lnTo>
                    <a:pt x="732" y="26"/>
                  </a:lnTo>
                  <a:lnTo>
                    <a:pt x="730" y="24"/>
                  </a:lnTo>
                  <a:close/>
                  <a:moveTo>
                    <a:pt x="119" y="268"/>
                  </a:moveTo>
                  <a:lnTo>
                    <a:pt x="116" y="266"/>
                  </a:lnTo>
                  <a:lnTo>
                    <a:pt x="119" y="268"/>
                  </a:lnTo>
                  <a:close/>
                  <a:moveTo>
                    <a:pt x="128" y="223"/>
                  </a:moveTo>
                  <a:lnTo>
                    <a:pt x="135" y="223"/>
                  </a:lnTo>
                  <a:lnTo>
                    <a:pt x="138" y="220"/>
                  </a:lnTo>
                  <a:lnTo>
                    <a:pt x="145" y="220"/>
                  </a:lnTo>
                  <a:lnTo>
                    <a:pt x="147" y="220"/>
                  </a:lnTo>
                  <a:lnTo>
                    <a:pt x="147" y="216"/>
                  </a:lnTo>
                  <a:lnTo>
                    <a:pt x="150" y="216"/>
                  </a:lnTo>
                  <a:lnTo>
                    <a:pt x="147" y="213"/>
                  </a:lnTo>
                  <a:lnTo>
                    <a:pt x="145" y="211"/>
                  </a:lnTo>
                  <a:lnTo>
                    <a:pt x="143" y="211"/>
                  </a:lnTo>
                  <a:lnTo>
                    <a:pt x="138" y="211"/>
                  </a:lnTo>
                  <a:lnTo>
                    <a:pt x="135" y="206"/>
                  </a:lnTo>
                  <a:lnTo>
                    <a:pt x="119" y="206"/>
                  </a:lnTo>
                  <a:lnTo>
                    <a:pt x="119" y="213"/>
                  </a:lnTo>
                  <a:lnTo>
                    <a:pt x="116" y="216"/>
                  </a:lnTo>
                  <a:lnTo>
                    <a:pt x="114" y="216"/>
                  </a:lnTo>
                  <a:lnTo>
                    <a:pt x="114" y="218"/>
                  </a:lnTo>
                  <a:lnTo>
                    <a:pt x="116" y="220"/>
                  </a:lnTo>
                  <a:lnTo>
                    <a:pt x="119" y="220"/>
                  </a:lnTo>
                  <a:lnTo>
                    <a:pt x="119" y="225"/>
                  </a:lnTo>
                  <a:lnTo>
                    <a:pt x="128" y="223"/>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86" name="Greece" descr="© INSCALE GmbH, 05.05.2010&#10;http://www.presentationload.com/">
              <a:extLst>
                <a:ext uri="{FF2B5EF4-FFF2-40B4-BE49-F238E27FC236}">
                  <a16:creationId xmlns:a16="http://schemas.microsoft.com/office/drawing/2014/main" id="{28D2FF63-510A-109C-01B1-2F0DCF4B1E7F}"/>
                </a:ext>
              </a:extLst>
            </p:cNvPr>
            <p:cNvSpPr>
              <a:spLocks noEditPoints="1"/>
            </p:cNvSpPr>
            <p:nvPr/>
          </p:nvSpPr>
          <p:spPr bwMode="gray">
            <a:xfrm>
              <a:off x="4761633" y="1943633"/>
              <a:ext cx="201602" cy="209016"/>
            </a:xfrm>
            <a:custGeom>
              <a:avLst/>
              <a:gdLst>
                <a:gd name="T0" fmla="*/ 0 w 534"/>
                <a:gd name="T1" fmla="*/ 2147483647 h 552"/>
                <a:gd name="T2" fmla="*/ 2147483647 w 534"/>
                <a:gd name="T3" fmla="*/ 2147483647 h 552"/>
                <a:gd name="T4" fmla="*/ 2147483647 w 534"/>
                <a:gd name="T5" fmla="*/ 2147483647 h 552"/>
                <a:gd name="T6" fmla="*/ 2147483647 w 534"/>
                <a:gd name="T7" fmla="*/ 2147483647 h 552"/>
                <a:gd name="T8" fmla="*/ 2147483647 w 534"/>
                <a:gd name="T9" fmla="*/ 2147483647 h 552"/>
                <a:gd name="T10" fmla="*/ 2147483647 w 534"/>
                <a:gd name="T11" fmla="*/ 2147483647 h 552"/>
                <a:gd name="T12" fmla="*/ 2147483647 w 534"/>
                <a:gd name="T13" fmla="*/ 2147483647 h 552"/>
                <a:gd name="T14" fmla="*/ 2147483647 w 534"/>
                <a:gd name="T15" fmla="*/ 2147483647 h 552"/>
                <a:gd name="T16" fmla="*/ 2147483647 w 534"/>
                <a:gd name="T17" fmla="*/ 2147483647 h 552"/>
                <a:gd name="T18" fmla="*/ 2147483647 w 534"/>
                <a:gd name="T19" fmla="*/ 2147483647 h 552"/>
                <a:gd name="T20" fmla="*/ 2147483647 w 534"/>
                <a:gd name="T21" fmla="*/ 2147483647 h 552"/>
                <a:gd name="T22" fmla="*/ 2147483647 w 534"/>
                <a:gd name="T23" fmla="*/ 2147483647 h 552"/>
                <a:gd name="T24" fmla="*/ 2147483647 w 534"/>
                <a:gd name="T25" fmla="*/ 2147483647 h 552"/>
                <a:gd name="T26" fmla="*/ 2147483647 w 534"/>
                <a:gd name="T27" fmla="*/ 2147483647 h 552"/>
                <a:gd name="T28" fmla="*/ 2147483647 w 534"/>
                <a:gd name="T29" fmla="*/ 2147483647 h 552"/>
                <a:gd name="T30" fmla="*/ 2147483647 w 534"/>
                <a:gd name="T31" fmla="*/ 2147483647 h 552"/>
                <a:gd name="T32" fmla="*/ 2147483647 w 534"/>
                <a:gd name="T33" fmla="*/ 2147483647 h 552"/>
                <a:gd name="T34" fmla="*/ 2147483647 w 534"/>
                <a:gd name="T35" fmla="*/ 2147483647 h 552"/>
                <a:gd name="T36" fmla="*/ 2147483647 w 534"/>
                <a:gd name="T37" fmla="*/ 2147483647 h 552"/>
                <a:gd name="T38" fmla="*/ 2147483647 w 534"/>
                <a:gd name="T39" fmla="*/ 2147483647 h 552"/>
                <a:gd name="T40" fmla="*/ 2147483647 w 534"/>
                <a:gd name="T41" fmla="*/ 2147483647 h 552"/>
                <a:gd name="T42" fmla="*/ 2147483647 w 534"/>
                <a:gd name="T43" fmla="*/ 2147483647 h 552"/>
                <a:gd name="T44" fmla="*/ 2147483647 w 534"/>
                <a:gd name="T45" fmla="*/ 2147483647 h 552"/>
                <a:gd name="T46" fmla="*/ 2147483647 w 534"/>
                <a:gd name="T47" fmla="*/ 2147483647 h 552"/>
                <a:gd name="T48" fmla="*/ 2147483647 w 534"/>
                <a:gd name="T49" fmla="*/ 2147483647 h 552"/>
                <a:gd name="T50" fmla="*/ 2147483647 w 534"/>
                <a:gd name="T51" fmla="*/ 2147483647 h 552"/>
                <a:gd name="T52" fmla="*/ 2147483647 w 534"/>
                <a:gd name="T53" fmla="*/ 2147483647 h 552"/>
                <a:gd name="T54" fmla="*/ 2147483647 w 534"/>
                <a:gd name="T55" fmla="*/ 2147483647 h 552"/>
                <a:gd name="T56" fmla="*/ 2147483647 w 534"/>
                <a:gd name="T57" fmla="*/ 2147483647 h 552"/>
                <a:gd name="T58" fmla="*/ 2147483647 w 534"/>
                <a:gd name="T59" fmla="*/ 2147483647 h 552"/>
                <a:gd name="T60" fmla="*/ 2147483647 w 534"/>
                <a:gd name="T61" fmla="*/ 2147483647 h 552"/>
                <a:gd name="T62" fmla="*/ 2147483647 w 534"/>
                <a:gd name="T63" fmla="*/ 2147483647 h 552"/>
                <a:gd name="T64" fmla="*/ 2147483647 w 534"/>
                <a:gd name="T65" fmla="*/ 2147483647 h 552"/>
                <a:gd name="T66" fmla="*/ 2147483647 w 534"/>
                <a:gd name="T67" fmla="*/ 2147483647 h 552"/>
                <a:gd name="T68" fmla="*/ 2147483647 w 534"/>
                <a:gd name="T69" fmla="*/ 2147483647 h 552"/>
                <a:gd name="T70" fmla="*/ 2147483647 w 534"/>
                <a:gd name="T71" fmla="*/ 2147483647 h 552"/>
                <a:gd name="T72" fmla="*/ 2147483647 w 534"/>
                <a:gd name="T73" fmla="*/ 2147483647 h 552"/>
                <a:gd name="T74" fmla="*/ 2147483647 w 534"/>
                <a:gd name="T75" fmla="*/ 2147483647 h 552"/>
                <a:gd name="T76" fmla="*/ 2147483647 w 534"/>
                <a:gd name="T77" fmla="*/ 2147483647 h 552"/>
                <a:gd name="T78" fmla="*/ 2147483647 w 534"/>
                <a:gd name="T79" fmla="*/ 2147483647 h 552"/>
                <a:gd name="T80" fmla="*/ 2147483647 w 534"/>
                <a:gd name="T81" fmla="*/ 2147483647 h 552"/>
                <a:gd name="T82" fmla="*/ 2147483647 w 534"/>
                <a:gd name="T83" fmla="*/ 2147483647 h 552"/>
                <a:gd name="T84" fmla="*/ 2147483647 w 534"/>
                <a:gd name="T85" fmla="*/ 2147483647 h 552"/>
                <a:gd name="T86" fmla="*/ 2147483647 w 534"/>
                <a:gd name="T87" fmla="*/ 2147483647 h 552"/>
                <a:gd name="T88" fmla="*/ 2147483647 w 534"/>
                <a:gd name="T89" fmla="*/ 2147483647 h 552"/>
                <a:gd name="T90" fmla="*/ 2147483647 w 534"/>
                <a:gd name="T91" fmla="*/ 2147483647 h 552"/>
                <a:gd name="T92" fmla="*/ 2147483647 w 534"/>
                <a:gd name="T93" fmla="*/ 2147483647 h 552"/>
                <a:gd name="T94" fmla="*/ 2147483647 w 534"/>
                <a:gd name="T95" fmla="*/ 2147483647 h 552"/>
                <a:gd name="T96" fmla="*/ 2147483647 w 534"/>
                <a:gd name="T97" fmla="*/ 2147483647 h 552"/>
                <a:gd name="T98" fmla="*/ 2147483647 w 534"/>
                <a:gd name="T99" fmla="*/ 2147483647 h 552"/>
                <a:gd name="T100" fmla="*/ 2147483647 w 534"/>
                <a:gd name="T101" fmla="*/ 2147483647 h 552"/>
                <a:gd name="T102" fmla="*/ 2147483647 w 534"/>
                <a:gd name="T103" fmla="*/ 2147483647 h 552"/>
                <a:gd name="T104" fmla="*/ 2147483647 w 534"/>
                <a:gd name="T105" fmla="*/ 2147483647 h 552"/>
                <a:gd name="T106" fmla="*/ 2147483647 w 534"/>
                <a:gd name="T107" fmla="*/ 2147483647 h 5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34"/>
                <a:gd name="T163" fmla="*/ 0 h 552"/>
                <a:gd name="T164" fmla="*/ 534 w 534"/>
                <a:gd name="T165" fmla="*/ 552 h 5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34" h="552">
                  <a:moveTo>
                    <a:pt x="240" y="108"/>
                  </a:moveTo>
                  <a:lnTo>
                    <a:pt x="270" y="126"/>
                  </a:lnTo>
                  <a:lnTo>
                    <a:pt x="282" y="120"/>
                  </a:lnTo>
                  <a:lnTo>
                    <a:pt x="240" y="108"/>
                  </a:lnTo>
                  <a:close/>
                  <a:moveTo>
                    <a:pt x="24" y="258"/>
                  </a:moveTo>
                  <a:lnTo>
                    <a:pt x="0" y="282"/>
                  </a:lnTo>
                  <a:lnTo>
                    <a:pt x="42" y="294"/>
                  </a:lnTo>
                  <a:lnTo>
                    <a:pt x="24" y="258"/>
                  </a:lnTo>
                  <a:close/>
                  <a:moveTo>
                    <a:pt x="312" y="414"/>
                  </a:moveTo>
                  <a:lnTo>
                    <a:pt x="312" y="420"/>
                  </a:lnTo>
                  <a:lnTo>
                    <a:pt x="324" y="420"/>
                  </a:lnTo>
                  <a:lnTo>
                    <a:pt x="324" y="414"/>
                  </a:lnTo>
                  <a:lnTo>
                    <a:pt x="318" y="408"/>
                  </a:lnTo>
                  <a:lnTo>
                    <a:pt x="312" y="408"/>
                  </a:lnTo>
                  <a:lnTo>
                    <a:pt x="312" y="414"/>
                  </a:lnTo>
                  <a:close/>
                  <a:moveTo>
                    <a:pt x="306" y="390"/>
                  </a:moveTo>
                  <a:lnTo>
                    <a:pt x="300" y="378"/>
                  </a:lnTo>
                  <a:lnTo>
                    <a:pt x="294" y="390"/>
                  </a:lnTo>
                  <a:lnTo>
                    <a:pt x="306" y="390"/>
                  </a:lnTo>
                  <a:close/>
                  <a:moveTo>
                    <a:pt x="294" y="294"/>
                  </a:moveTo>
                  <a:lnTo>
                    <a:pt x="318" y="336"/>
                  </a:lnTo>
                  <a:lnTo>
                    <a:pt x="330" y="318"/>
                  </a:lnTo>
                  <a:lnTo>
                    <a:pt x="294" y="294"/>
                  </a:lnTo>
                  <a:close/>
                  <a:moveTo>
                    <a:pt x="108" y="264"/>
                  </a:moveTo>
                  <a:lnTo>
                    <a:pt x="138" y="264"/>
                  </a:lnTo>
                  <a:lnTo>
                    <a:pt x="144" y="270"/>
                  </a:lnTo>
                  <a:lnTo>
                    <a:pt x="156" y="270"/>
                  </a:lnTo>
                  <a:lnTo>
                    <a:pt x="180" y="282"/>
                  </a:lnTo>
                  <a:lnTo>
                    <a:pt x="192" y="282"/>
                  </a:lnTo>
                  <a:lnTo>
                    <a:pt x="198" y="288"/>
                  </a:lnTo>
                  <a:lnTo>
                    <a:pt x="204" y="288"/>
                  </a:lnTo>
                  <a:lnTo>
                    <a:pt x="216" y="300"/>
                  </a:lnTo>
                  <a:lnTo>
                    <a:pt x="228" y="306"/>
                  </a:lnTo>
                  <a:lnTo>
                    <a:pt x="234" y="312"/>
                  </a:lnTo>
                  <a:lnTo>
                    <a:pt x="246" y="312"/>
                  </a:lnTo>
                  <a:lnTo>
                    <a:pt x="252" y="306"/>
                  </a:lnTo>
                  <a:lnTo>
                    <a:pt x="252" y="288"/>
                  </a:lnTo>
                  <a:lnTo>
                    <a:pt x="228" y="264"/>
                  </a:lnTo>
                  <a:lnTo>
                    <a:pt x="216" y="258"/>
                  </a:lnTo>
                  <a:lnTo>
                    <a:pt x="210" y="252"/>
                  </a:lnTo>
                  <a:lnTo>
                    <a:pt x="204" y="252"/>
                  </a:lnTo>
                  <a:lnTo>
                    <a:pt x="198" y="246"/>
                  </a:lnTo>
                  <a:lnTo>
                    <a:pt x="186" y="246"/>
                  </a:lnTo>
                  <a:lnTo>
                    <a:pt x="174" y="234"/>
                  </a:lnTo>
                  <a:lnTo>
                    <a:pt x="168" y="234"/>
                  </a:lnTo>
                  <a:lnTo>
                    <a:pt x="174" y="228"/>
                  </a:lnTo>
                  <a:lnTo>
                    <a:pt x="192" y="228"/>
                  </a:lnTo>
                  <a:lnTo>
                    <a:pt x="198" y="240"/>
                  </a:lnTo>
                  <a:lnTo>
                    <a:pt x="222" y="252"/>
                  </a:lnTo>
                  <a:lnTo>
                    <a:pt x="234" y="264"/>
                  </a:lnTo>
                  <a:lnTo>
                    <a:pt x="258" y="264"/>
                  </a:lnTo>
                  <a:lnTo>
                    <a:pt x="270" y="252"/>
                  </a:lnTo>
                  <a:lnTo>
                    <a:pt x="258" y="240"/>
                  </a:lnTo>
                  <a:lnTo>
                    <a:pt x="246" y="240"/>
                  </a:lnTo>
                  <a:lnTo>
                    <a:pt x="234" y="234"/>
                  </a:lnTo>
                  <a:lnTo>
                    <a:pt x="222" y="234"/>
                  </a:lnTo>
                  <a:lnTo>
                    <a:pt x="210" y="228"/>
                  </a:lnTo>
                  <a:lnTo>
                    <a:pt x="204" y="216"/>
                  </a:lnTo>
                  <a:lnTo>
                    <a:pt x="198" y="210"/>
                  </a:lnTo>
                  <a:lnTo>
                    <a:pt x="198" y="204"/>
                  </a:lnTo>
                  <a:lnTo>
                    <a:pt x="192" y="192"/>
                  </a:lnTo>
                  <a:lnTo>
                    <a:pt x="186" y="186"/>
                  </a:lnTo>
                  <a:lnTo>
                    <a:pt x="174" y="162"/>
                  </a:lnTo>
                  <a:lnTo>
                    <a:pt x="168" y="156"/>
                  </a:lnTo>
                  <a:lnTo>
                    <a:pt x="162" y="144"/>
                  </a:lnTo>
                  <a:lnTo>
                    <a:pt x="150" y="132"/>
                  </a:lnTo>
                  <a:lnTo>
                    <a:pt x="150" y="120"/>
                  </a:lnTo>
                  <a:lnTo>
                    <a:pt x="144" y="114"/>
                  </a:lnTo>
                  <a:lnTo>
                    <a:pt x="144" y="102"/>
                  </a:lnTo>
                  <a:lnTo>
                    <a:pt x="150" y="96"/>
                  </a:lnTo>
                  <a:lnTo>
                    <a:pt x="156" y="96"/>
                  </a:lnTo>
                  <a:lnTo>
                    <a:pt x="162" y="102"/>
                  </a:lnTo>
                  <a:lnTo>
                    <a:pt x="162" y="108"/>
                  </a:lnTo>
                  <a:lnTo>
                    <a:pt x="168" y="114"/>
                  </a:lnTo>
                  <a:lnTo>
                    <a:pt x="180" y="114"/>
                  </a:lnTo>
                  <a:lnTo>
                    <a:pt x="180" y="120"/>
                  </a:lnTo>
                  <a:lnTo>
                    <a:pt x="186" y="120"/>
                  </a:lnTo>
                  <a:lnTo>
                    <a:pt x="198" y="132"/>
                  </a:lnTo>
                  <a:lnTo>
                    <a:pt x="198" y="144"/>
                  </a:lnTo>
                  <a:lnTo>
                    <a:pt x="204" y="144"/>
                  </a:lnTo>
                  <a:lnTo>
                    <a:pt x="210" y="138"/>
                  </a:lnTo>
                  <a:lnTo>
                    <a:pt x="216" y="138"/>
                  </a:lnTo>
                  <a:lnTo>
                    <a:pt x="204" y="120"/>
                  </a:lnTo>
                  <a:lnTo>
                    <a:pt x="210" y="120"/>
                  </a:lnTo>
                  <a:lnTo>
                    <a:pt x="234" y="132"/>
                  </a:lnTo>
                  <a:lnTo>
                    <a:pt x="222" y="114"/>
                  </a:lnTo>
                  <a:lnTo>
                    <a:pt x="228" y="108"/>
                  </a:lnTo>
                  <a:lnTo>
                    <a:pt x="228" y="84"/>
                  </a:lnTo>
                  <a:lnTo>
                    <a:pt x="240" y="72"/>
                  </a:lnTo>
                  <a:lnTo>
                    <a:pt x="270" y="72"/>
                  </a:lnTo>
                  <a:lnTo>
                    <a:pt x="276" y="78"/>
                  </a:lnTo>
                  <a:lnTo>
                    <a:pt x="276" y="90"/>
                  </a:lnTo>
                  <a:lnTo>
                    <a:pt x="288" y="90"/>
                  </a:lnTo>
                  <a:lnTo>
                    <a:pt x="294" y="84"/>
                  </a:lnTo>
                  <a:lnTo>
                    <a:pt x="300" y="72"/>
                  </a:lnTo>
                  <a:lnTo>
                    <a:pt x="306" y="66"/>
                  </a:lnTo>
                  <a:lnTo>
                    <a:pt x="342" y="66"/>
                  </a:lnTo>
                  <a:lnTo>
                    <a:pt x="360" y="72"/>
                  </a:lnTo>
                  <a:lnTo>
                    <a:pt x="372" y="72"/>
                  </a:lnTo>
                  <a:lnTo>
                    <a:pt x="378" y="78"/>
                  </a:lnTo>
                  <a:lnTo>
                    <a:pt x="384" y="78"/>
                  </a:lnTo>
                  <a:lnTo>
                    <a:pt x="384" y="72"/>
                  </a:lnTo>
                  <a:lnTo>
                    <a:pt x="390" y="60"/>
                  </a:lnTo>
                  <a:lnTo>
                    <a:pt x="390" y="48"/>
                  </a:lnTo>
                  <a:lnTo>
                    <a:pt x="384" y="42"/>
                  </a:lnTo>
                  <a:lnTo>
                    <a:pt x="384" y="36"/>
                  </a:lnTo>
                  <a:lnTo>
                    <a:pt x="390" y="30"/>
                  </a:lnTo>
                  <a:lnTo>
                    <a:pt x="408" y="30"/>
                  </a:lnTo>
                  <a:lnTo>
                    <a:pt x="408" y="18"/>
                  </a:lnTo>
                  <a:lnTo>
                    <a:pt x="402" y="12"/>
                  </a:lnTo>
                  <a:lnTo>
                    <a:pt x="402" y="6"/>
                  </a:lnTo>
                  <a:lnTo>
                    <a:pt x="390" y="6"/>
                  </a:lnTo>
                  <a:lnTo>
                    <a:pt x="384" y="0"/>
                  </a:lnTo>
                  <a:lnTo>
                    <a:pt x="366" y="6"/>
                  </a:lnTo>
                  <a:lnTo>
                    <a:pt x="372" y="12"/>
                  </a:lnTo>
                  <a:lnTo>
                    <a:pt x="372" y="30"/>
                  </a:lnTo>
                  <a:lnTo>
                    <a:pt x="366" y="36"/>
                  </a:lnTo>
                  <a:lnTo>
                    <a:pt x="348" y="36"/>
                  </a:lnTo>
                  <a:lnTo>
                    <a:pt x="336" y="24"/>
                  </a:lnTo>
                  <a:lnTo>
                    <a:pt x="324" y="36"/>
                  </a:lnTo>
                  <a:lnTo>
                    <a:pt x="312" y="36"/>
                  </a:lnTo>
                  <a:lnTo>
                    <a:pt x="300" y="24"/>
                  </a:lnTo>
                  <a:lnTo>
                    <a:pt x="294" y="30"/>
                  </a:lnTo>
                  <a:lnTo>
                    <a:pt x="282" y="30"/>
                  </a:lnTo>
                  <a:lnTo>
                    <a:pt x="264" y="12"/>
                  </a:lnTo>
                  <a:lnTo>
                    <a:pt x="264" y="6"/>
                  </a:lnTo>
                  <a:lnTo>
                    <a:pt x="234" y="12"/>
                  </a:lnTo>
                  <a:lnTo>
                    <a:pt x="228" y="30"/>
                  </a:lnTo>
                  <a:lnTo>
                    <a:pt x="204" y="24"/>
                  </a:lnTo>
                  <a:lnTo>
                    <a:pt x="198" y="30"/>
                  </a:lnTo>
                  <a:lnTo>
                    <a:pt x="186" y="36"/>
                  </a:lnTo>
                  <a:lnTo>
                    <a:pt x="174" y="36"/>
                  </a:lnTo>
                  <a:lnTo>
                    <a:pt x="168" y="30"/>
                  </a:lnTo>
                  <a:lnTo>
                    <a:pt x="162" y="30"/>
                  </a:lnTo>
                  <a:lnTo>
                    <a:pt x="150" y="36"/>
                  </a:lnTo>
                  <a:lnTo>
                    <a:pt x="138" y="48"/>
                  </a:lnTo>
                  <a:lnTo>
                    <a:pt x="126" y="54"/>
                  </a:lnTo>
                  <a:lnTo>
                    <a:pt x="102" y="54"/>
                  </a:lnTo>
                  <a:lnTo>
                    <a:pt x="102" y="60"/>
                  </a:lnTo>
                  <a:lnTo>
                    <a:pt x="96" y="72"/>
                  </a:lnTo>
                  <a:lnTo>
                    <a:pt x="72" y="72"/>
                  </a:lnTo>
                  <a:lnTo>
                    <a:pt x="66" y="66"/>
                  </a:lnTo>
                  <a:lnTo>
                    <a:pt x="60" y="66"/>
                  </a:lnTo>
                  <a:lnTo>
                    <a:pt x="48" y="72"/>
                  </a:lnTo>
                  <a:lnTo>
                    <a:pt x="54" y="84"/>
                  </a:lnTo>
                  <a:lnTo>
                    <a:pt x="54" y="90"/>
                  </a:lnTo>
                  <a:lnTo>
                    <a:pt x="42" y="102"/>
                  </a:lnTo>
                  <a:lnTo>
                    <a:pt x="24" y="102"/>
                  </a:lnTo>
                  <a:lnTo>
                    <a:pt x="24" y="126"/>
                  </a:lnTo>
                  <a:lnTo>
                    <a:pt x="12" y="132"/>
                  </a:lnTo>
                  <a:lnTo>
                    <a:pt x="0" y="132"/>
                  </a:lnTo>
                  <a:lnTo>
                    <a:pt x="0" y="198"/>
                  </a:lnTo>
                  <a:lnTo>
                    <a:pt x="6" y="204"/>
                  </a:lnTo>
                  <a:lnTo>
                    <a:pt x="18" y="210"/>
                  </a:lnTo>
                  <a:lnTo>
                    <a:pt x="24" y="216"/>
                  </a:lnTo>
                  <a:lnTo>
                    <a:pt x="30" y="228"/>
                  </a:lnTo>
                  <a:lnTo>
                    <a:pt x="36" y="234"/>
                  </a:lnTo>
                  <a:lnTo>
                    <a:pt x="42" y="246"/>
                  </a:lnTo>
                  <a:lnTo>
                    <a:pt x="54" y="258"/>
                  </a:lnTo>
                  <a:lnTo>
                    <a:pt x="60" y="270"/>
                  </a:lnTo>
                  <a:lnTo>
                    <a:pt x="84" y="270"/>
                  </a:lnTo>
                  <a:lnTo>
                    <a:pt x="96" y="264"/>
                  </a:lnTo>
                  <a:lnTo>
                    <a:pt x="108" y="264"/>
                  </a:lnTo>
                  <a:close/>
                  <a:moveTo>
                    <a:pt x="396" y="252"/>
                  </a:moveTo>
                  <a:lnTo>
                    <a:pt x="372" y="252"/>
                  </a:lnTo>
                  <a:lnTo>
                    <a:pt x="372" y="270"/>
                  </a:lnTo>
                  <a:lnTo>
                    <a:pt x="384" y="294"/>
                  </a:lnTo>
                  <a:lnTo>
                    <a:pt x="396" y="252"/>
                  </a:lnTo>
                  <a:close/>
                  <a:moveTo>
                    <a:pt x="24" y="312"/>
                  </a:moveTo>
                  <a:lnTo>
                    <a:pt x="18" y="318"/>
                  </a:lnTo>
                  <a:lnTo>
                    <a:pt x="24" y="324"/>
                  </a:lnTo>
                  <a:lnTo>
                    <a:pt x="30" y="324"/>
                  </a:lnTo>
                  <a:lnTo>
                    <a:pt x="36" y="330"/>
                  </a:lnTo>
                  <a:lnTo>
                    <a:pt x="42" y="324"/>
                  </a:lnTo>
                  <a:lnTo>
                    <a:pt x="42" y="318"/>
                  </a:lnTo>
                  <a:lnTo>
                    <a:pt x="30" y="306"/>
                  </a:lnTo>
                  <a:lnTo>
                    <a:pt x="24" y="312"/>
                  </a:lnTo>
                  <a:close/>
                  <a:moveTo>
                    <a:pt x="378" y="390"/>
                  </a:moveTo>
                  <a:lnTo>
                    <a:pt x="378" y="408"/>
                  </a:lnTo>
                  <a:lnTo>
                    <a:pt x="390" y="390"/>
                  </a:lnTo>
                  <a:lnTo>
                    <a:pt x="378" y="390"/>
                  </a:lnTo>
                  <a:close/>
                  <a:moveTo>
                    <a:pt x="408" y="330"/>
                  </a:moveTo>
                  <a:lnTo>
                    <a:pt x="396" y="330"/>
                  </a:lnTo>
                  <a:lnTo>
                    <a:pt x="384" y="336"/>
                  </a:lnTo>
                  <a:lnTo>
                    <a:pt x="384" y="342"/>
                  </a:lnTo>
                  <a:lnTo>
                    <a:pt x="396" y="342"/>
                  </a:lnTo>
                  <a:lnTo>
                    <a:pt x="402" y="336"/>
                  </a:lnTo>
                  <a:lnTo>
                    <a:pt x="408" y="336"/>
                  </a:lnTo>
                  <a:lnTo>
                    <a:pt x="408" y="330"/>
                  </a:lnTo>
                  <a:close/>
                  <a:moveTo>
                    <a:pt x="396" y="192"/>
                  </a:moveTo>
                  <a:lnTo>
                    <a:pt x="372" y="198"/>
                  </a:lnTo>
                  <a:lnTo>
                    <a:pt x="372" y="210"/>
                  </a:lnTo>
                  <a:lnTo>
                    <a:pt x="390" y="210"/>
                  </a:lnTo>
                  <a:lnTo>
                    <a:pt x="396" y="216"/>
                  </a:lnTo>
                  <a:lnTo>
                    <a:pt x="396" y="222"/>
                  </a:lnTo>
                  <a:lnTo>
                    <a:pt x="414" y="222"/>
                  </a:lnTo>
                  <a:lnTo>
                    <a:pt x="414" y="210"/>
                  </a:lnTo>
                  <a:lnTo>
                    <a:pt x="396" y="192"/>
                  </a:lnTo>
                  <a:close/>
                  <a:moveTo>
                    <a:pt x="342" y="372"/>
                  </a:moveTo>
                  <a:lnTo>
                    <a:pt x="342" y="378"/>
                  </a:lnTo>
                  <a:lnTo>
                    <a:pt x="348" y="384"/>
                  </a:lnTo>
                  <a:lnTo>
                    <a:pt x="360" y="384"/>
                  </a:lnTo>
                  <a:lnTo>
                    <a:pt x="366" y="378"/>
                  </a:lnTo>
                  <a:lnTo>
                    <a:pt x="366" y="372"/>
                  </a:lnTo>
                  <a:lnTo>
                    <a:pt x="360" y="366"/>
                  </a:lnTo>
                  <a:lnTo>
                    <a:pt x="342" y="366"/>
                  </a:lnTo>
                  <a:lnTo>
                    <a:pt x="342" y="372"/>
                  </a:lnTo>
                  <a:close/>
                  <a:moveTo>
                    <a:pt x="444" y="312"/>
                  </a:moveTo>
                  <a:lnTo>
                    <a:pt x="432" y="312"/>
                  </a:lnTo>
                  <a:lnTo>
                    <a:pt x="432" y="330"/>
                  </a:lnTo>
                  <a:lnTo>
                    <a:pt x="444" y="336"/>
                  </a:lnTo>
                  <a:lnTo>
                    <a:pt x="450" y="330"/>
                  </a:lnTo>
                  <a:lnTo>
                    <a:pt x="450" y="318"/>
                  </a:lnTo>
                  <a:lnTo>
                    <a:pt x="444" y="312"/>
                  </a:lnTo>
                  <a:close/>
                  <a:moveTo>
                    <a:pt x="444" y="372"/>
                  </a:moveTo>
                  <a:lnTo>
                    <a:pt x="456" y="354"/>
                  </a:lnTo>
                  <a:lnTo>
                    <a:pt x="438" y="354"/>
                  </a:lnTo>
                  <a:lnTo>
                    <a:pt x="444" y="372"/>
                  </a:lnTo>
                  <a:close/>
                  <a:moveTo>
                    <a:pt x="276" y="222"/>
                  </a:moveTo>
                  <a:lnTo>
                    <a:pt x="276" y="240"/>
                  </a:lnTo>
                  <a:lnTo>
                    <a:pt x="288" y="240"/>
                  </a:lnTo>
                  <a:lnTo>
                    <a:pt x="276" y="222"/>
                  </a:lnTo>
                  <a:close/>
                  <a:moveTo>
                    <a:pt x="534" y="420"/>
                  </a:moveTo>
                  <a:lnTo>
                    <a:pt x="522" y="420"/>
                  </a:lnTo>
                  <a:lnTo>
                    <a:pt x="516" y="426"/>
                  </a:lnTo>
                  <a:lnTo>
                    <a:pt x="510" y="438"/>
                  </a:lnTo>
                  <a:lnTo>
                    <a:pt x="510" y="468"/>
                  </a:lnTo>
                  <a:lnTo>
                    <a:pt x="516" y="468"/>
                  </a:lnTo>
                  <a:lnTo>
                    <a:pt x="522" y="456"/>
                  </a:lnTo>
                  <a:lnTo>
                    <a:pt x="528" y="450"/>
                  </a:lnTo>
                  <a:lnTo>
                    <a:pt x="534" y="438"/>
                  </a:lnTo>
                  <a:lnTo>
                    <a:pt x="534" y="420"/>
                  </a:lnTo>
                  <a:close/>
                  <a:moveTo>
                    <a:pt x="462" y="384"/>
                  </a:moveTo>
                  <a:lnTo>
                    <a:pt x="456" y="408"/>
                  </a:lnTo>
                  <a:lnTo>
                    <a:pt x="498" y="378"/>
                  </a:lnTo>
                  <a:lnTo>
                    <a:pt x="486" y="372"/>
                  </a:lnTo>
                  <a:lnTo>
                    <a:pt x="462" y="384"/>
                  </a:lnTo>
                  <a:close/>
                  <a:moveTo>
                    <a:pt x="462" y="510"/>
                  </a:moveTo>
                  <a:lnTo>
                    <a:pt x="480" y="510"/>
                  </a:lnTo>
                  <a:lnTo>
                    <a:pt x="468" y="468"/>
                  </a:lnTo>
                  <a:lnTo>
                    <a:pt x="462" y="510"/>
                  </a:lnTo>
                  <a:close/>
                  <a:moveTo>
                    <a:pt x="276" y="330"/>
                  </a:moveTo>
                  <a:lnTo>
                    <a:pt x="270" y="336"/>
                  </a:lnTo>
                  <a:lnTo>
                    <a:pt x="270" y="348"/>
                  </a:lnTo>
                  <a:lnTo>
                    <a:pt x="276" y="348"/>
                  </a:lnTo>
                  <a:lnTo>
                    <a:pt x="288" y="336"/>
                  </a:lnTo>
                  <a:lnTo>
                    <a:pt x="282" y="330"/>
                  </a:lnTo>
                  <a:lnTo>
                    <a:pt x="276" y="330"/>
                  </a:lnTo>
                  <a:close/>
                  <a:moveTo>
                    <a:pt x="186" y="432"/>
                  </a:moveTo>
                  <a:lnTo>
                    <a:pt x="180" y="438"/>
                  </a:lnTo>
                  <a:lnTo>
                    <a:pt x="180" y="450"/>
                  </a:lnTo>
                  <a:lnTo>
                    <a:pt x="186" y="456"/>
                  </a:lnTo>
                  <a:lnTo>
                    <a:pt x="198" y="444"/>
                  </a:lnTo>
                  <a:lnTo>
                    <a:pt x="198" y="438"/>
                  </a:lnTo>
                  <a:lnTo>
                    <a:pt x="192" y="432"/>
                  </a:lnTo>
                  <a:lnTo>
                    <a:pt x="186" y="432"/>
                  </a:lnTo>
                  <a:close/>
                  <a:moveTo>
                    <a:pt x="384" y="528"/>
                  </a:moveTo>
                  <a:lnTo>
                    <a:pt x="378" y="528"/>
                  </a:lnTo>
                  <a:lnTo>
                    <a:pt x="378" y="516"/>
                  </a:lnTo>
                  <a:lnTo>
                    <a:pt x="372" y="510"/>
                  </a:lnTo>
                  <a:lnTo>
                    <a:pt x="342" y="510"/>
                  </a:lnTo>
                  <a:lnTo>
                    <a:pt x="306" y="504"/>
                  </a:lnTo>
                  <a:lnTo>
                    <a:pt x="276" y="504"/>
                  </a:lnTo>
                  <a:lnTo>
                    <a:pt x="246" y="486"/>
                  </a:lnTo>
                  <a:lnTo>
                    <a:pt x="228" y="504"/>
                  </a:lnTo>
                  <a:lnTo>
                    <a:pt x="234" y="510"/>
                  </a:lnTo>
                  <a:lnTo>
                    <a:pt x="246" y="516"/>
                  </a:lnTo>
                  <a:lnTo>
                    <a:pt x="252" y="522"/>
                  </a:lnTo>
                  <a:lnTo>
                    <a:pt x="258" y="516"/>
                  </a:lnTo>
                  <a:lnTo>
                    <a:pt x="264" y="528"/>
                  </a:lnTo>
                  <a:lnTo>
                    <a:pt x="300" y="528"/>
                  </a:lnTo>
                  <a:lnTo>
                    <a:pt x="312" y="552"/>
                  </a:lnTo>
                  <a:lnTo>
                    <a:pt x="354" y="546"/>
                  </a:lnTo>
                  <a:lnTo>
                    <a:pt x="354" y="540"/>
                  </a:lnTo>
                  <a:lnTo>
                    <a:pt x="402" y="540"/>
                  </a:lnTo>
                  <a:lnTo>
                    <a:pt x="414" y="528"/>
                  </a:lnTo>
                  <a:lnTo>
                    <a:pt x="414" y="522"/>
                  </a:lnTo>
                  <a:lnTo>
                    <a:pt x="408" y="516"/>
                  </a:lnTo>
                  <a:lnTo>
                    <a:pt x="402" y="516"/>
                  </a:lnTo>
                  <a:lnTo>
                    <a:pt x="396" y="522"/>
                  </a:lnTo>
                  <a:lnTo>
                    <a:pt x="390" y="522"/>
                  </a:lnTo>
                  <a:lnTo>
                    <a:pt x="384" y="528"/>
                  </a:lnTo>
                  <a:close/>
                  <a:moveTo>
                    <a:pt x="420" y="408"/>
                  </a:moveTo>
                  <a:lnTo>
                    <a:pt x="408" y="408"/>
                  </a:lnTo>
                  <a:lnTo>
                    <a:pt x="408" y="420"/>
                  </a:lnTo>
                  <a:lnTo>
                    <a:pt x="420" y="420"/>
                  </a:lnTo>
                  <a:lnTo>
                    <a:pt x="426" y="414"/>
                  </a:lnTo>
                  <a:lnTo>
                    <a:pt x="420" y="408"/>
                  </a:lnTo>
                  <a:close/>
                  <a:moveTo>
                    <a:pt x="114" y="276"/>
                  </a:moveTo>
                  <a:lnTo>
                    <a:pt x="90" y="288"/>
                  </a:lnTo>
                  <a:lnTo>
                    <a:pt x="84" y="288"/>
                  </a:lnTo>
                  <a:lnTo>
                    <a:pt x="66" y="312"/>
                  </a:lnTo>
                  <a:lnTo>
                    <a:pt x="96" y="336"/>
                  </a:lnTo>
                  <a:lnTo>
                    <a:pt x="96" y="348"/>
                  </a:lnTo>
                  <a:lnTo>
                    <a:pt x="90" y="366"/>
                  </a:lnTo>
                  <a:lnTo>
                    <a:pt x="90" y="384"/>
                  </a:lnTo>
                  <a:lnTo>
                    <a:pt x="96" y="390"/>
                  </a:lnTo>
                  <a:lnTo>
                    <a:pt x="108" y="396"/>
                  </a:lnTo>
                  <a:lnTo>
                    <a:pt x="114" y="396"/>
                  </a:lnTo>
                  <a:lnTo>
                    <a:pt x="114" y="390"/>
                  </a:lnTo>
                  <a:lnTo>
                    <a:pt x="126" y="378"/>
                  </a:lnTo>
                  <a:lnTo>
                    <a:pt x="132" y="378"/>
                  </a:lnTo>
                  <a:lnTo>
                    <a:pt x="156" y="420"/>
                  </a:lnTo>
                  <a:lnTo>
                    <a:pt x="162" y="390"/>
                  </a:lnTo>
                  <a:lnTo>
                    <a:pt x="180" y="414"/>
                  </a:lnTo>
                  <a:lnTo>
                    <a:pt x="204" y="420"/>
                  </a:lnTo>
                  <a:lnTo>
                    <a:pt x="186" y="402"/>
                  </a:lnTo>
                  <a:lnTo>
                    <a:pt x="192" y="396"/>
                  </a:lnTo>
                  <a:lnTo>
                    <a:pt x="192" y="372"/>
                  </a:lnTo>
                  <a:lnTo>
                    <a:pt x="186" y="366"/>
                  </a:lnTo>
                  <a:lnTo>
                    <a:pt x="180" y="354"/>
                  </a:lnTo>
                  <a:lnTo>
                    <a:pt x="174" y="348"/>
                  </a:lnTo>
                  <a:lnTo>
                    <a:pt x="168" y="336"/>
                  </a:lnTo>
                  <a:lnTo>
                    <a:pt x="168" y="330"/>
                  </a:lnTo>
                  <a:lnTo>
                    <a:pt x="186" y="330"/>
                  </a:lnTo>
                  <a:lnTo>
                    <a:pt x="198" y="336"/>
                  </a:lnTo>
                  <a:lnTo>
                    <a:pt x="210" y="348"/>
                  </a:lnTo>
                  <a:lnTo>
                    <a:pt x="222" y="342"/>
                  </a:lnTo>
                  <a:lnTo>
                    <a:pt x="210" y="336"/>
                  </a:lnTo>
                  <a:lnTo>
                    <a:pt x="204" y="324"/>
                  </a:lnTo>
                  <a:lnTo>
                    <a:pt x="192" y="318"/>
                  </a:lnTo>
                  <a:lnTo>
                    <a:pt x="186" y="312"/>
                  </a:lnTo>
                  <a:lnTo>
                    <a:pt x="174" y="306"/>
                  </a:lnTo>
                  <a:lnTo>
                    <a:pt x="156" y="294"/>
                  </a:lnTo>
                  <a:lnTo>
                    <a:pt x="138" y="288"/>
                  </a:lnTo>
                  <a:lnTo>
                    <a:pt x="126" y="282"/>
                  </a:lnTo>
                  <a:lnTo>
                    <a:pt x="120" y="276"/>
                  </a:lnTo>
                  <a:lnTo>
                    <a:pt x="114" y="276"/>
                  </a:lnTo>
                  <a:close/>
                </a:path>
              </a:pathLst>
            </a:custGeom>
            <a:solidFill>
              <a:srgbClr val="F2F2F2"/>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87" name="Ghana" descr="© INSCALE GmbH, 05.05.2010&#10;http://www.presentationload.com/">
              <a:extLst>
                <a:ext uri="{FF2B5EF4-FFF2-40B4-BE49-F238E27FC236}">
                  <a16:creationId xmlns:a16="http://schemas.microsoft.com/office/drawing/2014/main" id="{1DDC80EE-0D6A-8BD0-2C45-381A5271BB0C}"/>
                </a:ext>
              </a:extLst>
            </p:cNvPr>
            <p:cNvSpPr>
              <a:spLocks/>
            </p:cNvSpPr>
            <p:nvPr/>
          </p:nvSpPr>
          <p:spPr bwMode="gray">
            <a:xfrm>
              <a:off x="4144967" y="2879014"/>
              <a:ext cx="123038" cy="195673"/>
            </a:xfrm>
            <a:custGeom>
              <a:avLst/>
              <a:gdLst>
                <a:gd name="T0" fmla="*/ 2147483647 w 324"/>
                <a:gd name="T1" fmla="*/ 2147483647 h 516"/>
                <a:gd name="T2" fmla="*/ 2147483647 w 324"/>
                <a:gd name="T3" fmla="*/ 2147483647 h 516"/>
                <a:gd name="T4" fmla="*/ 2147483647 w 324"/>
                <a:gd name="T5" fmla="*/ 2147483647 h 516"/>
                <a:gd name="T6" fmla="*/ 2147483647 w 324"/>
                <a:gd name="T7" fmla="*/ 2147483647 h 516"/>
                <a:gd name="T8" fmla="*/ 2147483647 w 324"/>
                <a:gd name="T9" fmla="*/ 2147483647 h 516"/>
                <a:gd name="T10" fmla="*/ 2147483647 w 324"/>
                <a:gd name="T11" fmla="*/ 2147483647 h 516"/>
                <a:gd name="T12" fmla="*/ 2147483647 w 324"/>
                <a:gd name="T13" fmla="*/ 2147483647 h 516"/>
                <a:gd name="T14" fmla="*/ 2147483647 w 324"/>
                <a:gd name="T15" fmla="*/ 2147483647 h 516"/>
                <a:gd name="T16" fmla="*/ 2147483647 w 324"/>
                <a:gd name="T17" fmla="*/ 2147483647 h 516"/>
                <a:gd name="T18" fmla="*/ 2147483647 w 324"/>
                <a:gd name="T19" fmla="*/ 2147483647 h 516"/>
                <a:gd name="T20" fmla="*/ 2147483647 w 324"/>
                <a:gd name="T21" fmla="*/ 2147483647 h 516"/>
                <a:gd name="T22" fmla="*/ 2147483647 w 324"/>
                <a:gd name="T23" fmla="*/ 2147483647 h 516"/>
                <a:gd name="T24" fmla="*/ 2147483647 w 324"/>
                <a:gd name="T25" fmla="*/ 2147483647 h 516"/>
                <a:gd name="T26" fmla="*/ 2147483647 w 324"/>
                <a:gd name="T27" fmla="*/ 0 h 516"/>
                <a:gd name="T28" fmla="*/ 2147483647 w 324"/>
                <a:gd name="T29" fmla="*/ 2147483647 h 516"/>
                <a:gd name="T30" fmla="*/ 2147483647 w 324"/>
                <a:gd name="T31" fmla="*/ 2147483647 h 516"/>
                <a:gd name="T32" fmla="*/ 2147483647 w 324"/>
                <a:gd name="T33" fmla="*/ 2147483647 h 516"/>
                <a:gd name="T34" fmla="*/ 2147483647 w 324"/>
                <a:gd name="T35" fmla="*/ 2147483647 h 516"/>
                <a:gd name="T36" fmla="*/ 2147483647 w 324"/>
                <a:gd name="T37" fmla="*/ 2147483647 h 516"/>
                <a:gd name="T38" fmla="*/ 2147483647 w 324"/>
                <a:gd name="T39" fmla="*/ 2147483647 h 516"/>
                <a:gd name="T40" fmla="*/ 2147483647 w 324"/>
                <a:gd name="T41" fmla="*/ 2147483647 h 516"/>
                <a:gd name="T42" fmla="*/ 2147483647 w 324"/>
                <a:gd name="T43" fmla="*/ 2147483647 h 516"/>
                <a:gd name="T44" fmla="*/ 2147483647 w 324"/>
                <a:gd name="T45" fmla="*/ 2147483647 h 516"/>
                <a:gd name="T46" fmla="*/ 2147483647 w 324"/>
                <a:gd name="T47" fmla="*/ 2147483647 h 516"/>
                <a:gd name="T48" fmla="*/ 2147483647 w 324"/>
                <a:gd name="T49" fmla="*/ 2147483647 h 516"/>
                <a:gd name="T50" fmla="*/ 2147483647 w 324"/>
                <a:gd name="T51" fmla="*/ 2147483647 h 516"/>
                <a:gd name="T52" fmla="*/ 2147483647 w 324"/>
                <a:gd name="T53" fmla="*/ 2147483647 h 516"/>
                <a:gd name="T54" fmla="*/ 0 w 324"/>
                <a:gd name="T55" fmla="*/ 2147483647 h 516"/>
                <a:gd name="T56" fmla="*/ 2147483647 w 324"/>
                <a:gd name="T57" fmla="*/ 2147483647 h 516"/>
                <a:gd name="T58" fmla="*/ 2147483647 w 324"/>
                <a:gd name="T59" fmla="*/ 2147483647 h 516"/>
                <a:gd name="T60" fmla="*/ 2147483647 w 324"/>
                <a:gd name="T61" fmla="*/ 2147483647 h 516"/>
                <a:gd name="T62" fmla="*/ 2147483647 w 324"/>
                <a:gd name="T63" fmla="*/ 2147483647 h 516"/>
                <a:gd name="T64" fmla="*/ 2147483647 w 324"/>
                <a:gd name="T65" fmla="*/ 2147483647 h 516"/>
                <a:gd name="T66" fmla="*/ 2147483647 w 324"/>
                <a:gd name="T67" fmla="*/ 2147483647 h 516"/>
                <a:gd name="T68" fmla="*/ 2147483647 w 324"/>
                <a:gd name="T69" fmla="*/ 2147483647 h 516"/>
                <a:gd name="T70" fmla="*/ 2147483647 w 324"/>
                <a:gd name="T71" fmla="*/ 2147483647 h 516"/>
                <a:gd name="T72" fmla="*/ 2147483647 w 324"/>
                <a:gd name="T73" fmla="*/ 2147483647 h 516"/>
                <a:gd name="T74" fmla="*/ 2147483647 w 324"/>
                <a:gd name="T75" fmla="*/ 2147483647 h 516"/>
                <a:gd name="T76" fmla="*/ 2147483647 w 324"/>
                <a:gd name="T77" fmla="*/ 2147483647 h 516"/>
                <a:gd name="T78" fmla="*/ 2147483647 w 324"/>
                <a:gd name="T79" fmla="*/ 2147483647 h 516"/>
                <a:gd name="T80" fmla="*/ 2147483647 w 324"/>
                <a:gd name="T81" fmla="*/ 2147483647 h 516"/>
                <a:gd name="T82" fmla="*/ 2147483647 w 324"/>
                <a:gd name="T83" fmla="*/ 2147483647 h 516"/>
                <a:gd name="T84" fmla="*/ 2147483647 w 324"/>
                <a:gd name="T85" fmla="*/ 2147483647 h 516"/>
                <a:gd name="T86" fmla="*/ 2147483647 w 324"/>
                <a:gd name="T87" fmla="*/ 2147483647 h 51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24"/>
                <a:gd name="T133" fmla="*/ 0 h 516"/>
                <a:gd name="T134" fmla="*/ 324 w 324"/>
                <a:gd name="T135" fmla="*/ 516 h 51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24" h="516">
                  <a:moveTo>
                    <a:pt x="282" y="342"/>
                  </a:moveTo>
                  <a:lnTo>
                    <a:pt x="282" y="330"/>
                  </a:lnTo>
                  <a:lnTo>
                    <a:pt x="288" y="318"/>
                  </a:lnTo>
                  <a:lnTo>
                    <a:pt x="288" y="306"/>
                  </a:lnTo>
                  <a:lnTo>
                    <a:pt x="282" y="300"/>
                  </a:lnTo>
                  <a:lnTo>
                    <a:pt x="276" y="300"/>
                  </a:lnTo>
                  <a:lnTo>
                    <a:pt x="276" y="282"/>
                  </a:lnTo>
                  <a:lnTo>
                    <a:pt x="282" y="276"/>
                  </a:lnTo>
                  <a:lnTo>
                    <a:pt x="282" y="234"/>
                  </a:lnTo>
                  <a:lnTo>
                    <a:pt x="288" y="228"/>
                  </a:lnTo>
                  <a:lnTo>
                    <a:pt x="288" y="216"/>
                  </a:lnTo>
                  <a:lnTo>
                    <a:pt x="282" y="210"/>
                  </a:lnTo>
                  <a:lnTo>
                    <a:pt x="270" y="204"/>
                  </a:lnTo>
                  <a:lnTo>
                    <a:pt x="264" y="198"/>
                  </a:lnTo>
                  <a:lnTo>
                    <a:pt x="276" y="186"/>
                  </a:lnTo>
                  <a:lnTo>
                    <a:pt x="282" y="186"/>
                  </a:lnTo>
                  <a:lnTo>
                    <a:pt x="282" y="180"/>
                  </a:lnTo>
                  <a:lnTo>
                    <a:pt x="270" y="168"/>
                  </a:lnTo>
                  <a:lnTo>
                    <a:pt x="276" y="156"/>
                  </a:lnTo>
                  <a:lnTo>
                    <a:pt x="276" y="132"/>
                  </a:lnTo>
                  <a:lnTo>
                    <a:pt x="270" y="126"/>
                  </a:lnTo>
                  <a:lnTo>
                    <a:pt x="264" y="126"/>
                  </a:lnTo>
                  <a:lnTo>
                    <a:pt x="252" y="138"/>
                  </a:lnTo>
                  <a:lnTo>
                    <a:pt x="264" y="60"/>
                  </a:lnTo>
                  <a:lnTo>
                    <a:pt x="228" y="36"/>
                  </a:lnTo>
                  <a:lnTo>
                    <a:pt x="240" y="24"/>
                  </a:lnTo>
                  <a:lnTo>
                    <a:pt x="240" y="6"/>
                  </a:lnTo>
                  <a:lnTo>
                    <a:pt x="222" y="0"/>
                  </a:lnTo>
                  <a:lnTo>
                    <a:pt x="198" y="12"/>
                  </a:lnTo>
                  <a:lnTo>
                    <a:pt x="42" y="12"/>
                  </a:lnTo>
                  <a:lnTo>
                    <a:pt x="36" y="18"/>
                  </a:lnTo>
                  <a:lnTo>
                    <a:pt x="30" y="30"/>
                  </a:lnTo>
                  <a:lnTo>
                    <a:pt x="30" y="48"/>
                  </a:lnTo>
                  <a:lnTo>
                    <a:pt x="36" y="48"/>
                  </a:lnTo>
                  <a:lnTo>
                    <a:pt x="42" y="78"/>
                  </a:lnTo>
                  <a:lnTo>
                    <a:pt x="42" y="132"/>
                  </a:lnTo>
                  <a:lnTo>
                    <a:pt x="48" y="126"/>
                  </a:lnTo>
                  <a:lnTo>
                    <a:pt x="54" y="156"/>
                  </a:lnTo>
                  <a:lnTo>
                    <a:pt x="42" y="156"/>
                  </a:lnTo>
                  <a:lnTo>
                    <a:pt x="42" y="162"/>
                  </a:lnTo>
                  <a:lnTo>
                    <a:pt x="48" y="168"/>
                  </a:lnTo>
                  <a:lnTo>
                    <a:pt x="48" y="180"/>
                  </a:lnTo>
                  <a:lnTo>
                    <a:pt x="54" y="192"/>
                  </a:lnTo>
                  <a:lnTo>
                    <a:pt x="54" y="204"/>
                  </a:lnTo>
                  <a:lnTo>
                    <a:pt x="60" y="216"/>
                  </a:lnTo>
                  <a:lnTo>
                    <a:pt x="60" y="228"/>
                  </a:lnTo>
                  <a:lnTo>
                    <a:pt x="48" y="252"/>
                  </a:lnTo>
                  <a:lnTo>
                    <a:pt x="42" y="258"/>
                  </a:lnTo>
                  <a:lnTo>
                    <a:pt x="36" y="270"/>
                  </a:lnTo>
                  <a:lnTo>
                    <a:pt x="36" y="288"/>
                  </a:lnTo>
                  <a:lnTo>
                    <a:pt x="30" y="300"/>
                  </a:lnTo>
                  <a:lnTo>
                    <a:pt x="30" y="312"/>
                  </a:lnTo>
                  <a:lnTo>
                    <a:pt x="12" y="330"/>
                  </a:lnTo>
                  <a:lnTo>
                    <a:pt x="6" y="342"/>
                  </a:lnTo>
                  <a:lnTo>
                    <a:pt x="0" y="348"/>
                  </a:lnTo>
                  <a:lnTo>
                    <a:pt x="0" y="372"/>
                  </a:lnTo>
                  <a:lnTo>
                    <a:pt x="6" y="384"/>
                  </a:lnTo>
                  <a:lnTo>
                    <a:pt x="12" y="402"/>
                  </a:lnTo>
                  <a:lnTo>
                    <a:pt x="12" y="414"/>
                  </a:lnTo>
                  <a:lnTo>
                    <a:pt x="18" y="426"/>
                  </a:lnTo>
                  <a:lnTo>
                    <a:pt x="24" y="432"/>
                  </a:lnTo>
                  <a:lnTo>
                    <a:pt x="24" y="438"/>
                  </a:lnTo>
                  <a:lnTo>
                    <a:pt x="48" y="444"/>
                  </a:lnTo>
                  <a:lnTo>
                    <a:pt x="48" y="498"/>
                  </a:lnTo>
                  <a:lnTo>
                    <a:pt x="72" y="498"/>
                  </a:lnTo>
                  <a:lnTo>
                    <a:pt x="78" y="504"/>
                  </a:lnTo>
                  <a:lnTo>
                    <a:pt x="78" y="510"/>
                  </a:lnTo>
                  <a:lnTo>
                    <a:pt x="84" y="516"/>
                  </a:lnTo>
                  <a:lnTo>
                    <a:pt x="96" y="516"/>
                  </a:lnTo>
                  <a:lnTo>
                    <a:pt x="108" y="510"/>
                  </a:lnTo>
                  <a:lnTo>
                    <a:pt x="114" y="504"/>
                  </a:lnTo>
                  <a:lnTo>
                    <a:pt x="132" y="492"/>
                  </a:lnTo>
                  <a:lnTo>
                    <a:pt x="138" y="486"/>
                  </a:lnTo>
                  <a:lnTo>
                    <a:pt x="150" y="480"/>
                  </a:lnTo>
                  <a:lnTo>
                    <a:pt x="180" y="480"/>
                  </a:lnTo>
                  <a:lnTo>
                    <a:pt x="186" y="474"/>
                  </a:lnTo>
                  <a:lnTo>
                    <a:pt x="198" y="468"/>
                  </a:lnTo>
                  <a:lnTo>
                    <a:pt x="216" y="450"/>
                  </a:lnTo>
                  <a:lnTo>
                    <a:pt x="228" y="450"/>
                  </a:lnTo>
                  <a:lnTo>
                    <a:pt x="234" y="444"/>
                  </a:lnTo>
                  <a:lnTo>
                    <a:pt x="240" y="444"/>
                  </a:lnTo>
                  <a:lnTo>
                    <a:pt x="258" y="426"/>
                  </a:lnTo>
                  <a:lnTo>
                    <a:pt x="270" y="426"/>
                  </a:lnTo>
                  <a:lnTo>
                    <a:pt x="276" y="432"/>
                  </a:lnTo>
                  <a:lnTo>
                    <a:pt x="294" y="432"/>
                  </a:lnTo>
                  <a:lnTo>
                    <a:pt x="306" y="426"/>
                  </a:lnTo>
                  <a:lnTo>
                    <a:pt x="324" y="408"/>
                  </a:lnTo>
                  <a:lnTo>
                    <a:pt x="294" y="384"/>
                  </a:lnTo>
                  <a:lnTo>
                    <a:pt x="282" y="342"/>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88" name="Germany" descr="© INSCALE GmbH, 05.05.2010&#10;http://www.presentationload.com/">
              <a:extLst>
                <a:ext uri="{FF2B5EF4-FFF2-40B4-BE49-F238E27FC236}">
                  <a16:creationId xmlns:a16="http://schemas.microsoft.com/office/drawing/2014/main" id="{166CEE68-B13C-99C9-F00F-A399F13DE656}"/>
                </a:ext>
              </a:extLst>
            </p:cNvPr>
            <p:cNvSpPr>
              <a:spLocks/>
            </p:cNvSpPr>
            <p:nvPr/>
          </p:nvSpPr>
          <p:spPr bwMode="gray">
            <a:xfrm>
              <a:off x="4408829" y="1552285"/>
              <a:ext cx="213462" cy="223839"/>
            </a:xfrm>
            <a:custGeom>
              <a:avLst/>
              <a:gdLst>
                <a:gd name="T0" fmla="*/ 2147483647 w 564"/>
                <a:gd name="T1" fmla="*/ 2147483647 h 588"/>
                <a:gd name="T2" fmla="*/ 2147483647 w 564"/>
                <a:gd name="T3" fmla="*/ 2147483647 h 588"/>
                <a:gd name="T4" fmla="*/ 2147483647 w 564"/>
                <a:gd name="T5" fmla="*/ 2147483647 h 588"/>
                <a:gd name="T6" fmla="*/ 2147483647 w 564"/>
                <a:gd name="T7" fmla="*/ 2147483647 h 588"/>
                <a:gd name="T8" fmla="*/ 2147483647 w 564"/>
                <a:gd name="T9" fmla="*/ 2147483647 h 588"/>
                <a:gd name="T10" fmla="*/ 2147483647 w 564"/>
                <a:gd name="T11" fmla="*/ 2147483647 h 588"/>
                <a:gd name="T12" fmla="*/ 2147483647 w 564"/>
                <a:gd name="T13" fmla="*/ 2147483647 h 588"/>
                <a:gd name="T14" fmla="*/ 2147483647 w 564"/>
                <a:gd name="T15" fmla="*/ 2147483647 h 588"/>
                <a:gd name="T16" fmla="*/ 2147483647 w 564"/>
                <a:gd name="T17" fmla="*/ 2147483647 h 588"/>
                <a:gd name="T18" fmla="*/ 2147483647 w 564"/>
                <a:gd name="T19" fmla="*/ 2147483647 h 588"/>
                <a:gd name="T20" fmla="*/ 2147483647 w 564"/>
                <a:gd name="T21" fmla="*/ 2147483647 h 588"/>
                <a:gd name="T22" fmla="*/ 2147483647 w 564"/>
                <a:gd name="T23" fmla="*/ 2147483647 h 588"/>
                <a:gd name="T24" fmla="*/ 2147483647 w 564"/>
                <a:gd name="T25" fmla="*/ 2147483647 h 588"/>
                <a:gd name="T26" fmla="*/ 2147483647 w 564"/>
                <a:gd name="T27" fmla="*/ 2147483647 h 588"/>
                <a:gd name="T28" fmla="*/ 2147483647 w 564"/>
                <a:gd name="T29" fmla="*/ 2147483647 h 588"/>
                <a:gd name="T30" fmla="*/ 2147483647 w 564"/>
                <a:gd name="T31" fmla="*/ 2147483647 h 588"/>
                <a:gd name="T32" fmla="*/ 2147483647 w 564"/>
                <a:gd name="T33" fmla="*/ 2147483647 h 588"/>
                <a:gd name="T34" fmla="*/ 2147483647 w 564"/>
                <a:gd name="T35" fmla="*/ 2147483647 h 588"/>
                <a:gd name="T36" fmla="*/ 2147483647 w 564"/>
                <a:gd name="T37" fmla="*/ 2147483647 h 588"/>
                <a:gd name="T38" fmla="*/ 2147483647 w 564"/>
                <a:gd name="T39" fmla="*/ 2147483647 h 588"/>
                <a:gd name="T40" fmla="*/ 2147483647 w 564"/>
                <a:gd name="T41" fmla="*/ 2147483647 h 588"/>
                <a:gd name="T42" fmla="*/ 2147483647 w 564"/>
                <a:gd name="T43" fmla="*/ 2147483647 h 588"/>
                <a:gd name="T44" fmla="*/ 2147483647 w 564"/>
                <a:gd name="T45" fmla="*/ 2147483647 h 588"/>
                <a:gd name="T46" fmla="*/ 2147483647 w 564"/>
                <a:gd name="T47" fmla="*/ 2147483647 h 588"/>
                <a:gd name="T48" fmla="*/ 2147483647 w 564"/>
                <a:gd name="T49" fmla="*/ 2147483647 h 588"/>
                <a:gd name="T50" fmla="*/ 2147483647 w 564"/>
                <a:gd name="T51" fmla="*/ 2147483647 h 588"/>
                <a:gd name="T52" fmla="*/ 2147483647 w 564"/>
                <a:gd name="T53" fmla="*/ 2147483647 h 588"/>
                <a:gd name="T54" fmla="*/ 2147483647 w 564"/>
                <a:gd name="T55" fmla="*/ 2147483647 h 588"/>
                <a:gd name="T56" fmla="*/ 2147483647 w 564"/>
                <a:gd name="T57" fmla="*/ 2147483647 h 588"/>
                <a:gd name="T58" fmla="*/ 2147483647 w 564"/>
                <a:gd name="T59" fmla="*/ 2147483647 h 588"/>
                <a:gd name="T60" fmla="*/ 2147483647 w 564"/>
                <a:gd name="T61" fmla="*/ 2147483647 h 588"/>
                <a:gd name="T62" fmla="*/ 2147483647 w 564"/>
                <a:gd name="T63" fmla="*/ 2147483647 h 588"/>
                <a:gd name="T64" fmla="*/ 2147483647 w 564"/>
                <a:gd name="T65" fmla="*/ 2147483647 h 588"/>
                <a:gd name="T66" fmla="*/ 2147483647 w 564"/>
                <a:gd name="T67" fmla="*/ 2147483647 h 588"/>
                <a:gd name="T68" fmla="*/ 2147483647 w 564"/>
                <a:gd name="T69" fmla="*/ 2147483647 h 588"/>
                <a:gd name="T70" fmla="*/ 2147483647 w 564"/>
                <a:gd name="T71" fmla="*/ 2147483647 h 588"/>
                <a:gd name="T72" fmla="*/ 2147483647 w 564"/>
                <a:gd name="T73" fmla="*/ 2147483647 h 588"/>
                <a:gd name="T74" fmla="*/ 2147483647 w 564"/>
                <a:gd name="T75" fmla="*/ 2147483647 h 588"/>
                <a:gd name="T76" fmla="*/ 2147483647 w 564"/>
                <a:gd name="T77" fmla="*/ 2147483647 h 588"/>
                <a:gd name="T78" fmla="*/ 2147483647 w 564"/>
                <a:gd name="T79" fmla="*/ 2147483647 h 588"/>
                <a:gd name="T80" fmla="*/ 2147483647 w 564"/>
                <a:gd name="T81" fmla="*/ 2147483647 h 588"/>
                <a:gd name="T82" fmla="*/ 2147483647 w 564"/>
                <a:gd name="T83" fmla="*/ 0 h 588"/>
                <a:gd name="T84" fmla="*/ 2147483647 w 564"/>
                <a:gd name="T85" fmla="*/ 2147483647 h 588"/>
                <a:gd name="T86" fmla="*/ 2147483647 w 564"/>
                <a:gd name="T87" fmla="*/ 2147483647 h 588"/>
                <a:gd name="T88" fmla="*/ 2147483647 w 564"/>
                <a:gd name="T89" fmla="*/ 2147483647 h 588"/>
                <a:gd name="T90" fmla="*/ 2147483647 w 564"/>
                <a:gd name="T91" fmla="*/ 2147483647 h 588"/>
                <a:gd name="T92" fmla="*/ 2147483647 w 564"/>
                <a:gd name="T93" fmla="*/ 2147483647 h 588"/>
                <a:gd name="T94" fmla="*/ 2147483647 w 564"/>
                <a:gd name="T95" fmla="*/ 2147483647 h 588"/>
                <a:gd name="T96" fmla="*/ 2147483647 w 564"/>
                <a:gd name="T97" fmla="*/ 2147483647 h 588"/>
                <a:gd name="T98" fmla="*/ 2147483647 w 564"/>
                <a:gd name="T99" fmla="*/ 2147483647 h 588"/>
                <a:gd name="T100" fmla="*/ 2147483647 w 564"/>
                <a:gd name="T101" fmla="*/ 2147483647 h 588"/>
                <a:gd name="T102" fmla="*/ 2147483647 w 564"/>
                <a:gd name="T103" fmla="*/ 2147483647 h 588"/>
                <a:gd name="T104" fmla="*/ 0 w 564"/>
                <a:gd name="T105" fmla="*/ 2147483647 h 588"/>
                <a:gd name="T106" fmla="*/ 2147483647 w 564"/>
                <a:gd name="T107" fmla="*/ 2147483647 h 588"/>
                <a:gd name="T108" fmla="*/ 2147483647 w 564"/>
                <a:gd name="T109" fmla="*/ 2147483647 h 588"/>
                <a:gd name="T110" fmla="*/ 2147483647 w 564"/>
                <a:gd name="T111" fmla="*/ 2147483647 h 58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64"/>
                <a:gd name="T169" fmla="*/ 0 h 588"/>
                <a:gd name="T170" fmla="*/ 564 w 564"/>
                <a:gd name="T171" fmla="*/ 588 h 58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64" h="588">
                  <a:moveTo>
                    <a:pt x="30" y="414"/>
                  </a:moveTo>
                  <a:lnTo>
                    <a:pt x="30" y="420"/>
                  </a:lnTo>
                  <a:lnTo>
                    <a:pt x="36" y="420"/>
                  </a:lnTo>
                  <a:lnTo>
                    <a:pt x="36" y="444"/>
                  </a:lnTo>
                  <a:lnTo>
                    <a:pt x="60" y="444"/>
                  </a:lnTo>
                  <a:lnTo>
                    <a:pt x="60" y="450"/>
                  </a:lnTo>
                  <a:lnTo>
                    <a:pt x="72" y="450"/>
                  </a:lnTo>
                  <a:lnTo>
                    <a:pt x="84" y="444"/>
                  </a:lnTo>
                  <a:lnTo>
                    <a:pt x="96" y="444"/>
                  </a:lnTo>
                  <a:lnTo>
                    <a:pt x="96" y="450"/>
                  </a:lnTo>
                  <a:lnTo>
                    <a:pt x="120" y="450"/>
                  </a:lnTo>
                  <a:lnTo>
                    <a:pt x="138" y="456"/>
                  </a:lnTo>
                  <a:lnTo>
                    <a:pt x="132" y="468"/>
                  </a:lnTo>
                  <a:lnTo>
                    <a:pt x="114" y="486"/>
                  </a:lnTo>
                  <a:lnTo>
                    <a:pt x="114" y="498"/>
                  </a:lnTo>
                  <a:lnTo>
                    <a:pt x="108" y="510"/>
                  </a:lnTo>
                  <a:lnTo>
                    <a:pt x="102" y="516"/>
                  </a:lnTo>
                  <a:lnTo>
                    <a:pt x="96" y="528"/>
                  </a:lnTo>
                  <a:lnTo>
                    <a:pt x="96" y="570"/>
                  </a:lnTo>
                  <a:lnTo>
                    <a:pt x="132" y="570"/>
                  </a:lnTo>
                  <a:lnTo>
                    <a:pt x="150" y="564"/>
                  </a:lnTo>
                  <a:lnTo>
                    <a:pt x="156" y="570"/>
                  </a:lnTo>
                  <a:lnTo>
                    <a:pt x="150" y="564"/>
                  </a:lnTo>
                  <a:lnTo>
                    <a:pt x="150" y="552"/>
                  </a:lnTo>
                  <a:lnTo>
                    <a:pt x="156" y="546"/>
                  </a:lnTo>
                  <a:lnTo>
                    <a:pt x="162" y="546"/>
                  </a:lnTo>
                  <a:lnTo>
                    <a:pt x="174" y="552"/>
                  </a:lnTo>
                  <a:lnTo>
                    <a:pt x="180" y="558"/>
                  </a:lnTo>
                  <a:lnTo>
                    <a:pt x="192" y="558"/>
                  </a:lnTo>
                  <a:lnTo>
                    <a:pt x="210" y="564"/>
                  </a:lnTo>
                  <a:lnTo>
                    <a:pt x="216" y="576"/>
                  </a:lnTo>
                  <a:lnTo>
                    <a:pt x="252" y="576"/>
                  </a:lnTo>
                  <a:lnTo>
                    <a:pt x="258" y="582"/>
                  </a:lnTo>
                  <a:lnTo>
                    <a:pt x="258" y="588"/>
                  </a:lnTo>
                  <a:lnTo>
                    <a:pt x="270" y="588"/>
                  </a:lnTo>
                  <a:lnTo>
                    <a:pt x="276" y="582"/>
                  </a:lnTo>
                  <a:lnTo>
                    <a:pt x="276" y="570"/>
                  </a:lnTo>
                  <a:lnTo>
                    <a:pt x="294" y="570"/>
                  </a:lnTo>
                  <a:lnTo>
                    <a:pt x="312" y="588"/>
                  </a:lnTo>
                  <a:lnTo>
                    <a:pt x="330" y="588"/>
                  </a:lnTo>
                  <a:lnTo>
                    <a:pt x="336" y="582"/>
                  </a:lnTo>
                  <a:lnTo>
                    <a:pt x="354" y="570"/>
                  </a:lnTo>
                  <a:lnTo>
                    <a:pt x="372" y="570"/>
                  </a:lnTo>
                  <a:lnTo>
                    <a:pt x="390" y="558"/>
                  </a:lnTo>
                  <a:lnTo>
                    <a:pt x="402" y="564"/>
                  </a:lnTo>
                  <a:lnTo>
                    <a:pt x="420" y="570"/>
                  </a:lnTo>
                  <a:lnTo>
                    <a:pt x="432" y="582"/>
                  </a:lnTo>
                  <a:lnTo>
                    <a:pt x="438" y="582"/>
                  </a:lnTo>
                  <a:lnTo>
                    <a:pt x="438" y="540"/>
                  </a:lnTo>
                  <a:lnTo>
                    <a:pt x="426" y="540"/>
                  </a:lnTo>
                  <a:lnTo>
                    <a:pt x="426" y="534"/>
                  </a:lnTo>
                  <a:lnTo>
                    <a:pt x="432" y="528"/>
                  </a:lnTo>
                  <a:lnTo>
                    <a:pt x="432" y="522"/>
                  </a:lnTo>
                  <a:lnTo>
                    <a:pt x="438" y="516"/>
                  </a:lnTo>
                  <a:lnTo>
                    <a:pt x="456" y="516"/>
                  </a:lnTo>
                  <a:lnTo>
                    <a:pt x="462" y="522"/>
                  </a:lnTo>
                  <a:lnTo>
                    <a:pt x="468" y="522"/>
                  </a:lnTo>
                  <a:lnTo>
                    <a:pt x="468" y="504"/>
                  </a:lnTo>
                  <a:lnTo>
                    <a:pt x="462" y="492"/>
                  </a:lnTo>
                  <a:lnTo>
                    <a:pt x="480" y="492"/>
                  </a:lnTo>
                  <a:lnTo>
                    <a:pt x="486" y="474"/>
                  </a:lnTo>
                  <a:lnTo>
                    <a:pt x="486" y="462"/>
                  </a:lnTo>
                  <a:lnTo>
                    <a:pt x="480" y="462"/>
                  </a:lnTo>
                  <a:lnTo>
                    <a:pt x="474" y="456"/>
                  </a:lnTo>
                  <a:lnTo>
                    <a:pt x="462" y="456"/>
                  </a:lnTo>
                  <a:lnTo>
                    <a:pt x="456" y="444"/>
                  </a:lnTo>
                  <a:lnTo>
                    <a:pt x="450" y="444"/>
                  </a:lnTo>
                  <a:lnTo>
                    <a:pt x="444" y="432"/>
                  </a:lnTo>
                  <a:lnTo>
                    <a:pt x="432" y="432"/>
                  </a:lnTo>
                  <a:lnTo>
                    <a:pt x="420" y="426"/>
                  </a:lnTo>
                  <a:lnTo>
                    <a:pt x="420" y="420"/>
                  </a:lnTo>
                  <a:lnTo>
                    <a:pt x="414" y="420"/>
                  </a:lnTo>
                  <a:lnTo>
                    <a:pt x="408" y="408"/>
                  </a:lnTo>
                  <a:lnTo>
                    <a:pt x="396" y="396"/>
                  </a:lnTo>
                  <a:lnTo>
                    <a:pt x="396" y="390"/>
                  </a:lnTo>
                  <a:lnTo>
                    <a:pt x="402" y="390"/>
                  </a:lnTo>
                  <a:lnTo>
                    <a:pt x="408" y="384"/>
                  </a:lnTo>
                  <a:lnTo>
                    <a:pt x="396" y="372"/>
                  </a:lnTo>
                  <a:lnTo>
                    <a:pt x="390" y="372"/>
                  </a:lnTo>
                  <a:lnTo>
                    <a:pt x="384" y="366"/>
                  </a:lnTo>
                  <a:lnTo>
                    <a:pt x="384" y="354"/>
                  </a:lnTo>
                  <a:lnTo>
                    <a:pt x="390" y="354"/>
                  </a:lnTo>
                  <a:lnTo>
                    <a:pt x="390" y="360"/>
                  </a:lnTo>
                  <a:lnTo>
                    <a:pt x="402" y="360"/>
                  </a:lnTo>
                  <a:lnTo>
                    <a:pt x="402" y="354"/>
                  </a:lnTo>
                  <a:lnTo>
                    <a:pt x="414" y="354"/>
                  </a:lnTo>
                  <a:lnTo>
                    <a:pt x="414" y="348"/>
                  </a:lnTo>
                  <a:lnTo>
                    <a:pt x="420" y="342"/>
                  </a:lnTo>
                  <a:lnTo>
                    <a:pt x="426" y="342"/>
                  </a:lnTo>
                  <a:lnTo>
                    <a:pt x="438" y="348"/>
                  </a:lnTo>
                  <a:lnTo>
                    <a:pt x="450" y="336"/>
                  </a:lnTo>
                  <a:lnTo>
                    <a:pt x="468" y="330"/>
                  </a:lnTo>
                  <a:lnTo>
                    <a:pt x="468" y="324"/>
                  </a:lnTo>
                  <a:lnTo>
                    <a:pt x="492" y="324"/>
                  </a:lnTo>
                  <a:lnTo>
                    <a:pt x="492" y="318"/>
                  </a:lnTo>
                  <a:lnTo>
                    <a:pt x="510" y="318"/>
                  </a:lnTo>
                  <a:lnTo>
                    <a:pt x="510" y="312"/>
                  </a:lnTo>
                  <a:lnTo>
                    <a:pt x="516" y="306"/>
                  </a:lnTo>
                  <a:lnTo>
                    <a:pt x="522" y="306"/>
                  </a:lnTo>
                  <a:lnTo>
                    <a:pt x="528" y="300"/>
                  </a:lnTo>
                  <a:lnTo>
                    <a:pt x="540" y="312"/>
                  </a:lnTo>
                  <a:lnTo>
                    <a:pt x="552" y="312"/>
                  </a:lnTo>
                  <a:lnTo>
                    <a:pt x="558" y="300"/>
                  </a:lnTo>
                  <a:lnTo>
                    <a:pt x="558" y="294"/>
                  </a:lnTo>
                  <a:lnTo>
                    <a:pt x="564" y="288"/>
                  </a:lnTo>
                  <a:lnTo>
                    <a:pt x="564" y="282"/>
                  </a:lnTo>
                  <a:lnTo>
                    <a:pt x="552" y="282"/>
                  </a:lnTo>
                  <a:lnTo>
                    <a:pt x="558" y="276"/>
                  </a:lnTo>
                  <a:lnTo>
                    <a:pt x="558" y="264"/>
                  </a:lnTo>
                  <a:lnTo>
                    <a:pt x="552" y="264"/>
                  </a:lnTo>
                  <a:lnTo>
                    <a:pt x="546" y="270"/>
                  </a:lnTo>
                  <a:lnTo>
                    <a:pt x="546" y="252"/>
                  </a:lnTo>
                  <a:lnTo>
                    <a:pt x="540" y="246"/>
                  </a:lnTo>
                  <a:lnTo>
                    <a:pt x="534" y="246"/>
                  </a:lnTo>
                  <a:lnTo>
                    <a:pt x="528" y="240"/>
                  </a:lnTo>
                  <a:lnTo>
                    <a:pt x="528" y="234"/>
                  </a:lnTo>
                  <a:lnTo>
                    <a:pt x="540" y="228"/>
                  </a:lnTo>
                  <a:lnTo>
                    <a:pt x="546" y="222"/>
                  </a:lnTo>
                  <a:lnTo>
                    <a:pt x="540" y="216"/>
                  </a:lnTo>
                  <a:lnTo>
                    <a:pt x="534" y="216"/>
                  </a:lnTo>
                  <a:lnTo>
                    <a:pt x="540" y="210"/>
                  </a:lnTo>
                  <a:lnTo>
                    <a:pt x="540" y="204"/>
                  </a:lnTo>
                  <a:lnTo>
                    <a:pt x="528" y="204"/>
                  </a:lnTo>
                  <a:lnTo>
                    <a:pt x="528" y="192"/>
                  </a:lnTo>
                  <a:lnTo>
                    <a:pt x="534" y="192"/>
                  </a:lnTo>
                  <a:lnTo>
                    <a:pt x="534" y="174"/>
                  </a:lnTo>
                  <a:lnTo>
                    <a:pt x="522" y="174"/>
                  </a:lnTo>
                  <a:lnTo>
                    <a:pt x="516" y="168"/>
                  </a:lnTo>
                  <a:lnTo>
                    <a:pt x="510" y="168"/>
                  </a:lnTo>
                  <a:lnTo>
                    <a:pt x="504" y="162"/>
                  </a:lnTo>
                  <a:lnTo>
                    <a:pt x="504" y="150"/>
                  </a:lnTo>
                  <a:lnTo>
                    <a:pt x="510" y="150"/>
                  </a:lnTo>
                  <a:lnTo>
                    <a:pt x="522" y="138"/>
                  </a:lnTo>
                  <a:lnTo>
                    <a:pt x="522" y="120"/>
                  </a:lnTo>
                  <a:lnTo>
                    <a:pt x="516" y="114"/>
                  </a:lnTo>
                  <a:lnTo>
                    <a:pt x="510" y="114"/>
                  </a:lnTo>
                  <a:lnTo>
                    <a:pt x="510" y="96"/>
                  </a:lnTo>
                  <a:lnTo>
                    <a:pt x="504" y="90"/>
                  </a:lnTo>
                  <a:lnTo>
                    <a:pt x="486" y="84"/>
                  </a:lnTo>
                  <a:lnTo>
                    <a:pt x="486" y="78"/>
                  </a:lnTo>
                  <a:lnTo>
                    <a:pt x="480" y="66"/>
                  </a:lnTo>
                  <a:lnTo>
                    <a:pt x="474" y="60"/>
                  </a:lnTo>
                  <a:lnTo>
                    <a:pt x="456" y="60"/>
                  </a:lnTo>
                  <a:lnTo>
                    <a:pt x="450" y="54"/>
                  </a:lnTo>
                  <a:lnTo>
                    <a:pt x="444" y="54"/>
                  </a:lnTo>
                  <a:lnTo>
                    <a:pt x="438" y="48"/>
                  </a:lnTo>
                  <a:lnTo>
                    <a:pt x="426" y="48"/>
                  </a:lnTo>
                  <a:lnTo>
                    <a:pt x="420" y="42"/>
                  </a:lnTo>
                  <a:lnTo>
                    <a:pt x="396" y="42"/>
                  </a:lnTo>
                  <a:lnTo>
                    <a:pt x="384" y="54"/>
                  </a:lnTo>
                  <a:lnTo>
                    <a:pt x="342" y="54"/>
                  </a:lnTo>
                  <a:lnTo>
                    <a:pt x="342" y="72"/>
                  </a:lnTo>
                  <a:lnTo>
                    <a:pt x="300" y="72"/>
                  </a:lnTo>
                  <a:lnTo>
                    <a:pt x="300" y="60"/>
                  </a:lnTo>
                  <a:lnTo>
                    <a:pt x="312" y="48"/>
                  </a:lnTo>
                  <a:lnTo>
                    <a:pt x="312" y="42"/>
                  </a:lnTo>
                  <a:lnTo>
                    <a:pt x="318" y="30"/>
                  </a:lnTo>
                  <a:lnTo>
                    <a:pt x="294" y="42"/>
                  </a:lnTo>
                  <a:lnTo>
                    <a:pt x="252" y="36"/>
                  </a:lnTo>
                  <a:lnTo>
                    <a:pt x="246" y="30"/>
                  </a:lnTo>
                  <a:lnTo>
                    <a:pt x="246" y="18"/>
                  </a:lnTo>
                  <a:lnTo>
                    <a:pt x="240" y="6"/>
                  </a:lnTo>
                  <a:lnTo>
                    <a:pt x="234" y="6"/>
                  </a:lnTo>
                  <a:lnTo>
                    <a:pt x="234" y="12"/>
                  </a:lnTo>
                  <a:lnTo>
                    <a:pt x="228" y="6"/>
                  </a:lnTo>
                  <a:lnTo>
                    <a:pt x="204" y="6"/>
                  </a:lnTo>
                  <a:lnTo>
                    <a:pt x="198" y="0"/>
                  </a:lnTo>
                  <a:lnTo>
                    <a:pt x="168" y="0"/>
                  </a:lnTo>
                  <a:lnTo>
                    <a:pt x="192" y="36"/>
                  </a:lnTo>
                  <a:lnTo>
                    <a:pt x="180" y="48"/>
                  </a:lnTo>
                  <a:lnTo>
                    <a:pt x="198" y="72"/>
                  </a:lnTo>
                  <a:lnTo>
                    <a:pt x="216" y="90"/>
                  </a:lnTo>
                  <a:lnTo>
                    <a:pt x="186" y="78"/>
                  </a:lnTo>
                  <a:lnTo>
                    <a:pt x="162" y="84"/>
                  </a:lnTo>
                  <a:lnTo>
                    <a:pt x="162" y="108"/>
                  </a:lnTo>
                  <a:lnTo>
                    <a:pt x="132" y="108"/>
                  </a:lnTo>
                  <a:lnTo>
                    <a:pt x="126" y="96"/>
                  </a:lnTo>
                  <a:lnTo>
                    <a:pt x="84" y="96"/>
                  </a:lnTo>
                  <a:lnTo>
                    <a:pt x="84" y="126"/>
                  </a:lnTo>
                  <a:lnTo>
                    <a:pt x="90" y="126"/>
                  </a:lnTo>
                  <a:lnTo>
                    <a:pt x="84" y="132"/>
                  </a:lnTo>
                  <a:lnTo>
                    <a:pt x="90" y="144"/>
                  </a:lnTo>
                  <a:lnTo>
                    <a:pt x="78" y="150"/>
                  </a:lnTo>
                  <a:lnTo>
                    <a:pt x="72" y="150"/>
                  </a:lnTo>
                  <a:lnTo>
                    <a:pt x="72" y="168"/>
                  </a:lnTo>
                  <a:lnTo>
                    <a:pt x="78" y="174"/>
                  </a:lnTo>
                  <a:lnTo>
                    <a:pt x="66" y="174"/>
                  </a:lnTo>
                  <a:lnTo>
                    <a:pt x="54" y="180"/>
                  </a:lnTo>
                  <a:lnTo>
                    <a:pt x="48" y="180"/>
                  </a:lnTo>
                  <a:lnTo>
                    <a:pt x="48" y="186"/>
                  </a:lnTo>
                  <a:lnTo>
                    <a:pt x="54" y="192"/>
                  </a:lnTo>
                  <a:lnTo>
                    <a:pt x="60" y="192"/>
                  </a:lnTo>
                  <a:lnTo>
                    <a:pt x="72" y="204"/>
                  </a:lnTo>
                  <a:lnTo>
                    <a:pt x="72" y="210"/>
                  </a:lnTo>
                  <a:lnTo>
                    <a:pt x="66" y="210"/>
                  </a:lnTo>
                  <a:lnTo>
                    <a:pt x="60" y="216"/>
                  </a:lnTo>
                  <a:lnTo>
                    <a:pt x="54" y="228"/>
                  </a:lnTo>
                  <a:lnTo>
                    <a:pt x="48" y="228"/>
                  </a:lnTo>
                  <a:lnTo>
                    <a:pt x="42" y="234"/>
                  </a:lnTo>
                  <a:lnTo>
                    <a:pt x="42" y="240"/>
                  </a:lnTo>
                  <a:lnTo>
                    <a:pt x="18" y="240"/>
                  </a:lnTo>
                  <a:lnTo>
                    <a:pt x="12" y="234"/>
                  </a:lnTo>
                  <a:lnTo>
                    <a:pt x="6" y="234"/>
                  </a:lnTo>
                  <a:lnTo>
                    <a:pt x="12" y="258"/>
                  </a:lnTo>
                  <a:lnTo>
                    <a:pt x="12" y="264"/>
                  </a:lnTo>
                  <a:lnTo>
                    <a:pt x="18" y="270"/>
                  </a:lnTo>
                  <a:lnTo>
                    <a:pt x="18" y="276"/>
                  </a:lnTo>
                  <a:lnTo>
                    <a:pt x="6" y="282"/>
                  </a:lnTo>
                  <a:lnTo>
                    <a:pt x="0" y="288"/>
                  </a:lnTo>
                  <a:lnTo>
                    <a:pt x="6" y="294"/>
                  </a:lnTo>
                  <a:lnTo>
                    <a:pt x="6" y="306"/>
                  </a:lnTo>
                  <a:lnTo>
                    <a:pt x="0" y="312"/>
                  </a:lnTo>
                  <a:lnTo>
                    <a:pt x="0" y="324"/>
                  </a:lnTo>
                  <a:lnTo>
                    <a:pt x="12" y="324"/>
                  </a:lnTo>
                  <a:lnTo>
                    <a:pt x="24" y="336"/>
                  </a:lnTo>
                  <a:lnTo>
                    <a:pt x="24" y="354"/>
                  </a:lnTo>
                  <a:lnTo>
                    <a:pt x="30" y="360"/>
                  </a:lnTo>
                  <a:lnTo>
                    <a:pt x="18" y="360"/>
                  </a:lnTo>
                  <a:lnTo>
                    <a:pt x="12" y="366"/>
                  </a:lnTo>
                  <a:lnTo>
                    <a:pt x="12" y="384"/>
                  </a:lnTo>
                  <a:lnTo>
                    <a:pt x="18" y="390"/>
                  </a:lnTo>
                  <a:lnTo>
                    <a:pt x="24" y="390"/>
                  </a:lnTo>
                  <a:lnTo>
                    <a:pt x="36" y="396"/>
                  </a:lnTo>
                  <a:lnTo>
                    <a:pt x="36" y="408"/>
                  </a:lnTo>
                  <a:lnTo>
                    <a:pt x="30" y="414"/>
                  </a:lnTo>
                  <a:close/>
                </a:path>
              </a:pathLst>
            </a:custGeom>
            <a:solidFill>
              <a:srgbClr val="F2F2F2"/>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89" name="Georgia" descr="© INSCALE GmbH, 05.05.2010&#10;http://www.presentationload.com/">
              <a:extLst>
                <a:ext uri="{FF2B5EF4-FFF2-40B4-BE49-F238E27FC236}">
                  <a16:creationId xmlns:a16="http://schemas.microsoft.com/office/drawing/2014/main" id="{C047CF0E-66D7-353D-6CBB-80DBCD9A16C3}"/>
                </a:ext>
              </a:extLst>
            </p:cNvPr>
            <p:cNvSpPr>
              <a:spLocks/>
            </p:cNvSpPr>
            <p:nvPr/>
          </p:nvSpPr>
          <p:spPr bwMode="gray">
            <a:xfrm>
              <a:off x="5237475" y="1887303"/>
              <a:ext cx="174919" cy="80048"/>
            </a:xfrm>
            <a:custGeom>
              <a:avLst/>
              <a:gdLst>
                <a:gd name="T0" fmla="*/ 2147483647 w 462"/>
                <a:gd name="T1" fmla="*/ 2147483647 h 210"/>
                <a:gd name="T2" fmla="*/ 2147483647 w 462"/>
                <a:gd name="T3" fmla="*/ 2147483647 h 210"/>
                <a:gd name="T4" fmla="*/ 2147483647 w 462"/>
                <a:gd name="T5" fmla="*/ 2147483647 h 210"/>
                <a:gd name="T6" fmla="*/ 2147483647 w 462"/>
                <a:gd name="T7" fmla="*/ 2147483647 h 210"/>
                <a:gd name="T8" fmla="*/ 2147483647 w 462"/>
                <a:gd name="T9" fmla="*/ 2147483647 h 210"/>
                <a:gd name="T10" fmla="*/ 2147483647 w 462"/>
                <a:gd name="T11" fmla="*/ 2147483647 h 210"/>
                <a:gd name="T12" fmla="*/ 2147483647 w 462"/>
                <a:gd name="T13" fmla="*/ 2147483647 h 210"/>
                <a:gd name="T14" fmla="*/ 2147483647 w 462"/>
                <a:gd name="T15" fmla="*/ 2147483647 h 210"/>
                <a:gd name="T16" fmla="*/ 2147483647 w 462"/>
                <a:gd name="T17" fmla="*/ 2147483647 h 210"/>
                <a:gd name="T18" fmla="*/ 2147483647 w 462"/>
                <a:gd name="T19" fmla="*/ 2147483647 h 210"/>
                <a:gd name="T20" fmla="*/ 2147483647 w 462"/>
                <a:gd name="T21" fmla="*/ 2147483647 h 210"/>
                <a:gd name="T22" fmla="*/ 2147483647 w 462"/>
                <a:gd name="T23" fmla="*/ 2147483647 h 210"/>
                <a:gd name="T24" fmla="*/ 2147483647 w 462"/>
                <a:gd name="T25" fmla="*/ 2147483647 h 210"/>
                <a:gd name="T26" fmla="*/ 2147483647 w 462"/>
                <a:gd name="T27" fmla="*/ 2147483647 h 210"/>
                <a:gd name="T28" fmla="*/ 2147483647 w 462"/>
                <a:gd name="T29" fmla="*/ 2147483647 h 210"/>
                <a:gd name="T30" fmla="*/ 2147483647 w 462"/>
                <a:gd name="T31" fmla="*/ 2147483647 h 210"/>
                <a:gd name="T32" fmla="*/ 2147483647 w 462"/>
                <a:gd name="T33" fmla="*/ 2147483647 h 210"/>
                <a:gd name="T34" fmla="*/ 2147483647 w 462"/>
                <a:gd name="T35" fmla="*/ 2147483647 h 210"/>
                <a:gd name="T36" fmla="*/ 2147483647 w 462"/>
                <a:gd name="T37" fmla="*/ 2147483647 h 210"/>
                <a:gd name="T38" fmla="*/ 2147483647 w 462"/>
                <a:gd name="T39" fmla="*/ 2147483647 h 210"/>
                <a:gd name="T40" fmla="*/ 2147483647 w 462"/>
                <a:gd name="T41" fmla="*/ 2147483647 h 210"/>
                <a:gd name="T42" fmla="*/ 2147483647 w 462"/>
                <a:gd name="T43" fmla="*/ 2147483647 h 210"/>
                <a:gd name="T44" fmla="*/ 2147483647 w 462"/>
                <a:gd name="T45" fmla="*/ 2147483647 h 210"/>
                <a:gd name="T46" fmla="*/ 2147483647 w 462"/>
                <a:gd name="T47" fmla="*/ 2147483647 h 210"/>
                <a:gd name="T48" fmla="*/ 2147483647 w 462"/>
                <a:gd name="T49" fmla="*/ 2147483647 h 210"/>
                <a:gd name="T50" fmla="*/ 2147483647 w 462"/>
                <a:gd name="T51" fmla="*/ 2147483647 h 210"/>
                <a:gd name="T52" fmla="*/ 2147483647 w 462"/>
                <a:gd name="T53" fmla="*/ 2147483647 h 210"/>
                <a:gd name="T54" fmla="*/ 2147483647 w 462"/>
                <a:gd name="T55" fmla="*/ 2147483647 h 210"/>
                <a:gd name="T56" fmla="*/ 2147483647 w 462"/>
                <a:gd name="T57" fmla="*/ 2147483647 h 210"/>
                <a:gd name="T58" fmla="*/ 2147483647 w 462"/>
                <a:gd name="T59" fmla="*/ 2147483647 h 210"/>
                <a:gd name="T60" fmla="*/ 2147483647 w 462"/>
                <a:gd name="T61" fmla="*/ 2147483647 h 210"/>
                <a:gd name="T62" fmla="*/ 2147483647 w 462"/>
                <a:gd name="T63" fmla="*/ 2147483647 h 210"/>
                <a:gd name="T64" fmla="*/ 2147483647 w 462"/>
                <a:gd name="T65" fmla="*/ 2147483647 h 210"/>
                <a:gd name="T66" fmla="*/ 2147483647 w 462"/>
                <a:gd name="T67" fmla="*/ 2147483647 h 210"/>
                <a:gd name="T68" fmla="*/ 2147483647 w 462"/>
                <a:gd name="T69" fmla="*/ 2147483647 h 210"/>
                <a:gd name="T70" fmla="*/ 2147483647 w 462"/>
                <a:gd name="T71" fmla="*/ 2147483647 h 210"/>
                <a:gd name="T72" fmla="*/ 2147483647 w 462"/>
                <a:gd name="T73" fmla="*/ 2147483647 h 210"/>
                <a:gd name="T74" fmla="*/ 2147483647 w 462"/>
                <a:gd name="T75" fmla="*/ 2147483647 h 210"/>
                <a:gd name="T76" fmla="*/ 2147483647 w 462"/>
                <a:gd name="T77" fmla="*/ 2147483647 h 210"/>
                <a:gd name="T78" fmla="*/ 2147483647 w 462"/>
                <a:gd name="T79" fmla="*/ 2147483647 h 210"/>
                <a:gd name="T80" fmla="*/ 2147483647 w 462"/>
                <a:gd name="T81" fmla="*/ 0 h 210"/>
                <a:gd name="T82" fmla="*/ 0 w 462"/>
                <a:gd name="T83" fmla="*/ 2147483647 h 21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62"/>
                <a:gd name="T127" fmla="*/ 0 h 210"/>
                <a:gd name="T128" fmla="*/ 462 w 462"/>
                <a:gd name="T129" fmla="*/ 210 h 21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62" h="210">
                  <a:moveTo>
                    <a:pt x="6" y="18"/>
                  </a:moveTo>
                  <a:lnTo>
                    <a:pt x="12" y="18"/>
                  </a:lnTo>
                  <a:lnTo>
                    <a:pt x="18" y="24"/>
                  </a:lnTo>
                  <a:lnTo>
                    <a:pt x="30" y="30"/>
                  </a:lnTo>
                  <a:lnTo>
                    <a:pt x="42" y="42"/>
                  </a:lnTo>
                  <a:lnTo>
                    <a:pt x="60" y="48"/>
                  </a:lnTo>
                  <a:lnTo>
                    <a:pt x="72" y="54"/>
                  </a:lnTo>
                  <a:lnTo>
                    <a:pt x="78" y="54"/>
                  </a:lnTo>
                  <a:lnTo>
                    <a:pt x="84" y="60"/>
                  </a:lnTo>
                  <a:lnTo>
                    <a:pt x="96" y="66"/>
                  </a:lnTo>
                  <a:lnTo>
                    <a:pt x="102" y="78"/>
                  </a:lnTo>
                  <a:lnTo>
                    <a:pt x="114" y="84"/>
                  </a:lnTo>
                  <a:lnTo>
                    <a:pt x="114" y="96"/>
                  </a:lnTo>
                  <a:lnTo>
                    <a:pt x="120" y="114"/>
                  </a:lnTo>
                  <a:lnTo>
                    <a:pt x="120" y="132"/>
                  </a:lnTo>
                  <a:lnTo>
                    <a:pt x="126" y="138"/>
                  </a:lnTo>
                  <a:lnTo>
                    <a:pt x="132" y="150"/>
                  </a:lnTo>
                  <a:lnTo>
                    <a:pt x="138" y="156"/>
                  </a:lnTo>
                  <a:lnTo>
                    <a:pt x="138" y="162"/>
                  </a:lnTo>
                  <a:lnTo>
                    <a:pt x="132" y="168"/>
                  </a:lnTo>
                  <a:lnTo>
                    <a:pt x="168" y="174"/>
                  </a:lnTo>
                  <a:lnTo>
                    <a:pt x="174" y="168"/>
                  </a:lnTo>
                  <a:lnTo>
                    <a:pt x="186" y="162"/>
                  </a:lnTo>
                  <a:lnTo>
                    <a:pt x="198" y="162"/>
                  </a:lnTo>
                  <a:lnTo>
                    <a:pt x="210" y="168"/>
                  </a:lnTo>
                  <a:lnTo>
                    <a:pt x="216" y="174"/>
                  </a:lnTo>
                  <a:lnTo>
                    <a:pt x="222" y="186"/>
                  </a:lnTo>
                  <a:lnTo>
                    <a:pt x="222" y="192"/>
                  </a:lnTo>
                  <a:lnTo>
                    <a:pt x="246" y="192"/>
                  </a:lnTo>
                  <a:lnTo>
                    <a:pt x="246" y="198"/>
                  </a:lnTo>
                  <a:lnTo>
                    <a:pt x="252" y="204"/>
                  </a:lnTo>
                  <a:lnTo>
                    <a:pt x="276" y="198"/>
                  </a:lnTo>
                  <a:lnTo>
                    <a:pt x="282" y="192"/>
                  </a:lnTo>
                  <a:lnTo>
                    <a:pt x="336" y="198"/>
                  </a:lnTo>
                  <a:lnTo>
                    <a:pt x="336" y="180"/>
                  </a:lnTo>
                  <a:lnTo>
                    <a:pt x="342" y="180"/>
                  </a:lnTo>
                  <a:lnTo>
                    <a:pt x="348" y="186"/>
                  </a:lnTo>
                  <a:lnTo>
                    <a:pt x="354" y="186"/>
                  </a:lnTo>
                  <a:lnTo>
                    <a:pt x="354" y="180"/>
                  </a:lnTo>
                  <a:lnTo>
                    <a:pt x="366" y="168"/>
                  </a:lnTo>
                  <a:lnTo>
                    <a:pt x="390" y="168"/>
                  </a:lnTo>
                  <a:lnTo>
                    <a:pt x="396" y="174"/>
                  </a:lnTo>
                  <a:lnTo>
                    <a:pt x="396" y="180"/>
                  </a:lnTo>
                  <a:lnTo>
                    <a:pt x="414" y="198"/>
                  </a:lnTo>
                  <a:lnTo>
                    <a:pt x="426" y="192"/>
                  </a:lnTo>
                  <a:lnTo>
                    <a:pt x="438" y="192"/>
                  </a:lnTo>
                  <a:lnTo>
                    <a:pt x="456" y="210"/>
                  </a:lnTo>
                  <a:lnTo>
                    <a:pt x="462" y="204"/>
                  </a:lnTo>
                  <a:lnTo>
                    <a:pt x="456" y="192"/>
                  </a:lnTo>
                  <a:lnTo>
                    <a:pt x="450" y="186"/>
                  </a:lnTo>
                  <a:lnTo>
                    <a:pt x="444" y="174"/>
                  </a:lnTo>
                  <a:lnTo>
                    <a:pt x="438" y="168"/>
                  </a:lnTo>
                  <a:lnTo>
                    <a:pt x="432" y="168"/>
                  </a:lnTo>
                  <a:lnTo>
                    <a:pt x="414" y="150"/>
                  </a:lnTo>
                  <a:lnTo>
                    <a:pt x="420" y="144"/>
                  </a:lnTo>
                  <a:lnTo>
                    <a:pt x="432" y="144"/>
                  </a:lnTo>
                  <a:lnTo>
                    <a:pt x="420" y="132"/>
                  </a:lnTo>
                  <a:lnTo>
                    <a:pt x="408" y="126"/>
                  </a:lnTo>
                  <a:lnTo>
                    <a:pt x="396" y="114"/>
                  </a:lnTo>
                  <a:lnTo>
                    <a:pt x="378" y="114"/>
                  </a:lnTo>
                  <a:lnTo>
                    <a:pt x="378" y="108"/>
                  </a:lnTo>
                  <a:lnTo>
                    <a:pt x="384" y="102"/>
                  </a:lnTo>
                  <a:lnTo>
                    <a:pt x="384" y="90"/>
                  </a:lnTo>
                  <a:lnTo>
                    <a:pt x="354" y="84"/>
                  </a:lnTo>
                  <a:lnTo>
                    <a:pt x="342" y="72"/>
                  </a:lnTo>
                  <a:lnTo>
                    <a:pt x="330" y="66"/>
                  </a:lnTo>
                  <a:lnTo>
                    <a:pt x="300" y="66"/>
                  </a:lnTo>
                  <a:lnTo>
                    <a:pt x="300" y="72"/>
                  </a:lnTo>
                  <a:lnTo>
                    <a:pt x="288" y="72"/>
                  </a:lnTo>
                  <a:lnTo>
                    <a:pt x="282" y="78"/>
                  </a:lnTo>
                  <a:lnTo>
                    <a:pt x="258" y="78"/>
                  </a:lnTo>
                  <a:lnTo>
                    <a:pt x="246" y="72"/>
                  </a:lnTo>
                  <a:lnTo>
                    <a:pt x="240" y="72"/>
                  </a:lnTo>
                  <a:lnTo>
                    <a:pt x="240" y="66"/>
                  </a:lnTo>
                  <a:lnTo>
                    <a:pt x="192" y="36"/>
                  </a:lnTo>
                  <a:lnTo>
                    <a:pt x="186" y="36"/>
                  </a:lnTo>
                  <a:lnTo>
                    <a:pt x="180" y="30"/>
                  </a:lnTo>
                  <a:lnTo>
                    <a:pt x="144" y="30"/>
                  </a:lnTo>
                  <a:lnTo>
                    <a:pt x="84" y="18"/>
                  </a:lnTo>
                  <a:lnTo>
                    <a:pt x="66" y="12"/>
                  </a:lnTo>
                  <a:lnTo>
                    <a:pt x="54" y="6"/>
                  </a:lnTo>
                  <a:lnTo>
                    <a:pt x="36" y="0"/>
                  </a:lnTo>
                  <a:lnTo>
                    <a:pt x="24" y="0"/>
                  </a:lnTo>
                  <a:lnTo>
                    <a:pt x="0" y="18"/>
                  </a:lnTo>
                  <a:lnTo>
                    <a:pt x="6" y="18"/>
                  </a:lnTo>
                  <a:close/>
                </a:path>
              </a:pathLst>
            </a:custGeom>
            <a:solidFill>
              <a:srgbClr val="F2F2F2"/>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90" name="The Gambia" descr="© INSCALE GmbH, 05.05.2010&#10;http://www.presentationload.com/">
              <a:extLst>
                <a:ext uri="{FF2B5EF4-FFF2-40B4-BE49-F238E27FC236}">
                  <a16:creationId xmlns:a16="http://schemas.microsoft.com/office/drawing/2014/main" id="{0735BBC1-5358-6003-189C-0602F9D18A2D}"/>
                </a:ext>
              </a:extLst>
            </p:cNvPr>
            <p:cNvSpPr>
              <a:spLocks/>
            </p:cNvSpPr>
            <p:nvPr/>
          </p:nvSpPr>
          <p:spPr bwMode="gray">
            <a:xfrm>
              <a:off x="3786233" y="2797483"/>
              <a:ext cx="81531" cy="19271"/>
            </a:xfrm>
            <a:custGeom>
              <a:avLst/>
              <a:gdLst>
                <a:gd name="T0" fmla="*/ 2147483647 w 216"/>
                <a:gd name="T1" fmla="*/ 2147483647 h 54"/>
                <a:gd name="T2" fmla="*/ 2147483647 w 216"/>
                <a:gd name="T3" fmla="*/ 2147483647 h 54"/>
                <a:gd name="T4" fmla="*/ 2147483647 w 216"/>
                <a:gd name="T5" fmla="*/ 2147483647 h 54"/>
                <a:gd name="T6" fmla="*/ 2147483647 w 216"/>
                <a:gd name="T7" fmla="*/ 2147483647 h 54"/>
                <a:gd name="T8" fmla="*/ 0 w 216"/>
                <a:gd name="T9" fmla="*/ 2147483647 h 54"/>
                <a:gd name="T10" fmla="*/ 0 w 216"/>
                <a:gd name="T11" fmla="*/ 2147483647 h 54"/>
                <a:gd name="T12" fmla="*/ 2147483647 w 216"/>
                <a:gd name="T13" fmla="*/ 2147483647 h 54"/>
                <a:gd name="T14" fmla="*/ 2147483647 w 216"/>
                <a:gd name="T15" fmla="*/ 2147483647 h 54"/>
                <a:gd name="T16" fmla="*/ 2147483647 w 216"/>
                <a:gd name="T17" fmla="*/ 2147483647 h 54"/>
                <a:gd name="T18" fmla="*/ 2147483647 w 216"/>
                <a:gd name="T19" fmla="*/ 2147483647 h 54"/>
                <a:gd name="T20" fmla="*/ 2147483647 w 216"/>
                <a:gd name="T21" fmla="*/ 2147483647 h 54"/>
                <a:gd name="T22" fmla="*/ 2147483647 w 216"/>
                <a:gd name="T23" fmla="*/ 2147483647 h 54"/>
                <a:gd name="T24" fmla="*/ 2147483647 w 216"/>
                <a:gd name="T25" fmla="*/ 2147483647 h 54"/>
                <a:gd name="T26" fmla="*/ 2147483647 w 216"/>
                <a:gd name="T27" fmla="*/ 2147483647 h 54"/>
                <a:gd name="T28" fmla="*/ 2147483647 w 216"/>
                <a:gd name="T29" fmla="*/ 2147483647 h 54"/>
                <a:gd name="T30" fmla="*/ 2147483647 w 216"/>
                <a:gd name="T31" fmla="*/ 2147483647 h 54"/>
                <a:gd name="T32" fmla="*/ 2147483647 w 216"/>
                <a:gd name="T33" fmla="*/ 2147483647 h 54"/>
                <a:gd name="T34" fmla="*/ 2147483647 w 216"/>
                <a:gd name="T35" fmla="*/ 2147483647 h 54"/>
                <a:gd name="T36" fmla="*/ 2147483647 w 216"/>
                <a:gd name="T37" fmla="*/ 2147483647 h 54"/>
                <a:gd name="T38" fmla="*/ 2147483647 w 216"/>
                <a:gd name="T39" fmla="*/ 2147483647 h 54"/>
                <a:gd name="T40" fmla="*/ 2147483647 w 216"/>
                <a:gd name="T41" fmla="*/ 2147483647 h 54"/>
                <a:gd name="T42" fmla="*/ 2147483647 w 216"/>
                <a:gd name="T43" fmla="*/ 2147483647 h 54"/>
                <a:gd name="T44" fmla="*/ 2147483647 w 216"/>
                <a:gd name="T45" fmla="*/ 2147483647 h 54"/>
                <a:gd name="T46" fmla="*/ 2147483647 w 216"/>
                <a:gd name="T47" fmla="*/ 2147483647 h 54"/>
                <a:gd name="T48" fmla="*/ 2147483647 w 216"/>
                <a:gd name="T49" fmla="*/ 2147483647 h 54"/>
                <a:gd name="T50" fmla="*/ 2147483647 w 216"/>
                <a:gd name="T51" fmla="*/ 2147483647 h 54"/>
                <a:gd name="T52" fmla="*/ 2147483647 w 216"/>
                <a:gd name="T53" fmla="*/ 2147483647 h 54"/>
                <a:gd name="T54" fmla="*/ 2147483647 w 216"/>
                <a:gd name="T55" fmla="*/ 2147483647 h 54"/>
                <a:gd name="T56" fmla="*/ 2147483647 w 216"/>
                <a:gd name="T57" fmla="*/ 2147483647 h 54"/>
                <a:gd name="T58" fmla="*/ 2147483647 w 216"/>
                <a:gd name="T59" fmla="*/ 0 h 54"/>
                <a:gd name="T60" fmla="*/ 2147483647 w 216"/>
                <a:gd name="T61" fmla="*/ 0 h 54"/>
                <a:gd name="T62" fmla="*/ 2147483647 w 216"/>
                <a:gd name="T63" fmla="*/ 2147483647 h 54"/>
                <a:gd name="T64" fmla="*/ 2147483647 w 216"/>
                <a:gd name="T65" fmla="*/ 2147483647 h 54"/>
                <a:gd name="T66" fmla="*/ 2147483647 w 216"/>
                <a:gd name="T67" fmla="*/ 2147483647 h 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6"/>
                <a:gd name="T103" fmla="*/ 0 h 54"/>
                <a:gd name="T104" fmla="*/ 216 w 216"/>
                <a:gd name="T105" fmla="*/ 54 h 5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6" h="54">
                  <a:moveTo>
                    <a:pt x="18" y="18"/>
                  </a:moveTo>
                  <a:lnTo>
                    <a:pt x="12" y="24"/>
                  </a:lnTo>
                  <a:lnTo>
                    <a:pt x="6" y="36"/>
                  </a:lnTo>
                  <a:lnTo>
                    <a:pt x="6" y="42"/>
                  </a:lnTo>
                  <a:lnTo>
                    <a:pt x="0" y="48"/>
                  </a:lnTo>
                  <a:lnTo>
                    <a:pt x="0" y="54"/>
                  </a:lnTo>
                  <a:lnTo>
                    <a:pt x="72" y="54"/>
                  </a:lnTo>
                  <a:lnTo>
                    <a:pt x="72" y="42"/>
                  </a:lnTo>
                  <a:lnTo>
                    <a:pt x="84" y="42"/>
                  </a:lnTo>
                  <a:lnTo>
                    <a:pt x="90" y="36"/>
                  </a:lnTo>
                  <a:lnTo>
                    <a:pt x="114" y="36"/>
                  </a:lnTo>
                  <a:lnTo>
                    <a:pt x="120" y="24"/>
                  </a:lnTo>
                  <a:lnTo>
                    <a:pt x="126" y="18"/>
                  </a:lnTo>
                  <a:lnTo>
                    <a:pt x="132" y="24"/>
                  </a:lnTo>
                  <a:lnTo>
                    <a:pt x="144" y="30"/>
                  </a:lnTo>
                  <a:lnTo>
                    <a:pt x="150" y="42"/>
                  </a:lnTo>
                  <a:lnTo>
                    <a:pt x="168" y="48"/>
                  </a:lnTo>
                  <a:lnTo>
                    <a:pt x="192" y="48"/>
                  </a:lnTo>
                  <a:lnTo>
                    <a:pt x="198" y="42"/>
                  </a:lnTo>
                  <a:lnTo>
                    <a:pt x="210" y="36"/>
                  </a:lnTo>
                  <a:lnTo>
                    <a:pt x="216" y="30"/>
                  </a:lnTo>
                  <a:lnTo>
                    <a:pt x="216" y="24"/>
                  </a:lnTo>
                  <a:lnTo>
                    <a:pt x="210" y="18"/>
                  </a:lnTo>
                  <a:lnTo>
                    <a:pt x="186" y="18"/>
                  </a:lnTo>
                  <a:lnTo>
                    <a:pt x="180" y="24"/>
                  </a:lnTo>
                  <a:lnTo>
                    <a:pt x="168" y="24"/>
                  </a:lnTo>
                  <a:lnTo>
                    <a:pt x="162" y="12"/>
                  </a:lnTo>
                  <a:lnTo>
                    <a:pt x="156" y="6"/>
                  </a:lnTo>
                  <a:lnTo>
                    <a:pt x="144" y="12"/>
                  </a:lnTo>
                  <a:lnTo>
                    <a:pt x="144" y="0"/>
                  </a:lnTo>
                  <a:lnTo>
                    <a:pt x="90" y="0"/>
                  </a:lnTo>
                  <a:lnTo>
                    <a:pt x="90" y="12"/>
                  </a:lnTo>
                  <a:lnTo>
                    <a:pt x="18" y="12"/>
                  </a:lnTo>
                  <a:lnTo>
                    <a:pt x="18" y="18"/>
                  </a:lnTo>
                  <a:close/>
                </a:path>
              </a:pathLst>
            </a:custGeom>
            <a:solidFill>
              <a:srgbClr val="F2F2F2"/>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94" name="Gabon" descr="© INSCALE GmbH, 05.05.2010&#10;http://www.presentationload.com/">
              <a:extLst>
                <a:ext uri="{FF2B5EF4-FFF2-40B4-BE49-F238E27FC236}">
                  <a16:creationId xmlns:a16="http://schemas.microsoft.com/office/drawing/2014/main" id="{BFB87909-BE66-29CD-060C-9E78156D2615}"/>
                </a:ext>
              </a:extLst>
            </p:cNvPr>
            <p:cNvSpPr>
              <a:spLocks/>
            </p:cNvSpPr>
            <p:nvPr/>
          </p:nvSpPr>
          <p:spPr bwMode="gray">
            <a:xfrm>
              <a:off x="4468124" y="3144360"/>
              <a:ext cx="158615" cy="194192"/>
            </a:xfrm>
            <a:custGeom>
              <a:avLst/>
              <a:gdLst>
                <a:gd name="T0" fmla="*/ 2147483647 w 420"/>
                <a:gd name="T1" fmla="*/ 2147483647 h 510"/>
                <a:gd name="T2" fmla="*/ 2147483647 w 420"/>
                <a:gd name="T3" fmla="*/ 2147483647 h 510"/>
                <a:gd name="T4" fmla="*/ 2147483647 w 420"/>
                <a:gd name="T5" fmla="*/ 2147483647 h 510"/>
                <a:gd name="T6" fmla="*/ 2147483647 w 420"/>
                <a:gd name="T7" fmla="*/ 2147483647 h 510"/>
                <a:gd name="T8" fmla="*/ 2147483647 w 420"/>
                <a:gd name="T9" fmla="*/ 2147483647 h 510"/>
                <a:gd name="T10" fmla="*/ 2147483647 w 420"/>
                <a:gd name="T11" fmla="*/ 2147483647 h 510"/>
                <a:gd name="T12" fmla="*/ 2147483647 w 420"/>
                <a:gd name="T13" fmla="*/ 2147483647 h 510"/>
                <a:gd name="T14" fmla="*/ 2147483647 w 420"/>
                <a:gd name="T15" fmla="*/ 2147483647 h 510"/>
                <a:gd name="T16" fmla="*/ 2147483647 w 420"/>
                <a:gd name="T17" fmla="*/ 2147483647 h 510"/>
                <a:gd name="T18" fmla="*/ 2147483647 w 420"/>
                <a:gd name="T19" fmla="*/ 2147483647 h 510"/>
                <a:gd name="T20" fmla="*/ 2147483647 w 420"/>
                <a:gd name="T21" fmla="*/ 2147483647 h 510"/>
                <a:gd name="T22" fmla="*/ 2147483647 w 420"/>
                <a:gd name="T23" fmla="*/ 2147483647 h 510"/>
                <a:gd name="T24" fmla="*/ 2147483647 w 420"/>
                <a:gd name="T25" fmla="*/ 2147483647 h 510"/>
                <a:gd name="T26" fmla="*/ 2147483647 w 420"/>
                <a:gd name="T27" fmla="*/ 2147483647 h 510"/>
                <a:gd name="T28" fmla="*/ 2147483647 w 420"/>
                <a:gd name="T29" fmla="*/ 2147483647 h 510"/>
                <a:gd name="T30" fmla="*/ 2147483647 w 420"/>
                <a:gd name="T31" fmla="*/ 2147483647 h 510"/>
                <a:gd name="T32" fmla="*/ 2147483647 w 420"/>
                <a:gd name="T33" fmla="*/ 2147483647 h 510"/>
                <a:gd name="T34" fmla="*/ 2147483647 w 420"/>
                <a:gd name="T35" fmla="*/ 2147483647 h 510"/>
                <a:gd name="T36" fmla="*/ 2147483647 w 420"/>
                <a:gd name="T37" fmla="*/ 2147483647 h 510"/>
                <a:gd name="T38" fmla="*/ 2147483647 w 420"/>
                <a:gd name="T39" fmla="*/ 2147483647 h 510"/>
                <a:gd name="T40" fmla="*/ 2147483647 w 420"/>
                <a:gd name="T41" fmla="*/ 2147483647 h 510"/>
                <a:gd name="T42" fmla="*/ 2147483647 w 420"/>
                <a:gd name="T43" fmla="*/ 2147483647 h 510"/>
                <a:gd name="T44" fmla="*/ 2147483647 w 420"/>
                <a:gd name="T45" fmla="*/ 2147483647 h 510"/>
                <a:gd name="T46" fmla="*/ 2147483647 w 420"/>
                <a:gd name="T47" fmla="*/ 2147483647 h 510"/>
                <a:gd name="T48" fmla="*/ 2147483647 w 420"/>
                <a:gd name="T49" fmla="*/ 2147483647 h 510"/>
                <a:gd name="T50" fmla="*/ 2147483647 w 420"/>
                <a:gd name="T51" fmla="*/ 2147483647 h 510"/>
                <a:gd name="T52" fmla="*/ 2147483647 w 420"/>
                <a:gd name="T53" fmla="*/ 2147483647 h 510"/>
                <a:gd name="T54" fmla="*/ 2147483647 w 420"/>
                <a:gd name="T55" fmla="*/ 2147483647 h 510"/>
                <a:gd name="T56" fmla="*/ 2147483647 w 420"/>
                <a:gd name="T57" fmla="*/ 2147483647 h 510"/>
                <a:gd name="T58" fmla="*/ 2147483647 w 420"/>
                <a:gd name="T59" fmla="*/ 2147483647 h 510"/>
                <a:gd name="T60" fmla="*/ 2147483647 w 420"/>
                <a:gd name="T61" fmla="*/ 2147483647 h 510"/>
                <a:gd name="T62" fmla="*/ 2147483647 w 420"/>
                <a:gd name="T63" fmla="*/ 2147483647 h 510"/>
                <a:gd name="T64" fmla="*/ 2147483647 w 420"/>
                <a:gd name="T65" fmla="*/ 2147483647 h 510"/>
                <a:gd name="T66" fmla="*/ 2147483647 w 420"/>
                <a:gd name="T67" fmla="*/ 2147483647 h 510"/>
                <a:gd name="T68" fmla="*/ 2147483647 w 420"/>
                <a:gd name="T69" fmla="*/ 2147483647 h 510"/>
                <a:gd name="T70" fmla="*/ 2147483647 w 420"/>
                <a:gd name="T71" fmla="*/ 2147483647 h 510"/>
                <a:gd name="T72" fmla="*/ 2147483647 w 420"/>
                <a:gd name="T73" fmla="*/ 2147483647 h 510"/>
                <a:gd name="T74" fmla="*/ 2147483647 w 420"/>
                <a:gd name="T75" fmla="*/ 2147483647 h 510"/>
                <a:gd name="T76" fmla="*/ 2147483647 w 420"/>
                <a:gd name="T77" fmla="*/ 2147483647 h 510"/>
                <a:gd name="T78" fmla="*/ 2147483647 w 420"/>
                <a:gd name="T79" fmla="*/ 2147483647 h 510"/>
                <a:gd name="T80" fmla="*/ 2147483647 w 420"/>
                <a:gd name="T81" fmla="*/ 2147483647 h 510"/>
                <a:gd name="T82" fmla="*/ 2147483647 w 420"/>
                <a:gd name="T83" fmla="*/ 2147483647 h 510"/>
                <a:gd name="T84" fmla="*/ 2147483647 w 420"/>
                <a:gd name="T85" fmla="*/ 2147483647 h 510"/>
                <a:gd name="T86" fmla="*/ 2147483647 w 420"/>
                <a:gd name="T87" fmla="*/ 2147483647 h 510"/>
                <a:gd name="T88" fmla="*/ 2147483647 w 420"/>
                <a:gd name="T89" fmla="*/ 2147483647 h 510"/>
                <a:gd name="T90" fmla="*/ 2147483647 w 420"/>
                <a:gd name="T91" fmla="*/ 2147483647 h 510"/>
                <a:gd name="T92" fmla="*/ 2147483647 w 420"/>
                <a:gd name="T93" fmla="*/ 2147483647 h 510"/>
                <a:gd name="T94" fmla="*/ 2147483647 w 420"/>
                <a:gd name="T95" fmla="*/ 2147483647 h 510"/>
                <a:gd name="T96" fmla="*/ 2147483647 w 420"/>
                <a:gd name="T97" fmla="*/ 2147483647 h 510"/>
                <a:gd name="T98" fmla="*/ 2147483647 w 420"/>
                <a:gd name="T99" fmla="*/ 2147483647 h 510"/>
                <a:gd name="T100" fmla="*/ 2147483647 w 420"/>
                <a:gd name="T101" fmla="*/ 2147483647 h 510"/>
                <a:gd name="T102" fmla="*/ 2147483647 w 420"/>
                <a:gd name="T103" fmla="*/ 2147483647 h 510"/>
                <a:gd name="T104" fmla="*/ 2147483647 w 420"/>
                <a:gd name="T105" fmla="*/ 2147483647 h 510"/>
                <a:gd name="T106" fmla="*/ 2147483647 w 420"/>
                <a:gd name="T107" fmla="*/ 2147483647 h 510"/>
                <a:gd name="T108" fmla="*/ 2147483647 w 420"/>
                <a:gd name="T109" fmla="*/ 2147483647 h 510"/>
                <a:gd name="T110" fmla="*/ 2147483647 w 420"/>
                <a:gd name="T111" fmla="*/ 2147483647 h 51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0"/>
                <a:gd name="T169" fmla="*/ 0 h 510"/>
                <a:gd name="T170" fmla="*/ 420 w 420"/>
                <a:gd name="T171" fmla="*/ 510 h 51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0" h="510">
                  <a:moveTo>
                    <a:pt x="420" y="240"/>
                  </a:moveTo>
                  <a:lnTo>
                    <a:pt x="414" y="234"/>
                  </a:lnTo>
                  <a:lnTo>
                    <a:pt x="396" y="234"/>
                  </a:lnTo>
                  <a:lnTo>
                    <a:pt x="390" y="216"/>
                  </a:lnTo>
                  <a:lnTo>
                    <a:pt x="372" y="210"/>
                  </a:lnTo>
                  <a:lnTo>
                    <a:pt x="372" y="174"/>
                  </a:lnTo>
                  <a:lnTo>
                    <a:pt x="384" y="150"/>
                  </a:lnTo>
                  <a:lnTo>
                    <a:pt x="396" y="150"/>
                  </a:lnTo>
                  <a:lnTo>
                    <a:pt x="402" y="144"/>
                  </a:lnTo>
                  <a:lnTo>
                    <a:pt x="408" y="132"/>
                  </a:lnTo>
                  <a:lnTo>
                    <a:pt x="414" y="126"/>
                  </a:lnTo>
                  <a:lnTo>
                    <a:pt x="414" y="114"/>
                  </a:lnTo>
                  <a:lnTo>
                    <a:pt x="402" y="108"/>
                  </a:lnTo>
                  <a:lnTo>
                    <a:pt x="402" y="90"/>
                  </a:lnTo>
                  <a:lnTo>
                    <a:pt x="396" y="84"/>
                  </a:lnTo>
                  <a:lnTo>
                    <a:pt x="396" y="78"/>
                  </a:lnTo>
                  <a:lnTo>
                    <a:pt x="384" y="78"/>
                  </a:lnTo>
                  <a:lnTo>
                    <a:pt x="378" y="72"/>
                  </a:lnTo>
                  <a:lnTo>
                    <a:pt x="360" y="72"/>
                  </a:lnTo>
                  <a:lnTo>
                    <a:pt x="360" y="90"/>
                  </a:lnTo>
                  <a:lnTo>
                    <a:pt x="354" y="96"/>
                  </a:lnTo>
                  <a:lnTo>
                    <a:pt x="330" y="96"/>
                  </a:lnTo>
                  <a:lnTo>
                    <a:pt x="324" y="90"/>
                  </a:lnTo>
                  <a:lnTo>
                    <a:pt x="318" y="54"/>
                  </a:lnTo>
                  <a:lnTo>
                    <a:pt x="336" y="24"/>
                  </a:lnTo>
                  <a:lnTo>
                    <a:pt x="336" y="6"/>
                  </a:lnTo>
                  <a:lnTo>
                    <a:pt x="288" y="12"/>
                  </a:lnTo>
                  <a:lnTo>
                    <a:pt x="282" y="12"/>
                  </a:lnTo>
                  <a:lnTo>
                    <a:pt x="270" y="6"/>
                  </a:lnTo>
                  <a:lnTo>
                    <a:pt x="264" y="6"/>
                  </a:lnTo>
                  <a:lnTo>
                    <a:pt x="252" y="18"/>
                  </a:lnTo>
                  <a:lnTo>
                    <a:pt x="222" y="18"/>
                  </a:lnTo>
                  <a:lnTo>
                    <a:pt x="210" y="0"/>
                  </a:lnTo>
                  <a:lnTo>
                    <a:pt x="192" y="18"/>
                  </a:lnTo>
                  <a:lnTo>
                    <a:pt x="186" y="54"/>
                  </a:lnTo>
                  <a:lnTo>
                    <a:pt x="192" y="60"/>
                  </a:lnTo>
                  <a:lnTo>
                    <a:pt x="192" y="90"/>
                  </a:lnTo>
                  <a:lnTo>
                    <a:pt x="186" y="108"/>
                  </a:lnTo>
                  <a:lnTo>
                    <a:pt x="186" y="114"/>
                  </a:lnTo>
                  <a:lnTo>
                    <a:pt x="84" y="114"/>
                  </a:lnTo>
                  <a:lnTo>
                    <a:pt x="84" y="108"/>
                  </a:lnTo>
                  <a:lnTo>
                    <a:pt x="72" y="108"/>
                  </a:lnTo>
                  <a:lnTo>
                    <a:pt x="60" y="120"/>
                  </a:lnTo>
                  <a:lnTo>
                    <a:pt x="60" y="126"/>
                  </a:lnTo>
                  <a:lnTo>
                    <a:pt x="66" y="132"/>
                  </a:lnTo>
                  <a:lnTo>
                    <a:pt x="66" y="144"/>
                  </a:lnTo>
                  <a:lnTo>
                    <a:pt x="72" y="150"/>
                  </a:lnTo>
                  <a:lnTo>
                    <a:pt x="72" y="162"/>
                  </a:lnTo>
                  <a:lnTo>
                    <a:pt x="48" y="162"/>
                  </a:lnTo>
                  <a:lnTo>
                    <a:pt x="48" y="210"/>
                  </a:lnTo>
                  <a:lnTo>
                    <a:pt x="42" y="228"/>
                  </a:lnTo>
                  <a:lnTo>
                    <a:pt x="36" y="240"/>
                  </a:lnTo>
                  <a:lnTo>
                    <a:pt x="30" y="246"/>
                  </a:lnTo>
                  <a:lnTo>
                    <a:pt x="18" y="252"/>
                  </a:lnTo>
                  <a:lnTo>
                    <a:pt x="0" y="252"/>
                  </a:lnTo>
                  <a:lnTo>
                    <a:pt x="30" y="306"/>
                  </a:lnTo>
                  <a:lnTo>
                    <a:pt x="42" y="294"/>
                  </a:lnTo>
                  <a:lnTo>
                    <a:pt x="54" y="312"/>
                  </a:lnTo>
                  <a:lnTo>
                    <a:pt x="48" y="318"/>
                  </a:lnTo>
                  <a:lnTo>
                    <a:pt x="48" y="330"/>
                  </a:lnTo>
                  <a:lnTo>
                    <a:pt x="42" y="336"/>
                  </a:lnTo>
                  <a:lnTo>
                    <a:pt x="42" y="342"/>
                  </a:lnTo>
                  <a:lnTo>
                    <a:pt x="48" y="348"/>
                  </a:lnTo>
                  <a:lnTo>
                    <a:pt x="66" y="348"/>
                  </a:lnTo>
                  <a:lnTo>
                    <a:pt x="72" y="390"/>
                  </a:lnTo>
                  <a:lnTo>
                    <a:pt x="102" y="396"/>
                  </a:lnTo>
                  <a:lnTo>
                    <a:pt x="96" y="408"/>
                  </a:lnTo>
                  <a:lnTo>
                    <a:pt x="144" y="462"/>
                  </a:lnTo>
                  <a:lnTo>
                    <a:pt x="138" y="468"/>
                  </a:lnTo>
                  <a:lnTo>
                    <a:pt x="174" y="510"/>
                  </a:lnTo>
                  <a:lnTo>
                    <a:pt x="180" y="492"/>
                  </a:lnTo>
                  <a:lnTo>
                    <a:pt x="204" y="480"/>
                  </a:lnTo>
                  <a:lnTo>
                    <a:pt x="222" y="498"/>
                  </a:lnTo>
                  <a:lnTo>
                    <a:pt x="228" y="492"/>
                  </a:lnTo>
                  <a:lnTo>
                    <a:pt x="228" y="456"/>
                  </a:lnTo>
                  <a:lnTo>
                    <a:pt x="210" y="444"/>
                  </a:lnTo>
                  <a:lnTo>
                    <a:pt x="228" y="432"/>
                  </a:lnTo>
                  <a:lnTo>
                    <a:pt x="198" y="414"/>
                  </a:lnTo>
                  <a:lnTo>
                    <a:pt x="210" y="414"/>
                  </a:lnTo>
                  <a:lnTo>
                    <a:pt x="210" y="402"/>
                  </a:lnTo>
                  <a:lnTo>
                    <a:pt x="204" y="396"/>
                  </a:lnTo>
                  <a:lnTo>
                    <a:pt x="204" y="378"/>
                  </a:lnTo>
                  <a:lnTo>
                    <a:pt x="210" y="378"/>
                  </a:lnTo>
                  <a:lnTo>
                    <a:pt x="216" y="384"/>
                  </a:lnTo>
                  <a:lnTo>
                    <a:pt x="228" y="384"/>
                  </a:lnTo>
                  <a:lnTo>
                    <a:pt x="240" y="390"/>
                  </a:lnTo>
                  <a:lnTo>
                    <a:pt x="258" y="390"/>
                  </a:lnTo>
                  <a:lnTo>
                    <a:pt x="264" y="384"/>
                  </a:lnTo>
                  <a:lnTo>
                    <a:pt x="270" y="372"/>
                  </a:lnTo>
                  <a:lnTo>
                    <a:pt x="282" y="366"/>
                  </a:lnTo>
                  <a:lnTo>
                    <a:pt x="264" y="348"/>
                  </a:lnTo>
                  <a:lnTo>
                    <a:pt x="264" y="342"/>
                  </a:lnTo>
                  <a:lnTo>
                    <a:pt x="294" y="342"/>
                  </a:lnTo>
                  <a:lnTo>
                    <a:pt x="312" y="384"/>
                  </a:lnTo>
                  <a:lnTo>
                    <a:pt x="342" y="384"/>
                  </a:lnTo>
                  <a:lnTo>
                    <a:pt x="348" y="378"/>
                  </a:lnTo>
                  <a:lnTo>
                    <a:pt x="354" y="366"/>
                  </a:lnTo>
                  <a:lnTo>
                    <a:pt x="360" y="360"/>
                  </a:lnTo>
                  <a:lnTo>
                    <a:pt x="366" y="360"/>
                  </a:lnTo>
                  <a:lnTo>
                    <a:pt x="366" y="390"/>
                  </a:lnTo>
                  <a:lnTo>
                    <a:pt x="372" y="396"/>
                  </a:lnTo>
                  <a:lnTo>
                    <a:pt x="384" y="396"/>
                  </a:lnTo>
                  <a:lnTo>
                    <a:pt x="390" y="390"/>
                  </a:lnTo>
                  <a:lnTo>
                    <a:pt x="396" y="378"/>
                  </a:lnTo>
                  <a:lnTo>
                    <a:pt x="396" y="354"/>
                  </a:lnTo>
                  <a:lnTo>
                    <a:pt x="408" y="348"/>
                  </a:lnTo>
                  <a:lnTo>
                    <a:pt x="414" y="342"/>
                  </a:lnTo>
                  <a:lnTo>
                    <a:pt x="408" y="318"/>
                  </a:lnTo>
                  <a:lnTo>
                    <a:pt x="414" y="306"/>
                  </a:lnTo>
                  <a:lnTo>
                    <a:pt x="414" y="258"/>
                  </a:lnTo>
                  <a:lnTo>
                    <a:pt x="420" y="252"/>
                  </a:lnTo>
                  <a:lnTo>
                    <a:pt x="420" y="240"/>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95" name="France" descr="© INSCALE GmbH, 05.05.2010&#10;http://www.presentationload.com/">
              <a:extLst>
                <a:ext uri="{FF2B5EF4-FFF2-40B4-BE49-F238E27FC236}">
                  <a16:creationId xmlns:a16="http://schemas.microsoft.com/office/drawing/2014/main" id="{8138FAA9-E3DA-EE41-D88B-771EB7BE4EBA}"/>
                </a:ext>
              </a:extLst>
            </p:cNvPr>
            <p:cNvSpPr>
              <a:spLocks noEditPoints="1"/>
            </p:cNvSpPr>
            <p:nvPr/>
          </p:nvSpPr>
          <p:spPr bwMode="gray">
            <a:xfrm>
              <a:off x="4149413" y="1660499"/>
              <a:ext cx="345394" cy="297959"/>
            </a:xfrm>
            <a:custGeom>
              <a:avLst/>
              <a:gdLst>
                <a:gd name="T0" fmla="*/ 2147483647 w 230"/>
                <a:gd name="T1" fmla="*/ 2147483647 h 198"/>
                <a:gd name="T2" fmla="*/ 2147483647 w 230"/>
                <a:gd name="T3" fmla="*/ 2147483647 h 198"/>
                <a:gd name="T4" fmla="*/ 2147483647 w 230"/>
                <a:gd name="T5" fmla="*/ 2147483647 h 198"/>
                <a:gd name="T6" fmla="*/ 2147483647 w 230"/>
                <a:gd name="T7" fmla="*/ 2147483647 h 198"/>
                <a:gd name="T8" fmla="*/ 2147483647 w 230"/>
                <a:gd name="T9" fmla="*/ 2147483647 h 198"/>
                <a:gd name="T10" fmla="*/ 2147483647 w 230"/>
                <a:gd name="T11" fmla="*/ 2147483647 h 198"/>
                <a:gd name="T12" fmla="*/ 2147483647 w 230"/>
                <a:gd name="T13" fmla="*/ 2147483647 h 198"/>
                <a:gd name="T14" fmla="*/ 2147483647 w 230"/>
                <a:gd name="T15" fmla="*/ 2147483647 h 198"/>
                <a:gd name="T16" fmla="*/ 2147483647 w 230"/>
                <a:gd name="T17" fmla="*/ 2147483647 h 198"/>
                <a:gd name="T18" fmla="*/ 2147483647 w 230"/>
                <a:gd name="T19" fmla="*/ 2147483647 h 198"/>
                <a:gd name="T20" fmla="*/ 2147483647 w 230"/>
                <a:gd name="T21" fmla="*/ 2147483647 h 198"/>
                <a:gd name="T22" fmla="*/ 2147483647 w 230"/>
                <a:gd name="T23" fmla="*/ 2147483647 h 198"/>
                <a:gd name="T24" fmla="*/ 2147483647 w 230"/>
                <a:gd name="T25" fmla="*/ 2147483647 h 198"/>
                <a:gd name="T26" fmla="*/ 2147483647 w 230"/>
                <a:gd name="T27" fmla="*/ 2147483647 h 198"/>
                <a:gd name="T28" fmla="*/ 2147483647 w 230"/>
                <a:gd name="T29" fmla="*/ 2147483647 h 198"/>
                <a:gd name="T30" fmla="*/ 2147483647 w 230"/>
                <a:gd name="T31" fmla="*/ 2147483647 h 198"/>
                <a:gd name="T32" fmla="*/ 2147483647 w 230"/>
                <a:gd name="T33" fmla="*/ 2147483647 h 198"/>
                <a:gd name="T34" fmla="*/ 2147483647 w 230"/>
                <a:gd name="T35" fmla="*/ 2147483647 h 198"/>
                <a:gd name="T36" fmla="*/ 2147483647 w 230"/>
                <a:gd name="T37" fmla="*/ 2147483647 h 198"/>
                <a:gd name="T38" fmla="*/ 2147483647 w 230"/>
                <a:gd name="T39" fmla="*/ 2147483647 h 198"/>
                <a:gd name="T40" fmla="*/ 2147483647 w 230"/>
                <a:gd name="T41" fmla="*/ 2147483647 h 198"/>
                <a:gd name="T42" fmla="*/ 2147483647 w 230"/>
                <a:gd name="T43" fmla="*/ 2147483647 h 198"/>
                <a:gd name="T44" fmla="*/ 2147483647 w 230"/>
                <a:gd name="T45" fmla="*/ 2147483647 h 198"/>
                <a:gd name="T46" fmla="*/ 2147483647 w 230"/>
                <a:gd name="T47" fmla="*/ 2147483647 h 198"/>
                <a:gd name="T48" fmla="*/ 2147483647 w 230"/>
                <a:gd name="T49" fmla="*/ 2147483647 h 198"/>
                <a:gd name="T50" fmla="*/ 2147483647 w 230"/>
                <a:gd name="T51" fmla="*/ 2147483647 h 198"/>
                <a:gd name="T52" fmla="*/ 2147483647 w 230"/>
                <a:gd name="T53" fmla="*/ 2147483647 h 198"/>
                <a:gd name="T54" fmla="*/ 2147483647 w 230"/>
                <a:gd name="T55" fmla="*/ 2147483647 h 198"/>
                <a:gd name="T56" fmla="*/ 2147483647 w 230"/>
                <a:gd name="T57" fmla="*/ 2147483647 h 198"/>
                <a:gd name="T58" fmla="*/ 2147483647 w 230"/>
                <a:gd name="T59" fmla="*/ 2147483647 h 198"/>
                <a:gd name="T60" fmla="*/ 2147483647 w 230"/>
                <a:gd name="T61" fmla="*/ 2147483647 h 198"/>
                <a:gd name="T62" fmla="*/ 2147483647 w 230"/>
                <a:gd name="T63" fmla="*/ 2147483647 h 198"/>
                <a:gd name="T64" fmla="*/ 2147483647 w 230"/>
                <a:gd name="T65" fmla="*/ 2147483647 h 198"/>
                <a:gd name="T66" fmla="*/ 2147483647 w 230"/>
                <a:gd name="T67" fmla="*/ 2147483647 h 198"/>
                <a:gd name="T68" fmla="*/ 2147483647 w 230"/>
                <a:gd name="T69" fmla="*/ 2147483647 h 198"/>
                <a:gd name="T70" fmla="*/ 2147483647 w 230"/>
                <a:gd name="T71" fmla="*/ 2147483647 h 198"/>
                <a:gd name="T72" fmla="*/ 2147483647 w 230"/>
                <a:gd name="T73" fmla="*/ 2147483647 h 198"/>
                <a:gd name="T74" fmla="*/ 2147483647 w 230"/>
                <a:gd name="T75" fmla="*/ 2147483647 h 198"/>
                <a:gd name="T76" fmla="*/ 2147483647 w 230"/>
                <a:gd name="T77" fmla="*/ 2147483647 h 198"/>
                <a:gd name="T78" fmla="*/ 2147483647 w 230"/>
                <a:gd name="T79" fmla="*/ 2147483647 h 198"/>
                <a:gd name="T80" fmla="*/ 2147483647 w 230"/>
                <a:gd name="T81" fmla="*/ 2147483647 h 198"/>
                <a:gd name="T82" fmla="*/ 2147483647 w 230"/>
                <a:gd name="T83" fmla="*/ 2147483647 h 198"/>
                <a:gd name="T84" fmla="*/ 2147483647 w 230"/>
                <a:gd name="T85" fmla="*/ 2147483647 h 198"/>
                <a:gd name="T86" fmla="*/ 2147483647 w 230"/>
                <a:gd name="T87" fmla="*/ 2147483647 h 198"/>
                <a:gd name="T88" fmla="*/ 2147483647 w 230"/>
                <a:gd name="T89" fmla="*/ 2147483647 h 198"/>
                <a:gd name="T90" fmla="*/ 2147483647 w 230"/>
                <a:gd name="T91" fmla="*/ 2147483647 h 198"/>
                <a:gd name="T92" fmla="*/ 2147483647 w 230"/>
                <a:gd name="T93" fmla="*/ 2147483647 h 198"/>
                <a:gd name="T94" fmla="*/ 2147483647 w 230"/>
                <a:gd name="T95" fmla="*/ 2147483647 h 198"/>
                <a:gd name="T96" fmla="*/ 2147483647 w 230"/>
                <a:gd name="T97" fmla="*/ 2147483647 h 198"/>
                <a:gd name="T98" fmla="*/ 2147483647 w 230"/>
                <a:gd name="T99" fmla="*/ 2147483647 h 198"/>
                <a:gd name="T100" fmla="*/ 2147483647 w 230"/>
                <a:gd name="T101" fmla="*/ 2147483647 h 198"/>
                <a:gd name="T102" fmla="*/ 2147483647 w 230"/>
                <a:gd name="T103" fmla="*/ 2147483647 h 198"/>
                <a:gd name="T104" fmla="*/ 2147483647 w 230"/>
                <a:gd name="T105" fmla="*/ 2147483647 h 198"/>
                <a:gd name="T106" fmla="*/ 2147483647 w 230"/>
                <a:gd name="T107" fmla="*/ 2147483647 h 198"/>
                <a:gd name="T108" fmla="*/ 2147483647 w 230"/>
                <a:gd name="T109" fmla="*/ 2147483647 h 198"/>
                <a:gd name="T110" fmla="*/ 2147483647 w 230"/>
                <a:gd name="T111" fmla="*/ 2147483647 h 198"/>
                <a:gd name="T112" fmla="*/ 2147483647 w 230"/>
                <a:gd name="T113" fmla="*/ 2147483647 h 198"/>
                <a:gd name="T114" fmla="*/ 2147483647 w 230"/>
                <a:gd name="T115" fmla="*/ 2147483647 h 198"/>
                <a:gd name="T116" fmla="*/ 2147483647 w 230"/>
                <a:gd name="T117" fmla="*/ 2147483647 h 198"/>
                <a:gd name="T118" fmla="*/ 2147483647 w 230"/>
                <a:gd name="T119" fmla="*/ 2147483647 h 198"/>
                <a:gd name="T120" fmla="*/ 2147483647 w 230"/>
                <a:gd name="T121" fmla="*/ 2147483647 h 19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30"/>
                <a:gd name="T184" fmla="*/ 0 h 198"/>
                <a:gd name="T185" fmla="*/ 230 w 230"/>
                <a:gd name="T186" fmla="*/ 198 h 19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30" h="198">
                  <a:moveTo>
                    <a:pt x="230" y="172"/>
                  </a:moveTo>
                  <a:lnTo>
                    <a:pt x="230" y="172"/>
                  </a:lnTo>
                  <a:lnTo>
                    <a:pt x="230" y="166"/>
                  </a:lnTo>
                  <a:lnTo>
                    <a:pt x="228" y="166"/>
                  </a:lnTo>
                  <a:lnTo>
                    <a:pt x="224" y="168"/>
                  </a:lnTo>
                  <a:lnTo>
                    <a:pt x="224" y="170"/>
                  </a:lnTo>
                  <a:lnTo>
                    <a:pt x="220" y="172"/>
                  </a:lnTo>
                  <a:lnTo>
                    <a:pt x="218" y="174"/>
                  </a:lnTo>
                  <a:lnTo>
                    <a:pt x="216" y="178"/>
                  </a:lnTo>
                  <a:lnTo>
                    <a:pt x="216" y="182"/>
                  </a:lnTo>
                  <a:lnTo>
                    <a:pt x="218" y="186"/>
                  </a:lnTo>
                  <a:lnTo>
                    <a:pt x="218" y="190"/>
                  </a:lnTo>
                  <a:lnTo>
                    <a:pt x="218" y="192"/>
                  </a:lnTo>
                  <a:lnTo>
                    <a:pt x="218" y="194"/>
                  </a:lnTo>
                  <a:lnTo>
                    <a:pt x="222" y="196"/>
                  </a:lnTo>
                  <a:lnTo>
                    <a:pt x="224" y="198"/>
                  </a:lnTo>
                  <a:lnTo>
                    <a:pt x="230" y="192"/>
                  </a:lnTo>
                  <a:lnTo>
                    <a:pt x="230" y="186"/>
                  </a:lnTo>
                  <a:lnTo>
                    <a:pt x="228" y="186"/>
                  </a:lnTo>
                  <a:lnTo>
                    <a:pt x="230" y="184"/>
                  </a:lnTo>
                  <a:lnTo>
                    <a:pt x="230" y="172"/>
                  </a:lnTo>
                  <a:close/>
                  <a:moveTo>
                    <a:pt x="198" y="40"/>
                  </a:moveTo>
                  <a:lnTo>
                    <a:pt x="198" y="40"/>
                  </a:lnTo>
                  <a:lnTo>
                    <a:pt x="196" y="40"/>
                  </a:lnTo>
                  <a:lnTo>
                    <a:pt x="192" y="40"/>
                  </a:lnTo>
                  <a:lnTo>
                    <a:pt x="190" y="40"/>
                  </a:lnTo>
                  <a:lnTo>
                    <a:pt x="184" y="40"/>
                  </a:lnTo>
                  <a:lnTo>
                    <a:pt x="184" y="34"/>
                  </a:lnTo>
                  <a:lnTo>
                    <a:pt x="182" y="34"/>
                  </a:lnTo>
                  <a:lnTo>
                    <a:pt x="182" y="32"/>
                  </a:lnTo>
                  <a:lnTo>
                    <a:pt x="178" y="30"/>
                  </a:lnTo>
                  <a:lnTo>
                    <a:pt x="174" y="34"/>
                  </a:lnTo>
                  <a:lnTo>
                    <a:pt x="172" y="32"/>
                  </a:lnTo>
                  <a:lnTo>
                    <a:pt x="166" y="32"/>
                  </a:lnTo>
                  <a:lnTo>
                    <a:pt x="164" y="28"/>
                  </a:lnTo>
                  <a:lnTo>
                    <a:pt x="162" y="28"/>
                  </a:lnTo>
                  <a:lnTo>
                    <a:pt x="158" y="28"/>
                  </a:lnTo>
                  <a:lnTo>
                    <a:pt x="156" y="28"/>
                  </a:lnTo>
                  <a:lnTo>
                    <a:pt x="156" y="22"/>
                  </a:lnTo>
                  <a:lnTo>
                    <a:pt x="152" y="24"/>
                  </a:lnTo>
                  <a:lnTo>
                    <a:pt x="146" y="24"/>
                  </a:lnTo>
                  <a:lnTo>
                    <a:pt x="146" y="18"/>
                  </a:lnTo>
                  <a:lnTo>
                    <a:pt x="144" y="16"/>
                  </a:lnTo>
                  <a:lnTo>
                    <a:pt x="142" y="14"/>
                  </a:lnTo>
                  <a:lnTo>
                    <a:pt x="136" y="14"/>
                  </a:lnTo>
                  <a:lnTo>
                    <a:pt x="132" y="12"/>
                  </a:lnTo>
                  <a:lnTo>
                    <a:pt x="126" y="10"/>
                  </a:lnTo>
                  <a:lnTo>
                    <a:pt x="126" y="6"/>
                  </a:lnTo>
                  <a:lnTo>
                    <a:pt x="126" y="0"/>
                  </a:lnTo>
                  <a:lnTo>
                    <a:pt x="118" y="0"/>
                  </a:lnTo>
                  <a:lnTo>
                    <a:pt x="114" y="2"/>
                  </a:lnTo>
                  <a:lnTo>
                    <a:pt x="112" y="2"/>
                  </a:lnTo>
                  <a:lnTo>
                    <a:pt x="110" y="4"/>
                  </a:lnTo>
                  <a:lnTo>
                    <a:pt x="104" y="4"/>
                  </a:lnTo>
                  <a:lnTo>
                    <a:pt x="104" y="6"/>
                  </a:lnTo>
                  <a:lnTo>
                    <a:pt x="104" y="8"/>
                  </a:lnTo>
                  <a:lnTo>
                    <a:pt x="104" y="12"/>
                  </a:lnTo>
                  <a:lnTo>
                    <a:pt x="106" y="14"/>
                  </a:lnTo>
                  <a:lnTo>
                    <a:pt x="106" y="20"/>
                  </a:lnTo>
                  <a:lnTo>
                    <a:pt x="104" y="22"/>
                  </a:lnTo>
                  <a:lnTo>
                    <a:pt x="98" y="24"/>
                  </a:lnTo>
                  <a:lnTo>
                    <a:pt x="92" y="24"/>
                  </a:lnTo>
                  <a:lnTo>
                    <a:pt x="82" y="32"/>
                  </a:lnTo>
                  <a:lnTo>
                    <a:pt x="86" y="34"/>
                  </a:lnTo>
                  <a:lnTo>
                    <a:pt x="84" y="34"/>
                  </a:lnTo>
                  <a:lnTo>
                    <a:pt x="82" y="34"/>
                  </a:lnTo>
                  <a:lnTo>
                    <a:pt x="76" y="38"/>
                  </a:lnTo>
                  <a:lnTo>
                    <a:pt x="68" y="38"/>
                  </a:lnTo>
                  <a:lnTo>
                    <a:pt x="66" y="36"/>
                  </a:lnTo>
                  <a:lnTo>
                    <a:pt x="60" y="30"/>
                  </a:lnTo>
                  <a:lnTo>
                    <a:pt x="58" y="30"/>
                  </a:lnTo>
                  <a:lnTo>
                    <a:pt x="56" y="28"/>
                  </a:lnTo>
                  <a:lnTo>
                    <a:pt x="52" y="28"/>
                  </a:lnTo>
                  <a:lnTo>
                    <a:pt x="52" y="30"/>
                  </a:lnTo>
                  <a:lnTo>
                    <a:pt x="52" y="34"/>
                  </a:lnTo>
                  <a:lnTo>
                    <a:pt x="54" y="34"/>
                  </a:lnTo>
                  <a:lnTo>
                    <a:pt x="56" y="38"/>
                  </a:lnTo>
                  <a:lnTo>
                    <a:pt x="58" y="40"/>
                  </a:lnTo>
                  <a:lnTo>
                    <a:pt x="58" y="46"/>
                  </a:lnTo>
                  <a:lnTo>
                    <a:pt x="56" y="48"/>
                  </a:lnTo>
                  <a:lnTo>
                    <a:pt x="54" y="48"/>
                  </a:lnTo>
                  <a:lnTo>
                    <a:pt x="48" y="48"/>
                  </a:lnTo>
                  <a:lnTo>
                    <a:pt x="38" y="48"/>
                  </a:lnTo>
                  <a:lnTo>
                    <a:pt x="38" y="54"/>
                  </a:lnTo>
                  <a:lnTo>
                    <a:pt x="36" y="52"/>
                  </a:lnTo>
                  <a:lnTo>
                    <a:pt x="34" y="48"/>
                  </a:lnTo>
                  <a:lnTo>
                    <a:pt x="32" y="48"/>
                  </a:lnTo>
                  <a:lnTo>
                    <a:pt x="30" y="46"/>
                  </a:lnTo>
                  <a:lnTo>
                    <a:pt x="26" y="46"/>
                  </a:lnTo>
                  <a:lnTo>
                    <a:pt x="24" y="48"/>
                  </a:lnTo>
                  <a:lnTo>
                    <a:pt x="22" y="48"/>
                  </a:lnTo>
                  <a:lnTo>
                    <a:pt x="20" y="48"/>
                  </a:lnTo>
                  <a:lnTo>
                    <a:pt x="16" y="48"/>
                  </a:lnTo>
                  <a:lnTo>
                    <a:pt x="12" y="50"/>
                  </a:lnTo>
                  <a:lnTo>
                    <a:pt x="8" y="50"/>
                  </a:lnTo>
                  <a:lnTo>
                    <a:pt x="6" y="52"/>
                  </a:lnTo>
                  <a:lnTo>
                    <a:pt x="4" y="54"/>
                  </a:lnTo>
                  <a:lnTo>
                    <a:pt x="6" y="56"/>
                  </a:lnTo>
                  <a:lnTo>
                    <a:pt x="8" y="56"/>
                  </a:lnTo>
                  <a:lnTo>
                    <a:pt x="10" y="58"/>
                  </a:lnTo>
                  <a:lnTo>
                    <a:pt x="10" y="60"/>
                  </a:lnTo>
                  <a:lnTo>
                    <a:pt x="6" y="60"/>
                  </a:lnTo>
                  <a:lnTo>
                    <a:pt x="2" y="60"/>
                  </a:lnTo>
                  <a:lnTo>
                    <a:pt x="0" y="60"/>
                  </a:lnTo>
                  <a:lnTo>
                    <a:pt x="0" y="62"/>
                  </a:lnTo>
                  <a:lnTo>
                    <a:pt x="6" y="66"/>
                  </a:lnTo>
                  <a:lnTo>
                    <a:pt x="12" y="66"/>
                  </a:lnTo>
                  <a:lnTo>
                    <a:pt x="12" y="64"/>
                  </a:lnTo>
                  <a:lnTo>
                    <a:pt x="26" y="72"/>
                  </a:lnTo>
                  <a:lnTo>
                    <a:pt x="32" y="72"/>
                  </a:lnTo>
                  <a:lnTo>
                    <a:pt x="38" y="76"/>
                  </a:lnTo>
                  <a:lnTo>
                    <a:pt x="48" y="76"/>
                  </a:lnTo>
                  <a:lnTo>
                    <a:pt x="40" y="80"/>
                  </a:lnTo>
                  <a:lnTo>
                    <a:pt x="42" y="84"/>
                  </a:lnTo>
                  <a:lnTo>
                    <a:pt x="44" y="86"/>
                  </a:lnTo>
                  <a:lnTo>
                    <a:pt x="46" y="92"/>
                  </a:lnTo>
                  <a:lnTo>
                    <a:pt x="52" y="96"/>
                  </a:lnTo>
                  <a:lnTo>
                    <a:pt x="58" y="96"/>
                  </a:lnTo>
                  <a:lnTo>
                    <a:pt x="58" y="106"/>
                  </a:lnTo>
                  <a:lnTo>
                    <a:pt x="62" y="114"/>
                  </a:lnTo>
                  <a:lnTo>
                    <a:pt x="66" y="124"/>
                  </a:lnTo>
                  <a:lnTo>
                    <a:pt x="58" y="114"/>
                  </a:lnTo>
                  <a:lnTo>
                    <a:pt x="58" y="118"/>
                  </a:lnTo>
                  <a:lnTo>
                    <a:pt x="56" y="120"/>
                  </a:lnTo>
                  <a:lnTo>
                    <a:pt x="56" y="132"/>
                  </a:lnTo>
                  <a:lnTo>
                    <a:pt x="54" y="134"/>
                  </a:lnTo>
                  <a:lnTo>
                    <a:pt x="52" y="144"/>
                  </a:lnTo>
                  <a:lnTo>
                    <a:pt x="52" y="146"/>
                  </a:lnTo>
                  <a:lnTo>
                    <a:pt x="50" y="150"/>
                  </a:lnTo>
                  <a:lnTo>
                    <a:pt x="50" y="152"/>
                  </a:lnTo>
                  <a:lnTo>
                    <a:pt x="48" y="152"/>
                  </a:lnTo>
                  <a:lnTo>
                    <a:pt x="48" y="154"/>
                  </a:lnTo>
                  <a:lnTo>
                    <a:pt x="46" y="156"/>
                  </a:lnTo>
                  <a:lnTo>
                    <a:pt x="44" y="158"/>
                  </a:lnTo>
                  <a:lnTo>
                    <a:pt x="46" y="160"/>
                  </a:lnTo>
                  <a:lnTo>
                    <a:pt x="46" y="158"/>
                  </a:lnTo>
                  <a:lnTo>
                    <a:pt x="48" y="158"/>
                  </a:lnTo>
                  <a:lnTo>
                    <a:pt x="52" y="160"/>
                  </a:lnTo>
                  <a:lnTo>
                    <a:pt x="52" y="162"/>
                  </a:lnTo>
                  <a:lnTo>
                    <a:pt x="50" y="164"/>
                  </a:lnTo>
                  <a:lnTo>
                    <a:pt x="60" y="164"/>
                  </a:lnTo>
                  <a:lnTo>
                    <a:pt x="64" y="168"/>
                  </a:lnTo>
                  <a:lnTo>
                    <a:pt x="66" y="166"/>
                  </a:lnTo>
                  <a:lnTo>
                    <a:pt x="68" y="166"/>
                  </a:lnTo>
                  <a:lnTo>
                    <a:pt x="72" y="170"/>
                  </a:lnTo>
                  <a:lnTo>
                    <a:pt x="78" y="170"/>
                  </a:lnTo>
                  <a:lnTo>
                    <a:pt x="78" y="172"/>
                  </a:lnTo>
                  <a:lnTo>
                    <a:pt x="84" y="172"/>
                  </a:lnTo>
                  <a:lnTo>
                    <a:pt x="84" y="168"/>
                  </a:lnTo>
                  <a:lnTo>
                    <a:pt x="86" y="166"/>
                  </a:lnTo>
                  <a:lnTo>
                    <a:pt x="90" y="166"/>
                  </a:lnTo>
                  <a:lnTo>
                    <a:pt x="92" y="168"/>
                  </a:lnTo>
                  <a:lnTo>
                    <a:pt x="92" y="170"/>
                  </a:lnTo>
                  <a:lnTo>
                    <a:pt x="96" y="170"/>
                  </a:lnTo>
                  <a:lnTo>
                    <a:pt x="96" y="172"/>
                  </a:lnTo>
                  <a:lnTo>
                    <a:pt x="104" y="172"/>
                  </a:lnTo>
                  <a:lnTo>
                    <a:pt x="104" y="174"/>
                  </a:lnTo>
                  <a:lnTo>
                    <a:pt x="104" y="176"/>
                  </a:lnTo>
                  <a:lnTo>
                    <a:pt x="112" y="176"/>
                  </a:lnTo>
                  <a:lnTo>
                    <a:pt x="112" y="178"/>
                  </a:lnTo>
                  <a:lnTo>
                    <a:pt x="118" y="178"/>
                  </a:lnTo>
                  <a:lnTo>
                    <a:pt x="118" y="176"/>
                  </a:lnTo>
                  <a:lnTo>
                    <a:pt x="118" y="174"/>
                  </a:lnTo>
                  <a:lnTo>
                    <a:pt x="122" y="174"/>
                  </a:lnTo>
                  <a:lnTo>
                    <a:pt x="122" y="170"/>
                  </a:lnTo>
                  <a:lnTo>
                    <a:pt x="126" y="164"/>
                  </a:lnTo>
                  <a:lnTo>
                    <a:pt x="130" y="160"/>
                  </a:lnTo>
                  <a:lnTo>
                    <a:pt x="132" y="158"/>
                  </a:lnTo>
                  <a:lnTo>
                    <a:pt x="134" y="156"/>
                  </a:lnTo>
                  <a:lnTo>
                    <a:pt x="138" y="154"/>
                  </a:lnTo>
                  <a:lnTo>
                    <a:pt x="140" y="152"/>
                  </a:lnTo>
                  <a:lnTo>
                    <a:pt x="144" y="152"/>
                  </a:lnTo>
                  <a:lnTo>
                    <a:pt x="146" y="154"/>
                  </a:lnTo>
                  <a:lnTo>
                    <a:pt x="150" y="154"/>
                  </a:lnTo>
                  <a:lnTo>
                    <a:pt x="152" y="156"/>
                  </a:lnTo>
                  <a:lnTo>
                    <a:pt x="162" y="156"/>
                  </a:lnTo>
                  <a:lnTo>
                    <a:pt x="166" y="160"/>
                  </a:lnTo>
                  <a:lnTo>
                    <a:pt x="166" y="162"/>
                  </a:lnTo>
                  <a:lnTo>
                    <a:pt x="170" y="162"/>
                  </a:lnTo>
                  <a:lnTo>
                    <a:pt x="172" y="164"/>
                  </a:lnTo>
                  <a:lnTo>
                    <a:pt x="178" y="164"/>
                  </a:lnTo>
                  <a:lnTo>
                    <a:pt x="182" y="162"/>
                  </a:lnTo>
                  <a:lnTo>
                    <a:pt x="184" y="160"/>
                  </a:lnTo>
                  <a:lnTo>
                    <a:pt x="186" y="154"/>
                  </a:lnTo>
                  <a:lnTo>
                    <a:pt x="192" y="150"/>
                  </a:lnTo>
                  <a:lnTo>
                    <a:pt x="196" y="150"/>
                  </a:lnTo>
                  <a:lnTo>
                    <a:pt x="196" y="148"/>
                  </a:lnTo>
                  <a:lnTo>
                    <a:pt x="200" y="144"/>
                  </a:lnTo>
                  <a:lnTo>
                    <a:pt x="200" y="142"/>
                  </a:lnTo>
                  <a:lnTo>
                    <a:pt x="198" y="140"/>
                  </a:lnTo>
                  <a:lnTo>
                    <a:pt x="192" y="140"/>
                  </a:lnTo>
                  <a:lnTo>
                    <a:pt x="188" y="138"/>
                  </a:lnTo>
                  <a:lnTo>
                    <a:pt x="186" y="136"/>
                  </a:lnTo>
                  <a:lnTo>
                    <a:pt x="186" y="134"/>
                  </a:lnTo>
                  <a:lnTo>
                    <a:pt x="188" y="132"/>
                  </a:lnTo>
                  <a:lnTo>
                    <a:pt x="190" y="130"/>
                  </a:lnTo>
                  <a:lnTo>
                    <a:pt x="190" y="126"/>
                  </a:lnTo>
                  <a:lnTo>
                    <a:pt x="188" y="126"/>
                  </a:lnTo>
                  <a:lnTo>
                    <a:pt x="184" y="126"/>
                  </a:lnTo>
                  <a:lnTo>
                    <a:pt x="182" y="120"/>
                  </a:lnTo>
                  <a:lnTo>
                    <a:pt x="188" y="120"/>
                  </a:lnTo>
                  <a:lnTo>
                    <a:pt x="192" y="116"/>
                  </a:lnTo>
                  <a:lnTo>
                    <a:pt x="192" y="114"/>
                  </a:lnTo>
                  <a:lnTo>
                    <a:pt x="186" y="108"/>
                  </a:lnTo>
                  <a:lnTo>
                    <a:pt x="188" y="106"/>
                  </a:lnTo>
                  <a:lnTo>
                    <a:pt x="190" y="106"/>
                  </a:lnTo>
                  <a:lnTo>
                    <a:pt x="190" y="104"/>
                  </a:lnTo>
                  <a:lnTo>
                    <a:pt x="186" y="100"/>
                  </a:lnTo>
                  <a:lnTo>
                    <a:pt x="188" y="94"/>
                  </a:lnTo>
                  <a:lnTo>
                    <a:pt x="186" y="94"/>
                  </a:lnTo>
                  <a:lnTo>
                    <a:pt x="182" y="94"/>
                  </a:lnTo>
                  <a:lnTo>
                    <a:pt x="176" y="100"/>
                  </a:lnTo>
                  <a:lnTo>
                    <a:pt x="174" y="100"/>
                  </a:lnTo>
                  <a:lnTo>
                    <a:pt x="174" y="98"/>
                  </a:lnTo>
                  <a:lnTo>
                    <a:pt x="176" y="96"/>
                  </a:lnTo>
                  <a:lnTo>
                    <a:pt x="174" y="94"/>
                  </a:lnTo>
                  <a:lnTo>
                    <a:pt x="178" y="92"/>
                  </a:lnTo>
                  <a:lnTo>
                    <a:pt x="178" y="88"/>
                  </a:lnTo>
                  <a:lnTo>
                    <a:pt x="182" y="86"/>
                  </a:lnTo>
                  <a:lnTo>
                    <a:pt x="182" y="82"/>
                  </a:lnTo>
                  <a:lnTo>
                    <a:pt x="186" y="82"/>
                  </a:lnTo>
                  <a:lnTo>
                    <a:pt x="188" y="80"/>
                  </a:lnTo>
                  <a:lnTo>
                    <a:pt x="190" y="78"/>
                  </a:lnTo>
                  <a:lnTo>
                    <a:pt x="192" y="76"/>
                  </a:lnTo>
                  <a:lnTo>
                    <a:pt x="192" y="74"/>
                  </a:lnTo>
                  <a:lnTo>
                    <a:pt x="198" y="76"/>
                  </a:lnTo>
                  <a:lnTo>
                    <a:pt x="198" y="72"/>
                  </a:lnTo>
                  <a:lnTo>
                    <a:pt x="198" y="60"/>
                  </a:lnTo>
                  <a:lnTo>
                    <a:pt x="200" y="58"/>
                  </a:lnTo>
                  <a:lnTo>
                    <a:pt x="202" y="56"/>
                  </a:lnTo>
                  <a:lnTo>
                    <a:pt x="204" y="54"/>
                  </a:lnTo>
                  <a:lnTo>
                    <a:pt x="204" y="50"/>
                  </a:lnTo>
                  <a:lnTo>
                    <a:pt x="208" y="46"/>
                  </a:lnTo>
                  <a:lnTo>
                    <a:pt x="210" y="42"/>
                  </a:lnTo>
                  <a:lnTo>
                    <a:pt x="204" y="40"/>
                  </a:lnTo>
                  <a:lnTo>
                    <a:pt x="198" y="40"/>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96" name="Finland" descr="© INSCALE GmbH, 05.05.2010&#10;http://www.presentationload.com/">
              <a:extLst>
                <a:ext uri="{FF2B5EF4-FFF2-40B4-BE49-F238E27FC236}">
                  <a16:creationId xmlns:a16="http://schemas.microsoft.com/office/drawing/2014/main" id="{07960927-8C02-B213-B0C9-1D4DAC1CEC41}"/>
                </a:ext>
              </a:extLst>
            </p:cNvPr>
            <p:cNvSpPr>
              <a:spLocks/>
            </p:cNvSpPr>
            <p:nvPr/>
          </p:nvSpPr>
          <p:spPr bwMode="gray">
            <a:xfrm>
              <a:off x="4715679" y="1138702"/>
              <a:ext cx="238663" cy="271276"/>
            </a:xfrm>
            <a:custGeom>
              <a:avLst/>
              <a:gdLst>
                <a:gd name="T0" fmla="*/ 2147483647 w 630"/>
                <a:gd name="T1" fmla="*/ 2147483647 h 714"/>
                <a:gd name="T2" fmla="*/ 2147483647 w 630"/>
                <a:gd name="T3" fmla="*/ 2147483647 h 714"/>
                <a:gd name="T4" fmla="*/ 2147483647 w 630"/>
                <a:gd name="T5" fmla="*/ 2147483647 h 714"/>
                <a:gd name="T6" fmla="*/ 2147483647 w 630"/>
                <a:gd name="T7" fmla="*/ 2147483647 h 714"/>
                <a:gd name="T8" fmla="*/ 2147483647 w 630"/>
                <a:gd name="T9" fmla="*/ 2147483647 h 714"/>
                <a:gd name="T10" fmla="*/ 2147483647 w 630"/>
                <a:gd name="T11" fmla="*/ 2147483647 h 714"/>
                <a:gd name="T12" fmla="*/ 2147483647 w 630"/>
                <a:gd name="T13" fmla="*/ 2147483647 h 714"/>
                <a:gd name="T14" fmla="*/ 2147483647 w 630"/>
                <a:gd name="T15" fmla="*/ 2147483647 h 714"/>
                <a:gd name="T16" fmla="*/ 2147483647 w 630"/>
                <a:gd name="T17" fmla="*/ 2147483647 h 714"/>
                <a:gd name="T18" fmla="*/ 2147483647 w 630"/>
                <a:gd name="T19" fmla="*/ 2147483647 h 714"/>
                <a:gd name="T20" fmla="*/ 2147483647 w 630"/>
                <a:gd name="T21" fmla="*/ 2147483647 h 714"/>
                <a:gd name="T22" fmla="*/ 2147483647 w 630"/>
                <a:gd name="T23" fmla="*/ 2147483647 h 714"/>
                <a:gd name="T24" fmla="*/ 2147483647 w 630"/>
                <a:gd name="T25" fmla="*/ 2147483647 h 714"/>
                <a:gd name="T26" fmla="*/ 2147483647 w 630"/>
                <a:gd name="T27" fmla="*/ 2147483647 h 714"/>
                <a:gd name="T28" fmla="*/ 2147483647 w 630"/>
                <a:gd name="T29" fmla="*/ 2147483647 h 714"/>
                <a:gd name="T30" fmla="*/ 2147483647 w 630"/>
                <a:gd name="T31" fmla="*/ 2147483647 h 714"/>
                <a:gd name="T32" fmla="*/ 2147483647 w 630"/>
                <a:gd name="T33" fmla="*/ 2147483647 h 714"/>
                <a:gd name="T34" fmla="*/ 2147483647 w 630"/>
                <a:gd name="T35" fmla="*/ 2147483647 h 714"/>
                <a:gd name="T36" fmla="*/ 2147483647 w 630"/>
                <a:gd name="T37" fmla="*/ 2147483647 h 714"/>
                <a:gd name="T38" fmla="*/ 2147483647 w 630"/>
                <a:gd name="T39" fmla="*/ 2147483647 h 714"/>
                <a:gd name="T40" fmla="*/ 2147483647 w 630"/>
                <a:gd name="T41" fmla="*/ 2147483647 h 714"/>
                <a:gd name="T42" fmla="*/ 2147483647 w 630"/>
                <a:gd name="T43" fmla="*/ 2147483647 h 714"/>
                <a:gd name="T44" fmla="*/ 2147483647 w 630"/>
                <a:gd name="T45" fmla="*/ 2147483647 h 714"/>
                <a:gd name="T46" fmla="*/ 2147483647 w 630"/>
                <a:gd name="T47" fmla="*/ 2147483647 h 714"/>
                <a:gd name="T48" fmla="*/ 2147483647 w 630"/>
                <a:gd name="T49" fmla="*/ 2147483647 h 714"/>
                <a:gd name="T50" fmla="*/ 2147483647 w 630"/>
                <a:gd name="T51" fmla="*/ 2147483647 h 714"/>
                <a:gd name="T52" fmla="*/ 2147483647 w 630"/>
                <a:gd name="T53" fmla="*/ 2147483647 h 714"/>
                <a:gd name="T54" fmla="*/ 2147483647 w 630"/>
                <a:gd name="T55" fmla="*/ 2147483647 h 714"/>
                <a:gd name="T56" fmla="*/ 2147483647 w 630"/>
                <a:gd name="T57" fmla="*/ 2147483647 h 714"/>
                <a:gd name="T58" fmla="*/ 2147483647 w 630"/>
                <a:gd name="T59" fmla="*/ 2147483647 h 714"/>
                <a:gd name="T60" fmla="*/ 2147483647 w 630"/>
                <a:gd name="T61" fmla="*/ 2147483647 h 714"/>
                <a:gd name="T62" fmla="*/ 2147483647 w 630"/>
                <a:gd name="T63" fmla="*/ 2147483647 h 714"/>
                <a:gd name="T64" fmla="*/ 2147483647 w 630"/>
                <a:gd name="T65" fmla="*/ 2147483647 h 714"/>
                <a:gd name="T66" fmla="*/ 2147483647 w 630"/>
                <a:gd name="T67" fmla="*/ 2147483647 h 714"/>
                <a:gd name="T68" fmla="*/ 2147483647 w 630"/>
                <a:gd name="T69" fmla="*/ 2147483647 h 714"/>
                <a:gd name="T70" fmla="*/ 2147483647 w 630"/>
                <a:gd name="T71" fmla="*/ 2147483647 h 714"/>
                <a:gd name="T72" fmla="*/ 2147483647 w 630"/>
                <a:gd name="T73" fmla="*/ 2147483647 h 714"/>
                <a:gd name="T74" fmla="*/ 2147483647 w 630"/>
                <a:gd name="T75" fmla="*/ 2147483647 h 714"/>
                <a:gd name="T76" fmla="*/ 2147483647 w 630"/>
                <a:gd name="T77" fmla="*/ 2147483647 h 714"/>
                <a:gd name="T78" fmla="*/ 2147483647 w 630"/>
                <a:gd name="T79" fmla="*/ 2147483647 h 714"/>
                <a:gd name="T80" fmla="*/ 2147483647 w 630"/>
                <a:gd name="T81" fmla="*/ 2147483647 h 714"/>
                <a:gd name="T82" fmla="*/ 2147483647 w 630"/>
                <a:gd name="T83" fmla="*/ 2147483647 h 714"/>
                <a:gd name="T84" fmla="*/ 2147483647 w 630"/>
                <a:gd name="T85" fmla="*/ 2147483647 h 714"/>
                <a:gd name="T86" fmla="*/ 2147483647 w 630"/>
                <a:gd name="T87" fmla="*/ 2147483647 h 714"/>
                <a:gd name="T88" fmla="*/ 2147483647 w 630"/>
                <a:gd name="T89" fmla="*/ 2147483647 h 714"/>
                <a:gd name="T90" fmla="*/ 2147483647 w 630"/>
                <a:gd name="T91" fmla="*/ 2147483647 h 714"/>
                <a:gd name="T92" fmla="*/ 2147483647 w 630"/>
                <a:gd name="T93" fmla="*/ 2147483647 h 714"/>
                <a:gd name="T94" fmla="*/ 2147483647 w 630"/>
                <a:gd name="T95" fmla="*/ 2147483647 h 714"/>
                <a:gd name="T96" fmla="*/ 2147483647 w 630"/>
                <a:gd name="T97" fmla="*/ 2147483647 h 714"/>
                <a:gd name="T98" fmla="*/ 2147483647 w 630"/>
                <a:gd name="T99" fmla="*/ 2147483647 h 714"/>
                <a:gd name="T100" fmla="*/ 2147483647 w 630"/>
                <a:gd name="T101" fmla="*/ 2147483647 h 714"/>
                <a:gd name="T102" fmla="*/ 2147483647 w 630"/>
                <a:gd name="T103" fmla="*/ 2147483647 h 714"/>
                <a:gd name="T104" fmla="*/ 2147483647 w 630"/>
                <a:gd name="T105" fmla="*/ 2147483647 h 714"/>
                <a:gd name="T106" fmla="*/ 2147483647 w 630"/>
                <a:gd name="T107" fmla="*/ 0 h 714"/>
                <a:gd name="T108" fmla="*/ 2147483647 w 630"/>
                <a:gd name="T109" fmla="*/ 2147483647 h 714"/>
                <a:gd name="T110" fmla="*/ 2147483647 w 630"/>
                <a:gd name="T111" fmla="*/ 2147483647 h 714"/>
                <a:gd name="T112" fmla="*/ 2147483647 w 630"/>
                <a:gd name="T113" fmla="*/ 2147483647 h 714"/>
                <a:gd name="T114" fmla="*/ 2147483647 w 630"/>
                <a:gd name="T115" fmla="*/ 2147483647 h 714"/>
                <a:gd name="T116" fmla="*/ 2147483647 w 630"/>
                <a:gd name="T117" fmla="*/ 2147483647 h 71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30"/>
                <a:gd name="T178" fmla="*/ 0 h 714"/>
                <a:gd name="T179" fmla="*/ 630 w 630"/>
                <a:gd name="T180" fmla="*/ 714 h 71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30" h="714">
                  <a:moveTo>
                    <a:pt x="162" y="84"/>
                  </a:moveTo>
                  <a:lnTo>
                    <a:pt x="156" y="90"/>
                  </a:lnTo>
                  <a:lnTo>
                    <a:pt x="144" y="96"/>
                  </a:lnTo>
                  <a:lnTo>
                    <a:pt x="132" y="96"/>
                  </a:lnTo>
                  <a:lnTo>
                    <a:pt x="126" y="90"/>
                  </a:lnTo>
                  <a:lnTo>
                    <a:pt x="108" y="90"/>
                  </a:lnTo>
                  <a:lnTo>
                    <a:pt x="96" y="84"/>
                  </a:lnTo>
                  <a:lnTo>
                    <a:pt x="84" y="84"/>
                  </a:lnTo>
                  <a:lnTo>
                    <a:pt x="72" y="72"/>
                  </a:lnTo>
                  <a:lnTo>
                    <a:pt x="60" y="66"/>
                  </a:lnTo>
                  <a:lnTo>
                    <a:pt x="54" y="54"/>
                  </a:lnTo>
                  <a:lnTo>
                    <a:pt x="48" y="48"/>
                  </a:lnTo>
                  <a:lnTo>
                    <a:pt x="30" y="48"/>
                  </a:lnTo>
                  <a:lnTo>
                    <a:pt x="24" y="54"/>
                  </a:lnTo>
                  <a:lnTo>
                    <a:pt x="24" y="66"/>
                  </a:lnTo>
                  <a:lnTo>
                    <a:pt x="6" y="60"/>
                  </a:lnTo>
                  <a:lnTo>
                    <a:pt x="0" y="66"/>
                  </a:lnTo>
                  <a:lnTo>
                    <a:pt x="6" y="72"/>
                  </a:lnTo>
                  <a:lnTo>
                    <a:pt x="18" y="78"/>
                  </a:lnTo>
                  <a:lnTo>
                    <a:pt x="24" y="84"/>
                  </a:lnTo>
                  <a:lnTo>
                    <a:pt x="36" y="90"/>
                  </a:lnTo>
                  <a:lnTo>
                    <a:pt x="48" y="90"/>
                  </a:lnTo>
                  <a:lnTo>
                    <a:pt x="54" y="96"/>
                  </a:lnTo>
                  <a:lnTo>
                    <a:pt x="60" y="96"/>
                  </a:lnTo>
                  <a:lnTo>
                    <a:pt x="72" y="108"/>
                  </a:lnTo>
                  <a:lnTo>
                    <a:pt x="108" y="108"/>
                  </a:lnTo>
                  <a:lnTo>
                    <a:pt x="138" y="126"/>
                  </a:lnTo>
                  <a:lnTo>
                    <a:pt x="150" y="126"/>
                  </a:lnTo>
                  <a:lnTo>
                    <a:pt x="156" y="132"/>
                  </a:lnTo>
                  <a:lnTo>
                    <a:pt x="162" y="132"/>
                  </a:lnTo>
                  <a:lnTo>
                    <a:pt x="162" y="156"/>
                  </a:lnTo>
                  <a:lnTo>
                    <a:pt x="156" y="162"/>
                  </a:lnTo>
                  <a:lnTo>
                    <a:pt x="156" y="168"/>
                  </a:lnTo>
                  <a:lnTo>
                    <a:pt x="168" y="174"/>
                  </a:lnTo>
                  <a:lnTo>
                    <a:pt x="162" y="198"/>
                  </a:lnTo>
                  <a:lnTo>
                    <a:pt x="186" y="210"/>
                  </a:lnTo>
                  <a:lnTo>
                    <a:pt x="180" y="222"/>
                  </a:lnTo>
                  <a:lnTo>
                    <a:pt x="174" y="228"/>
                  </a:lnTo>
                  <a:lnTo>
                    <a:pt x="168" y="240"/>
                  </a:lnTo>
                  <a:lnTo>
                    <a:pt x="168" y="246"/>
                  </a:lnTo>
                  <a:lnTo>
                    <a:pt x="180" y="258"/>
                  </a:lnTo>
                  <a:lnTo>
                    <a:pt x="192" y="264"/>
                  </a:lnTo>
                  <a:lnTo>
                    <a:pt x="198" y="270"/>
                  </a:lnTo>
                  <a:lnTo>
                    <a:pt x="210" y="306"/>
                  </a:lnTo>
                  <a:lnTo>
                    <a:pt x="222" y="294"/>
                  </a:lnTo>
                  <a:lnTo>
                    <a:pt x="228" y="294"/>
                  </a:lnTo>
                  <a:lnTo>
                    <a:pt x="234" y="300"/>
                  </a:lnTo>
                  <a:lnTo>
                    <a:pt x="246" y="300"/>
                  </a:lnTo>
                  <a:lnTo>
                    <a:pt x="270" y="324"/>
                  </a:lnTo>
                  <a:lnTo>
                    <a:pt x="270" y="336"/>
                  </a:lnTo>
                  <a:lnTo>
                    <a:pt x="276" y="348"/>
                  </a:lnTo>
                  <a:lnTo>
                    <a:pt x="276" y="354"/>
                  </a:lnTo>
                  <a:lnTo>
                    <a:pt x="264" y="348"/>
                  </a:lnTo>
                  <a:lnTo>
                    <a:pt x="246" y="348"/>
                  </a:lnTo>
                  <a:lnTo>
                    <a:pt x="240" y="354"/>
                  </a:lnTo>
                  <a:lnTo>
                    <a:pt x="234" y="366"/>
                  </a:lnTo>
                  <a:lnTo>
                    <a:pt x="228" y="372"/>
                  </a:lnTo>
                  <a:lnTo>
                    <a:pt x="222" y="384"/>
                  </a:lnTo>
                  <a:lnTo>
                    <a:pt x="216" y="390"/>
                  </a:lnTo>
                  <a:lnTo>
                    <a:pt x="180" y="420"/>
                  </a:lnTo>
                  <a:lnTo>
                    <a:pt x="144" y="432"/>
                  </a:lnTo>
                  <a:lnTo>
                    <a:pt x="138" y="438"/>
                  </a:lnTo>
                  <a:lnTo>
                    <a:pt x="126" y="444"/>
                  </a:lnTo>
                  <a:lnTo>
                    <a:pt x="120" y="456"/>
                  </a:lnTo>
                  <a:lnTo>
                    <a:pt x="120" y="462"/>
                  </a:lnTo>
                  <a:lnTo>
                    <a:pt x="108" y="474"/>
                  </a:lnTo>
                  <a:lnTo>
                    <a:pt x="90" y="474"/>
                  </a:lnTo>
                  <a:lnTo>
                    <a:pt x="66" y="504"/>
                  </a:lnTo>
                  <a:lnTo>
                    <a:pt x="66" y="534"/>
                  </a:lnTo>
                  <a:lnTo>
                    <a:pt x="72" y="540"/>
                  </a:lnTo>
                  <a:lnTo>
                    <a:pt x="72" y="570"/>
                  </a:lnTo>
                  <a:lnTo>
                    <a:pt x="96" y="588"/>
                  </a:lnTo>
                  <a:lnTo>
                    <a:pt x="96" y="594"/>
                  </a:lnTo>
                  <a:lnTo>
                    <a:pt x="90" y="600"/>
                  </a:lnTo>
                  <a:lnTo>
                    <a:pt x="90" y="612"/>
                  </a:lnTo>
                  <a:lnTo>
                    <a:pt x="84" y="630"/>
                  </a:lnTo>
                  <a:lnTo>
                    <a:pt x="84" y="648"/>
                  </a:lnTo>
                  <a:lnTo>
                    <a:pt x="90" y="654"/>
                  </a:lnTo>
                  <a:lnTo>
                    <a:pt x="96" y="666"/>
                  </a:lnTo>
                  <a:lnTo>
                    <a:pt x="108" y="678"/>
                  </a:lnTo>
                  <a:lnTo>
                    <a:pt x="132" y="690"/>
                  </a:lnTo>
                  <a:lnTo>
                    <a:pt x="174" y="690"/>
                  </a:lnTo>
                  <a:lnTo>
                    <a:pt x="174" y="696"/>
                  </a:lnTo>
                  <a:lnTo>
                    <a:pt x="168" y="702"/>
                  </a:lnTo>
                  <a:lnTo>
                    <a:pt x="168" y="708"/>
                  </a:lnTo>
                  <a:lnTo>
                    <a:pt x="174" y="714"/>
                  </a:lnTo>
                  <a:lnTo>
                    <a:pt x="240" y="714"/>
                  </a:lnTo>
                  <a:lnTo>
                    <a:pt x="252" y="708"/>
                  </a:lnTo>
                  <a:lnTo>
                    <a:pt x="270" y="708"/>
                  </a:lnTo>
                  <a:lnTo>
                    <a:pt x="300" y="696"/>
                  </a:lnTo>
                  <a:lnTo>
                    <a:pt x="336" y="696"/>
                  </a:lnTo>
                  <a:lnTo>
                    <a:pt x="384" y="672"/>
                  </a:lnTo>
                  <a:lnTo>
                    <a:pt x="462" y="672"/>
                  </a:lnTo>
                  <a:lnTo>
                    <a:pt x="456" y="660"/>
                  </a:lnTo>
                  <a:lnTo>
                    <a:pt x="516" y="630"/>
                  </a:lnTo>
                  <a:lnTo>
                    <a:pt x="576" y="570"/>
                  </a:lnTo>
                  <a:lnTo>
                    <a:pt x="582" y="570"/>
                  </a:lnTo>
                  <a:lnTo>
                    <a:pt x="618" y="534"/>
                  </a:lnTo>
                  <a:lnTo>
                    <a:pt x="624" y="522"/>
                  </a:lnTo>
                  <a:lnTo>
                    <a:pt x="630" y="516"/>
                  </a:lnTo>
                  <a:lnTo>
                    <a:pt x="630" y="504"/>
                  </a:lnTo>
                  <a:lnTo>
                    <a:pt x="624" y="492"/>
                  </a:lnTo>
                  <a:lnTo>
                    <a:pt x="618" y="486"/>
                  </a:lnTo>
                  <a:lnTo>
                    <a:pt x="612" y="474"/>
                  </a:lnTo>
                  <a:lnTo>
                    <a:pt x="540" y="438"/>
                  </a:lnTo>
                  <a:lnTo>
                    <a:pt x="546" y="438"/>
                  </a:lnTo>
                  <a:lnTo>
                    <a:pt x="570" y="414"/>
                  </a:lnTo>
                  <a:lnTo>
                    <a:pt x="570" y="408"/>
                  </a:lnTo>
                  <a:lnTo>
                    <a:pt x="564" y="402"/>
                  </a:lnTo>
                  <a:lnTo>
                    <a:pt x="552" y="396"/>
                  </a:lnTo>
                  <a:lnTo>
                    <a:pt x="528" y="390"/>
                  </a:lnTo>
                  <a:lnTo>
                    <a:pt x="534" y="378"/>
                  </a:lnTo>
                  <a:lnTo>
                    <a:pt x="540" y="372"/>
                  </a:lnTo>
                  <a:lnTo>
                    <a:pt x="540" y="366"/>
                  </a:lnTo>
                  <a:lnTo>
                    <a:pt x="534" y="360"/>
                  </a:lnTo>
                  <a:lnTo>
                    <a:pt x="528" y="360"/>
                  </a:lnTo>
                  <a:lnTo>
                    <a:pt x="522" y="354"/>
                  </a:lnTo>
                  <a:lnTo>
                    <a:pt x="510" y="354"/>
                  </a:lnTo>
                  <a:lnTo>
                    <a:pt x="510" y="342"/>
                  </a:lnTo>
                  <a:lnTo>
                    <a:pt x="498" y="330"/>
                  </a:lnTo>
                  <a:lnTo>
                    <a:pt x="504" y="300"/>
                  </a:lnTo>
                  <a:lnTo>
                    <a:pt x="510" y="300"/>
                  </a:lnTo>
                  <a:lnTo>
                    <a:pt x="522" y="306"/>
                  </a:lnTo>
                  <a:lnTo>
                    <a:pt x="534" y="306"/>
                  </a:lnTo>
                  <a:lnTo>
                    <a:pt x="540" y="300"/>
                  </a:lnTo>
                  <a:lnTo>
                    <a:pt x="540" y="294"/>
                  </a:lnTo>
                  <a:lnTo>
                    <a:pt x="534" y="288"/>
                  </a:lnTo>
                  <a:lnTo>
                    <a:pt x="522" y="282"/>
                  </a:lnTo>
                  <a:lnTo>
                    <a:pt x="498" y="258"/>
                  </a:lnTo>
                  <a:lnTo>
                    <a:pt x="486" y="252"/>
                  </a:lnTo>
                  <a:lnTo>
                    <a:pt x="480" y="240"/>
                  </a:lnTo>
                  <a:lnTo>
                    <a:pt x="468" y="234"/>
                  </a:lnTo>
                  <a:lnTo>
                    <a:pt x="450" y="216"/>
                  </a:lnTo>
                  <a:lnTo>
                    <a:pt x="456" y="210"/>
                  </a:lnTo>
                  <a:lnTo>
                    <a:pt x="468" y="204"/>
                  </a:lnTo>
                  <a:lnTo>
                    <a:pt x="474" y="204"/>
                  </a:lnTo>
                  <a:lnTo>
                    <a:pt x="474" y="192"/>
                  </a:lnTo>
                  <a:lnTo>
                    <a:pt x="480" y="192"/>
                  </a:lnTo>
                  <a:lnTo>
                    <a:pt x="492" y="186"/>
                  </a:lnTo>
                  <a:lnTo>
                    <a:pt x="498" y="186"/>
                  </a:lnTo>
                  <a:lnTo>
                    <a:pt x="498" y="174"/>
                  </a:lnTo>
                  <a:lnTo>
                    <a:pt x="450" y="126"/>
                  </a:lnTo>
                  <a:lnTo>
                    <a:pt x="432" y="126"/>
                  </a:lnTo>
                  <a:lnTo>
                    <a:pt x="426" y="132"/>
                  </a:lnTo>
                  <a:lnTo>
                    <a:pt x="420" y="132"/>
                  </a:lnTo>
                  <a:lnTo>
                    <a:pt x="414" y="126"/>
                  </a:lnTo>
                  <a:lnTo>
                    <a:pt x="414" y="120"/>
                  </a:lnTo>
                  <a:lnTo>
                    <a:pt x="408" y="108"/>
                  </a:lnTo>
                  <a:lnTo>
                    <a:pt x="408" y="96"/>
                  </a:lnTo>
                  <a:lnTo>
                    <a:pt x="426" y="96"/>
                  </a:lnTo>
                  <a:lnTo>
                    <a:pt x="426" y="90"/>
                  </a:lnTo>
                  <a:lnTo>
                    <a:pt x="414" y="78"/>
                  </a:lnTo>
                  <a:lnTo>
                    <a:pt x="420" y="54"/>
                  </a:lnTo>
                  <a:lnTo>
                    <a:pt x="426" y="54"/>
                  </a:lnTo>
                  <a:lnTo>
                    <a:pt x="426" y="60"/>
                  </a:lnTo>
                  <a:lnTo>
                    <a:pt x="432" y="60"/>
                  </a:lnTo>
                  <a:lnTo>
                    <a:pt x="432" y="42"/>
                  </a:lnTo>
                  <a:lnTo>
                    <a:pt x="426" y="30"/>
                  </a:lnTo>
                  <a:lnTo>
                    <a:pt x="414" y="18"/>
                  </a:lnTo>
                  <a:lnTo>
                    <a:pt x="408" y="18"/>
                  </a:lnTo>
                  <a:lnTo>
                    <a:pt x="372" y="12"/>
                  </a:lnTo>
                  <a:lnTo>
                    <a:pt x="372" y="0"/>
                  </a:lnTo>
                  <a:lnTo>
                    <a:pt x="336" y="0"/>
                  </a:lnTo>
                  <a:lnTo>
                    <a:pt x="324" y="6"/>
                  </a:lnTo>
                  <a:lnTo>
                    <a:pt x="294" y="6"/>
                  </a:lnTo>
                  <a:lnTo>
                    <a:pt x="282" y="12"/>
                  </a:lnTo>
                  <a:lnTo>
                    <a:pt x="276" y="12"/>
                  </a:lnTo>
                  <a:lnTo>
                    <a:pt x="264" y="18"/>
                  </a:lnTo>
                  <a:lnTo>
                    <a:pt x="264" y="30"/>
                  </a:lnTo>
                  <a:lnTo>
                    <a:pt x="258" y="36"/>
                  </a:lnTo>
                  <a:lnTo>
                    <a:pt x="258" y="72"/>
                  </a:lnTo>
                  <a:lnTo>
                    <a:pt x="234" y="72"/>
                  </a:lnTo>
                  <a:lnTo>
                    <a:pt x="234" y="78"/>
                  </a:lnTo>
                  <a:lnTo>
                    <a:pt x="228" y="84"/>
                  </a:lnTo>
                  <a:lnTo>
                    <a:pt x="228" y="96"/>
                  </a:lnTo>
                  <a:lnTo>
                    <a:pt x="210" y="96"/>
                  </a:lnTo>
                  <a:lnTo>
                    <a:pt x="204" y="90"/>
                  </a:lnTo>
                  <a:lnTo>
                    <a:pt x="192" y="84"/>
                  </a:lnTo>
                  <a:lnTo>
                    <a:pt x="162" y="84"/>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97" name="Ethiopia" descr="© INSCALE GmbH, 05.05.2010&#10;http://www.presentationload.com/">
              <a:extLst>
                <a:ext uri="{FF2B5EF4-FFF2-40B4-BE49-F238E27FC236}">
                  <a16:creationId xmlns:a16="http://schemas.microsoft.com/office/drawing/2014/main" id="{22F1C0F6-9B5F-8082-E249-D70B7D2BDE23}"/>
                </a:ext>
              </a:extLst>
            </p:cNvPr>
            <p:cNvSpPr>
              <a:spLocks/>
            </p:cNvSpPr>
            <p:nvPr/>
          </p:nvSpPr>
          <p:spPr bwMode="gray">
            <a:xfrm>
              <a:off x="5124815" y="2763389"/>
              <a:ext cx="400241" cy="349841"/>
            </a:xfrm>
            <a:custGeom>
              <a:avLst/>
              <a:gdLst>
                <a:gd name="T0" fmla="*/ 2147483647 w 1056"/>
                <a:gd name="T1" fmla="*/ 2147483647 h 924"/>
                <a:gd name="T2" fmla="*/ 2147483647 w 1056"/>
                <a:gd name="T3" fmla="*/ 2147483647 h 924"/>
                <a:gd name="T4" fmla="*/ 2147483647 w 1056"/>
                <a:gd name="T5" fmla="*/ 2147483647 h 924"/>
                <a:gd name="T6" fmla="*/ 2147483647 w 1056"/>
                <a:gd name="T7" fmla="*/ 2147483647 h 924"/>
                <a:gd name="T8" fmla="*/ 2147483647 w 1056"/>
                <a:gd name="T9" fmla="*/ 2147483647 h 924"/>
                <a:gd name="T10" fmla="*/ 2147483647 w 1056"/>
                <a:gd name="T11" fmla="*/ 2147483647 h 924"/>
                <a:gd name="T12" fmla="*/ 2147483647 w 1056"/>
                <a:gd name="T13" fmla="*/ 2147483647 h 924"/>
                <a:gd name="T14" fmla="*/ 2147483647 w 1056"/>
                <a:gd name="T15" fmla="*/ 2147483647 h 924"/>
                <a:gd name="T16" fmla="*/ 2147483647 w 1056"/>
                <a:gd name="T17" fmla="*/ 2147483647 h 924"/>
                <a:gd name="T18" fmla="*/ 2147483647 w 1056"/>
                <a:gd name="T19" fmla="*/ 2147483647 h 924"/>
                <a:gd name="T20" fmla="*/ 2147483647 w 1056"/>
                <a:gd name="T21" fmla="*/ 2147483647 h 924"/>
                <a:gd name="T22" fmla="*/ 2147483647 w 1056"/>
                <a:gd name="T23" fmla="*/ 2147483647 h 924"/>
                <a:gd name="T24" fmla="*/ 2147483647 w 1056"/>
                <a:gd name="T25" fmla="*/ 2147483647 h 924"/>
                <a:gd name="T26" fmla="*/ 2147483647 w 1056"/>
                <a:gd name="T27" fmla="*/ 2147483647 h 924"/>
                <a:gd name="T28" fmla="*/ 2147483647 w 1056"/>
                <a:gd name="T29" fmla="*/ 2147483647 h 924"/>
                <a:gd name="T30" fmla="*/ 2147483647 w 1056"/>
                <a:gd name="T31" fmla="*/ 2147483647 h 924"/>
                <a:gd name="T32" fmla="*/ 2147483647 w 1056"/>
                <a:gd name="T33" fmla="*/ 2147483647 h 924"/>
                <a:gd name="T34" fmla="*/ 2147483647 w 1056"/>
                <a:gd name="T35" fmla="*/ 2147483647 h 924"/>
                <a:gd name="T36" fmla="*/ 2147483647 w 1056"/>
                <a:gd name="T37" fmla="*/ 2147483647 h 924"/>
                <a:gd name="T38" fmla="*/ 2147483647 w 1056"/>
                <a:gd name="T39" fmla="*/ 2147483647 h 924"/>
                <a:gd name="T40" fmla="*/ 2147483647 w 1056"/>
                <a:gd name="T41" fmla="*/ 2147483647 h 924"/>
                <a:gd name="T42" fmla="*/ 2147483647 w 1056"/>
                <a:gd name="T43" fmla="*/ 2147483647 h 924"/>
                <a:gd name="T44" fmla="*/ 2147483647 w 1056"/>
                <a:gd name="T45" fmla="*/ 2147483647 h 924"/>
                <a:gd name="T46" fmla="*/ 2147483647 w 1056"/>
                <a:gd name="T47" fmla="*/ 2147483647 h 924"/>
                <a:gd name="T48" fmla="*/ 2147483647 w 1056"/>
                <a:gd name="T49" fmla="*/ 2147483647 h 924"/>
                <a:gd name="T50" fmla="*/ 2147483647 w 1056"/>
                <a:gd name="T51" fmla="*/ 2147483647 h 924"/>
                <a:gd name="T52" fmla="*/ 2147483647 w 1056"/>
                <a:gd name="T53" fmla="*/ 2147483647 h 924"/>
                <a:gd name="T54" fmla="*/ 2147483647 w 1056"/>
                <a:gd name="T55" fmla="*/ 2147483647 h 924"/>
                <a:gd name="T56" fmla="*/ 2147483647 w 1056"/>
                <a:gd name="T57" fmla="*/ 2147483647 h 924"/>
                <a:gd name="T58" fmla="*/ 2147483647 w 1056"/>
                <a:gd name="T59" fmla="*/ 2147483647 h 924"/>
                <a:gd name="T60" fmla="*/ 2147483647 w 1056"/>
                <a:gd name="T61" fmla="*/ 2147483647 h 924"/>
                <a:gd name="T62" fmla="*/ 2147483647 w 1056"/>
                <a:gd name="T63" fmla="*/ 2147483647 h 924"/>
                <a:gd name="T64" fmla="*/ 2147483647 w 1056"/>
                <a:gd name="T65" fmla="*/ 2147483647 h 924"/>
                <a:gd name="T66" fmla="*/ 2147483647 w 1056"/>
                <a:gd name="T67" fmla="*/ 2147483647 h 924"/>
                <a:gd name="T68" fmla="*/ 2147483647 w 1056"/>
                <a:gd name="T69" fmla="*/ 2147483647 h 924"/>
                <a:gd name="T70" fmla="*/ 2147483647 w 1056"/>
                <a:gd name="T71" fmla="*/ 2147483647 h 924"/>
                <a:gd name="T72" fmla="*/ 2147483647 w 1056"/>
                <a:gd name="T73" fmla="*/ 0 h 924"/>
                <a:gd name="T74" fmla="*/ 2147483647 w 1056"/>
                <a:gd name="T75" fmla="*/ 2147483647 h 924"/>
                <a:gd name="T76" fmla="*/ 2147483647 w 1056"/>
                <a:gd name="T77" fmla="*/ 2147483647 h 924"/>
                <a:gd name="T78" fmla="*/ 2147483647 w 1056"/>
                <a:gd name="T79" fmla="*/ 2147483647 h 924"/>
                <a:gd name="T80" fmla="*/ 2147483647 w 1056"/>
                <a:gd name="T81" fmla="*/ 2147483647 h 924"/>
                <a:gd name="T82" fmla="*/ 2147483647 w 1056"/>
                <a:gd name="T83" fmla="*/ 2147483647 h 924"/>
                <a:gd name="T84" fmla="*/ 2147483647 w 1056"/>
                <a:gd name="T85" fmla="*/ 2147483647 h 924"/>
                <a:gd name="T86" fmla="*/ 2147483647 w 1056"/>
                <a:gd name="T87" fmla="*/ 2147483647 h 924"/>
                <a:gd name="T88" fmla="*/ 2147483647 w 1056"/>
                <a:gd name="T89" fmla="*/ 2147483647 h 924"/>
                <a:gd name="T90" fmla="*/ 2147483647 w 1056"/>
                <a:gd name="T91" fmla="*/ 2147483647 h 924"/>
                <a:gd name="T92" fmla="*/ 2147483647 w 1056"/>
                <a:gd name="T93" fmla="*/ 2147483647 h 924"/>
                <a:gd name="T94" fmla="*/ 2147483647 w 1056"/>
                <a:gd name="T95" fmla="*/ 2147483647 h 924"/>
                <a:gd name="T96" fmla="*/ 2147483647 w 1056"/>
                <a:gd name="T97" fmla="*/ 2147483647 h 924"/>
                <a:gd name="T98" fmla="*/ 2147483647 w 1056"/>
                <a:gd name="T99" fmla="*/ 2147483647 h 924"/>
                <a:gd name="T100" fmla="*/ 2147483647 w 1056"/>
                <a:gd name="T101" fmla="*/ 2147483647 h 924"/>
                <a:gd name="T102" fmla="*/ 2147483647 w 1056"/>
                <a:gd name="T103" fmla="*/ 2147483647 h 924"/>
                <a:gd name="T104" fmla="*/ 2147483647 w 1056"/>
                <a:gd name="T105" fmla="*/ 2147483647 h 924"/>
                <a:gd name="T106" fmla="*/ 2147483647 w 1056"/>
                <a:gd name="T107" fmla="*/ 2147483647 h 924"/>
                <a:gd name="T108" fmla="*/ 2147483647 w 1056"/>
                <a:gd name="T109" fmla="*/ 2147483647 h 924"/>
                <a:gd name="T110" fmla="*/ 2147483647 w 1056"/>
                <a:gd name="T111" fmla="*/ 2147483647 h 924"/>
                <a:gd name="T112" fmla="*/ 2147483647 w 1056"/>
                <a:gd name="T113" fmla="*/ 2147483647 h 924"/>
                <a:gd name="T114" fmla="*/ 2147483647 w 1056"/>
                <a:gd name="T115" fmla="*/ 2147483647 h 924"/>
                <a:gd name="T116" fmla="*/ 2147483647 w 1056"/>
                <a:gd name="T117" fmla="*/ 2147483647 h 9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056"/>
                <a:gd name="T178" fmla="*/ 0 h 924"/>
                <a:gd name="T179" fmla="*/ 1056 w 1056"/>
                <a:gd name="T180" fmla="*/ 924 h 9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056" h="924">
                  <a:moveTo>
                    <a:pt x="84" y="642"/>
                  </a:moveTo>
                  <a:lnTo>
                    <a:pt x="108" y="642"/>
                  </a:lnTo>
                  <a:lnTo>
                    <a:pt x="114" y="666"/>
                  </a:lnTo>
                  <a:lnTo>
                    <a:pt x="126" y="666"/>
                  </a:lnTo>
                  <a:lnTo>
                    <a:pt x="126" y="702"/>
                  </a:lnTo>
                  <a:lnTo>
                    <a:pt x="138" y="708"/>
                  </a:lnTo>
                  <a:lnTo>
                    <a:pt x="138" y="726"/>
                  </a:lnTo>
                  <a:lnTo>
                    <a:pt x="156" y="762"/>
                  </a:lnTo>
                  <a:lnTo>
                    <a:pt x="168" y="768"/>
                  </a:lnTo>
                  <a:lnTo>
                    <a:pt x="186" y="768"/>
                  </a:lnTo>
                  <a:lnTo>
                    <a:pt x="192" y="774"/>
                  </a:lnTo>
                  <a:lnTo>
                    <a:pt x="198" y="786"/>
                  </a:lnTo>
                  <a:lnTo>
                    <a:pt x="198" y="804"/>
                  </a:lnTo>
                  <a:lnTo>
                    <a:pt x="210" y="840"/>
                  </a:lnTo>
                  <a:lnTo>
                    <a:pt x="282" y="846"/>
                  </a:lnTo>
                  <a:lnTo>
                    <a:pt x="360" y="906"/>
                  </a:lnTo>
                  <a:lnTo>
                    <a:pt x="390" y="906"/>
                  </a:lnTo>
                  <a:lnTo>
                    <a:pt x="402" y="912"/>
                  </a:lnTo>
                  <a:lnTo>
                    <a:pt x="432" y="912"/>
                  </a:lnTo>
                  <a:lnTo>
                    <a:pt x="444" y="918"/>
                  </a:lnTo>
                  <a:lnTo>
                    <a:pt x="450" y="918"/>
                  </a:lnTo>
                  <a:lnTo>
                    <a:pt x="462" y="924"/>
                  </a:lnTo>
                  <a:lnTo>
                    <a:pt x="486" y="906"/>
                  </a:lnTo>
                  <a:lnTo>
                    <a:pt x="486" y="894"/>
                  </a:lnTo>
                  <a:lnTo>
                    <a:pt x="498" y="882"/>
                  </a:lnTo>
                  <a:lnTo>
                    <a:pt x="510" y="882"/>
                  </a:lnTo>
                  <a:lnTo>
                    <a:pt x="522" y="876"/>
                  </a:lnTo>
                  <a:lnTo>
                    <a:pt x="528" y="870"/>
                  </a:lnTo>
                  <a:lnTo>
                    <a:pt x="534" y="870"/>
                  </a:lnTo>
                  <a:lnTo>
                    <a:pt x="552" y="852"/>
                  </a:lnTo>
                  <a:lnTo>
                    <a:pt x="576" y="882"/>
                  </a:lnTo>
                  <a:lnTo>
                    <a:pt x="606" y="882"/>
                  </a:lnTo>
                  <a:lnTo>
                    <a:pt x="612" y="876"/>
                  </a:lnTo>
                  <a:lnTo>
                    <a:pt x="636" y="882"/>
                  </a:lnTo>
                  <a:lnTo>
                    <a:pt x="636" y="876"/>
                  </a:lnTo>
                  <a:lnTo>
                    <a:pt x="648" y="864"/>
                  </a:lnTo>
                  <a:lnTo>
                    <a:pt x="660" y="864"/>
                  </a:lnTo>
                  <a:lnTo>
                    <a:pt x="672" y="858"/>
                  </a:lnTo>
                  <a:lnTo>
                    <a:pt x="696" y="858"/>
                  </a:lnTo>
                  <a:lnTo>
                    <a:pt x="714" y="840"/>
                  </a:lnTo>
                  <a:lnTo>
                    <a:pt x="714" y="828"/>
                  </a:lnTo>
                  <a:lnTo>
                    <a:pt x="726" y="822"/>
                  </a:lnTo>
                  <a:lnTo>
                    <a:pt x="732" y="816"/>
                  </a:lnTo>
                  <a:lnTo>
                    <a:pt x="744" y="810"/>
                  </a:lnTo>
                  <a:lnTo>
                    <a:pt x="756" y="810"/>
                  </a:lnTo>
                  <a:lnTo>
                    <a:pt x="762" y="804"/>
                  </a:lnTo>
                  <a:lnTo>
                    <a:pt x="846" y="804"/>
                  </a:lnTo>
                  <a:lnTo>
                    <a:pt x="1056" y="558"/>
                  </a:lnTo>
                  <a:lnTo>
                    <a:pt x="984" y="564"/>
                  </a:lnTo>
                  <a:lnTo>
                    <a:pt x="948" y="546"/>
                  </a:lnTo>
                  <a:lnTo>
                    <a:pt x="936" y="534"/>
                  </a:lnTo>
                  <a:lnTo>
                    <a:pt x="918" y="528"/>
                  </a:lnTo>
                  <a:lnTo>
                    <a:pt x="906" y="522"/>
                  </a:lnTo>
                  <a:lnTo>
                    <a:pt x="882" y="516"/>
                  </a:lnTo>
                  <a:lnTo>
                    <a:pt x="810" y="492"/>
                  </a:lnTo>
                  <a:lnTo>
                    <a:pt x="774" y="474"/>
                  </a:lnTo>
                  <a:lnTo>
                    <a:pt x="768" y="462"/>
                  </a:lnTo>
                  <a:lnTo>
                    <a:pt x="762" y="456"/>
                  </a:lnTo>
                  <a:lnTo>
                    <a:pt x="756" y="444"/>
                  </a:lnTo>
                  <a:lnTo>
                    <a:pt x="732" y="444"/>
                  </a:lnTo>
                  <a:lnTo>
                    <a:pt x="732" y="438"/>
                  </a:lnTo>
                  <a:lnTo>
                    <a:pt x="726" y="432"/>
                  </a:lnTo>
                  <a:lnTo>
                    <a:pt x="714" y="408"/>
                  </a:lnTo>
                  <a:lnTo>
                    <a:pt x="708" y="402"/>
                  </a:lnTo>
                  <a:lnTo>
                    <a:pt x="702" y="390"/>
                  </a:lnTo>
                  <a:lnTo>
                    <a:pt x="696" y="384"/>
                  </a:lnTo>
                  <a:lnTo>
                    <a:pt x="690" y="372"/>
                  </a:lnTo>
                  <a:lnTo>
                    <a:pt x="690" y="360"/>
                  </a:lnTo>
                  <a:lnTo>
                    <a:pt x="678" y="348"/>
                  </a:lnTo>
                  <a:lnTo>
                    <a:pt x="696" y="318"/>
                  </a:lnTo>
                  <a:lnTo>
                    <a:pt x="690" y="312"/>
                  </a:lnTo>
                  <a:lnTo>
                    <a:pt x="678" y="306"/>
                  </a:lnTo>
                  <a:lnTo>
                    <a:pt x="666" y="306"/>
                  </a:lnTo>
                  <a:lnTo>
                    <a:pt x="660" y="312"/>
                  </a:lnTo>
                  <a:lnTo>
                    <a:pt x="654" y="312"/>
                  </a:lnTo>
                  <a:lnTo>
                    <a:pt x="648" y="318"/>
                  </a:lnTo>
                  <a:lnTo>
                    <a:pt x="624" y="318"/>
                  </a:lnTo>
                  <a:lnTo>
                    <a:pt x="612" y="306"/>
                  </a:lnTo>
                  <a:lnTo>
                    <a:pt x="612" y="294"/>
                  </a:lnTo>
                  <a:lnTo>
                    <a:pt x="606" y="276"/>
                  </a:lnTo>
                  <a:lnTo>
                    <a:pt x="606" y="264"/>
                  </a:lnTo>
                  <a:lnTo>
                    <a:pt x="624" y="246"/>
                  </a:lnTo>
                  <a:lnTo>
                    <a:pt x="654" y="192"/>
                  </a:lnTo>
                  <a:lnTo>
                    <a:pt x="642" y="174"/>
                  </a:lnTo>
                  <a:lnTo>
                    <a:pt x="630" y="174"/>
                  </a:lnTo>
                  <a:lnTo>
                    <a:pt x="618" y="168"/>
                  </a:lnTo>
                  <a:lnTo>
                    <a:pt x="612" y="162"/>
                  </a:lnTo>
                  <a:lnTo>
                    <a:pt x="612" y="138"/>
                  </a:lnTo>
                  <a:lnTo>
                    <a:pt x="600" y="126"/>
                  </a:lnTo>
                  <a:lnTo>
                    <a:pt x="576" y="114"/>
                  </a:lnTo>
                  <a:lnTo>
                    <a:pt x="570" y="108"/>
                  </a:lnTo>
                  <a:lnTo>
                    <a:pt x="546" y="72"/>
                  </a:lnTo>
                  <a:lnTo>
                    <a:pt x="534" y="66"/>
                  </a:lnTo>
                  <a:lnTo>
                    <a:pt x="528" y="60"/>
                  </a:lnTo>
                  <a:lnTo>
                    <a:pt x="516" y="60"/>
                  </a:lnTo>
                  <a:lnTo>
                    <a:pt x="498" y="36"/>
                  </a:lnTo>
                  <a:lnTo>
                    <a:pt x="468" y="36"/>
                  </a:lnTo>
                  <a:lnTo>
                    <a:pt x="462" y="30"/>
                  </a:lnTo>
                  <a:lnTo>
                    <a:pt x="444" y="30"/>
                  </a:lnTo>
                  <a:lnTo>
                    <a:pt x="432" y="36"/>
                  </a:lnTo>
                  <a:lnTo>
                    <a:pt x="420" y="36"/>
                  </a:lnTo>
                  <a:lnTo>
                    <a:pt x="420" y="24"/>
                  </a:lnTo>
                  <a:lnTo>
                    <a:pt x="414" y="18"/>
                  </a:lnTo>
                  <a:lnTo>
                    <a:pt x="408" y="24"/>
                  </a:lnTo>
                  <a:lnTo>
                    <a:pt x="402" y="36"/>
                  </a:lnTo>
                  <a:lnTo>
                    <a:pt x="372" y="36"/>
                  </a:lnTo>
                  <a:lnTo>
                    <a:pt x="366" y="24"/>
                  </a:lnTo>
                  <a:lnTo>
                    <a:pt x="360" y="18"/>
                  </a:lnTo>
                  <a:lnTo>
                    <a:pt x="354" y="18"/>
                  </a:lnTo>
                  <a:lnTo>
                    <a:pt x="342" y="6"/>
                  </a:lnTo>
                  <a:lnTo>
                    <a:pt x="330" y="0"/>
                  </a:lnTo>
                  <a:lnTo>
                    <a:pt x="330" y="12"/>
                  </a:lnTo>
                  <a:lnTo>
                    <a:pt x="324" y="24"/>
                  </a:lnTo>
                  <a:lnTo>
                    <a:pt x="318" y="42"/>
                  </a:lnTo>
                  <a:lnTo>
                    <a:pt x="318" y="54"/>
                  </a:lnTo>
                  <a:lnTo>
                    <a:pt x="306" y="66"/>
                  </a:lnTo>
                  <a:lnTo>
                    <a:pt x="288" y="48"/>
                  </a:lnTo>
                  <a:lnTo>
                    <a:pt x="288" y="42"/>
                  </a:lnTo>
                  <a:lnTo>
                    <a:pt x="282" y="36"/>
                  </a:lnTo>
                  <a:lnTo>
                    <a:pt x="276" y="36"/>
                  </a:lnTo>
                  <a:lnTo>
                    <a:pt x="276" y="42"/>
                  </a:lnTo>
                  <a:lnTo>
                    <a:pt x="270" y="48"/>
                  </a:lnTo>
                  <a:lnTo>
                    <a:pt x="234" y="48"/>
                  </a:lnTo>
                  <a:lnTo>
                    <a:pt x="234" y="90"/>
                  </a:lnTo>
                  <a:lnTo>
                    <a:pt x="228" y="96"/>
                  </a:lnTo>
                  <a:lnTo>
                    <a:pt x="222" y="108"/>
                  </a:lnTo>
                  <a:lnTo>
                    <a:pt x="216" y="114"/>
                  </a:lnTo>
                  <a:lnTo>
                    <a:pt x="210" y="126"/>
                  </a:lnTo>
                  <a:lnTo>
                    <a:pt x="210" y="174"/>
                  </a:lnTo>
                  <a:lnTo>
                    <a:pt x="180" y="174"/>
                  </a:lnTo>
                  <a:lnTo>
                    <a:pt x="174" y="180"/>
                  </a:lnTo>
                  <a:lnTo>
                    <a:pt x="168" y="192"/>
                  </a:lnTo>
                  <a:lnTo>
                    <a:pt x="162" y="198"/>
                  </a:lnTo>
                  <a:lnTo>
                    <a:pt x="162" y="234"/>
                  </a:lnTo>
                  <a:lnTo>
                    <a:pt x="156" y="240"/>
                  </a:lnTo>
                  <a:lnTo>
                    <a:pt x="144" y="240"/>
                  </a:lnTo>
                  <a:lnTo>
                    <a:pt x="138" y="246"/>
                  </a:lnTo>
                  <a:lnTo>
                    <a:pt x="138" y="270"/>
                  </a:lnTo>
                  <a:lnTo>
                    <a:pt x="126" y="288"/>
                  </a:lnTo>
                  <a:lnTo>
                    <a:pt x="126" y="294"/>
                  </a:lnTo>
                  <a:lnTo>
                    <a:pt x="132" y="300"/>
                  </a:lnTo>
                  <a:lnTo>
                    <a:pt x="132" y="336"/>
                  </a:lnTo>
                  <a:lnTo>
                    <a:pt x="126" y="342"/>
                  </a:lnTo>
                  <a:lnTo>
                    <a:pt x="114" y="342"/>
                  </a:lnTo>
                  <a:lnTo>
                    <a:pt x="108" y="336"/>
                  </a:lnTo>
                  <a:lnTo>
                    <a:pt x="108" y="324"/>
                  </a:lnTo>
                  <a:lnTo>
                    <a:pt x="102" y="324"/>
                  </a:lnTo>
                  <a:lnTo>
                    <a:pt x="84" y="342"/>
                  </a:lnTo>
                  <a:lnTo>
                    <a:pt x="84" y="360"/>
                  </a:lnTo>
                  <a:lnTo>
                    <a:pt x="90" y="372"/>
                  </a:lnTo>
                  <a:lnTo>
                    <a:pt x="90" y="390"/>
                  </a:lnTo>
                  <a:lnTo>
                    <a:pt x="84" y="396"/>
                  </a:lnTo>
                  <a:lnTo>
                    <a:pt x="72" y="402"/>
                  </a:lnTo>
                  <a:lnTo>
                    <a:pt x="66" y="414"/>
                  </a:lnTo>
                  <a:lnTo>
                    <a:pt x="66" y="426"/>
                  </a:lnTo>
                  <a:lnTo>
                    <a:pt x="72" y="438"/>
                  </a:lnTo>
                  <a:lnTo>
                    <a:pt x="72" y="450"/>
                  </a:lnTo>
                  <a:lnTo>
                    <a:pt x="78" y="456"/>
                  </a:lnTo>
                  <a:lnTo>
                    <a:pt x="78" y="492"/>
                  </a:lnTo>
                  <a:lnTo>
                    <a:pt x="72" y="504"/>
                  </a:lnTo>
                  <a:lnTo>
                    <a:pt x="72" y="516"/>
                  </a:lnTo>
                  <a:lnTo>
                    <a:pt x="66" y="522"/>
                  </a:lnTo>
                  <a:lnTo>
                    <a:pt x="54" y="522"/>
                  </a:lnTo>
                  <a:lnTo>
                    <a:pt x="48" y="528"/>
                  </a:lnTo>
                  <a:lnTo>
                    <a:pt x="42" y="522"/>
                  </a:lnTo>
                  <a:lnTo>
                    <a:pt x="6" y="522"/>
                  </a:lnTo>
                  <a:lnTo>
                    <a:pt x="12" y="546"/>
                  </a:lnTo>
                  <a:lnTo>
                    <a:pt x="6" y="552"/>
                  </a:lnTo>
                  <a:lnTo>
                    <a:pt x="0" y="564"/>
                  </a:lnTo>
                  <a:lnTo>
                    <a:pt x="0" y="576"/>
                  </a:lnTo>
                  <a:lnTo>
                    <a:pt x="6" y="576"/>
                  </a:lnTo>
                  <a:lnTo>
                    <a:pt x="18" y="582"/>
                  </a:lnTo>
                  <a:lnTo>
                    <a:pt x="42" y="582"/>
                  </a:lnTo>
                  <a:lnTo>
                    <a:pt x="48" y="588"/>
                  </a:lnTo>
                  <a:lnTo>
                    <a:pt x="60" y="594"/>
                  </a:lnTo>
                  <a:lnTo>
                    <a:pt x="66" y="606"/>
                  </a:lnTo>
                  <a:lnTo>
                    <a:pt x="78" y="612"/>
                  </a:lnTo>
                  <a:lnTo>
                    <a:pt x="78" y="630"/>
                  </a:lnTo>
                  <a:lnTo>
                    <a:pt x="84" y="642"/>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98" name="Estonia" descr="© INSCALE GmbH, 05.05.2010&#10;http://www.presentationload.com/">
              <a:extLst>
                <a:ext uri="{FF2B5EF4-FFF2-40B4-BE49-F238E27FC236}">
                  <a16:creationId xmlns:a16="http://schemas.microsoft.com/office/drawing/2014/main" id="{AC3E0753-CDCA-F692-A4B9-582BE258614D}"/>
                </a:ext>
              </a:extLst>
            </p:cNvPr>
            <p:cNvSpPr>
              <a:spLocks noEditPoints="1"/>
            </p:cNvSpPr>
            <p:nvPr/>
          </p:nvSpPr>
          <p:spPr bwMode="gray">
            <a:xfrm>
              <a:off x="4763115" y="1418872"/>
              <a:ext cx="141580" cy="63632"/>
            </a:xfrm>
            <a:custGeom>
              <a:avLst/>
              <a:gdLst>
                <a:gd name="T0" fmla="*/ 2147483647 w 348"/>
                <a:gd name="T1" fmla="*/ 2147483647 h 156"/>
                <a:gd name="T2" fmla="*/ 2147483647 w 348"/>
                <a:gd name="T3" fmla="*/ 2147483647 h 156"/>
                <a:gd name="T4" fmla="*/ 2147483647 w 348"/>
                <a:gd name="T5" fmla="*/ 2147483647 h 156"/>
                <a:gd name="T6" fmla="*/ 2147483647 w 348"/>
                <a:gd name="T7" fmla="*/ 2147483647 h 156"/>
                <a:gd name="T8" fmla="*/ 2147483647 w 348"/>
                <a:gd name="T9" fmla="*/ 2147483647 h 156"/>
                <a:gd name="T10" fmla="*/ 2147483647 w 348"/>
                <a:gd name="T11" fmla="*/ 2147483647 h 156"/>
                <a:gd name="T12" fmla="*/ 2147483647 w 348"/>
                <a:gd name="T13" fmla="*/ 2147483647 h 156"/>
                <a:gd name="T14" fmla="*/ 2147483647 w 348"/>
                <a:gd name="T15" fmla="*/ 0 h 156"/>
                <a:gd name="T16" fmla="*/ 2147483647 w 348"/>
                <a:gd name="T17" fmla="*/ 2147483647 h 156"/>
                <a:gd name="T18" fmla="*/ 2147483647 w 348"/>
                <a:gd name="T19" fmla="*/ 2147483647 h 156"/>
                <a:gd name="T20" fmla="*/ 2147483647 w 348"/>
                <a:gd name="T21" fmla="*/ 2147483647 h 156"/>
                <a:gd name="T22" fmla="*/ 2147483647 w 348"/>
                <a:gd name="T23" fmla="*/ 2147483647 h 156"/>
                <a:gd name="T24" fmla="*/ 2147483647 w 348"/>
                <a:gd name="T25" fmla="*/ 2147483647 h 156"/>
                <a:gd name="T26" fmla="*/ 2147483647 w 348"/>
                <a:gd name="T27" fmla="*/ 2147483647 h 156"/>
                <a:gd name="T28" fmla="*/ 2147483647 w 348"/>
                <a:gd name="T29" fmla="*/ 2147483647 h 156"/>
                <a:gd name="T30" fmla="*/ 2147483647 w 348"/>
                <a:gd name="T31" fmla="*/ 2147483647 h 156"/>
                <a:gd name="T32" fmla="*/ 2147483647 w 348"/>
                <a:gd name="T33" fmla="*/ 2147483647 h 156"/>
                <a:gd name="T34" fmla="*/ 2147483647 w 348"/>
                <a:gd name="T35" fmla="*/ 2147483647 h 156"/>
                <a:gd name="T36" fmla="*/ 2147483647 w 348"/>
                <a:gd name="T37" fmla="*/ 2147483647 h 156"/>
                <a:gd name="T38" fmla="*/ 2147483647 w 348"/>
                <a:gd name="T39" fmla="*/ 2147483647 h 156"/>
                <a:gd name="T40" fmla="*/ 2147483647 w 348"/>
                <a:gd name="T41" fmla="*/ 2147483647 h 156"/>
                <a:gd name="T42" fmla="*/ 2147483647 w 348"/>
                <a:gd name="T43" fmla="*/ 2147483647 h 156"/>
                <a:gd name="T44" fmla="*/ 2147483647 w 348"/>
                <a:gd name="T45" fmla="*/ 2147483647 h 156"/>
                <a:gd name="T46" fmla="*/ 2147483647 w 348"/>
                <a:gd name="T47" fmla="*/ 2147483647 h 156"/>
                <a:gd name="T48" fmla="*/ 0 w 348"/>
                <a:gd name="T49" fmla="*/ 2147483647 h 156"/>
                <a:gd name="T50" fmla="*/ 2147483647 w 348"/>
                <a:gd name="T51" fmla="*/ 2147483647 h 156"/>
                <a:gd name="T52" fmla="*/ 2147483647 w 348"/>
                <a:gd name="T53" fmla="*/ 2147483647 h 156"/>
                <a:gd name="T54" fmla="*/ 2147483647 w 348"/>
                <a:gd name="T55" fmla="*/ 2147483647 h 156"/>
                <a:gd name="T56" fmla="*/ 2147483647 w 348"/>
                <a:gd name="T57" fmla="*/ 2147483647 h 156"/>
                <a:gd name="T58" fmla="*/ 2147483647 w 348"/>
                <a:gd name="T59" fmla="*/ 2147483647 h 156"/>
                <a:gd name="T60" fmla="*/ 2147483647 w 348"/>
                <a:gd name="T61" fmla="*/ 2147483647 h 156"/>
                <a:gd name="T62" fmla="*/ 2147483647 w 348"/>
                <a:gd name="T63" fmla="*/ 2147483647 h 156"/>
                <a:gd name="T64" fmla="*/ 2147483647 w 348"/>
                <a:gd name="T65" fmla="*/ 2147483647 h 156"/>
                <a:gd name="T66" fmla="*/ 2147483647 w 348"/>
                <a:gd name="T67" fmla="*/ 2147483647 h 156"/>
                <a:gd name="T68" fmla="*/ 2147483647 w 348"/>
                <a:gd name="T69" fmla="*/ 2147483647 h 156"/>
                <a:gd name="T70" fmla="*/ 2147483647 w 348"/>
                <a:gd name="T71" fmla="*/ 2147483647 h 15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48"/>
                <a:gd name="T109" fmla="*/ 0 h 156"/>
                <a:gd name="T110" fmla="*/ 348 w 348"/>
                <a:gd name="T111" fmla="*/ 156 h 15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48" h="156">
                  <a:moveTo>
                    <a:pt x="336" y="114"/>
                  </a:moveTo>
                  <a:lnTo>
                    <a:pt x="324" y="108"/>
                  </a:lnTo>
                  <a:lnTo>
                    <a:pt x="336" y="84"/>
                  </a:lnTo>
                  <a:lnTo>
                    <a:pt x="318" y="78"/>
                  </a:lnTo>
                  <a:lnTo>
                    <a:pt x="318" y="60"/>
                  </a:lnTo>
                  <a:lnTo>
                    <a:pt x="330" y="48"/>
                  </a:lnTo>
                  <a:lnTo>
                    <a:pt x="336" y="48"/>
                  </a:lnTo>
                  <a:lnTo>
                    <a:pt x="342" y="42"/>
                  </a:lnTo>
                  <a:lnTo>
                    <a:pt x="336" y="30"/>
                  </a:lnTo>
                  <a:lnTo>
                    <a:pt x="342" y="18"/>
                  </a:lnTo>
                  <a:lnTo>
                    <a:pt x="330" y="12"/>
                  </a:lnTo>
                  <a:lnTo>
                    <a:pt x="312" y="12"/>
                  </a:lnTo>
                  <a:lnTo>
                    <a:pt x="294" y="6"/>
                  </a:lnTo>
                  <a:lnTo>
                    <a:pt x="276" y="6"/>
                  </a:lnTo>
                  <a:lnTo>
                    <a:pt x="264" y="0"/>
                  </a:lnTo>
                  <a:lnTo>
                    <a:pt x="204" y="0"/>
                  </a:lnTo>
                  <a:lnTo>
                    <a:pt x="192" y="6"/>
                  </a:lnTo>
                  <a:lnTo>
                    <a:pt x="156" y="6"/>
                  </a:lnTo>
                  <a:lnTo>
                    <a:pt x="150" y="12"/>
                  </a:lnTo>
                  <a:lnTo>
                    <a:pt x="126" y="24"/>
                  </a:lnTo>
                  <a:lnTo>
                    <a:pt x="108" y="30"/>
                  </a:lnTo>
                  <a:lnTo>
                    <a:pt x="96" y="36"/>
                  </a:lnTo>
                  <a:lnTo>
                    <a:pt x="90" y="36"/>
                  </a:lnTo>
                  <a:lnTo>
                    <a:pt x="84" y="42"/>
                  </a:lnTo>
                  <a:lnTo>
                    <a:pt x="84" y="48"/>
                  </a:lnTo>
                  <a:lnTo>
                    <a:pt x="90" y="60"/>
                  </a:lnTo>
                  <a:lnTo>
                    <a:pt x="90" y="72"/>
                  </a:lnTo>
                  <a:lnTo>
                    <a:pt x="96" y="78"/>
                  </a:lnTo>
                  <a:lnTo>
                    <a:pt x="96" y="84"/>
                  </a:lnTo>
                  <a:lnTo>
                    <a:pt x="150" y="90"/>
                  </a:lnTo>
                  <a:lnTo>
                    <a:pt x="138" y="126"/>
                  </a:lnTo>
                  <a:lnTo>
                    <a:pt x="150" y="126"/>
                  </a:lnTo>
                  <a:lnTo>
                    <a:pt x="180" y="114"/>
                  </a:lnTo>
                  <a:lnTo>
                    <a:pt x="210" y="114"/>
                  </a:lnTo>
                  <a:lnTo>
                    <a:pt x="234" y="126"/>
                  </a:lnTo>
                  <a:lnTo>
                    <a:pt x="240" y="132"/>
                  </a:lnTo>
                  <a:lnTo>
                    <a:pt x="252" y="138"/>
                  </a:lnTo>
                  <a:lnTo>
                    <a:pt x="270" y="156"/>
                  </a:lnTo>
                  <a:lnTo>
                    <a:pt x="288" y="156"/>
                  </a:lnTo>
                  <a:lnTo>
                    <a:pt x="294" y="150"/>
                  </a:lnTo>
                  <a:lnTo>
                    <a:pt x="312" y="150"/>
                  </a:lnTo>
                  <a:lnTo>
                    <a:pt x="318" y="156"/>
                  </a:lnTo>
                  <a:lnTo>
                    <a:pt x="330" y="156"/>
                  </a:lnTo>
                  <a:lnTo>
                    <a:pt x="330" y="144"/>
                  </a:lnTo>
                  <a:lnTo>
                    <a:pt x="348" y="132"/>
                  </a:lnTo>
                  <a:lnTo>
                    <a:pt x="336" y="114"/>
                  </a:lnTo>
                  <a:close/>
                  <a:moveTo>
                    <a:pt x="36" y="78"/>
                  </a:moveTo>
                  <a:lnTo>
                    <a:pt x="6" y="78"/>
                  </a:lnTo>
                  <a:lnTo>
                    <a:pt x="0" y="84"/>
                  </a:lnTo>
                  <a:lnTo>
                    <a:pt x="0" y="102"/>
                  </a:lnTo>
                  <a:lnTo>
                    <a:pt x="6" y="108"/>
                  </a:lnTo>
                  <a:lnTo>
                    <a:pt x="18" y="132"/>
                  </a:lnTo>
                  <a:lnTo>
                    <a:pt x="24" y="126"/>
                  </a:lnTo>
                  <a:lnTo>
                    <a:pt x="30" y="114"/>
                  </a:lnTo>
                  <a:lnTo>
                    <a:pt x="42" y="108"/>
                  </a:lnTo>
                  <a:lnTo>
                    <a:pt x="54" y="108"/>
                  </a:lnTo>
                  <a:lnTo>
                    <a:pt x="60" y="102"/>
                  </a:lnTo>
                  <a:lnTo>
                    <a:pt x="72" y="96"/>
                  </a:lnTo>
                  <a:lnTo>
                    <a:pt x="78" y="90"/>
                  </a:lnTo>
                  <a:lnTo>
                    <a:pt x="72" y="72"/>
                  </a:lnTo>
                  <a:lnTo>
                    <a:pt x="36" y="78"/>
                  </a:lnTo>
                  <a:close/>
                  <a:moveTo>
                    <a:pt x="36" y="66"/>
                  </a:moveTo>
                  <a:lnTo>
                    <a:pt x="48" y="66"/>
                  </a:lnTo>
                  <a:lnTo>
                    <a:pt x="54" y="54"/>
                  </a:lnTo>
                  <a:lnTo>
                    <a:pt x="60" y="48"/>
                  </a:lnTo>
                  <a:lnTo>
                    <a:pt x="60" y="42"/>
                  </a:lnTo>
                  <a:lnTo>
                    <a:pt x="54" y="36"/>
                  </a:lnTo>
                  <a:lnTo>
                    <a:pt x="48" y="36"/>
                  </a:lnTo>
                  <a:lnTo>
                    <a:pt x="36" y="42"/>
                  </a:lnTo>
                  <a:lnTo>
                    <a:pt x="30" y="48"/>
                  </a:lnTo>
                  <a:lnTo>
                    <a:pt x="24" y="60"/>
                  </a:lnTo>
                  <a:lnTo>
                    <a:pt x="30" y="66"/>
                  </a:lnTo>
                  <a:lnTo>
                    <a:pt x="36" y="66"/>
                  </a:lnTo>
                  <a:close/>
                </a:path>
              </a:pathLst>
            </a:custGeom>
            <a:solidFill>
              <a:srgbClr val="F2F2F2"/>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199" name="Eritrea" descr="© INSCALE GmbH, 05.05.2010&#10;http://www.presentationload.com/">
              <a:extLst>
                <a:ext uri="{FF2B5EF4-FFF2-40B4-BE49-F238E27FC236}">
                  <a16:creationId xmlns:a16="http://schemas.microsoft.com/office/drawing/2014/main" id="{DC7A9BD7-AA3E-4CA0-80BE-98B5F1F096D4}"/>
                </a:ext>
              </a:extLst>
            </p:cNvPr>
            <p:cNvSpPr>
              <a:spLocks/>
            </p:cNvSpPr>
            <p:nvPr/>
          </p:nvSpPr>
          <p:spPr bwMode="gray">
            <a:xfrm>
              <a:off x="5209310" y="2667033"/>
              <a:ext cx="182333" cy="173438"/>
            </a:xfrm>
            <a:custGeom>
              <a:avLst/>
              <a:gdLst>
                <a:gd name="T0" fmla="*/ 2147483647 w 480"/>
                <a:gd name="T1" fmla="*/ 2147483647 h 456"/>
                <a:gd name="T2" fmla="*/ 2147483647 w 480"/>
                <a:gd name="T3" fmla="*/ 2147483647 h 456"/>
                <a:gd name="T4" fmla="*/ 2147483647 w 480"/>
                <a:gd name="T5" fmla="*/ 2147483647 h 456"/>
                <a:gd name="T6" fmla="*/ 2147483647 w 480"/>
                <a:gd name="T7" fmla="*/ 2147483647 h 456"/>
                <a:gd name="T8" fmla="*/ 2147483647 w 480"/>
                <a:gd name="T9" fmla="*/ 2147483647 h 456"/>
                <a:gd name="T10" fmla="*/ 2147483647 w 480"/>
                <a:gd name="T11" fmla="*/ 2147483647 h 456"/>
                <a:gd name="T12" fmla="*/ 2147483647 w 480"/>
                <a:gd name="T13" fmla="*/ 2147483647 h 456"/>
                <a:gd name="T14" fmla="*/ 2147483647 w 480"/>
                <a:gd name="T15" fmla="*/ 2147483647 h 456"/>
                <a:gd name="T16" fmla="*/ 0 w 480"/>
                <a:gd name="T17" fmla="*/ 2147483647 h 456"/>
                <a:gd name="T18" fmla="*/ 2147483647 w 480"/>
                <a:gd name="T19" fmla="*/ 2147483647 h 456"/>
                <a:gd name="T20" fmla="*/ 2147483647 w 480"/>
                <a:gd name="T21" fmla="*/ 2147483647 h 456"/>
                <a:gd name="T22" fmla="*/ 2147483647 w 480"/>
                <a:gd name="T23" fmla="*/ 2147483647 h 456"/>
                <a:gd name="T24" fmla="*/ 2147483647 w 480"/>
                <a:gd name="T25" fmla="*/ 2147483647 h 456"/>
                <a:gd name="T26" fmla="*/ 2147483647 w 480"/>
                <a:gd name="T27" fmla="*/ 2147483647 h 456"/>
                <a:gd name="T28" fmla="*/ 2147483647 w 480"/>
                <a:gd name="T29" fmla="*/ 2147483647 h 456"/>
                <a:gd name="T30" fmla="*/ 2147483647 w 480"/>
                <a:gd name="T31" fmla="*/ 2147483647 h 456"/>
                <a:gd name="T32" fmla="*/ 2147483647 w 480"/>
                <a:gd name="T33" fmla="*/ 2147483647 h 456"/>
                <a:gd name="T34" fmla="*/ 2147483647 w 480"/>
                <a:gd name="T35" fmla="*/ 2147483647 h 456"/>
                <a:gd name="T36" fmla="*/ 2147483647 w 480"/>
                <a:gd name="T37" fmla="*/ 2147483647 h 456"/>
                <a:gd name="T38" fmla="*/ 2147483647 w 480"/>
                <a:gd name="T39" fmla="*/ 2147483647 h 456"/>
                <a:gd name="T40" fmla="*/ 2147483647 w 480"/>
                <a:gd name="T41" fmla="*/ 2147483647 h 456"/>
                <a:gd name="T42" fmla="*/ 2147483647 w 480"/>
                <a:gd name="T43" fmla="*/ 2147483647 h 456"/>
                <a:gd name="T44" fmla="*/ 2147483647 w 480"/>
                <a:gd name="T45" fmla="*/ 2147483647 h 456"/>
                <a:gd name="T46" fmla="*/ 2147483647 w 480"/>
                <a:gd name="T47" fmla="*/ 2147483647 h 456"/>
                <a:gd name="T48" fmla="*/ 2147483647 w 480"/>
                <a:gd name="T49" fmla="*/ 2147483647 h 456"/>
                <a:gd name="T50" fmla="*/ 2147483647 w 480"/>
                <a:gd name="T51" fmla="*/ 2147483647 h 456"/>
                <a:gd name="T52" fmla="*/ 2147483647 w 480"/>
                <a:gd name="T53" fmla="*/ 2147483647 h 456"/>
                <a:gd name="T54" fmla="*/ 2147483647 w 480"/>
                <a:gd name="T55" fmla="*/ 2147483647 h 456"/>
                <a:gd name="T56" fmla="*/ 2147483647 w 480"/>
                <a:gd name="T57" fmla="*/ 2147483647 h 456"/>
                <a:gd name="T58" fmla="*/ 2147483647 w 480"/>
                <a:gd name="T59" fmla="*/ 2147483647 h 456"/>
                <a:gd name="T60" fmla="*/ 2147483647 w 480"/>
                <a:gd name="T61" fmla="*/ 2147483647 h 456"/>
                <a:gd name="T62" fmla="*/ 2147483647 w 480"/>
                <a:gd name="T63" fmla="*/ 2147483647 h 456"/>
                <a:gd name="T64" fmla="*/ 2147483647 w 480"/>
                <a:gd name="T65" fmla="*/ 2147483647 h 456"/>
                <a:gd name="T66" fmla="*/ 2147483647 w 480"/>
                <a:gd name="T67" fmla="*/ 2147483647 h 456"/>
                <a:gd name="T68" fmla="*/ 2147483647 w 480"/>
                <a:gd name="T69" fmla="*/ 2147483647 h 456"/>
                <a:gd name="T70" fmla="*/ 2147483647 w 480"/>
                <a:gd name="T71" fmla="*/ 2147483647 h 456"/>
                <a:gd name="T72" fmla="*/ 2147483647 w 480"/>
                <a:gd name="T73" fmla="*/ 2147483647 h 456"/>
                <a:gd name="T74" fmla="*/ 2147483647 w 480"/>
                <a:gd name="T75" fmla="*/ 2147483647 h 456"/>
                <a:gd name="T76" fmla="*/ 2147483647 w 480"/>
                <a:gd name="T77" fmla="*/ 2147483647 h 456"/>
                <a:gd name="T78" fmla="*/ 2147483647 w 480"/>
                <a:gd name="T79" fmla="*/ 2147483647 h 456"/>
                <a:gd name="T80" fmla="*/ 2147483647 w 480"/>
                <a:gd name="T81" fmla="*/ 2147483647 h 456"/>
                <a:gd name="T82" fmla="*/ 2147483647 w 480"/>
                <a:gd name="T83" fmla="*/ 2147483647 h 456"/>
                <a:gd name="T84" fmla="*/ 2147483647 w 480"/>
                <a:gd name="T85" fmla="*/ 2147483647 h 456"/>
                <a:gd name="T86" fmla="*/ 2147483647 w 480"/>
                <a:gd name="T87" fmla="*/ 2147483647 h 456"/>
                <a:gd name="T88" fmla="*/ 2147483647 w 480"/>
                <a:gd name="T89" fmla="*/ 2147483647 h 456"/>
                <a:gd name="T90" fmla="*/ 2147483647 w 480"/>
                <a:gd name="T91" fmla="*/ 2147483647 h 456"/>
                <a:gd name="T92" fmla="*/ 2147483647 w 480"/>
                <a:gd name="T93" fmla="*/ 2147483647 h 456"/>
                <a:gd name="T94" fmla="*/ 2147483647 w 480"/>
                <a:gd name="T95" fmla="*/ 2147483647 h 456"/>
                <a:gd name="T96" fmla="*/ 2147483647 w 480"/>
                <a:gd name="T97" fmla="*/ 0 h 456"/>
                <a:gd name="T98" fmla="*/ 2147483647 w 480"/>
                <a:gd name="T99" fmla="*/ 2147483647 h 456"/>
                <a:gd name="T100" fmla="*/ 2147483647 w 480"/>
                <a:gd name="T101" fmla="*/ 2147483647 h 456"/>
                <a:gd name="T102" fmla="*/ 2147483647 w 480"/>
                <a:gd name="T103" fmla="*/ 2147483647 h 45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80"/>
                <a:gd name="T157" fmla="*/ 0 h 456"/>
                <a:gd name="T158" fmla="*/ 480 w 480"/>
                <a:gd name="T159" fmla="*/ 456 h 45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80" h="456">
                  <a:moveTo>
                    <a:pt x="78" y="54"/>
                  </a:moveTo>
                  <a:lnTo>
                    <a:pt x="78" y="66"/>
                  </a:lnTo>
                  <a:lnTo>
                    <a:pt x="72" y="72"/>
                  </a:lnTo>
                  <a:lnTo>
                    <a:pt x="72" y="78"/>
                  </a:lnTo>
                  <a:lnTo>
                    <a:pt x="66" y="84"/>
                  </a:lnTo>
                  <a:lnTo>
                    <a:pt x="48" y="84"/>
                  </a:lnTo>
                  <a:lnTo>
                    <a:pt x="48" y="102"/>
                  </a:lnTo>
                  <a:lnTo>
                    <a:pt x="42" y="108"/>
                  </a:lnTo>
                  <a:lnTo>
                    <a:pt x="30" y="108"/>
                  </a:lnTo>
                  <a:lnTo>
                    <a:pt x="30" y="120"/>
                  </a:lnTo>
                  <a:lnTo>
                    <a:pt x="36" y="126"/>
                  </a:lnTo>
                  <a:lnTo>
                    <a:pt x="36" y="168"/>
                  </a:lnTo>
                  <a:lnTo>
                    <a:pt x="30" y="180"/>
                  </a:lnTo>
                  <a:lnTo>
                    <a:pt x="24" y="186"/>
                  </a:lnTo>
                  <a:lnTo>
                    <a:pt x="18" y="186"/>
                  </a:lnTo>
                  <a:lnTo>
                    <a:pt x="18" y="222"/>
                  </a:lnTo>
                  <a:lnTo>
                    <a:pt x="12" y="222"/>
                  </a:lnTo>
                  <a:lnTo>
                    <a:pt x="0" y="228"/>
                  </a:lnTo>
                  <a:lnTo>
                    <a:pt x="0" y="246"/>
                  </a:lnTo>
                  <a:lnTo>
                    <a:pt x="6" y="252"/>
                  </a:lnTo>
                  <a:lnTo>
                    <a:pt x="12" y="300"/>
                  </a:lnTo>
                  <a:lnTo>
                    <a:pt x="48" y="300"/>
                  </a:lnTo>
                  <a:lnTo>
                    <a:pt x="54" y="294"/>
                  </a:lnTo>
                  <a:lnTo>
                    <a:pt x="54" y="288"/>
                  </a:lnTo>
                  <a:lnTo>
                    <a:pt x="60" y="288"/>
                  </a:lnTo>
                  <a:lnTo>
                    <a:pt x="66" y="294"/>
                  </a:lnTo>
                  <a:lnTo>
                    <a:pt x="66" y="300"/>
                  </a:lnTo>
                  <a:lnTo>
                    <a:pt x="84" y="318"/>
                  </a:lnTo>
                  <a:lnTo>
                    <a:pt x="96" y="306"/>
                  </a:lnTo>
                  <a:lnTo>
                    <a:pt x="96" y="294"/>
                  </a:lnTo>
                  <a:lnTo>
                    <a:pt x="102" y="276"/>
                  </a:lnTo>
                  <a:lnTo>
                    <a:pt x="108" y="264"/>
                  </a:lnTo>
                  <a:lnTo>
                    <a:pt x="108" y="252"/>
                  </a:lnTo>
                  <a:lnTo>
                    <a:pt x="120" y="258"/>
                  </a:lnTo>
                  <a:lnTo>
                    <a:pt x="132" y="270"/>
                  </a:lnTo>
                  <a:lnTo>
                    <a:pt x="138" y="270"/>
                  </a:lnTo>
                  <a:lnTo>
                    <a:pt x="144" y="276"/>
                  </a:lnTo>
                  <a:lnTo>
                    <a:pt x="150" y="288"/>
                  </a:lnTo>
                  <a:lnTo>
                    <a:pt x="180" y="288"/>
                  </a:lnTo>
                  <a:lnTo>
                    <a:pt x="186" y="276"/>
                  </a:lnTo>
                  <a:lnTo>
                    <a:pt x="192" y="270"/>
                  </a:lnTo>
                  <a:lnTo>
                    <a:pt x="198" y="276"/>
                  </a:lnTo>
                  <a:lnTo>
                    <a:pt x="198" y="288"/>
                  </a:lnTo>
                  <a:lnTo>
                    <a:pt x="210" y="288"/>
                  </a:lnTo>
                  <a:lnTo>
                    <a:pt x="222" y="282"/>
                  </a:lnTo>
                  <a:lnTo>
                    <a:pt x="240" y="282"/>
                  </a:lnTo>
                  <a:lnTo>
                    <a:pt x="246" y="288"/>
                  </a:lnTo>
                  <a:lnTo>
                    <a:pt x="276" y="288"/>
                  </a:lnTo>
                  <a:lnTo>
                    <a:pt x="294" y="312"/>
                  </a:lnTo>
                  <a:lnTo>
                    <a:pt x="306" y="312"/>
                  </a:lnTo>
                  <a:lnTo>
                    <a:pt x="312" y="318"/>
                  </a:lnTo>
                  <a:lnTo>
                    <a:pt x="324" y="324"/>
                  </a:lnTo>
                  <a:lnTo>
                    <a:pt x="348" y="360"/>
                  </a:lnTo>
                  <a:lnTo>
                    <a:pt x="354" y="366"/>
                  </a:lnTo>
                  <a:lnTo>
                    <a:pt x="378" y="378"/>
                  </a:lnTo>
                  <a:lnTo>
                    <a:pt x="390" y="390"/>
                  </a:lnTo>
                  <a:lnTo>
                    <a:pt x="390" y="414"/>
                  </a:lnTo>
                  <a:lnTo>
                    <a:pt x="396" y="420"/>
                  </a:lnTo>
                  <a:lnTo>
                    <a:pt x="408" y="426"/>
                  </a:lnTo>
                  <a:lnTo>
                    <a:pt x="420" y="426"/>
                  </a:lnTo>
                  <a:lnTo>
                    <a:pt x="432" y="444"/>
                  </a:lnTo>
                  <a:lnTo>
                    <a:pt x="456" y="456"/>
                  </a:lnTo>
                  <a:lnTo>
                    <a:pt x="468" y="438"/>
                  </a:lnTo>
                  <a:lnTo>
                    <a:pt x="480" y="432"/>
                  </a:lnTo>
                  <a:lnTo>
                    <a:pt x="474" y="420"/>
                  </a:lnTo>
                  <a:lnTo>
                    <a:pt x="456" y="402"/>
                  </a:lnTo>
                  <a:lnTo>
                    <a:pt x="432" y="402"/>
                  </a:lnTo>
                  <a:lnTo>
                    <a:pt x="426" y="396"/>
                  </a:lnTo>
                  <a:lnTo>
                    <a:pt x="426" y="360"/>
                  </a:lnTo>
                  <a:lnTo>
                    <a:pt x="420" y="360"/>
                  </a:lnTo>
                  <a:lnTo>
                    <a:pt x="414" y="354"/>
                  </a:lnTo>
                  <a:lnTo>
                    <a:pt x="366" y="330"/>
                  </a:lnTo>
                  <a:lnTo>
                    <a:pt x="360" y="324"/>
                  </a:lnTo>
                  <a:lnTo>
                    <a:pt x="360" y="312"/>
                  </a:lnTo>
                  <a:lnTo>
                    <a:pt x="354" y="300"/>
                  </a:lnTo>
                  <a:lnTo>
                    <a:pt x="354" y="288"/>
                  </a:lnTo>
                  <a:lnTo>
                    <a:pt x="348" y="276"/>
                  </a:lnTo>
                  <a:lnTo>
                    <a:pt x="348" y="270"/>
                  </a:lnTo>
                  <a:lnTo>
                    <a:pt x="336" y="270"/>
                  </a:lnTo>
                  <a:lnTo>
                    <a:pt x="324" y="264"/>
                  </a:lnTo>
                  <a:lnTo>
                    <a:pt x="306" y="264"/>
                  </a:lnTo>
                  <a:lnTo>
                    <a:pt x="282" y="240"/>
                  </a:lnTo>
                  <a:lnTo>
                    <a:pt x="264" y="246"/>
                  </a:lnTo>
                  <a:lnTo>
                    <a:pt x="252" y="228"/>
                  </a:lnTo>
                  <a:lnTo>
                    <a:pt x="234" y="222"/>
                  </a:lnTo>
                  <a:lnTo>
                    <a:pt x="216" y="204"/>
                  </a:lnTo>
                  <a:lnTo>
                    <a:pt x="210" y="192"/>
                  </a:lnTo>
                  <a:lnTo>
                    <a:pt x="204" y="186"/>
                  </a:lnTo>
                  <a:lnTo>
                    <a:pt x="198" y="174"/>
                  </a:lnTo>
                  <a:lnTo>
                    <a:pt x="198" y="114"/>
                  </a:lnTo>
                  <a:lnTo>
                    <a:pt x="192" y="90"/>
                  </a:lnTo>
                  <a:lnTo>
                    <a:pt x="186" y="78"/>
                  </a:lnTo>
                  <a:lnTo>
                    <a:pt x="180" y="60"/>
                  </a:lnTo>
                  <a:lnTo>
                    <a:pt x="168" y="42"/>
                  </a:lnTo>
                  <a:lnTo>
                    <a:pt x="162" y="24"/>
                  </a:lnTo>
                  <a:lnTo>
                    <a:pt x="156" y="12"/>
                  </a:lnTo>
                  <a:lnTo>
                    <a:pt x="150" y="6"/>
                  </a:lnTo>
                  <a:lnTo>
                    <a:pt x="150" y="0"/>
                  </a:lnTo>
                  <a:lnTo>
                    <a:pt x="144" y="0"/>
                  </a:lnTo>
                  <a:lnTo>
                    <a:pt x="144" y="12"/>
                  </a:lnTo>
                  <a:lnTo>
                    <a:pt x="132" y="36"/>
                  </a:lnTo>
                  <a:lnTo>
                    <a:pt x="108" y="48"/>
                  </a:lnTo>
                  <a:lnTo>
                    <a:pt x="90" y="54"/>
                  </a:lnTo>
                  <a:lnTo>
                    <a:pt x="78" y="54"/>
                  </a:lnTo>
                  <a:close/>
                </a:path>
              </a:pathLst>
            </a:custGeom>
            <a:solidFill>
              <a:srgbClr val="F2F2F2"/>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200" name="Equatorial Guinea" descr="© INSCALE GmbH, 05.05.2010&#10;http://www.presentationload.com/">
              <a:extLst>
                <a:ext uri="{FF2B5EF4-FFF2-40B4-BE49-F238E27FC236}">
                  <a16:creationId xmlns:a16="http://schemas.microsoft.com/office/drawing/2014/main" id="{FC1E9B9F-600E-C774-B066-5818B91BE42B}"/>
                </a:ext>
              </a:extLst>
            </p:cNvPr>
            <p:cNvSpPr>
              <a:spLocks/>
            </p:cNvSpPr>
            <p:nvPr/>
          </p:nvSpPr>
          <p:spPr bwMode="gray">
            <a:xfrm>
              <a:off x="4485913" y="3147325"/>
              <a:ext cx="54848" cy="41506"/>
            </a:xfrm>
            <a:custGeom>
              <a:avLst/>
              <a:gdLst>
                <a:gd name="T0" fmla="*/ 2147483647 w 144"/>
                <a:gd name="T1" fmla="*/ 2147483647 h 108"/>
                <a:gd name="T2" fmla="*/ 2147483647 w 144"/>
                <a:gd name="T3" fmla="*/ 2147483647 h 108"/>
                <a:gd name="T4" fmla="*/ 2147483647 w 144"/>
                <a:gd name="T5" fmla="*/ 2147483647 h 108"/>
                <a:gd name="T6" fmla="*/ 2147483647 w 144"/>
                <a:gd name="T7" fmla="*/ 0 h 108"/>
                <a:gd name="T8" fmla="*/ 2147483647 w 144"/>
                <a:gd name="T9" fmla="*/ 2147483647 h 108"/>
                <a:gd name="T10" fmla="*/ 2147483647 w 144"/>
                <a:gd name="T11" fmla="*/ 2147483647 h 108"/>
                <a:gd name="T12" fmla="*/ 2147483647 w 144"/>
                <a:gd name="T13" fmla="*/ 2147483647 h 108"/>
                <a:gd name="T14" fmla="*/ 2147483647 w 144"/>
                <a:gd name="T15" fmla="*/ 2147483647 h 108"/>
                <a:gd name="T16" fmla="*/ 2147483647 w 144"/>
                <a:gd name="T17" fmla="*/ 2147483647 h 108"/>
                <a:gd name="T18" fmla="*/ 0 w 144"/>
                <a:gd name="T19" fmla="*/ 2147483647 h 108"/>
                <a:gd name="T20" fmla="*/ 0 w 144"/>
                <a:gd name="T21" fmla="*/ 2147483647 h 108"/>
                <a:gd name="T22" fmla="*/ 2147483647 w 144"/>
                <a:gd name="T23" fmla="*/ 2147483647 h 108"/>
                <a:gd name="T24" fmla="*/ 2147483647 w 144"/>
                <a:gd name="T25" fmla="*/ 2147483647 h 108"/>
                <a:gd name="T26" fmla="*/ 2147483647 w 144"/>
                <a:gd name="T27" fmla="*/ 2147483647 h 108"/>
                <a:gd name="T28" fmla="*/ 2147483647 w 144"/>
                <a:gd name="T29" fmla="*/ 2147483647 h 108"/>
                <a:gd name="T30" fmla="*/ 2147483647 w 144"/>
                <a:gd name="T31" fmla="*/ 2147483647 h 108"/>
                <a:gd name="T32" fmla="*/ 2147483647 w 144"/>
                <a:gd name="T33" fmla="*/ 2147483647 h 108"/>
                <a:gd name="T34" fmla="*/ 2147483647 w 144"/>
                <a:gd name="T35" fmla="*/ 2147483647 h 108"/>
                <a:gd name="T36" fmla="*/ 2147483647 w 144"/>
                <a:gd name="T37" fmla="*/ 2147483647 h 108"/>
                <a:gd name="T38" fmla="*/ 2147483647 w 144"/>
                <a:gd name="T39" fmla="*/ 2147483647 h 10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4"/>
                <a:gd name="T61" fmla="*/ 0 h 108"/>
                <a:gd name="T62" fmla="*/ 144 w 144"/>
                <a:gd name="T63" fmla="*/ 108 h 10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4" h="108">
                  <a:moveTo>
                    <a:pt x="138" y="48"/>
                  </a:moveTo>
                  <a:lnTo>
                    <a:pt x="144" y="12"/>
                  </a:lnTo>
                  <a:lnTo>
                    <a:pt x="48" y="12"/>
                  </a:lnTo>
                  <a:lnTo>
                    <a:pt x="36" y="0"/>
                  </a:lnTo>
                  <a:lnTo>
                    <a:pt x="30" y="6"/>
                  </a:lnTo>
                  <a:lnTo>
                    <a:pt x="30" y="42"/>
                  </a:lnTo>
                  <a:lnTo>
                    <a:pt x="18" y="54"/>
                  </a:lnTo>
                  <a:lnTo>
                    <a:pt x="12" y="66"/>
                  </a:lnTo>
                  <a:lnTo>
                    <a:pt x="6" y="72"/>
                  </a:lnTo>
                  <a:lnTo>
                    <a:pt x="0" y="84"/>
                  </a:lnTo>
                  <a:lnTo>
                    <a:pt x="0" y="90"/>
                  </a:lnTo>
                  <a:lnTo>
                    <a:pt x="6" y="96"/>
                  </a:lnTo>
                  <a:lnTo>
                    <a:pt x="18" y="102"/>
                  </a:lnTo>
                  <a:lnTo>
                    <a:pt x="36" y="102"/>
                  </a:lnTo>
                  <a:lnTo>
                    <a:pt x="36" y="108"/>
                  </a:lnTo>
                  <a:lnTo>
                    <a:pt x="138" y="108"/>
                  </a:lnTo>
                  <a:lnTo>
                    <a:pt x="138" y="102"/>
                  </a:lnTo>
                  <a:lnTo>
                    <a:pt x="144" y="84"/>
                  </a:lnTo>
                  <a:lnTo>
                    <a:pt x="144" y="54"/>
                  </a:lnTo>
                  <a:lnTo>
                    <a:pt x="138" y="48"/>
                  </a:lnTo>
                  <a:close/>
                </a:path>
              </a:pathLst>
            </a:custGeom>
            <a:grp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201" name="El Salvador" descr="© INSCALE GmbH, 05.05.2010&#10;http://www.presentationload.com/">
              <a:extLst>
                <a:ext uri="{FF2B5EF4-FFF2-40B4-BE49-F238E27FC236}">
                  <a16:creationId xmlns:a16="http://schemas.microsoft.com/office/drawing/2014/main" id="{C928ADCE-B4F1-0544-E9D3-DB6222E4DB31}"/>
                </a:ext>
              </a:extLst>
            </p:cNvPr>
            <p:cNvSpPr>
              <a:spLocks/>
            </p:cNvSpPr>
            <p:nvPr/>
          </p:nvSpPr>
          <p:spPr bwMode="gray">
            <a:xfrm>
              <a:off x="1820608" y="2776730"/>
              <a:ext cx="65224" cy="42989"/>
            </a:xfrm>
            <a:custGeom>
              <a:avLst/>
              <a:gdLst>
                <a:gd name="T0" fmla="*/ 2147483647 w 174"/>
                <a:gd name="T1" fmla="*/ 2147483647 h 114"/>
                <a:gd name="T2" fmla="*/ 2147483647 w 174"/>
                <a:gd name="T3" fmla="*/ 2147483647 h 114"/>
                <a:gd name="T4" fmla="*/ 2147483647 w 174"/>
                <a:gd name="T5" fmla="*/ 2147483647 h 114"/>
                <a:gd name="T6" fmla="*/ 2147483647 w 174"/>
                <a:gd name="T7" fmla="*/ 2147483647 h 114"/>
                <a:gd name="T8" fmla="*/ 2147483647 w 174"/>
                <a:gd name="T9" fmla="*/ 2147483647 h 114"/>
                <a:gd name="T10" fmla="*/ 2147483647 w 174"/>
                <a:gd name="T11" fmla="*/ 2147483647 h 114"/>
                <a:gd name="T12" fmla="*/ 2147483647 w 174"/>
                <a:gd name="T13" fmla="*/ 2147483647 h 114"/>
                <a:gd name="T14" fmla="*/ 2147483647 w 174"/>
                <a:gd name="T15" fmla="*/ 2147483647 h 114"/>
                <a:gd name="T16" fmla="*/ 2147483647 w 174"/>
                <a:gd name="T17" fmla="*/ 2147483647 h 114"/>
                <a:gd name="T18" fmla="*/ 2147483647 w 174"/>
                <a:gd name="T19" fmla="*/ 0 h 114"/>
                <a:gd name="T20" fmla="*/ 2147483647 w 174"/>
                <a:gd name="T21" fmla="*/ 2147483647 h 114"/>
                <a:gd name="T22" fmla="*/ 2147483647 w 174"/>
                <a:gd name="T23" fmla="*/ 2147483647 h 114"/>
                <a:gd name="T24" fmla="*/ 2147483647 w 174"/>
                <a:gd name="T25" fmla="*/ 2147483647 h 114"/>
                <a:gd name="T26" fmla="*/ 2147483647 w 174"/>
                <a:gd name="T27" fmla="*/ 2147483647 h 114"/>
                <a:gd name="T28" fmla="*/ 2147483647 w 174"/>
                <a:gd name="T29" fmla="*/ 2147483647 h 114"/>
                <a:gd name="T30" fmla="*/ 2147483647 w 174"/>
                <a:gd name="T31" fmla="*/ 2147483647 h 114"/>
                <a:gd name="T32" fmla="*/ 2147483647 w 174"/>
                <a:gd name="T33" fmla="*/ 2147483647 h 114"/>
                <a:gd name="T34" fmla="*/ 2147483647 w 174"/>
                <a:gd name="T35" fmla="*/ 2147483647 h 114"/>
                <a:gd name="T36" fmla="*/ 0 w 174"/>
                <a:gd name="T37" fmla="*/ 2147483647 h 114"/>
                <a:gd name="T38" fmla="*/ 2147483647 w 174"/>
                <a:gd name="T39" fmla="*/ 2147483647 h 114"/>
                <a:gd name="T40" fmla="*/ 2147483647 w 174"/>
                <a:gd name="T41" fmla="*/ 2147483647 h 114"/>
                <a:gd name="T42" fmla="*/ 2147483647 w 174"/>
                <a:gd name="T43" fmla="*/ 2147483647 h 114"/>
                <a:gd name="T44" fmla="*/ 2147483647 w 174"/>
                <a:gd name="T45" fmla="*/ 2147483647 h 114"/>
                <a:gd name="T46" fmla="*/ 2147483647 w 174"/>
                <a:gd name="T47" fmla="*/ 2147483647 h 114"/>
                <a:gd name="T48" fmla="*/ 2147483647 w 174"/>
                <a:gd name="T49" fmla="*/ 2147483647 h 114"/>
                <a:gd name="T50" fmla="*/ 2147483647 w 174"/>
                <a:gd name="T51" fmla="*/ 2147483647 h 114"/>
                <a:gd name="T52" fmla="*/ 2147483647 w 174"/>
                <a:gd name="T53" fmla="*/ 2147483647 h 114"/>
                <a:gd name="T54" fmla="*/ 2147483647 w 174"/>
                <a:gd name="T55" fmla="*/ 2147483647 h 114"/>
                <a:gd name="T56" fmla="*/ 2147483647 w 174"/>
                <a:gd name="T57" fmla="*/ 2147483647 h 11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74"/>
                <a:gd name="T88" fmla="*/ 0 h 114"/>
                <a:gd name="T89" fmla="*/ 174 w 174"/>
                <a:gd name="T90" fmla="*/ 114 h 11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74" h="114">
                  <a:moveTo>
                    <a:pt x="174" y="84"/>
                  </a:moveTo>
                  <a:lnTo>
                    <a:pt x="174" y="42"/>
                  </a:lnTo>
                  <a:lnTo>
                    <a:pt x="138" y="42"/>
                  </a:lnTo>
                  <a:lnTo>
                    <a:pt x="132" y="48"/>
                  </a:lnTo>
                  <a:lnTo>
                    <a:pt x="120" y="48"/>
                  </a:lnTo>
                  <a:lnTo>
                    <a:pt x="114" y="42"/>
                  </a:lnTo>
                  <a:lnTo>
                    <a:pt x="114" y="24"/>
                  </a:lnTo>
                  <a:lnTo>
                    <a:pt x="90" y="24"/>
                  </a:lnTo>
                  <a:lnTo>
                    <a:pt x="78" y="12"/>
                  </a:lnTo>
                  <a:lnTo>
                    <a:pt x="72" y="0"/>
                  </a:lnTo>
                  <a:lnTo>
                    <a:pt x="60" y="6"/>
                  </a:lnTo>
                  <a:lnTo>
                    <a:pt x="48" y="6"/>
                  </a:lnTo>
                  <a:lnTo>
                    <a:pt x="48" y="18"/>
                  </a:lnTo>
                  <a:lnTo>
                    <a:pt x="42" y="24"/>
                  </a:lnTo>
                  <a:lnTo>
                    <a:pt x="36" y="36"/>
                  </a:lnTo>
                  <a:lnTo>
                    <a:pt x="30" y="36"/>
                  </a:lnTo>
                  <a:lnTo>
                    <a:pt x="24" y="42"/>
                  </a:lnTo>
                  <a:lnTo>
                    <a:pt x="12" y="48"/>
                  </a:lnTo>
                  <a:lnTo>
                    <a:pt x="0" y="60"/>
                  </a:lnTo>
                  <a:lnTo>
                    <a:pt x="6" y="66"/>
                  </a:lnTo>
                  <a:lnTo>
                    <a:pt x="18" y="72"/>
                  </a:lnTo>
                  <a:lnTo>
                    <a:pt x="24" y="78"/>
                  </a:lnTo>
                  <a:lnTo>
                    <a:pt x="72" y="78"/>
                  </a:lnTo>
                  <a:lnTo>
                    <a:pt x="96" y="102"/>
                  </a:lnTo>
                  <a:lnTo>
                    <a:pt x="132" y="96"/>
                  </a:lnTo>
                  <a:lnTo>
                    <a:pt x="150" y="114"/>
                  </a:lnTo>
                  <a:lnTo>
                    <a:pt x="168" y="84"/>
                  </a:lnTo>
                  <a:lnTo>
                    <a:pt x="174" y="90"/>
                  </a:lnTo>
                  <a:lnTo>
                    <a:pt x="174" y="84"/>
                  </a:lnTo>
                  <a:close/>
                </a:path>
              </a:pathLst>
            </a:custGeom>
            <a:grp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202" name="Egypt" descr="© INSCALE GmbH, 05.05.2010&#10;http://www.presentationload.com/">
              <a:extLst>
                <a:ext uri="{FF2B5EF4-FFF2-40B4-BE49-F238E27FC236}">
                  <a16:creationId xmlns:a16="http://schemas.microsoft.com/office/drawing/2014/main" id="{7AD9FC98-EB90-7BEA-B736-7CC6CC926D6F}"/>
                </a:ext>
              </a:extLst>
            </p:cNvPr>
            <p:cNvSpPr>
              <a:spLocks/>
            </p:cNvSpPr>
            <p:nvPr/>
          </p:nvSpPr>
          <p:spPr bwMode="gray">
            <a:xfrm>
              <a:off x="4884671" y="2250485"/>
              <a:ext cx="299440" cy="305370"/>
            </a:xfrm>
            <a:custGeom>
              <a:avLst/>
              <a:gdLst>
                <a:gd name="T0" fmla="*/ 2147483647 w 792"/>
                <a:gd name="T1" fmla="*/ 2147483647 h 804"/>
                <a:gd name="T2" fmla="*/ 2147483647 w 792"/>
                <a:gd name="T3" fmla="*/ 2147483647 h 804"/>
                <a:gd name="T4" fmla="*/ 2147483647 w 792"/>
                <a:gd name="T5" fmla="*/ 2147483647 h 804"/>
                <a:gd name="T6" fmla="*/ 2147483647 w 792"/>
                <a:gd name="T7" fmla="*/ 2147483647 h 804"/>
                <a:gd name="T8" fmla="*/ 2147483647 w 792"/>
                <a:gd name="T9" fmla="*/ 2147483647 h 804"/>
                <a:gd name="T10" fmla="*/ 2147483647 w 792"/>
                <a:gd name="T11" fmla="*/ 2147483647 h 804"/>
                <a:gd name="T12" fmla="*/ 2147483647 w 792"/>
                <a:gd name="T13" fmla="*/ 2147483647 h 804"/>
                <a:gd name="T14" fmla="*/ 2147483647 w 792"/>
                <a:gd name="T15" fmla="*/ 2147483647 h 804"/>
                <a:gd name="T16" fmla="*/ 2147483647 w 792"/>
                <a:gd name="T17" fmla="*/ 2147483647 h 804"/>
                <a:gd name="T18" fmla="*/ 2147483647 w 792"/>
                <a:gd name="T19" fmla="*/ 2147483647 h 804"/>
                <a:gd name="T20" fmla="*/ 2147483647 w 792"/>
                <a:gd name="T21" fmla="*/ 2147483647 h 804"/>
                <a:gd name="T22" fmla="*/ 2147483647 w 792"/>
                <a:gd name="T23" fmla="*/ 2147483647 h 804"/>
                <a:gd name="T24" fmla="*/ 2147483647 w 792"/>
                <a:gd name="T25" fmla="*/ 2147483647 h 804"/>
                <a:gd name="T26" fmla="*/ 2147483647 w 792"/>
                <a:gd name="T27" fmla="*/ 2147483647 h 804"/>
                <a:gd name="T28" fmla="*/ 2147483647 w 792"/>
                <a:gd name="T29" fmla="*/ 2147483647 h 804"/>
                <a:gd name="T30" fmla="*/ 2147483647 w 792"/>
                <a:gd name="T31" fmla="*/ 2147483647 h 804"/>
                <a:gd name="T32" fmla="*/ 2147483647 w 792"/>
                <a:gd name="T33" fmla="*/ 2147483647 h 804"/>
                <a:gd name="T34" fmla="*/ 2147483647 w 792"/>
                <a:gd name="T35" fmla="*/ 2147483647 h 804"/>
                <a:gd name="T36" fmla="*/ 2147483647 w 792"/>
                <a:gd name="T37" fmla="*/ 2147483647 h 804"/>
                <a:gd name="T38" fmla="*/ 2147483647 w 792"/>
                <a:gd name="T39" fmla="*/ 2147483647 h 804"/>
                <a:gd name="T40" fmla="*/ 2147483647 w 792"/>
                <a:gd name="T41" fmla="*/ 2147483647 h 804"/>
                <a:gd name="T42" fmla="*/ 2147483647 w 792"/>
                <a:gd name="T43" fmla="*/ 2147483647 h 804"/>
                <a:gd name="T44" fmla="*/ 2147483647 w 792"/>
                <a:gd name="T45" fmla="*/ 2147483647 h 804"/>
                <a:gd name="T46" fmla="*/ 2147483647 w 792"/>
                <a:gd name="T47" fmla="*/ 2147483647 h 804"/>
                <a:gd name="T48" fmla="*/ 2147483647 w 792"/>
                <a:gd name="T49" fmla="*/ 2147483647 h 804"/>
                <a:gd name="T50" fmla="*/ 2147483647 w 792"/>
                <a:gd name="T51" fmla="*/ 2147483647 h 804"/>
                <a:gd name="T52" fmla="*/ 2147483647 w 792"/>
                <a:gd name="T53" fmla="*/ 2147483647 h 804"/>
                <a:gd name="T54" fmla="*/ 2147483647 w 792"/>
                <a:gd name="T55" fmla="*/ 2147483647 h 804"/>
                <a:gd name="T56" fmla="*/ 2147483647 w 792"/>
                <a:gd name="T57" fmla="*/ 2147483647 h 804"/>
                <a:gd name="T58" fmla="*/ 2147483647 w 792"/>
                <a:gd name="T59" fmla="*/ 2147483647 h 804"/>
                <a:gd name="T60" fmla="*/ 2147483647 w 792"/>
                <a:gd name="T61" fmla="*/ 2147483647 h 804"/>
                <a:gd name="T62" fmla="*/ 2147483647 w 792"/>
                <a:gd name="T63" fmla="*/ 2147483647 h 804"/>
                <a:gd name="T64" fmla="*/ 2147483647 w 792"/>
                <a:gd name="T65" fmla="*/ 2147483647 h 804"/>
                <a:gd name="T66" fmla="*/ 2147483647 w 792"/>
                <a:gd name="T67" fmla="*/ 2147483647 h 804"/>
                <a:gd name="T68" fmla="*/ 2147483647 w 792"/>
                <a:gd name="T69" fmla="*/ 2147483647 h 804"/>
                <a:gd name="T70" fmla="*/ 2147483647 w 792"/>
                <a:gd name="T71" fmla="*/ 2147483647 h 804"/>
                <a:gd name="T72" fmla="*/ 2147483647 w 792"/>
                <a:gd name="T73" fmla="*/ 2147483647 h 804"/>
                <a:gd name="T74" fmla="*/ 2147483647 w 792"/>
                <a:gd name="T75" fmla="*/ 2147483647 h 804"/>
                <a:gd name="T76" fmla="*/ 2147483647 w 792"/>
                <a:gd name="T77" fmla="*/ 2147483647 h 804"/>
                <a:gd name="T78" fmla="*/ 2147483647 w 792"/>
                <a:gd name="T79" fmla="*/ 2147483647 h 804"/>
                <a:gd name="T80" fmla="*/ 2147483647 w 792"/>
                <a:gd name="T81" fmla="*/ 2147483647 h 804"/>
                <a:gd name="T82" fmla="*/ 2147483647 w 792"/>
                <a:gd name="T83" fmla="*/ 2147483647 h 804"/>
                <a:gd name="T84" fmla="*/ 2147483647 w 792"/>
                <a:gd name="T85" fmla="*/ 2147483647 h 804"/>
                <a:gd name="T86" fmla="*/ 2147483647 w 792"/>
                <a:gd name="T87" fmla="*/ 2147483647 h 804"/>
                <a:gd name="T88" fmla="*/ 2147483647 w 792"/>
                <a:gd name="T89" fmla="*/ 2147483647 h 804"/>
                <a:gd name="T90" fmla="*/ 2147483647 w 792"/>
                <a:gd name="T91" fmla="*/ 0 h 804"/>
                <a:gd name="T92" fmla="*/ 2147483647 w 792"/>
                <a:gd name="T93" fmla="*/ 2147483647 h 804"/>
                <a:gd name="T94" fmla="*/ 2147483647 w 792"/>
                <a:gd name="T95" fmla="*/ 0 h 80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92"/>
                <a:gd name="T145" fmla="*/ 0 h 804"/>
                <a:gd name="T146" fmla="*/ 792 w 792"/>
                <a:gd name="T147" fmla="*/ 804 h 80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92" h="804">
                  <a:moveTo>
                    <a:pt x="12" y="18"/>
                  </a:moveTo>
                  <a:lnTo>
                    <a:pt x="6" y="24"/>
                  </a:lnTo>
                  <a:lnTo>
                    <a:pt x="6" y="54"/>
                  </a:lnTo>
                  <a:lnTo>
                    <a:pt x="18" y="60"/>
                  </a:lnTo>
                  <a:lnTo>
                    <a:pt x="24" y="72"/>
                  </a:lnTo>
                  <a:lnTo>
                    <a:pt x="24" y="78"/>
                  </a:lnTo>
                  <a:lnTo>
                    <a:pt x="18" y="84"/>
                  </a:lnTo>
                  <a:lnTo>
                    <a:pt x="12" y="96"/>
                  </a:lnTo>
                  <a:lnTo>
                    <a:pt x="6" y="102"/>
                  </a:lnTo>
                  <a:lnTo>
                    <a:pt x="0" y="114"/>
                  </a:lnTo>
                  <a:lnTo>
                    <a:pt x="0" y="120"/>
                  </a:lnTo>
                  <a:lnTo>
                    <a:pt x="6" y="132"/>
                  </a:lnTo>
                  <a:lnTo>
                    <a:pt x="18" y="144"/>
                  </a:lnTo>
                  <a:lnTo>
                    <a:pt x="30" y="180"/>
                  </a:lnTo>
                  <a:lnTo>
                    <a:pt x="30" y="264"/>
                  </a:lnTo>
                  <a:lnTo>
                    <a:pt x="36" y="342"/>
                  </a:lnTo>
                  <a:lnTo>
                    <a:pt x="36" y="438"/>
                  </a:lnTo>
                  <a:lnTo>
                    <a:pt x="42" y="534"/>
                  </a:lnTo>
                  <a:lnTo>
                    <a:pt x="42" y="624"/>
                  </a:lnTo>
                  <a:lnTo>
                    <a:pt x="48" y="702"/>
                  </a:lnTo>
                  <a:lnTo>
                    <a:pt x="48" y="774"/>
                  </a:lnTo>
                  <a:lnTo>
                    <a:pt x="474" y="780"/>
                  </a:lnTo>
                  <a:lnTo>
                    <a:pt x="492" y="762"/>
                  </a:lnTo>
                  <a:lnTo>
                    <a:pt x="498" y="762"/>
                  </a:lnTo>
                  <a:lnTo>
                    <a:pt x="498" y="774"/>
                  </a:lnTo>
                  <a:lnTo>
                    <a:pt x="618" y="780"/>
                  </a:lnTo>
                  <a:lnTo>
                    <a:pt x="624" y="786"/>
                  </a:lnTo>
                  <a:lnTo>
                    <a:pt x="630" y="798"/>
                  </a:lnTo>
                  <a:lnTo>
                    <a:pt x="636" y="804"/>
                  </a:lnTo>
                  <a:lnTo>
                    <a:pt x="654" y="804"/>
                  </a:lnTo>
                  <a:lnTo>
                    <a:pt x="660" y="798"/>
                  </a:lnTo>
                  <a:lnTo>
                    <a:pt x="672" y="774"/>
                  </a:lnTo>
                  <a:lnTo>
                    <a:pt x="684" y="762"/>
                  </a:lnTo>
                  <a:lnTo>
                    <a:pt x="696" y="762"/>
                  </a:lnTo>
                  <a:lnTo>
                    <a:pt x="702" y="756"/>
                  </a:lnTo>
                  <a:lnTo>
                    <a:pt x="720" y="756"/>
                  </a:lnTo>
                  <a:lnTo>
                    <a:pt x="726" y="750"/>
                  </a:lnTo>
                  <a:lnTo>
                    <a:pt x="732" y="738"/>
                  </a:lnTo>
                  <a:lnTo>
                    <a:pt x="732" y="714"/>
                  </a:lnTo>
                  <a:lnTo>
                    <a:pt x="762" y="714"/>
                  </a:lnTo>
                  <a:lnTo>
                    <a:pt x="786" y="690"/>
                  </a:lnTo>
                  <a:lnTo>
                    <a:pt x="780" y="684"/>
                  </a:lnTo>
                  <a:lnTo>
                    <a:pt x="774" y="672"/>
                  </a:lnTo>
                  <a:lnTo>
                    <a:pt x="774" y="624"/>
                  </a:lnTo>
                  <a:lnTo>
                    <a:pt x="792" y="618"/>
                  </a:lnTo>
                  <a:lnTo>
                    <a:pt x="786" y="618"/>
                  </a:lnTo>
                  <a:lnTo>
                    <a:pt x="756" y="588"/>
                  </a:lnTo>
                  <a:lnTo>
                    <a:pt x="732" y="552"/>
                  </a:lnTo>
                  <a:lnTo>
                    <a:pt x="726" y="528"/>
                  </a:lnTo>
                  <a:lnTo>
                    <a:pt x="714" y="492"/>
                  </a:lnTo>
                  <a:lnTo>
                    <a:pt x="702" y="468"/>
                  </a:lnTo>
                  <a:lnTo>
                    <a:pt x="690" y="462"/>
                  </a:lnTo>
                  <a:lnTo>
                    <a:pt x="684" y="450"/>
                  </a:lnTo>
                  <a:lnTo>
                    <a:pt x="672" y="444"/>
                  </a:lnTo>
                  <a:lnTo>
                    <a:pt x="666" y="432"/>
                  </a:lnTo>
                  <a:lnTo>
                    <a:pt x="654" y="396"/>
                  </a:lnTo>
                  <a:lnTo>
                    <a:pt x="654" y="378"/>
                  </a:lnTo>
                  <a:lnTo>
                    <a:pt x="618" y="336"/>
                  </a:lnTo>
                  <a:lnTo>
                    <a:pt x="618" y="318"/>
                  </a:lnTo>
                  <a:lnTo>
                    <a:pt x="606" y="294"/>
                  </a:lnTo>
                  <a:lnTo>
                    <a:pt x="594" y="282"/>
                  </a:lnTo>
                  <a:lnTo>
                    <a:pt x="588" y="270"/>
                  </a:lnTo>
                  <a:lnTo>
                    <a:pt x="576" y="258"/>
                  </a:lnTo>
                  <a:lnTo>
                    <a:pt x="570" y="246"/>
                  </a:lnTo>
                  <a:lnTo>
                    <a:pt x="558" y="234"/>
                  </a:lnTo>
                  <a:lnTo>
                    <a:pt x="552" y="222"/>
                  </a:lnTo>
                  <a:lnTo>
                    <a:pt x="546" y="216"/>
                  </a:lnTo>
                  <a:lnTo>
                    <a:pt x="552" y="210"/>
                  </a:lnTo>
                  <a:lnTo>
                    <a:pt x="552" y="198"/>
                  </a:lnTo>
                  <a:lnTo>
                    <a:pt x="540" y="174"/>
                  </a:lnTo>
                  <a:lnTo>
                    <a:pt x="528" y="168"/>
                  </a:lnTo>
                  <a:lnTo>
                    <a:pt x="522" y="168"/>
                  </a:lnTo>
                  <a:lnTo>
                    <a:pt x="540" y="144"/>
                  </a:lnTo>
                  <a:lnTo>
                    <a:pt x="558" y="156"/>
                  </a:lnTo>
                  <a:lnTo>
                    <a:pt x="558" y="174"/>
                  </a:lnTo>
                  <a:lnTo>
                    <a:pt x="564" y="186"/>
                  </a:lnTo>
                  <a:lnTo>
                    <a:pt x="576" y="198"/>
                  </a:lnTo>
                  <a:lnTo>
                    <a:pt x="582" y="210"/>
                  </a:lnTo>
                  <a:lnTo>
                    <a:pt x="588" y="216"/>
                  </a:lnTo>
                  <a:lnTo>
                    <a:pt x="588" y="246"/>
                  </a:lnTo>
                  <a:lnTo>
                    <a:pt x="606" y="264"/>
                  </a:lnTo>
                  <a:lnTo>
                    <a:pt x="612" y="276"/>
                  </a:lnTo>
                  <a:lnTo>
                    <a:pt x="636" y="300"/>
                  </a:lnTo>
                  <a:lnTo>
                    <a:pt x="648" y="306"/>
                  </a:lnTo>
                  <a:lnTo>
                    <a:pt x="654" y="306"/>
                  </a:lnTo>
                  <a:lnTo>
                    <a:pt x="666" y="300"/>
                  </a:lnTo>
                  <a:lnTo>
                    <a:pt x="678" y="288"/>
                  </a:lnTo>
                  <a:lnTo>
                    <a:pt x="672" y="270"/>
                  </a:lnTo>
                  <a:lnTo>
                    <a:pt x="684" y="246"/>
                  </a:lnTo>
                  <a:lnTo>
                    <a:pt x="684" y="234"/>
                  </a:lnTo>
                  <a:lnTo>
                    <a:pt x="690" y="222"/>
                  </a:lnTo>
                  <a:lnTo>
                    <a:pt x="690" y="198"/>
                  </a:lnTo>
                  <a:lnTo>
                    <a:pt x="696" y="186"/>
                  </a:lnTo>
                  <a:lnTo>
                    <a:pt x="696" y="180"/>
                  </a:lnTo>
                  <a:lnTo>
                    <a:pt x="702" y="168"/>
                  </a:lnTo>
                  <a:lnTo>
                    <a:pt x="648" y="24"/>
                  </a:lnTo>
                  <a:lnTo>
                    <a:pt x="642" y="24"/>
                  </a:lnTo>
                  <a:lnTo>
                    <a:pt x="636" y="30"/>
                  </a:lnTo>
                  <a:lnTo>
                    <a:pt x="624" y="30"/>
                  </a:lnTo>
                  <a:lnTo>
                    <a:pt x="600" y="42"/>
                  </a:lnTo>
                  <a:lnTo>
                    <a:pt x="576" y="42"/>
                  </a:lnTo>
                  <a:lnTo>
                    <a:pt x="564" y="36"/>
                  </a:lnTo>
                  <a:lnTo>
                    <a:pt x="558" y="30"/>
                  </a:lnTo>
                  <a:lnTo>
                    <a:pt x="552" y="36"/>
                  </a:lnTo>
                  <a:lnTo>
                    <a:pt x="540" y="42"/>
                  </a:lnTo>
                  <a:lnTo>
                    <a:pt x="534" y="42"/>
                  </a:lnTo>
                  <a:lnTo>
                    <a:pt x="510" y="30"/>
                  </a:lnTo>
                  <a:lnTo>
                    <a:pt x="504" y="24"/>
                  </a:lnTo>
                  <a:lnTo>
                    <a:pt x="504" y="18"/>
                  </a:lnTo>
                  <a:lnTo>
                    <a:pt x="498" y="12"/>
                  </a:lnTo>
                  <a:lnTo>
                    <a:pt x="486" y="6"/>
                  </a:lnTo>
                  <a:lnTo>
                    <a:pt x="468" y="6"/>
                  </a:lnTo>
                  <a:lnTo>
                    <a:pt x="456" y="12"/>
                  </a:lnTo>
                  <a:lnTo>
                    <a:pt x="438" y="12"/>
                  </a:lnTo>
                  <a:lnTo>
                    <a:pt x="432" y="18"/>
                  </a:lnTo>
                  <a:lnTo>
                    <a:pt x="420" y="18"/>
                  </a:lnTo>
                  <a:lnTo>
                    <a:pt x="414" y="12"/>
                  </a:lnTo>
                  <a:lnTo>
                    <a:pt x="390" y="12"/>
                  </a:lnTo>
                  <a:lnTo>
                    <a:pt x="378" y="18"/>
                  </a:lnTo>
                  <a:lnTo>
                    <a:pt x="372" y="24"/>
                  </a:lnTo>
                  <a:lnTo>
                    <a:pt x="366" y="36"/>
                  </a:lnTo>
                  <a:lnTo>
                    <a:pt x="360" y="42"/>
                  </a:lnTo>
                  <a:lnTo>
                    <a:pt x="336" y="42"/>
                  </a:lnTo>
                  <a:lnTo>
                    <a:pt x="324" y="54"/>
                  </a:lnTo>
                  <a:lnTo>
                    <a:pt x="312" y="60"/>
                  </a:lnTo>
                  <a:lnTo>
                    <a:pt x="306" y="60"/>
                  </a:lnTo>
                  <a:lnTo>
                    <a:pt x="300" y="54"/>
                  </a:lnTo>
                  <a:lnTo>
                    <a:pt x="288" y="54"/>
                  </a:lnTo>
                  <a:lnTo>
                    <a:pt x="276" y="48"/>
                  </a:lnTo>
                  <a:lnTo>
                    <a:pt x="264" y="48"/>
                  </a:lnTo>
                  <a:lnTo>
                    <a:pt x="258" y="42"/>
                  </a:lnTo>
                  <a:lnTo>
                    <a:pt x="204" y="42"/>
                  </a:lnTo>
                  <a:lnTo>
                    <a:pt x="198" y="36"/>
                  </a:lnTo>
                  <a:lnTo>
                    <a:pt x="186" y="30"/>
                  </a:lnTo>
                  <a:lnTo>
                    <a:pt x="174" y="18"/>
                  </a:lnTo>
                  <a:lnTo>
                    <a:pt x="126" y="18"/>
                  </a:lnTo>
                  <a:lnTo>
                    <a:pt x="120" y="12"/>
                  </a:lnTo>
                  <a:lnTo>
                    <a:pt x="96" y="0"/>
                  </a:lnTo>
                  <a:lnTo>
                    <a:pt x="78" y="0"/>
                  </a:lnTo>
                  <a:lnTo>
                    <a:pt x="66" y="12"/>
                  </a:lnTo>
                  <a:lnTo>
                    <a:pt x="54" y="12"/>
                  </a:lnTo>
                  <a:lnTo>
                    <a:pt x="42" y="6"/>
                  </a:lnTo>
                  <a:lnTo>
                    <a:pt x="36" y="6"/>
                  </a:lnTo>
                  <a:lnTo>
                    <a:pt x="36" y="0"/>
                  </a:lnTo>
                  <a:lnTo>
                    <a:pt x="30" y="0"/>
                  </a:lnTo>
                  <a:lnTo>
                    <a:pt x="12" y="18"/>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203" name="Ecuador" descr="© INSCALE GmbH, 05.05.2010&#10;http://www.presentationload.com/">
              <a:extLst>
                <a:ext uri="{FF2B5EF4-FFF2-40B4-BE49-F238E27FC236}">
                  <a16:creationId xmlns:a16="http://schemas.microsoft.com/office/drawing/2014/main" id="{2860E5DC-1784-F858-65A7-5B0FF5EB2524}"/>
                </a:ext>
              </a:extLst>
            </p:cNvPr>
            <p:cNvSpPr>
              <a:spLocks noEditPoints="1"/>
            </p:cNvSpPr>
            <p:nvPr/>
          </p:nvSpPr>
          <p:spPr bwMode="gray">
            <a:xfrm>
              <a:off x="2045927" y="3169561"/>
              <a:ext cx="157132" cy="200121"/>
            </a:xfrm>
            <a:custGeom>
              <a:avLst/>
              <a:gdLst>
                <a:gd name="T0" fmla="*/ 2147483647 w 414"/>
                <a:gd name="T1" fmla="*/ 2147483647 h 528"/>
                <a:gd name="T2" fmla="*/ 2147483647 w 414"/>
                <a:gd name="T3" fmla="*/ 2147483647 h 528"/>
                <a:gd name="T4" fmla="*/ 2147483647 w 414"/>
                <a:gd name="T5" fmla="*/ 2147483647 h 528"/>
                <a:gd name="T6" fmla="*/ 2147483647 w 414"/>
                <a:gd name="T7" fmla="*/ 2147483647 h 528"/>
                <a:gd name="T8" fmla="*/ 2147483647 w 414"/>
                <a:gd name="T9" fmla="*/ 2147483647 h 528"/>
                <a:gd name="T10" fmla="*/ 2147483647 w 414"/>
                <a:gd name="T11" fmla="*/ 2147483647 h 528"/>
                <a:gd name="T12" fmla="*/ 2147483647 w 414"/>
                <a:gd name="T13" fmla="*/ 2147483647 h 528"/>
                <a:gd name="T14" fmla="*/ 2147483647 w 414"/>
                <a:gd name="T15" fmla="*/ 2147483647 h 528"/>
                <a:gd name="T16" fmla="*/ 2147483647 w 414"/>
                <a:gd name="T17" fmla="*/ 2147483647 h 528"/>
                <a:gd name="T18" fmla="*/ 2147483647 w 414"/>
                <a:gd name="T19" fmla="*/ 2147483647 h 528"/>
                <a:gd name="T20" fmla="*/ 2147483647 w 414"/>
                <a:gd name="T21" fmla="*/ 2147483647 h 528"/>
                <a:gd name="T22" fmla="*/ 2147483647 w 414"/>
                <a:gd name="T23" fmla="*/ 2147483647 h 528"/>
                <a:gd name="T24" fmla="*/ 2147483647 w 414"/>
                <a:gd name="T25" fmla="*/ 2147483647 h 528"/>
                <a:gd name="T26" fmla="*/ 2147483647 w 414"/>
                <a:gd name="T27" fmla="*/ 2147483647 h 528"/>
                <a:gd name="T28" fmla="*/ 2147483647 w 414"/>
                <a:gd name="T29" fmla="*/ 2147483647 h 528"/>
                <a:gd name="T30" fmla="*/ 2147483647 w 414"/>
                <a:gd name="T31" fmla="*/ 2147483647 h 528"/>
                <a:gd name="T32" fmla="*/ 2147483647 w 414"/>
                <a:gd name="T33" fmla="*/ 2147483647 h 528"/>
                <a:gd name="T34" fmla="*/ 2147483647 w 414"/>
                <a:gd name="T35" fmla="*/ 2147483647 h 528"/>
                <a:gd name="T36" fmla="*/ 2147483647 w 414"/>
                <a:gd name="T37" fmla="*/ 2147483647 h 528"/>
                <a:gd name="T38" fmla="*/ 2147483647 w 414"/>
                <a:gd name="T39" fmla="*/ 2147483647 h 528"/>
                <a:gd name="T40" fmla="*/ 2147483647 w 414"/>
                <a:gd name="T41" fmla="*/ 2147483647 h 528"/>
                <a:gd name="T42" fmla="*/ 2147483647 w 414"/>
                <a:gd name="T43" fmla="*/ 2147483647 h 528"/>
                <a:gd name="T44" fmla="*/ 2147483647 w 414"/>
                <a:gd name="T45" fmla="*/ 2147483647 h 528"/>
                <a:gd name="T46" fmla="*/ 2147483647 w 414"/>
                <a:gd name="T47" fmla="*/ 2147483647 h 528"/>
                <a:gd name="T48" fmla="*/ 2147483647 w 414"/>
                <a:gd name="T49" fmla="*/ 2147483647 h 528"/>
                <a:gd name="T50" fmla="*/ 2147483647 w 414"/>
                <a:gd name="T51" fmla="*/ 2147483647 h 528"/>
                <a:gd name="T52" fmla="*/ 2147483647 w 414"/>
                <a:gd name="T53" fmla="*/ 2147483647 h 528"/>
                <a:gd name="T54" fmla="*/ 2147483647 w 414"/>
                <a:gd name="T55" fmla="*/ 2147483647 h 528"/>
                <a:gd name="T56" fmla="*/ 2147483647 w 414"/>
                <a:gd name="T57" fmla="*/ 2147483647 h 528"/>
                <a:gd name="T58" fmla="*/ 2147483647 w 414"/>
                <a:gd name="T59" fmla="*/ 2147483647 h 528"/>
                <a:gd name="T60" fmla="*/ 2147483647 w 414"/>
                <a:gd name="T61" fmla="*/ 2147483647 h 528"/>
                <a:gd name="T62" fmla="*/ 2147483647 w 414"/>
                <a:gd name="T63" fmla="*/ 2147483647 h 528"/>
                <a:gd name="T64" fmla="*/ 2147483647 w 414"/>
                <a:gd name="T65" fmla="*/ 2147483647 h 528"/>
                <a:gd name="T66" fmla="*/ 2147483647 w 414"/>
                <a:gd name="T67" fmla="*/ 2147483647 h 528"/>
                <a:gd name="T68" fmla="*/ 2147483647 w 414"/>
                <a:gd name="T69" fmla="*/ 2147483647 h 528"/>
                <a:gd name="T70" fmla="*/ 2147483647 w 414"/>
                <a:gd name="T71" fmla="*/ 2147483647 h 528"/>
                <a:gd name="T72" fmla="*/ 2147483647 w 414"/>
                <a:gd name="T73" fmla="*/ 2147483647 h 528"/>
                <a:gd name="T74" fmla="*/ 2147483647 w 414"/>
                <a:gd name="T75" fmla="*/ 2147483647 h 528"/>
                <a:gd name="T76" fmla="*/ 2147483647 w 414"/>
                <a:gd name="T77" fmla="*/ 2147483647 h 528"/>
                <a:gd name="T78" fmla="*/ 2147483647 w 414"/>
                <a:gd name="T79" fmla="*/ 2147483647 h 528"/>
                <a:gd name="T80" fmla="*/ 2147483647 w 414"/>
                <a:gd name="T81" fmla="*/ 2147483647 h 528"/>
                <a:gd name="T82" fmla="*/ 2147483647 w 414"/>
                <a:gd name="T83" fmla="*/ 2147483647 h 528"/>
                <a:gd name="T84" fmla="*/ 2147483647 w 414"/>
                <a:gd name="T85" fmla="*/ 2147483647 h 528"/>
                <a:gd name="T86" fmla="*/ 2147483647 w 414"/>
                <a:gd name="T87" fmla="*/ 2147483647 h 528"/>
                <a:gd name="T88" fmla="*/ 2147483647 w 414"/>
                <a:gd name="T89" fmla="*/ 2147483647 h 52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14"/>
                <a:gd name="T136" fmla="*/ 0 h 528"/>
                <a:gd name="T137" fmla="*/ 414 w 414"/>
                <a:gd name="T138" fmla="*/ 528 h 52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14" h="528">
                  <a:moveTo>
                    <a:pt x="60" y="372"/>
                  </a:moveTo>
                  <a:lnTo>
                    <a:pt x="72" y="366"/>
                  </a:lnTo>
                  <a:lnTo>
                    <a:pt x="78" y="360"/>
                  </a:lnTo>
                  <a:lnTo>
                    <a:pt x="78" y="342"/>
                  </a:lnTo>
                  <a:lnTo>
                    <a:pt x="72" y="342"/>
                  </a:lnTo>
                  <a:lnTo>
                    <a:pt x="54" y="360"/>
                  </a:lnTo>
                  <a:lnTo>
                    <a:pt x="54" y="372"/>
                  </a:lnTo>
                  <a:lnTo>
                    <a:pt x="60" y="372"/>
                  </a:lnTo>
                  <a:close/>
                  <a:moveTo>
                    <a:pt x="414" y="174"/>
                  </a:moveTo>
                  <a:lnTo>
                    <a:pt x="390" y="156"/>
                  </a:lnTo>
                  <a:lnTo>
                    <a:pt x="396" y="156"/>
                  </a:lnTo>
                  <a:lnTo>
                    <a:pt x="396" y="150"/>
                  </a:lnTo>
                  <a:lnTo>
                    <a:pt x="402" y="150"/>
                  </a:lnTo>
                  <a:lnTo>
                    <a:pt x="402" y="126"/>
                  </a:lnTo>
                  <a:lnTo>
                    <a:pt x="372" y="126"/>
                  </a:lnTo>
                  <a:lnTo>
                    <a:pt x="360" y="114"/>
                  </a:lnTo>
                  <a:lnTo>
                    <a:pt x="360" y="108"/>
                  </a:lnTo>
                  <a:lnTo>
                    <a:pt x="354" y="102"/>
                  </a:lnTo>
                  <a:lnTo>
                    <a:pt x="354" y="96"/>
                  </a:lnTo>
                  <a:lnTo>
                    <a:pt x="342" y="90"/>
                  </a:lnTo>
                  <a:lnTo>
                    <a:pt x="336" y="90"/>
                  </a:lnTo>
                  <a:lnTo>
                    <a:pt x="330" y="96"/>
                  </a:lnTo>
                  <a:lnTo>
                    <a:pt x="330" y="108"/>
                  </a:lnTo>
                  <a:lnTo>
                    <a:pt x="306" y="108"/>
                  </a:lnTo>
                  <a:lnTo>
                    <a:pt x="300" y="102"/>
                  </a:lnTo>
                  <a:lnTo>
                    <a:pt x="288" y="96"/>
                  </a:lnTo>
                  <a:lnTo>
                    <a:pt x="282" y="102"/>
                  </a:lnTo>
                  <a:lnTo>
                    <a:pt x="270" y="102"/>
                  </a:lnTo>
                  <a:lnTo>
                    <a:pt x="258" y="96"/>
                  </a:lnTo>
                  <a:lnTo>
                    <a:pt x="252" y="90"/>
                  </a:lnTo>
                  <a:lnTo>
                    <a:pt x="252" y="84"/>
                  </a:lnTo>
                  <a:lnTo>
                    <a:pt x="246" y="72"/>
                  </a:lnTo>
                  <a:lnTo>
                    <a:pt x="240" y="66"/>
                  </a:lnTo>
                  <a:lnTo>
                    <a:pt x="228" y="60"/>
                  </a:lnTo>
                  <a:lnTo>
                    <a:pt x="210" y="60"/>
                  </a:lnTo>
                  <a:lnTo>
                    <a:pt x="204" y="48"/>
                  </a:lnTo>
                  <a:lnTo>
                    <a:pt x="168" y="30"/>
                  </a:lnTo>
                  <a:lnTo>
                    <a:pt x="162" y="18"/>
                  </a:lnTo>
                  <a:lnTo>
                    <a:pt x="150" y="12"/>
                  </a:lnTo>
                  <a:lnTo>
                    <a:pt x="144" y="0"/>
                  </a:lnTo>
                  <a:lnTo>
                    <a:pt x="144" y="12"/>
                  </a:lnTo>
                  <a:lnTo>
                    <a:pt x="150" y="18"/>
                  </a:lnTo>
                  <a:lnTo>
                    <a:pt x="150" y="36"/>
                  </a:lnTo>
                  <a:lnTo>
                    <a:pt x="144" y="42"/>
                  </a:lnTo>
                  <a:lnTo>
                    <a:pt x="120" y="54"/>
                  </a:lnTo>
                  <a:lnTo>
                    <a:pt x="102" y="54"/>
                  </a:lnTo>
                  <a:lnTo>
                    <a:pt x="96" y="42"/>
                  </a:lnTo>
                  <a:lnTo>
                    <a:pt x="90" y="42"/>
                  </a:lnTo>
                  <a:lnTo>
                    <a:pt x="78" y="54"/>
                  </a:lnTo>
                  <a:lnTo>
                    <a:pt x="66" y="60"/>
                  </a:lnTo>
                  <a:lnTo>
                    <a:pt x="60" y="72"/>
                  </a:lnTo>
                  <a:lnTo>
                    <a:pt x="60" y="84"/>
                  </a:lnTo>
                  <a:lnTo>
                    <a:pt x="66" y="90"/>
                  </a:lnTo>
                  <a:lnTo>
                    <a:pt x="72" y="102"/>
                  </a:lnTo>
                  <a:lnTo>
                    <a:pt x="72" y="120"/>
                  </a:lnTo>
                  <a:lnTo>
                    <a:pt x="66" y="126"/>
                  </a:lnTo>
                  <a:lnTo>
                    <a:pt x="54" y="132"/>
                  </a:lnTo>
                  <a:lnTo>
                    <a:pt x="42" y="144"/>
                  </a:lnTo>
                  <a:lnTo>
                    <a:pt x="42" y="162"/>
                  </a:lnTo>
                  <a:lnTo>
                    <a:pt x="48" y="168"/>
                  </a:lnTo>
                  <a:lnTo>
                    <a:pt x="54" y="180"/>
                  </a:lnTo>
                  <a:lnTo>
                    <a:pt x="36" y="180"/>
                  </a:lnTo>
                  <a:lnTo>
                    <a:pt x="36" y="198"/>
                  </a:lnTo>
                  <a:lnTo>
                    <a:pt x="0" y="216"/>
                  </a:lnTo>
                  <a:lnTo>
                    <a:pt x="24" y="228"/>
                  </a:lnTo>
                  <a:lnTo>
                    <a:pt x="12" y="258"/>
                  </a:lnTo>
                  <a:lnTo>
                    <a:pt x="24" y="270"/>
                  </a:lnTo>
                  <a:lnTo>
                    <a:pt x="24" y="282"/>
                  </a:lnTo>
                  <a:lnTo>
                    <a:pt x="6" y="300"/>
                  </a:lnTo>
                  <a:lnTo>
                    <a:pt x="0" y="300"/>
                  </a:lnTo>
                  <a:lnTo>
                    <a:pt x="12" y="312"/>
                  </a:lnTo>
                  <a:lnTo>
                    <a:pt x="6" y="318"/>
                  </a:lnTo>
                  <a:lnTo>
                    <a:pt x="6" y="324"/>
                  </a:lnTo>
                  <a:lnTo>
                    <a:pt x="18" y="336"/>
                  </a:lnTo>
                  <a:lnTo>
                    <a:pt x="30" y="342"/>
                  </a:lnTo>
                  <a:lnTo>
                    <a:pt x="60" y="342"/>
                  </a:lnTo>
                  <a:lnTo>
                    <a:pt x="72" y="330"/>
                  </a:lnTo>
                  <a:lnTo>
                    <a:pt x="72" y="324"/>
                  </a:lnTo>
                  <a:lnTo>
                    <a:pt x="96" y="330"/>
                  </a:lnTo>
                  <a:lnTo>
                    <a:pt x="102" y="342"/>
                  </a:lnTo>
                  <a:lnTo>
                    <a:pt x="102" y="348"/>
                  </a:lnTo>
                  <a:lnTo>
                    <a:pt x="96" y="366"/>
                  </a:lnTo>
                  <a:lnTo>
                    <a:pt x="90" y="372"/>
                  </a:lnTo>
                  <a:lnTo>
                    <a:pt x="90" y="384"/>
                  </a:lnTo>
                  <a:lnTo>
                    <a:pt x="84" y="396"/>
                  </a:lnTo>
                  <a:lnTo>
                    <a:pt x="72" y="402"/>
                  </a:lnTo>
                  <a:lnTo>
                    <a:pt x="66" y="402"/>
                  </a:lnTo>
                  <a:lnTo>
                    <a:pt x="60" y="408"/>
                  </a:lnTo>
                  <a:lnTo>
                    <a:pt x="54" y="408"/>
                  </a:lnTo>
                  <a:lnTo>
                    <a:pt x="60" y="408"/>
                  </a:lnTo>
                  <a:lnTo>
                    <a:pt x="72" y="414"/>
                  </a:lnTo>
                  <a:lnTo>
                    <a:pt x="78" y="414"/>
                  </a:lnTo>
                  <a:lnTo>
                    <a:pt x="78" y="420"/>
                  </a:lnTo>
                  <a:lnTo>
                    <a:pt x="72" y="426"/>
                  </a:lnTo>
                  <a:lnTo>
                    <a:pt x="66" y="438"/>
                  </a:lnTo>
                  <a:lnTo>
                    <a:pt x="54" y="444"/>
                  </a:lnTo>
                  <a:lnTo>
                    <a:pt x="48" y="456"/>
                  </a:lnTo>
                  <a:lnTo>
                    <a:pt x="42" y="462"/>
                  </a:lnTo>
                  <a:lnTo>
                    <a:pt x="54" y="474"/>
                  </a:lnTo>
                  <a:lnTo>
                    <a:pt x="42" y="486"/>
                  </a:lnTo>
                  <a:lnTo>
                    <a:pt x="48" y="492"/>
                  </a:lnTo>
                  <a:lnTo>
                    <a:pt x="54" y="492"/>
                  </a:lnTo>
                  <a:lnTo>
                    <a:pt x="66" y="486"/>
                  </a:lnTo>
                  <a:lnTo>
                    <a:pt x="78" y="474"/>
                  </a:lnTo>
                  <a:lnTo>
                    <a:pt x="90" y="486"/>
                  </a:lnTo>
                  <a:lnTo>
                    <a:pt x="120" y="486"/>
                  </a:lnTo>
                  <a:lnTo>
                    <a:pt x="120" y="492"/>
                  </a:lnTo>
                  <a:lnTo>
                    <a:pt x="126" y="498"/>
                  </a:lnTo>
                  <a:lnTo>
                    <a:pt x="126" y="516"/>
                  </a:lnTo>
                  <a:lnTo>
                    <a:pt x="132" y="528"/>
                  </a:lnTo>
                  <a:lnTo>
                    <a:pt x="150" y="528"/>
                  </a:lnTo>
                  <a:lnTo>
                    <a:pt x="150" y="522"/>
                  </a:lnTo>
                  <a:lnTo>
                    <a:pt x="156" y="516"/>
                  </a:lnTo>
                  <a:lnTo>
                    <a:pt x="156" y="510"/>
                  </a:lnTo>
                  <a:lnTo>
                    <a:pt x="162" y="504"/>
                  </a:lnTo>
                  <a:lnTo>
                    <a:pt x="180" y="504"/>
                  </a:lnTo>
                  <a:lnTo>
                    <a:pt x="180" y="474"/>
                  </a:lnTo>
                  <a:lnTo>
                    <a:pt x="186" y="462"/>
                  </a:lnTo>
                  <a:lnTo>
                    <a:pt x="186" y="438"/>
                  </a:lnTo>
                  <a:lnTo>
                    <a:pt x="198" y="426"/>
                  </a:lnTo>
                  <a:lnTo>
                    <a:pt x="198" y="408"/>
                  </a:lnTo>
                  <a:lnTo>
                    <a:pt x="210" y="402"/>
                  </a:lnTo>
                  <a:lnTo>
                    <a:pt x="210" y="396"/>
                  </a:lnTo>
                  <a:lnTo>
                    <a:pt x="228" y="378"/>
                  </a:lnTo>
                  <a:lnTo>
                    <a:pt x="246" y="366"/>
                  </a:lnTo>
                  <a:lnTo>
                    <a:pt x="264" y="360"/>
                  </a:lnTo>
                  <a:lnTo>
                    <a:pt x="324" y="330"/>
                  </a:lnTo>
                  <a:lnTo>
                    <a:pt x="342" y="318"/>
                  </a:lnTo>
                  <a:lnTo>
                    <a:pt x="354" y="300"/>
                  </a:lnTo>
                  <a:lnTo>
                    <a:pt x="366" y="288"/>
                  </a:lnTo>
                  <a:lnTo>
                    <a:pt x="372" y="276"/>
                  </a:lnTo>
                  <a:lnTo>
                    <a:pt x="384" y="264"/>
                  </a:lnTo>
                  <a:lnTo>
                    <a:pt x="390" y="252"/>
                  </a:lnTo>
                  <a:lnTo>
                    <a:pt x="402" y="210"/>
                  </a:lnTo>
                  <a:lnTo>
                    <a:pt x="414" y="204"/>
                  </a:lnTo>
                  <a:lnTo>
                    <a:pt x="414" y="174"/>
                  </a:lnTo>
                  <a:close/>
                </a:path>
              </a:pathLst>
            </a:custGeom>
            <a:solidFill>
              <a:srgbClr val="FFFF0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204" name="East Timor" descr="© INSCALE GmbH, 05.05.2010&#10;http://www.presentationload.com/">
              <a:extLst>
                <a:ext uri="{FF2B5EF4-FFF2-40B4-BE49-F238E27FC236}">
                  <a16:creationId xmlns:a16="http://schemas.microsoft.com/office/drawing/2014/main" id="{D4066CB0-1F69-5807-9834-F03E396B1760}"/>
                </a:ext>
              </a:extLst>
            </p:cNvPr>
            <p:cNvSpPr>
              <a:spLocks noEditPoints="1"/>
            </p:cNvSpPr>
            <p:nvPr/>
          </p:nvSpPr>
          <p:spPr bwMode="gray">
            <a:xfrm>
              <a:off x="7570729" y="3470482"/>
              <a:ext cx="94872" cy="44471"/>
            </a:xfrm>
            <a:custGeom>
              <a:avLst/>
              <a:gdLst>
                <a:gd name="T0" fmla="*/ 2147483647 w 252"/>
                <a:gd name="T1" fmla="*/ 0 h 120"/>
                <a:gd name="T2" fmla="*/ 2147483647 w 252"/>
                <a:gd name="T3" fmla="*/ 2147483647 h 120"/>
                <a:gd name="T4" fmla="*/ 2147483647 w 252"/>
                <a:gd name="T5" fmla="*/ 2147483647 h 120"/>
                <a:gd name="T6" fmla="*/ 2147483647 w 252"/>
                <a:gd name="T7" fmla="*/ 2147483647 h 120"/>
                <a:gd name="T8" fmla="*/ 2147483647 w 252"/>
                <a:gd name="T9" fmla="*/ 2147483647 h 120"/>
                <a:gd name="T10" fmla="*/ 2147483647 w 252"/>
                <a:gd name="T11" fmla="*/ 2147483647 h 120"/>
                <a:gd name="T12" fmla="*/ 2147483647 w 252"/>
                <a:gd name="T13" fmla="*/ 2147483647 h 120"/>
                <a:gd name="T14" fmla="*/ 2147483647 w 252"/>
                <a:gd name="T15" fmla="*/ 2147483647 h 120"/>
                <a:gd name="T16" fmla="*/ 2147483647 w 252"/>
                <a:gd name="T17" fmla="*/ 2147483647 h 120"/>
                <a:gd name="T18" fmla="*/ 2147483647 w 252"/>
                <a:gd name="T19" fmla="*/ 2147483647 h 120"/>
                <a:gd name="T20" fmla="*/ 2147483647 w 252"/>
                <a:gd name="T21" fmla="*/ 2147483647 h 120"/>
                <a:gd name="T22" fmla="*/ 2147483647 w 252"/>
                <a:gd name="T23" fmla="*/ 2147483647 h 120"/>
                <a:gd name="T24" fmla="*/ 2147483647 w 252"/>
                <a:gd name="T25" fmla="*/ 2147483647 h 120"/>
                <a:gd name="T26" fmla="*/ 2147483647 w 252"/>
                <a:gd name="T27" fmla="*/ 2147483647 h 120"/>
                <a:gd name="T28" fmla="*/ 2147483647 w 252"/>
                <a:gd name="T29" fmla="*/ 2147483647 h 120"/>
                <a:gd name="T30" fmla="*/ 2147483647 w 252"/>
                <a:gd name="T31" fmla="*/ 2147483647 h 120"/>
                <a:gd name="T32" fmla="*/ 2147483647 w 252"/>
                <a:gd name="T33" fmla="*/ 2147483647 h 120"/>
                <a:gd name="T34" fmla="*/ 2147483647 w 252"/>
                <a:gd name="T35" fmla="*/ 2147483647 h 120"/>
                <a:gd name="T36" fmla="*/ 2147483647 w 252"/>
                <a:gd name="T37" fmla="*/ 2147483647 h 120"/>
                <a:gd name="T38" fmla="*/ 2147483647 w 252"/>
                <a:gd name="T39" fmla="*/ 2147483647 h 120"/>
                <a:gd name="T40" fmla="*/ 2147483647 w 252"/>
                <a:gd name="T41" fmla="*/ 2147483647 h 120"/>
                <a:gd name="T42" fmla="*/ 2147483647 w 252"/>
                <a:gd name="T43" fmla="*/ 2147483647 h 120"/>
                <a:gd name="T44" fmla="*/ 2147483647 w 252"/>
                <a:gd name="T45" fmla="*/ 2147483647 h 120"/>
                <a:gd name="T46" fmla="*/ 2147483647 w 252"/>
                <a:gd name="T47" fmla="*/ 0 h 120"/>
                <a:gd name="T48" fmla="*/ 0 w 252"/>
                <a:gd name="T49" fmla="*/ 2147483647 h 120"/>
                <a:gd name="T50" fmla="*/ 2147483647 w 252"/>
                <a:gd name="T51" fmla="*/ 2147483647 h 120"/>
                <a:gd name="T52" fmla="*/ 2147483647 w 252"/>
                <a:gd name="T53" fmla="*/ 2147483647 h 120"/>
                <a:gd name="T54" fmla="*/ 2147483647 w 252"/>
                <a:gd name="T55" fmla="*/ 2147483647 h 120"/>
                <a:gd name="T56" fmla="*/ 2147483647 w 252"/>
                <a:gd name="T57" fmla="*/ 2147483647 h 120"/>
                <a:gd name="T58" fmla="*/ 2147483647 w 252"/>
                <a:gd name="T59" fmla="*/ 2147483647 h 120"/>
                <a:gd name="T60" fmla="*/ 2147483647 w 252"/>
                <a:gd name="T61" fmla="*/ 2147483647 h 120"/>
                <a:gd name="T62" fmla="*/ 2147483647 w 252"/>
                <a:gd name="T63" fmla="*/ 2147483647 h 120"/>
                <a:gd name="T64" fmla="*/ 0 w 252"/>
                <a:gd name="T65" fmla="*/ 2147483647 h 1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52"/>
                <a:gd name="T100" fmla="*/ 0 h 120"/>
                <a:gd name="T101" fmla="*/ 252 w 252"/>
                <a:gd name="T102" fmla="*/ 120 h 1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52" h="120">
                  <a:moveTo>
                    <a:pt x="228" y="0"/>
                  </a:moveTo>
                  <a:lnTo>
                    <a:pt x="204" y="24"/>
                  </a:lnTo>
                  <a:lnTo>
                    <a:pt x="114" y="24"/>
                  </a:lnTo>
                  <a:lnTo>
                    <a:pt x="108" y="30"/>
                  </a:lnTo>
                  <a:lnTo>
                    <a:pt x="102" y="42"/>
                  </a:lnTo>
                  <a:lnTo>
                    <a:pt x="96" y="48"/>
                  </a:lnTo>
                  <a:lnTo>
                    <a:pt x="90" y="48"/>
                  </a:lnTo>
                  <a:lnTo>
                    <a:pt x="78" y="54"/>
                  </a:lnTo>
                  <a:lnTo>
                    <a:pt x="90" y="72"/>
                  </a:lnTo>
                  <a:lnTo>
                    <a:pt x="84" y="78"/>
                  </a:lnTo>
                  <a:lnTo>
                    <a:pt x="72" y="102"/>
                  </a:lnTo>
                  <a:lnTo>
                    <a:pt x="72" y="114"/>
                  </a:lnTo>
                  <a:lnTo>
                    <a:pt x="78" y="120"/>
                  </a:lnTo>
                  <a:lnTo>
                    <a:pt x="78" y="114"/>
                  </a:lnTo>
                  <a:lnTo>
                    <a:pt x="84" y="108"/>
                  </a:lnTo>
                  <a:lnTo>
                    <a:pt x="96" y="108"/>
                  </a:lnTo>
                  <a:lnTo>
                    <a:pt x="132" y="84"/>
                  </a:lnTo>
                  <a:lnTo>
                    <a:pt x="138" y="90"/>
                  </a:lnTo>
                  <a:lnTo>
                    <a:pt x="162" y="90"/>
                  </a:lnTo>
                  <a:lnTo>
                    <a:pt x="186" y="78"/>
                  </a:lnTo>
                  <a:lnTo>
                    <a:pt x="198" y="66"/>
                  </a:lnTo>
                  <a:lnTo>
                    <a:pt x="210" y="60"/>
                  </a:lnTo>
                  <a:lnTo>
                    <a:pt x="252" y="18"/>
                  </a:lnTo>
                  <a:lnTo>
                    <a:pt x="228" y="0"/>
                  </a:lnTo>
                  <a:close/>
                  <a:moveTo>
                    <a:pt x="0" y="90"/>
                  </a:moveTo>
                  <a:lnTo>
                    <a:pt x="6" y="102"/>
                  </a:lnTo>
                  <a:lnTo>
                    <a:pt x="18" y="96"/>
                  </a:lnTo>
                  <a:lnTo>
                    <a:pt x="24" y="90"/>
                  </a:lnTo>
                  <a:lnTo>
                    <a:pt x="36" y="90"/>
                  </a:lnTo>
                  <a:lnTo>
                    <a:pt x="36" y="84"/>
                  </a:lnTo>
                  <a:lnTo>
                    <a:pt x="42" y="72"/>
                  </a:lnTo>
                  <a:lnTo>
                    <a:pt x="18" y="72"/>
                  </a:lnTo>
                  <a:lnTo>
                    <a:pt x="0" y="90"/>
                  </a:lnTo>
                  <a:close/>
                </a:path>
              </a:pathLst>
            </a:custGeom>
            <a:grp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205" name="Dominican Republic" descr="© INSCALE GmbH, 05.05.2010&#10;http://www.presentationload.com/">
              <a:extLst>
                <a:ext uri="{FF2B5EF4-FFF2-40B4-BE49-F238E27FC236}">
                  <a16:creationId xmlns:a16="http://schemas.microsoft.com/office/drawing/2014/main" id="{1CDB5A9A-448A-67A8-12EC-D5AB06887C03}"/>
                </a:ext>
              </a:extLst>
            </p:cNvPr>
            <p:cNvSpPr>
              <a:spLocks/>
            </p:cNvSpPr>
            <p:nvPr/>
          </p:nvSpPr>
          <p:spPr bwMode="gray">
            <a:xfrm>
              <a:off x="2326096" y="2610703"/>
              <a:ext cx="94872" cy="63743"/>
            </a:xfrm>
            <a:custGeom>
              <a:avLst/>
              <a:gdLst>
                <a:gd name="T0" fmla="*/ 2147483647 w 252"/>
                <a:gd name="T1" fmla="*/ 2147483647 h 168"/>
                <a:gd name="T2" fmla="*/ 2147483647 w 252"/>
                <a:gd name="T3" fmla="*/ 2147483647 h 168"/>
                <a:gd name="T4" fmla="*/ 2147483647 w 252"/>
                <a:gd name="T5" fmla="*/ 2147483647 h 168"/>
                <a:gd name="T6" fmla="*/ 2147483647 w 252"/>
                <a:gd name="T7" fmla="*/ 2147483647 h 168"/>
                <a:gd name="T8" fmla="*/ 2147483647 w 252"/>
                <a:gd name="T9" fmla="*/ 2147483647 h 168"/>
                <a:gd name="T10" fmla="*/ 2147483647 w 252"/>
                <a:gd name="T11" fmla="*/ 2147483647 h 168"/>
                <a:gd name="T12" fmla="*/ 2147483647 w 252"/>
                <a:gd name="T13" fmla="*/ 2147483647 h 168"/>
                <a:gd name="T14" fmla="*/ 2147483647 w 252"/>
                <a:gd name="T15" fmla="*/ 2147483647 h 168"/>
                <a:gd name="T16" fmla="*/ 2147483647 w 252"/>
                <a:gd name="T17" fmla="*/ 2147483647 h 168"/>
                <a:gd name="T18" fmla="*/ 2147483647 w 252"/>
                <a:gd name="T19" fmla="*/ 2147483647 h 168"/>
                <a:gd name="T20" fmla="*/ 2147483647 w 252"/>
                <a:gd name="T21" fmla="*/ 0 h 168"/>
                <a:gd name="T22" fmla="*/ 2147483647 w 252"/>
                <a:gd name="T23" fmla="*/ 0 h 168"/>
                <a:gd name="T24" fmla="*/ 2147483647 w 252"/>
                <a:gd name="T25" fmla="*/ 2147483647 h 168"/>
                <a:gd name="T26" fmla="*/ 2147483647 w 252"/>
                <a:gd name="T27" fmla="*/ 2147483647 h 168"/>
                <a:gd name="T28" fmla="*/ 2147483647 w 252"/>
                <a:gd name="T29" fmla="*/ 2147483647 h 168"/>
                <a:gd name="T30" fmla="*/ 2147483647 w 252"/>
                <a:gd name="T31" fmla="*/ 2147483647 h 168"/>
                <a:gd name="T32" fmla="*/ 2147483647 w 252"/>
                <a:gd name="T33" fmla="*/ 2147483647 h 168"/>
                <a:gd name="T34" fmla="*/ 2147483647 w 252"/>
                <a:gd name="T35" fmla="*/ 2147483647 h 168"/>
                <a:gd name="T36" fmla="*/ 2147483647 w 252"/>
                <a:gd name="T37" fmla="*/ 2147483647 h 168"/>
                <a:gd name="T38" fmla="*/ 2147483647 w 252"/>
                <a:gd name="T39" fmla="*/ 2147483647 h 168"/>
                <a:gd name="T40" fmla="*/ 2147483647 w 252"/>
                <a:gd name="T41" fmla="*/ 2147483647 h 168"/>
                <a:gd name="T42" fmla="*/ 0 w 252"/>
                <a:gd name="T43" fmla="*/ 2147483647 h 168"/>
                <a:gd name="T44" fmla="*/ 0 w 252"/>
                <a:gd name="T45" fmla="*/ 2147483647 h 168"/>
                <a:gd name="T46" fmla="*/ 2147483647 w 252"/>
                <a:gd name="T47" fmla="*/ 2147483647 h 168"/>
                <a:gd name="T48" fmla="*/ 0 w 252"/>
                <a:gd name="T49" fmla="*/ 2147483647 h 168"/>
                <a:gd name="T50" fmla="*/ 2147483647 w 252"/>
                <a:gd name="T51" fmla="*/ 2147483647 h 168"/>
                <a:gd name="T52" fmla="*/ 2147483647 w 252"/>
                <a:gd name="T53" fmla="*/ 2147483647 h 168"/>
                <a:gd name="T54" fmla="*/ 2147483647 w 252"/>
                <a:gd name="T55" fmla="*/ 2147483647 h 168"/>
                <a:gd name="T56" fmla="*/ 2147483647 w 252"/>
                <a:gd name="T57" fmla="*/ 2147483647 h 168"/>
                <a:gd name="T58" fmla="*/ 2147483647 w 252"/>
                <a:gd name="T59" fmla="*/ 2147483647 h 168"/>
                <a:gd name="T60" fmla="*/ 2147483647 w 252"/>
                <a:gd name="T61" fmla="*/ 2147483647 h 168"/>
                <a:gd name="T62" fmla="*/ 2147483647 w 252"/>
                <a:gd name="T63" fmla="*/ 2147483647 h 168"/>
                <a:gd name="T64" fmla="*/ 2147483647 w 252"/>
                <a:gd name="T65" fmla="*/ 2147483647 h 168"/>
                <a:gd name="T66" fmla="*/ 2147483647 w 252"/>
                <a:gd name="T67" fmla="*/ 2147483647 h 16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52"/>
                <a:gd name="T103" fmla="*/ 0 h 168"/>
                <a:gd name="T104" fmla="*/ 252 w 252"/>
                <a:gd name="T105" fmla="*/ 168 h 16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52" h="168">
                  <a:moveTo>
                    <a:pt x="246" y="102"/>
                  </a:moveTo>
                  <a:lnTo>
                    <a:pt x="234" y="96"/>
                  </a:lnTo>
                  <a:lnTo>
                    <a:pt x="216" y="78"/>
                  </a:lnTo>
                  <a:lnTo>
                    <a:pt x="192" y="66"/>
                  </a:lnTo>
                  <a:lnTo>
                    <a:pt x="156" y="54"/>
                  </a:lnTo>
                  <a:lnTo>
                    <a:pt x="132" y="42"/>
                  </a:lnTo>
                  <a:lnTo>
                    <a:pt x="126" y="30"/>
                  </a:lnTo>
                  <a:lnTo>
                    <a:pt x="108" y="12"/>
                  </a:lnTo>
                  <a:lnTo>
                    <a:pt x="96" y="6"/>
                  </a:lnTo>
                  <a:lnTo>
                    <a:pt x="84" y="6"/>
                  </a:lnTo>
                  <a:lnTo>
                    <a:pt x="60" y="0"/>
                  </a:lnTo>
                  <a:lnTo>
                    <a:pt x="30" y="0"/>
                  </a:lnTo>
                  <a:lnTo>
                    <a:pt x="24" y="6"/>
                  </a:lnTo>
                  <a:lnTo>
                    <a:pt x="18" y="6"/>
                  </a:lnTo>
                  <a:lnTo>
                    <a:pt x="30" y="42"/>
                  </a:lnTo>
                  <a:lnTo>
                    <a:pt x="30" y="54"/>
                  </a:lnTo>
                  <a:lnTo>
                    <a:pt x="24" y="60"/>
                  </a:lnTo>
                  <a:lnTo>
                    <a:pt x="18" y="72"/>
                  </a:lnTo>
                  <a:lnTo>
                    <a:pt x="12" y="78"/>
                  </a:lnTo>
                  <a:lnTo>
                    <a:pt x="12" y="90"/>
                  </a:lnTo>
                  <a:lnTo>
                    <a:pt x="6" y="102"/>
                  </a:lnTo>
                  <a:lnTo>
                    <a:pt x="0" y="108"/>
                  </a:lnTo>
                  <a:lnTo>
                    <a:pt x="0" y="114"/>
                  </a:lnTo>
                  <a:lnTo>
                    <a:pt x="12" y="144"/>
                  </a:lnTo>
                  <a:lnTo>
                    <a:pt x="0" y="126"/>
                  </a:lnTo>
                  <a:lnTo>
                    <a:pt x="30" y="168"/>
                  </a:lnTo>
                  <a:lnTo>
                    <a:pt x="78" y="132"/>
                  </a:lnTo>
                  <a:lnTo>
                    <a:pt x="174" y="132"/>
                  </a:lnTo>
                  <a:lnTo>
                    <a:pt x="186" y="138"/>
                  </a:lnTo>
                  <a:lnTo>
                    <a:pt x="240" y="138"/>
                  </a:lnTo>
                  <a:lnTo>
                    <a:pt x="246" y="132"/>
                  </a:lnTo>
                  <a:lnTo>
                    <a:pt x="252" y="120"/>
                  </a:lnTo>
                  <a:lnTo>
                    <a:pt x="252" y="114"/>
                  </a:lnTo>
                  <a:lnTo>
                    <a:pt x="246" y="102"/>
                  </a:lnTo>
                  <a:close/>
                </a:path>
              </a:pathLst>
            </a:custGeom>
            <a:grp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206" name="Djibouti" descr="© INSCALE GmbH, 05.05.2010&#10;http://www.presentationload.com/">
              <a:extLst>
                <a:ext uri="{FF2B5EF4-FFF2-40B4-BE49-F238E27FC236}">
                  <a16:creationId xmlns:a16="http://schemas.microsoft.com/office/drawing/2014/main" id="{02E6D72A-9674-9431-1758-2B7CC0C25378}"/>
                </a:ext>
              </a:extLst>
            </p:cNvPr>
            <p:cNvSpPr>
              <a:spLocks/>
            </p:cNvSpPr>
            <p:nvPr/>
          </p:nvSpPr>
          <p:spPr bwMode="gray">
            <a:xfrm>
              <a:off x="5354583" y="2831578"/>
              <a:ext cx="44471" cy="51884"/>
            </a:xfrm>
            <a:custGeom>
              <a:avLst/>
              <a:gdLst>
                <a:gd name="T0" fmla="*/ 2147483647 w 114"/>
                <a:gd name="T1" fmla="*/ 2147483647 h 138"/>
                <a:gd name="T2" fmla="*/ 2147483647 w 114"/>
                <a:gd name="T3" fmla="*/ 2147483647 h 138"/>
                <a:gd name="T4" fmla="*/ 2147483647 w 114"/>
                <a:gd name="T5" fmla="*/ 2147483647 h 138"/>
                <a:gd name="T6" fmla="*/ 0 w 114"/>
                <a:gd name="T7" fmla="*/ 2147483647 h 138"/>
                <a:gd name="T8" fmla="*/ 0 w 114"/>
                <a:gd name="T9" fmla="*/ 2147483647 h 138"/>
                <a:gd name="T10" fmla="*/ 2147483647 w 114"/>
                <a:gd name="T11" fmla="*/ 2147483647 h 138"/>
                <a:gd name="T12" fmla="*/ 2147483647 w 114"/>
                <a:gd name="T13" fmla="*/ 2147483647 h 138"/>
                <a:gd name="T14" fmla="*/ 2147483647 w 114"/>
                <a:gd name="T15" fmla="*/ 2147483647 h 138"/>
                <a:gd name="T16" fmla="*/ 2147483647 w 114"/>
                <a:gd name="T17" fmla="*/ 2147483647 h 138"/>
                <a:gd name="T18" fmla="*/ 2147483647 w 114"/>
                <a:gd name="T19" fmla="*/ 2147483647 h 138"/>
                <a:gd name="T20" fmla="*/ 2147483647 w 114"/>
                <a:gd name="T21" fmla="*/ 2147483647 h 138"/>
                <a:gd name="T22" fmla="*/ 2147483647 w 114"/>
                <a:gd name="T23" fmla="*/ 2147483647 h 138"/>
                <a:gd name="T24" fmla="*/ 2147483647 w 114"/>
                <a:gd name="T25" fmla="*/ 2147483647 h 138"/>
                <a:gd name="T26" fmla="*/ 2147483647 w 114"/>
                <a:gd name="T27" fmla="*/ 2147483647 h 138"/>
                <a:gd name="T28" fmla="*/ 2147483647 w 114"/>
                <a:gd name="T29" fmla="*/ 2147483647 h 138"/>
                <a:gd name="T30" fmla="*/ 2147483647 w 114"/>
                <a:gd name="T31" fmla="*/ 2147483647 h 138"/>
                <a:gd name="T32" fmla="*/ 2147483647 w 114"/>
                <a:gd name="T33" fmla="*/ 2147483647 h 138"/>
                <a:gd name="T34" fmla="*/ 2147483647 w 114"/>
                <a:gd name="T35" fmla="*/ 2147483647 h 138"/>
                <a:gd name="T36" fmla="*/ 2147483647 w 114"/>
                <a:gd name="T37" fmla="*/ 2147483647 h 138"/>
                <a:gd name="T38" fmla="*/ 2147483647 w 114"/>
                <a:gd name="T39" fmla="*/ 2147483647 h 138"/>
                <a:gd name="T40" fmla="*/ 2147483647 w 114"/>
                <a:gd name="T41" fmla="*/ 2147483647 h 138"/>
                <a:gd name="T42" fmla="*/ 2147483647 w 114"/>
                <a:gd name="T43" fmla="*/ 2147483647 h 138"/>
                <a:gd name="T44" fmla="*/ 2147483647 w 114"/>
                <a:gd name="T45" fmla="*/ 2147483647 h 138"/>
                <a:gd name="T46" fmla="*/ 2147483647 w 114"/>
                <a:gd name="T47" fmla="*/ 2147483647 h 138"/>
                <a:gd name="T48" fmla="*/ 2147483647 w 114"/>
                <a:gd name="T49" fmla="*/ 2147483647 h 138"/>
                <a:gd name="T50" fmla="*/ 2147483647 w 114"/>
                <a:gd name="T51" fmla="*/ 2147483647 h 138"/>
                <a:gd name="T52" fmla="*/ 2147483647 w 114"/>
                <a:gd name="T53" fmla="*/ 2147483647 h 138"/>
                <a:gd name="T54" fmla="*/ 2147483647 w 114"/>
                <a:gd name="T55" fmla="*/ 0 h 138"/>
                <a:gd name="T56" fmla="*/ 2147483647 w 114"/>
                <a:gd name="T57" fmla="*/ 2147483647 h 138"/>
                <a:gd name="T58" fmla="*/ 2147483647 w 114"/>
                <a:gd name="T59" fmla="*/ 2147483647 h 13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14"/>
                <a:gd name="T91" fmla="*/ 0 h 138"/>
                <a:gd name="T92" fmla="*/ 114 w 114"/>
                <a:gd name="T93" fmla="*/ 138 h 13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14" h="138">
                  <a:moveTo>
                    <a:pt x="72" y="24"/>
                  </a:moveTo>
                  <a:lnTo>
                    <a:pt x="48" y="12"/>
                  </a:lnTo>
                  <a:lnTo>
                    <a:pt x="18" y="66"/>
                  </a:lnTo>
                  <a:lnTo>
                    <a:pt x="0" y="84"/>
                  </a:lnTo>
                  <a:lnTo>
                    <a:pt x="0" y="96"/>
                  </a:lnTo>
                  <a:lnTo>
                    <a:pt x="6" y="114"/>
                  </a:lnTo>
                  <a:lnTo>
                    <a:pt x="6" y="126"/>
                  </a:lnTo>
                  <a:lnTo>
                    <a:pt x="18" y="138"/>
                  </a:lnTo>
                  <a:lnTo>
                    <a:pt x="42" y="138"/>
                  </a:lnTo>
                  <a:lnTo>
                    <a:pt x="48" y="132"/>
                  </a:lnTo>
                  <a:lnTo>
                    <a:pt x="54" y="132"/>
                  </a:lnTo>
                  <a:lnTo>
                    <a:pt x="60" y="126"/>
                  </a:lnTo>
                  <a:lnTo>
                    <a:pt x="72" y="126"/>
                  </a:lnTo>
                  <a:lnTo>
                    <a:pt x="84" y="132"/>
                  </a:lnTo>
                  <a:lnTo>
                    <a:pt x="90" y="138"/>
                  </a:lnTo>
                  <a:lnTo>
                    <a:pt x="90" y="132"/>
                  </a:lnTo>
                  <a:lnTo>
                    <a:pt x="114" y="108"/>
                  </a:lnTo>
                  <a:lnTo>
                    <a:pt x="114" y="102"/>
                  </a:lnTo>
                  <a:lnTo>
                    <a:pt x="102" y="90"/>
                  </a:lnTo>
                  <a:lnTo>
                    <a:pt x="66" y="90"/>
                  </a:lnTo>
                  <a:lnTo>
                    <a:pt x="78" y="84"/>
                  </a:lnTo>
                  <a:lnTo>
                    <a:pt x="84" y="72"/>
                  </a:lnTo>
                  <a:lnTo>
                    <a:pt x="96" y="66"/>
                  </a:lnTo>
                  <a:lnTo>
                    <a:pt x="102" y="54"/>
                  </a:lnTo>
                  <a:lnTo>
                    <a:pt x="114" y="42"/>
                  </a:lnTo>
                  <a:lnTo>
                    <a:pt x="114" y="24"/>
                  </a:lnTo>
                  <a:lnTo>
                    <a:pt x="108" y="12"/>
                  </a:lnTo>
                  <a:lnTo>
                    <a:pt x="96" y="0"/>
                  </a:lnTo>
                  <a:lnTo>
                    <a:pt x="84" y="6"/>
                  </a:lnTo>
                  <a:lnTo>
                    <a:pt x="72" y="24"/>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207" name="Denmark" descr="© INSCALE GmbH, 05.05.2010&#10;http://www.presentationload.com/">
              <a:extLst>
                <a:ext uri="{FF2B5EF4-FFF2-40B4-BE49-F238E27FC236}">
                  <a16:creationId xmlns:a16="http://schemas.microsoft.com/office/drawing/2014/main" id="{A196F589-3734-4447-1791-0AB233C8B46C}"/>
                </a:ext>
              </a:extLst>
            </p:cNvPr>
            <p:cNvSpPr>
              <a:spLocks noEditPoints="1"/>
            </p:cNvSpPr>
            <p:nvPr/>
          </p:nvSpPr>
          <p:spPr bwMode="gray">
            <a:xfrm>
              <a:off x="4460712" y="1475202"/>
              <a:ext cx="105249" cy="88942"/>
            </a:xfrm>
            <a:custGeom>
              <a:avLst/>
              <a:gdLst>
                <a:gd name="T0" fmla="*/ 2147483647 w 71"/>
                <a:gd name="T1" fmla="*/ 2147483647 h 60"/>
                <a:gd name="T2" fmla="*/ 2147483647 w 71"/>
                <a:gd name="T3" fmla="*/ 2147483647 h 60"/>
                <a:gd name="T4" fmla="*/ 2147483647 w 71"/>
                <a:gd name="T5" fmla="*/ 2147483647 h 60"/>
                <a:gd name="T6" fmla="*/ 2147483647 w 71"/>
                <a:gd name="T7" fmla="*/ 2147483647 h 60"/>
                <a:gd name="T8" fmla="*/ 2147483647 w 71"/>
                <a:gd name="T9" fmla="*/ 2147483647 h 60"/>
                <a:gd name="T10" fmla="*/ 2147483647 w 71"/>
                <a:gd name="T11" fmla="*/ 2147483647 h 60"/>
                <a:gd name="T12" fmla="*/ 2147483647 w 71"/>
                <a:gd name="T13" fmla="*/ 2147483647 h 60"/>
                <a:gd name="T14" fmla="*/ 2147483647 w 71"/>
                <a:gd name="T15" fmla="*/ 2147483647 h 60"/>
                <a:gd name="T16" fmla="*/ 2147483647 w 71"/>
                <a:gd name="T17" fmla="*/ 2147483647 h 60"/>
                <a:gd name="T18" fmla="*/ 2147483647 w 71"/>
                <a:gd name="T19" fmla="*/ 2147483647 h 60"/>
                <a:gd name="T20" fmla="*/ 2147483647 w 71"/>
                <a:gd name="T21" fmla="*/ 2147483647 h 60"/>
                <a:gd name="T22" fmla="*/ 2147483647 w 71"/>
                <a:gd name="T23" fmla="*/ 2147483647 h 60"/>
                <a:gd name="T24" fmla="*/ 2147483647 w 71"/>
                <a:gd name="T25" fmla="*/ 2147483647 h 60"/>
                <a:gd name="T26" fmla="*/ 2147483647 w 71"/>
                <a:gd name="T27" fmla="*/ 2147483647 h 60"/>
                <a:gd name="T28" fmla="*/ 2147483647 w 71"/>
                <a:gd name="T29" fmla="*/ 2147483647 h 60"/>
                <a:gd name="T30" fmla="*/ 2147483647 w 71"/>
                <a:gd name="T31" fmla="*/ 2147483647 h 60"/>
                <a:gd name="T32" fmla="*/ 2147483647 w 71"/>
                <a:gd name="T33" fmla="*/ 2147483647 h 60"/>
                <a:gd name="T34" fmla="*/ 2147483647 w 71"/>
                <a:gd name="T35" fmla="*/ 2147483647 h 60"/>
                <a:gd name="T36" fmla="*/ 2147483647 w 71"/>
                <a:gd name="T37" fmla="*/ 2147483647 h 60"/>
                <a:gd name="T38" fmla="*/ 2147483647 w 71"/>
                <a:gd name="T39" fmla="*/ 2147483647 h 60"/>
                <a:gd name="T40" fmla="*/ 2147483647 w 71"/>
                <a:gd name="T41" fmla="*/ 2147483647 h 60"/>
                <a:gd name="T42" fmla="*/ 2147483647 w 71"/>
                <a:gd name="T43" fmla="*/ 2147483647 h 60"/>
                <a:gd name="T44" fmla="*/ 2147483647 w 71"/>
                <a:gd name="T45" fmla="*/ 2147483647 h 60"/>
                <a:gd name="T46" fmla="*/ 2147483647 w 71"/>
                <a:gd name="T47" fmla="*/ 2147483647 h 60"/>
                <a:gd name="T48" fmla="*/ 2147483647 w 71"/>
                <a:gd name="T49" fmla="*/ 2147483647 h 60"/>
                <a:gd name="T50" fmla="*/ 2147483647 w 71"/>
                <a:gd name="T51" fmla="*/ 2147483647 h 60"/>
                <a:gd name="T52" fmla="*/ 2147483647 w 71"/>
                <a:gd name="T53" fmla="*/ 2147483647 h 60"/>
                <a:gd name="T54" fmla="*/ 2147483647 w 71"/>
                <a:gd name="T55" fmla="*/ 2147483647 h 60"/>
                <a:gd name="T56" fmla="*/ 2147483647 w 71"/>
                <a:gd name="T57" fmla="*/ 2147483647 h 60"/>
                <a:gd name="T58" fmla="*/ 2147483647 w 71"/>
                <a:gd name="T59" fmla="*/ 2147483647 h 60"/>
                <a:gd name="T60" fmla="*/ 2147483647 w 71"/>
                <a:gd name="T61" fmla="*/ 2147483647 h 60"/>
                <a:gd name="T62" fmla="*/ 2147483647 w 71"/>
                <a:gd name="T63" fmla="*/ 0 h 60"/>
                <a:gd name="T64" fmla="*/ 2147483647 w 71"/>
                <a:gd name="T65" fmla="*/ 2147483647 h 60"/>
                <a:gd name="T66" fmla="*/ 2147483647 w 71"/>
                <a:gd name="T67" fmla="*/ 2147483647 h 60"/>
                <a:gd name="T68" fmla="*/ 2147483647 w 71"/>
                <a:gd name="T69" fmla="*/ 2147483647 h 60"/>
                <a:gd name="T70" fmla="*/ 2147483647 w 71"/>
                <a:gd name="T71" fmla="*/ 2147483647 h 60"/>
                <a:gd name="T72" fmla="*/ 2147483647 w 71"/>
                <a:gd name="T73" fmla="*/ 2147483647 h 60"/>
                <a:gd name="T74" fmla="*/ 2147483647 w 71"/>
                <a:gd name="T75" fmla="*/ 2147483647 h 60"/>
                <a:gd name="T76" fmla="*/ 2147483647 w 71"/>
                <a:gd name="T77" fmla="*/ 2147483647 h 60"/>
                <a:gd name="T78" fmla="*/ 2147483647 w 71"/>
                <a:gd name="T79" fmla="*/ 2147483647 h 60"/>
                <a:gd name="T80" fmla="*/ 2147483647 w 71"/>
                <a:gd name="T81" fmla="*/ 2147483647 h 60"/>
                <a:gd name="T82" fmla="*/ 0 w 71"/>
                <a:gd name="T83" fmla="*/ 2147483647 h 60"/>
                <a:gd name="T84" fmla="*/ 0 w 71"/>
                <a:gd name="T85" fmla="*/ 2147483647 h 60"/>
                <a:gd name="T86" fmla="*/ 2147483647 w 71"/>
                <a:gd name="T87" fmla="*/ 2147483647 h 60"/>
                <a:gd name="T88" fmla="*/ 2147483647 w 71"/>
                <a:gd name="T89" fmla="*/ 2147483647 h 60"/>
                <a:gd name="T90" fmla="*/ 2147483647 w 71"/>
                <a:gd name="T91" fmla="*/ 2147483647 h 60"/>
                <a:gd name="T92" fmla="*/ 2147483647 w 71"/>
                <a:gd name="T93" fmla="*/ 2147483647 h 60"/>
                <a:gd name="T94" fmla="*/ 2147483647 w 71"/>
                <a:gd name="T95" fmla="*/ 2147483647 h 60"/>
                <a:gd name="T96" fmla="*/ 2147483647 w 71"/>
                <a:gd name="T97" fmla="*/ 2147483647 h 60"/>
                <a:gd name="T98" fmla="*/ 2147483647 w 71"/>
                <a:gd name="T99" fmla="*/ 2147483647 h 60"/>
                <a:gd name="T100" fmla="*/ 2147483647 w 71"/>
                <a:gd name="T101" fmla="*/ 2147483647 h 60"/>
                <a:gd name="T102" fmla="*/ 2147483647 w 71"/>
                <a:gd name="T103" fmla="*/ 2147483647 h 60"/>
                <a:gd name="T104" fmla="*/ 2147483647 w 71"/>
                <a:gd name="T105" fmla="*/ 2147483647 h 60"/>
                <a:gd name="T106" fmla="*/ 2147483647 w 71"/>
                <a:gd name="T107" fmla="*/ 2147483647 h 60"/>
                <a:gd name="T108" fmla="*/ 2147483647 w 71"/>
                <a:gd name="T109" fmla="*/ 2147483647 h 60"/>
                <a:gd name="T110" fmla="*/ 2147483647 w 71"/>
                <a:gd name="T111" fmla="*/ 2147483647 h 60"/>
                <a:gd name="T112" fmla="*/ 2147483647 w 71"/>
                <a:gd name="T113" fmla="*/ 2147483647 h 60"/>
                <a:gd name="T114" fmla="*/ 2147483647 w 71"/>
                <a:gd name="T115" fmla="*/ 2147483647 h 60"/>
                <a:gd name="T116" fmla="*/ 2147483647 w 71"/>
                <a:gd name="T117" fmla="*/ 2147483647 h 60"/>
                <a:gd name="T118" fmla="*/ 2147483647 w 71"/>
                <a:gd name="T119" fmla="*/ 2147483647 h 60"/>
                <a:gd name="T120" fmla="*/ 2147483647 w 71"/>
                <a:gd name="T121" fmla="*/ 2147483647 h 6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1"/>
                <a:gd name="T184" fmla="*/ 0 h 60"/>
                <a:gd name="T185" fmla="*/ 71 w 71"/>
                <a:gd name="T186" fmla="*/ 60 h 6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1" h="60">
                  <a:moveTo>
                    <a:pt x="62" y="48"/>
                  </a:moveTo>
                  <a:lnTo>
                    <a:pt x="67" y="46"/>
                  </a:lnTo>
                  <a:lnTo>
                    <a:pt x="69" y="46"/>
                  </a:lnTo>
                  <a:lnTo>
                    <a:pt x="69" y="43"/>
                  </a:lnTo>
                  <a:lnTo>
                    <a:pt x="67" y="43"/>
                  </a:lnTo>
                  <a:lnTo>
                    <a:pt x="62" y="41"/>
                  </a:lnTo>
                  <a:lnTo>
                    <a:pt x="62" y="38"/>
                  </a:lnTo>
                  <a:lnTo>
                    <a:pt x="64" y="38"/>
                  </a:lnTo>
                  <a:lnTo>
                    <a:pt x="64" y="36"/>
                  </a:lnTo>
                  <a:lnTo>
                    <a:pt x="67" y="34"/>
                  </a:lnTo>
                  <a:lnTo>
                    <a:pt x="67" y="29"/>
                  </a:lnTo>
                  <a:lnTo>
                    <a:pt x="64" y="29"/>
                  </a:lnTo>
                  <a:lnTo>
                    <a:pt x="62" y="29"/>
                  </a:lnTo>
                  <a:lnTo>
                    <a:pt x="60" y="31"/>
                  </a:lnTo>
                  <a:lnTo>
                    <a:pt x="60" y="34"/>
                  </a:lnTo>
                  <a:lnTo>
                    <a:pt x="57" y="36"/>
                  </a:lnTo>
                  <a:lnTo>
                    <a:pt x="57" y="34"/>
                  </a:lnTo>
                  <a:lnTo>
                    <a:pt x="55" y="31"/>
                  </a:lnTo>
                  <a:lnTo>
                    <a:pt x="52" y="34"/>
                  </a:lnTo>
                  <a:lnTo>
                    <a:pt x="45" y="38"/>
                  </a:lnTo>
                  <a:lnTo>
                    <a:pt x="48" y="38"/>
                  </a:lnTo>
                  <a:lnTo>
                    <a:pt x="50" y="41"/>
                  </a:lnTo>
                  <a:lnTo>
                    <a:pt x="50" y="43"/>
                  </a:lnTo>
                  <a:lnTo>
                    <a:pt x="50" y="46"/>
                  </a:lnTo>
                  <a:lnTo>
                    <a:pt x="50" y="48"/>
                  </a:lnTo>
                  <a:lnTo>
                    <a:pt x="48" y="48"/>
                  </a:lnTo>
                  <a:lnTo>
                    <a:pt x="50" y="48"/>
                  </a:lnTo>
                  <a:lnTo>
                    <a:pt x="50" y="50"/>
                  </a:lnTo>
                  <a:lnTo>
                    <a:pt x="55" y="50"/>
                  </a:lnTo>
                  <a:lnTo>
                    <a:pt x="55" y="48"/>
                  </a:lnTo>
                  <a:lnTo>
                    <a:pt x="57" y="48"/>
                  </a:lnTo>
                  <a:lnTo>
                    <a:pt x="57" y="50"/>
                  </a:lnTo>
                  <a:lnTo>
                    <a:pt x="60" y="53"/>
                  </a:lnTo>
                  <a:lnTo>
                    <a:pt x="60" y="55"/>
                  </a:lnTo>
                  <a:lnTo>
                    <a:pt x="62" y="55"/>
                  </a:lnTo>
                  <a:lnTo>
                    <a:pt x="62" y="53"/>
                  </a:lnTo>
                  <a:lnTo>
                    <a:pt x="62" y="48"/>
                  </a:lnTo>
                  <a:close/>
                  <a:moveTo>
                    <a:pt x="71" y="53"/>
                  </a:moveTo>
                  <a:lnTo>
                    <a:pt x="62" y="55"/>
                  </a:lnTo>
                  <a:lnTo>
                    <a:pt x="60" y="58"/>
                  </a:lnTo>
                  <a:lnTo>
                    <a:pt x="57" y="58"/>
                  </a:lnTo>
                  <a:lnTo>
                    <a:pt x="57" y="55"/>
                  </a:lnTo>
                  <a:lnTo>
                    <a:pt x="55" y="55"/>
                  </a:lnTo>
                  <a:lnTo>
                    <a:pt x="50" y="53"/>
                  </a:lnTo>
                  <a:lnTo>
                    <a:pt x="45" y="53"/>
                  </a:lnTo>
                  <a:lnTo>
                    <a:pt x="45" y="58"/>
                  </a:lnTo>
                  <a:lnTo>
                    <a:pt x="50" y="58"/>
                  </a:lnTo>
                  <a:lnTo>
                    <a:pt x="52" y="58"/>
                  </a:lnTo>
                  <a:lnTo>
                    <a:pt x="55" y="60"/>
                  </a:lnTo>
                  <a:lnTo>
                    <a:pt x="57" y="60"/>
                  </a:lnTo>
                  <a:lnTo>
                    <a:pt x="60" y="60"/>
                  </a:lnTo>
                  <a:lnTo>
                    <a:pt x="62" y="60"/>
                  </a:lnTo>
                  <a:lnTo>
                    <a:pt x="69" y="58"/>
                  </a:lnTo>
                  <a:lnTo>
                    <a:pt x="71" y="58"/>
                  </a:lnTo>
                  <a:lnTo>
                    <a:pt x="71" y="53"/>
                  </a:lnTo>
                  <a:close/>
                  <a:moveTo>
                    <a:pt x="31" y="12"/>
                  </a:moveTo>
                  <a:lnTo>
                    <a:pt x="36" y="7"/>
                  </a:lnTo>
                  <a:lnTo>
                    <a:pt x="36" y="3"/>
                  </a:lnTo>
                  <a:lnTo>
                    <a:pt x="36" y="0"/>
                  </a:lnTo>
                  <a:lnTo>
                    <a:pt x="26" y="0"/>
                  </a:lnTo>
                  <a:lnTo>
                    <a:pt x="26" y="3"/>
                  </a:lnTo>
                  <a:lnTo>
                    <a:pt x="21" y="7"/>
                  </a:lnTo>
                  <a:lnTo>
                    <a:pt x="21" y="10"/>
                  </a:lnTo>
                  <a:lnTo>
                    <a:pt x="19" y="10"/>
                  </a:lnTo>
                  <a:lnTo>
                    <a:pt x="19" y="19"/>
                  </a:lnTo>
                  <a:lnTo>
                    <a:pt x="14" y="14"/>
                  </a:lnTo>
                  <a:lnTo>
                    <a:pt x="12" y="7"/>
                  </a:lnTo>
                  <a:lnTo>
                    <a:pt x="7" y="10"/>
                  </a:lnTo>
                  <a:lnTo>
                    <a:pt x="5" y="10"/>
                  </a:lnTo>
                  <a:lnTo>
                    <a:pt x="5" y="12"/>
                  </a:lnTo>
                  <a:lnTo>
                    <a:pt x="5" y="14"/>
                  </a:lnTo>
                  <a:lnTo>
                    <a:pt x="7" y="14"/>
                  </a:lnTo>
                  <a:lnTo>
                    <a:pt x="12" y="19"/>
                  </a:lnTo>
                  <a:lnTo>
                    <a:pt x="12" y="22"/>
                  </a:lnTo>
                  <a:lnTo>
                    <a:pt x="5" y="19"/>
                  </a:lnTo>
                  <a:lnTo>
                    <a:pt x="2" y="24"/>
                  </a:lnTo>
                  <a:lnTo>
                    <a:pt x="0" y="24"/>
                  </a:lnTo>
                  <a:lnTo>
                    <a:pt x="0" y="29"/>
                  </a:lnTo>
                  <a:lnTo>
                    <a:pt x="0" y="31"/>
                  </a:lnTo>
                  <a:lnTo>
                    <a:pt x="5" y="34"/>
                  </a:lnTo>
                  <a:lnTo>
                    <a:pt x="7" y="34"/>
                  </a:lnTo>
                  <a:lnTo>
                    <a:pt x="2" y="38"/>
                  </a:lnTo>
                  <a:lnTo>
                    <a:pt x="2" y="41"/>
                  </a:lnTo>
                  <a:lnTo>
                    <a:pt x="5" y="43"/>
                  </a:lnTo>
                  <a:lnTo>
                    <a:pt x="7" y="43"/>
                  </a:lnTo>
                  <a:lnTo>
                    <a:pt x="7" y="48"/>
                  </a:lnTo>
                  <a:lnTo>
                    <a:pt x="5" y="53"/>
                  </a:lnTo>
                  <a:lnTo>
                    <a:pt x="7" y="53"/>
                  </a:lnTo>
                  <a:lnTo>
                    <a:pt x="17" y="53"/>
                  </a:lnTo>
                  <a:lnTo>
                    <a:pt x="17" y="55"/>
                  </a:lnTo>
                  <a:lnTo>
                    <a:pt x="24" y="55"/>
                  </a:lnTo>
                  <a:lnTo>
                    <a:pt x="26" y="58"/>
                  </a:lnTo>
                  <a:lnTo>
                    <a:pt x="26" y="55"/>
                  </a:lnTo>
                  <a:lnTo>
                    <a:pt x="24" y="53"/>
                  </a:lnTo>
                  <a:lnTo>
                    <a:pt x="24" y="48"/>
                  </a:lnTo>
                  <a:lnTo>
                    <a:pt x="26" y="43"/>
                  </a:lnTo>
                  <a:lnTo>
                    <a:pt x="24" y="41"/>
                  </a:lnTo>
                  <a:lnTo>
                    <a:pt x="24" y="38"/>
                  </a:lnTo>
                  <a:lnTo>
                    <a:pt x="21" y="38"/>
                  </a:lnTo>
                  <a:lnTo>
                    <a:pt x="24" y="38"/>
                  </a:lnTo>
                  <a:lnTo>
                    <a:pt x="31" y="34"/>
                  </a:lnTo>
                  <a:lnTo>
                    <a:pt x="33" y="26"/>
                  </a:lnTo>
                  <a:lnTo>
                    <a:pt x="38" y="26"/>
                  </a:lnTo>
                  <a:lnTo>
                    <a:pt x="41" y="19"/>
                  </a:lnTo>
                  <a:lnTo>
                    <a:pt x="31" y="19"/>
                  </a:lnTo>
                  <a:lnTo>
                    <a:pt x="31" y="12"/>
                  </a:lnTo>
                  <a:close/>
                  <a:moveTo>
                    <a:pt x="29" y="38"/>
                  </a:moveTo>
                  <a:lnTo>
                    <a:pt x="31" y="48"/>
                  </a:lnTo>
                  <a:lnTo>
                    <a:pt x="36" y="53"/>
                  </a:lnTo>
                  <a:lnTo>
                    <a:pt x="38" y="46"/>
                  </a:lnTo>
                  <a:lnTo>
                    <a:pt x="33" y="41"/>
                  </a:lnTo>
                  <a:lnTo>
                    <a:pt x="29" y="38"/>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208" name="Czech Republic" descr="© INSCALE GmbH, 05.05.2010&#10;http://www.presentationload.com/">
              <a:extLst>
                <a:ext uri="{FF2B5EF4-FFF2-40B4-BE49-F238E27FC236}">
                  <a16:creationId xmlns:a16="http://schemas.microsoft.com/office/drawing/2014/main" id="{A0D58AFD-6E4A-3DA2-D448-B255E9B1764A}"/>
                </a:ext>
              </a:extLst>
            </p:cNvPr>
            <p:cNvSpPr>
              <a:spLocks/>
            </p:cNvSpPr>
            <p:nvPr/>
          </p:nvSpPr>
          <p:spPr bwMode="gray">
            <a:xfrm>
              <a:off x="4554101" y="1666429"/>
              <a:ext cx="171804" cy="77949"/>
            </a:xfrm>
            <a:custGeom>
              <a:avLst/>
              <a:gdLst>
                <a:gd name="T0" fmla="*/ 2147483647 w 420"/>
                <a:gd name="T1" fmla="*/ 2147483647 h 192"/>
                <a:gd name="T2" fmla="*/ 2147483647 w 420"/>
                <a:gd name="T3" fmla="*/ 2147483647 h 192"/>
                <a:gd name="T4" fmla="*/ 2147483647 w 420"/>
                <a:gd name="T5" fmla="*/ 2147483647 h 192"/>
                <a:gd name="T6" fmla="*/ 2147483647 w 420"/>
                <a:gd name="T7" fmla="*/ 2147483647 h 192"/>
                <a:gd name="T8" fmla="*/ 2147483647 w 420"/>
                <a:gd name="T9" fmla="*/ 2147483647 h 192"/>
                <a:gd name="T10" fmla="*/ 2147483647 w 420"/>
                <a:gd name="T11" fmla="*/ 2147483647 h 192"/>
                <a:gd name="T12" fmla="*/ 2147483647 w 420"/>
                <a:gd name="T13" fmla="*/ 2147483647 h 192"/>
                <a:gd name="T14" fmla="*/ 2147483647 w 420"/>
                <a:gd name="T15" fmla="*/ 2147483647 h 192"/>
                <a:gd name="T16" fmla="*/ 2147483647 w 420"/>
                <a:gd name="T17" fmla="*/ 2147483647 h 192"/>
                <a:gd name="T18" fmla="*/ 2147483647 w 420"/>
                <a:gd name="T19" fmla="*/ 2147483647 h 192"/>
                <a:gd name="T20" fmla="*/ 2147483647 w 420"/>
                <a:gd name="T21" fmla="*/ 2147483647 h 192"/>
                <a:gd name="T22" fmla="*/ 2147483647 w 420"/>
                <a:gd name="T23" fmla="*/ 2147483647 h 192"/>
                <a:gd name="T24" fmla="*/ 2147483647 w 420"/>
                <a:gd name="T25" fmla="*/ 2147483647 h 192"/>
                <a:gd name="T26" fmla="*/ 2147483647 w 420"/>
                <a:gd name="T27" fmla="*/ 2147483647 h 192"/>
                <a:gd name="T28" fmla="*/ 2147483647 w 420"/>
                <a:gd name="T29" fmla="*/ 0 h 192"/>
                <a:gd name="T30" fmla="*/ 2147483647 w 420"/>
                <a:gd name="T31" fmla="*/ 2147483647 h 192"/>
                <a:gd name="T32" fmla="*/ 2147483647 w 420"/>
                <a:gd name="T33" fmla="*/ 0 h 192"/>
                <a:gd name="T34" fmla="*/ 2147483647 w 420"/>
                <a:gd name="T35" fmla="*/ 2147483647 h 192"/>
                <a:gd name="T36" fmla="*/ 2147483647 w 420"/>
                <a:gd name="T37" fmla="*/ 2147483647 h 192"/>
                <a:gd name="T38" fmla="*/ 2147483647 w 420"/>
                <a:gd name="T39" fmla="*/ 2147483647 h 192"/>
                <a:gd name="T40" fmla="*/ 2147483647 w 420"/>
                <a:gd name="T41" fmla="*/ 2147483647 h 192"/>
                <a:gd name="T42" fmla="*/ 2147483647 w 420"/>
                <a:gd name="T43" fmla="*/ 2147483647 h 192"/>
                <a:gd name="T44" fmla="*/ 2147483647 w 420"/>
                <a:gd name="T45" fmla="*/ 2147483647 h 192"/>
                <a:gd name="T46" fmla="*/ 2147483647 w 420"/>
                <a:gd name="T47" fmla="*/ 2147483647 h 192"/>
                <a:gd name="T48" fmla="*/ 2147483647 w 420"/>
                <a:gd name="T49" fmla="*/ 2147483647 h 192"/>
                <a:gd name="T50" fmla="*/ 2147483647 w 420"/>
                <a:gd name="T51" fmla="*/ 2147483647 h 192"/>
                <a:gd name="T52" fmla="*/ 0 w 420"/>
                <a:gd name="T53" fmla="*/ 2147483647 h 192"/>
                <a:gd name="T54" fmla="*/ 2147483647 w 420"/>
                <a:gd name="T55" fmla="*/ 2147483647 h 192"/>
                <a:gd name="T56" fmla="*/ 2147483647 w 420"/>
                <a:gd name="T57" fmla="*/ 2147483647 h 192"/>
                <a:gd name="T58" fmla="*/ 2147483647 w 420"/>
                <a:gd name="T59" fmla="*/ 2147483647 h 192"/>
                <a:gd name="T60" fmla="*/ 2147483647 w 420"/>
                <a:gd name="T61" fmla="*/ 2147483647 h 192"/>
                <a:gd name="T62" fmla="*/ 2147483647 w 420"/>
                <a:gd name="T63" fmla="*/ 2147483647 h 192"/>
                <a:gd name="T64" fmla="*/ 2147483647 w 420"/>
                <a:gd name="T65" fmla="*/ 2147483647 h 192"/>
                <a:gd name="T66" fmla="*/ 2147483647 w 420"/>
                <a:gd name="T67" fmla="*/ 2147483647 h 192"/>
                <a:gd name="T68" fmla="*/ 2147483647 w 420"/>
                <a:gd name="T69" fmla="*/ 2147483647 h 192"/>
                <a:gd name="T70" fmla="*/ 2147483647 w 420"/>
                <a:gd name="T71" fmla="*/ 2147483647 h 192"/>
                <a:gd name="T72" fmla="*/ 2147483647 w 420"/>
                <a:gd name="T73" fmla="*/ 2147483647 h 192"/>
                <a:gd name="T74" fmla="*/ 2147483647 w 420"/>
                <a:gd name="T75" fmla="*/ 2147483647 h 192"/>
                <a:gd name="T76" fmla="*/ 2147483647 w 420"/>
                <a:gd name="T77" fmla="*/ 2147483647 h 192"/>
                <a:gd name="T78" fmla="*/ 2147483647 w 420"/>
                <a:gd name="T79" fmla="*/ 2147483647 h 192"/>
                <a:gd name="T80" fmla="*/ 2147483647 w 420"/>
                <a:gd name="T81" fmla="*/ 2147483647 h 192"/>
                <a:gd name="T82" fmla="*/ 2147483647 w 420"/>
                <a:gd name="T83" fmla="*/ 2147483647 h 192"/>
                <a:gd name="T84" fmla="*/ 2147483647 w 420"/>
                <a:gd name="T85" fmla="*/ 2147483647 h 192"/>
                <a:gd name="T86" fmla="*/ 2147483647 w 420"/>
                <a:gd name="T87" fmla="*/ 2147483647 h 192"/>
                <a:gd name="T88" fmla="*/ 2147483647 w 420"/>
                <a:gd name="T89" fmla="*/ 2147483647 h 192"/>
                <a:gd name="T90" fmla="*/ 2147483647 w 420"/>
                <a:gd name="T91" fmla="*/ 2147483647 h 192"/>
                <a:gd name="T92" fmla="*/ 2147483647 w 420"/>
                <a:gd name="T93" fmla="*/ 2147483647 h 192"/>
                <a:gd name="T94" fmla="*/ 2147483647 w 420"/>
                <a:gd name="T95" fmla="*/ 2147483647 h 192"/>
                <a:gd name="T96" fmla="*/ 2147483647 w 420"/>
                <a:gd name="T97" fmla="*/ 2147483647 h 192"/>
                <a:gd name="T98" fmla="*/ 2147483647 w 420"/>
                <a:gd name="T99" fmla="*/ 2147483647 h 192"/>
                <a:gd name="T100" fmla="*/ 2147483647 w 420"/>
                <a:gd name="T101" fmla="*/ 2147483647 h 192"/>
                <a:gd name="T102" fmla="*/ 2147483647 w 420"/>
                <a:gd name="T103" fmla="*/ 2147483647 h 192"/>
                <a:gd name="T104" fmla="*/ 2147483647 w 420"/>
                <a:gd name="T105" fmla="*/ 2147483647 h 19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20"/>
                <a:gd name="T160" fmla="*/ 0 h 192"/>
                <a:gd name="T161" fmla="*/ 420 w 420"/>
                <a:gd name="T162" fmla="*/ 192 h 19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20" h="192">
                  <a:moveTo>
                    <a:pt x="408" y="108"/>
                  </a:moveTo>
                  <a:lnTo>
                    <a:pt x="402" y="96"/>
                  </a:lnTo>
                  <a:lnTo>
                    <a:pt x="402" y="90"/>
                  </a:lnTo>
                  <a:lnTo>
                    <a:pt x="390" y="84"/>
                  </a:lnTo>
                  <a:lnTo>
                    <a:pt x="372" y="84"/>
                  </a:lnTo>
                  <a:lnTo>
                    <a:pt x="372" y="78"/>
                  </a:lnTo>
                  <a:lnTo>
                    <a:pt x="366" y="72"/>
                  </a:lnTo>
                  <a:lnTo>
                    <a:pt x="360" y="84"/>
                  </a:lnTo>
                  <a:lnTo>
                    <a:pt x="354" y="78"/>
                  </a:lnTo>
                  <a:lnTo>
                    <a:pt x="348" y="66"/>
                  </a:lnTo>
                  <a:lnTo>
                    <a:pt x="342" y="60"/>
                  </a:lnTo>
                  <a:lnTo>
                    <a:pt x="324" y="60"/>
                  </a:lnTo>
                  <a:lnTo>
                    <a:pt x="330" y="54"/>
                  </a:lnTo>
                  <a:lnTo>
                    <a:pt x="312" y="54"/>
                  </a:lnTo>
                  <a:lnTo>
                    <a:pt x="300" y="60"/>
                  </a:lnTo>
                  <a:lnTo>
                    <a:pt x="294" y="60"/>
                  </a:lnTo>
                  <a:lnTo>
                    <a:pt x="294" y="66"/>
                  </a:lnTo>
                  <a:lnTo>
                    <a:pt x="276" y="66"/>
                  </a:lnTo>
                  <a:lnTo>
                    <a:pt x="270" y="60"/>
                  </a:lnTo>
                  <a:lnTo>
                    <a:pt x="264" y="60"/>
                  </a:lnTo>
                  <a:lnTo>
                    <a:pt x="264" y="48"/>
                  </a:lnTo>
                  <a:lnTo>
                    <a:pt x="252" y="42"/>
                  </a:lnTo>
                  <a:lnTo>
                    <a:pt x="264" y="36"/>
                  </a:lnTo>
                  <a:lnTo>
                    <a:pt x="258" y="30"/>
                  </a:lnTo>
                  <a:lnTo>
                    <a:pt x="234" y="30"/>
                  </a:lnTo>
                  <a:lnTo>
                    <a:pt x="234" y="24"/>
                  </a:lnTo>
                  <a:lnTo>
                    <a:pt x="228" y="24"/>
                  </a:lnTo>
                  <a:lnTo>
                    <a:pt x="216" y="18"/>
                  </a:lnTo>
                  <a:lnTo>
                    <a:pt x="198" y="18"/>
                  </a:lnTo>
                  <a:lnTo>
                    <a:pt x="192" y="0"/>
                  </a:lnTo>
                  <a:lnTo>
                    <a:pt x="174" y="0"/>
                  </a:lnTo>
                  <a:lnTo>
                    <a:pt x="162" y="12"/>
                  </a:lnTo>
                  <a:lnTo>
                    <a:pt x="156" y="12"/>
                  </a:lnTo>
                  <a:lnTo>
                    <a:pt x="144" y="0"/>
                  </a:lnTo>
                  <a:lnTo>
                    <a:pt x="138" y="6"/>
                  </a:lnTo>
                  <a:lnTo>
                    <a:pt x="132" y="6"/>
                  </a:lnTo>
                  <a:lnTo>
                    <a:pt x="126" y="12"/>
                  </a:lnTo>
                  <a:lnTo>
                    <a:pt x="126" y="18"/>
                  </a:lnTo>
                  <a:lnTo>
                    <a:pt x="108" y="18"/>
                  </a:lnTo>
                  <a:lnTo>
                    <a:pt x="108" y="24"/>
                  </a:lnTo>
                  <a:lnTo>
                    <a:pt x="84" y="24"/>
                  </a:lnTo>
                  <a:lnTo>
                    <a:pt x="84" y="30"/>
                  </a:lnTo>
                  <a:lnTo>
                    <a:pt x="66" y="36"/>
                  </a:lnTo>
                  <a:lnTo>
                    <a:pt x="54" y="48"/>
                  </a:lnTo>
                  <a:lnTo>
                    <a:pt x="42" y="42"/>
                  </a:lnTo>
                  <a:lnTo>
                    <a:pt x="36" y="42"/>
                  </a:lnTo>
                  <a:lnTo>
                    <a:pt x="30" y="48"/>
                  </a:lnTo>
                  <a:lnTo>
                    <a:pt x="30" y="54"/>
                  </a:lnTo>
                  <a:lnTo>
                    <a:pt x="18" y="54"/>
                  </a:lnTo>
                  <a:lnTo>
                    <a:pt x="18" y="60"/>
                  </a:lnTo>
                  <a:lnTo>
                    <a:pt x="6" y="60"/>
                  </a:lnTo>
                  <a:lnTo>
                    <a:pt x="6" y="54"/>
                  </a:lnTo>
                  <a:lnTo>
                    <a:pt x="0" y="54"/>
                  </a:lnTo>
                  <a:lnTo>
                    <a:pt x="0" y="66"/>
                  </a:lnTo>
                  <a:lnTo>
                    <a:pt x="6" y="72"/>
                  </a:lnTo>
                  <a:lnTo>
                    <a:pt x="12" y="72"/>
                  </a:lnTo>
                  <a:lnTo>
                    <a:pt x="24" y="84"/>
                  </a:lnTo>
                  <a:lnTo>
                    <a:pt x="18" y="90"/>
                  </a:lnTo>
                  <a:lnTo>
                    <a:pt x="12" y="90"/>
                  </a:lnTo>
                  <a:lnTo>
                    <a:pt x="12" y="96"/>
                  </a:lnTo>
                  <a:lnTo>
                    <a:pt x="24" y="108"/>
                  </a:lnTo>
                  <a:lnTo>
                    <a:pt x="30" y="120"/>
                  </a:lnTo>
                  <a:lnTo>
                    <a:pt x="36" y="120"/>
                  </a:lnTo>
                  <a:lnTo>
                    <a:pt x="36" y="126"/>
                  </a:lnTo>
                  <a:lnTo>
                    <a:pt x="48" y="132"/>
                  </a:lnTo>
                  <a:lnTo>
                    <a:pt x="60" y="132"/>
                  </a:lnTo>
                  <a:lnTo>
                    <a:pt x="66" y="144"/>
                  </a:lnTo>
                  <a:lnTo>
                    <a:pt x="72" y="144"/>
                  </a:lnTo>
                  <a:lnTo>
                    <a:pt x="78" y="156"/>
                  </a:lnTo>
                  <a:lnTo>
                    <a:pt x="90" y="156"/>
                  </a:lnTo>
                  <a:lnTo>
                    <a:pt x="96" y="162"/>
                  </a:lnTo>
                  <a:lnTo>
                    <a:pt x="102" y="162"/>
                  </a:lnTo>
                  <a:lnTo>
                    <a:pt x="102" y="174"/>
                  </a:lnTo>
                  <a:lnTo>
                    <a:pt x="120" y="192"/>
                  </a:lnTo>
                  <a:lnTo>
                    <a:pt x="132" y="192"/>
                  </a:lnTo>
                  <a:lnTo>
                    <a:pt x="144" y="186"/>
                  </a:lnTo>
                  <a:lnTo>
                    <a:pt x="150" y="186"/>
                  </a:lnTo>
                  <a:lnTo>
                    <a:pt x="162" y="192"/>
                  </a:lnTo>
                  <a:lnTo>
                    <a:pt x="162" y="174"/>
                  </a:lnTo>
                  <a:lnTo>
                    <a:pt x="168" y="174"/>
                  </a:lnTo>
                  <a:lnTo>
                    <a:pt x="174" y="162"/>
                  </a:lnTo>
                  <a:lnTo>
                    <a:pt x="180" y="156"/>
                  </a:lnTo>
                  <a:lnTo>
                    <a:pt x="198" y="156"/>
                  </a:lnTo>
                  <a:lnTo>
                    <a:pt x="210" y="162"/>
                  </a:lnTo>
                  <a:lnTo>
                    <a:pt x="222" y="174"/>
                  </a:lnTo>
                  <a:lnTo>
                    <a:pt x="234" y="168"/>
                  </a:lnTo>
                  <a:lnTo>
                    <a:pt x="246" y="180"/>
                  </a:lnTo>
                  <a:lnTo>
                    <a:pt x="258" y="174"/>
                  </a:lnTo>
                  <a:lnTo>
                    <a:pt x="264" y="168"/>
                  </a:lnTo>
                  <a:lnTo>
                    <a:pt x="276" y="168"/>
                  </a:lnTo>
                  <a:lnTo>
                    <a:pt x="282" y="174"/>
                  </a:lnTo>
                  <a:lnTo>
                    <a:pt x="288" y="174"/>
                  </a:lnTo>
                  <a:lnTo>
                    <a:pt x="300" y="180"/>
                  </a:lnTo>
                  <a:lnTo>
                    <a:pt x="306" y="174"/>
                  </a:lnTo>
                  <a:lnTo>
                    <a:pt x="324" y="174"/>
                  </a:lnTo>
                  <a:lnTo>
                    <a:pt x="330" y="168"/>
                  </a:lnTo>
                  <a:lnTo>
                    <a:pt x="330" y="174"/>
                  </a:lnTo>
                  <a:lnTo>
                    <a:pt x="348" y="174"/>
                  </a:lnTo>
                  <a:lnTo>
                    <a:pt x="360" y="168"/>
                  </a:lnTo>
                  <a:lnTo>
                    <a:pt x="366" y="162"/>
                  </a:lnTo>
                  <a:lnTo>
                    <a:pt x="378" y="156"/>
                  </a:lnTo>
                  <a:lnTo>
                    <a:pt x="378" y="132"/>
                  </a:lnTo>
                  <a:lnTo>
                    <a:pt x="402" y="126"/>
                  </a:lnTo>
                  <a:lnTo>
                    <a:pt x="420" y="114"/>
                  </a:lnTo>
                  <a:lnTo>
                    <a:pt x="414" y="108"/>
                  </a:lnTo>
                  <a:lnTo>
                    <a:pt x="408" y="108"/>
                  </a:lnTo>
                  <a:close/>
                </a:path>
              </a:pathLst>
            </a:custGeom>
            <a:solidFill>
              <a:schemeClr val="accent1">
                <a:lumMod val="60000"/>
                <a:lumOff val="40000"/>
              </a:schemeClr>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209" name="Cyprus" descr="© INSCALE GmbH, 05.05.2010&#10;http://www.presentationload.com/">
              <a:extLst>
                <a:ext uri="{FF2B5EF4-FFF2-40B4-BE49-F238E27FC236}">
                  <a16:creationId xmlns:a16="http://schemas.microsoft.com/office/drawing/2014/main" id="{65B096F3-D69B-B5BA-6392-6774A74E5AAF}"/>
                </a:ext>
              </a:extLst>
            </p:cNvPr>
            <p:cNvSpPr>
              <a:spLocks/>
            </p:cNvSpPr>
            <p:nvPr/>
          </p:nvSpPr>
          <p:spPr bwMode="gray">
            <a:xfrm>
              <a:off x="5068484" y="2130414"/>
              <a:ext cx="56330" cy="32612"/>
            </a:xfrm>
            <a:custGeom>
              <a:avLst/>
              <a:gdLst>
                <a:gd name="T0" fmla="*/ 0 w 150"/>
                <a:gd name="T1" fmla="*/ 2147483647 h 84"/>
                <a:gd name="T2" fmla="*/ 2147483647 w 150"/>
                <a:gd name="T3" fmla="*/ 2147483647 h 84"/>
                <a:gd name="T4" fmla="*/ 2147483647 w 150"/>
                <a:gd name="T5" fmla="*/ 2147483647 h 84"/>
                <a:gd name="T6" fmla="*/ 2147483647 w 150"/>
                <a:gd name="T7" fmla="*/ 2147483647 h 84"/>
                <a:gd name="T8" fmla="*/ 2147483647 w 150"/>
                <a:gd name="T9" fmla="*/ 2147483647 h 84"/>
                <a:gd name="T10" fmla="*/ 2147483647 w 150"/>
                <a:gd name="T11" fmla="*/ 2147483647 h 84"/>
                <a:gd name="T12" fmla="*/ 2147483647 w 150"/>
                <a:gd name="T13" fmla="*/ 2147483647 h 84"/>
                <a:gd name="T14" fmla="*/ 2147483647 w 150"/>
                <a:gd name="T15" fmla="*/ 2147483647 h 84"/>
                <a:gd name="T16" fmla="*/ 2147483647 w 150"/>
                <a:gd name="T17" fmla="*/ 2147483647 h 84"/>
                <a:gd name="T18" fmla="*/ 2147483647 w 150"/>
                <a:gd name="T19" fmla="*/ 2147483647 h 84"/>
                <a:gd name="T20" fmla="*/ 2147483647 w 150"/>
                <a:gd name="T21" fmla="*/ 2147483647 h 84"/>
                <a:gd name="T22" fmla="*/ 2147483647 w 150"/>
                <a:gd name="T23" fmla="*/ 2147483647 h 84"/>
                <a:gd name="T24" fmla="*/ 2147483647 w 150"/>
                <a:gd name="T25" fmla="*/ 2147483647 h 84"/>
                <a:gd name="T26" fmla="*/ 2147483647 w 150"/>
                <a:gd name="T27" fmla="*/ 0 h 84"/>
                <a:gd name="T28" fmla="*/ 2147483647 w 150"/>
                <a:gd name="T29" fmla="*/ 2147483647 h 84"/>
                <a:gd name="T30" fmla="*/ 2147483647 w 150"/>
                <a:gd name="T31" fmla="*/ 2147483647 h 84"/>
                <a:gd name="T32" fmla="*/ 2147483647 w 150"/>
                <a:gd name="T33" fmla="*/ 2147483647 h 84"/>
                <a:gd name="T34" fmla="*/ 2147483647 w 150"/>
                <a:gd name="T35" fmla="*/ 2147483647 h 84"/>
                <a:gd name="T36" fmla="*/ 2147483647 w 150"/>
                <a:gd name="T37" fmla="*/ 2147483647 h 84"/>
                <a:gd name="T38" fmla="*/ 0 w 150"/>
                <a:gd name="T39" fmla="*/ 2147483647 h 84"/>
                <a:gd name="T40" fmla="*/ 0 w 150"/>
                <a:gd name="T41" fmla="*/ 2147483647 h 8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50"/>
                <a:gd name="T64" fmla="*/ 0 h 84"/>
                <a:gd name="T65" fmla="*/ 150 w 150"/>
                <a:gd name="T66" fmla="*/ 84 h 8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50" h="84">
                  <a:moveTo>
                    <a:pt x="0" y="48"/>
                  </a:moveTo>
                  <a:lnTo>
                    <a:pt x="6" y="60"/>
                  </a:lnTo>
                  <a:lnTo>
                    <a:pt x="30" y="72"/>
                  </a:lnTo>
                  <a:lnTo>
                    <a:pt x="36" y="84"/>
                  </a:lnTo>
                  <a:lnTo>
                    <a:pt x="54" y="84"/>
                  </a:lnTo>
                  <a:lnTo>
                    <a:pt x="60" y="78"/>
                  </a:lnTo>
                  <a:lnTo>
                    <a:pt x="72" y="72"/>
                  </a:lnTo>
                  <a:lnTo>
                    <a:pt x="78" y="66"/>
                  </a:lnTo>
                  <a:lnTo>
                    <a:pt x="90" y="60"/>
                  </a:lnTo>
                  <a:lnTo>
                    <a:pt x="96" y="54"/>
                  </a:lnTo>
                  <a:lnTo>
                    <a:pt x="102" y="60"/>
                  </a:lnTo>
                  <a:lnTo>
                    <a:pt x="120" y="60"/>
                  </a:lnTo>
                  <a:lnTo>
                    <a:pt x="120" y="36"/>
                  </a:lnTo>
                  <a:lnTo>
                    <a:pt x="150" y="0"/>
                  </a:lnTo>
                  <a:lnTo>
                    <a:pt x="108" y="24"/>
                  </a:lnTo>
                  <a:lnTo>
                    <a:pt x="54" y="24"/>
                  </a:lnTo>
                  <a:lnTo>
                    <a:pt x="48" y="30"/>
                  </a:lnTo>
                  <a:lnTo>
                    <a:pt x="48" y="36"/>
                  </a:lnTo>
                  <a:lnTo>
                    <a:pt x="12" y="36"/>
                  </a:lnTo>
                  <a:lnTo>
                    <a:pt x="0" y="42"/>
                  </a:lnTo>
                  <a:lnTo>
                    <a:pt x="0" y="48"/>
                  </a:lnTo>
                  <a:close/>
                </a:path>
              </a:pathLst>
            </a:custGeom>
            <a:grp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210" name="Cuba" descr="© INSCALE GmbH, 05.05.2010&#10;http://www.presentationload.com/">
              <a:extLst>
                <a:ext uri="{FF2B5EF4-FFF2-40B4-BE49-F238E27FC236}">
                  <a16:creationId xmlns:a16="http://schemas.microsoft.com/office/drawing/2014/main" id="{33333EF1-607B-6A7F-C8AE-8CF97B56ABE8}"/>
                </a:ext>
              </a:extLst>
            </p:cNvPr>
            <p:cNvSpPr>
              <a:spLocks noEditPoints="1"/>
            </p:cNvSpPr>
            <p:nvPr/>
          </p:nvSpPr>
          <p:spPr bwMode="gray">
            <a:xfrm>
              <a:off x="1995527" y="2508420"/>
              <a:ext cx="280168" cy="102284"/>
            </a:xfrm>
            <a:custGeom>
              <a:avLst/>
              <a:gdLst>
                <a:gd name="T0" fmla="*/ 2147483647 w 738"/>
                <a:gd name="T1" fmla="*/ 2147483647 h 270"/>
                <a:gd name="T2" fmla="*/ 2147483647 w 738"/>
                <a:gd name="T3" fmla="*/ 2147483647 h 270"/>
                <a:gd name="T4" fmla="*/ 2147483647 w 738"/>
                <a:gd name="T5" fmla="*/ 2147483647 h 270"/>
                <a:gd name="T6" fmla="*/ 2147483647 w 738"/>
                <a:gd name="T7" fmla="*/ 2147483647 h 270"/>
                <a:gd name="T8" fmla="*/ 2147483647 w 738"/>
                <a:gd name="T9" fmla="*/ 2147483647 h 270"/>
                <a:gd name="T10" fmla="*/ 2147483647 w 738"/>
                <a:gd name="T11" fmla="*/ 2147483647 h 270"/>
                <a:gd name="T12" fmla="*/ 2147483647 w 738"/>
                <a:gd name="T13" fmla="*/ 2147483647 h 270"/>
                <a:gd name="T14" fmla="*/ 2147483647 w 738"/>
                <a:gd name="T15" fmla="*/ 2147483647 h 270"/>
                <a:gd name="T16" fmla="*/ 2147483647 w 738"/>
                <a:gd name="T17" fmla="*/ 2147483647 h 270"/>
                <a:gd name="T18" fmla="*/ 2147483647 w 738"/>
                <a:gd name="T19" fmla="*/ 2147483647 h 270"/>
                <a:gd name="T20" fmla="*/ 2147483647 w 738"/>
                <a:gd name="T21" fmla="*/ 2147483647 h 270"/>
                <a:gd name="T22" fmla="*/ 2147483647 w 738"/>
                <a:gd name="T23" fmla="*/ 2147483647 h 270"/>
                <a:gd name="T24" fmla="*/ 2147483647 w 738"/>
                <a:gd name="T25" fmla="*/ 2147483647 h 270"/>
                <a:gd name="T26" fmla="*/ 2147483647 w 738"/>
                <a:gd name="T27" fmla="*/ 2147483647 h 270"/>
                <a:gd name="T28" fmla="*/ 2147483647 w 738"/>
                <a:gd name="T29" fmla="*/ 2147483647 h 270"/>
                <a:gd name="T30" fmla="*/ 2147483647 w 738"/>
                <a:gd name="T31" fmla="*/ 2147483647 h 270"/>
                <a:gd name="T32" fmla="*/ 2147483647 w 738"/>
                <a:gd name="T33" fmla="*/ 2147483647 h 270"/>
                <a:gd name="T34" fmla="*/ 2147483647 w 738"/>
                <a:gd name="T35" fmla="*/ 2147483647 h 270"/>
                <a:gd name="T36" fmla="*/ 2147483647 w 738"/>
                <a:gd name="T37" fmla="*/ 0 h 270"/>
                <a:gd name="T38" fmla="*/ 2147483647 w 738"/>
                <a:gd name="T39" fmla="*/ 2147483647 h 270"/>
                <a:gd name="T40" fmla="*/ 2147483647 w 738"/>
                <a:gd name="T41" fmla="*/ 2147483647 h 270"/>
                <a:gd name="T42" fmla="*/ 2147483647 w 738"/>
                <a:gd name="T43" fmla="*/ 2147483647 h 270"/>
                <a:gd name="T44" fmla="*/ 2147483647 w 738"/>
                <a:gd name="T45" fmla="*/ 2147483647 h 270"/>
                <a:gd name="T46" fmla="*/ 2147483647 w 738"/>
                <a:gd name="T47" fmla="*/ 2147483647 h 270"/>
                <a:gd name="T48" fmla="*/ 2147483647 w 738"/>
                <a:gd name="T49" fmla="*/ 2147483647 h 270"/>
                <a:gd name="T50" fmla="*/ 2147483647 w 738"/>
                <a:gd name="T51" fmla="*/ 2147483647 h 270"/>
                <a:gd name="T52" fmla="*/ 2147483647 w 738"/>
                <a:gd name="T53" fmla="*/ 2147483647 h 270"/>
                <a:gd name="T54" fmla="*/ 2147483647 w 738"/>
                <a:gd name="T55" fmla="*/ 2147483647 h 270"/>
                <a:gd name="T56" fmla="*/ 2147483647 w 738"/>
                <a:gd name="T57" fmla="*/ 2147483647 h 270"/>
                <a:gd name="T58" fmla="*/ 2147483647 w 738"/>
                <a:gd name="T59" fmla="*/ 2147483647 h 270"/>
                <a:gd name="T60" fmla="*/ 2147483647 w 738"/>
                <a:gd name="T61" fmla="*/ 2147483647 h 270"/>
                <a:gd name="T62" fmla="*/ 2147483647 w 738"/>
                <a:gd name="T63" fmla="*/ 2147483647 h 270"/>
                <a:gd name="T64" fmla="*/ 2147483647 w 738"/>
                <a:gd name="T65" fmla="*/ 2147483647 h 270"/>
                <a:gd name="T66" fmla="*/ 2147483647 w 738"/>
                <a:gd name="T67" fmla="*/ 2147483647 h 270"/>
                <a:gd name="T68" fmla="*/ 2147483647 w 738"/>
                <a:gd name="T69" fmla="*/ 2147483647 h 270"/>
                <a:gd name="T70" fmla="*/ 2147483647 w 738"/>
                <a:gd name="T71" fmla="*/ 2147483647 h 270"/>
                <a:gd name="T72" fmla="*/ 2147483647 w 738"/>
                <a:gd name="T73" fmla="*/ 2147483647 h 270"/>
                <a:gd name="T74" fmla="*/ 2147483647 w 738"/>
                <a:gd name="T75" fmla="*/ 2147483647 h 270"/>
                <a:gd name="T76" fmla="*/ 2147483647 w 738"/>
                <a:gd name="T77" fmla="*/ 2147483647 h 270"/>
                <a:gd name="T78" fmla="*/ 2147483647 w 738"/>
                <a:gd name="T79" fmla="*/ 2147483647 h 270"/>
                <a:gd name="T80" fmla="*/ 2147483647 w 738"/>
                <a:gd name="T81" fmla="*/ 2147483647 h 270"/>
                <a:gd name="T82" fmla="*/ 2147483647 w 738"/>
                <a:gd name="T83" fmla="*/ 2147483647 h 270"/>
                <a:gd name="T84" fmla="*/ 2147483647 w 738"/>
                <a:gd name="T85" fmla="*/ 2147483647 h 270"/>
                <a:gd name="T86" fmla="*/ 2147483647 w 738"/>
                <a:gd name="T87" fmla="*/ 2147483647 h 270"/>
                <a:gd name="T88" fmla="*/ 2147483647 w 738"/>
                <a:gd name="T89" fmla="*/ 2147483647 h 270"/>
                <a:gd name="T90" fmla="*/ 2147483647 w 738"/>
                <a:gd name="T91" fmla="*/ 2147483647 h 270"/>
                <a:gd name="T92" fmla="*/ 2147483647 w 738"/>
                <a:gd name="T93" fmla="*/ 2147483647 h 270"/>
                <a:gd name="T94" fmla="*/ 2147483647 w 738"/>
                <a:gd name="T95" fmla="*/ 2147483647 h 270"/>
                <a:gd name="T96" fmla="*/ 2147483647 w 738"/>
                <a:gd name="T97" fmla="*/ 2147483647 h 270"/>
                <a:gd name="T98" fmla="*/ 2147483647 w 738"/>
                <a:gd name="T99" fmla="*/ 2147483647 h 270"/>
                <a:gd name="T100" fmla="*/ 2147483647 w 738"/>
                <a:gd name="T101" fmla="*/ 2147483647 h 270"/>
                <a:gd name="T102" fmla="*/ 2147483647 w 738"/>
                <a:gd name="T103" fmla="*/ 2147483647 h 270"/>
                <a:gd name="T104" fmla="*/ 2147483647 w 738"/>
                <a:gd name="T105" fmla="*/ 2147483647 h 270"/>
                <a:gd name="T106" fmla="*/ 2147483647 w 738"/>
                <a:gd name="T107" fmla="*/ 2147483647 h 270"/>
                <a:gd name="T108" fmla="*/ 2147483647 w 738"/>
                <a:gd name="T109" fmla="*/ 2147483647 h 270"/>
                <a:gd name="T110" fmla="*/ 2147483647 w 738"/>
                <a:gd name="T111" fmla="*/ 2147483647 h 270"/>
                <a:gd name="T112" fmla="*/ 2147483647 w 738"/>
                <a:gd name="T113" fmla="*/ 2147483647 h 270"/>
                <a:gd name="T114" fmla="*/ 2147483647 w 738"/>
                <a:gd name="T115" fmla="*/ 2147483647 h 27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738"/>
                <a:gd name="T175" fmla="*/ 0 h 270"/>
                <a:gd name="T176" fmla="*/ 738 w 738"/>
                <a:gd name="T177" fmla="*/ 270 h 27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738" h="270">
                  <a:moveTo>
                    <a:pt x="708" y="228"/>
                  </a:moveTo>
                  <a:lnTo>
                    <a:pt x="690" y="222"/>
                  </a:lnTo>
                  <a:lnTo>
                    <a:pt x="666" y="222"/>
                  </a:lnTo>
                  <a:lnTo>
                    <a:pt x="666" y="204"/>
                  </a:lnTo>
                  <a:lnTo>
                    <a:pt x="660" y="198"/>
                  </a:lnTo>
                  <a:lnTo>
                    <a:pt x="648" y="192"/>
                  </a:lnTo>
                  <a:lnTo>
                    <a:pt x="600" y="192"/>
                  </a:lnTo>
                  <a:lnTo>
                    <a:pt x="624" y="168"/>
                  </a:lnTo>
                  <a:lnTo>
                    <a:pt x="612" y="168"/>
                  </a:lnTo>
                  <a:lnTo>
                    <a:pt x="600" y="162"/>
                  </a:lnTo>
                  <a:lnTo>
                    <a:pt x="558" y="162"/>
                  </a:lnTo>
                  <a:lnTo>
                    <a:pt x="534" y="150"/>
                  </a:lnTo>
                  <a:lnTo>
                    <a:pt x="528" y="144"/>
                  </a:lnTo>
                  <a:lnTo>
                    <a:pt x="522" y="144"/>
                  </a:lnTo>
                  <a:lnTo>
                    <a:pt x="528" y="138"/>
                  </a:lnTo>
                  <a:lnTo>
                    <a:pt x="528" y="132"/>
                  </a:lnTo>
                  <a:lnTo>
                    <a:pt x="534" y="126"/>
                  </a:lnTo>
                  <a:lnTo>
                    <a:pt x="534" y="120"/>
                  </a:lnTo>
                  <a:lnTo>
                    <a:pt x="522" y="120"/>
                  </a:lnTo>
                  <a:lnTo>
                    <a:pt x="510" y="114"/>
                  </a:lnTo>
                  <a:lnTo>
                    <a:pt x="504" y="114"/>
                  </a:lnTo>
                  <a:lnTo>
                    <a:pt x="474" y="84"/>
                  </a:lnTo>
                  <a:lnTo>
                    <a:pt x="462" y="78"/>
                  </a:lnTo>
                  <a:lnTo>
                    <a:pt x="450" y="66"/>
                  </a:lnTo>
                  <a:lnTo>
                    <a:pt x="432" y="66"/>
                  </a:lnTo>
                  <a:lnTo>
                    <a:pt x="432" y="84"/>
                  </a:lnTo>
                  <a:lnTo>
                    <a:pt x="444" y="96"/>
                  </a:lnTo>
                  <a:lnTo>
                    <a:pt x="450" y="96"/>
                  </a:lnTo>
                  <a:lnTo>
                    <a:pt x="378" y="60"/>
                  </a:lnTo>
                  <a:lnTo>
                    <a:pt x="372" y="54"/>
                  </a:lnTo>
                  <a:lnTo>
                    <a:pt x="360" y="48"/>
                  </a:lnTo>
                  <a:lnTo>
                    <a:pt x="354" y="36"/>
                  </a:lnTo>
                  <a:lnTo>
                    <a:pt x="342" y="30"/>
                  </a:lnTo>
                  <a:lnTo>
                    <a:pt x="330" y="18"/>
                  </a:lnTo>
                  <a:lnTo>
                    <a:pt x="270" y="18"/>
                  </a:lnTo>
                  <a:lnTo>
                    <a:pt x="258" y="12"/>
                  </a:lnTo>
                  <a:lnTo>
                    <a:pt x="228" y="6"/>
                  </a:lnTo>
                  <a:lnTo>
                    <a:pt x="174" y="0"/>
                  </a:lnTo>
                  <a:lnTo>
                    <a:pt x="126" y="6"/>
                  </a:lnTo>
                  <a:lnTo>
                    <a:pt x="96" y="18"/>
                  </a:lnTo>
                  <a:lnTo>
                    <a:pt x="72" y="42"/>
                  </a:lnTo>
                  <a:lnTo>
                    <a:pt x="60" y="48"/>
                  </a:lnTo>
                  <a:lnTo>
                    <a:pt x="42" y="60"/>
                  </a:lnTo>
                  <a:lnTo>
                    <a:pt x="24" y="66"/>
                  </a:lnTo>
                  <a:lnTo>
                    <a:pt x="12" y="72"/>
                  </a:lnTo>
                  <a:lnTo>
                    <a:pt x="6" y="78"/>
                  </a:lnTo>
                  <a:lnTo>
                    <a:pt x="0" y="78"/>
                  </a:lnTo>
                  <a:lnTo>
                    <a:pt x="72" y="72"/>
                  </a:lnTo>
                  <a:lnTo>
                    <a:pt x="72" y="60"/>
                  </a:lnTo>
                  <a:lnTo>
                    <a:pt x="150" y="54"/>
                  </a:lnTo>
                  <a:lnTo>
                    <a:pt x="174" y="42"/>
                  </a:lnTo>
                  <a:lnTo>
                    <a:pt x="198" y="42"/>
                  </a:lnTo>
                  <a:lnTo>
                    <a:pt x="222" y="54"/>
                  </a:lnTo>
                  <a:lnTo>
                    <a:pt x="222" y="60"/>
                  </a:lnTo>
                  <a:lnTo>
                    <a:pt x="216" y="60"/>
                  </a:lnTo>
                  <a:lnTo>
                    <a:pt x="210" y="66"/>
                  </a:lnTo>
                  <a:lnTo>
                    <a:pt x="198" y="66"/>
                  </a:lnTo>
                  <a:lnTo>
                    <a:pt x="192" y="72"/>
                  </a:lnTo>
                  <a:lnTo>
                    <a:pt x="186" y="72"/>
                  </a:lnTo>
                  <a:lnTo>
                    <a:pt x="204" y="78"/>
                  </a:lnTo>
                  <a:lnTo>
                    <a:pt x="210" y="78"/>
                  </a:lnTo>
                  <a:lnTo>
                    <a:pt x="216" y="84"/>
                  </a:lnTo>
                  <a:lnTo>
                    <a:pt x="228" y="90"/>
                  </a:lnTo>
                  <a:lnTo>
                    <a:pt x="246" y="96"/>
                  </a:lnTo>
                  <a:lnTo>
                    <a:pt x="258" y="102"/>
                  </a:lnTo>
                  <a:lnTo>
                    <a:pt x="276" y="102"/>
                  </a:lnTo>
                  <a:lnTo>
                    <a:pt x="282" y="96"/>
                  </a:lnTo>
                  <a:lnTo>
                    <a:pt x="282" y="90"/>
                  </a:lnTo>
                  <a:lnTo>
                    <a:pt x="294" y="96"/>
                  </a:lnTo>
                  <a:lnTo>
                    <a:pt x="300" y="102"/>
                  </a:lnTo>
                  <a:lnTo>
                    <a:pt x="318" y="114"/>
                  </a:lnTo>
                  <a:lnTo>
                    <a:pt x="342" y="126"/>
                  </a:lnTo>
                  <a:lnTo>
                    <a:pt x="372" y="126"/>
                  </a:lnTo>
                  <a:lnTo>
                    <a:pt x="390" y="120"/>
                  </a:lnTo>
                  <a:lnTo>
                    <a:pt x="402" y="120"/>
                  </a:lnTo>
                  <a:lnTo>
                    <a:pt x="390" y="144"/>
                  </a:lnTo>
                  <a:lnTo>
                    <a:pt x="450" y="168"/>
                  </a:lnTo>
                  <a:lnTo>
                    <a:pt x="474" y="204"/>
                  </a:lnTo>
                  <a:lnTo>
                    <a:pt x="480" y="210"/>
                  </a:lnTo>
                  <a:lnTo>
                    <a:pt x="492" y="216"/>
                  </a:lnTo>
                  <a:lnTo>
                    <a:pt x="498" y="222"/>
                  </a:lnTo>
                  <a:lnTo>
                    <a:pt x="498" y="228"/>
                  </a:lnTo>
                  <a:lnTo>
                    <a:pt x="474" y="252"/>
                  </a:lnTo>
                  <a:lnTo>
                    <a:pt x="474" y="258"/>
                  </a:lnTo>
                  <a:lnTo>
                    <a:pt x="480" y="264"/>
                  </a:lnTo>
                  <a:lnTo>
                    <a:pt x="492" y="258"/>
                  </a:lnTo>
                  <a:lnTo>
                    <a:pt x="504" y="258"/>
                  </a:lnTo>
                  <a:lnTo>
                    <a:pt x="528" y="246"/>
                  </a:lnTo>
                  <a:lnTo>
                    <a:pt x="558" y="246"/>
                  </a:lnTo>
                  <a:lnTo>
                    <a:pt x="558" y="252"/>
                  </a:lnTo>
                  <a:lnTo>
                    <a:pt x="552" y="252"/>
                  </a:lnTo>
                  <a:lnTo>
                    <a:pt x="546" y="258"/>
                  </a:lnTo>
                  <a:lnTo>
                    <a:pt x="546" y="264"/>
                  </a:lnTo>
                  <a:lnTo>
                    <a:pt x="558" y="264"/>
                  </a:lnTo>
                  <a:lnTo>
                    <a:pt x="564" y="270"/>
                  </a:lnTo>
                  <a:lnTo>
                    <a:pt x="612" y="270"/>
                  </a:lnTo>
                  <a:lnTo>
                    <a:pt x="636" y="264"/>
                  </a:lnTo>
                  <a:lnTo>
                    <a:pt x="684" y="258"/>
                  </a:lnTo>
                  <a:lnTo>
                    <a:pt x="720" y="252"/>
                  </a:lnTo>
                  <a:lnTo>
                    <a:pt x="738" y="246"/>
                  </a:lnTo>
                  <a:lnTo>
                    <a:pt x="738" y="240"/>
                  </a:lnTo>
                  <a:lnTo>
                    <a:pt x="732" y="234"/>
                  </a:lnTo>
                  <a:lnTo>
                    <a:pt x="720" y="228"/>
                  </a:lnTo>
                  <a:lnTo>
                    <a:pt x="708" y="228"/>
                  </a:lnTo>
                  <a:close/>
                  <a:moveTo>
                    <a:pt x="114" y="126"/>
                  </a:moveTo>
                  <a:lnTo>
                    <a:pt x="114" y="132"/>
                  </a:lnTo>
                  <a:lnTo>
                    <a:pt x="120" y="138"/>
                  </a:lnTo>
                  <a:lnTo>
                    <a:pt x="132" y="144"/>
                  </a:lnTo>
                  <a:lnTo>
                    <a:pt x="144" y="138"/>
                  </a:lnTo>
                  <a:lnTo>
                    <a:pt x="150" y="138"/>
                  </a:lnTo>
                  <a:lnTo>
                    <a:pt x="156" y="126"/>
                  </a:lnTo>
                  <a:lnTo>
                    <a:pt x="156" y="120"/>
                  </a:lnTo>
                  <a:lnTo>
                    <a:pt x="150" y="114"/>
                  </a:lnTo>
                  <a:lnTo>
                    <a:pt x="138" y="114"/>
                  </a:lnTo>
                  <a:lnTo>
                    <a:pt x="126" y="120"/>
                  </a:lnTo>
                  <a:lnTo>
                    <a:pt x="120" y="120"/>
                  </a:lnTo>
                  <a:lnTo>
                    <a:pt x="114" y="126"/>
                  </a:lnTo>
                  <a:close/>
                </a:path>
              </a:pathLst>
            </a:custGeom>
            <a:grp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211" name="Croatia" descr="© INSCALE GmbH, 05.05.2010&#10;http://www.presentationload.com/">
              <a:extLst>
                <a:ext uri="{FF2B5EF4-FFF2-40B4-BE49-F238E27FC236}">
                  <a16:creationId xmlns:a16="http://schemas.microsoft.com/office/drawing/2014/main" id="{AD012FC5-B2A2-9592-3D9A-7B26436C3BC7}"/>
                </a:ext>
              </a:extLst>
            </p:cNvPr>
            <p:cNvSpPr>
              <a:spLocks/>
            </p:cNvSpPr>
            <p:nvPr/>
          </p:nvSpPr>
          <p:spPr bwMode="gray">
            <a:xfrm>
              <a:off x="4592644" y="1801325"/>
              <a:ext cx="139343" cy="103766"/>
            </a:xfrm>
            <a:custGeom>
              <a:avLst/>
              <a:gdLst>
                <a:gd name="T0" fmla="*/ 2147483647 w 366"/>
                <a:gd name="T1" fmla="*/ 2147483647 h 276"/>
                <a:gd name="T2" fmla="*/ 2147483647 w 366"/>
                <a:gd name="T3" fmla="*/ 2147483647 h 276"/>
                <a:gd name="T4" fmla="*/ 2147483647 w 366"/>
                <a:gd name="T5" fmla="*/ 2147483647 h 276"/>
                <a:gd name="T6" fmla="*/ 2147483647 w 366"/>
                <a:gd name="T7" fmla="*/ 2147483647 h 276"/>
                <a:gd name="T8" fmla="*/ 2147483647 w 366"/>
                <a:gd name="T9" fmla="*/ 2147483647 h 276"/>
                <a:gd name="T10" fmla="*/ 2147483647 w 366"/>
                <a:gd name="T11" fmla="*/ 2147483647 h 276"/>
                <a:gd name="T12" fmla="*/ 2147483647 w 366"/>
                <a:gd name="T13" fmla="*/ 2147483647 h 276"/>
                <a:gd name="T14" fmla="*/ 2147483647 w 366"/>
                <a:gd name="T15" fmla="*/ 2147483647 h 276"/>
                <a:gd name="T16" fmla="*/ 2147483647 w 366"/>
                <a:gd name="T17" fmla="*/ 2147483647 h 276"/>
                <a:gd name="T18" fmla="*/ 2147483647 w 366"/>
                <a:gd name="T19" fmla="*/ 2147483647 h 276"/>
                <a:gd name="T20" fmla="*/ 2147483647 w 366"/>
                <a:gd name="T21" fmla="*/ 2147483647 h 276"/>
                <a:gd name="T22" fmla="*/ 2147483647 w 366"/>
                <a:gd name="T23" fmla="*/ 0 h 276"/>
                <a:gd name="T24" fmla="*/ 2147483647 w 366"/>
                <a:gd name="T25" fmla="*/ 2147483647 h 276"/>
                <a:gd name="T26" fmla="*/ 2147483647 w 366"/>
                <a:gd name="T27" fmla="*/ 2147483647 h 276"/>
                <a:gd name="T28" fmla="*/ 2147483647 w 366"/>
                <a:gd name="T29" fmla="*/ 2147483647 h 276"/>
                <a:gd name="T30" fmla="*/ 2147483647 w 366"/>
                <a:gd name="T31" fmla="*/ 2147483647 h 276"/>
                <a:gd name="T32" fmla="*/ 2147483647 w 366"/>
                <a:gd name="T33" fmla="*/ 2147483647 h 276"/>
                <a:gd name="T34" fmla="*/ 2147483647 w 366"/>
                <a:gd name="T35" fmla="*/ 2147483647 h 276"/>
                <a:gd name="T36" fmla="*/ 2147483647 w 366"/>
                <a:gd name="T37" fmla="*/ 2147483647 h 276"/>
                <a:gd name="T38" fmla="*/ 2147483647 w 366"/>
                <a:gd name="T39" fmla="*/ 2147483647 h 276"/>
                <a:gd name="T40" fmla="*/ 0 w 366"/>
                <a:gd name="T41" fmla="*/ 2147483647 h 276"/>
                <a:gd name="T42" fmla="*/ 2147483647 w 366"/>
                <a:gd name="T43" fmla="*/ 2147483647 h 276"/>
                <a:gd name="T44" fmla="*/ 2147483647 w 366"/>
                <a:gd name="T45" fmla="*/ 2147483647 h 276"/>
                <a:gd name="T46" fmla="*/ 2147483647 w 366"/>
                <a:gd name="T47" fmla="*/ 2147483647 h 276"/>
                <a:gd name="T48" fmla="*/ 2147483647 w 366"/>
                <a:gd name="T49" fmla="*/ 2147483647 h 276"/>
                <a:gd name="T50" fmla="*/ 2147483647 w 366"/>
                <a:gd name="T51" fmla="*/ 2147483647 h 276"/>
                <a:gd name="T52" fmla="*/ 2147483647 w 366"/>
                <a:gd name="T53" fmla="*/ 2147483647 h 276"/>
                <a:gd name="T54" fmla="*/ 2147483647 w 366"/>
                <a:gd name="T55" fmla="*/ 2147483647 h 276"/>
                <a:gd name="T56" fmla="*/ 2147483647 w 366"/>
                <a:gd name="T57" fmla="*/ 2147483647 h 276"/>
                <a:gd name="T58" fmla="*/ 2147483647 w 366"/>
                <a:gd name="T59" fmla="*/ 2147483647 h 276"/>
                <a:gd name="T60" fmla="*/ 2147483647 w 366"/>
                <a:gd name="T61" fmla="*/ 2147483647 h 276"/>
                <a:gd name="T62" fmla="*/ 2147483647 w 366"/>
                <a:gd name="T63" fmla="*/ 2147483647 h 276"/>
                <a:gd name="T64" fmla="*/ 2147483647 w 366"/>
                <a:gd name="T65" fmla="*/ 2147483647 h 276"/>
                <a:gd name="T66" fmla="*/ 2147483647 w 366"/>
                <a:gd name="T67" fmla="*/ 2147483647 h 276"/>
                <a:gd name="T68" fmla="*/ 2147483647 w 366"/>
                <a:gd name="T69" fmla="*/ 2147483647 h 276"/>
                <a:gd name="T70" fmla="*/ 2147483647 w 366"/>
                <a:gd name="T71" fmla="*/ 2147483647 h 276"/>
                <a:gd name="T72" fmla="*/ 2147483647 w 366"/>
                <a:gd name="T73" fmla="*/ 2147483647 h 276"/>
                <a:gd name="T74" fmla="*/ 2147483647 w 366"/>
                <a:gd name="T75" fmla="*/ 2147483647 h 276"/>
                <a:gd name="T76" fmla="*/ 2147483647 w 366"/>
                <a:gd name="T77" fmla="*/ 2147483647 h 276"/>
                <a:gd name="T78" fmla="*/ 2147483647 w 366"/>
                <a:gd name="T79" fmla="*/ 2147483647 h 276"/>
                <a:gd name="T80" fmla="*/ 2147483647 w 366"/>
                <a:gd name="T81" fmla="*/ 2147483647 h 276"/>
                <a:gd name="T82" fmla="*/ 2147483647 w 366"/>
                <a:gd name="T83" fmla="*/ 2147483647 h 276"/>
                <a:gd name="T84" fmla="*/ 2147483647 w 366"/>
                <a:gd name="T85" fmla="*/ 2147483647 h 276"/>
                <a:gd name="T86" fmla="*/ 2147483647 w 366"/>
                <a:gd name="T87" fmla="*/ 2147483647 h 276"/>
                <a:gd name="T88" fmla="*/ 2147483647 w 366"/>
                <a:gd name="T89" fmla="*/ 2147483647 h 276"/>
                <a:gd name="T90" fmla="*/ 2147483647 w 366"/>
                <a:gd name="T91" fmla="*/ 2147483647 h 27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66"/>
                <a:gd name="T139" fmla="*/ 0 h 276"/>
                <a:gd name="T140" fmla="*/ 366 w 366"/>
                <a:gd name="T141" fmla="*/ 276 h 27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66" h="276">
                  <a:moveTo>
                    <a:pt x="342" y="126"/>
                  </a:moveTo>
                  <a:lnTo>
                    <a:pt x="342" y="114"/>
                  </a:lnTo>
                  <a:lnTo>
                    <a:pt x="348" y="114"/>
                  </a:lnTo>
                  <a:lnTo>
                    <a:pt x="354" y="108"/>
                  </a:lnTo>
                  <a:lnTo>
                    <a:pt x="360" y="108"/>
                  </a:lnTo>
                  <a:lnTo>
                    <a:pt x="366" y="102"/>
                  </a:lnTo>
                  <a:lnTo>
                    <a:pt x="360" y="102"/>
                  </a:lnTo>
                  <a:lnTo>
                    <a:pt x="348" y="96"/>
                  </a:lnTo>
                  <a:lnTo>
                    <a:pt x="336" y="96"/>
                  </a:lnTo>
                  <a:lnTo>
                    <a:pt x="342" y="78"/>
                  </a:lnTo>
                  <a:lnTo>
                    <a:pt x="336" y="78"/>
                  </a:lnTo>
                  <a:lnTo>
                    <a:pt x="330" y="48"/>
                  </a:lnTo>
                  <a:lnTo>
                    <a:pt x="324" y="48"/>
                  </a:lnTo>
                  <a:lnTo>
                    <a:pt x="312" y="54"/>
                  </a:lnTo>
                  <a:lnTo>
                    <a:pt x="270" y="60"/>
                  </a:lnTo>
                  <a:lnTo>
                    <a:pt x="264" y="48"/>
                  </a:lnTo>
                  <a:lnTo>
                    <a:pt x="246" y="48"/>
                  </a:lnTo>
                  <a:lnTo>
                    <a:pt x="234" y="42"/>
                  </a:lnTo>
                  <a:lnTo>
                    <a:pt x="228" y="36"/>
                  </a:lnTo>
                  <a:lnTo>
                    <a:pt x="216" y="30"/>
                  </a:lnTo>
                  <a:lnTo>
                    <a:pt x="204" y="18"/>
                  </a:lnTo>
                  <a:lnTo>
                    <a:pt x="204" y="12"/>
                  </a:lnTo>
                  <a:lnTo>
                    <a:pt x="198" y="6"/>
                  </a:lnTo>
                  <a:lnTo>
                    <a:pt x="186" y="0"/>
                  </a:lnTo>
                  <a:lnTo>
                    <a:pt x="162" y="0"/>
                  </a:lnTo>
                  <a:lnTo>
                    <a:pt x="162" y="12"/>
                  </a:lnTo>
                  <a:lnTo>
                    <a:pt x="150" y="18"/>
                  </a:lnTo>
                  <a:lnTo>
                    <a:pt x="120" y="18"/>
                  </a:lnTo>
                  <a:lnTo>
                    <a:pt x="120" y="30"/>
                  </a:lnTo>
                  <a:lnTo>
                    <a:pt x="126" y="36"/>
                  </a:lnTo>
                  <a:lnTo>
                    <a:pt x="126" y="42"/>
                  </a:lnTo>
                  <a:lnTo>
                    <a:pt x="114" y="54"/>
                  </a:lnTo>
                  <a:lnTo>
                    <a:pt x="102" y="60"/>
                  </a:lnTo>
                  <a:lnTo>
                    <a:pt x="102" y="78"/>
                  </a:lnTo>
                  <a:lnTo>
                    <a:pt x="60" y="78"/>
                  </a:lnTo>
                  <a:lnTo>
                    <a:pt x="54" y="72"/>
                  </a:lnTo>
                  <a:lnTo>
                    <a:pt x="54" y="66"/>
                  </a:lnTo>
                  <a:lnTo>
                    <a:pt x="48" y="78"/>
                  </a:lnTo>
                  <a:lnTo>
                    <a:pt x="30" y="78"/>
                  </a:lnTo>
                  <a:lnTo>
                    <a:pt x="18" y="72"/>
                  </a:lnTo>
                  <a:lnTo>
                    <a:pt x="18" y="84"/>
                  </a:lnTo>
                  <a:lnTo>
                    <a:pt x="0" y="84"/>
                  </a:lnTo>
                  <a:lnTo>
                    <a:pt x="0" y="132"/>
                  </a:lnTo>
                  <a:lnTo>
                    <a:pt x="6" y="132"/>
                  </a:lnTo>
                  <a:lnTo>
                    <a:pt x="12" y="120"/>
                  </a:lnTo>
                  <a:lnTo>
                    <a:pt x="24" y="114"/>
                  </a:lnTo>
                  <a:lnTo>
                    <a:pt x="30" y="102"/>
                  </a:lnTo>
                  <a:lnTo>
                    <a:pt x="42" y="102"/>
                  </a:lnTo>
                  <a:lnTo>
                    <a:pt x="48" y="114"/>
                  </a:lnTo>
                  <a:lnTo>
                    <a:pt x="48" y="132"/>
                  </a:lnTo>
                  <a:lnTo>
                    <a:pt x="78" y="126"/>
                  </a:lnTo>
                  <a:lnTo>
                    <a:pt x="78" y="132"/>
                  </a:lnTo>
                  <a:lnTo>
                    <a:pt x="72" y="144"/>
                  </a:lnTo>
                  <a:lnTo>
                    <a:pt x="72" y="150"/>
                  </a:lnTo>
                  <a:lnTo>
                    <a:pt x="84" y="162"/>
                  </a:lnTo>
                  <a:lnTo>
                    <a:pt x="96" y="168"/>
                  </a:lnTo>
                  <a:lnTo>
                    <a:pt x="96" y="180"/>
                  </a:lnTo>
                  <a:lnTo>
                    <a:pt x="144" y="216"/>
                  </a:lnTo>
                  <a:lnTo>
                    <a:pt x="144" y="240"/>
                  </a:lnTo>
                  <a:lnTo>
                    <a:pt x="198" y="240"/>
                  </a:lnTo>
                  <a:lnTo>
                    <a:pt x="210" y="246"/>
                  </a:lnTo>
                  <a:lnTo>
                    <a:pt x="216" y="252"/>
                  </a:lnTo>
                  <a:lnTo>
                    <a:pt x="216" y="276"/>
                  </a:lnTo>
                  <a:lnTo>
                    <a:pt x="246" y="276"/>
                  </a:lnTo>
                  <a:lnTo>
                    <a:pt x="252" y="270"/>
                  </a:lnTo>
                  <a:lnTo>
                    <a:pt x="252" y="264"/>
                  </a:lnTo>
                  <a:lnTo>
                    <a:pt x="246" y="252"/>
                  </a:lnTo>
                  <a:lnTo>
                    <a:pt x="234" y="246"/>
                  </a:lnTo>
                  <a:lnTo>
                    <a:pt x="216" y="234"/>
                  </a:lnTo>
                  <a:lnTo>
                    <a:pt x="204" y="228"/>
                  </a:lnTo>
                  <a:lnTo>
                    <a:pt x="192" y="216"/>
                  </a:lnTo>
                  <a:lnTo>
                    <a:pt x="180" y="186"/>
                  </a:lnTo>
                  <a:lnTo>
                    <a:pt x="162" y="180"/>
                  </a:lnTo>
                  <a:lnTo>
                    <a:pt x="162" y="162"/>
                  </a:lnTo>
                  <a:lnTo>
                    <a:pt x="156" y="156"/>
                  </a:lnTo>
                  <a:lnTo>
                    <a:pt x="150" y="156"/>
                  </a:lnTo>
                  <a:lnTo>
                    <a:pt x="150" y="144"/>
                  </a:lnTo>
                  <a:lnTo>
                    <a:pt x="132" y="138"/>
                  </a:lnTo>
                  <a:lnTo>
                    <a:pt x="120" y="126"/>
                  </a:lnTo>
                  <a:lnTo>
                    <a:pt x="138" y="120"/>
                  </a:lnTo>
                  <a:lnTo>
                    <a:pt x="138" y="96"/>
                  </a:lnTo>
                  <a:lnTo>
                    <a:pt x="144" y="96"/>
                  </a:lnTo>
                  <a:lnTo>
                    <a:pt x="150" y="102"/>
                  </a:lnTo>
                  <a:lnTo>
                    <a:pt x="162" y="108"/>
                  </a:lnTo>
                  <a:lnTo>
                    <a:pt x="186" y="102"/>
                  </a:lnTo>
                  <a:lnTo>
                    <a:pt x="210" y="102"/>
                  </a:lnTo>
                  <a:lnTo>
                    <a:pt x="228" y="108"/>
                  </a:lnTo>
                  <a:lnTo>
                    <a:pt x="240" y="102"/>
                  </a:lnTo>
                  <a:lnTo>
                    <a:pt x="252" y="102"/>
                  </a:lnTo>
                  <a:lnTo>
                    <a:pt x="258" y="108"/>
                  </a:lnTo>
                  <a:lnTo>
                    <a:pt x="312" y="108"/>
                  </a:lnTo>
                  <a:lnTo>
                    <a:pt x="324" y="126"/>
                  </a:lnTo>
                  <a:lnTo>
                    <a:pt x="342" y="126"/>
                  </a:lnTo>
                  <a:close/>
                </a:path>
              </a:pathLst>
            </a:custGeom>
            <a:grp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212" name="Côte d'Ivoire" descr="© INSCALE GmbH, 05.05.2010&#10;http://www.presentationload.com/">
              <a:extLst>
                <a:ext uri="{FF2B5EF4-FFF2-40B4-BE49-F238E27FC236}">
                  <a16:creationId xmlns:a16="http://schemas.microsoft.com/office/drawing/2014/main" id="{7311D176-3C9B-4343-2B8A-CF6476CF7DF4}"/>
                </a:ext>
              </a:extLst>
            </p:cNvPr>
            <p:cNvSpPr>
              <a:spLocks/>
            </p:cNvSpPr>
            <p:nvPr/>
          </p:nvSpPr>
          <p:spPr bwMode="gray">
            <a:xfrm>
              <a:off x="4001177" y="2890873"/>
              <a:ext cx="166026" cy="195673"/>
            </a:xfrm>
            <a:custGeom>
              <a:avLst/>
              <a:gdLst>
                <a:gd name="T0" fmla="*/ 2147483647 w 438"/>
                <a:gd name="T1" fmla="*/ 2147483647 h 516"/>
                <a:gd name="T2" fmla="*/ 2147483647 w 438"/>
                <a:gd name="T3" fmla="*/ 2147483647 h 516"/>
                <a:gd name="T4" fmla="*/ 2147483647 w 438"/>
                <a:gd name="T5" fmla="*/ 2147483647 h 516"/>
                <a:gd name="T6" fmla="*/ 2147483647 w 438"/>
                <a:gd name="T7" fmla="*/ 2147483647 h 516"/>
                <a:gd name="T8" fmla="*/ 2147483647 w 438"/>
                <a:gd name="T9" fmla="*/ 2147483647 h 516"/>
                <a:gd name="T10" fmla="*/ 2147483647 w 438"/>
                <a:gd name="T11" fmla="*/ 2147483647 h 516"/>
                <a:gd name="T12" fmla="*/ 2147483647 w 438"/>
                <a:gd name="T13" fmla="*/ 2147483647 h 516"/>
                <a:gd name="T14" fmla="*/ 2147483647 w 438"/>
                <a:gd name="T15" fmla="*/ 2147483647 h 516"/>
                <a:gd name="T16" fmla="*/ 2147483647 w 438"/>
                <a:gd name="T17" fmla="*/ 2147483647 h 516"/>
                <a:gd name="T18" fmla="*/ 2147483647 w 438"/>
                <a:gd name="T19" fmla="*/ 2147483647 h 516"/>
                <a:gd name="T20" fmla="*/ 2147483647 w 438"/>
                <a:gd name="T21" fmla="*/ 2147483647 h 516"/>
                <a:gd name="T22" fmla="*/ 2147483647 w 438"/>
                <a:gd name="T23" fmla="*/ 2147483647 h 516"/>
                <a:gd name="T24" fmla="*/ 2147483647 w 438"/>
                <a:gd name="T25" fmla="*/ 2147483647 h 516"/>
                <a:gd name="T26" fmla="*/ 2147483647 w 438"/>
                <a:gd name="T27" fmla="*/ 2147483647 h 516"/>
                <a:gd name="T28" fmla="*/ 2147483647 w 438"/>
                <a:gd name="T29" fmla="*/ 2147483647 h 516"/>
                <a:gd name="T30" fmla="*/ 2147483647 w 438"/>
                <a:gd name="T31" fmla="*/ 2147483647 h 516"/>
                <a:gd name="T32" fmla="*/ 2147483647 w 438"/>
                <a:gd name="T33" fmla="*/ 0 h 516"/>
                <a:gd name="T34" fmla="*/ 2147483647 w 438"/>
                <a:gd name="T35" fmla="*/ 2147483647 h 516"/>
                <a:gd name="T36" fmla="*/ 2147483647 w 438"/>
                <a:gd name="T37" fmla="*/ 2147483647 h 516"/>
                <a:gd name="T38" fmla="*/ 2147483647 w 438"/>
                <a:gd name="T39" fmla="*/ 2147483647 h 516"/>
                <a:gd name="T40" fmla="*/ 2147483647 w 438"/>
                <a:gd name="T41" fmla="*/ 2147483647 h 516"/>
                <a:gd name="T42" fmla="*/ 2147483647 w 438"/>
                <a:gd name="T43" fmla="*/ 2147483647 h 516"/>
                <a:gd name="T44" fmla="*/ 2147483647 w 438"/>
                <a:gd name="T45" fmla="*/ 2147483647 h 516"/>
                <a:gd name="T46" fmla="*/ 2147483647 w 438"/>
                <a:gd name="T47" fmla="*/ 2147483647 h 516"/>
                <a:gd name="T48" fmla="*/ 2147483647 w 438"/>
                <a:gd name="T49" fmla="*/ 2147483647 h 516"/>
                <a:gd name="T50" fmla="*/ 2147483647 w 438"/>
                <a:gd name="T51" fmla="*/ 2147483647 h 516"/>
                <a:gd name="T52" fmla="*/ 2147483647 w 438"/>
                <a:gd name="T53" fmla="*/ 2147483647 h 516"/>
                <a:gd name="T54" fmla="*/ 2147483647 w 438"/>
                <a:gd name="T55" fmla="*/ 2147483647 h 516"/>
                <a:gd name="T56" fmla="*/ 2147483647 w 438"/>
                <a:gd name="T57" fmla="*/ 2147483647 h 516"/>
                <a:gd name="T58" fmla="*/ 2147483647 w 438"/>
                <a:gd name="T59" fmla="*/ 2147483647 h 516"/>
                <a:gd name="T60" fmla="*/ 2147483647 w 438"/>
                <a:gd name="T61" fmla="*/ 2147483647 h 516"/>
                <a:gd name="T62" fmla="*/ 2147483647 w 438"/>
                <a:gd name="T63" fmla="*/ 2147483647 h 516"/>
                <a:gd name="T64" fmla="*/ 2147483647 w 438"/>
                <a:gd name="T65" fmla="*/ 2147483647 h 516"/>
                <a:gd name="T66" fmla="*/ 2147483647 w 438"/>
                <a:gd name="T67" fmla="*/ 2147483647 h 516"/>
                <a:gd name="T68" fmla="*/ 2147483647 w 438"/>
                <a:gd name="T69" fmla="*/ 2147483647 h 516"/>
                <a:gd name="T70" fmla="*/ 2147483647 w 438"/>
                <a:gd name="T71" fmla="*/ 2147483647 h 516"/>
                <a:gd name="T72" fmla="*/ 2147483647 w 438"/>
                <a:gd name="T73" fmla="*/ 2147483647 h 516"/>
                <a:gd name="T74" fmla="*/ 2147483647 w 438"/>
                <a:gd name="T75" fmla="*/ 2147483647 h 516"/>
                <a:gd name="T76" fmla="*/ 2147483647 w 438"/>
                <a:gd name="T77" fmla="*/ 2147483647 h 516"/>
                <a:gd name="T78" fmla="*/ 2147483647 w 438"/>
                <a:gd name="T79" fmla="*/ 2147483647 h 516"/>
                <a:gd name="T80" fmla="*/ 2147483647 w 438"/>
                <a:gd name="T81" fmla="*/ 2147483647 h 516"/>
                <a:gd name="T82" fmla="*/ 2147483647 w 438"/>
                <a:gd name="T83" fmla="*/ 2147483647 h 516"/>
                <a:gd name="T84" fmla="*/ 2147483647 w 438"/>
                <a:gd name="T85" fmla="*/ 2147483647 h 516"/>
                <a:gd name="T86" fmla="*/ 2147483647 w 438"/>
                <a:gd name="T87" fmla="*/ 2147483647 h 516"/>
                <a:gd name="T88" fmla="*/ 2147483647 w 438"/>
                <a:gd name="T89" fmla="*/ 2147483647 h 51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38"/>
                <a:gd name="T136" fmla="*/ 0 h 516"/>
                <a:gd name="T137" fmla="*/ 438 w 438"/>
                <a:gd name="T138" fmla="*/ 516 h 51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38" h="516">
                  <a:moveTo>
                    <a:pt x="402" y="408"/>
                  </a:moveTo>
                  <a:lnTo>
                    <a:pt x="402" y="402"/>
                  </a:lnTo>
                  <a:lnTo>
                    <a:pt x="396" y="396"/>
                  </a:lnTo>
                  <a:lnTo>
                    <a:pt x="390" y="384"/>
                  </a:lnTo>
                  <a:lnTo>
                    <a:pt x="390" y="372"/>
                  </a:lnTo>
                  <a:lnTo>
                    <a:pt x="384" y="354"/>
                  </a:lnTo>
                  <a:lnTo>
                    <a:pt x="378" y="342"/>
                  </a:lnTo>
                  <a:lnTo>
                    <a:pt x="378" y="318"/>
                  </a:lnTo>
                  <a:lnTo>
                    <a:pt x="384" y="312"/>
                  </a:lnTo>
                  <a:lnTo>
                    <a:pt x="390" y="300"/>
                  </a:lnTo>
                  <a:lnTo>
                    <a:pt x="408" y="282"/>
                  </a:lnTo>
                  <a:lnTo>
                    <a:pt x="408" y="270"/>
                  </a:lnTo>
                  <a:lnTo>
                    <a:pt x="414" y="258"/>
                  </a:lnTo>
                  <a:lnTo>
                    <a:pt x="414" y="240"/>
                  </a:lnTo>
                  <a:lnTo>
                    <a:pt x="420" y="228"/>
                  </a:lnTo>
                  <a:lnTo>
                    <a:pt x="426" y="222"/>
                  </a:lnTo>
                  <a:lnTo>
                    <a:pt x="438" y="198"/>
                  </a:lnTo>
                  <a:lnTo>
                    <a:pt x="438" y="186"/>
                  </a:lnTo>
                  <a:lnTo>
                    <a:pt x="432" y="174"/>
                  </a:lnTo>
                  <a:lnTo>
                    <a:pt x="432" y="162"/>
                  </a:lnTo>
                  <a:lnTo>
                    <a:pt x="426" y="150"/>
                  </a:lnTo>
                  <a:lnTo>
                    <a:pt x="426" y="138"/>
                  </a:lnTo>
                  <a:lnTo>
                    <a:pt x="420" y="132"/>
                  </a:lnTo>
                  <a:lnTo>
                    <a:pt x="420" y="126"/>
                  </a:lnTo>
                  <a:lnTo>
                    <a:pt x="432" y="126"/>
                  </a:lnTo>
                  <a:lnTo>
                    <a:pt x="426" y="96"/>
                  </a:lnTo>
                  <a:lnTo>
                    <a:pt x="408" y="102"/>
                  </a:lnTo>
                  <a:lnTo>
                    <a:pt x="408" y="90"/>
                  </a:lnTo>
                  <a:lnTo>
                    <a:pt x="390" y="72"/>
                  </a:lnTo>
                  <a:lnTo>
                    <a:pt x="372" y="66"/>
                  </a:lnTo>
                  <a:lnTo>
                    <a:pt x="342" y="66"/>
                  </a:lnTo>
                  <a:lnTo>
                    <a:pt x="318" y="78"/>
                  </a:lnTo>
                  <a:lnTo>
                    <a:pt x="318" y="84"/>
                  </a:lnTo>
                  <a:lnTo>
                    <a:pt x="312" y="90"/>
                  </a:lnTo>
                  <a:lnTo>
                    <a:pt x="300" y="90"/>
                  </a:lnTo>
                  <a:lnTo>
                    <a:pt x="294" y="84"/>
                  </a:lnTo>
                  <a:lnTo>
                    <a:pt x="282" y="84"/>
                  </a:lnTo>
                  <a:lnTo>
                    <a:pt x="276" y="78"/>
                  </a:lnTo>
                  <a:lnTo>
                    <a:pt x="264" y="72"/>
                  </a:lnTo>
                  <a:lnTo>
                    <a:pt x="258" y="60"/>
                  </a:lnTo>
                  <a:lnTo>
                    <a:pt x="258" y="48"/>
                  </a:lnTo>
                  <a:lnTo>
                    <a:pt x="252" y="42"/>
                  </a:lnTo>
                  <a:lnTo>
                    <a:pt x="252" y="36"/>
                  </a:lnTo>
                  <a:lnTo>
                    <a:pt x="228" y="42"/>
                  </a:lnTo>
                  <a:lnTo>
                    <a:pt x="228" y="18"/>
                  </a:lnTo>
                  <a:lnTo>
                    <a:pt x="216" y="18"/>
                  </a:lnTo>
                  <a:lnTo>
                    <a:pt x="210" y="24"/>
                  </a:lnTo>
                  <a:lnTo>
                    <a:pt x="204" y="36"/>
                  </a:lnTo>
                  <a:lnTo>
                    <a:pt x="198" y="42"/>
                  </a:lnTo>
                  <a:lnTo>
                    <a:pt x="174" y="36"/>
                  </a:lnTo>
                  <a:lnTo>
                    <a:pt x="174" y="0"/>
                  </a:lnTo>
                  <a:lnTo>
                    <a:pt x="162" y="24"/>
                  </a:lnTo>
                  <a:lnTo>
                    <a:pt x="150" y="6"/>
                  </a:lnTo>
                  <a:lnTo>
                    <a:pt x="144" y="30"/>
                  </a:lnTo>
                  <a:lnTo>
                    <a:pt x="126" y="30"/>
                  </a:lnTo>
                  <a:lnTo>
                    <a:pt x="120" y="48"/>
                  </a:lnTo>
                  <a:lnTo>
                    <a:pt x="102" y="30"/>
                  </a:lnTo>
                  <a:lnTo>
                    <a:pt x="84" y="24"/>
                  </a:lnTo>
                  <a:lnTo>
                    <a:pt x="72" y="24"/>
                  </a:lnTo>
                  <a:lnTo>
                    <a:pt x="66" y="30"/>
                  </a:lnTo>
                  <a:lnTo>
                    <a:pt x="66" y="48"/>
                  </a:lnTo>
                  <a:lnTo>
                    <a:pt x="54" y="42"/>
                  </a:lnTo>
                  <a:lnTo>
                    <a:pt x="36" y="66"/>
                  </a:lnTo>
                  <a:lnTo>
                    <a:pt x="42" y="102"/>
                  </a:lnTo>
                  <a:lnTo>
                    <a:pt x="60" y="108"/>
                  </a:lnTo>
                  <a:lnTo>
                    <a:pt x="48" y="126"/>
                  </a:lnTo>
                  <a:lnTo>
                    <a:pt x="66" y="132"/>
                  </a:lnTo>
                  <a:lnTo>
                    <a:pt x="60" y="138"/>
                  </a:lnTo>
                  <a:lnTo>
                    <a:pt x="54" y="150"/>
                  </a:lnTo>
                  <a:lnTo>
                    <a:pt x="54" y="162"/>
                  </a:lnTo>
                  <a:lnTo>
                    <a:pt x="60" y="162"/>
                  </a:lnTo>
                  <a:lnTo>
                    <a:pt x="72" y="168"/>
                  </a:lnTo>
                  <a:lnTo>
                    <a:pt x="78" y="168"/>
                  </a:lnTo>
                  <a:lnTo>
                    <a:pt x="78" y="180"/>
                  </a:lnTo>
                  <a:lnTo>
                    <a:pt x="72" y="186"/>
                  </a:lnTo>
                  <a:lnTo>
                    <a:pt x="72" y="192"/>
                  </a:lnTo>
                  <a:lnTo>
                    <a:pt x="66" y="186"/>
                  </a:lnTo>
                  <a:lnTo>
                    <a:pt x="54" y="186"/>
                  </a:lnTo>
                  <a:lnTo>
                    <a:pt x="48" y="180"/>
                  </a:lnTo>
                  <a:lnTo>
                    <a:pt x="30" y="180"/>
                  </a:lnTo>
                  <a:lnTo>
                    <a:pt x="30" y="192"/>
                  </a:lnTo>
                  <a:lnTo>
                    <a:pt x="36" y="204"/>
                  </a:lnTo>
                  <a:lnTo>
                    <a:pt x="48" y="210"/>
                  </a:lnTo>
                  <a:lnTo>
                    <a:pt x="54" y="222"/>
                  </a:lnTo>
                  <a:lnTo>
                    <a:pt x="36" y="222"/>
                  </a:lnTo>
                  <a:lnTo>
                    <a:pt x="36" y="228"/>
                  </a:lnTo>
                  <a:lnTo>
                    <a:pt x="42" y="234"/>
                  </a:lnTo>
                  <a:lnTo>
                    <a:pt x="42" y="252"/>
                  </a:lnTo>
                  <a:lnTo>
                    <a:pt x="36" y="258"/>
                  </a:lnTo>
                  <a:lnTo>
                    <a:pt x="30" y="258"/>
                  </a:lnTo>
                  <a:lnTo>
                    <a:pt x="18" y="252"/>
                  </a:lnTo>
                  <a:lnTo>
                    <a:pt x="12" y="246"/>
                  </a:lnTo>
                  <a:lnTo>
                    <a:pt x="6" y="246"/>
                  </a:lnTo>
                  <a:lnTo>
                    <a:pt x="24" y="282"/>
                  </a:lnTo>
                  <a:lnTo>
                    <a:pt x="24" y="306"/>
                  </a:lnTo>
                  <a:lnTo>
                    <a:pt x="18" y="324"/>
                  </a:lnTo>
                  <a:lnTo>
                    <a:pt x="6" y="330"/>
                  </a:lnTo>
                  <a:lnTo>
                    <a:pt x="0" y="342"/>
                  </a:lnTo>
                  <a:lnTo>
                    <a:pt x="6" y="348"/>
                  </a:lnTo>
                  <a:lnTo>
                    <a:pt x="24" y="348"/>
                  </a:lnTo>
                  <a:lnTo>
                    <a:pt x="24" y="360"/>
                  </a:lnTo>
                  <a:lnTo>
                    <a:pt x="60" y="354"/>
                  </a:lnTo>
                  <a:lnTo>
                    <a:pt x="60" y="384"/>
                  </a:lnTo>
                  <a:lnTo>
                    <a:pt x="90" y="414"/>
                  </a:lnTo>
                  <a:lnTo>
                    <a:pt x="90" y="438"/>
                  </a:lnTo>
                  <a:lnTo>
                    <a:pt x="84" y="450"/>
                  </a:lnTo>
                  <a:lnTo>
                    <a:pt x="84" y="462"/>
                  </a:lnTo>
                  <a:lnTo>
                    <a:pt x="78" y="468"/>
                  </a:lnTo>
                  <a:lnTo>
                    <a:pt x="78" y="516"/>
                  </a:lnTo>
                  <a:lnTo>
                    <a:pt x="90" y="516"/>
                  </a:lnTo>
                  <a:lnTo>
                    <a:pt x="96" y="510"/>
                  </a:lnTo>
                  <a:lnTo>
                    <a:pt x="102" y="498"/>
                  </a:lnTo>
                  <a:lnTo>
                    <a:pt x="114" y="498"/>
                  </a:lnTo>
                  <a:lnTo>
                    <a:pt x="126" y="486"/>
                  </a:lnTo>
                  <a:lnTo>
                    <a:pt x="138" y="480"/>
                  </a:lnTo>
                  <a:lnTo>
                    <a:pt x="198" y="456"/>
                  </a:lnTo>
                  <a:lnTo>
                    <a:pt x="228" y="450"/>
                  </a:lnTo>
                  <a:lnTo>
                    <a:pt x="264" y="450"/>
                  </a:lnTo>
                  <a:lnTo>
                    <a:pt x="270" y="444"/>
                  </a:lnTo>
                  <a:lnTo>
                    <a:pt x="282" y="444"/>
                  </a:lnTo>
                  <a:lnTo>
                    <a:pt x="294" y="438"/>
                  </a:lnTo>
                  <a:lnTo>
                    <a:pt x="330" y="438"/>
                  </a:lnTo>
                  <a:lnTo>
                    <a:pt x="336" y="444"/>
                  </a:lnTo>
                  <a:lnTo>
                    <a:pt x="342" y="444"/>
                  </a:lnTo>
                  <a:lnTo>
                    <a:pt x="348" y="450"/>
                  </a:lnTo>
                  <a:lnTo>
                    <a:pt x="366" y="450"/>
                  </a:lnTo>
                  <a:lnTo>
                    <a:pt x="378" y="438"/>
                  </a:lnTo>
                  <a:lnTo>
                    <a:pt x="384" y="438"/>
                  </a:lnTo>
                  <a:lnTo>
                    <a:pt x="384" y="444"/>
                  </a:lnTo>
                  <a:lnTo>
                    <a:pt x="396" y="456"/>
                  </a:lnTo>
                  <a:lnTo>
                    <a:pt x="408" y="462"/>
                  </a:lnTo>
                  <a:lnTo>
                    <a:pt x="420" y="462"/>
                  </a:lnTo>
                  <a:lnTo>
                    <a:pt x="426" y="468"/>
                  </a:lnTo>
                  <a:lnTo>
                    <a:pt x="426" y="414"/>
                  </a:lnTo>
                  <a:lnTo>
                    <a:pt x="402" y="408"/>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213" name="Costa Rica" descr="© INSCALE GmbH, 05.05.2010&#10;http://www.presentationload.com/">
              <a:extLst>
                <a:ext uri="{FF2B5EF4-FFF2-40B4-BE49-F238E27FC236}">
                  <a16:creationId xmlns:a16="http://schemas.microsoft.com/office/drawing/2014/main" id="{0CB9FE89-7DBC-F7DD-AA00-AD39032F4498}"/>
                </a:ext>
              </a:extLst>
            </p:cNvPr>
            <p:cNvSpPr>
              <a:spLocks/>
            </p:cNvSpPr>
            <p:nvPr/>
          </p:nvSpPr>
          <p:spPr bwMode="gray">
            <a:xfrm>
              <a:off x="1925855" y="2876049"/>
              <a:ext cx="90425" cy="87461"/>
            </a:xfrm>
            <a:custGeom>
              <a:avLst/>
              <a:gdLst>
                <a:gd name="T0" fmla="*/ 2147483647 w 240"/>
                <a:gd name="T1" fmla="*/ 2147483647 h 228"/>
                <a:gd name="T2" fmla="*/ 2147483647 w 240"/>
                <a:gd name="T3" fmla="*/ 2147483647 h 228"/>
                <a:gd name="T4" fmla="*/ 2147483647 w 240"/>
                <a:gd name="T5" fmla="*/ 2147483647 h 228"/>
                <a:gd name="T6" fmla="*/ 2147483647 w 240"/>
                <a:gd name="T7" fmla="*/ 2147483647 h 228"/>
                <a:gd name="T8" fmla="*/ 2147483647 w 240"/>
                <a:gd name="T9" fmla="*/ 2147483647 h 228"/>
                <a:gd name="T10" fmla="*/ 2147483647 w 240"/>
                <a:gd name="T11" fmla="*/ 2147483647 h 228"/>
                <a:gd name="T12" fmla="*/ 2147483647 w 240"/>
                <a:gd name="T13" fmla="*/ 2147483647 h 228"/>
                <a:gd name="T14" fmla="*/ 2147483647 w 240"/>
                <a:gd name="T15" fmla="*/ 2147483647 h 228"/>
                <a:gd name="T16" fmla="*/ 2147483647 w 240"/>
                <a:gd name="T17" fmla="*/ 2147483647 h 228"/>
                <a:gd name="T18" fmla="*/ 2147483647 w 240"/>
                <a:gd name="T19" fmla="*/ 2147483647 h 228"/>
                <a:gd name="T20" fmla="*/ 2147483647 w 240"/>
                <a:gd name="T21" fmla="*/ 2147483647 h 228"/>
                <a:gd name="T22" fmla="*/ 2147483647 w 240"/>
                <a:gd name="T23" fmla="*/ 2147483647 h 228"/>
                <a:gd name="T24" fmla="*/ 2147483647 w 240"/>
                <a:gd name="T25" fmla="*/ 2147483647 h 228"/>
                <a:gd name="T26" fmla="*/ 2147483647 w 240"/>
                <a:gd name="T27" fmla="*/ 2147483647 h 228"/>
                <a:gd name="T28" fmla="*/ 2147483647 w 240"/>
                <a:gd name="T29" fmla="*/ 2147483647 h 228"/>
                <a:gd name="T30" fmla="*/ 2147483647 w 240"/>
                <a:gd name="T31" fmla="*/ 0 h 228"/>
                <a:gd name="T32" fmla="*/ 2147483647 w 240"/>
                <a:gd name="T33" fmla="*/ 2147483647 h 228"/>
                <a:gd name="T34" fmla="*/ 2147483647 w 240"/>
                <a:gd name="T35" fmla="*/ 2147483647 h 228"/>
                <a:gd name="T36" fmla="*/ 0 w 240"/>
                <a:gd name="T37" fmla="*/ 2147483647 h 228"/>
                <a:gd name="T38" fmla="*/ 2147483647 w 240"/>
                <a:gd name="T39" fmla="*/ 2147483647 h 228"/>
                <a:gd name="T40" fmla="*/ 2147483647 w 240"/>
                <a:gd name="T41" fmla="*/ 2147483647 h 228"/>
                <a:gd name="T42" fmla="*/ 2147483647 w 240"/>
                <a:gd name="T43" fmla="*/ 2147483647 h 228"/>
                <a:gd name="T44" fmla="*/ 2147483647 w 240"/>
                <a:gd name="T45" fmla="*/ 2147483647 h 228"/>
                <a:gd name="T46" fmla="*/ 2147483647 w 240"/>
                <a:gd name="T47" fmla="*/ 2147483647 h 228"/>
                <a:gd name="T48" fmla="*/ 2147483647 w 240"/>
                <a:gd name="T49" fmla="*/ 2147483647 h 228"/>
                <a:gd name="T50" fmla="*/ 2147483647 w 240"/>
                <a:gd name="T51" fmla="*/ 2147483647 h 228"/>
                <a:gd name="T52" fmla="*/ 2147483647 w 240"/>
                <a:gd name="T53" fmla="*/ 2147483647 h 228"/>
                <a:gd name="T54" fmla="*/ 2147483647 w 240"/>
                <a:gd name="T55" fmla="*/ 2147483647 h 228"/>
                <a:gd name="T56" fmla="*/ 2147483647 w 240"/>
                <a:gd name="T57" fmla="*/ 2147483647 h 228"/>
                <a:gd name="T58" fmla="*/ 2147483647 w 240"/>
                <a:gd name="T59" fmla="*/ 2147483647 h 228"/>
                <a:gd name="T60" fmla="*/ 2147483647 w 240"/>
                <a:gd name="T61" fmla="*/ 2147483647 h 228"/>
                <a:gd name="T62" fmla="*/ 2147483647 w 240"/>
                <a:gd name="T63" fmla="*/ 2147483647 h 228"/>
                <a:gd name="T64" fmla="*/ 2147483647 w 240"/>
                <a:gd name="T65" fmla="*/ 2147483647 h 228"/>
                <a:gd name="T66" fmla="*/ 2147483647 w 240"/>
                <a:gd name="T67" fmla="*/ 2147483647 h 22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40"/>
                <a:gd name="T103" fmla="*/ 0 h 228"/>
                <a:gd name="T104" fmla="*/ 240 w 240"/>
                <a:gd name="T105" fmla="*/ 228 h 22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40" h="228">
                  <a:moveTo>
                    <a:pt x="210" y="198"/>
                  </a:moveTo>
                  <a:lnTo>
                    <a:pt x="216" y="198"/>
                  </a:lnTo>
                  <a:lnTo>
                    <a:pt x="234" y="180"/>
                  </a:lnTo>
                  <a:lnTo>
                    <a:pt x="228" y="174"/>
                  </a:lnTo>
                  <a:lnTo>
                    <a:pt x="210" y="174"/>
                  </a:lnTo>
                  <a:lnTo>
                    <a:pt x="210" y="168"/>
                  </a:lnTo>
                  <a:lnTo>
                    <a:pt x="204" y="162"/>
                  </a:lnTo>
                  <a:lnTo>
                    <a:pt x="204" y="144"/>
                  </a:lnTo>
                  <a:lnTo>
                    <a:pt x="210" y="138"/>
                  </a:lnTo>
                  <a:lnTo>
                    <a:pt x="222" y="138"/>
                  </a:lnTo>
                  <a:lnTo>
                    <a:pt x="228" y="132"/>
                  </a:lnTo>
                  <a:lnTo>
                    <a:pt x="240" y="132"/>
                  </a:lnTo>
                  <a:lnTo>
                    <a:pt x="228" y="126"/>
                  </a:lnTo>
                  <a:lnTo>
                    <a:pt x="210" y="108"/>
                  </a:lnTo>
                  <a:lnTo>
                    <a:pt x="198" y="84"/>
                  </a:lnTo>
                  <a:lnTo>
                    <a:pt x="192" y="78"/>
                  </a:lnTo>
                  <a:lnTo>
                    <a:pt x="186" y="66"/>
                  </a:lnTo>
                  <a:lnTo>
                    <a:pt x="180" y="60"/>
                  </a:lnTo>
                  <a:lnTo>
                    <a:pt x="174" y="36"/>
                  </a:lnTo>
                  <a:lnTo>
                    <a:pt x="138" y="36"/>
                  </a:lnTo>
                  <a:lnTo>
                    <a:pt x="126" y="24"/>
                  </a:lnTo>
                  <a:lnTo>
                    <a:pt x="126" y="18"/>
                  </a:lnTo>
                  <a:lnTo>
                    <a:pt x="120" y="18"/>
                  </a:lnTo>
                  <a:lnTo>
                    <a:pt x="114" y="12"/>
                  </a:lnTo>
                  <a:lnTo>
                    <a:pt x="84" y="12"/>
                  </a:lnTo>
                  <a:lnTo>
                    <a:pt x="84" y="18"/>
                  </a:lnTo>
                  <a:lnTo>
                    <a:pt x="78" y="18"/>
                  </a:lnTo>
                  <a:lnTo>
                    <a:pt x="72" y="12"/>
                  </a:lnTo>
                  <a:lnTo>
                    <a:pt x="60" y="6"/>
                  </a:lnTo>
                  <a:lnTo>
                    <a:pt x="48" y="6"/>
                  </a:lnTo>
                  <a:lnTo>
                    <a:pt x="42" y="0"/>
                  </a:lnTo>
                  <a:lnTo>
                    <a:pt x="24" y="0"/>
                  </a:lnTo>
                  <a:lnTo>
                    <a:pt x="6" y="30"/>
                  </a:lnTo>
                  <a:lnTo>
                    <a:pt x="18" y="42"/>
                  </a:lnTo>
                  <a:lnTo>
                    <a:pt x="24" y="42"/>
                  </a:lnTo>
                  <a:lnTo>
                    <a:pt x="24" y="48"/>
                  </a:lnTo>
                  <a:lnTo>
                    <a:pt x="6" y="66"/>
                  </a:lnTo>
                  <a:lnTo>
                    <a:pt x="0" y="78"/>
                  </a:lnTo>
                  <a:lnTo>
                    <a:pt x="6" y="90"/>
                  </a:lnTo>
                  <a:lnTo>
                    <a:pt x="18" y="102"/>
                  </a:lnTo>
                  <a:lnTo>
                    <a:pt x="30" y="108"/>
                  </a:lnTo>
                  <a:lnTo>
                    <a:pt x="42" y="108"/>
                  </a:lnTo>
                  <a:lnTo>
                    <a:pt x="60" y="126"/>
                  </a:lnTo>
                  <a:lnTo>
                    <a:pt x="72" y="126"/>
                  </a:lnTo>
                  <a:lnTo>
                    <a:pt x="72" y="102"/>
                  </a:lnTo>
                  <a:lnTo>
                    <a:pt x="66" y="96"/>
                  </a:lnTo>
                  <a:lnTo>
                    <a:pt x="54" y="90"/>
                  </a:lnTo>
                  <a:lnTo>
                    <a:pt x="42" y="78"/>
                  </a:lnTo>
                  <a:lnTo>
                    <a:pt x="42" y="72"/>
                  </a:lnTo>
                  <a:lnTo>
                    <a:pt x="48" y="72"/>
                  </a:lnTo>
                  <a:lnTo>
                    <a:pt x="60" y="78"/>
                  </a:lnTo>
                  <a:lnTo>
                    <a:pt x="66" y="84"/>
                  </a:lnTo>
                  <a:lnTo>
                    <a:pt x="90" y="96"/>
                  </a:lnTo>
                  <a:lnTo>
                    <a:pt x="96" y="102"/>
                  </a:lnTo>
                  <a:lnTo>
                    <a:pt x="96" y="132"/>
                  </a:lnTo>
                  <a:lnTo>
                    <a:pt x="114" y="132"/>
                  </a:lnTo>
                  <a:lnTo>
                    <a:pt x="126" y="138"/>
                  </a:lnTo>
                  <a:lnTo>
                    <a:pt x="138" y="138"/>
                  </a:lnTo>
                  <a:lnTo>
                    <a:pt x="156" y="180"/>
                  </a:lnTo>
                  <a:lnTo>
                    <a:pt x="150" y="186"/>
                  </a:lnTo>
                  <a:lnTo>
                    <a:pt x="150" y="198"/>
                  </a:lnTo>
                  <a:lnTo>
                    <a:pt x="168" y="216"/>
                  </a:lnTo>
                  <a:lnTo>
                    <a:pt x="180" y="222"/>
                  </a:lnTo>
                  <a:lnTo>
                    <a:pt x="192" y="222"/>
                  </a:lnTo>
                  <a:lnTo>
                    <a:pt x="174" y="198"/>
                  </a:lnTo>
                  <a:lnTo>
                    <a:pt x="204" y="228"/>
                  </a:lnTo>
                  <a:lnTo>
                    <a:pt x="210" y="222"/>
                  </a:lnTo>
                  <a:lnTo>
                    <a:pt x="210" y="198"/>
                  </a:lnTo>
                  <a:close/>
                </a:path>
              </a:pathLst>
            </a:custGeom>
            <a:grp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214" name="Congo" descr="© INSCALE GmbH, 05.05.2010&#10;http://www.presentationload.com/">
              <a:extLst>
                <a:ext uri="{FF2B5EF4-FFF2-40B4-BE49-F238E27FC236}">
                  <a16:creationId xmlns:a16="http://schemas.microsoft.com/office/drawing/2014/main" id="{0AFEA2D2-39A7-654D-D77C-9334B2B898FC}"/>
                </a:ext>
              </a:extLst>
            </p:cNvPr>
            <p:cNvSpPr>
              <a:spLocks/>
            </p:cNvSpPr>
            <p:nvPr/>
          </p:nvSpPr>
          <p:spPr bwMode="gray">
            <a:xfrm>
              <a:off x="4565961" y="3053935"/>
              <a:ext cx="511419" cy="575162"/>
            </a:xfrm>
            <a:custGeom>
              <a:avLst/>
              <a:gdLst>
                <a:gd name="T0" fmla="*/ 2147483647 w 1350"/>
                <a:gd name="T1" fmla="*/ 2147483647 h 1518"/>
                <a:gd name="T2" fmla="*/ 2147483647 w 1350"/>
                <a:gd name="T3" fmla="*/ 2147483647 h 1518"/>
                <a:gd name="T4" fmla="*/ 2147483647 w 1350"/>
                <a:gd name="T5" fmla="*/ 2147483647 h 1518"/>
                <a:gd name="T6" fmla="*/ 2147483647 w 1350"/>
                <a:gd name="T7" fmla="*/ 2147483647 h 1518"/>
                <a:gd name="T8" fmla="*/ 2147483647 w 1350"/>
                <a:gd name="T9" fmla="*/ 2147483647 h 1518"/>
                <a:gd name="T10" fmla="*/ 2147483647 w 1350"/>
                <a:gd name="T11" fmla="*/ 2147483647 h 1518"/>
                <a:gd name="T12" fmla="*/ 2147483647 w 1350"/>
                <a:gd name="T13" fmla="*/ 2147483647 h 1518"/>
                <a:gd name="T14" fmla="*/ 2147483647 w 1350"/>
                <a:gd name="T15" fmla="*/ 2147483647 h 1518"/>
                <a:gd name="T16" fmla="*/ 2147483647 w 1350"/>
                <a:gd name="T17" fmla="*/ 2147483647 h 1518"/>
                <a:gd name="T18" fmla="*/ 2147483647 w 1350"/>
                <a:gd name="T19" fmla="*/ 2147483647 h 1518"/>
                <a:gd name="T20" fmla="*/ 2147483647 w 1350"/>
                <a:gd name="T21" fmla="*/ 2147483647 h 1518"/>
                <a:gd name="T22" fmla="*/ 2147483647 w 1350"/>
                <a:gd name="T23" fmla="*/ 2147483647 h 1518"/>
                <a:gd name="T24" fmla="*/ 2147483647 w 1350"/>
                <a:gd name="T25" fmla="*/ 2147483647 h 1518"/>
                <a:gd name="T26" fmla="*/ 2147483647 w 1350"/>
                <a:gd name="T27" fmla="*/ 2147483647 h 1518"/>
                <a:gd name="T28" fmla="*/ 2147483647 w 1350"/>
                <a:gd name="T29" fmla="*/ 2147483647 h 1518"/>
                <a:gd name="T30" fmla="*/ 2147483647 w 1350"/>
                <a:gd name="T31" fmla="*/ 2147483647 h 1518"/>
                <a:gd name="T32" fmla="*/ 2147483647 w 1350"/>
                <a:gd name="T33" fmla="*/ 2147483647 h 1518"/>
                <a:gd name="T34" fmla="*/ 2147483647 w 1350"/>
                <a:gd name="T35" fmla="*/ 2147483647 h 1518"/>
                <a:gd name="T36" fmla="*/ 2147483647 w 1350"/>
                <a:gd name="T37" fmla="*/ 2147483647 h 1518"/>
                <a:gd name="T38" fmla="*/ 2147483647 w 1350"/>
                <a:gd name="T39" fmla="*/ 2147483647 h 1518"/>
                <a:gd name="T40" fmla="*/ 2147483647 w 1350"/>
                <a:gd name="T41" fmla="*/ 2147483647 h 1518"/>
                <a:gd name="T42" fmla="*/ 2147483647 w 1350"/>
                <a:gd name="T43" fmla="*/ 2147483647 h 1518"/>
                <a:gd name="T44" fmla="*/ 2147483647 w 1350"/>
                <a:gd name="T45" fmla="*/ 2147483647 h 1518"/>
                <a:gd name="T46" fmla="*/ 2147483647 w 1350"/>
                <a:gd name="T47" fmla="*/ 2147483647 h 1518"/>
                <a:gd name="T48" fmla="*/ 2147483647 w 1350"/>
                <a:gd name="T49" fmla="*/ 2147483647 h 1518"/>
                <a:gd name="T50" fmla="*/ 2147483647 w 1350"/>
                <a:gd name="T51" fmla="*/ 2147483647 h 1518"/>
                <a:gd name="T52" fmla="*/ 2147483647 w 1350"/>
                <a:gd name="T53" fmla="*/ 2147483647 h 1518"/>
                <a:gd name="T54" fmla="*/ 2147483647 w 1350"/>
                <a:gd name="T55" fmla="*/ 2147483647 h 1518"/>
                <a:gd name="T56" fmla="*/ 2147483647 w 1350"/>
                <a:gd name="T57" fmla="*/ 2147483647 h 1518"/>
                <a:gd name="T58" fmla="*/ 2147483647 w 1350"/>
                <a:gd name="T59" fmla="*/ 2147483647 h 1518"/>
                <a:gd name="T60" fmla="*/ 2147483647 w 1350"/>
                <a:gd name="T61" fmla="*/ 2147483647 h 1518"/>
                <a:gd name="T62" fmla="*/ 2147483647 w 1350"/>
                <a:gd name="T63" fmla="*/ 2147483647 h 1518"/>
                <a:gd name="T64" fmla="*/ 2147483647 w 1350"/>
                <a:gd name="T65" fmla="*/ 2147483647 h 1518"/>
                <a:gd name="T66" fmla="*/ 2147483647 w 1350"/>
                <a:gd name="T67" fmla="*/ 2147483647 h 1518"/>
                <a:gd name="T68" fmla="*/ 2147483647 w 1350"/>
                <a:gd name="T69" fmla="*/ 2147483647 h 1518"/>
                <a:gd name="T70" fmla="*/ 2147483647 w 1350"/>
                <a:gd name="T71" fmla="*/ 2147483647 h 1518"/>
                <a:gd name="T72" fmla="*/ 2147483647 w 1350"/>
                <a:gd name="T73" fmla="*/ 2147483647 h 1518"/>
                <a:gd name="T74" fmla="*/ 2147483647 w 1350"/>
                <a:gd name="T75" fmla="*/ 2147483647 h 1518"/>
                <a:gd name="T76" fmla="*/ 2147483647 w 1350"/>
                <a:gd name="T77" fmla="*/ 2147483647 h 1518"/>
                <a:gd name="T78" fmla="*/ 2147483647 w 1350"/>
                <a:gd name="T79" fmla="*/ 2147483647 h 1518"/>
                <a:gd name="T80" fmla="*/ 2147483647 w 1350"/>
                <a:gd name="T81" fmla="*/ 2147483647 h 1518"/>
                <a:gd name="T82" fmla="*/ 2147483647 w 1350"/>
                <a:gd name="T83" fmla="*/ 2147483647 h 1518"/>
                <a:gd name="T84" fmla="*/ 2147483647 w 1350"/>
                <a:gd name="T85" fmla="*/ 2147483647 h 1518"/>
                <a:gd name="T86" fmla="*/ 2147483647 w 1350"/>
                <a:gd name="T87" fmla="*/ 2147483647 h 1518"/>
                <a:gd name="T88" fmla="*/ 2147483647 w 1350"/>
                <a:gd name="T89" fmla="*/ 2147483647 h 1518"/>
                <a:gd name="T90" fmla="*/ 2147483647 w 1350"/>
                <a:gd name="T91" fmla="*/ 2147483647 h 1518"/>
                <a:gd name="T92" fmla="*/ 2147483647 w 1350"/>
                <a:gd name="T93" fmla="*/ 2147483647 h 1518"/>
                <a:gd name="T94" fmla="*/ 2147483647 w 1350"/>
                <a:gd name="T95" fmla="*/ 2147483647 h 1518"/>
                <a:gd name="T96" fmla="*/ 2147483647 w 1350"/>
                <a:gd name="T97" fmla="*/ 2147483647 h 1518"/>
                <a:gd name="T98" fmla="*/ 2147483647 w 1350"/>
                <a:gd name="T99" fmla="*/ 2147483647 h 1518"/>
                <a:gd name="T100" fmla="*/ 2147483647 w 1350"/>
                <a:gd name="T101" fmla="*/ 2147483647 h 1518"/>
                <a:gd name="T102" fmla="*/ 2147483647 w 1350"/>
                <a:gd name="T103" fmla="*/ 2147483647 h 1518"/>
                <a:gd name="T104" fmla="*/ 2147483647 w 1350"/>
                <a:gd name="T105" fmla="*/ 2147483647 h 1518"/>
                <a:gd name="T106" fmla="*/ 2147483647 w 1350"/>
                <a:gd name="T107" fmla="*/ 2147483647 h 1518"/>
                <a:gd name="T108" fmla="*/ 2147483647 w 1350"/>
                <a:gd name="T109" fmla="*/ 2147483647 h 1518"/>
                <a:gd name="T110" fmla="*/ 2147483647 w 1350"/>
                <a:gd name="T111" fmla="*/ 2147483647 h 1518"/>
                <a:gd name="T112" fmla="*/ 2147483647 w 1350"/>
                <a:gd name="T113" fmla="*/ 2147483647 h 1518"/>
                <a:gd name="T114" fmla="*/ 2147483647 w 1350"/>
                <a:gd name="T115" fmla="*/ 2147483647 h 1518"/>
                <a:gd name="T116" fmla="*/ 2147483647 w 1350"/>
                <a:gd name="T117" fmla="*/ 2147483647 h 1518"/>
                <a:gd name="T118" fmla="*/ 2147483647 w 1350"/>
                <a:gd name="T119" fmla="*/ 2147483647 h 1518"/>
                <a:gd name="T120" fmla="*/ 2147483647 w 1350"/>
                <a:gd name="T121" fmla="*/ 2147483647 h 1518"/>
                <a:gd name="T122" fmla="*/ 2147483647 w 1350"/>
                <a:gd name="T123" fmla="*/ 2147483647 h 1518"/>
                <a:gd name="T124" fmla="*/ 2147483647 w 1350"/>
                <a:gd name="T125" fmla="*/ 2147483647 h 151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350"/>
                <a:gd name="T190" fmla="*/ 0 h 1518"/>
                <a:gd name="T191" fmla="*/ 1350 w 1350"/>
                <a:gd name="T192" fmla="*/ 1518 h 151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350" h="1518">
                  <a:moveTo>
                    <a:pt x="1242" y="468"/>
                  </a:moveTo>
                  <a:lnTo>
                    <a:pt x="1242" y="438"/>
                  </a:lnTo>
                  <a:lnTo>
                    <a:pt x="1260" y="366"/>
                  </a:lnTo>
                  <a:lnTo>
                    <a:pt x="1278" y="354"/>
                  </a:lnTo>
                  <a:lnTo>
                    <a:pt x="1278" y="342"/>
                  </a:lnTo>
                  <a:lnTo>
                    <a:pt x="1302" y="330"/>
                  </a:lnTo>
                  <a:lnTo>
                    <a:pt x="1308" y="318"/>
                  </a:lnTo>
                  <a:lnTo>
                    <a:pt x="1320" y="312"/>
                  </a:lnTo>
                  <a:lnTo>
                    <a:pt x="1332" y="288"/>
                  </a:lnTo>
                  <a:lnTo>
                    <a:pt x="1344" y="276"/>
                  </a:lnTo>
                  <a:lnTo>
                    <a:pt x="1350" y="264"/>
                  </a:lnTo>
                  <a:lnTo>
                    <a:pt x="1350" y="252"/>
                  </a:lnTo>
                  <a:lnTo>
                    <a:pt x="1344" y="246"/>
                  </a:lnTo>
                  <a:lnTo>
                    <a:pt x="1332" y="240"/>
                  </a:lnTo>
                  <a:lnTo>
                    <a:pt x="1320" y="240"/>
                  </a:lnTo>
                  <a:lnTo>
                    <a:pt x="1314" y="234"/>
                  </a:lnTo>
                  <a:lnTo>
                    <a:pt x="1314" y="222"/>
                  </a:lnTo>
                  <a:lnTo>
                    <a:pt x="1320" y="210"/>
                  </a:lnTo>
                  <a:lnTo>
                    <a:pt x="1326" y="204"/>
                  </a:lnTo>
                  <a:lnTo>
                    <a:pt x="1326" y="198"/>
                  </a:lnTo>
                  <a:lnTo>
                    <a:pt x="1320" y="192"/>
                  </a:lnTo>
                  <a:lnTo>
                    <a:pt x="1308" y="186"/>
                  </a:lnTo>
                  <a:lnTo>
                    <a:pt x="1326" y="168"/>
                  </a:lnTo>
                  <a:lnTo>
                    <a:pt x="1320" y="144"/>
                  </a:lnTo>
                  <a:lnTo>
                    <a:pt x="1302" y="144"/>
                  </a:lnTo>
                  <a:lnTo>
                    <a:pt x="1296" y="120"/>
                  </a:lnTo>
                  <a:lnTo>
                    <a:pt x="1290" y="120"/>
                  </a:lnTo>
                  <a:lnTo>
                    <a:pt x="1284" y="114"/>
                  </a:lnTo>
                  <a:lnTo>
                    <a:pt x="1272" y="108"/>
                  </a:lnTo>
                  <a:lnTo>
                    <a:pt x="1260" y="96"/>
                  </a:lnTo>
                  <a:lnTo>
                    <a:pt x="1254" y="84"/>
                  </a:lnTo>
                  <a:lnTo>
                    <a:pt x="1248" y="66"/>
                  </a:lnTo>
                  <a:lnTo>
                    <a:pt x="1236" y="60"/>
                  </a:lnTo>
                  <a:lnTo>
                    <a:pt x="1230" y="54"/>
                  </a:lnTo>
                  <a:lnTo>
                    <a:pt x="1218" y="66"/>
                  </a:lnTo>
                  <a:lnTo>
                    <a:pt x="1218" y="72"/>
                  </a:lnTo>
                  <a:lnTo>
                    <a:pt x="1206" y="84"/>
                  </a:lnTo>
                  <a:lnTo>
                    <a:pt x="1200" y="84"/>
                  </a:lnTo>
                  <a:lnTo>
                    <a:pt x="1188" y="78"/>
                  </a:lnTo>
                  <a:lnTo>
                    <a:pt x="1188" y="72"/>
                  </a:lnTo>
                  <a:lnTo>
                    <a:pt x="1176" y="66"/>
                  </a:lnTo>
                  <a:lnTo>
                    <a:pt x="1164" y="66"/>
                  </a:lnTo>
                  <a:lnTo>
                    <a:pt x="1158" y="72"/>
                  </a:lnTo>
                  <a:lnTo>
                    <a:pt x="1152" y="84"/>
                  </a:lnTo>
                  <a:lnTo>
                    <a:pt x="1146" y="90"/>
                  </a:lnTo>
                  <a:lnTo>
                    <a:pt x="1098" y="66"/>
                  </a:lnTo>
                  <a:lnTo>
                    <a:pt x="1098" y="42"/>
                  </a:lnTo>
                  <a:lnTo>
                    <a:pt x="1068" y="18"/>
                  </a:lnTo>
                  <a:lnTo>
                    <a:pt x="1062" y="6"/>
                  </a:lnTo>
                  <a:lnTo>
                    <a:pt x="1044" y="24"/>
                  </a:lnTo>
                  <a:lnTo>
                    <a:pt x="1026" y="30"/>
                  </a:lnTo>
                  <a:lnTo>
                    <a:pt x="1002" y="30"/>
                  </a:lnTo>
                  <a:lnTo>
                    <a:pt x="990" y="18"/>
                  </a:lnTo>
                  <a:lnTo>
                    <a:pt x="990" y="12"/>
                  </a:lnTo>
                  <a:lnTo>
                    <a:pt x="954" y="18"/>
                  </a:lnTo>
                  <a:lnTo>
                    <a:pt x="942" y="6"/>
                  </a:lnTo>
                  <a:lnTo>
                    <a:pt x="942" y="0"/>
                  </a:lnTo>
                  <a:lnTo>
                    <a:pt x="936" y="0"/>
                  </a:lnTo>
                  <a:lnTo>
                    <a:pt x="918" y="18"/>
                  </a:lnTo>
                  <a:lnTo>
                    <a:pt x="918" y="30"/>
                  </a:lnTo>
                  <a:lnTo>
                    <a:pt x="906" y="30"/>
                  </a:lnTo>
                  <a:lnTo>
                    <a:pt x="900" y="36"/>
                  </a:lnTo>
                  <a:lnTo>
                    <a:pt x="876" y="36"/>
                  </a:lnTo>
                  <a:lnTo>
                    <a:pt x="864" y="24"/>
                  </a:lnTo>
                  <a:lnTo>
                    <a:pt x="840" y="42"/>
                  </a:lnTo>
                  <a:lnTo>
                    <a:pt x="822" y="42"/>
                  </a:lnTo>
                  <a:lnTo>
                    <a:pt x="810" y="54"/>
                  </a:lnTo>
                  <a:lnTo>
                    <a:pt x="798" y="60"/>
                  </a:lnTo>
                  <a:lnTo>
                    <a:pt x="792" y="66"/>
                  </a:lnTo>
                  <a:lnTo>
                    <a:pt x="786" y="66"/>
                  </a:lnTo>
                  <a:lnTo>
                    <a:pt x="762" y="42"/>
                  </a:lnTo>
                  <a:lnTo>
                    <a:pt x="756" y="54"/>
                  </a:lnTo>
                  <a:lnTo>
                    <a:pt x="738" y="72"/>
                  </a:lnTo>
                  <a:lnTo>
                    <a:pt x="738" y="84"/>
                  </a:lnTo>
                  <a:lnTo>
                    <a:pt x="732" y="90"/>
                  </a:lnTo>
                  <a:lnTo>
                    <a:pt x="726" y="102"/>
                  </a:lnTo>
                  <a:lnTo>
                    <a:pt x="720" y="108"/>
                  </a:lnTo>
                  <a:lnTo>
                    <a:pt x="708" y="102"/>
                  </a:lnTo>
                  <a:lnTo>
                    <a:pt x="702" y="96"/>
                  </a:lnTo>
                  <a:lnTo>
                    <a:pt x="690" y="90"/>
                  </a:lnTo>
                  <a:lnTo>
                    <a:pt x="642" y="90"/>
                  </a:lnTo>
                  <a:lnTo>
                    <a:pt x="630" y="84"/>
                  </a:lnTo>
                  <a:lnTo>
                    <a:pt x="624" y="78"/>
                  </a:lnTo>
                  <a:lnTo>
                    <a:pt x="582" y="78"/>
                  </a:lnTo>
                  <a:lnTo>
                    <a:pt x="582" y="48"/>
                  </a:lnTo>
                  <a:lnTo>
                    <a:pt x="576" y="42"/>
                  </a:lnTo>
                  <a:lnTo>
                    <a:pt x="558" y="42"/>
                  </a:lnTo>
                  <a:lnTo>
                    <a:pt x="558" y="30"/>
                  </a:lnTo>
                  <a:lnTo>
                    <a:pt x="546" y="24"/>
                  </a:lnTo>
                  <a:lnTo>
                    <a:pt x="534" y="24"/>
                  </a:lnTo>
                  <a:lnTo>
                    <a:pt x="516" y="18"/>
                  </a:lnTo>
                  <a:lnTo>
                    <a:pt x="504" y="18"/>
                  </a:lnTo>
                  <a:lnTo>
                    <a:pt x="492" y="24"/>
                  </a:lnTo>
                  <a:lnTo>
                    <a:pt x="486" y="30"/>
                  </a:lnTo>
                  <a:lnTo>
                    <a:pt x="486" y="36"/>
                  </a:lnTo>
                  <a:lnTo>
                    <a:pt x="480" y="48"/>
                  </a:lnTo>
                  <a:lnTo>
                    <a:pt x="480" y="54"/>
                  </a:lnTo>
                  <a:lnTo>
                    <a:pt x="474" y="66"/>
                  </a:lnTo>
                  <a:lnTo>
                    <a:pt x="462" y="78"/>
                  </a:lnTo>
                  <a:lnTo>
                    <a:pt x="456" y="78"/>
                  </a:lnTo>
                  <a:lnTo>
                    <a:pt x="444" y="90"/>
                  </a:lnTo>
                  <a:lnTo>
                    <a:pt x="444" y="102"/>
                  </a:lnTo>
                  <a:lnTo>
                    <a:pt x="450" y="102"/>
                  </a:lnTo>
                  <a:lnTo>
                    <a:pt x="450" y="120"/>
                  </a:lnTo>
                  <a:lnTo>
                    <a:pt x="438" y="138"/>
                  </a:lnTo>
                  <a:lnTo>
                    <a:pt x="450" y="150"/>
                  </a:lnTo>
                  <a:lnTo>
                    <a:pt x="450" y="186"/>
                  </a:lnTo>
                  <a:lnTo>
                    <a:pt x="444" y="198"/>
                  </a:lnTo>
                  <a:lnTo>
                    <a:pt x="438" y="216"/>
                  </a:lnTo>
                  <a:lnTo>
                    <a:pt x="426" y="228"/>
                  </a:lnTo>
                  <a:lnTo>
                    <a:pt x="414" y="252"/>
                  </a:lnTo>
                  <a:lnTo>
                    <a:pt x="408" y="258"/>
                  </a:lnTo>
                  <a:lnTo>
                    <a:pt x="408" y="288"/>
                  </a:lnTo>
                  <a:lnTo>
                    <a:pt x="414" y="300"/>
                  </a:lnTo>
                  <a:lnTo>
                    <a:pt x="414" y="324"/>
                  </a:lnTo>
                  <a:lnTo>
                    <a:pt x="396" y="360"/>
                  </a:lnTo>
                  <a:lnTo>
                    <a:pt x="396" y="372"/>
                  </a:lnTo>
                  <a:lnTo>
                    <a:pt x="402" y="378"/>
                  </a:lnTo>
                  <a:lnTo>
                    <a:pt x="408" y="390"/>
                  </a:lnTo>
                  <a:lnTo>
                    <a:pt x="408" y="414"/>
                  </a:lnTo>
                  <a:lnTo>
                    <a:pt x="402" y="426"/>
                  </a:lnTo>
                  <a:lnTo>
                    <a:pt x="390" y="432"/>
                  </a:lnTo>
                  <a:lnTo>
                    <a:pt x="390" y="486"/>
                  </a:lnTo>
                  <a:lnTo>
                    <a:pt x="384" y="492"/>
                  </a:lnTo>
                  <a:lnTo>
                    <a:pt x="372" y="498"/>
                  </a:lnTo>
                  <a:lnTo>
                    <a:pt x="366" y="510"/>
                  </a:lnTo>
                  <a:lnTo>
                    <a:pt x="318" y="534"/>
                  </a:lnTo>
                  <a:lnTo>
                    <a:pt x="312" y="540"/>
                  </a:lnTo>
                  <a:lnTo>
                    <a:pt x="306" y="552"/>
                  </a:lnTo>
                  <a:lnTo>
                    <a:pt x="306" y="588"/>
                  </a:lnTo>
                  <a:lnTo>
                    <a:pt x="282" y="612"/>
                  </a:lnTo>
                  <a:lnTo>
                    <a:pt x="276" y="612"/>
                  </a:lnTo>
                  <a:lnTo>
                    <a:pt x="282" y="714"/>
                  </a:lnTo>
                  <a:lnTo>
                    <a:pt x="252" y="756"/>
                  </a:lnTo>
                  <a:lnTo>
                    <a:pt x="246" y="762"/>
                  </a:lnTo>
                  <a:lnTo>
                    <a:pt x="228" y="762"/>
                  </a:lnTo>
                  <a:lnTo>
                    <a:pt x="216" y="774"/>
                  </a:lnTo>
                  <a:lnTo>
                    <a:pt x="210" y="786"/>
                  </a:lnTo>
                  <a:lnTo>
                    <a:pt x="192" y="804"/>
                  </a:lnTo>
                  <a:lnTo>
                    <a:pt x="186" y="816"/>
                  </a:lnTo>
                  <a:lnTo>
                    <a:pt x="180" y="822"/>
                  </a:lnTo>
                  <a:lnTo>
                    <a:pt x="168" y="828"/>
                  </a:lnTo>
                  <a:lnTo>
                    <a:pt x="150" y="828"/>
                  </a:lnTo>
                  <a:lnTo>
                    <a:pt x="144" y="822"/>
                  </a:lnTo>
                  <a:lnTo>
                    <a:pt x="150" y="810"/>
                  </a:lnTo>
                  <a:lnTo>
                    <a:pt x="150" y="780"/>
                  </a:lnTo>
                  <a:lnTo>
                    <a:pt x="144" y="780"/>
                  </a:lnTo>
                  <a:lnTo>
                    <a:pt x="126" y="798"/>
                  </a:lnTo>
                  <a:lnTo>
                    <a:pt x="102" y="792"/>
                  </a:lnTo>
                  <a:lnTo>
                    <a:pt x="102" y="810"/>
                  </a:lnTo>
                  <a:lnTo>
                    <a:pt x="96" y="822"/>
                  </a:lnTo>
                  <a:lnTo>
                    <a:pt x="90" y="828"/>
                  </a:lnTo>
                  <a:lnTo>
                    <a:pt x="78" y="828"/>
                  </a:lnTo>
                  <a:lnTo>
                    <a:pt x="72" y="822"/>
                  </a:lnTo>
                  <a:lnTo>
                    <a:pt x="72" y="816"/>
                  </a:lnTo>
                  <a:lnTo>
                    <a:pt x="66" y="810"/>
                  </a:lnTo>
                  <a:lnTo>
                    <a:pt x="66" y="804"/>
                  </a:lnTo>
                  <a:lnTo>
                    <a:pt x="54" y="804"/>
                  </a:lnTo>
                  <a:lnTo>
                    <a:pt x="48" y="816"/>
                  </a:lnTo>
                  <a:lnTo>
                    <a:pt x="12" y="846"/>
                  </a:lnTo>
                  <a:lnTo>
                    <a:pt x="18" y="858"/>
                  </a:lnTo>
                  <a:lnTo>
                    <a:pt x="18" y="864"/>
                  </a:lnTo>
                  <a:lnTo>
                    <a:pt x="24" y="876"/>
                  </a:lnTo>
                  <a:lnTo>
                    <a:pt x="24" y="882"/>
                  </a:lnTo>
                  <a:lnTo>
                    <a:pt x="18" y="888"/>
                  </a:lnTo>
                  <a:lnTo>
                    <a:pt x="6" y="894"/>
                  </a:lnTo>
                  <a:lnTo>
                    <a:pt x="0" y="900"/>
                  </a:lnTo>
                  <a:lnTo>
                    <a:pt x="6" y="906"/>
                  </a:lnTo>
                  <a:lnTo>
                    <a:pt x="6" y="912"/>
                  </a:lnTo>
                  <a:lnTo>
                    <a:pt x="18" y="918"/>
                  </a:lnTo>
                  <a:lnTo>
                    <a:pt x="18" y="924"/>
                  </a:lnTo>
                  <a:lnTo>
                    <a:pt x="54" y="906"/>
                  </a:lnTo>
                  <a:lnTo>
                    <a:pt x="78" y="912"/>
                  </a:lnTo>
                  <a:lnTo>
                    <a:pt x="84" y="906"/>
                  </a:lnTo>
                  <a:lnTo>
                    <a:pt x="96" y="912"/>
                  </a:lnTo>
                  <a:lnTo>
                    <a:pt x="120" y="906"/>
                  </a:lnTo>
                  <a:lnTo>
                    <a:pt x="132" y="912"/>
                  </a:lnTo>
                  <a:lnTo>
                    <a:pt x="162" y="912"/>
                  </a:lnTo>
                  <a:lnTo>
                    <a:pt x="174" y="906"/>
                  </a:lnTo>
                  <a:lnTo>
                    <a:pt x="186" y="906"/>
                  </a:lnTo>
                  <a:lnTo>
                    <a:pt x="198" y="912"/>
                  </a:lnTo>
                  <a:lnTo>
                    <a:pt x="228" y="912"/>
                  </a:lnTo>
                  <a:lnTo>
                    <a:pt x="246" y="906"/>
                  </a:lnTo>
                  <a:lnTo>
                    <a:pt x="270" y="906"/>
                  </a:lnTo>
                  <a:lnTo>
                    <a:pt x="276" y="900"/>
                  </a:lnTo>
                  <a:lnTo>
                    <a:pt x="294" y="900"/>
                  </a:lnTo>
                  <a:lnTo>
                    <a:pt x="300" y="906"/>
                  </a:lnTo>
                  <a:lnTo>
                    <a:pt x="306" y="918"/>
                  </a:lnTo>
                  <a:lnTo>
                    <a:pt x="318" y="930"/>
                  </a:lnTo>
                  <a:lnTo>
                    <a:pt x="318" y="972"/>
                  </a:lnTo>
                  <a:lnTo>
                    <a:pt x="336" y="990"/>
                  </a:lnTo>
                  <a:lnTo>
                    <a:pt x="336" y="1014"/>
                  </a:lnTo>
                  <a:lnTo>
                    <a:pt x="330" y="1020"/>
                  </a:lnTo>
                  <a:lnTo>
                    <a:pt x="330" y="1026"/>
                  </a:lnTo>
                  <a:lnTo>
                    <a:pt x="336" y="1032"/>
                  </a:lnTo>
                  <a:lnTo>
                    <a:pt x="342" y="1032"/>
                  </a:lnTo>
                  <a:lnTo>
                    <a:pt x="354" y="1044"/>
                  </a:lnTo>
                  <a:lnTo>
                    <a:pt x="354" y="1056"/>
                  </a:lnTo>
                  <a:lnTo>
                    <a:pt x="360" y="1062"/>
                  </a:lnTo>
                  <a:lnTo>
                    <a:pt x="372" y="1086"/>
                  </a:lnTo>
                  <a:lnTo>
                    <a:pt x="402" y="1086"/>
                  </a:lnTo>
                  <a:lnTo>
                    <a:pt x="414" y="1092"/>
                  </a:lnTo>
                  <a:lnTo>
                    <a:pt x="420" y="1080"/>
                  </a:lnTo>
                  <a:lnTo>
                    <a:pt x="444" y="1080"/>
                  </a:lnTo>
                  <a:lnTo>
                    <a:pt x="456" y="1074"/>
                  </a:lnTo>
                  <a:lnTo>
                    <a:pt x="462" y="1080"/>
                  </a:lnTo>
                  <a:lnTo>
                    <a:pt x="504" y="1074"/>
                  </a:lnTo>
                  <a:lnTo>
                    <a:pt x="504" y="1056"/>
                  </a:lnTo>
                  <a:lnTo>
                    <a:pt x="510" y="1050"/>
                  </a:lnTo>
                  <a:lnTo>
                    <a:pt x="510" y="1044"/>
                  </a:lnTo>
                  <a:lnTo>
                    <a:pt x="522" y="1044"/>
                  </a:lnTo>
                  <a:lnTo>
                    <a:pt x="522" y="1032"/>
                  </a:lnTo>
                  <a:lnTo>
                    <a:pt x="516" y="1020"/>
                  </a:lnTo>
                  <a:lnTo>
                    <a:pt x="510" y="1014"/>
                  </a:lnTo>
                  <a:lnTo>
                    <a:pt x="510" y="1008"/>
                  </a:lnTo>
                  <a:lnTo>
                    <a:pt x="516" y="1002"/>
                  </a:lnTo>
                  <a:lnTo>
                    <a:pt x="564" y="1002"/>
                  </a:lnTo>
                  <a:lnTo>
                    <a:pt x="564" y="996"/>
                  </a:lnTo>
                  <a:lnTo>
                    <a:pt x="576" y="996"/>
                  </a:lnTo>
                  <a:lnTo>
                    <a:pt x="588" y="1002"/>
                  </a:lnTo>
                  <a:lnTo>
                    <a:pt x="588" y="1026"/>
                  </a:lnTo>
                  <a:lnTo>
                    <a:pt x="678" y="1026"/>
                  </a:lnTo>
                  <a:lnTo>
                    <a:pt x="678" y="1050"/>
                  </a:lnTo>
                  <a:lnTo>
                    <a:pt x="666" y="1068"/>
                  </a:lnTo>
                  <a:lnTo>
                    <a:pt x="672" y="1086"/>
                  </a:lnTo>
                  <a:lnTo>
                    <a:pt x="684" y="1098"/>
                  </a:lnTo>
                  <a:lnTo>
                    <a:pt x="690" y="1110"/>
                  </a:lnTo>
                  <a:lnTo>
                    <a:pt x="690" y="1122"/>
                  </a:lnTo>
                  <a:lnTo>
                    <a:pt x="684" y="1134"/>
                  </a:lnTo>
                  <a:lnTo>
                    <a:pt x="678" y="1140"/>
                  </a:lnTo>
                  <a:lnTo>
                    <a:pt x="684" y="1164"/>
                  </a:lnTo>
                  <a:lnTo>
                    <a:pt x="684" y="1176"/>
                  </a:lnTo>
                  <a:lnTo>
                    <a:pt x="678" y="1182"/>
                  </a:lnTo>
                  <a:lnTo>
                    <a:pt x="678" y="1194"/>
                  </a:lnTo>
                  <a:lnTo>
                    <a:pt x="684" y="1212"/>
                  </a:lnTo>
                  <a:lnTo>
                    <a:pt x="696" y="1230"/>
                  </a:lnTo>
                  <a:lnTo>
                    <a:pt x="708" y="1254"/>
                  </a:lnTo>
                  <a:lnTo>
                    <a:pt x="714" y="1260"/>
                  </a:lnTo>
                  <a:lnTo>
                    <a:pt x="714" y="1278"/>
                  </a:lnTo>
                  <a:lnTo>
                    <a:pt x="708" y="1290"/>
                  </a:lnTo>
                  <a:lnTo>
                    <a:pt x="708" y="1302"/>
                  </a:lnTo>
                  <a:lnTo>
                    <a:pt x="702" y="1308"/>
                  </a:lnTo>
                  <a:lnTo>
                    <a:pt x="702" y="1332"/>
                  </a:lnTo>
                  <a:lnTo>
                    <a:pt x="708" y="1338"/>
                  </a:lnTo>
                  <a:lnTo>
                    <a:pt x="714" y="1338"/>
                  </a:lnTo>
                  <a:lnTo>
                    <a:pt x="720" y="1344"/>
                  </a:lnTo>
                  <a:lnTo>
                    <a:pt x="726" y="1326"/>
                  </a:lnTo>
                  <a:lnTo>
                    <a:pt x="756" y="1332"/>
                  </a:lnTo>
                  <a:lnTo>
                    <a:pt x="780" y="1326"/>
                  </a:lnTo>
                  <a:lnTo>
                    <a:pt x="780" y="1314"/>
                  </a:lnTo>
                  <a:lnTo>
                    <a:pt x="792" y="1314"/>
                  </a:lnTo>
                  <a:lnTo>
                    <a:pt x="804" y="1326"/>
                  </a:lnTo>
                  <a:lnTo>
                    <a:pt x="828" y="1326"/>
                  </a:lnTo>
                  <a:lnTo>
                    <a:pt x="834" y="1308"/>
                  </a:lnTo>
                  <a:lnTo>
                    <a:pt x="840" y="1320"/>
                  </a:lnTo>
                  <a:lnTo>
                    <a:pt x="858" y="1320"/>
                  </a:lnTo>
                  <a:lnTo>
                    <a:pt x="858" y="1350"/>
                  </a:lnTo>
                  <a:lnTo>
                    <a:pt x="864" y="1356"/>
                  </a:lnTo>
                  <a:lnTo>
                    <a:pt x="882" y="1356"/>
                  </a:lnTo>
                  <a:lnTo>
                    <a:pt x="882" y="1350"/>
                  </a:lnTo>
                  <a:lnTo>
                    <a:pt x="876" y="1344"/>
                  </a:lnTo>
                  <a:lnTo>
                    <a:pt x="918" y="1338"/>
                  </a:lnTo>
                  <a:lnTo>
                    <a:pt x="918" y="1356"/>
                  </a:lnTo>
                  <a:lnTo>
                    <a:pt x="924" y="1368"/>
                  </a:lnTo>
                  <a:lnTo>
                    <a:pt x="930" y="1374"/>
                  </a:lnTo>
                  <a:lnTo>
                    <a:pt x="948" y="1386"/>
                  </a:lnTo>
                  <a:lnTo>
                    <a:pt x="984" y="1392"/>
                  </a:lnTo>
                  <a:lnTo>
                    <a:pt x="1014" y="1398"/>
                  </a:lnTo>
                  <a:lnTo>
                    <a:pt x="1032" y="1398"/>
                  </a:lnTo>
                  <a:lnTo>
                    <a:pt x="1032" y="1392"/>
                  </a:lnTo>
                  <a:lnTo>
                    <a:pt x="1038" y="1386"/>
                  </a:lnTo>
                  <a:lnTo>
                    <a:pt x="1038" y="1368"/>
                  </a:lnTo>
                  <a:lnTo>
                    <a:pt x="1044" y="1362"/>
                  </a:lnTo>
                  <a:lnTo>
                    <a:pt x="1050" y="1362"/>
                  </a:lnTo>
                  <a:lnTo>
                    <a:pt x="1062" y="1374"/>
                  </a:lnTo>
                  <a:lnTo>
                    <a:pt x="1062" y="1386"/>
                  </a:lnTo>
                  <a:lnTo>
                    <a:pt x="1068" y="1392"/>
                  </a:lnTo>
                  <a:lnTo>
                    <a:pt x="1080" y="1392"/>
                  </a:lnTo>
                  <a:lnTo>
                    <a:pt x="1080" y="1404"/>
                  </a:lnTo>
                  <a:lnTo>
                    <a:pt x="1074" y="1404"/>
                  </a:lnTo>
                  <a:lnTo>
                    <a:pt x="1074" y="1416"/>
                  </a:lnTo>
                  <a:lnTo>
                    <a:pt x="1104" y="1416"/>
                  </a:lnTo>
                  <a:lnTo>
                    <a:pt x="1110" y="1422"/>
                  </a:lnTo>
                  <a:lnTo>
                    <a:pt x="1110" y="1434"/>
                  </a:lnTo>
                  <a:lnTo>
                    <a:pt x="1122" y="1434"/>
                  </a:lnTo>
                  <a:lnTo>
                    <a:pt x="1128" y="1428"/>
                  </a:lnTo>
                  <a:lnTo>
                    <a:pt x="1134" y="1428"/>
                  </a:lnTo>
                  <a:lnTo>
                    <a:pt x="1140" y="1434"/>
                  </a:lnTo>
                  <a:lnTo>
                    <a:pt x="1146" y="1446"/>
                  </a:lnTo>
                  <a:lnTo>
                    <a:pt x="1146" y="1452"/>
                  </a:lnTo>
                  <a:lnTo>
                    <a:pt x="1152" y="1464"/>
                  </a:lnTo>
                  <a:lnTo>
                    <a:pt x="1164" y="1464"/>
                  </a:lnTo>
                  <a:lnTo>
                    <a:pt x="1176" y="1476"/>
                  </a:lnTo>
                  <a:lnTo>
                    <a:pt x="1176" y="1488"/>
                  </a:lnTo>
                  <a:lnTo>
                    <a:pt x="1182" y="1500"/>
                  </a:lnTo>
                  <a:lnTo>
                    <a:pt x="1182" y="1512"/>
                  </a:lnTo>
                  <a:lnTo>
                    <a:pt x="1200" y="1512"/>
                  </a:lnTo>
                  <a:lnTo>
                    <a:pt x="1218" y="1500"/>
                  </a:lnTo>
                  <a:lnTo>
                    <a:pt x="1224" y="1512"/>
                  </a:lnTo>
                  <a:lnTo>
                    <a:pt x="1224" y="1518"/>
                  </a:lnTo>
                  <a:lnTo>
                    <a:pt x="1230" y="1518"/>
                  </a:lnTo>
                  <a:lnTo>
                    <a:pt x="1236" y="1500"/>
                  </a:lnTo>
                  <a:lnTo>
                    <a:pt x="1242" y="1464"/>
                  </a:lnTo>
                  <a:lnTo>
                    <a:pt x="1242" y="1416"/>
                  </a:lnTo>
                  <a:lnTo>
                    <a:pt x="1218" y="1416"/>
                  </a:lnTo>
                  <a:lnTo>
                    <a:pt x="1218" y="1434"/>
                  </a:lnTo>
                  <a:lnTo>
                    <a:pt x="1212" y="1440"/>
                  </a:lnTo>
                  <a:lnTo>
                    <a:pt x="1206" y="1440"/>
                  </a:lnTo>
                  <a:lnTo>
                    <a:pt x="1194" y="1434"/>
                  </a:lnTo>
                  <a:lnTo>
                    <a:pt x="1164" y="1404"/>
                  </a:lnTo>
                  <a:lnTo>
                    <a:pt x="1158" y="1404"/>
                  </a:lnTo>
                  <a:lnTo>
                    <a:pt x="1158" y="1398"/>
                  </a:lnTo>
                  <a:lnTo>
                    <a:pt x="1152" y="1398"/>
                  </a:lnTo>
                  <a:lnTo>
                    <a:pt x="1140" y="1386"/>
                  </a:lnTo>
                  <a:lnTo>
                    <a:pt x="1140" y="1362"/>
                  </a:lnTo>
                  <a:lnTo>
                    <a:pt x="1146" y="1350"/>
                  </a:lnTo>
                  <a:lnTo>
                    <a:pt x="1152" y="1332"/>
                  </a:lnTo>
                  <a:lnTo>
                    <a:pt x="1158" y="1320"/>
                  </a:lnTo>
                  <a:lnTo>
                    <a:pt x="1170" y="1308"/>
                  </a:lnTo>
                  <a:lnTo>
                    <a:pt x="1170" y="1254"/>
                  </a:lnTo>
                  <a:lnTo>
                    <a:pt x="1164" y="1236"/>
                  </a:lnTo>
                  <a:lnTo>
                    <a:pt x="1164" y="1212"/>
                  </a:lnTo>
                  <a:lnTo>
                    <a:pt x="1158" y="1206"/>
                  </a:lnTo>
                  <a:lnTo>
                    <a:pt x="1158" y="1200"/>
                  </a:lnTo>
                  <a:lnTo>
                    <a:pt x="1152" y="1194"/>
                  </a:lnTo>
                  <a:lnTo>
                    <a:pt x="1152" y="1188"/>
                  </a:lnTo>
                  <a:lnTo>
                    <a:pt x="1140" y="1176"/>
                  </a:lnTo>
                  <a:lnTo>
                    <a:pt x="1146" y="1176"/>
                  </a:lnTo>
                  <a:lnTo>
                    <a:pt x="1152" y="1170"/>
                  </a:lnTo>
                  <a:lnTo>
                    <a:pt x="1164" y="1164"/>
                  </a:lnTo>
                  <a:lnTo>
                    <a:pt x="1182" y="1146"/>
                  </a:lnTo>
                  <a:lnTo>
                    <a:pt x="1182" y="1116"/>
                  </a:lnTo>
                  <a:lnTo>
                    <a:pt x="1194" y="1116"/>
                  </a:lnTo>
                  <a:lnTo>
                    <a:pt x="1212" y="1110"/>
                  </a:lnTo>
                  <a:lnTo>
                    <a:pt x="1230" y="1110"/>
                  </a:lnTo>
                  <a:lnTo>
                    <a:pt x="1242" y="1104"/>
                  </a:lnTo>
                  <a:lnTo>
                    <a:pt x="1260" y="1104"/>
                  </a:lnTo>
                  <a:lnTo>
                    <a:pt x="1284" y="1092"/>
                  </a:lnTo>
                  <a:lnTo>
                    <a:pt x="1290" y="1092"/>
                  </a:lnTo>
                  <a:lnTo>
                    <a:pt x="1290" y="1086"/>
                  </a:lnTo>
                  <a:lnTo>
                    <a:pt x="1284" y="1074"/>
                  </a:lnTo>
                  <a:lnTo>
                    <a:pt x="1272" y="1062"/>
                  </a:lnTo>
                  <a:lnTo>
                    <a:pt x="1272" y="1014"/>
                  </a:lnTo>
                  <a:lnTo>
                    <a:pt x="1248" y="1014"/>
                  </a:lnTo>
                  <a:lnTo>
                    <a:pt x="1248" y="1008"/>
                  </a:lnTo>
                  <a:lnTo>
                    <a:pt x="1242" y="996"/>
                  </a:lnTo>
                  <a:lnTo>
                    <a:pt x="1242" y="978"/>
                  </a:lnTo>
                  <a:lnTo>
                    <a:pt x="1236" y="972"/>
                  </a:lnTo>
                  <a:lnTo>
                    <a:pt x="1224" y="966"/>
                  </a:lnTo>
                  <a:lnTo>
                    <a:pt x="1218" y="960"/>
                  </a:lnTo>
                  <a:lnTo>
                    <a:pt x="1206" y="936"/>
                  </a:lnTo>
                  <a:lnTo>
                    <a:pt x="1206" y="906"/>
                  </a:lnTo>
                  <a:lnTo>
                    <a:pt x="1212" y="900"/>
                  </a:lnTo>
                  <a:lnTo>
                    <a:pt x="1212" y="876"/>
                  </a:lnTo>
                  <a:lnTo>
                    <a:pt x="1200" y="864"/>
                  </a:lnTo>
                  <a:lnTo>
                    <a:pt x="1194" y="852"/>
                  </a:lnTo>
                  <a:lnTo>
                    <a:pt x="1194" y="804"/>
                  </a:lnTo>
                  <a:lnTo>
                    <a:pt x="1200" y="780"/>
                  </a:lnTo>
                  <a:lnTo>
                    <a:pt x="1200" y="750"/>
                  </a:lnTo>
                  <a:lnTo>
                    <a:pt x="1212" y="738"/>
                  </a:lnTo>
                  <a:lnTo>
                    <a:pt x="1218" y="744"/>
                  </a:lnTo>
                  <a:lnTo>
                    <a:pt x="1218" y="732"/>
                  </a:lnTo>
                  <a:lnTo>
                    <a:pt x="1224" y="726"/>
                  </a:lnTo>
                  <a:lnTo>
                    <a:pt x="1224" y="696"/>
                  </a:lnTo>
                  <a:lnTo>
                    <a:pt x="1218" y="690"/>
                  </a:lnTo>
                  <a:lnTo>
                    <a:pt x="1206" y="684"/>
                  </a:lnTo>
                  <a:lnTo>
                    <a:pt x="1200" y="678"/>
                  </a:lnTo>
                  <a:lnTo>
                    <a:pt x="1188" y="648"/>
                  </a:lnTo>
                  <a:lnTo>
                    <a:pt x="1182" y="642"/>
                  </a:lnTo>
                  <a:lnTo>
                    <a:pt x="1176" y="642"/>
                  </a:lnTo>
                  <a:lnTo>
                    <a:pt x="1176" y="636"/>
                  </a:lnTo>
                  <a:lnTo>
                    <a:pt x="1182" y="624"/>
                  </a:lnTo>
                  <a:lnTo>
                    <a:pt x="1194" y="618"/>
                  </a:lnTo>
                  <a:lnTo>
                    <a:pt x="1206" y="606"/>
                  </a:lnTo>
                  <a:lnTo>
                    <a:pt x="1206" y="594"/>
                  </a:lnTo>
                  <a:lnTo>
                    <a:pt x="1200" y="588"/>
                  </a:lnTo>
                  <a:lnTo>
                    <a:pt x="1194" y="576"/>
                  </a:lnTo>
                  <a:lnTo>
                    <a:pt x="1194" y="570"/>
                  </a:lnTo>
                  <a:lnTo>
                    <a:pt x="1200" y="564"/>
                  </a:lnTo>
                  <a:lnTo>
                    <a:pt x="1224" y="552"/>
                  </a:lnTo>
                  <a:lnTo>
                    <a:pt x="1230" y="546"/>
                  </a:lnTo>
                  <a:lnTo>
                    <a:pt x="1236" y="546"/>
                  </a:lnTo>
                  <a:lnTo>
                    <a:pt x="1242" y="468"/>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215" name="Congo (Brazzaville)" descr="© INSCALE GmbH, 05.05.2010&#10;http://www.presentationload.com/">
              <a:extLst>
                <a:ext uri="{FF2B5EF4-FFF2-40B4-BE49-F238E27FC236}">
                  <a16:creationId xmlns:a16="http://schemas.microsoft.com/office/drawing/2014/main" id="{C9C38054-5F54-6532-83B5-380DFF910F2A}"/>
                </a:ext>
              </a:extLst>
            </p:cNvPr>
            <p:cNvSpPr>
              <a:spLocks/>
            </p:cNvSpPr>
            <p:nvPr/>
          </p:nvSpPr>
          <p:spPr bwMode="gray">
            <a:xfrm>
              <a:off x="4533349" y="3104336"/>
              <a:ext cx="203086" cy="265347"/>
            </a:xfrm>
            <a:custGeom>
              <a:avLst/>
              <a:gdLst>
                <a:gd name="T0" fmla="*/ 2147483647 w 534"/>
                <a:gd name="T1" fmla="*/ 2147483647 h 702"/>
                <a:gd name="T2" fmla="*/ 2147483647 w 534"/>
                <a:gd name="T3" fmla="*/ 2147483647 h 702"/>
                <a:gd name="T4" fmla="*/ 2147483647 w 534"/>
                <a:gd name="T5" fmla="*/ 2147483647 h 702"/>
                <a:gd name="T6" fmla="*/ 2147483647 w 534"/>
                <a:gd name="T7" fmla="*/ 2147483647 h 702"/>
                <a:gd name="T8" fmla="*/ 2147483647 w 534"/>
                <a:gd name="T9" fmla="*/ 2147483647 h 702"/>
                <a:gd name="T10" fmla="*/ 2147483647 w 534"/>
                <a:gd name="T11" fmla="*/ 2147483647 h 702"/>
                <a:gd name="T12" fmla="*/ 2147483647 w 534"/>
                <a:gd name="T13" fmla="*/ 2147483647 h 702"/>
                <a:gd name="T14" fmla="*/ 2147483647 w 534"/>
                <a:gd name="T15" fmla="*/ 2147483647 h 702"/>
                <a:gd name="T16" fmla="*/ 2147483647 w 534"/>
                <a:gd name="T17" fmla="*/ 2147483647 h 702"/>
                <a:gd name="T18" fmla="*/ 2147483647 w 534"/>
                <a:gd name="T19" fmla="*/ 2147483647 h 702"/>
                <a:gd name="T20" fmla="*/ 2147483647 w 534"/>
                <a:gd name="T21" fmla="*/ 2147483647 h 702"/>
                <a:gd name="T22" fmla="*/ 2147483647 w 534"/>
                <a:gd name="T23" fmla="*/ 2147483647 h 702"/>
                <a:gd name="T24" fmla="*/ 2147483647 w 534"/>
                <a:gd name="T25" fmla="*/ 2147483647 h 702"/>
                <a:gd name="T26" fmla="*/ 2147483647 w 534"/>
                <a:gd name="T27" fmla="*/ 2147483647 h 702"/>
                <a:gd name="T28" fmla="*/ 2147483647 w 534"/>
                <a:gd name="T29" fmla="*/ 2147483647 h 702"/>
                <a:gd name="T30" fmla="*/ 2147483647 w 534"/>
                <a:gd name="T31" fmla="*/ 2147483647 h 702"/>
                <a:gd name="T32" fmla="*/ 2147483647 w 534"/>
                <a:gd name="T33" fmla="*/ 2147483647 h 702"/>
                <a:gd name="T34" fmla="*/ 2147483647 w 534"/>
                <a:gd name="T35" fmla="*/ 2147483647 h 702"/>
                <a:gd name="T36" fmla="*/ 2147483647 w 534"/>
                <a:gd name="T37" fmla="*/ 2147483647 h 702"/>
                <a:gd name="T38" fmla="*/ 2147483647 w 534"/>
                <a:gd name="T39" fmla="*/ 2147483647 h 702"/>
                <a:gd name="T40" fmla="*/ 2147483647 w 534"/>
                <a:gd name="T41" fmla="*/ 2147483647 h 702"/>
                <a:gd name="T42" fmla="*/ 2147483647 w 534"/>
                <a:gd name="T43" fmla="*/ 2147483647 h 702"/>
                <a:gd name="T44" fmla="*/ 2147483647 w 534"/>
                <a:gd name="T45" fmla="*/ 2147483647 h 702"/>
                <a:gd name="T46" fmla="*/ 2147483647 w 534"/>
                <a:gd name="T47" fmla="*/ 2147483647 h 702"/>
                <a:gd name="T48" fmla="*/ 2147483647 w 534"/>
                <a:gd name="T49" fmla="*/ 2147483647 h 702"/>
                <a:gd name="T50" fmla="*/ 0 w 534"/>
                <a:gd name="T51" fmla="*/ 2147483647 h 702"/>
                <a:gd name="T52" fmla="*/ 2147483647 w 534"/>
                <a:gd name="T53" fmla="*/ 2147483647 h 702"/>
                <a:gd name="T54" fmla="*/ 2147483647 w 534"/>
                <a:gd name="T55" fmla="*/ 2147483647 h 702"/>
                <a:gd name="T56" fmla="*/ 2147483647 w 534"/>
                <a:gd name="T57" fmla="*/ 2147483647 h 702"/>
                <a:gd name="T58" fmla="*/ 2147483647 w 534"/>
                <a:gd name="T59" fmla="*/ 2147483647 h 702"/>
                <a:gd name="T60" fmla="*/ 2147483647 w 534"/>
                <a:gd name="T61" fmla="*/ 2147483647 h 702"/>
                <a:gd name="T62" fmla="*/ 2147483647 w 534"/>
                <a:gd name="T63" fmla="*/ 2147483647 h 702"/>
                <a:gd name="T64" fmla="*/ 2147483647 w 534"/>
                <a:gd name="T65" fmla="*/ 2147483647 h 702"/>
                <a:gd name="T66" fmla="*/ 2147483647 w 534"/>
                <a:gd name="T67" fmla="*/ 2147483647 h 702"/>
                <a:gd name="T68" fmla="*/ 2147483647 w 534"/>
                <a:gd name="T69" fmla="*/ 2147483647 h 702"/>
                <a:gd name="T70" fmla="*/ 2147483647 w 534"/>
                <a:gd name="T71" fmla="*/ 2147483647 h 702"/>
                <a:gd name="T72" fmla="*/ 2147483647 w 534"/>
                <a:gd name="T73" fmla="*/ 2147483647 h 702"/>
                <a:gd name="T74" fmla="*/ 2147483647 w 534"/>
                <a:gd name="T75" fmla="*/ 2147483647 h 702"/>
                <a:gd name="T76" fmla="*/ 2147483647 w 534"/>
                <a:gd name="T77" fmla="*/ 2147483647 h 702"/>
                <a:gd name="T78" fmla="*/ 2147483647 w 534"/>
                <a:gd name="T79" fmla="*/ 2147483647 h 702"/>
                <a:gd name="T80" fmla="*/ 2147483647 w 534"/>
                <a:gd name="T81" fmla="*/ 2147483647 h 702"/>
                <a:gd name="T82" fmla="*/ 2147483647 w 534"/>
                <a:gd name="T83" fmla="*/ 2147483647 h 702"/>
                <a:gd name="T84" fmla="*/ 2147483647 w 534"/>
                <a:gd name="T85" fmla="*/ 2147483647 h 702"/>
                <a:gd name="T86" fmla="*/ 2147483647 w 534"/>
                <a:gd name="T87" fmla="*/ 2147483647 h 702"/>
                <a:gd name="T88" fmla="*/ 2147483647 w 534"/>
                <a:gd name="T89" fmla="*/ 2147483647 h 702"/>
                <a:gd name="T90" fmla="*/ 2147483647 w 534"/>
                <a:gd name="T91" fmla="*/ 2147483647 h 702"/>
                <a:gd name="T92" fmla="*/ 2147483647 w 534"/>
                <a:gd name="T93" fmla="*/ 2147483647 h 702"/>
                <a:gd name="T94" fmla="*/ 2147483647 w 534"/>
                <a:gd name="T95" fmla="*/ 2147483647 h 702"/>
                <a:gd name="T96" fmla="*/ 2147483647 w 534"/>
                <a:gd name="T97" fmla="*/ 2147483647 h 702"/>
                <a:gd name="T98" fmla="*/ 2147483647 w 534"/>
                <a:gd name="T99" fmla="*/ 2147483647 h 702"/>
                <a:gd name="T100" fmla="*/ 2147483647 w 534"/>
                <a:gd name="T101" fmla="*/ 2147483647 h 702"/>
                <a:gd name="T102" fmla="*/ 2147483647 w 534"/>
                <a:gd name="T103" fmla="*/ 2147483647 h 70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34"/>
                <a:gd name="T157" fmla="*/ 0 h 702"/>
                <a:gd name="T158" fmla="*/ 534 w 534"/>
                <a:gd name="T159" fmla="*/ 702 h 70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34" h="702">
                  <a:moveTo>
                    <a:pt x="366" y="120"/>
                  </a:moveTo>
                  <a:lnTo>
                    <a:pt x="360" y="126"/>
                  </a:lnTo>
                  <a:lnTo>
                    <a:pt x="354" y="168"/>
                  </a:lnTo>
                  <a:lnTo>
                    <a:pt x="330" y="144"/>
                  </a:lnTo>
                  <a:lnTo>
                    <a:pt x="294" y="144"/>
                  </a:lnTo>
                  <a:lnTo>
                    <a:pt x="288" y="138"/>
                  </a:lnTo>
                  <a:lnTo>
                    <a:pt x="276" y="138"/>
                  </a:lnTo>
                  <a:lnTo>
                    <a:pt x="270" y="132"/>
                  </a:lnTo>
                  <a:lnTo>
                    <a:pt x="258" y="126"/>
                  </a:lnTo>
                  <a:lnTo>
                    <a:pt x="210" y="126"/>
                  </a:lnTo>
                  <a:lnTo>
                    <a:pt x="192" y="132"/>
                  </a:lnTo>
                  <a:lnTo>
                    <a:pt x="162" y="132"/>
                  </a:lnTo>
                  <a:lnTo>
                    <a:pt x="144" y="162"/>
                  </a:lnTo>
                  <a:lnTo>
                    <a:pt x="150" y="198"/>
                  </a:lnTo>
                  <a:lnTo>
                    <a:pt x="156" y="204"/>
                  </a:lnTo>
                  <a:lnTo>
                    <a:pt x="180" y="204"/>
                  </a:lnTo>
                  <a:lnTo>
                    <a:pt x="186" y="198"/>
                  </a:lnTo>
                  <a:lnTo>
                    <a:pt x="186" y="180"/>
                  </a:lnTo>
                  <a:lnTo>
                    <a:pt x="204" y="180"/>
                  </a:lnTo>
                  <a:lnTo>
                    <a:pt x="210" y="186"/>
                  </a:lnTo>
                  <a:lnTo>
                    <a:pt x="222" y="186"/>
                  </a:lnTo>
                  <a:lnTo>
                    <a:pt x="222" y="192"/>
                  </a:lnTo>
                  <a:lnTo>
                    <a:pt x="228" y="198"/>
                  </a:lnTo>
                  <a:lnTo>
                    <a:pt x="228" y="216"/>
                  </a:lnTo>
                  <a:lnTo>
                    <a:pt x="240" y="222"/>
                  </a:lnTo>
                  <a:lnTo>
                    <a:pt x="240" y="234"/>
                  </a:lnTo>
                  <a:lnTo>
                    <a:pt x="234" y="240"/>
                  </a:lnTo>
                  <a:lnTo>
                    <a:pt x="228" y="252"/>
                  </a:lnTo>
                  <a:lnTo>
                    <a:pt x="222" y="258"/>
                  </a:lnTo>
                  <a:lnTo>
                    <a:pt x="210" y="258"/>
                  </a:lnTo>
                  <a:lnTo>
                    <a:pt x="198" y="282"/>
                  </a:lnTo>
                  <a:lnTo>
                    <a:pt x="198" y="318"/>
                  </a:lnTo>
                  <a:lnTo>
                    <a:pt x="216" y="324"/>
                  </a:lnTo>
                  <a:lnTo>
                    <a:pt x="222" y="342"/>
                  </a:lnTo>
                  <a:lnTo>
                    <a:pt x="240" y="342"/>
                  </a:lnTo>
                  <a:lnTo>
                    <a:pt x="246" y="348"/>
                  </a:lnTo>
                  <a:lnTo>
                    <a:pt x="246" y="360"/>
                  </a:lnTo>
                  <a:lnTo>
                    <a:pt x="240" y="366"/>
                  </a:lnTo>
                  <a:lnTo>
                    <a:pt x="240" y="414"/>
                  </a:lnTo>
                  <a:lnTo>
                    <a:pt x="234" y="426"/>
                  </a:lnTo>
                  <a:lnTo>
                    <a:pt x="240" y="450"/>
                  </a:lnTo>
                  <a:lnTo>
                    <a:pt x="234" y="456"/>
                  </a:lnTo>
                  <a:lnTo>
                    <a:pt x="222" y="462"/>
                  </a:lnTo>
                  <a:lnTo>
                    <a:pt x="222" y="486"/>
                  </a:lnTo>
                  <a:lnTo>
                    <a:pt x="216" y="498"/>
                  </a:lnTo>
                  <a:lnTo>
                    <a:pt x="210" y="504"/>
                  </a:lnTo>
                  <a:lnTo>
                    <a:pt x="198" y="504"/>
                  </a:lnTo>
                  <a:lnTo>
                    <a:pt x="192" y="498"/>
                  </a:lnTo>
                  <a:lnTo>
                    <a:pt x="192" y="468"/>
                  </a:lnTo>
                  <a:lnTo>
                    <a:pt x="186" y="468"/>
                  </a:lnTo>
                  <a:lnTo>
                    <a:pt x="180" y="474"/>
                  </a:lnTo>
                  <a:lnTo>
                    <a:pt x="174" y="486"/>
                  </a:lnTo>
                  <a:lnTo>
                    <a:pt x="168" y="492"/>
                  </a:lnTo>
                  <a:lnTo>
                    <a:pt x="138" y="492"/>
                  </a:lnTo>
                  <a:lnTo>
                    <a:pt x="120" y="450"/>
                  </a:lnTo>
                  <a:lnTo>
                    <a:pt x="90" y="450"/>
                  </a:lnTo>
                  <a:lnTo>
                    <a:pt x="90" y="456"/>
                  </a:lnTo>
                  <a:lnTo>
                    <a:pt x="108" y="474"/>
                  </a:lnTo>
                  <a:lnTo>
                    <a:pt x="96" y="480"/>
                  </a:lnTo>
                  <a:lnTo>
                    <a:pt x="90" y="492"/>
                  </a:lnTo>
                  <a:lnTo>
                    <a:pt x="84" y="498"/>
                  </a:lnTo>
                  <a:lnTo>
                    <a:pt x="66" y="498"/>
                  </a:lnTo>
                  <a:lnTo>
                    <a:pt x="54" y="492"/>
                  </a:lnTo>
                  <a:lnTo>
                    <a:pt x="42" y="492"/>
                  </a:lnTo>
                  <a:lnTo>
                    <a:pt x="36" y="486"/>
                  </a:lnTo>
                  <a:lnTo>
                    <a:pt x="30" y="486"/>
                  </a:lnTo>
                  <a:lnTo>
                    <a:pt x="30" y="504"/>
                  </a:lnTo>
                  <a:lnTo>
                    <a:pt x="36" y="510"/>
                  </a:lnTo>
                  <a:lnTo>
                    <a:pt x="36" y="522"/>
                  </a:lnTo>
                  <a:lnTo>
                    <a:pt x="24" y="522"/>
                  </a:lnTo>
                  <a:lnTo>
                    <a:pt x="54" y="540"/>
                  </a:lnTo>
                  <a:lnTo>
                    <a:pt x="36" y="552"/>
                  </a:lnTo>
                  <a:lnTo>
                    <a:pt x="54" y="564"/>
                  </a:lnTo>
                  <a:lnTo>
                    <a:pt x="54" y="600"/>
                  </a:lnTo>
                  <a:lnTo>
                    <a:pt x="48" y="606"/>
                  </a:lnTo>
                  <a:lnTo>
                    <a:pt x="30" y="588"/>
                  </a:lnTo>
                  <a:lnTo>
                    <a:pt x="6" y="600"/>
                  </a:lnTo>
                  <a:lnTo>
                    <a:pt x="0" y="618"/>
                  </a:lnTo>
                  <a:lnTo>
                    <a:pt x="54" y="666"/>
                  </a:lnTo>
                  <a:lnTo>
                    <a:pt x="54" y="684"/>
                  </a:lnTo>
                  <a:lnTo>
                    <a:pt x="72" y="702"/>
                  </a:lnTo>
                  <a:lnTo>
                    <a:pt x="72" y="690"/>
                  </a:lnTo>
                  <a:lnTo>
                    <a:pt x="90" y="690"/>
                  </a:lnTo>
                  <a:lnTo>
                    <a:pt x="90" y="672"/>
                  </a:lnTo>
                  <a:lnTo>
                    <a:pt x="102" y="666"/>
                  </a:lnTo>
                  <a:lnTo>
                    <a:pt x="108" y="660"/>
                  </a:lnTo>
                  <a:lnTo>
                    <a:pt x="120" y="654"/>
                  </a:lnTo>
                  <a:lnTo>
                    <a:pt x="126" y="648"/>
                  </a:lnTo>
                  <a:lnTo>
                    <a:pt x="132" y="654"/>
                  </a:lnTo>
                  <a:lnTo>
                    <a:pt x="132" y="660"/>
                  </a:lnTo>
                  <a:lnTo>
                    <a:pt x="138" y="666"/>
                  </a:lnTo>
                  <a:lnTo>
                    <a:pt x="138" y="672"/>
                  </a:lnTo>
                  <a:lnTo>
                    <a:pt x="150" y="672"/>
                  </a:lnTo>
                  <a:lnTo>
                    <a:pt x="150" y="678"/>
                  </a:lnTo>
                  <a:lnTo>
                    <a:pt x="156" y="684"/>
                  </a:lnTo>
                  <a:lnTo>
                    <a:pt x="156" y="690"/>
                  </a:lnTo>
                  <a:lnTo>
                    <a:pt x="162" y="696"/>
                  </a:lnTo>
                  <a:lnTo>
                    <a:pt x="174" y="696"/>
                  </a:lnTo>
                  <a:lnTo>
                    <a:pt x="180" y="690"/>
                  </a:lnTo>
                  <a:lnTo>
                    <a:pt x="186" y="678"/>
                  </a:lnTo>
                  <a:lnTo>
                    <a:pt x="186" y="660"/>
                  </a:lnTo>
                  <a:lnTo>
                    <a:pt x="210" y="666"/>
                  </a:lnTo>
                  <a:lnTo>
                    <a:pt x="228" y="648"/>
                  </a:lnTo>
                  <a:lnTo>
                    <a:pt x="234" y="648"/>
                  </a:lnTo>
                  <a:lnTo>
                    <a:pt x="234" y="678"/>
                  </a:lnTo>
                  <a:lnTo>
                    <a:pt x="228" y="690"/>
                  </a:lnTo>
                  <a:lnTo>
                    <a:pt x="234" y="696"/>
                  </a:lnTo>
                  <a:lnTo>
                    <a:pt x="252" y="696"/>
                  </a:lnTo>
                  <a:lnTo>
                    <a:pt x="264" y="690"/>
                  </a:lnTo>
                  <a:lnTo>
                    <a:pt x="270" y="684"/>
                  </a:lnTo>
                  <a:lnTo>
                    <a:pt x="276" y="672"/>
                  </a:lnTo>
                  <a:lnTo>
                    <a:pt x="294" y="654"/>
                  </a:lnTo>
                  <a:lnTo>
                    <a:pt x="300" y="642"/>
                  </a:lnTo>
                  <a:lnTo>
                    <a:pt x="312" y="630"/>
                  </a:lnTo>
                  <a:lnTo>
                    <a:pt x="330" y="630"/>
                  </a:lnTo>
                  <a:lnTo>
                    <a:pt x="336" y="624"/>
                  </a:lnTo>
                  <a:lnTo>
                    <a:pt x="366" y="582"/>
                  </a:lnTo>
                  <a:lnTo>
                    <a:pt x="360" y="480"/>
                  </a:lnTo>
                  <a:lnTo>
                    <a:pt x="366" y="480"/>
                  </a:lnTo>
                  <a:lnTo>
                    <a:pt x="390" y="456"/>
                  </a:lnTo>
                  <a:lnTo>
                    <a:pt x="390" y="420"/>
                  </a:lnTo>
                  <a:lnTo>
                    <a:pt x="396" y="408"/>
                  </a:lnTo>
                  <a:lnTo>
                    <a:pt x="402" y="402"/>
                  </a:lnTo>
                  <a:lnTo>
                    <a:pt x="450" y="378"/>
                  </a:lnTo>
                  <a:lnTo>
                    <a:pt x="456" y="366"/>
                  </a:lnTo>
                  <a:lnTo>
                    <a:pt x="468" y="360"/>
                  </a:lnTo>
                  <a:lnTo>
                    <a:pt x="474" y="354"/>
                  </a:lnTo>
                  <a:lnTo>
                    <a:pt x="474" y="300"/>
                  </a:lnTo>
                  <a:lnTo>
                    <a:pt x="486" y="294"/>
                  </a:lnTo>
                  <a:lnTo>
                    <a:pt x="492" y="282"/>
                  </a:lnTo>
                  <a:lnTo>
                    <a:pt x="492" y="258"/>
                  </a:lnTo>
                  <a:lnTo>
                    <a:pt x="486" y="246"/>
                  </a:lnTo>
                  <a:lnTo>
                    <a:pt x="480" y="240"/>
                  </a:lnTo>
                  <a:lnTo>
                    <a:pt x="480" y="228"/>
                  </a:lnTo>
                  <a:lnTo>
                    <a:pt x="498" y="192"/>
                  </a:lnTo>
                  <a:lnTo>
                    <a:pt x="498" y="168"/>
                  </a:lnTo>
                  <a:lnTo>
                    <a:pt x="492" y="156"/>
                  </a:lnTo>
                  <a:lnTo>
                    <a:pt x="492" y="126"/>
                  </a:lnTo>
                  <a:lnTo>
                    <a:pt x="498" y="120"/>
                  </a:lnTo>
                  <a:lnTo>
                    <a:pt x="510" y="96"/>
                  </a:lnTo>
                  <a:lnTo>
                    <a:pt x="522" y="84"/>
                  </a:lnTo>
                  <a:lnTo>
                    <a:pt x="528" y="66"/>
                  </a:lnTo>
                  <a:lnTo>
                    <a:pt x="534" y="54"/>
                  </a:lnTo>
                  <a:lnTo>
                    <a:pt x="534" y="18"/>
                  </a:lnTo>
                  <a:lnTo>
                    <a:pt x="522" y="6"/>
                  </a:lnTo>
                  <a:lnTo>
                    <a:pt x="510" y="18"/>
                  </a:lnTo>
                  <a:lnTo>
                    <a:pt x="498" y="18"/>
                  </a:lnTo>
                  <a:lnTo>
                    <a:pt x="462" y="0"/>
                  </a:lnTo>
                  <a:lnTo>
                    <a:pt x="444" y="0"/>
                  </a:lnTo>
                  <a:lnTo>
                    <a:pt x="426" y="18"/>
                  </a:lnTo>
                  <a:lnTo>
                    <a:pt x="396" y="18"/>
                  </a:lnTo>
                  <a:lnTo>
                    <a:pt x="378" y="48"/>
                  </a:lnTo>
                  <a:lnTo>
                    <a:pt x="390" y="60"/>
                  </a:lnTo>
                  <a:lnTo>
                    <a:pt x="390" y="84"/>
                  </a:lnTo>
                  <a:lnTo>
                    <a:pt x="384" y="96"/>
                  </a:lnTo>
                  <a:lnTo>
                    <a:pt x="378" y="102"/>
                  </a:lnTo>
                  <a:lnTo>
                    <a:pt x="372" y="114"/>
                  </a:lnTo>
                  <a:lnTo>
                    <a:pt x="366" y="120"/>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216" name="Colombia" descr="© INSCALE GmbH, 05.05.2010&#10;http://www.presentationload.com/">
              <a:extLst>
                <a:ext uri="{FF2B5EF4-FFF2-40B4-BE49-F238E27FC236}">
                  <a16:creationId xmlns:a16="http://schemas.microsoft.com/office/drawing/2014/main" id="{B6C9136C-D896-C54A-3C91-A60924B8CB30}"/>
                </a:ext>
              </a:extLst>
            </p:cNvPr>
            <p:cNvSpPr>
              <a:spLocks/>
            </p:cNvSpPr>
            <p:nvPr/>
          </p:nvSpPr>
          <p:spPr bwMode="gray">
            <a:xfrm>
              <a:off x="2100775" y="2837508"/>
              <a:ext cx="329086" cy="509938"/>
            </a:xfrm>
            <a:custGeom>
              <a:avLst/>
              <a:gdLst>
                <a:gd name="T0" fmla="*/ 2147483647 w 870"/>
                <a:gd name="T1" fmla="*/ 2147483647 h 1344"/>
                <a:gd name="T2" fmla="*/ 2147483647 w 870"/>
                <a:gd name="T3" fmla="*/ 2147483647 h 1344"/>
                <a:gd name="T4" fmla="*/ 2147483647 w 870"/>
                <a:gd name="T5" fmla="*/ 2147483647 h 1344"/>
                <a:gd name="T6" fmla="*/ 2147483647 w 870"/>
                <a:gd name="T7" fmla="*/ 2147483647 h 1344"/>
                <a:gd name="T8" fmla="*/ 2147483647 w 870"/>
                <a:gd name="T9" fmla="*/ 2147483647 h 1344"/>
                <a:gd name="T10" fmla="*/ 2147483647 w 870"/>
                <a:gd name="T11" fmla="*/ 2147483647 h 1344"/>
                <a:gd name="T12" fmla="*/ 2147483647 w 870"/>
                <a:gd name="T13" fmla="*/ 2147483647 h 1344"/>
                <a:gd name="T14" fmla="*/ 2147483647 w 870"/>
                <a:gd name="T15" fmla="*/ 2147483647 h 1344"/>
                <a:gd name="T16" fmla="*/ 2147483647 w 870"/>
                <a:gd name="T17" fmla="*/ 2147483647 h 1344"/>
                <a:gd name="T18" fmla="*/ 2147483647 w 870"/>
                <a:gd name="T19" fmla="*/ 2147483647 h 1344"/>
                <a:gd name="T20" fmla="*/ 2147483647 w 870"/>
                <a:gd name="T21" fmla="*/ 2147483647 h 1344"/>
                <a:gd name="T22" fmla="*/ 2147483647 w 870"/>
                <a:gd name="T23" fmla="*/ 2147483647 h 1344"/>
                <a:gd name="T24" fmla="*/ 2147483647 w 870"/>
                <a:gd name="T25" fmla="*/ 2147483647 h 1344"/>
                <a:gd name="T26" fmla="*/ 2147483647 w 870"/>
                <a:gd name="T27" fmla="*/ 2147483647 h 1344"/>
                <a:gd name="T28" fmla="*/ 2147483647 w 870"/>
                <a:gd name="T29" fmla="*/ 2147483647 h 1344"/>
                <a:gd name="T30" fmla="*/ 2147483647 w 870"/>
                <a:gd name="T31" fmla="*/ 2147483647 h 1344"/>
                <a:gd name="T32" fmla="*/ 2147483647 w 870"/>
                <a:gd name="T33" fmla="*/ 2147483647 h 1344"/>
                <a:gd name="T34" fmla="*/ 2147483647 w 870"/>
                <a:gd name="T35" fmla="*/ 2147483647 h 1344"/>
                <a:gd name="T36" fmla="*/ 2147483647 w 870"/>
                <a:gd name="T37" fmla="*/ 2147483647 h 1344"/>
                <a:gd name="T38" fmla="*/ 2147483647 w 870"/>
                <a:gd name="T39" fmla="*/ 2147483647 h 1344"/>
                <a:gd name="T40" fmla="*/ 2147483647 w 870"/>
                <a:gd name="T41" fmla="*/ 2147483647 h 1344"/>
                <a:gd name="T42" fmla="*/ 2147483647 w 870"/>
                <a:gd name="T43" fmla="*/ 2147483647 h 1344"/>
                <a:gd name="T44" fmla="*/ 2147483647 w 870"/>
                <a:gd name="T45" fmla="*/ 2147483647 h 1344"/>
                <a:gd name="T46" fmla="*/ 2147483647 w 870"/>
                <a:gd name="T47" fmla="*/ 2147483647 h 1344"/>
                <a:gd name="T48" fmla="*/ 2147483647 w 870"/>
                <a:gd name="T49" fmla="*/ 2147483647 h 1344"/>
                <a:gd name="T50" fmla="*/ 2147483647 w 870"/>
                <a:gd name="T51" fmla="*/ 2147483647 h 1344"/>
                <a:gd name="T52" fmla="*/ 2147483647 w 870"/>
                <a:gd name="T53" fmla="*/ 2147483647 h 1344"/>
                <a:gd name="T54" fmla="*/ 2147483647 w 870"/>
                <a:gd name="T55" fmla="*/ 2147483647 h 1344"/>
                <a:gd name="T56" fmla="*/ 2147483647 w 870"/>
                <a:gd name="T57" fmla="*/ 2147483647 h 1344"/>
                <a:gd name="T58" fmla="*/ 2147483647 w 870"/>
                <a:gd name="T59" fmla="*/ 2147483647 h 1344"/>
                <a:gd name="T60" fmla="*/ 2147483647 w 870"/>
                <a:gd name="T61" fmla="*/ 2147483647 h 1344"/>
                <a:gd name="T62" fmla="*/ 2147483647 w 870"/>
                <a:gd name="T63" fmla="*/ 2147483647 h 1344"/>
                <a:gd name="T64" fmla="*/ 2147483647 w 870"/>
                <a:gd name="T65" fmla="*/ 2147483647 h 1344"/>
                <a:gd name="T66" fmla="*/ 2147483647 w 870"/>
                <a:gd name="T67" fmla="*/ 2147483647 h 1344"/>
                <a:gd name="T68" fmla="*/ 2147483647 w 870"/>
                <a:gd name="T69" fmla="*/ 2147483647 h 1344"/>
                <a:gd name="T70" fmla="*/ 2147483647 w 870"/>
                <a:gd name="T71" fmla="*/ 2147483647 h 1344"/>
                <a:gd name="T72" fmla="*/ 2147483647 w 870"/>
                <a:gd name="T73" fmla="*/ 0 h 1344"/>
                <a:gd name="T74" fmla="*/ 2147483647 w 870"/>
                <a:gd name="T75" fmla="*/ 2147483647 h 1344"/>
                <a:gd name="T76" fmla="*/ 2147483647 w 870"/>
                <a:gd name="T77" fmla="*/ 2147483647 h 1344"/>
                <a:gd name="T78" fmla="*/ 2147483647 w 870"/>
                <a:gd name="T79" fmla="*/ 2147483647 h 1344"/>
                <a:gd name="T80" fmla="*/ 2147483647 w 870"/>
                <a:gd name="T81" fmla="*/ 2147483647 h 1344"/>
                <a:gd name="T82" fmla="*/ 2147483647 w 870"/>
                <a:gd name="T83" fmla="*/ 2147483647 h 1344"/>
                <a:gd name="T84" fmla="*/ 2147483647 w 870"/>
                <a:gd name="T85" fmla="*/ 2147483647 h 1344"/>
                <a:gd name="T86" fmla="*/ 2147483647 w 870"/>
                <a:gd name="T87" fmla="*/ 2147483647 h 1344"/>
                <a:gd name="T88" fmla="*/ 2147483647 w 870"/>
                <a:gd name="T89" fmla="*/ 2147483647 h 1344"/>
                <a:gd name="T90" fmla="*/ 2147483647 w 870"/>
                <a:gd name="T91" fmla="*/ 2147483647 h 1344"/>
                <a:gd name="T92" fmla="*/ 2147483647 w 870"/>
                <a:gd name="T93" fmla="*/ 2147483647 h 1344"/>
                <a:gd name="T94" fmla="*/ 2147483647 w 870"/>
                <a:gd name="T95" fmla="*/ 2147483647 h 1344"/>
                <a:gd name="T96" fmla="*/ 2147483647 w 870"/>
                <a:gd name="T97" fmla="*/ 2147483647 h 1344"/>
                <a:gd name="T98" fmla="*/ 2147483647 w 870"/>
                <a:gd name="T99" fmla="*/ 2147483647 h 1344"/>
                <a:gd name="T100" fmla="*/ 2147483647 w 870"/>
                <a:gd name="T101" fmla="*/ 2147483647 h 1344"/>
                <a:gd name="T102" fmla="*/ 2147483647 w 870"/>
                <a:gd name="T103" fmla="*/ 2147483647 h 1344"/>
                <a:gd name="T104" fmla="*/ 2147483647 w 870"/>
                <a:gd name="T105" fmla="*/ 2147483647 h 1344"/>
                <a:gd name="T106" fmla="*/ 2147483647 w 870"/>
                <a:gd name="T107" fmla="*/ 2147483647 h 134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70"/>
                <a:gd name="T163" fmla="*/ 0 h 1344"/>
                <a:gd name="T164" fmla="*/ 870 w 870"/>
                <a:gd name="T165" fmla="*/ 1344 h 134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70" h="1344">
                  <a:moveTo>
                    <a:pt x="36" y="912"/>
                  </a:moveTo>
                  <a:lnTo>
                    <a:pt x="60" y="924"/>
                  </a:lnTo>
                  <a:lnTo>
                    <a:pt x="66" y="936"/>
                  </a:lnTo>
                  <a:lnTo>
                    <a:pt x="84" y="936"/>
                  </a:lnTo>
                  <a:lnTo>
                    <a:pt x="96" y="942"/>
                  </a:lnTo>
                  <a:lnTo>
                    <a:pt x="102" y="948"/>
                  </a:lnTo>
                  <a:lnTo>
                    <a:pt x="108" y="960"/>
                  </a:lnTo>
                  <a:lnTo>
                    <a:pt x="108" y="966"/>
                  </a:lnTo>
                  <a:lnTo>
                    <a:pt x="114" y="972"/>
                  </a:lnTo>
                  <a:lnTo>
                    <a:pt x="126" y="978"/>
                  </a:lnTo>
                  <a:lnTo>
                    <a:pt x="138" y="978"/>
                  </a:lnTo>
                  <a:lnTo>
                    <a:pt x="144" y="972"/>
                  </a:lnTo>
                  <a:lnTo>
                    <a:pt x="156" y="978"/>
                  </a:lnTo>
                  <a:lnTo>
                    <a:pt x="162" y="984"/>
                  </a:lnTo>
                  <a:lnTo>
                    <a:pt x="186" y="984"/>
                  </a:lnTo>
                  <a:lnTo>
                    <a:pt x="186" y="972"/>
                  </a:lnTo>
                  <a:lnTo>
                    <a:pt x="192" y="966"/>
                  </a:lnTo>
                  <a:lnTo>
                    <a:pt x="198" y="966"/>
                  </a:lnTo>
                  <a:lnTo>
                    <a:pt x="210" y="972"/>
                  </a:lnTo>
                  <a:lnTo>
                    <a:pt x="210" y="978"/>
                  </a:lnTo>
                  <a:lnTo>
                    <a:pt x="216" y="984"/>
                  </a:lnTo>
                  <a:lnTo>
                    <a:pt x="216" y="990"/>
                  </a:lnTo>
                  <a:lnTo>
                    <a:pt x="228" y="1002"/>
                  </a:lnTo>
                  <a:lnTo>
                    <a:pt x="264" y="1002"/>
                  </a:lnTo>
                  <a:lnTo>
                    <a:pt x="276" y="1008"/>
                  </a:lnTo>
                  <a:lnTo>
                    <a:pt x="282" y="1014"/>
                  </a:lnTo>
                  <a:lnTo>
                    <a:pt x="294" y="1020"/>
                  </a:lnTo>
                  <a:lnTo>
                    <a:pt x="312" y="1038"/>
                  </a:lnTo>
                  <a:lnTo>
                    <a:pt x="324" y="1044"/>
                  </a:lnTo>
                  <a:lnTo>
                    <a:pt x="330" y="1050"/>
                  </a:lnTo>
                  <a:lnTo>
                    <a:pt x="342" y="1086"/>
                  </a:lnTo>
                  <a:lnTo>
                    <a:pt x="360" y="1086"/>
                  </a:lnTo>
                  <a:lnTo>
                    <a:pt x="372" y="1104"/>
                  </a:lnTo>
                  <a:lnTo>
                    <a:pt x="384" y="1104"/>
                  </a:lnTo>
                  <a:lnTo>
                    <a:pt x="390" y="1110"/>
                  </a:lnTo>
                  <a:lnTo>
                    <a:pt x="390" y="1134"/>
                  </a:lnTo>
                  <a:lnTo>
                    <a:pt x="396" y="1140"/>
                  </a:lnTo>
                  <a:lnTo>
                    <a:pt x="396" y="1146"/>
                  </a:lnTo>
                  <a:lnTo>
                    <a:pt x="408" y="1146"/>
                  </a:lnTo>
                  <a:lnTo>
                    <a:pt x="420" y="1152"/>
                  </a:lnTo>
                  <a:lnTo>
                    <a:pt x="426" y="1158"/>
                  </a:lnTo>
                  <a:lnTo>
                    <a:pt x="426" y="1164"/>
                  </a:lnTo>
                  <a:lnTo>
                    <a:pt x="420" y="1170"/>
                  </a:lnTo>
                  <a:lnTo>
                    <a:pt x="420" y="1194"/>
                  </a:lnTo>
                  <a:lnTo>
                    <a:pt x="432" y="1200"/>
                  </a:lnTo>
                  <a:lnTo>
                    <a:pt x="456" y="1206"/>
                  </a:lnTo>
                  <a:lnTo>
                    <a:pt x="492" y="1206"/>
                  </a:lnTo>
                  <a:lnTo>
                    <a:pt x="492" y="1194"/>
                  </a:lnTo>
                  <a:lnTo>
                    <a:pt x="504" y="1182"/>
                  </a:lnTo>
                  <a:lnTo>
                    <a:pt x="528" y="1182"/>
                  </a:lnTo>
                  <a:lnTo>
                    <a:pt x="534" y="1188"/>
                  </a:lnTo>
                  <a:lnTo>
                    <a:pt x="540" y="1188"/>
                  </a:lnTo>
                  <a:lnTo>
                    <a:pt x="546" y="1194"/>
                  </a:lnTo>
                  <a:lnTo>
                    <a:pt x="558" y="1194"/>
                  </a:lnTo>
                  <a:lnTo>
                    <a:pt x="570" y="1188"/>
                  </a:lnTo>
                  <a:lnTo>
                    <a:pt x="576" y="1182"/>
                  </a:lnTo>
                  <a:lnTo>
                    <a:pt x="588" y="1182"/>
                  </a:lnTo>
                  <a:lnTo>
                    <a:pt x="588" y="1188"/>
                  </a:lnTo>
                  <a:lnTo>
                    <a:pt x="594" y="1200"/>
                  </a:lnTo>
                  <a:lnTo>
                    <a:pt x="600" y="1206"/>
                  </a:lnTo>
                  <a:lnTo>
                    <a:pt x="624" y="1206"/>
                  </a:lnTo>
                  <a:lnTo>
                    <a:pt x="636" y="1212"/>
                  </a:lnTo>
                  <a:lnTo>
                    <a:pt x="642" y="1218"/>
                  </a:lnTo>
                  <a:lnTo>
                    <a:pt x="642" y="1236"/>
                  </a:lnTo>
                  <a:lnTo>
                    <a:pt x="636" y="1248"/>
                  </a:lnTo>
                  <a:lnTo>
                    <a:pt x="630" y="1254"/>
                  </a:lnTo>
                  <a:lnTo>
                    <a:pt x="624" y="1254"/>
                  </a:lnTo>
                  <a:lnTo>
                    <a:pt x="618" y="1260"/>
                  </a:lnTo>
                  <a:lnTo>
                    <a:pt x="618" y="1266"/>
                  </a:lnTo>
                  <a:lnTo>
                    <a:pt x="606" y="1290"/>
                  </a:lnTo>
                  <a:lnTo>
                    <a:pt x="606" y="1308"/>
                  </a:lnTo>
                  <a:lnTo>
                    <a:pt x="612" y="1314"/>
                  </a:lnTo>
                  <a:lnTo>
                    <a:pt x="630" y="1314"/>
                  </a:lnTo>
                  <a:lnTo>
                    <a:pt x="642" y="1332"/>
                  </a:lnTo>
                  <a:lnTo>
                    <a:pt x="660" y="1344"/>
                  </a:lnTo>
                  <a:lnTo>
                    <a:pt x="660" y="1308"/>
                  </a:lnTo>
                  <a:lnTo>
                    <a:pt x="666" y="1236"/>
                  </a:lnTo>
                  <a:lnTo>
                    <a:pt x="684" y="1188"/>
                  </a:lnTo>
                  <a:lnTo>
                    <a:pt x="678" y="1140"/>
                  </a:lnTo>
                  <a:lnTo>
                    <a:pt x="690" y="1128"/>
                  </a:lnTo>
                  <a:lnTo>
                    <a:pt x="696" y="1116"/>
                  </a:lnTo>
                  <a:lnTo>
                    <a:pt x="696" y="1104"/>
                  </a:lnTo>
                  <a:lnTo>
                    <a:pt x="690" y="1092"/>
                  </a:lnTo>
                  <a:lnTo>
                    <a:pt x="678" y="1080"/>
                  </a:lnTo>
                  <a:lnTo>
                    <a:pt x="678" y="1074"/>
                  </a:lnTo>
                  <a:lnTo>
                    <a:pt x="672" y="1068"/>
                  </a:lnTo>
                  <a:lnTo>
                    <a:pt x="672" y="1044"/>
                  </a:lnTo>
                  <a:lnTo>
                    <a:pt x="666" y="1038"/>
                  </a:lnTo>
                  <a:lnTo>
                    <a:pt x="654" y="1032"/>
                  </a:lnTo>
                  <a:lnTo>
                    <a:pt x="642" y="1020"/>
                  </a:lnTo>
                  <a:lnTo>
                    <a:pt x="636" y="1020"/>
                  </a:lnTo>
                  <a:lnTo>
                    <a:pt x="642" y="954"/>
                  </a:lnTo>
                  <a:lnTo>
                    <a:pt x="672" y="948"/>
                  </a:lnTo>
                  <a:lnTo>
                    <a:pt x="678" y="954"/>
                  </a:lnTo>
                  <a:lnTo>
                    <a:pt x="708" y="954"/>
                  </a:lnTo>
                  <a:lnTo>
                    <a:pt x="714" y="948"/>
                  </a:lnTo>
                  <a:lnTo>
                    <a:pt x="714" y="942"/>
                  </a:lnTo>
                  <a:lnTo>
                    <a:pt x="708" y="936"/>
                  </a:lnTo>
                  <a:lnTo>
                    <a:pt x="708" y="930"/>
                  </a:lnTo>
                  <a:lnTo>
                    <a:pt x="696" y="918"/>
                  </a:lnTo>
                  <a:lnTo>
                    <a:pt x="684" y="924"/>
                  </a:lnTo>
                  <a:lnTo>
                    <a:pt x="660" y="912"/>
                  </a:lnTo>
                  <a:lnTo>
                    <a:pt x="660" y="900"/>
                  </a:lnTo>
                  <a:lnTo>
                    <a:pt x="654" y="888"/>
                  </a:lnTo>
                  <a:lnTo>
                    <a:pt x="654" y="876"/>
                  </a:lnTo>
                  <a:lnTo>
                    <a:pt x="660" y="864"/>
                  </a:lnTo>
                  <a:lnTo>
                    <a:pt x="666" y="858"/>
                  </a:lnTo>
                  <a:lnTo>
                    <a:pt x="684" y="858"/>
                  </a:lnTo>
                  <a:lnTo>
                    <a:pt x="696" y="870"/>
                  </a:lnTo>
                  <a:lnTo>
                    <a:pt x="762" y="864"/>
                  </a:lnTo>
                  <a:lnTo>
                    <a:pt x="762" y="846"/>
                  </a:lnTo>
                  <a:lnTo>
                    <a:pt x="768" y="840"/>
                  </a:lnTo>
                  <a:lnTo>
                    <a:pt x="774" y="840"/>
                  </a:lnTo>
                  <a:lnTo>
                    <a:pt x="798" y="864"/>
                  </a:lnTo>
                  <a:lnTo>
                    <a:pt x="828" y="834"/>
                  </a:lnTo>
                  <a:lnTo>
                    <a:pt x="834" y="834"/>
                  </a:lnTo>
                  <a:lnTo>
                    <a:pt x="834" y="846"/>
                  </a:lnTo>
                  <a:lnTo>
                    <a:pt x="840" y="852"/>
                  </a:lnTo>
                  <a:lnTo>
                    <a:pt x="840" y="864"/>
                  </a:lnTo>
                  <a:lnTo>
                    <a:pt x="846" y="876"/>
                  </a:lnTo>
                  <a:lnTo>
                    <a:pt x="846" y="906"/>
                  </a:lnTo>
                  <a:lnTo>
                    <a:pt x="870" y="906"/>
                  </a:lnTo>
                  <a:lnTo>
                    <a:pt x="864" y="900"/>
                  </a:lnTo>
                  <a:lnTo>
                    <a:pt x="864" y="882"/>
                  </a:lnTo>
                  <a:lnTo>
                    <a:pt x="858" y="870"/>
                  </a:lnTo>
                  <a:lnTo>
                    <a:pt x="858" y="852"/>
                  </a:lnTo>
                  <a:lnTo>
                    <a:pt x="852" y="846"/>
                  </a:lnTo>
                  <a:lnTo>
                    <a:pt x="852" y="828"/>
                  </a:lnTo>
                  <a:lnTo>
                    <a:pt x="846" y="822"/>
                  </a:lnTo>
                  <a:lnTo>
                    <a:pt x="846" y="798"/>
                  </a:lnTo>
                  <a:lnTo>
                    <a:pt x="834" y="798"/>
                  </a:lnTo>
                  <a:lnTo>
                    <a:pt x="822" y="786"/>
                  </a:lnTo>
                  <a:lnTo>
                    <a:pt x="798" y="774"/>
                  </a:lnTo>
                  <a:lnTo>
                    <a:pt x="804" y="774"/>
                  </a:lnTo>
                  <a:lnTo>
                    <a:pt x="834" y="744"/>
                  </a:lnTo>
                  <a:lnTo>
                    <a:pt x="840" y="732"/>
                  </a:lnTo>
                  <a:lnTo>
                    <a:pt x="840" y="726"/>
                  </a:lnTo>
                  <a:lnTo>
                    <a:pt x="834" y="714"/>
                  </a:lnTo>
                  <a:lnTo>
                    <a:pt x="822" y="708"/>
                  </a:lnTo>
                  <a:lnTo>
                    <a:pt x="816" y="696"/>
                  </a:lnTo>
                  <a:lnTo>
                    <a:pt x="816" y="672"/>
                  </a:lnTo>
                  <a:lnTo>
                    <a:pt x="804" y="672"/>
                  </a:lnTo>
                  <a:lnTo>
                    <a:pt x="798" y="666"/>
                  </a:lnTo>
                  <a:lnTo>
                    <a:pt x="798" y="654"/>
                  </a:lnTo>
                  <a:lnTo>
                    <a:pt x="804" y="642"/>
                  </a:lnTo>
                  <a:lnTo>
                    <a:pt x="804" y="612"/>
                  </a:lnTo>
                  <a:lnTo>
                    <a:pt x="798" y="600"/>
                  </a:lnTo>
                  <a:lnTo>
                    <a:pt x="798" y="576"/>
                  </a:lnTo>
                  <a:lnTo>
                    <a:pt x="810" y="564"/>
                  </a:lnTo>
                  <a:lnTo>
                    <a:pt x="816" y="564"/>
                  </a:lnTo>
                  <a:lnTo>
                    <a:pt x="822" y="558"/>
                  </a:lnTo>
                  <a:lnTo>
                    <a:pt x="822" y="534"/>
                  </a:lnTo>
                  <a:lnTo>
                    <a:pt x="840" y="516"/>
                  </a:lnTo>
                  <a:lnTo>
                    <a:pt x="840" y="504"/>
                  </a:lnTo>
                  <a:lnTo>
                    <a:pt x="834" y="498"/>
                  </a:lnTo>
                  <a:lnTo>
                    <a:pt x="816" y="498"/>
                  </a:lnTo>
                  <a:lnTo>
                    <a:pt x="804" y="504"/>
                  </a:lnTo>
                  <a:lnTo>
                    <a:pt x="798" y="510"/>
                  </a:lnTo>
                  <a:lnTo>
                    <a:pt x="774" y="504"/>
                  </a:lnTo>
                  <a:lnTo>
                    <a:pt x="768" y="510"/>
                  </a:lnTo>
                  <a:lnTo>
                    <a:pt x="744" y="510"/>
                  </a:lnTo>
                  <a:lnTo>
                    <a:pt x="738" y="504"/>
                  </a:lnTo>
                  <a:lnTo>
                    <a:pt x="720" y="504"/>
                  </a:lnTo>
                  <a:lnTo>
                    <a:pt x="720" y="510"/>
                  </a:lnTo>
                  <a:lnTo>
                    <a:pt x="696" y="510"/>
                  </a:lnTo>
                  <a:lnTo>
                    <a:pt x="672" y="486"/>
                  </a:lnTo>
                  <a:lnTo>
                    <a:pt x="666" y="468"/>
                  </a:lnTo>
                  <a:lnTo>
                    <a:pt x="660" y="456"/>
                  </a:lnTo>
                  <a:lnTo>
                    <a:pt x="654" y="450"/>
                  </a:lnTo>
                  <a:lnTo>
                    <a:pt x="654" y="444"/>
                  </a:lnTo>
                  <a:lnTo>
                    <a:pt x="630" y="444"/>
                  </a:lnTo>
                  <a:lnTo>
                    <a:pt x="618" y="438"/>
                  </a:lnTo>
                  <a:lnTo>
                    <a:pt x="612" y="432"/>
                  </a:lnTo>
                  <a:lnTo>
                    <a:pt x="600" y="432"/>
                  </a:lnTo>
                  <a:lnTo>
                    <a:pt x="600" y="438"/>
                  </a:lnTo>
                  <a:lnTo>
                    <a:pt x="594" y="444"/>
                  </a:lnTo>
                  <a:lnTo>
                    <a:pt x="582" y="444"/>
                  </a:lnTo>
                  <a:lnTo>
                    <a:pt x="570" y="438"/>
                  </a:lnTo>
                  <a:lnTo>
                    <a:pt x="564" y="438"/>
                  </a:lnTo>
                  <a:lnTo>
                    <a:pt x="552" y="432"/>
                  </a:lnTo>
                  <a:lnTo>
                    <a:pt x="540" y="432"/>
                  </a:lnTo>
                  <a:lnTo>
                    <a:pt x="534" y="438"/>
                  </a:lnTo>
                  <a:lnTo>
                    <a:pt x="510" y="438"/>
                  </a:lnTo>
                  <a:lnTo>
                    <a:pt x="504" y="432"/>
                  </a:lnTo>
                  <a:lnTo>
                    <a:pt x="498" y="420"/>
                  </a:lnTo>
                  <a:lnTo>
                    <a:pt x="498" y="408"/>
                  </a:lnTo>
                  <a:lnTo>
                    <a:pt x="486" y="408"/>
                  </a:lnTo>
                  <a:lnTo>
                    <a:pt x="486" y="366"/>
                  </a:lnTo>
                  <a:lnTo>
                    <a:pt x="498" y="342"/>
                  </a:lnTo>
                  <a:lnTo>
                    <a:pt x="498" y="330"/>
                  </a:lnTo>
                  <a:lnTo>
                    <a:pt x="492" y="324"/>
                  </a:lnTo>
                  <a:lnTo>
                    <a:pt x="480" y="318"/>
                  </a:lnTo>
                  <a:lnTo>
                    <a:pt x="474" y="312"/>
                  </a:lnTo>
                  <a:lnTo>
                    <a:pt x="474" y="276"/>
                  </a:lnTo>
                  <a:lnTo>
                    <a:pt x="468" y="264"/>
                  </a:lnTo>
                  <a:lnTo>
                    <a:pt x="456" y="252"/>
                  </a:lnTo>
                  <a:lnTo>
                    <a:pt x="450" y="252"/>
                  </a:lnTo>
                  <a:lnTo>
                    <a:pt x="438" y="264"/>
                  </a:lnTo>
                  <a:lnTo>
                    <a:pt x="438" y="270"/>
                  </a:lnTo>
                  <a:lnTo>
                    <a:pt x="432" y="264"/>
                  </a:lnTo>
                  <a:lnTo>
                    <a:pt x="432" y="252"/>
                  </a:lnTo>
                  <a:lnTo>
                    <a:pt x="438" y="240"/>
                  </a:lnTo>
                  <a:lnTo>
                    <a:pt x="462" y="216"/>
                  </a:lnTo>
                  <a:lnTo>
                    <a:pt x="462" y="192"/>
                  </a:lnTo>
                  <a:lnTo>
                    <a:pt x="468" y="186"/>
                  </a:lnTo>
                  <a:lnTo>
                    <a:pt x="468" y="168"/>
                  </a:lnTo>
                  <a:lnTo>
                    <a:pt x="480" y="132"/>
                  </a:lnTo>
                  <a:lnTo>
                    <a:pt x="504" y="108"/>
                  </a:lnTo>
                  <a:lnTo>
                    <a:pt x="522" y="102"/>
                  </a:lnTo>
                  <a:lnTo>
                    <a:pt x="534" y="90"/>
                  </a:lnTo>
                  <a:lnTo>
                    <a:pt x="540" y="78"/>
                  </a:lnTo>
                  <a:lnTo>
                    <a:pt x="540" y="72"/>
                  </a:lnTo>
                  <a:lnTo>
                    <a:pt x="546" y="66"/>
                  </a:lnTo>
                  <a:lnTo>
                    <a:pt x="558" y="66"/>
                  </a:lnTo>
                  <a:lnTo>
                    <a:pt x="564" y="60"/>
                  </a:lnTo>
                  <a:lnTo>
                    <a:pt x="570" y="60"/>
                  </a:lnTo>
                  <a:lnTo>
                    <a:pt x="576" y="54"/>
                  </a:lnTo>
                  <a:lnTo>
                    <a:pt x="582" y="54"/>
                  </a:lnTo>
                  <a:lnTo>
                    <a:pt x="600" y="36"/>
                  </a:lnTo>
                  <a:lnTo>
                    <a:pt x="600" y="12"/>
                  </a:lnTo>
                  <a:lnTo>
                    <a:pt x="594" y="6"/>
                  </a:lnTo>
                  <a:lnTo>
                    <a:pt x="582" y="0"/>
                  </a:lnTo>
                  <a:lnTo>
                    <a:pt x="570" y="6"/>
                  </a:lnTo>
                  <a:lnTo>
                    <a:pt x="546" y="6"/>
                  </a:lnTo>
                  <a:lnTo>
                    <a:pt x="540" y="12"/>
                  </a:lnTo>
                  <a:lnTo>
                    <a:pt x="534" y="12"/>
                  </a:lnTo>
                  <a:lnTo>
                    <a:pt x="522" y="24"/>
                  </a:lnTo>
                  <a:lnTo>
                    <a:pt x="522" y="36"/>
                  </a:lnTo>
                  <a:lnTo>
                    <a:pt x="516" y="48"/>
                  </a:lnTo>
                  <a:lnTo>
                    <a:pt x="504" y="60"/>
                  </a:lnTo>
                  <a:lnTo>
                    <a:pt x="492" y="60"/>
                  </a:lnTo>
                  <a:lnTo>
                    <a:pt x="480" y="54"/>
                  </a:lnTo>
                  <a:lnTo>
                    <a:pt x="474" y="54"/>
                  </a:lnTo>
                  <a:lnTo>
                    <a:pt x="444" y="84"/>
                  </a:lnTo>
                  <a:lnTo>
                    <a:pt x="444" y="90"/>
                  </a:lnTo>
                  <a:lnTo>
                    <a:pt x="408" y="102"/>
                  </a:lnTo>
                  <a:lnTo>
                    <a:pt x="402" y="96"/>
                  </a:lnTo>
                  <a:lnTo>
                    <a:pt x="390" y="90"/>
                  </a:lnTo>
                  <a:lnTo>
                    <a:pt x="384" y="90"/>
                  </a:lnTo>
                  <a:lnTo>
                    <a:pt x="378" y="102"/>
                  </a:lnTo>
                  <a:lnTo>
                    <a:pt x="378" y="120"/>
                  </a:lnTo>
                  <a:lnTo>
                    <a:pt x="372" y="132"/>
                  </a:lnTo>
                  <a:lnTo>
                    <a:pt x="366" y="138"/>
                  </a:lnTo>
                  <a:lnTo>
                    <a:pt x="354" y="138"/>
                  </a:lnTo>
                  <a:lnTo>
                    <a:pt x="354" y="132"/>
                  </a:lnTo>
                  <a:lnTo>
                    <a:pt x="360" y="126"/>
                  </a:lnTo>
                  <a:lnTo>
                    <a:pt x="354" y="120"/>
                  </a:lnTo>
                  <a:lnTo>
                    <a:pt x="342" y="120"/>
                  </a:lnTo>
                  <a:lnTo>
                    <a:pt x="330" y="126"/>
                  </a:lnTo>
                  <a:lnTo>
                    <a:pt x="318" y="126"/>
                  </a:lnTo>
                  <a:lnTo>
                    <a:pt x="312" y="132"/>
                  </a:lnTo>
                  <a:lnTo>
                    <a:pt x="306" y="132"/>
                  </a:lnTo>
                  <a:lnTo>
                    <a:pt x="300" y="144"/>
                  </a:lnTo>
                  <a:lnTo>
                    <a:pt x="288" y="150"/>
                  </a:lnTo>
                  <a:lnTo>
                    <a:pt x="282" y="162"/>
                  </a:lnTo>
                  <a:lnTo>
                    <a:pt x="276" y="168"/>
                  </a:lnTo>
                  <a:lnTo>
                    <a:pt x="276" y="186"/>
                  </a:lnTo>
                  <a:lnTo>
                    <a:pt x="282" y="192"/>
                  </a:lnTo>
                  <a:lnTo>
                    <a:pt x="264" y="222"/>
                  </a:lnTo>
                  <a:lnTo>
                    <a:pt x="276" y="246"/>
                  </a:lnTo>
                  <a:lnTo>
                    <a:pt x="252" y="246"/>
                  </a:lnTo>
                  <a:lnTo>
                    <a:pt x="240" y="252"/>
                  </a:lnTo>
                  <a:lnTo>
                    <a:pt x="228" y="264"/>
                  </a:lnTo>
                  <a:lnTo>
                    <a:pt x="228" y="276"/>
                  </a:lnTo>
                  <a:lnTo>
                    <a:pt x="222" y="288"/>
                  </a:lnTo>
                  <a:lnTo>
                    <a:pt x="216" y="294"/>
                  </a:lnTo>
                  <a:lnTo>
                    <a:pt x="204" y="294"/>
                  </a:lnTo>
                  <a:lnTo>
                    <a:pt x="198" y="300"/>
                  </a:lnTo>
                  <a:lnTo>
                    <a:pt x="192" y="300"/>
                  </a:lnTo>
                  <a:lnTo>
                    <a:pt x="174" y="306"/>
                  </a:lnTo>
                  <a:lnTo>
                    <a:pt x="186" y="330"/>
                  </a:lnTo>
                  <a:lnTo>
                    <a:pt x="186" y="366"/>
                  </a:lnTo>
                  <a:lnTo>
                    <a:pt x="168" y="366"/>
                  </a:lnTo>
                  <a:lnTo>
                    <a:pt x="168" y="360"/>
                  </a:lnTo>
                  <a:lnTo>
                    <a:pt x="174" y="354"/>
                  </a:lnTo>
                  <a:lnTo>
                    <a:pt x="174" y="342"/>
                  </a:lnTo>
                  <a:lnTo>
                    <a:pt x="144" y="312"/>
                  </a:lnTo>
                  <a:lnTo>
                    <a:pt x="138" y="312"/>
                  </a:lnTo>
                  <a:lnTo>
                    <a:pt x="132" y="318"/>
                  </a:lnTo>
                  <a:lnTo>
                    <a:pt x="132" y="336"/>
                  </a:lnTo>
                  <a:lnTo>
                    <a:pt x="138" y="348"/>
                  </a:lnTo>
                  <a:lnTo>
                    <a:pt x="150" y="354"/>
                  </a:lnTo>
                  <a:lnTo>
                    <a:pt x="150" y="366"/>
                  </a:lnTo>
                  <a:lnTo>
                    <a:pt x="138" y="390"/>
                  </a:lnTo>
                  <a:lnTo>
                    <a:pt x="132" y="396"/>
                  </a:lnTo>
                  <a:lnTo>
                    <a:pt x="120" y="390"/>
                  </a:lnTo>
                  <a:lnTo>
                    <a:pt x="114" y="384"/>
                  </a:lnTo>
                  <a:lnTo>
                    <a:pt x="102" y="414"/>
                  </a:lnTo>
                  <a:lnTo>
                    <a:pt x="114" y="438"/>
                  </a:lnTo>
                  <a:lnTo>
                    <a:pt x="114" y="450"/>
                  </a:lnTo>
                  <a:lnTo>
                    <a:pt x="126" y="462"/>
                  </a:lnTo>
                  <a:lnTo>
                    <a:pt x="132" y="474"/>
                  </a:lnTo>
                  <a:lnTo>
                    <a:pt x="132" y="480"/>
                  </a:lnTo>
                  <a:lnTo>
                    <a:pt x="120" y="492"/>
                  </a:lnTo>
                  <a:lnTo>
                    <a:pt x="114" y="492"/>
                  </a:lnTo>
                  <a:lnTo>
                    <a:pt x="132" y="516"/>
                  </a:lnTo>
                  <a:lnTo>
                    <a:pt x="138" y="552"/>
                  </a:lnTo>
                  <a:lnTo>
                    <a:pt x="114" y="558"/>
                  </a:lnTo>
                  <a:lnTo>
                    <a:pt x="132" y="576"/>
                  </a:lnTo>
                  <a:lnTo>
                    <a:pt x="132" y="636"/>
                  </a:lnTo>
                  <a:lnTo>
                    <a:pt x="120" y="642"/>
                  </a:lnTo>
                  <a:lnTo>
                    <a:pt x="114" y="654"/>
                  </a:lnTo>
                  <a:lnTo>
                    <a:pt x="114" y="678"/>
                  </a:lnTo>
                  <a:lnTo>
                    <a:pt x="138" y="702"/>
                  </a:lnTo>
                  <a:lnTo>
                    <a:pt x="138" y="720"/>
                  </a:lnTo>
                  <a:lnTo>
                    <a:pt x="132" y="732"/>
                  </a:lnTo>
                  <a:lnTo>
                    <a:pt x="120" y="738"/>
                  </a:lnTo>
                  <a:lnTo>
                    <a:pt x="114" y="750"/>
                  </a:lnTo>
                  <a:lnTo>
                    <a:pt x="102" y="756"/>
                  </a:lnTo>
                  <a:lnTo>
                    <a:pt x="96" y="762"/>
                  </a:lnTo>
                  <a:lnTo>
                    <a:pt x="114" y="774"/>
                  </a:lnTo>
                  <a:lnTo>
                    <a:pt x="84" y="798"/>
                  </a:lnTo>
                  <a:lnTo>
                    <a:pt x="66" y="798"/>
                  </a:lnTo>
                  <a:lnTo>
                    <a:pt x="54" y="804"/>
                  </a:lnTo>
                  <a:lnTo>
                    <a:pt x="36" y="810"/>
                  </a:lnTo>
                  <a:lnTo>
                    <a:pt x="30" y="822"/>
                  </a:lnTo>
                  <a:lnTo>
                    <a:pt x="30" y="846"/>
                  </a:lnTo>
                  <a:lnTo>
                    <a:pt x="36" y="852"/>
                  </a:lnTo>
                  <a:lnTo>
                    <a:pt x="36" y="858"/>
                  </a:lnTo>
                  <a:lnTo>
                    <a:pt x="6" y="858"/>
                  </a:lnTo>
                  <a:lnTo>
                    <a:pt x="0" y="864"/>
                  </a:lnTo>
                  <a:lnTo>
                    <a:pt x="0" y="876"/>
                  </a:lnTo>
                  <a:lnTo>
                    <a:pt x="6" y="888"/>
                  </a:lnTo>
                  <a:lnTo>
                    <a:pt x="18" y="894"/>
                  </a:lnTo>
                  <a:lnTo>
                    <a:pt x="24" y="906"/>
                  </a:lnTo>
                  <a:lnTo>
                    <a:pt x="36" y="912"/>
                  </a:lnTo>
                  <a:close/>
                </a:path>
              </a:pathLst>
            </a:custGeom>
            <a:solidFill>
              <a:srgbClr val="FFFF0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217" name="Chile" descr="© INSCALE GmbH, 05.05.2010&#10;http://www.presentationload.com/">
              <a:extLst>
                <a:ext uri="{FF2B5EF4-FFF2-40B4-BE49-F238E27FC236}">
                  <a16:creationId xmlns:a16="http://schemas.microsoft.com/office/drawing/2014/main" id="{080D391B-4891-1694-C359-F0045AEDDC60}"/>
                </a:ext>
              </a:extLst>
            </p:cNvPr>
            <p:cNvSpPr>
              <a:spLocks noEditPoints="1"/>
            </p:cNvSpPr>
            <p:nvPr/>
          </p:nvSpPr>
          <p:spPr bwMode="gray">
            <a:xfrm>
              <a:off x="2366120" y="3756582"/>
              <a:ext cx="438782" cy="1148843"/>
            </a:xfrm>
            <a:custGeom>
              <a:avLst/>
              <a:gdLst>
                <a:gd name="T0" fmla="*/ 2147483647 w 1158"/>
                <a:gd name="T1" fmla="*/ 2147483647 h 3030"/>
                <a:gd name="T2" fmla="*/ 2147483647 w 1158"/>
                <a:gd name="T3" fmla="*/ 2147483647 h 3030"/>
                <a:gd name="T4" fmla="*/ 2147483647 w 1158"/>
                <a:gd name="T5" fmla="*/ 2147483647 h 3030"/>
                <a:gd name="T6" fmla="*/ 2147483647 w 1158"/>
                <a:gd name="T7" fmla="*/ 2147483647 h 3030"/>
                <a:gd name="T8" fmla="*/ 2147483647 w 1158"/>
                <a:gd name="T9" fmla="*/ 2147483647 h 3030"/>
                <a:gd name="T10" fmla="*/ 2147483647 w 1158"/>
                <a:gd name="T11" fmla="*/ 2147483647 h 3030"/>
                <a:gd name="T12" fmla="*/ 2147483647 w 1158"/>
                <a:gd name="T13" fmla="*/ 2147483647 h 3030"/>
                <a:gd name="T14" fmla="*/ 2147483647 w 1158"/>
                <a:gd name="T15" fmla="*/ 2147483647 h 3030"/>
                <a:gd name="T16" fmla="*/ 2147483647 w 1158"/>
                <a:gd name="T17" fmla="*/ 2147483647 h 3030"/>
                <a:gd name="T18" fmla="*/ 2147483647 w 1158"/>
                <a:gd name="T19" fmla="*/ 2147483647 h 3030"/>
                <a:gd name="T20" fmla="*/ 2147483647 w 1158"/>
                <a:gd name="T21" fmla="*/ 2147483647 h 3030"/>
                <a:gd name="T22" fmla="*/ 2147483647 w 1158"/>
                <a:gd name="T23" fmla="*/ 2147483647 h 3030"/>
                <a:gd name="T24" fmla="*/ 2147483647 w 1158"/>
                <a:gd name="T25" fmla="*/ 2147483647 h 3030"/>
                <a:gd name="T26" fmla="*/ 2147483647 w 1158"/>
                <a:gd name="T27" fmla="*/ 2147483647 h 3030"/>
                <a:gd name="T28" fmla="*/ 2147483647 w 1158"/>
                <a:gd name="T29" fmla="*/ 2147483647 h 3030"/>
                <a:gd name="T30" fmla="*/ 2147483647 w 1158"/>
                <a:gd name="T31" fmla="*/ 2147483647 h 3030"/>
                <a:gd name="T32" fmla="*/ 2147483647 w 1158"/>
                <a:gd name="T33" fmla="*/ 2147483647 h 3030"/>
                <a:gd name="T34" fmla="*/ 2147483647 w 1158"/>
                <a:gd name="T35" fmla="*/ 2147483647 h 3030"/>
                <a:gd name="T36" fmla="*/ 2147483647 w 1158"/>
                <a:gd name="T37" fmla="*/ 2147483647 h 3030"/>
                <a:gd name="T38" fmla="*/ 2147483647 w 1158"/>
                <a:gd name="T39" fmla="*/ 2147483647 h 3030"/>
                <a:gd name="T40" fmla="*/ 2147483647 w 1158"/>
                <a:gd name="T41" fmla="*/ 2147483647 h 3030"/>
                <a:gd name="T42" fmla="*/ 2147483647 w 1158"/>
                <a:gd name="T43" fmla="*/ 2147483647 h 3030"/>
                <a:gd name="T44" fmla="*/ 2147483647 w 1158"/>
                <a:gd name="T45" fmla="*/ 2147483647 h 3030"/>
                <a:gd name="T46" fmla="*/ 2147483647 w 1158"/>
                <a:gd name="T47" fmla="*/ 2147483647 h 3030"/>
                <a:gd name="T48" fmla="*/ 2147483647 w 1158"/>
                <a:gd name="T49" fmla="*/ 2147483647 h 3030"/>
                <a:gd name="T50" fmla="*/ 2147483647 w 1158"/>
                <a:gd name="T51" fmla="*/ 2147483647 h 3030"/>
                <a:gd name="T52" fmla="*/ 2147483647 w 1158"/>
                <a:gd name="T53" fmla="*/ 2147483647 h 3030"/>
                <a:gd name="T54" fmla="*/ 2147483647 w 1158"/>
                <a:gd name="T55" fmla="*/ 2147483647 h 3030"/>
                <a:gd name="T56" fmla="*/ 2147483647 w 1158"/>
                <a:gd name="T57" fmla="*/ 2147483647 h 3030"/>
                <a:gd name="T58" fmla="*/ 2147483647 w 1158"/>
                <a:gd name="T59" fmla="*/ 2147483647 h 3030"/>
                <a:gd name="T60" fmla="*/ 2147483647 w 1158"/>
                <a:gd name="T61" fmla="*/ 2147483647 h 3030"/>
                <a:gd name="T62" fmla="*/ 2147483647 w 1158"/>
                <a:gd name="T63" fmla="*/ 2147483647 h 3030"/>
                <a:gd name="T64" fmla="*/ 2147483647 w 1158"/>
                <a:gd name="T65" fmla="*/ 2147483647 h 3030"/>
                <a:gd name="T66" fmla="*/ 2147483647 w 1158"/>
                <a:gd name="T67" fmla="*/ 2147483647 h 3030"/>
                <a:gd name="T68" fmla="*/ 2147483647 w 1158"/>
                <a:gd name="T69" fmla="*/ 2147483647 h 3030"/>
                <a:gd name="T70" fmla="*/ 2147483647 w 1158"/>
                <a:gd name="T71" fmla="*/ 2147483647 h 3030"/>
                <a:gd name="T72" fmla="*/ 2147483647 w 1158"/>
                <a:gd name="T73" fmla="*/ 2147483647 h 3030"/>
                <a:gd name="T74" fmla="*/ 2147483647 w 1158"/>
                <a:gd name="T75" fmla="*/ 2147483647 h 3030"/>
                <a:gd name="T76" fmla="*/ 2147483647 w 1158"/>
                <a:gd name="T77" fmla="*/ 2147483647 h 3030"/>
                <a:gd name="T78" fmla="*/ 0 w 1158"/>
                <a:gd name="T79" fmla="*/ 2147483647 h 3030"/>
                <a:gd name="T80" fmla="*/ 2147483647 w 1158"/>
                <a:gd name="T81" fmla="*/ 2147483647 h 3030"/>
                <a:gd name="T82" fmla="*/ 2147483647 w 1158"/>
                <a:gd name="T83" fmla="*/ 2147483647 h 3030"/>
                <a:gd name="T84" fmla="*/ 2147483647 w 1158"/>
                <a:gd name="T85" fmla="*/ 2147483647 h 3030"/>
                <a:gd name="T86" fmla="*/ 2147483647 w 1158"/>
                <a:gd name="T87" fmla="*/ 2147483647 h 3030"/>
                <a:gd name="T88" fmla="*/ 2147483647 w 1158"/>
                <a:gd name="T89" fmla="*/ 2147483647 h 3030"/>
                <a:gd name="T90" fmla="*/ 2147483647 w 1158"/>
                <a:gd name="T91" fmla="*/ 2147483647 h 3030"/>
                <a:gd name="T92" fmla="*/ 2147483647 w 1158"/>
                <a:gd name="T93" fmla="*/ 2147483647 h 3030"/>
                <a:gd name="T94" fmla="*/ 2147483647 w 1158"/>
                <a:gd name="T95" fmla="*/ 2147483647 h 3030"/>
                <a:gd name="T96" fmla="*/ 2147483647 w 1158"/>
                <a:gd name="T97" fmla="*/ 2147483647 h 3030"/>
                <a:gd name="T98" fmla="*/ 2147483647 w 1158"/>
                <a:gd name="T99" fmla="*/ 2147483647 h 3030"/>
                <a:gd name="T100" fmla="*/ 2147483647 w 1158"/>
                <a:gd name="T101" fmla="*/ 2147483647 h 3030"/>
                <a:gd name="T102" fmla="*/ 2147483647 w 1158"/>
                <a:gd name="T103" fmla="*/ 2147483647 h 3030"/>
                <a:gd name="T104" fmla="*/ 2147483647 w 1158"/>
                <a:gd name="T105" fmla="*/ 2147483647 h 3030"/>
                <a:gd name="T106" fmla="*/ 2147483647 w 1158"/>
                <a:gd name="T107" fmla="*/ 2147483647 h 3030"/>
                <a:gd name="T108" fmla="*/ 2147483647 w 1158"/>
                <a:gd name="T109" fmla="*/ 2147483647 h 3030"/>
                <a:gd name="T110" fmla="*/ 2147483647 w 1158"/>
                <a:gd name="T111" fmla="*/ 2147483647 h 3030"/>
                <a:gd name="T112" fmla="*/ 2147483647 w 1158"/>
                <a:gd name="T113" fmla="*/ 2147483647 h 3030"/>
                <a:gd name="T114" fmla="*/ 2147483647 w 1158"/>
                <a:gd name="T115" fmla="*/ 2147483647 h 3030"/>
                <a:gd name="T116" fmla="*/ 2147483647 w 1158"/>
                <a:gd name="T117" fmla="*/ 2147483647 h 3030"/>
                <a:gd name="T118" fmla="*/ 2147483647 w 1158"/>
                <a:gd name="T119" fmla="*/ 2147483647 h 3030"/>
                <a:gd name="T120" fmla="*/ 2147483647 w 1158"/>
                <a:gd name="T121" fmla="*/ 2147483647 h 3030"/>
                <a:gd name="T122" fmla="*/ 2147483647 w 1158"/>
                <a:gd name="T123" fmla="*/ 2147483647 h 303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158"/>
                <a:gd name="T187" fmla="*/ 0 h 3030"/>
                <a:gd name="T188" fmla="*/ 1158 w 1158"/>
                <a:gd name="T189" fmla="*/ 3030 h 303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158" h="3030">
                  <a:moveTo>
                    <a:pt x="1014" y="2910"/>
                  </a:moveTo>
                  <a:lnTo>
                    <a:pt x="984" y="2898"/>
                  </a:lnTo>
                  <a:lnTo>
                    <a:pt x="966" y="2880"/>
                  </a:lnTo>
                  <a:lnTo>
                    <a:pt x="948" y="2874"/>
                  </a:lnTo>
                  <a:lnTo>
                    <a:pt x="942" y="2862"/>
                  </a:lnTo>
                  <a:lnTo>
                    <a:pt x="936" y="2856"/>
                  </a:lnTo>
                  <a:lnTo>
                    <a:pt x="936" y="2850"/>
                  </a:lnTo>
                  <a:lnTo>
                    <a:pt x="906" y="2850"/>
                  </a:lnTo>
                  <a:lnTo>
                    <a:pt x="912" y="2832"/>
                  </a:lnTo>
                  <a:lnTo>
                    <a:pt x="870" y="2796"/>
                  </a:lnTo>
                  <a:lnTo>
                    <a:pt x="840" y="2802"/>
                  </a:lnTo>
                  <a:lnTo>
                    <a:pt x="828" y="2796"/>
                  </a:lnTo>
                  <a:lnTo>
                    <a:pt x="816" y="2808"/>
                  </a:lnTo>
                  <a:lnTo>
                    <a:pt x="792" y="2814"/>
                  </a:lnTo>
                  <a:lnTo>
                    <a:pt x="798" y="2832"/>
                  </a:lnTo>
                  <a:lnTo>
                    <a:pt x="780" y="2832"/>
                  </a:lnTo>
                  <a:lnTo>
                    <a:pt x="780" y="2862"/>
                  </a:lnTo>
                  <a:lnTo>
                    <a:pt x="786" y="2868"/>
                  </a:lnTo>
                  <a:lnTo>
                    <a:pt x="798" y="2868"/>
                  </a:lnTo>
                  <a:lnTo>
                    <a:pt x="810" y="2862"/>
                  </a:lnTo>
                  <a:lnTo>
                    <a:pt x="816" y="2856"/>
                  </a:lnTo>
                  <a:lnTo>
                    <a:pt x="828" y="2850"/>
                  </a:lnTo>
                  <a:lnTo>
                    <a:pt x="834" y="2844"/>
                  </a:lnTo>
                  <a:lnTo>
                    <a:pt x="858" y="2856"/>
                  </a:lnTo>
                  <a:lnTo>
                    <a:pt x="858" y="2874"/>
                  </a:lnTo>
                  <a:lnTo>
                    <a:pt x="846" y="2880"/>
                  </a:lnTo>
                  <a:lnTo>
                    <a:pt x="828" y="2898"/>
                  </a:lnTo>
                  <a:lnTo>
                    <a:pt x="822" y="2898"/>
                  </a:lnTo>
                  <a:lnTo>
                    <a:pt x="828" y="2904"/>
                  </a:lnTo>
                  <a:lnTo>
                    <a:pt x="882" y="2922"/>
                  </a:lnTo>
                  <a:lnTo>
                    <a:pt x="912" y="2928"/>
                  </a:lnTo>
                  <a:lnTo>
                    <a:pt x="924" y="2934"/>
                  </a:lnTo>
                  <a:lnTo>
                    <a:pt x="906" y="2958"/>
                  </a:lnTo>
                  <a:lnTo>
                    <a:pt x="906" y="2952"/>
                  </a:lnTo>
                  <a:lnTo>
                    <a:pt x="894" y="2940"/>
                  </a:lnTo>
                  <a:lnTo>
                    <a:pt x="876" y="2940"/>
                  </a:lnTo>
                  <a:lnTo>
                    <a:pt x="870" y="2946"/>
                  </a:lnTo>
                  <a:lnTo>
                    <a:pt x="870" y="2952"/>
                  </a:lnTo>
                  <a:lnTo>
                    <a:pt x="852" y="2928"/>
                  </a:lnTo>
                  <a:lnTo>
                    <a:pt x="834" y="2934"/>
                  </a:lnTo>
                  <a:lnTo>
                    <a:pt x="846" y="2946"/>
                  </a:lnTo>
                  <a:lnTo>
                    <a:pt x="816" y="2940"/>
                  </a:lnTo>
                  <a:lnTo>
                    <a:pt x="822" y="2946"/>
                  </a:lnTo>
                  <a:lnTo>
                    <a:pt x="828" y="2958"/>
                  </a:lnTo>
                  <a:lnTo>
                    <a:pt x="834" y="2964"/>
                  </a:lnTo>
                  <a:lnTo>
                    <a:pt x="894" y="2964"/>
                  </a:lnTo>
                  <a:lnTo>
                    <a:pt x="906" y="2970"/>
                  </a:lnTo>
                  <a:lnTo>
                    <a:pt x="1050" y="2970"/>
                  </a:lnTo>
                  <a:lnTo>
                    <a:pt x="1074" y="2982"/>
                  </a:lnTo>
                  <a:lnTo>
                    <a:pt x="1080" y="2988"/>
                  </a:lnTo>
                  <a:lnTo>
                    <a:pt x="1086" y="2988"/>
                  </a:lnTo>
                  <a:lnTo>
                    <a:pt x="1122" y="2970"/>
                  </a:lnTo>
                  <a:lnTo>
                    <a:pt x="1140" y="2976"/>
                  </a:lnTo>
                  <a:lnTo>
                    <a:pt x="1152" y="2976"/>
                  </a:lnTo>
                  <a:lnTo>
                    <a:pt x="1158" y="2952"/>
                  </a:lnTo>
                  <a:lnTo>
                    <a:pt x="1140" y="2952"/>
                  </a:lnTo>
                  <a:lnTo>
                    <a:pt x="1086" y="2940"/>
                  </a:lnTo>
                  <a:lnTo>
                    <a:pt x="1014" y="2910"/>
                  </a:lnTo>
                  <a:close/>
                  <a:moveTo>
                    <a:pt x="990" y="2988"/>
                  </a:moveTo>
                  <a:lnTo>
                    <a:pt x="1014" y="3000"/>
                  </a:lnTo>
                  <a:lnTo>
                    <a:pt x="1068" y="3006"/>
                  </a:lnTo>
                  <a:lnTo>
                    <a:pt x="1038" y="2982"/>
                  </a:lnTo>
                  <a:lnTo>
                    <a:pt x="990" y="2988"/>
                  </a:lnTo>
                  <a:close/>
                  <a:moveTo>
                    <a:pt x="960" y="2994"/>
                  </a:moveTo>
                  <a:lnTo>
                    <a:pt x="966" y="2982"/>
                  </a:lnTo>
                  <a:lnTo>
                    <a:pt x="888" y="2982"/>
                  </a:lnTo>
                  <a:lnTo>
                    <a:pt x="906" y="3012"/>
                  </a:lnTo>
                  <a:lnTo>
                    <a:pt x="936" y="3018"/>
                  </a:lnTo>
                  <a:lnTo>
                    <a:pt x="930" y="3006"/>
                  </a:lnTo>
                  <a:lnTo>
                    <a:pt x="936" y="3000"/>
                  </a:lnTo>
                  <a:lnTo>
                    <a:pt x="948" y="3012"/>
                  </a:lnTo>
                  <a:lnTo>
                    <a:pt x="996" y="3012"/>
                  </a:lnTo>
                  <a:lnTo>
                    <a:pt x="1008" y="3030"/>
                  </a:lnTo>
                  <a:lnTo>
                    <a:pt x="1026" y="3030"/>
                  </a:lnTo>
                  <a:lnTo>
                    <a:pt x="996" y="3000"/>
                  </a:lnTo>
                  <a:lnTo>
                    <a:pt x="960" y="2994"/>
                  </a:lnTo>
                  <a:close/>
                  <a:moveTo>
                    <a:pt x="804" y="2946"/>
                  </a:moveTo>
                  <a:lnTo>
                    <a:pt x="744" y="2940"/>
                  </a:lnTo>
                  <a:lnTo>
                    <a:pt x="750" y="2958"/>
                  </a:lnTo>
                  <a:lnTo>
                    <a:pt x="792" y="2958"/>
                  </a:lnTo>
                  <a:lnTo>
                    <a:pt x="804" y="2976"/>
                  </a:lnTo>
                  <a:lnTo>
                    <a:pt x="864" y="3000"/>
                  </a:lnTo>
                  <a:lnTo>
                    <a:pt x="828" y="2970"/>
                  </a:lnTo>
                  <a:lnTo>
                    <a:pt x="804" y="2946"/>
                  </a:lnTo>
                  <a:close/>
                  <a:moveTo>
                    <a:pt x="804" y="2880"/>
                  </a:moveTo>
                  <a:lnTo>
                    <a:pt x="786" y="2898"/>
                  </a:lnTo>
                  <a:lnTo>
                    <a:pt x="792" y="2928"/>
                  </a:lnTo>
                  <a:lnTo>
                    <a:pt x="816" y="2922"/>
                  </a:lnTo>
                  <a:lnTo>
                    <a:pt x="804" y="2880"/>
                  </a:lnTo>
                  <a:close/>
                  <a:moveTo>
                    <a:pt x="774" y="2928"/>
                  </a:moveTo>
                  <a:lnTo>
                    <a:pt x="768" y="2910"/>
                  </a:lnTo>
                  <a:lnTo>
                    <a:pt x="720" y="2898"/>
                  </a:lnTo>
                  <a:lnTo>
                    <a:pt x="708" y="2916"/>
                  </a:lnTo>
                  <a:lnTo>
                    <a:pt x="708" y="2934"/>
                  </a:lnTo>
                  <a:lnTo>
                    <a:pt x="744" y="2922"/>
                  </a:lnTo>
                  <a:lnTo>
                    <a:pt x="774" y="2928"/>
                  </a:lnTo>
                  <a:close/>
                  <a:moveTo>
                    <a:pt x="612" y="2772"/>
                  </a:moveTo>
                  <a:lnTo>
                    <a:pt x="606" y="2766"/>
                  </a:lnTo>
                  <a:lnTo>
                    <a:pt x="594" y="2766"/>
                  </a:lnTo>
                  <a:lnTo>
                    <a:pt x="588" y="2760"/>
                  </a:lnTo>
                  <a:lnTo>
                    <a:pt x="570" y="2760"/>
                  </a:lnTo>
                  <a:lnTo>
                    <a:pt x="570" y="2766"/>
                  </a:lnTo>
                  <a:lnTo>
                    <a:pt x="564" y="2778"/>
                  </a:lnTo>
                  <a:lnTo>
                    <a:pt x="564" y="2808"/>
                  </a:lnTo>
                  <a:lnTo>
                    <a:pt x="570" y="2808"/>
                  </a:lnTo>
                  <a:lnTo>
                    <a:pt x="576" y="2802"/>
                  </a:lnTo>
                  <a:lnTo>
                    <a:pt x="588" y="2802"/>
                  </a:lnTo>
                  <a:lnTo>
                    <a:pt x="594" y="2796"/>
                  </a:lnTo>
                  <a:lnTo>
                    <a:pt x="600" y="2820"/>
                  </a:lnTo>
                  <a:lnTo>
                    <a:pt x="630" y="2808"/>
                  </a:lnTo>
                  <a:lnTo>
                    <a:pt x="612" y="2790"/>
                  </a:lnTo>
                  <a:lnTo>
                    <a:pt x="618" y="2772"/>
                  </a:lnTo>
                  <a:lnTo>
                    <a:pt x="612" y="2772"/>
                  </a:lnTo>
                  <a:close/>
                  <a:moveTo>
                    <a:pt x="552" y="2826"/>
                  </a:moveTo>
                  <a:lnTo>
                    <a:pt x="516" y="2808"/>
                  </a:lnTo>
                  <a:lnTo>
                    <a:pt x="546" y="2832"/>
                  </a:lnTo>
                  <a:lnTo>
                    <a:pt x="588" y="2844"/>
                  </a:lnTo>
                  <a:lnTo>
                    <a:pt x="606" y="2850"/>
                  </a:lnTo>
                  <a:lnTo>
                    <a:pt x="588" y="2832"/>
                  </a:lnTo>
                  <a:lnTo>
                    <a:pt x="552" y="2826"/>
                  </a:lnTo>
                  <a:close/>
                  <a:moveTo>
                    <a:pt x="552" y="2748"/>
                  </a:moveTo>
                  <a:lnTo>
                    <a:pt x="534" y="2730"/>
                  </a:lnTo>
                  <a:lnTo>
                    <a:pt x="528" y="2766"/>
                  </a:lnTo>
                  <a:lnTo>
                    <a:pt x="504" y="2772"/>
                  </a:lnTo>
                  <a:lnTo>
                    <a:pt x="546" y="2784"/>
                  </a:lnTo>
                  <a:lnTo>
                    <a:pt x="552" y="2748"/>
                  </a:lnTo>
                  <a:close/>
                  <a:moveTo>
                    <a:pt x="444" y="2736"/>
                  </a:moveTo>
                  <a:lnTo>
                    <a:pt x="480" y="2772"/>
                  </a:lnTo>
                  <a:lnTo>
                    <a:pt x="492" y="2760"/>
                  </a:lnTo>
                  <a:lnTo>
                    <a:pt x="462" y="2724"/>
                  </a:lnTo>
                  <a:lnTo>
                    <a:pt x="444" y="2736"/>
                  </a:lnTo>
                  <a:close/>
                  <a:moveTo>
                    <a:pt x="516" y="2724"/>
                  </a:moveTo>
                  <a:lnTo>
                    <a:pt x="504" y="2718"/>
                  </a:lnTo>
                  <a:lnTo>
                    <a:pt x="492" y="2730"/>
                  </a:lnTo>
                  <a:lnTo>
                    <a:pt x="504" y="2748"/>
                  </a:lnTo>
                  <a:lnTo>
                    <a:pt x="516" y="2724"/>
                  </a:lnTo>
                  <a:close/>
                  <a:moveTo>
                    <a:pt x="456" y="2706"/>
                  </a:moveTo>
                  <a:lnTo>
                    <a:pt x="462" y="2676"/>
                  </a:lnTo>
                  <a:lnTo>
                    <a:pt x="456" y="2640"/>
                  </a:lnTo>
                  <a:lnTo>
                    <a:pt x="438" y="2634"/>
                  </a:lnTo>
                  <a:lnTo>
                    <a:pt x="438" y="2652"/>
                  </a:lnTo>
                  <a:lnTo>
                    <a:pt x="408" y="2646"/>
                  </a:lnTo>
                  <a:lnTo>
                    <a:pt x="432" y="2682"/>
                  </a:lnTo>
                  <a:lnTo>
                    <a:pt x="426" y="2724"/>
                  </a:lnTo>
                  <a:lnTo>
                    <a:pt x="456" y="2706"/>
                  </a:lnTo>
                  <a:close/>
                  <a:moveTo>
                    <a:pt x="366" y="2622"/>
                  </a:moveTo>
                  <a:lnTo>
                    <a:pt x="384" y="2628"/>
                  </a:lnTo>
                  <a:lnTo>
                    <a:pt x="390" y="2658"/>
                  </a:lnTo>
                  <a:lnTo>
                    <a:pt x="396" y="2628"/>
                  </a:lnTo>
                  <a:lnTo>
                    <a:pt x="402" y="2604"/>
                  </a:lnTo>
                  <a:lnTo>
                    <a:pt x="372" y="2598"/>
                  </a:lnTo>
                  <a:lnTo>
                    <a:pt x="366" y="2622"/>
                  </a:lnTo>
                  <a:close/>
                  <a:moveTo>
                    <a:pt x="372" y="2586"/>
                  </a:moveTo>
                  <a:lnTo>
                    <a:pt x="378" y="2586"/>
                  </a:lnTo>
                  <a:lnTo>
                    <a:pt x="378" y="2580"/>
                  </a:lnTo>
                  <a:lnTo>
                    <a:pt x="384" y="2574"/>
                  </a:lnTo>
                  <a:lnTo>
                    <a:pt x="414" y="2598"/>
                  </a:lnTo>
                  <a:lnTo>
                    <a:pt x="414" y="2574"/>
                  </a:lnTo>
                  <a:lnTo>
                    <a:pt x="384" y="2544"/>
                  </a:lnTo>
                  <a:lnTo>
                    <a:pt x="378" y="2532"/>
                  </a:lnTo>
                  <a:lnTo>
                    <a:pt x="372" y="2526"/>
                  </a:lnTo>
                  <a:lnTo>
                    <a:pt x="360" y="2502"/>
                  </a:lnTo>
                  <a:lnTo>
                    <a:pt x="360" y="2490"/>
                  </a:lnTo>
                  <a:lnTo>
                    <a:pt x="342" y="2454"/>
                  </a:lnTo>
                  <a:lnTo>
                    <a:pt x="330" y="2448"/>
                  </a:lnTo>
                  <a:lnTo>
                    <a:pt x="324" y="2442"/>
                  </a:lnTo>
                  <a:lnTo>
                    <a:pt x="318" y="2442"/>
                  </a:lnTo>
                  <a:lnTo>
                    <a:pt x="312" y="2448"/>
                  </a:lnTo>
                  <a:lnTo>
                    <a:pt x="312" y="2454"/>
                  </a:lnTo>
                  <a:lnTo>
                    <a:pt x="294" y="2448"/>
                  </a:lnTo>
                  <a:lnTo>
                    <a:pt x="288" y="2454"/>
                  </a:lnTo>
                  <a:lnTo>
                    <a:pt x="288" y="2466"/>
                  </a:lnTo>
                  <a:lnTo>
                    <a:pt x="282" y="2472"/>
                  </a:lnTo>
                  <a:lnTo>
                    <a:pt x="282" y="2490"/>
                  </a:lnTo>
                  <a:lnTo>
                    <a:pt x="330" y="2490"/>
                  </a:lnTo>
                  <a:lnTo>
                    <a:pt x="312" y="2532"/>
                  </a:lnTo>
                  <a:lnTo>
                    <a:pt x="324" y="2532"/>
                  </a:lnTo>
                  <a:lnTo>
                    <a:pt x="348" y="2508"/>
                  </a:lnTo>
                  <a:lnTo>
                    <a:pt x="342" y="2532"/>
                  </a:lnTo>
                  <a:lnTo>
                    <a:pt x="342" y="2538"/>
                  </a:lnTo>
                  <a:lnTo>
                    <a:pt x="348" y="2544"/>
                  </a:lnTo>
                  <a:lnTo>
                    <a:pt x="366" y="2580"/>
                  </a:lnTo>
                  <a:lnTo>
                    <a:pt x="366" y="2586"/>
                  </a:lnTo>
                  <a:lnTo>
                    <a:pt x="372" y="2586"/>
                  </a:lnTo>
                  <a:close/>
                  <a:moveTo>
                    <a:pt x="246" y="2082"/>
                  </a:moveTo>
                  <a:lnTo>
                    <a:pt x="246" y="2034"/>
                  </a:lnTo>
                  <a:lnTo>
                    <a:pt x="216" y="2004"/>
                  </a:lnTo>
                  <a:lnTo>
                    <a:pt x="234" y="1992"/>
                  </a:lnTo>
                  <a:lnTo>
                    <a:pt x="210" y="1968"/>
                  </a:lnTo>
                  <a:lnTo>
                    <a:pt x="174" y="1956"/>
                  </a:lnTo>
                  <a:lnTo>
                    <a:pt x="174" y="1986"/>
                  </a:lnTo>
                  <a:lnTo>
                    <a:pt x="180" y="1998"/>
                  </a:lnTo>
                  <a:lnTo>
                    <a:pt x="180" y="2004"/>
                  </a:lnTo>
                  <a:lnTo>
                    <a:pt x="192" y="2016"/>
                  </a:lnTo>
                  <a:lnTo>
                    <a:pt x="198" y="2028"/>
                  </a:lnTo>
                  <a:lnTo>
                    <a:pt x="204" y="2034"/>
                  </a:lnTo>
                  <a:lnTo>
                    <a:pt x="204" y="2046"/>
                  </a:lnTo>
                  <a:lnTo>
                    <a:pt x="198" y="2064"/>
                  </a:lnTo>
                  <a:lnTo>
                    <a:pt x="246" y="2082"/>
                  </a:lnTo>
                  <a:close/>
                  <a:moveTo>
                    <a:pt x="246" y="2178"/>
                  </a:moveTo>
                  <a:lnTo>
                    <a:pt x="258" y="2190"/>
                  </a:lnTo>
                  <a:lnTo>
                    <a:pt x="282" y="2190"/>
                  </a:lnTo>
                  <a:lnTo>
                    <a:pt x="294" y="2172"/>
                  </a:lnTo>
                  <a:lnTo>
                    <a:pt x="264" y="2178"/>
                  </a:lnTo>
                  <a:lnTo>
                    <a:pt x="246" y="2178"/>
                  </a:lnTo>
                  <a:close/>
                  <a:moveTo>
                    <a:pt x="282" y="2220"/>
                  </a:moveTo>
                  <a:lnTo>
                    <a:pt x="282" y="2238"/>
                  </a:lnTo>
                  <a:lnTo>
                    <a:pt x="306" y="2256"/>
                  </a:lnTo>
                  <a:lnTo>
                    <a:pt x="306" y="2232"/>
                  </a:lnTo>
                  <a:lnTo>
                    <a:pt x="294" y="2208"/>
                  </a:lnTo>
                  <a:lnTo>
                    <a:pt x="258" y="2208"/>
                  </a:lnTo>
                  <a:lnTo>
                    <a:pt x="282" y="2220"/>
                  </a:lnTo>
                  <a:close/>
                  <a:moveTo>
                    <a:pt x="318" y="2190"/>
                  </a:moveTo>
                  <a:lnTo>
                    <a:pt x="324" y="2184"/>
                  </a:lnTo>
                  <a:lnTo>
                    <a:pt x="336" y="2178"/>
                  </a:lnTo>
                  <a:lnTo>
                    <a:pt x="348" y="2166"/>
                  </a:lnTo>
                  <a:lnTo>
                    <a:pt x="336" y="2154"/>
                  </a:lnTo>
                  <a:lnTo>
                    <a:pt x="324" y="2154"/>
                  </a:lnTo>
                  <a:lnTo>
                    <a:pt x="312" y="2160"/>
                  </a:lnTo>
                  <a:lnTo>
                    <a:pt x="306" y="2166"/>
                  </a:lnTo>
                  <a:lnTo>
                    <a:pt x="306" y="2184"/>
                  </a:lnTo>
                  <a:lnTo>
                    <a:pt x="312" y="2190"/>
                  </a:lnTo>
                  <a:lnTo>
                    <a:pt x="318" y="2190"/>
                  </a:lnTo>
                  <a:close/>
                  <a:moveTo>
                    <a:pt x="252" y="2112"/>
                  </a:moveTo>
                  <a:lnTo>
                    <a:pt x="240" y="2118"/>
                  </a:lnTo>
                  <a:lnTo>
                    <a:pt x="240" y="2136"/>
                  </a:lnTo>
                  <a:lnTo>
                    <a:pt x="252" y="2136"/>
                  </a:lnTo>
                  <a:lnTo>
                    <a:pt x="264" y="2124"/>
                  </a:lnTo>
                  <a:lnTo>
                    <a:pt x="264" y="2106"/>
                  </a:lnTo>
                  <a:lnTo>
                    <a:pt x="258" y="2106"/>
                  </a:lnTo>
                  <a:lnTo>
                    <a:pt x="252" y="2112"/>
                  </a:lnTo>
                  <a:close/>
                  <a:moveTo>
                    <a:pt x="234" y="2154"/>
                  </a:moveTo>
                  <a:lnTo>
                    <a:pt x="216" y="2154"/>
                  </a:lnTo>
                  <a:lnTo>
                    <a:pt x="228" y="2178"/>
                  </a:lnTo>
                  <a:lnTo>
                    <a:pt x="234" y="2154"/>
                  </a:lnTo>
                  <a:close/>
                  <a:moveTo>
                    <a:pt x="714" y="2874"/>
                  </a:moveTo>
                  <a:lnTo>
                    <a:pt x="726" y="2874"/>
                  </a:lnTo>
                  <a:lnTo>
                    <a:pt x="726" y="2886"/>
                  </a:lnTo>
                  <a:lnTo>
                    <a:pt x="768" y="2886"/>
                  </a:lnTo>
                  <a:lnTo>
                    <a:pt x="774" y="2880"/>
                  </a:lnTo>
                  <a:lnTo>
                    <a:pt x="774" y="2874"/>
                  </a:lnTo>
                  <a:lnTo>
                    <a:pt x="744" y="2844"/>
                  </a:lnTo>
                  <a:lnTo>
                    <a:pt x="744" y="2808"/>
                  </a:lnTo>
                  <a:lnTo>
                    <a:pt x="786" y="2802"/>
                  </a:lnTo>
                  <a:lnTo>
                    <a:pt x="780" y="2790"/>
                  </a:lnTo>
                  <a:lnTo>
                    <a:pt x="804" y="2790"/>
                  </a:lnTo>
                  <a:lnTo>
                    <a:pt x="816" y="2772"/>
                  </a:lnTo>
                  <a:lnTo>
                    <a:pt x="792" y="2754"/>
                  </a:lnTo>
                  <a:lnTo>
                    <a:pt x="696" y="2754"/>
                  </a:lnTo>
                  <a:lnTo>
                    <a:pt x="684" y="2760"/>
                  </a:lnTo>
                  <a:lnTo>
                    <a:pt x="672" y="2760"/>
                  </a:lnTo>
                  <a:lnTo>
                    <a:pt x="654" y="2742"/>
                  </a:lnTo>
                  <a:lnTo>
                    <a:pt x="618" y="2724"/>
                  </a:lnTo>
                  <a:lnTo>
                    <a:pt x="606" y="2706"/>
                  </a:lnTo>
                  <a:lnTo>
                    <a:pt x="588" y="2682"/>
                  </a:lnTo>
                  <a:lnTo>
                    <a:pt x="588" y="2658"/>
                  </a:lnTo>
                  <a:lnTo>
                    <a:pt x="576" y="2646"/>
                  </a:lnTo>
                  <a:lnTo>
                    <a:pt x="564" y="2640"/>
                  </a:lnTo>
                  <a:lnTo>
                    <a:pt x="546" y="2640"/>
                  </a:lnTo>
                  <a:lnTo>
                    <a:pt x="534" y="2652"/>
                  </a:lnTo>
                  <a:lnTo>
                    <a:pt x="528" y="2652"/>
                  </a:lnTo>
                  <a:lnTo>
                    <a:pt x="516" y="2646"/>
                  </a:lnTo>
                  <a:lnTo>
                    <a:pt x="510" y="2640"/>
                  </a:lnTo>
                  <a:lnTo>
                    <a:pt x="510" y="2628"/>
                  </a:lnTo>
                  <a:lnTo>
                    <a:pt x="504" y="2622"/>
                  </a:lnTo>
                  <a:lnTo>
                    <a:pt x="504" y="2616"/>
                  </a:lnTo>
                  <a:lnTo>
                    <a:pt x="474" y="2610"/>
                  </a:lnTo>
                  <a:lnTo>
                    <a:pt x="474" y="2574"/>
                  </a:lnTo>
                  <a:lnTo>
                    <a:pt x="468" y="2568"/>
                  </a:lnTo>
                  <a:lnTo>
                    <a:pt x="462" y="2556"/>
                  </a:lnTo>
                  <a:lnTo>
                    <a:pt x="462" y="2544"/>
                  </a:lnTo>
                  <a:lnTo>
                    <a:pt x="474" y="2538"/>
                  </a:lnTo>
                  <a:lnTo>
                    <a:pt x="474" y="2514"/>
                  </a:lnTo>
                  <a:lnTo>
                    <a:pt x="480" y="2514"/>
                  </a:lnTo>
                  <a:lnTo>
                    <a:pt x="486" y="2508"/>
                  </a:lnTo>
                  <a:lnTo>
                    <a:pt x="492" y="2508"/>
                  </a:lnTo>
                  <a:lnTo>
                    <a:pt x="498" y="2502"/>
                  </a:lnTo>
                  <a:lnTo>
                    <a:pt x="498" y="2496"/>
                  </a:lnTo>
                  <a:lnTo>
                    <a:pt x="474" y="2472"/>
                  </a:lnTo>
                  <a:lnTo>
                    <a:pt x="480" y="2466"/>
                  </a:lnTo>
                  <a:lnTo>
                    <a:pt x="492" y="2460"/>
                  </a:lnTo>
                  <a:lnTo>
                    <a:pt x="498" y="2460"/>
                  </a:lnTo>
                  <a:lnTo>
                    <a:pt x="498" y="2454"/>
                  </a:lnTo>
                  <a:lnTo>
                    <a:pt x="474" y="2430"/>
                  </a:lnTo>
                  <a:lnTo>
                    <a:pt x="468" y="2430"/>
                  </a:lnTo>
                  <a:lnTo>
                    <a:pt x="474" y="2388"/>
                  </a:lnTo>
                  <a:lnTo>
                    <a:pt x="486" y="2382"/>
                  </a:lnTo>
                  <a:lnTo>
                    <a:pt x="474" y="2358"/>
                  </a:lnTo>
                  <a:lnTo>
                    <a:pt x="480" y="2322"/>
                  </a:lnTo>
                  <a:lnTo>
                    <a:pt x="456" y="2298"/>
                  </a:lnTo>
                  <a:lnTo>
                    <a:pt x="462" y="2274"/>
                  </a:lnTo>
                  <a:lnTo>
                    <a:pt x="438" y="2256"/>
                  </a:lnTo>
                  <a:lnTo>
                    <a:pt x="450" y="2244"/>
                  </a:lnTo>
                  <a:lnTo>
                    <a:pt x="456" y="2232"/>
                  </a:lnTo>
                  <a:lnTo>
                    <a:pt x="462" y="2226"/>
                  </a:lnTo>
                  <a:lnTo>
                    <a:pt x="438" y="2202"/>
                  </a:lnTo>
                  <a:lnTo>
                    <a:pt x="426" y="2202"/>
                  </a:lnTo>
                  <a:lnTo>
                    <a:pt x="420" y="2196"/>
                  </a:lnTo>
                  <a:lnTo>
                    <a:pt x="408" y="2190"/>
                  </a:lnTo>
                  <a:lnTo>
                    <a:pt x="402" y="2190"/>
                  </a:lnTo>
                  <a:lnTo>
                    <a:pt x="396" y="2184"/>
                  </a:lnTo>
                  <a:lnTo>
                    <a:pt x="414" y="2184"/>
                  </a:lnTo>
                  <a:lnTo>
                    <a:pt x="426" y="2178"/>
                  </a:lnTo>
                  <a:lnTo>
                    <a:pt x="438" y="2178"/>
                  </a:lnTo>
                  <a:lnTo>
                    <a:pt x="444" y="2172"/>
                  </a:lnTo>
                  <a:lnTo>
                    <a:pt x="444" y="2166"/>
                  </a:lnTo>
                  <a:lnTo>
                    <a:pt x="432" y="2160"/>
                  </a:lnTo>
                  <a:lnTo>
                    <a:pt x="402" y="2160"/>
                  </a:lnTo>
                  <a:lnTo>
                    <a:pt x="390" y="2148"/>
                  </a:lnTo>
                  <a:lnTo>
                    <a:pt x="390" y="2118"/>
                  </a:lnTo>
                  <a:lnTo>
                    <a:pt x="384" y="2106"/>
                  </a:lnTo>
                  <a:lnTo>
                    <a:pt x="384" y="2100"/>
                  </a:lnTo>
                  <a:lnTo>
                    <a:pt x="378" y="2094"/>
                  </a:lnTo>
                  <a:lnTo>
                    <a:pt x="366" y="2088"/>
                  </a:lnTo>
                  <a:lnTo>
                    <a:pt x="360" y="2088"/>
                  </a:lnTo>
                  <a:lnTo>
                    <a:pt x="366" y="2058"/>
                  </a:lnTo>
                  <a:lnTo>
                    <a:pt x="342" y="2046"/>
                  </a:lnTo>
                  <a:lnTo>
                    <a:pt x="336" y="2040"/>
                  </a:lnTo>
                  <a:lnTo>
                    <a:pt x="336" y="2028"/>
                  </a:lnTo>
                  <a:lnTo>
                    <a:pt x="330" y="2016"/>
                  </a:lnTo>
                  <a:lnTo>
                    <a:pt x="330" y="1998"/>
                  </a:lnTo>
                  <a:lnTo>
                    <a:pt x="324" y="1986"/>
                  </a:lnTo>
                  <a:lnTo>
                    <a:pt x="324" y="1974"/>
                  </a:lnTo>
                  <a:lnTo>
                    <a:pt x="330" y="1968"/>
                  </a:lnTo>
                  <a:lnTo>
                    <a:pt x="342" y="1962"/>
                  </a:lnTo>
                  <a:lnTo>
                    <a:pt x="348" y="1962"/>
                  </a:lnTo>
                  <a:lnTo>
                    <a:pt x="336" y="1950"/>
                  </a:lnTo>
                  <a:lnTo>
                    <a:pt x="324" y="1944"/>
                  </a:lnTo>
                  <a:lnTo>
                    <a:pt x="306" y="1926"/>
                  </a:lnTo>
                  <a:lnTo>
                    <a:pt x="300" y="1914"/>
                  </a:lnTo>
                  <a:lnTo>
                    <a:pt x="300" y="1890"/>
                  </a:lnTo>
                  <a:lnTo>
                    <a:pt x="294" y="1878"/>
                  </a:lnTo>
                  <a:lnTo>
                    <a:pt x="288" y="1872"/>
                  </a:lnTo>
                  <a:lnTo>
                    <a:pt x="288" y="1842"/>
                  </a:lnTo>
                  <a:lnTo>
                    <a:pt x="294" y="1836"/>
                  </a:lnTo>
                  <a:lnTo>
                    <a:pt x="294" y="1824"/>
                  </a:lnTo>
                  <a:lnTo>
                    <a:pt x="276" y="1812"/>
                  </a:lnTo>
                  <a:lnTo>
                    <a:pt x="276" y="1806"/>
                  </a:lnTo>
                  <a:lnTo>
                    <a:pt x="282" y="1794"/>
                  </a:lnTo>
                  <a:lnTo>
                    <a:pt x="282" y="1788"/>
                  </a:lnTo>
                  <a:lnTo>
                    <a:pt x="264" y="1770"/>
                  </a:lnTo>
                  <a:lnTo>
                    <a:pt x="282" y="1758"/>
                  </a:lnTo>
                  <a:lnTo>
                    <a:pt x="270" y="1716"/>
                  </a:lnTo>
                  <a:lnTo>
                    <a:pt x="276" y="1716"/>
                  </a:lnTo>
                  <a:lnTo>
                    <a:pt x="282" y="1710"/>
                  </a:lnTo>
                  <a:lnTo>
                    <a:pt x="294" y="1704"/>
                  </a:lnTo>
                  <a:lnTo>
                    <a:pt x="300" y="1692"/>
                  </a:lnTo>
                  <a:lnTo>
                    <a:pt x="300" y="1686"/>
                  </a:lnTo>
                  <a:lnTo>
                    <a:pt x="282" y="1668"/>
                  </a:lnTo>
                  <a:lnTo>
                    <a:pt x="276" y="1668"/>
                  </a:lnTo>
                  <a:lnTo>
                    <a:pt x="276" y="1650"/>
                  </a:lnTo>
                  <a:lnTo>
                    <a:pt x="246" y="1626"/>
                  </a:lnTo>
                  <a:lnTo>
                    <a:pt x="246" y="1578"/>
                  </a:lnTo>
                  <a:lnTo>
                    <a:pt x="240" y="1566"/>
                  </a:lnTo>
                  <a:lnTo>
                    <a:pt x="234" y="1548"/>
                  </a:lnTo>
                  <a:lnTo>
                    <a:pt x="234" y="1536"/>
                  </a:lnTo>
                  <a:lnTo>
                    <a:pt x="228" y="1530"/>
                  </a:lnTo>
                  <a:lnTo>
                    <a:pt x="228" y="1524"/>
                  </a:lnTo>
                  <a:lnTo>
                    <a:pt x="252" y="1518"/>
                  </a:lnTo>
                  <a:lnTo>
                    <a:pt x="258" y="1500"/>
                  </a:lnTo>
                  <a:lnTo>
                    <a:pt x="258" y="1494"/>
                  </a:lnTo>
                  <a:lnTo>
                    <a:pt x="264" y="1482"/>
                  </a:lnTo>
                  <a:lnTo>
                    <a:pt x="264" y="1470"/>
                  </a:lnTo>
                  <a:lnTo>
                    <a:pt x="258" y="1464"/>
                  </a:lnTo>
                  <a:lnTo>
                    <a:pt x="252" y="1452"/>
                  </a:lnTo>
                  <a:lnTo>
                    <a:pt x="246" y="1446"/>
                  </a:lnTo>
                  <a:lnTo>
                    <a:pt x="240" y="1434"/>
                  </a:lnTo>
                  <a:lnTo>
                    <a:pt x="234" y="1428"/>
                  </a:lnTo>
                  <a:lnTo>
                    <a:pt x="246" y="1428"/>
                  </a:lnTo>
                  <a:lnTo>
                    <a:pt x="246" y="1398"/>
                  </a:lnTo>
                  <a:lnTo>
                    <a:pt x="252" y="1380"/>
                  </a:lnTo>
                  <a:lnTo>
                    <a:pt x="252" y="1356"/>
                  </a:lnTo>
                  <a:lnTo>
                    <a:pt x="270" y="1338"/>
                  </a:lnTo>
                  <a:lnTo>
                    <a:pt x="270" y="1332"/>
                  </a:lnTo>
                  <a:lnTo>
                    <a:pt x="264" y="1320"/>
                  </a:lnTo>
                  <a:lnTo>
                    <a:pt x="258" y="1314"/>
                  </a:lnTo>
                  <a:lnTo>
                    <a:pt x="252" y="1302"/>
                  </a:lnTo>
                  <a:lnTo>
                    <a:pt x="246" y="1260"/>
                  </a:lnTo>
                  <a:lnTo>
                    <a:pt x="222" y="1260"/>
                  </a:lnTo>
                  <a:lnTo>
                    <a:pt x="210" y="1248"/>
                  </a:lnTo>
                  <a:lnTo>
                    <a:pt x="210" y="1236"/>
                  </a:lnTo>
                  <a:lnTo>
                    <a:pt x="216" y="1230"/>
                  </a:lnTo>
                  <a:lnTo>
                    <a:pt x="210" y="1218"/>
                  </a:lnTo>
                  <a:lnTo>
                    <a:pt x="198" y="1188"/>
                  </a:lnTo>
                  <a:lnTo>
                    <a:pt x="180" y="1170"/>
                  </a:lnTo>
                  <a:lnTo>
                    <a:pt x="180" y="1164"/>
                  </a:lnTo>
                  <a:lnTo>
                    <a:pt x="186" y="1158"/>
                  </a:lnTo>
                  <a:lnTo>
                    <a:pt x="186" y="1146"/>
                  </a:lnTo>
                  <a:lnTo>
                    <a:pt x="168" y="1128"/>
                  </a:lnTo>
                  <a:lnTo>
                    <a:pt x="156" y="1122"/>
                  </a:lnTo>
                  <a:lnTo>
                    <a:pt x="156" y="1116"/>
                  </a:lnTo>
                  <a:lnTo>
                    <a:pt x="150" y="1110"/>
                  </a:lnTo>
                  <a:lnTo>
                    <a:pt x="150" y="1086"/>
                  </a:lnTo>
                  <a:lnTo>
                    <a:pt x="156" y="1086"/>
                  </a:lnTo>
                  <a:lnTo>
                    <a:pt x="168" y="1080"/>
                  </a:lnTo>
                  <a:lnTo>
                    <a:pt x="162" y="1026"/>
                  </a:lnTo>
                  <a:lnTo>
                    <a:pt x="186" y="1026"/>
                  </a:lnTo>
                  <a:lnTo>
                    <a:pt x="186" y="1020"/>
                  </a:lnTo>
                  <a:lnTo>
                    <a:pt x="180" y="1008"/>
                  </a:lnTo>
                  <a:lnTo>
                    <a:pt x="168" y="972"/>
                  </a:lnTo>
                  <a:lnTo>
                    <a:pt x="156" y="948"/>
                  </a:lnTo>
                  <a:lnTo>
                    <a:pt x="156" y="936"/>
                  </a:lnTo>
                  <a:lnTo>
                    <a:pt x="168" y="924"/>
                  </a:lnTo>
                  <a:lnTo>
                    <a:pt x="168" y="858"/>
                  </a:lnTo>
                  <a:lnTo>
                    <a:pt x="174" y="852"/>
                  </a:lnTo>
                  <a:lnTo>
                    <a:pt x="180" y="840"/>
                  </a:lnTo>
                  <a:lnTo>
                    <a:pt x="192" y="828"/>
                  </a:lnTo>
                  <a:lnTo>
                    <a:pt x="192" y="816"/>
                  </a:lnTo>
                  <a:lnTo>
                    <a:pt x="198" y="804"/>
                  </a:lnTo>
                  <a:lnTo>
                    <a:pt x="198" y="792"/>
                  </a:lnTo>
                  <a:lnTo>
                    <a:pt x="204" y="774"/>
                  </a:lnTo>
                  <a:lnTo>
                    <a:pt x="204" y="762"/>
                  </a:lnTo>
                  <a:lnTo>
                    <a:pt x="222" y="762"/>
                  </a:lnTo>
                  <a:lnTo>
                    <a:pt x="228" y="756"/>
                  </a:lnTo>
                  <a:lnTo>
                    <a:pt x="240" y="750"/>
                  </a:lnTo>
                  <a:lnTo>
                    <a:pt x="240" y="738"/>
                  </a:lnTo>
                  <a:lnTo>
                    <a:pt x="234" y="726"/>
                  </a:lnTo>
                  <a:lnTo>
                    <a:pt x="210" y="714"/>
                  </a:lnTo>
                  <a:lnTo>
                    <a:pt x="204" y="708"/>
                  </a:lnTo>
                  <a:lnTo>
                    <a:pt x="198" y="708"/>
                  </a:lnTo>
                  <a:lnTo>
                    <a:pt x="204" y="708"/>
                  </a:lnTo>
                  <a:lnTo>
                    <a:pt x="216" y="696"/>
                  </a:lnTo>
                  <a:lnTo>
                    <a:pt x="222" y="684"/>
                  </a:lnTo>
                  <a:lnTo>
                    <a:pt x="228" y="678"/>
                  </a:lnTo>
                  <a:lnTo>
                    <a:pt x="222" y="666"/>
                  </a:lnTo>
                  <a:lnTo>
                    <a:pt x="210" y="654"/>
                  </a:lnTo>
                  <a:lnTo>
                    <a:pt x="198" y="648"/>
                  </a:lnTo>
                  <a:lnTo>
                    <a:pt x="192" y="642"/>
                  </a:lnTo>
                  <a:lnTo>
                    <a:pt x="192" y="624"/>
                  </a:lnTo>
                  <a:lnTo>
                    <a:pt x="216" y="600"/>
                  </a:lnTo>
                  <a:lnTo>
                    <a:pt x="216" y="594"/>
                  </a:lnTo>
                  <a:lnTo>
                    <a:pt x="204" y="594"/>
                  </a:lnTo>
                  <a:lnTo>
                    <a:pt x="192" y="588"/>
                  </a:lnTo>
                  <a:lnTo>
                    <a:pt x="186" y="582"/>
                  </a:lnTo>
                  <a:lnTo>
                    <a:pt x="186" y="576"/>
                  </a:lnTo>
                  <a:lnTo>
                    <a:pt x="192" y="570"/>
                  </a:lnTo>
                  <a:lnTo>
                    <a:pt x="198" y="558"/>
                  </a:lnTo>
                  <a:lnTo>
                    <a:pt x="210" y="552"/>
                  </a:lnTo>
                  <a:lnTo>
                    <a:pt x="222" y="540"/>
                  </a:lnTo>
                  <a:lnTo>
                    <a:pt x="240" y="534"/>
                  </a:lnTo>
                  <a:lnTo>
                    <a:pt x="252" y="528"/>
                  </a:lnTo>
                  <a:lnTo>
                    <a:pt x="258" y="522"/>
                  </a:lnTo>
                  <a:lnTo>
                    <a:pt x="264" y="522"/>
                  </a:lnTo>
                  <a:lnTo>
                    <a:pt x="276" y="438"/>
                  </a:lnTo>
                  <a:lnTo>
                    <a:pt x="264" y="420"/>
                  </a:lnTo>
                  <a:lnTo>
                    <a:pt x="222" y="420"/>
                  </a:lnTo>
                  <a:lnTo>
                    <a:pt x="216" y="408"/>
                  </a:lnTo>
                  <a:lnTo>
                    <a:pt x="216" y="384"/>
                  </a:lnTo>
                  <a:lnTo>
                    <a:pt x="192" y="360"/>
                  </a:lnTo>
                  <a:lnTo>
                    <a:pt x="192" y="294"/>
                  </a:lnTo>
                  <a:lnTo>
                    <a:pt x="186" y="288"/>
                  </a:lnTo>
                  <a:lnTo>
                    <a:pt x="174" y="282"/>
                  </a:lnTo>
                  <a:lnTo>
                    <a:pt x="168" y="276"/>
                  </a:lnTo>
                  <a:lnTo>
                    <a:pt x="156" y="270"/>
                  </a:lnTo>
                  <a:lnTo>
                    <a:pt x="150" y="264"/>
                  </a:lnTo>
                  <a:lnTo>
                    <a:pt x="144" y="264"/>
                  </a:lnTo>
                  <a:lnTo>
                    <a:pt x="144" y="240"/>
                  </a:lnTo>
                  <a:lnTo>
                    <a:pt x="138" y="234"/>
                  </a:lnTo>
                  <a:lnTo>
                    <a:pt x="132" y="222"/>
                  </a:lnTo>
                  <a:lnTo>
                    <a:pt x="132" y="210"/>
                  </a:lnTo>
                  <a:lnTo>
                    <a:pt x="138" y="204"/>
                  </a:lnTo>
                  <a:lnTo>
                    <a:pt x="144" y="192"/>
                  </a:lnTo>
                  <a:lnTo>
                    <a:pt x="150" y="186"/>
                  </a:lnTo>
                  <a:lnTo>
                    <a:pt x="132" y="168"/>
                  </a:lnTo>
                  <a:lnTo>
                    <a:pt x="144" y="156"/>
                  </a:lnTo>
                  <a:lnTo>
                    <a:pt x="150" y="144"/>
                  </a:lnTo>
                  <a:lnTo>
                    <a:pt x="150" y="138"/>
                  </a:lnTo>
                  <a:lnTo>
                    <a:pt x="144" y="126"/>
                  </a:lnTo>
                  <a:lnTo>
                    <a:pt x="120" y="114"/>
                  </a:lnTo>
                  <a:lnTo>
                    <a:pt x="114" y="114"/>
                  </a:lnTo>
                  <a:lnTo>
                    <a:pt x="102" y="108"/>
                  </a:lnTo>
                  <a:lnTo>
                    <a:pt x="90" y="30"/>
                  </a:lnTo>
                  <a:lnTo>
                    <a:pt x="66" y="30"/>
                  </a:lnTo>
                  <a:lnTo>
                    <a:pt x="48" y="0"/>
                  </a:lnTo>
                  <a:lnTo>
                    <a:pt x="36" y="6"/>
                  </a:lnTo>
                  <a:lnTo>
                    <a:pt x="42" y="18"/>
                  </a:lnTo>
                  <a:lnTo>
                    <a:pt x="42" y="36"/>
                  </a:lnTo>
                  <a:lnTo>
                    <a:pt x="36" y="42"/>
                  </a:lnTo>
                  <a:lnTo>
                    <a:pt x="0" y="66"/>
                  </a:lnTo>
                  <a:lnTo>
                    <a:pt x="0" y="108"/>
                  </a:lnTo>
                  <a:lnTo>
                    <a:pt x="24" y="156"/>
                  </a:lnTo>
                  <a:lnTo>
                    <a:pt x="30" y="174"/>
                  </a:lnTo>
                  <a:lnTo>
                    <a:pt x="36" y="228"/>
                  </a:lnTo>
                  <a:lnTo>
                    <a:pt x="36" y="282"/>
                  </a:lnTo>
                  <a:lnTo>
                    <a:pt x="48" y="318"/>
                  </a:lnTo>
                  <a:lnTo>
                    <a:pt x="48" y="360"/>
                  </a:lnTo>
                  <a:lnTo>
                    <a:pt x="54" y="384"/>
                  </a:lnTo>
                  <a:lnTo>
                    <a:pt x="54" y="432"/>
                  </a:lnTo>
                  <a:lnTo>
                    <a:pt x="30" y="444"/>
                  </a:lnTo>
                  <a:lnTo>
                    <a:pt x="36" y="474"/>
                  </a:lnTo>
                  <a:lnTo>
                    <a:pt x="54" y="486"/>
                  </a:lnTo>
                  <a:lnTo>
                    <a:pt x="48" y="582"/>
                  </a:lnTo>
                  <a:lnTo>
                    <a:pt x="72" y="624"/>
                  </a:lnTo>
                  <a:lnTo>
                    <a:pt x="54" y="642"/>
                  </a:lnTo>
                  <a:lnTo>
                    <a:pt x="60" y="702"/>
                  </a:lnTo>
                  <a:lnTo>
                    <a:pt x="66" y="708"/>
                  </a:lnTo>
                  <a:lnTo>
                    <a:pt x="78" y="732"/>
                  </a:lnTo>
                  <a:lnTo>
                    <a:pt x="78" y="744"/>
                  </a:lnTo>
                  <a:lnTo>
                    <a:pt x="72" y="756"/>
                  </a:lnTo>
                  <a:lnTo>
                    <a:pt x="66" y="762"/>
                  </a:lnTo>
                  <a:lnTo>
                    <a:pt x="60" y="762"/>
                  </a:lnTo>
                  <a:lnTo>
                    <a:pt x="60" y="792"/>
                  </a:lnTo>
                  <a:lnTo>
                    <a:pt x="72" y="810"/>
                  </a:lnTo>
                  <a:lnTo>
                    <a:pt x="60" y="822"/>
                  </a:lnTo>
                  <a:lnTo>
                    <a:pt x="48" y="846"/>
                  </a:lnTo>
                  <a:lnTo>
                    <a:pt x="48" y="852"/>
                  </a:lnTo>
                  <a:lnTo>
                    <a:pt x="60" y="852"/>
                  </a:lnTo>
                  <a:lnTo>
                    <a:pt x="60" y="864"/>
                  </a:lnTo>
                  <a:lnTo>
                    <a:pt x="66" y="870"/>
                  </a:lnTo>
                  <a:lnTo>
                    <a:pt x="66" y="888"/>
                  </a:lnTo>
                  <a:lnTo>
                    <a:pt x="54" y="900"/>
                  </a:lnTo>
                  <a:lnTo>
                    <a:pt x="54" y="906"/>
                  </a:lnTo>
                  <a:lnTo>
                    <a:pt x="48" y="912"/>
                  </a:lnTo>
                  <a:lnTo>
                    <a:pt x="48" y="936"/>
                  </a:lnTo>
                  <a:lnTo>
                    <a:pt x="54" y="948"/>
                  </a:lnTo>
                  <a:lnTo>
                    <a:pt x="60" y="954"/>
                  </a:lnTo>
                  <a:lnTo>
                    <a:pt x="66" y="954"/>
                  </a:lnTo>
                  <a:lnTo>
                    <a:pt x="78" y="966"/>
                  </a:lnTo>
                  <a:lnTo>
                    <a:pt x="78" y="1020"/>
                  </a:lnTo>
                  <a:lnTo>
                    <a:pt x="60" y="1020"/>
                  </a:lnTo>
                  <a:lnTo>
                    <a:pt x="60" y="1044"/>
                  </a:lnTo>
                  <a:lnTo>
                    <a:pt x="66" y="1056"/>
                  </a:lnTo>
                  <a:lnTo>
                    <a:pt x="90" y="1128"/>
                  </a:lnTo>
                  <a:lnTo>
                    <a:pt x="96" y="1140"/>
                  </a:lnTo>
                  <a:lnTo>
                    <a:pt x="102" y="1146"/>
                  </a:lnTo>
                  <a:lnTo>
                    <a:pt x="102" y="1164"/>
                  </a:lnTo>
                  <a:lnTo>
                    <a:pt x="108" y="1170"/>
                  </a:lnTo>
                  <a:lnTo>
                    <a:pt x="114" y="1182"/>
                  </a:lnTo>
                  <a:lnTo>
                    <a:pt x="120" y="1188"/>
                  </a:lnTo>
                  <a:lnTo>
                    <a:pt x="120" y="1236"/>
                  </a:lnTo>
                  <a:lnTo>
                    <a:pt x="114" y="1266"/>
                  </a:lnTo>
                  <a:lnTo>
                    <a:pt x="138" y="1290"/>
                  </a:lnTo>
                  <a:lnTo>
                    <a:pt x="138" y="1296"/>
                  </a:lnTo>
                  <a:lnTo>
                    <a:pt x="132" y="1302"/>
                  </a:lnTo>
                  <a:lnTo>
                    <a:pt x="126" y="1314"/>
                  </a:lnTo>
                  <a:lnTo>
                    <a:pt x="126" y="1326"/>
                  </a:lnTo>
                  <a:lnTo>
                    <a:pt x="120" y="1338"/>
                  </a:lnTo>
                  <a:lnTo>
                    <a:pt x="120" y="1416"/>
                  </a:lnTo>
                  <a:lnTo>
                    <a:pt x="102" y="1452"/>
                  </a:lnTo>
                  <a:lnTo>
                    <a:pt x="114" y="1464"/>
                  </a:lnTo>
                  <a:lnTo>
                    <a:pt x="114" y="1470"/>
                  </a:lnTo>
                  <a:lnTo>
                    <a:pt x="108" y="1476"/>
                  </a:lnTo>
                  <a:lnTo>
                    <a:pt x="108" y="1536"/>
                  </a:lnTo>
                  <a:lnTo>
                    <a:pt x="102" y="1554"/>
                  </a:lnTo>
                  <a:lnTo>
                    <a:pt x="102" y="1578"/>
                  </a:lnTo>
                  <a:lnTo>
                    <a:pt x="84" y="1584"/>
                  </a:lnTo>
                  <a:lnTo>
                    <a:pt x="84" y="1608"/>
                  </a:lnTo>
                  <a:lnTo>
                    <a:pt x="108" y="1650"/>
                  </a:lnTo>
                  <a:lnTo>
                    <a:pt x="108" y="1692"/>
                  </a:lnTo>
                  <a:lnTo>
                    <a:pt x="114" y="1704"/>
                  </a:lnTo>
                  <a:lnTo>
                    <a:pt x="144" y="1734"/>
                  </a:lnTo>
                  <a:lnTo>
                    <a:pt x="156" y="1758"/>
                  </a:lnTo>
                  <a:lnTo>
                    <a:pt x="156" y="1800"/>
                  </a:lnTo>
                  <a:lnTo>
                    <a:pt x="150" y="1812"/>
                  </a:lnTo>
                  <a:lnTo>
                    <a:pt x="150" y="1824"/>
                  </a:lnTo>
                  <a:lnTo>
                    <a:pt x="162" y="1836"/>
                  </a:lnTo>
                  <a:lnTo>
                    <a:pt x="162" y="1896"/>
                  </a:lnTo>
                  <a:lnTo>
                    <a:pt x="168" y="1908"/>
                  </a:lnTo>
                  <a:lnTo>
                    <a:pt x="174" y="1914"/>
                  </a:lnTo>
                  <a:lnTo>
                    <a:pt x="186" y="1920"/>
                  </a:lnTo>
                  <a:lnTo>
                    <a:pt x="192" y="1926"/>
                  </a:lnTo>
                  <a:lnTo>
                    <a:pt x="198" y="1926"/>
                  </a:lnTo>
                  <a:lnTo>
                    <a:pt x="192" y="1944"/>
                  </a:lnTo>
                  <a:lnTo>
                    <a:pt x="234" y="1944"/>
                  </a:lnTo>
                  <a:lnTo>
                    <a:pt x="234" y="1914"/>
                  </a:lnTo>
                  <a:lnTo>
                    <a:pt x="246" y="1926"/>
                  </a:lnTo>
                  <a:lnTo>
                    <a:pt x="258" y="1932"/>
                  </a:lnTo>
                  <a:lnTo>
                    <a:pt x="270" y="1932"/>
                  </a:lnTo>
                  <a:lnTo>
                    <a:pt x="276" y="1926"/>
                  </a:lnTo>
                  <a:lnTo>
                    <a:pt x="276" y="1914"/>
                  </a:lnTo>
                  <a:lnTo>
                    <a:pt x="288" y="1932"/>
                  </a:lnTo>
                  <a:lnTo>
                    <a:pt x="282" y="1938"/>
                  </a:lnTo>
                  <a:lnTo>
                    <a:pt x="270" y="1944"/>
                  </a:lnTo>
                  <a:lnTo>
                    <a:pt x="264" y="1956"/>
                  </a:lnTo>
                  <a:lnTo>
                    <a:pt x="258" y="1962"/>
                  </a:lnTo>
                  <a:lnTo>
                    <a:pt x="258" y="1968"/>
                  </a:lnTo>
                  <a:lnTo>
                    <a:pt x="288" y="1968"/>
                  </a:lnTo>
                  <a:lnTo>
                    <a:pt x="294" y="1974"/>
                  </a:lnTo>
                  <a:lnTo>
                    <a:pt x="294" y="1992"/>
                  </a:lnTo>
                  <a:lnTo>
                    <a:pt x="270" y="1986"/>
                  </a:lnTo>
                  <a:lnTo>
                    <a:pt x="288" y="2010"/>
                  </a:lnTo>
                  <a:lnTo>
                    <a:pt x="276" y="2022"/>
                  </a:lnTo>
                  <a:lnTo>
                    <a:pt x="294" y="2046"/>
                  </a:lnTo>
                  <a:lnTo>
                    <a:pt x="276" y="2064"/>
                  </a:lnTo>
                  <a:lnTo>
                    <a:pt x="270" y="2076"/>
                  </a:lnTo>
                  <a:lnTo>
                    <a:pt x="270" y="2082"/>
                  </a:lnTo>
                  <a:lnTo>
                    <a:pt x="276" y="2088"/>
                  </a:lnTo>
                  <a:lnTo>
                    <a:pt x="282" y="2088"/>
                  </a:lnTo>
                  <a:lnTo>
                    <a:pt x="306" y="2100"/>
                  </a:lnTo>
                  <a:lnTo>
                    <a:pt x="318" y="2100"/>
                  </a:lnTo>
                  <a:lnTo>
                    <a:pt x="300" y="2118"/>
                  </a:lnTo>
                  <a:lnTo>
                    <a:pt x="300" y="2130"/>
                  </a:lnTo>
                  <a:lnTo>
                    <a:pt x="312" y="2136"/>
                  </a:lnTo>
                  <a:lnTo>
                    <a:pt x="318" y="2142"/>
                  </a:lnTo>
                  <a:lnTo>
                    <a:pt x="330" y="2148"/>
                  </a:lnTo>
                  <a:lnTo>
                    <a:pt x="354" y="2148"/>
                  </a:lnTo>
                  <a:lnTo>
                    <a:pt x="360" y="2184"/>
                  </a:lnTo>
                  <a:lnTo>
                    <a:pt x="354" y="2184"/>
                  </a:lnTo>
                  <a:lnTo>
                    <a:pt x="324" y="2214"/>
                  </a:lnTo>
                  <a:lnTo>
                    <a:pt x="324" y="2220"/>
                  </a:lnTo>
                  <a:lnTo>
                    <a:pt x="330" y="2226"/>
                  </a:lnTo>
                  <a:lnTo>
                    <a:pt x="354" y="2226"/>
                  </a:lnTo>
                  <a:lnTo>
                    <a:pt x="366" y="2232"/>
                  </a:lnTo>
                  <a:lnTo>
                    <a:pt x="378" y="2244"/>
                  </a:lnTo>
                  <a:lnTo>
                    <a:pt x="348" y="2244"/>
                  </a:lnTo>
                  <a:lnTo>
                    <a:pt x="342" y="2238"/>
                  </a:lnTo>
                  <a:lnTo>
                    <a:pt x="330" y="2238"/>
                  </a:lnTo>
                  <a:lnTo>
                    <a:pt x="324" y="2244"/>
                  </a:lnTo>
                  <a:lnTo>
                    <a:pt x="324" y="2250"/>
                  </a:lnTo>
                  <a:lnTo>
                    <a:pt x="354" y="2256"/>
                  </a:lnTo>
                  <a:lnTo>
                    <a:pt x="330" y="2268"/>
                  </a:lnTo>
                  <a:lnTo>
                    <a:pt x="336" y="2292"/>
                  </a:lnTo>
                  <a:lnTo>
                    <a:pt x="348" y="2292"/>
                  </a:lnTo>
                  <a:lnTo>
                    <a:pt x="348" y="2316"/>
                  </a:lnTo>
                  <a:lnTo>
                    <a:pt x="336" y="2328"/>
                  </a:lnTo>
                  <a:lnTo>
                    <a:pt x="336" y="2322"/>
                  </a:lnTo>
                  <a:lnTo>
                    <a:pt x="330" y="2316"/>
                  </a:lnTo>
                  <a:lnTo>
                    <a:pt x="324" y="2304"/>
                  </a:lnTo>
                  <a:lnTo>
                    <a:pt x="324" y="2298"/>
                  </a:lnTo>
                  <a:lnTo>
                    <a:pt x="288" y="2298"/>
                  </a:lnTo>
                  <a:lnTo>
                    <a:pt x="306" y="2292"/>
                  </a:lnTo>
                  <a:lnTo>
                    <a:pt x="282" y="2268"/>
                  </a:lnTo>
                  <a:lnTo>
                    <a:pt x="276" y="2268"/>
                  </a:lnTo>
                  <a:lnTo>
                    <a:pt x="276" y="2280"/>
                  </a:lnTo>
                  <a:lnTo>
                    <a:pt x="270" y="2268"/>
                  </a:lnTo>
                  <a:lnTo>
                    <a:pt x="228" y="2280"/>
                  </a:lnTo>
                  <a:lnTo>
                    <a:pt x="264" y="2286"/>
                  </a:lnTo>
                  <a:lnTo>
                    <a:pt x="258" y="2292"/>
                  </a:lnTo>
                  <a:lnTo>
                    <a:pt x="252" y="2304"/>
                  </a:lnTo>
                  <a:lnTo>
                    <a:pt x="246" y="2310"/>
                  </a:lnTo>
                  <a:lnTo>
                    <a:pt x="234" y="2316"/>
                  </a:lnTo>
                  <a:lnTo>
                    <a:pt x="228" y="2328"/>
                  </a:lnTo>
                  <a:lnTo>
                    <a:pt x="222" y="2334"/>
                  </a:lnTo>
                  <a:lnTo>
                    <a:pt x="222" y="2340"/>
                  </a:lnTo>
                  <a:lnTo>
                    <a:pt x="228" y="2346"/>
                  </a:lnTo>
                  <a:lnTo>
                    <a:pt x="240" y="2352"/>
                  </a:lnTo>
                  <a:lnTo>
                    <a:pt x="252" y="2352"/>
                  </a:lnTo>
                  <a:lnTo>
                    <a:pt x="252" y="2346"/>
                  </a:lnTo>
                  <a:lnTo>
                    <a:pt x="240" y="2334"/>
                  </a:lnTo>
                  <a:lnTo>
                    <a:pt x="264" y="2328"/>
                  </a:lnTo>
                  <a:lnTo>
                    <a:pt x="282" y="2346"/>
                  </a:lnTo>
                  <a:lnTo>
                    <a:pt x="324" y="2346"/>
                  </a:lnTo>
                  <a:lnTo>
                    <a:pt x="336" y="2352"/>
                  </a:lnTo>
                  <a:lnTo>
                    <a:pt x="342" y="2364"/>
                  </a:lnTo>
                  <a:lnTo>
                    <a:pt x="354" y="2370"/>
                  </a:lnTo>
                  <a:lnTo>
                    <a:pt x="354" y="2376"/>
                  </a:lnTo>
                  <a:lnTo>
                    <a:pt x="336" y="2394"/>
                  </a:lnTo>
                  <a:lnTo>
                    <a:pt x="342" y="2406"/>
                  </a:lnTo>
                  <a:lnTo>
                    <a:pt x="360" y="2406"/>
                  </a:lnTo>
                  <a:lnTo>
                    <a:pt x="360" y="2418"/>
                  </a:lnTo>
                  <a:lnTo>
                    <a:pt x="378" y="2424"/>
                  </a:lnTo>
                  <a:lnTo>
                    <a:pt x="384" y="2406"/>
                  </a:lnTo>
                  <a:lnTo>
                    <a:pt x="402" y="2424"/>
                  </a:lnTo>
                  <a:lnTo>
                    <a:pt x="408" y="2424"/>
                  </a:lnTo>
                  <a:lnTo>
                    <a:pt x="420" y="2430"/>
                  </a:lnTo>
                  <a:lnTo>
                    <a:pt x="426" y="2436"/>
                  </a:lnTo>
                  <a:lnTo>
                    <a:pt x="426" y="2448"/>
                  </a:lnTo>
                  <a:lnTo>
                    <a:pt x="414" y="2460"/>
                  </a:lnTo>
                  <a:lnTo>
                    <a:pt x="408" y="2454"/>
                  </a:lnTo>
                  <a:lnTo>
                    <a:pt x="396" y="2454"/>
                  </a:lnTo>
                  <a:lnTo>
                    <a:pt x="384" y="2448"/>
                  </a:lnTo>
                  <a:lnTo>
                    <a:pt x="378" y="2442"/>
                  </a:lnTo>
                  <a:lnTo>
                    <a:pt x="366" y="2442"/>
                  </a:lnTo>
                  <a:lnTo>
                    <a:pt x="366" y="2454"/>
                  </a:lnTo>
                  <a:lnTo>
                    <a:pt x="372" y="2460"/>
                  </a:lnTo>
                  <a:lnTo>
                    <a:pt x="378" y="2460"/>
                  </a:lnTo>
                  <a:lnTo>
                    <a:pt x="390" y="2472"/>
                  </a:lnTo>
                  <a:lnTo>
                    <a:pt x="402" y="2496"/>
                  </a:lnTo>
                  <a:lnTo>
                    <a:pt x="402" y="2508"/>
                  </a:lnTo>
                  <a:lnTo>
                    <a:pt x="384" y="2508"/>
                  </a:lnTo>
                  <a:lnTo>
                    <a:pt x="396" y="2526"/>
                  </a:lnTo>
                  <a:lnTo>
                    <a:pt x="414" y="2562"/>
                  </a:lnTo>
                  <a:lnTo>
                    <a:pt x="426" y="2520"/>
                  </a:lnTo>
                  <a:lnTo>
                    <a:pt x="426" y="2550"/>
                  </a:lnTo>
                  <a:lnTo>
                    <a:pt x="444" y="2574"/>
                  </a:lnTo>
                  <a:lnTo>
                    <a:pt x="420" y="2574"/>
                  </a:lnTo>
                  <a:lnTo>
                    <a:pt x="426" y="2592"/>
                  </a:lnTo>
                  <a:lnTo>
                    <a:pt x="450" y="2592"/>
                  </a:lnTo>
                  <a:lnTo>
                    <a:pt x="432" y="2604"/>
                  </a:lnTo>
                  <a:lnTo>
                    <a:pt x="462" y="2616"/>
                  </a:lnTo>
                  <a:lnTo>
                    <a:pt x="444" y="2628"/>
                  </a:lnTo>
                  <a:lnTo>
                    <a:pt x="474" y="2640"/>
                  </a:lnTo>
                  <a:lnTo>
                    <a:pt x="462" y="2652"/>
                  </a:lnTo>
                  <a:lnTo>
                    <a:pt x="480" y="2658"/>
                  </a:lnTo>
                  <a:lnTo>
                    <a:pt x="480" y="2652"/>
                  </a:lnTo>
                  <a:lnTo>
                    <a:pt x="486" y="2640"/>
                  </a:lnTo>
                  <a:lnTo>
                    <a:pt x="486" y="2634"/>
                  </a:lnTo>
                  <a:lnTo>
                    <a:pt x="492" y="2634"/>
                  </a:lnTo>
                  <a:lnTo>
                    <a:pt x="498" y="2640"/>
                  </a:lnTo>
                  <a:lnTo>
                    <a:pt x="504" y="2652"/>
                  </a:lnTo>
                  <a:lnTo>
                    <a:pt x="498" y="2658"/>
                  </a:lnTo>
                  <a:lnTo>
                    <a:pt x="498" y="2664"/>
                  </a:lnTo>
                  <a:lnTo>
                    <a:pt x="492" y="2664"/>
                  </a:lnTo>
                  <a:lnTo>
                    <a:pt x="480" y="2676"/>
                  </a:lnTo>
                  <a:lnTo>
                    <a:pt x="480" y="2682"/>
                  </a:lnTo>
                  <a:lnTo>
                    <a:pt x="486" y="2688"/>
                  </a:lnTo>
                  <a:lnTo>
                    <a:pt x="516" y="2688"/>
                  </a:lnTo>
                  <a:lnTo>
                    <a:pt x="516" y="2700"/>
                  </a:lnTo>
                  <a:lnTo>
                    <a:pt x="540" y="2724"/>
                  </a:lnTo>
                  <a:lnTo>
                    <a:pt x="552" y="2730"/>
                  </a:lnTo>
                  <a:lnTo>
                    <a:pt x="558" y="2736"/>
                  </a:lnTo>
                  <a:lnTo>
                    <a:pt x="558" y="2700"/>
                  </a:lnTo>
                  <a:lnTo>
                    <a:pt x="564" y="2700"/>
                  </a:lnTo>
                  <a:lnTo>
                    <a:pt x="570" y="2706"/>
                  </a:lnTo>
                  <a:lnTo>
                    <a:pt x="582" y="2712"/>
                  </a:lnTo>
                  <a:lnTo>
                    <a:pt x="600" y="2718"/>
                  </a:lnTo>
                  <a:lnTo>
                    <a:pt x="624" y="2742"/>
                  </a:lnTo>
                  <a:lnTo>
                    <a:pt x="618" y="2748"/>
                  </a:lnTo>
                  <a:lnTo>
                    <a:pt x="618" y="2754"/>
                  </a:lnTo>
                  <a:lnTo>
                    <a:pt x="612" y="2760"/>
                  </a:lnTo>
                  <a:lnTo>
                    <a:pt x="630" y="2766"/>
                  </a:lnTo>
                  <a:lnTo>
                    <a:pt x="630" y="2790"/>
                  </a:lnTo>
                  <a:lnTo>
                    <a:pt x="684" y="2790"/>
                  </a:lnTo>
                  <a:lnTo>
                    <a:pt x="696" y="2802"/>
                  </a:lnTo>
                  <a:lnTo>
                    <a:pt x="666" y="2802"/>
                  </a:lnTo>
                  <a:lnTo>
                    <a:pt x="654" y="2814"/>
                  </a:lnTo>
                  <a:lnTo>
                    <a:pt x="630" y="2814"/>
                  </a:lnTo>
                  <a:lnTo>
                    <a:pt x="618" y="2832"/>
                  </a:lnTo>
                  <a:lnTo>
                    <a:pt x="648" y="2832"/>
                  </a:lnTo>
                  <a:lnTo>
                    <a:pt x="636" y="2850"/>
                  </a:lnTo>
                  <a:lnTo>
                    <a:pt x="666" y="2844"/>
                  </a:lnTo>
                  <a:lnTo>
                    <a:pt x="666" y="2826"/>
                  </a:lnTo>
                  <a:lnTo>
                    <a:pt x="690" y="2838"/>
                  </a:lnTo>
                  <a:lnTo>
                    <a:pt x="696" y="2826"/>
                  </a:lnTo>
                  <a:lnTo>
                    <a:pt x="702" y="2820"/>
                  </a:lnTo>
                  <a:lnTo>
                    <a:pt x="714" y="2814"/>
                  </a:lnTo>
                  <a:lnTo>
                    <a:pt x="720" y="2808"/>
                  </a:lnTo>
                  <a:lnTo>
                    <a:pt x="732" y="2808"/>
                  </a:lnTo>
                  <a:lnTo>
                    <a:pt x="732" y="2820"/>
                  </a:lnTo>
                  <a:lnTo>
                    <a:pt x="726" y="2832"/>
                  </a:lnTo>
                  <a:lnTo>
                    <a:pt x="702" y="2856"/>
                  </a:lnTo>
                  <a:lnTo>
                    <a:pt x="696" y="2850"/>
                  </a:lnTo>
                  <a:lnTo>
                    <a:pt x="678" y="2850"/>
                  </a:lnTo>
                  <a:lnTo>
                    <a:pt x="678" y="2868"/>
                  </a:lnTo>
                  <a:lnTo>
                    <a:pt x="642" y="2868"/>
                  </a:lnTo>
                  <a:lnTo>
                    <a:pt x="630" y="2880"/>
                  </a:lnTo>
                  <a:lnTo>
                    <a:pt x="642" y="2886"/>
                  </a:lnTo>
                  <a:lnTo>
                    <a:pt x="648" y="2916"/>
                  </a:lnTo>
                  <a:lnTo>
                    <a:pt x="678" y="2898"/>
                  </a:lnTo>
                  <a:lnTo>
                    <a:pt x="684" y="2910"/>
                  </a:lnTo>
                  <a:lnTo>
                    <a:pt x="684" y="2916"/>
                  </a:lnTo>
                  <a:lnTo>
                    <a:pt x="690" y="2916"/>
                  </a:lnTo>
                  <a:lnTo>
                    <a:pt x="696" y="2910"/>
                  </a:lnTo>
                  <a:lnTo>
                    <a:pt x="702" y="2898"/>
                  </a:lnTo>
                  <a:lnTo>
                    <a:pt x="702" y="2892"/>
                  </a:lnTo>
                  <a:lnTo>
                    <a:pt x="708" y="2880"/>
                  </a:lnTo>
                  <a:lnTo>
                    <a:pt x="714" y="2874"/>
                  </a:lnTo>
                  <a:close/>
                </a:path>
              </a:pathLst>
            </a:custGeom>
            <a:grp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218" name="China" descr="© INSCALE GmbH, 05.05.2010&#10;http://www.presentationload.com/">
              <a:extLst>
                <a:ext uri="{FF2B5EF4-FFF2-40B4-BE49-F238E27FC236}">
                  <a16:creationId xmlns:a16="http://schemas.microsoft.com/office/drawing/2014/main" id="{FDBADAA0-8C6F-CA22-3A26-748E8BDFAD48}"/>
                </a:ext>
              </a:extLst>
            </p:cNvPr>
            <p:cNvSpPr>
              <a:spLocks noEditPoints="1"/>
            </p:cNvSpPr>
            <p:nvPr/>
          </p:nvSpPr>
          <p:spPr bwMode="gray">
            <a:xfrm>
              <a:off x="6094286" y="1589345"/>
              <a:ext cx="1387500" cy="1071759"/>
            </a:xfrm>
            <a:custGeom>
              <a:avLst/>
              <a:gdLst>
                <a:gd name="T0" fmla="*/ 2147483647 w 3660"/>
                <a:gd name="T1" fmla="*/ 2147483647 h 2826"/>
                <a:gd name="T2" fmla="*/ 2147483647 w 3660"/>
                <a:gd name="T3" fmla="*/ 2147483647 h 2826"/>
                <a:gd name="T4" fmla="*/ 2147483647 w 3660"/>
                <a:gd name="T5" fmla="*/ 2147483647 h 2826"/>
                <a:gd name="T6" fmla="*/ 2147483647 w 3660"/>
                <a:gd name="T7" fmla="*/ 2147483647 h 2826"/>
                <a:gd name="T8" fmla="*/ 2147483647 w 3660"/>
                <a:gd name="T9" fmla="*/ 2147483647 h 2826"/>
                <a:gd name="T10" fmla="*/ 2147483647 w 3660"/>
                <a:gd name="T11" fmla="*/ 2147483647 h 2826"/>
                <a:gd name="T12" fmla="*/ 2147483647 w 3660"/>
                <a:gd name="T13" fmla="*/ 2147483647 h 2826"/>
                <a:gd name="T14" fmla="*/ 2147483647 w 3660"/>
                <a:gd name="T15" fmla="*/ 2147483647 h 2826"/>
                <a:gd name="T16" fmla="*/ 2147483647 w 3660"/>
                <a:gd name="T17" fmla="*/ 2147483647 h 2826"/>
                <a:gd name="T18" fmla="*/ 2147483647 w 3660"/>
                <a:gd name="T19" fmla="*/ 2147483647 h 2826"/>
                <a:gd name="T20" fmla="*/ 2147483647 w 3660"/>
                <a:gd name="T21" fmla="*/ 2147483647 h 2826"/>
                <a:gd name="T22" fmla="*/ 2147483647 w 3660"/>
                <a:gd name="T23" fmla="*/ 2147483647 h 2826"/>
                <a:gd name="T24" fmla="*/ 2147483647 w 3660"/>
                <a:gd name="T25" fmla="*/ 2147483647 h 2826"/>
                <a:gd name="T26" fmla="*/ 2147483647 w 3660"/>
                <a:gd name="T27" fmla="*/ 2147483647 h 2826"/>
                <a:gd name="T28" fmla="*/ 2147483647 w 3660"/>
                <a:gd name="T29" fmla="*/ 2147483647 h 2826"/>
                <a:gd name="T30" fmla="*/ 2147483647 w 3660"/>
                <a:gd name="T31" fmla="*/ 2147483647 h 2826"/>
                <a:gd name="T32" fmla="*/ 2147483647 w 3660"/>
                <a:gd name="T33" fmla="*/ 2147483647 h 2826"/>
                <a:gd name="T34" fmla="*/ 2147483647 w 3660"/>
                <a:gd name="T35" fmla="*/ 2147483647 h 2826"/>
                <a:gd name="T36" fmla="*/ 2147483647 w 3660"/>
                <a:gd name="T37" fmla="*/ 2147483647 h 2826"/>
                <a:gd name="T38" fmla="*/ 2147483647 w 3660"/>
                <a:gd name="T39" fmla="*/ 2147483647 h 2826"/>
                <a:gd name="T40" fmla="*/ 2147483647 w 3660"/>
                <a:gd name="T41" fmla="*/ 2147483647 h 2826"/>
                <a:gd name="T42" fmla="*/ 2147483647 w 3660"/>
                <a:gd name="T43" fmla="*/ 2147483647 h 2826"/>
                <a:gd name="T44" fmla="*/ 2147483647 w 3660"/>
                <a:gd name="T45" fmla="*/ 2147483647 h 2826"/>
                <a:gd name="T46" fmla="*/ 0 w 3660"/>
                <a:gd name="T47" fmla="*/ 2147483647 h 2826"/>
                <a:gd name="T48" fmla="*/ 2147483647 w 3660"/>
                <a:gd name="T49" fmla="*/ 2147483647 h 2826"/>
                <a:gd name="T50" fmla="*/ 2147483647 w 3660"/>
                <a:gd name="T51" fmla="*/ 2147483647 h 2826"/>
                <a:gd name="T52" fmla="*/ 2147483647 w 3660"/>
                <a:gd name="T53" fmla="*/ 2147483647 h 2826"/>
                <a:gd name="T54" fmla="*/ 2147483647 w 3660"/>
                <a:gd name="T55" fmla="*/ 2147483647 h 2826"/>
                <a:gd name="T56" fmla="*/ 2147483647 w 3660"/>
                <a:gd name="T57" fmla="*/ 2147483647 h 2826"/>
                <a:gd name="T58" fmla="*/ 2147483647 w 3660"/>
                <a:gd name="T59" fmla="*/ 2147483647 h 2826"/>
                <a:gd name="T60" fmla="*/ 2147483647 w 3660"/>
                <a:gd name="T61" fmla="*/ 2147483647 h 2826"/>
                <a:gd name="T62" fmla="*/ 2147483647 w 3660"/>
                <a:gd name="T63" fmla="*/ 2147483647 h 2826"/>
                <a:gd name="T64" fmla="*/ 2147483647 w 3660"/>
                <a:gd name="T65" fmla="*/ 2147483647 h 2826"/>
                <a:gd name="T66" fmla="*/ 2147483647 w 3660"/>
                <a:gd name="T67" fmla="*/ 2147483647 h 2826"/>
                <a:gd name="T68" fmla="*/ 2147483647 w 3660"/>
                <a:gd name="T69" fmla="*/ 2147483647 h 2826"/>
                <a:gd name="T70" fmla="*/ 2147483647 w 3660"/>
                <a:gd name="T71" fmla="*/ 2147483647 h 2826"/>
                <a:gd name="T72" fmla="*/ 2147483647 w 3660"/>
                <a:gd name="T73" fmla="*/ 2147483647 h 2826"/>
                <a:gd name="T74" fmla="*/ 2147483647 w 3660"/>
                <a:gd name="T75" fmla="*/ 2147483647 h 2826"/>
                <a:gd name="T76" fmla="*/ 2147483647 w 3660"/>
                <a:gd name="T77" fmla="*/ 2147483647 h 2826"/>
                <a:gd name="T78" fmla="*/ 2147483647 w 3660"/>
                <a:gd name="T79" fmla="*/ 2147483647 h 2826"/>
                <a:gd name="T80" fmla="*/ 2147483647 w 3660"/>
                <a:gd name="T81" fmla="*/ 2147483647 h 2826"/>
                <a:gd name="T82" fmla="*/ 2147483647 w 3660"/>
                <a:gd name="T83" fmla="*/ 2147483647 h 2826"/>
                <a:gd name="T84" fmla="*/ 2147483647 w 3660"/>
                <a:gd name="T85" fmla="*/ 2147483647 h 2826"/>
                <a:gd name="T86" fmla="*/ 2147483647 w 3660"/>
                <a:gd name="T87" fmla="*/ 2147483647 h 2826"/>
                <a:gd name="T88" fmla="*/ 2147483647 w 3660"/>
                <a:gd name="T89" fmla="*/ 2147483647 h 2826"/>
                <a:gd name="T90" fmla="*/ 2147483647 w 3660"/>
                <a:gd name="T91" fmla="*/ 2147483647 h 2826"/>
                <a:gd name="T92" fmla="*/ 2147483647 w 3660"/>
                <a:gd name="T93" fmla="*/ 2147483647 h 2826"/>
                <a:gd name="T94" fmla="*/ 2147483647 w 3660"/>
                <a:gd name="T95" fmla="*/ 2147483647 h 2826"/>
                <a:gd name="T96" fmla="*/ 2147483647 w 3660"/>
                <a:gd name="T97" fmla="*/ 2147483647 h 2826"/>
                <a:gd name="T98" fmla="*/ 2147483647 w 3660"/>
                <a:gd name="T99" fmla="*/ 2147483647 h 2826"/>
                <a:gd name="T100" fmla="*/ 2147483647 w 3660"/>
                <a:gd name="T101" fmla="*/ 2147483647 h 2826"/>
                <a:gd name="T102" fmla="*/ 2147483647 w 3660"/>
                <a:gd name="T103" fmla="*/ 2147483647 h 2826"/>
                <a:gd name="T104" fmla="*/ 2147483647 w 3660"/>
                <a:gd name="T105" fmla="*/ 2147483647 h 2826"/>
                <a:gd name="T106" fmla="*/ 2147483647 w 3660"/>
                <a:gd name="T107" fmla="*/ 2147483647 h 2826"/>
                <a:gd name="T108" fmla="*/ 2147483647 w 3660"/>
                <a:gd name="T109" fmla="*/ 2147483647 h 2826"/>
                <a:gd name="T110" fmla="*/ 2147483647 w 3660"/>
                <a:gd name="T111" fmla="*/ 2147483647 h 2826"/>
                <a:gd name="T112" fmla="*/ 2147483647 w 3660"/>
                <a:gd name="T113" fmla="*/ 2147483647 h 2826"/>
                <a:gd name="T114" fmla="*/ 2147483647 w 3660"/>
                <a:gd name="T115" fmla="*/ 2147483647 h 2826"/>
                <a:gd name="T116" fmla="*/ 2147483647 w 3660"/>
                <a:gd name="T117" fmla="*/ 2147483647 h 2826"/>
                <a:gd name="T118" fmla="*/ 2147483647 w 3660"/>
                <a:gd name="T119" fmla="*/ 2147483647 h 2826"/>
                <a:gd name="T120" fmla="*/ 2147483647 w 3660"/>
                <a:gd name="T121" fmla="*/ 2147483647 h 2826"/>
                <a:gd name="T122" fmla="*/ 2147483647 w 3660"/>
                <a:gd name="T123" fmla="*/ 2147483647 h 28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660"/>
                <a:gd name="T187" fmla="*/ 0 h 2826"/>
                <a:gd name="T188" fmla="*/ 3660 w 3660"/>
                <a:gd name="T189" fmla="*/ 2826 h 282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660" h="2826">
                  <a:moveTo>
                    <a:pt x="2862" y="2688"/>
                  </a:moveTo>
                  <a:lnTo>
                    <a:pt x="2850" y="2682"/>
                  </a:lnTo>
                  <a:lnTo>
                    <a:pt x="2772" y="2682"/>
                  </a:lnTo>
                  <a:lnTo>
                    <a:pt x="2766" y="2700"/>
                  </a:lnTo>
                  <a:lnTo>
                    <a:pt x="2748" y="2694"/>
                  </a:lnTo>
                  <a:lnTo>
                    <a:pt x="2736" y="2718"/>
                  </a:lnTo>
                  <a:lnTo>
                    <a:pt x="2730" y="2724"/>
                  </a:lnTo>
                  <a:lnTo>
                    <a:pt x="2712" y="2760"/>
                  </a:lnTo>
                  <a:lnTo>
                    <a:pt x="2718" y="2772"/>
                  </a:lnTo>
                  <a:lnTo>
                    <a:pt x="2724" y="2790"/>
                  </a:lnTo>
                  <a:lnTo>
                    <a:pt x="2754" y="2820"/>
                  </a:lnTo>
                  <a:lnTo>
                    <a:pt x="2766" y="2826"/>
                  </a:lnTo>
                  <a:lnTo>
                    <a:pt x="2772" y="2826"/>
                  </a:lnTo>
                  <a:lnTo>
                    <a:pt x="2802" y="2820"/>
                  </a:lnTo>
                  <a:lnTo>
                    <a:pt x="2820" y="2820"/>
                  </a:lnTo>
                  <a:lnTo>
                    <a:pt x="2844" y="2808"/>
                  </a:lnTo>
                  <a:lnTo>
                    <a:pt x="2850" y="2802"/>
                  </a:lnTo>
                  <a:lnTo>
                    <a:pt x="2850" y="2754"/>
                  </a:lnTo>
                  <a:lnTo>
                    <a:pt x="2856" y="2742"/>
                  </a:lnTo>
                  <a:lnTo>
                    <a:pt x="2862" y="2736"/>
                  </a:lnTo>
                  <a:lnTo>
                    <a:pt x="2868" y="2724"/>
                  </a:lnTo>
                  <a:lnTo>
                    <a:pt x="2868" y="2700"/>
                  </a:lnTo>
                  <a:lnTo>
                    <a:pt x="2862" y="2688"/>
                  </a:lnTo>
                  <a:close/>
                  <a:moveTo>
                    <a:pt x="3660" y="624"/>
                  </a:moveTo>
                  <a:lnTo>
                    <a:pt x="3654" y="600"/>
                  </a:lnTo>
                  <a:lnTo>
                    <a:pt x="3660" y="570"/>
                  </a:lnTo>
                  <a:lnTo>
                    <a:pt x="3642" y="564"/>
                  </a:lnTo>
                  <a:lnTo>
                    <a:pt x="3642" y="540"/>
                  </a:lnTo>
                  <a:lnTo>
                    <a:pt x="3630" y="528"/>
                  </a:lnTo>
                  <a:lnTo>
                    <a:pt x="3630" y="510"/>
                  </a:lnTo>
                  <a:lnTo>
                    <a:pt x="3618" y="492"/>
                  </a:lnTo>
                  <a:lnTo>
                    <a:pt x="3636" y="486"/>
                  </a:lnTo>
                  <a:lnTo>
                    <a:pt x="3636" y="456"/>
                  </a:lnTo>
                  <a:lnTo>
                    <a:pt x="3612" y="444"/>
                  </a:lnTo>
                  <a:lnTo>
                    <a:pt x="3612" y="426"/>
                  </a:lnTo>
                  <a:lnTo>
                    <a:pt x="3606" y="414"/>
                  </a:lnTo>
                  <a:lnTo>
                    <a:pt x="3594" y="408"/>
                  </a:lnTo>
                  <a:lnTo>
                    <a:pt x="3552" y="408"/>
                  </a:lnTo>
                  <a:lnTo>
                    <a:pt x="3546" y="432"/>
                  </a:lnTo>
                  <a:lnTo>
                    <a:pt x="3516" y="432"/>
                  </a:lnTo>
                  <a:lnTo>
                    <a:pt x="3504" y="438"/>
                  </a:lnTo>
                  <a:lnTo>
                    <a:pt x="3498" y="438"/>
                  </a:lnTo>
                  <a:lnTo>
                    <a:pt x="3492" y="444"/>
                  </a:lnTo>
                  <a:lnTo>
                    <a:pt x="3492" y="462"/>
                  </a:lnTo>
                  <a:lnTo>
                    <a:pt x="3462" y="456"/>
                  </a:lnTo>
                  <a:lnTo>
                    <a:pt x="3462" y="468"/>
                  </a:lnTo>
                  <a:lnTo>
                    <a:pt x="3444" y="468"/>
                  </a:lnTo>
                  <a:lnTo>
                    <a:pt x="3432" y="456"/>
                  </a:lnTo>
                  <a:lnTo>
                    <a:pt x="3408" y="462"/>
                  </a:lnTo>
                  <a:lnTo>
                    <a:pt x="3366" y="432"/>
                  </a:lnTo>
                  <a:lnTo>
                    <a:pt x="3366" y="420"/>
                  </a:lnTo>
                  <a:lnTo>
                    <a:pt x="3360" y="408"/>
                  </a:lnTo>
                  <a:lnTo>
                    <a:pt x="3360" y="402"/>
                  </a:lnTo>
                  <a:lnTo>
                    <a:pt x="3354" y="396"/>
                  </a:lnTo>
                  <a:lnTo>
                    <a:pt x="3336" y="396"/>
                  </a:lnTo>
                  <a:lnTo>
                    <a:pt x="3318" y="366"/>
                  </a:lnTo>
                  <a:lnTo>
                    <a:pt x="3276" y="366"/>
                  </a:lnTo>
                  <a:lnTo>
                    <a:pt x="3258" y="348"/>
                  </a:lnTo>
                  <a:lnTo>
                    <a:pt x="3246" y="342"/>
                  </a:lnTo>
                  <a:lnTo>
                    <a:pt x="3228" y="324"/>
                  </a:lnTo>
                  <a:lnTo>
                    <a:pt x="3216" y="324"/>
                  </a:lnTo>
                  <a:lnTo>
                    <a:pt x="3204" y="336"/>
                  </a:lnTo>
                  <a:lnTo>
                    <a:pt x="3192" y="330"/>
                  </a:lnTo>
                  <a:lnTo>
                    <a:pt x="3186" y="324"/>
                  </a:lnTo>
                  <a:lnTo>
                    <a:pt x="3174" y="318"/>
                  </a:lnTo>
                  <a:lnTo>
                    <a:pt x="3126" y="318"/>
                  </a:lnTo>
                  <a:lnTo>
                    <a:pt x="3114" y="312"/>
                  </a:lnTo>
                  <a:lnTo>
                    <a:pt x="3108" y="306"/>
                  </a:lnTo>
                  <a:lnTo>
                    <a:pt x="3084" y="294"/>
                  </a:lnTo>
                  <a:lnTo>
                    <a:pt x="3078" y="288"/>
                  </a:lnTo>
                  <a:lnTo>
                    <a:pt x="3072" y="288"/>
                  </a:lnTo>
                  <a:lnTo>
                    <a:pt x="3066" y="264"/>
                  </a:lnTo>
                  <a:lnTo>
                    <a:pt x="3054" y="264"/>
                  </a:lnTo>
                  <a:lnTo>
                    <a:pt x="3048" y="252"/>
                  </a:lnTo>
                  <a:lnTo>
                    <a:pt x="3030" y="234"/>
                  </a:lnTo>
                  <a:lnTo>
                    <a:pt x="3024" y="222"/>
                  </a:lnTo>
                  <a:lnTo>
                    <a:pt x="2976" y="198"/>
                  </a:lnTo>
                  <a:lnTo>
                    <a:pt x="2964" y="198"/>
                  </a:lnTo>
                  <a:lnTo>
                    <a:pt x="2952" y="168"/>
                  </a:lnTo>
                  <a:lnTo>
                    <a:pt x="2904" y="144"/>
                  </a:lnTo>
                  <a:lnTo>
                    <a:pt x="2898" y="114"/>
                  </a:lnTo>
                  <a:lnTo>
                    <a:pt x="2892" y="114"/>
                  </a:lnTo>
                  <a:lnTo>
                    <a:pt x="2886" y="108"/>
                  </a:lnTo>
                  <a:lnTo>
                    <a:pt x="2874" y="108"/>
                  </a:lnTo>
                  <a:lnTo>
                    <a:pt x="2862" y="96"/>
                  </a:lnTo>
                  <a:lnTo>
                    <a:pt x="2850" y="90"/>
                  </a:lnTo>
                  <a:lnTo>
                    <a:pt x="2838" y="78"/>
                  </a:lnTo>
                  <a:lnTo>
                    <a:pt x="2832" y="78"/>
                  </a:lnTo>
                  <a:lnTo>
                    <a:pt x="2832" y="66"/>
                  </a:lnTo>
                  <a:lnTo>
                    <a:pt x="2820" y="60"/>
                  </a:lnTo>
                  <a:lnTo>
                    <a:pt x="2814" y="54"/>
                  </a:lnTo>
                  <a:lnTo>
                    <a:pt x="2802" y="48"/>
                  </a:lnTo>
                  <a:lnTo>
                    <a:pt x="2796" y="42"/>
                  </a:lnTo>
                  <a:lnTo>
                    <a:pt x="2724" y="42"/>
                  </a:lnTo>
                  <a:lnTo>
                    <a:pt x="2688" y="18"/>
                  </a:lnTo>
                  <a:lnTo>
                    <a:pt x="2652" y="0"/>
                  </a:lnTo>
                  <a:lnTo>
                    <a:pt x="2598" y="12"/>
                  </a:lnTo>
                  <a:lnTo>
                    <a:pt x="2556" y="6"/>
                  </a:lnTo>
                  <a:lnTo>
                    <a:pt x="2550" y="18"/>
                  </a:lnTo>
                  <a:lnTo>
                    <a:pt x="2514" y="24"/>
                  </a:lnTo>
                  <a:lnTo>
                    <a:pt x="2472" y="66"/>
                  </a:lnTo>
                  <a:lnTo>
                    <a:pt x="2466" y="66"/>
                  </a:lnTo>
                  <a:lnTo>
                    <a:pt x="2466" y="78"/>
                  </a:lnTo>
                  <a:lnTo>
                    <a:pt x="2472" y="78"/>
                  </a:lnTo>
                  <a:lnTo>
                    <a:pt x="2490" y="84"/>
                  </a:lnTo>
                  <a:lnTo>
                    <a:pt x="2502" y="84"/>
                  </a:lnTo>
                  <a:lnTo>
                    <a:pt x="2508" y="90"/>
                  </a:lnTo>
                  <a:lnTo>
                    <a:pt x="2520" y="90"/>
                  </a:lnTo>
                  <a:lnTo>
                    <a:pt x="2532" y="102"/>
                  </a:lnTo>
                  <a:lnTo>
                    <a:pt x="2544" y="108"/>
                  </a:lnTo>
                  <a:lnTo>
                    <a:pt x="2550" y="114"/>
                  </a:lnTo>
                  <a:lnTo>
                    <a:pt x="2550" y="126"/>
                  </a:lnTo>
                  <a:lnTo>
                    <a:pt x="2532" y="144"/>
                  </a:lnTo>
                  <a:lnTo>
                    <a:pt x="2532" y="216"/>
                  </a:lnTo>
                  <a:lnTo>
                    <a:pt x="2538" y="258"/>
                  </a:lnTo>
                  <a:lnTo>
                    <a:pt x="2544" y="264"/>
                  </a:lnTo>
                  <a:lnTo>
                    <a:pt x="2556" y="264"/>
                  </a:lnTo>
                  <a:lnTo>
                    <a:pt x="2556" y="276"/>
                  </a:lnTo>
                  <a:lnTo>
                    <a:pt x="2550" y="282"/>
                  </a:lnTo>
                  <a:lnTo>
                    <a:pt x="2538" y="288"/>
                  </a:lnTo>
                  <a:lnTo>
                    <a:pt x="2514" y="288"/>
                  </a:lnTo>
                  <a:lnTo>
                    <a:pt x="2514" y="300"/>
                  </a:lnTo>
                  <a:lnTo>
                    <a:pt x="2496" y="318"/>
                  </a:lnTo>
                  <a:lnTo>
                    <a:pt x="2484" y="318"/>
                  </a:lnTo>
                  <a:lnTo>
                    <a:pt x="2478" y="312"/>
                  </a:lnTo>
                  <a:lnTo>
                    <a:pt x="2442" y="312"/>
                  </a:lnTo>
                  <a:lnTo>
                    <a:pt x="2406" y="288"/>
                  </a:lnTo>
                  <a:lnTo>
                    <a:pt x="2406" y="372"/>
                  </a:lnTo>
                  <a:lnTo>
                    <a:pt x="2412" y="384"/>
                  </a:lnTo>
                  <a:lnTo>
                    <a:pt x="2418" y="408"/>
                  </a:lnTo>
                  <a:lnTo>
                    <a:pt x="2424" y="420"/>
                  </a:lnTo>
                  <a:lnTo>
                    <a:pt x="2418" y="420"/>
                  </a:lnTo>
                  <a:lnTo>
                    <a:pt x="2418" y="438"/>
                  </a:lnTo>
                  <a:lnTo>
                    <a:pt x="2424" y="450"/>
                  </a:lnTo>
                  <a:lnTo>
                    <a:pt x="2436" y="456"/>
                  </a:lnTo>
                  <a:lnTo>
                    <a:pt x="2442" y="462"/>
                  </a:lnTo>
                  <a:lnTo>
                    <a:pt x="2460" y="462"/>
                  </a:lnTo>
                  <a:lnTo>
                    <a:pt x="2460" y="456"/>
                  </a:lnTo>
                  <a:lnTo>
                    <a:pt x="2454" y="456"/>
                  </a:lnTo>
                  <a:lnTo>
                    <a:pt x="2460" y="450"/>
                  </a:lnTo>
                  <a:lnTo>
                    <a:pt x="2514" y="450"/>
                  </a:lnTo>
                  <a:lnTo>
                    <a:pt x="2526" y="462"/>
                  </a:lnTo>
                  <a:lnTo>
                    <a:pt x="2538" y="468"/>
                  </a:lnTo>
                  <a:lnTo>
                    <a:pt x="2544" y="468"/>
                  </a:lnTo>
                  <a:lnTo>
                    <a:pt x="2550" y="462"/>
                  </a:lnTo>
                  <a:lnTo>
                    <a:pt x="2550" y="438"/>
                  </a:lnTo>
                  <a:lnTo>
                    <a:pt x="2616" y="438"/>
                  </a:lnTo>
                  <a:lnTo>
                    <a:pt x="2616" y="450"/>
                  </a:lnTo>
                  <a:lnTo>
                    <a:pt x="2622" y="456"/>
                  </a:lnTo>
                  <a:lnTo>
                    <a:pt x="2634" y="462"/>
                  </a:lnTo>
                  <a:lnTo>
                    <a:pt x="2652" y="462"/>
                  </a:lnTo>
                  <a:lnTo>
                    <a:pt x="2658" y="468"/>
                  </a:lnTo>
                  <a:lnTo>
                    <a:pt x="2670" y="474"/>
                  </a:lnTo>
                  <a:lnTo>
                    <a:pt x="2682" y="486"/>
                  </a:lnTo>
                  <a:lnTo>
                    <a:pt x="2706" y="498"/>
                  </a:lnTo>
                  <a:lnTo>
                    <a:pt x="2718" y="498"/>
                  </a:lnTo>
                  <a:lnTo>
                    <a:pt x="2724" y="510"/>
                  </a:lnTo>
                  <a:lnTo>
                    <a:pt x="2748" y="534"/>
                  </a:lnTo>
                  <a:lnTo>
                    <a:pt x="2748" y="540"/>
                  </a:lnTo>
                  <a:lnTo>
                    <a:pt x="2742" y="546"/>
                  </a:lnTo>
                  <a:lnTo>
                    <a:pt x="2706" y="546"/>
                  </a:lnTo>
                  <a:lnTo>
                    <a:pt x="2700" y="540"/>
                  </a:lnTo>
                  <a:lnTo>
                    <a:pt x="2688" y="534"/>
                  </a:lnTo>
                  <a:lnTo>
                    <a:pt x="2658" y="534"/>
                  </a:lnTo>
                  <a:lnTo>
                    <a:pt x="2652" y="540"/>
                  </a:lnTo>
                  <a:lnTo>
                    <a:pt x="2646" y="540"/>
                  </a:lnTo>
                  <a:lnTo>
                    <a:pt x="2628" y="558"/>
                  </a:lnTo>
                  <a:lnTo>
                    <a:pt x="2598" y="552"/>
                  </a:lnTo>
                  <a:lnTo>
                    <a:pt x="2598" y="570"/>
                  </a:lnTo>
                  <a:lnTo>
                    <a:pt x="2586" y="570"/>
                  </a:lnTo>
                  <a:lnTo>
                    <a:pt x="2550" y="588"/>
                  </a:lnTo>
                  <a:lnTo>
                    <a:pt x="2544" y="594"/>
                  </a:lnTo>
                  <a:lnTo>
                    <a:pt x="2550" y="606"/>
                  </a:lnTo>
                  <a:lnTo>
                    <a:pt x="2562" y="618"/>
                  </a:lnTo>
                  <a:lnTo>
                    <a:pt x="2538" y="642"/>
                  </a:lnTo>
                  <a:lnTo>
                    <a:pt x="2466" y="642"/>
                  </a:lnTo>
                  <a:lnTo>
                    <a:pt x="2466" y="666"/>
                  </a:lnTo>
                  <a:lnTo>
                    <a:pt x="2460" y="672"/>
                  </a:lnTo>
                  <a:lnTo>
                    <a:pt x="2454" y="684"/>
                  </a:lnTo>
                  <a:lnTo>
                    <a:pt x="2442" y="690"/>
                  </a:lnTo>
                  <a:lnTo>
                    <a:pt x="2424" y="690"/>
                  </a:lnTo>
                  <a:lnTo>
                    <a:pt x="2412" y="696"/>
                  </a:lnTo>
                  <a:lnTo>
                    <a:pt x="2388" y="696"/>
                  </a:lnTo>
                  <a:lnTo>
                    <a:pt x="2376" y="690"/>
                  </a:lnTo>
                  <a:lnTo>
                    <a:pt x="2370" y="684"/>
                  </a:lnTo>
                  <a:lnTo>
                    <a:pt x="2358" y="678"/>
                  </a:lnTo>
                  <a:lnTo>
                    <a:pt x="2352" y="672"/>
                  </a:lnTo>
                  <a:lnTo>
                    <a:pt x="2346" y="672"/>
                  </a:lnTo>
                  <a:lnTo>
                    <a:pt x="2340" y="666"/>
                  </a:lnTo>
                  <a:lnTo>
                    <a:pt x="2316" y="666"/>
                  </a:lnTo>
                  <a:lnTo>
                    <a:pt x="2304" y="672"/>
                  </a:lnTo>
                  <a:lnTo>
                    <a:pt x="2304" y="684"/>
                  </a:lnTo>
                  <a:lnTo>
                    <a:pt x="2298" y="696"/>
                  </a:lnTo>
                  <a:lnTo>
                    <a:pt x="2298" y="708"/>
                  </a:lnTo>
                  <a:lnTo>
                    <a:pt x="2304" y="720"/>
                  </a:lnTo>
                  <a:lnTo>
                    <a:pt x="2322" y="738"/>
                  </a:lnTo>
                  <a:lnTo>
                    <a:pt x="2334" y="744"/>
                  </a:lnTo>
                  <a:lnTo>
                    <a:pt x="2352" y="762"/>
                  </a:lnTo>
                  <a:lnTo>
                    <a:pt x="2364" y="768"/>
                  </a:lnTo>
                  <a:lnTo>
                    <a:pt x="2364" y="774"/>
                  </a:lnTo>
                  <a:lnTo>
                    <a:pt x="2358" y="780"/>
                  </a:lnTo>
                  <a:lnTo>
                    <a:pt x="2352" y="792"/>
                  </a:lnTo>
                  <a:lnTo>
                    <a:pt x="2340" y="804"/>
                  </a:lnTo>
                  <a:lnTo>
                    <a:pt x="2316" y="804"/>
                  </a:lnTo>
                  <a:lnTo>
                    <a:pt x="2316" y="810"/>
                  </a:lnTo>
                  <a:lnTo>
                    <a:pt x="2310" y="822"/>
                  </a:lnTo>
                  <a:lnTo>
                    <a:pt x="2310" y="828"/>
                  </a:lnTo>
                  <a:lnTo>
                    <a:pt x="2298" y="852"/>
                  </a:lnTo>
                  <a:lnTo>
                    <a:pt x="2286" y="858"/>
                  </a:lnTo>
                  <a:lnTo>
                    <a:pt x="2262" y="858"/>
                  </a:lnTo>
                  <a:lnTo>
                    <a:pt x="2244" y="882"/>
                  </a:lnTo>
                  <a:lnTo>
                    <a:pt x="2088" y="882"/>
                  </a:lnTo>
                  <a:lnTo>
                    <a:pt x="2070" y="894"/>
                  </a:lnTo>
                  <a:lnTo>
                    <a:pt x="2010" y="930"/>
                  </a:lnTo>
                  <a:lnTo>
                    <a:pt x="1992" y="942"/>
                  </a:lnTo>
                  <a:lnTo>
                    <a:pt x="1986" y="948"/>
                  </a:lnTo>
                  <a:lnTo>
                    <a:pt x="1968" y="948"/>
                  </a:lnTo>
                  <a:lnTo>
                    <a:pt x="1962" y="942"/>
                  </a:lnTo>
                  <a:lnTo>
                    <a:pt x="1956" y="942"/>
                  </a:lnTo>
                  <a:lnTo>
                    <a:pt x="1950" y="930"/>
                  </a:lnTo>
                  <a:lnTo>
                    <a:pt x="1950" y="924"/>
                  </a:lnTo>
                  <a:lnTo>
                    <a:pt x="1938" y="924"/>
                  </a:lnTo>
                  <a:lnTo>
                    <a:pt x="1926" y="930"/>
                  </a:lnTo>
                  <a:lnTo>
                    <a:pt x="1914" y="930"/>
                  </a:lnTo>
                  <a:lnTo>
                    <a:pt x="1908" y="936"/>
                  </a:lnTo>
                  <a:lnTo>
                    <a:pt x="1896" y="936"/>
                  </a:lnTo>
                  <a:lnTo>
                    <a:pt x="1890" y="930"/>
                  </a:lnTo>
                  <a:lnTo>
                    <a:pt x="1866" y="918"/>
                  </a:lnTo>
                  <a:lnTo>
                    <a:pt x="1848" y="912"/>
                  </a:lnTo>
                  <a:lnTo>
                    <a:pt x="1800" y="912"/>
                  </a:lnTo>
                  <a:lnTo>
                    <a:pt x="1776" y="906"/>
                  </a:lnTo>
                  <a:lnTo>
                    <a:pt x="1764" y="900"/>
                  </a:lnTo>
                  <a:lnTo>
                    <a:pt x="1758" y="888"/>
                  </a:lnTo>
                  <a:lnTo>
                    <a:pt x="1740" y="870"/>
                  </a:lnTo>
                  <a:lnTo>
                    <a:pt x="1728" y="870"/>
                  </a:lnTo>
                  <a:lnTo>
                    <a:pt x="1710" y="864"/>
                  </a:lnTo>
                  <a:lnTo>
                    <a:pt x="1656" y="864"/>
                  </a:lnTo>
                  <a:lnTo>
                    <a:pt x="1650" y="858"/>
                  </a:lnTo>
                  <a:lnTo>
                    <a:pt x="1644" y="858"/>
                  </a:lnTo>
                  <a:lnTo>
                    <a:pt x="1632" y="852"/>
                  </a:lnTo>
                  <a:lnTo>
                    <a:pt x="1620" y="852"/>
                  </a:lnTo>
                  <a:lnTo>
                    <a:pt x="1614" y="858"/>
                  </a:lnTo>
                  <a:lnTo>
                    <a:pt x="1602" y="864"/>
                  </a:lnTo>
                  <a:lnTo>
                    <a:pt x="1596" y="870"/>
                  </a:lnTo>
                  <a:lnTo>
                    <a:pt x="1560" y="864"/>
                  </a:lnTo>
                  <a:lnTo>
                    <a:pt x="1512" y="864"/>
                  </a:lnTo>
                  <a:lnTo>
                    <a:pt x="1458" y="858"/>
                  </a:lnTo>
                  <a:lnTo>
                    <a:pt x="1398" y="864"/>
                  </a:lnTo>
                  <a:lnTo>
                    <a:pt x="1386" y="858"/>
                  </a:lnTo>
                  <a:lnTo>
                    <a:pt x="1380" y="846"/>
                  </a:lnTo>
                  <a:lnTo>
                    <a:pt x="1368" y="840"/>
                  </a:lnTo>
                  <a:lnTo>
                    <a:pt x="1338" y="810"/>
                  </a:lnTo>
                  <a:lnTo>
                    <a:pt x="1332" y="798"/>
                  </a:lnTo>
                  <a:lnTo>
                    <a:pt x="1290" y="756"/>
                  </a:lnTo>
                  <a:lnTo>
                    <a:pt x="1278" y="732"/>
                  </a:lnTo>
                  <a:lnTo>
                    <a:pt x="1242" y="732"/>
                  </a:lnTo>
                  <a:lnTo>
                    <a:pt x="1236" y="726"/>
                  </a:lnTo>
                  <a:lnTo>
                    <a:pt x="1224" y="726"/>
                  </a:lnTo>
                  <a:lnTo>
                    <a:pt x="1200" y="714"/>
                  </a:lnTo>
                  <a:lnTo>
                    <a:pt x="1194" y="714"/>
                  </a:lnTo>
                  <a:lnTo>
                    <a:pt x="1188" y="708"/>
                  </a:lnTo>
                  <a:lnTo>
                    <a:pt x="1182" y="708"/>
                  </a:lnTo>
                  <a:lnTo>
                    <a:pt x="1176" y="696"/>
                  </a:lnTo>
                  <a:lnTo>
                    <a:pt x="1164" y="690"/>
                  </a:lnTo>
                  <a:lnTo>
                    <a:pt x="1158" y="690"/>
                  </a:lnTo>
                  <a:lnTo>
                    <a:pt x="1146" y="684"/>
                  </a:lnTo>
                  <a:lnTo>
                    <a:pt x="1140" y="684"/>
                  </a:lnTo>
                  <a:lnTo>
                    <a:pt x="1134" y="678"/>
                  </a:lnTo>
                  <a:lnTo>
                    <a:pt x="1038" y="678"/>
                  </a:lnTo>
                  <a:lnTo>
                    <a:pt x="1014" y="672"/>
                  </a:lnTo>
                  <a:lnTo>
                    <a:pt x="996" y="666"/>
                  </a:lnTo>
                  <a:lnTo>
                    <a:pt x="990" y="666"/>
                  </a:lnTo>
                  <a:lnTo>
                    <a:pt x="978" y="660"/>
                  </a:lnTo>
                  <a:lnTo>
                    <a:pt x="966" y="660"/>
                  </a:lnTo>
                  <a:lnTo>
                    <a:pt x="954" y="654"/>
                  </a:lnTo>
                  <a:lnTo>
                    <a:pt x="948" y="648"/>
                  </a:lnTo>
                  <a:lnTo>
                    <a:pt x="942" y="636"/>
                  </a:lnTo>
                  <a:lnTo>
                    <a:pt x="936" y="618"/>
                  </a:lnTo>
                  <a:lnTo>
                    <a:pt x="936" y="606"/>
                  </a:lnTo>
                  <a:lnTo>
                    <a:pt x="948" y="594"/>
                  </a:lnTo>
                  <a:lnTo>
                    <a:pt x="948" y="588"/>
                  </a:lnTo>
                  <a:lnTo>
                    <a:pt x="942" y="582"/>
                  </a:lnTo>
                  <a:lnTo>
                    <a:pt x="936" y="570"/>
                  </a:lnTo>
                  <a:lnTo>
                    <a:pt x="930" y="564"/>
                  </a:lnTo>
                  <a:lnTo>
                    <a:pt x="930" y="552"/>
                  </a:lnTo>
                  <a:lnTo>
                    <a:pt x="924" y="540"/>
                  </a:lnTo>
                  <a:lnTo>
                    <a:pt x="912" y="528"/>
                  </a:lnTo>
                  <a:lnTo>
                    <a:pt x="888" y="510"/>
                  </a:lnTo>
                  <a:lnTo>
                    <a:pt x="876" y="492"/>
                  </a:lnTo>
                  <a:lnTo>
                    <a:pt x="870" y="480"/>
                  </a:lnTo>
                  <a:lnTo>
                    <a:pt x="852" y="462"/>
                  </a:lnTo>
                  <a:lnTo>
                    <a:pt x="834" y="456"/>
                  </a:lnTo>
                  <a:lnTo>
                    <a:pt x="822" y="450"/>
                  </a:lnTo>
                  <a:lnTo>
                    <a:pt x="810" y="450"/>
                  </a:lnTo>
                  <a:lnTo>
                    <a:pt x="804" y="444"/>
                  </a:lnTo>
                  <a:lnTo>
                    <a:pt x="786" y="432"/>
                  </a:lnTo>
                  <a:lnTo>
                    <a:pt x="750" y="444"/>
                  </a:lnTo>
                  <a:lnTo>
                    <a:pt x="726" y="420"/>
                  </a:lnTo>
                  <a:lnTo>
                    <a:pt x="720" y="408"/>
                  </a:lnTo>
                  <a:lnTo>
                    <a:pt x="708" y="408"/>
                  </a:lnTo>
                  <a:lnTo>
                    <a:pt x="696" y="402"/>
                  </a:lnTo>
                  <a:lnTo>
                    <a:pt x="684" y="402"/>
                  </a:lnTo>
                  <a:lnTo>
                    <a:pt x="672" y="396"/>
                  </a:lnTo>
                  <a:lnTo>
                    <a:pt x="672" y="378"/>
                  </a:lnTo>
                  <a:lnTo>
                    <a:pt x="648" y="378"/>
                  </a:lnTo>
                  <a:lnTo>
                    <a:pt x="654" y="372"/>
                  </a:lnTo>
                  <a:lnTo>
                    <a:pt x="654" y="360"/>
                  </a:lnTo>
                  <a:lnTo>
                    <a:pt x="648" y="354"/>
                  </a:lnTo>
                  <a:lnTo>
                    <a:pt x="612" y="354"/>
                  </a:lnTo>
                  <a:lnTo>
                    <a:pt x="600" y="348"/>
                  </a:lnTo>
                  <a:lnTo>
                    <a:pt x="582" y="348"/>
                  </a:lnTo>
                  <a:lnTo>
                    <a:pt x="576" y="354"/>
                  </a:lnTo>
                  <a:lnTo>
                    <a:pt x="576" y="360"/>
                  </a:lnTo>
                  <a:lnTo>
                    <a:pt x="594" y="378"/>
                  </a:lnTo>
                  <a:lnTo>
                    <a:pt x="594" y="390"/>
                  </a:lnTo>
                  <a:lnTo>
                    <a:pt x="588" y="396"/>
                  </a:lnTo>
                  <a:lnTo>
                    <a:pt x="546" y="396"/>
                  </a:lnTo>
                  <a:lnTo>
                    <a:pt x="534" y="408"/>
                  </a:lnTo>
                  <a:lnTo>
                    <a:pt x="534" y="426"/>
                  </a:lnTo>
                  <a:lnTo>
                    <a:pt x="546" y="450"/>
                  </a:lnTo>
                  <a:lnTo>
                    <a:pt x="558" y="462"/>
                  </a:lnTo>
                  <a:lnTo>
                    <a:pt x="570" y="486"/>
                  </a:lnTo>
                  <a:lnTo>
                    <a:pt x="570" y="504"/>
                  </a:lnTo>
                  <a:lnTo>
                    <a:pt x="564" y="510"/>
                  </a:lnTo>
                  <a:lnTo>
                    <a:pt x="546" y="510"/>
                  </a:lnTo>
                  <a:lnTo>
                    <a:pt x="528" y="528"/>
                  </a:lnTo>
                  <a:lnTo>
                    <a:pt x="516" y="516"/>
                  </a:lnTo>
                  <a:lnTo>
                    <a:pt x="468" y="516"/>
                  </a:lnTo>
                  <a:lnTo>
                    <a:pt x="444" y="504"/>
                  </a:lnTo>
                  <a:lnTo>
                    <a:pt x="432" y="504"/>
                  </a:lnTo>
                  <a:lnTo>
                    <a:pt x="420" y="498"/>
                  </a:lnTo>
                  <a:lnTo>
                    <a:pt x="408" y="498"/>
                  </a:lnTo>
                  <a:lnTo>
                    <a:pt x="408" y="636"/>
                  </a:lnTo>
                  <a:lnTo>
                    <a:pt x="414" y="636"/>
                  </a:lnTo>
                  <a:lnTo>
                    <a:pt x="420" y="642"/>
                  </a:lnTo>
                  <a:lnTo>
                    <a:pt x="426" y="642"/>
                  </a:lnTo>
                  <a:lnTo>
                    <a:pt x="432" y="648"/>
                  </a:lnTo>
                  <a:lnTo>
                    <a:pt x="432" y="660"/>
                  </a:lnTo>
                  <a:lnTo>
                    <a:pt x="426" y="666"/>
                  </a:lnTo>
                  <a:lnTo>
                    <a:pt x="420" y="666"/>
                  </a:lnTo>
                  <a:lnTo>
                    <a:pt x="408" y="654"/>
                  </a:lnTo>
                  <a:lnTo>
                    <a:pt x="390" y="666"/>
                  </a:lnTo>
                  <a:lnTo>
                    <a:pt x="384" y="660"/>
                  </a:lnTo>
                  <a:lnTo>
                    <a:pt x="378" y="648"/>
                  </a:lnTo>
                  <a:lnTo>
                    <a:pt x="372" y="642"/>
                  </a:lnTo>
                  <a:lnTo>
                    <a:pt x="360" y="642"/>
                  </a:lnTo>
                  <a:lnTo>
                    <a:pt x="324" y="660"/>
                  </a:lnTo>
                  <a:lnTo>
                    <a:pt x="312" y="660"/>
                  </a:lnTo>
                  <a:lnTo>
                    <a:pt x="300" y="666"/>
                  </a:lnTo>
                  <a:lnTo>
                    <a:pt x="288" y="666"/>
                  </a:lnTo>
                  <a:lnTo>
                    <a:pt x="276" y="672"/>
                  </a:lnTo>
                  <a:lnTo>
                    <a:pt x="270" y="678"/>
                  </a:lnTo>
                  <a:lnTo>
                    <a:pt x="270" y="684"/>
                  </a:lnTo>
                  <a:lnTo>
                    <a:pt x="276" y="690"/>
                  </a:lnTo>
                  <a:lnTo>
                    <a:pt x="288" y="696"/>
                  </a:lnTo>
                  <a:lnTo>
                    <a:pt x="306" y="696"/>
                  </a:lnTo>
                  <a:lnTo>
                    <a:pt x="306" y="726"/>
                  </a:lnTo>
                  <a:lnTo>
                    <a:pt x="318" y="750"/>
                  </a:lnTo>
                  <a:lnTo>
                    <a:pt x="360" y="792"/>
                  </a:lnTo>
                  <a:lnTo>
                    <a:pt x="366" y="804"/>
                  </a:lnTo>
                  <a:lnTo>
                    <a:pt x="378" y="810"/>
                  </a:lnTo>
                  <a:lnTo>
                    <a:pt x="378" y="822"/>
                  </a:lnTo>
                  <a:lnTo>
                    <a:pt x="360" y="822"/>
                  </a:lnTo>
                  <a:lnTo>
                    <a:pt x="354" y="828"/>
                  </a:lnTo>
                  <a:lnTo>
                    <a:pt x="354" y="834"/>
                  </a:lnTo>
                  <a:lnTo>
                    <a:pt x="372" y="852"/>
                  </a:lnTo>
                  <a:lnTo>
                    <a:pt x="348" y="852"/>
                  </a:lnTo>
                  <a:lnTo>
                    <a:pt x="348" y="864"/>
                  </a:lnTo>
                  <a:lnTo>
                    <a:pt x="354" y="870"/>
                  </a:lnTo>
                  <a:lnTo>
                    <a:pt x="354" y="882"/>
                  </a:lnTo>
                  <a:lnTo>
                    <a:pt x="372" y="900"/>
                  </a:lnTo>
                  <a:lnTo>
                    <a:pt x="372" y="912"/>
                  </a:lnTo>
                  <a:lnTo>
                    <a:pt x="366" y="918"/>
                  </a:lnTo>
                  <a:lnTo>
                    <a:pt x="342" y="918"/>
                  </a:lnTo>
                  <a:lnTo>
                    <a:pt x="294" y="936"/>
                  </a:lnTo>
                  <a:lnTo>
                    <a:pt x="282" y="948"/>
                  </a:lnTo>
                  <a:lnTo>
                    <a:pt x="270" y="954"/>
                  </a:lnTo>
                  <a:lnTo>
                    <a:pt x="264" y="960"/>
                  </a:lnTo>
                  <a:lnTo>
                    <a:pt x="264" y="978"/>
                  </a:lnTo>
                  <a:lnTo>
                    <a:pt x="258" y="990"/>
                  </a:lnTo>
                  <a:lnTo>
                    <a:pt x="252" y="996"/>
                  </a:lnTo>
                  <a:lnTo>
                    <a:pt x="234" y="996"/>
                  </a:lnTo>
                  <a:lnTo>
                    <a:pt x="216" y="990"/>
                  </a:lnTo>
                  <a:lnTo>
                    <a:pt x="186" y="990"/>
                  </a:lnTo>
                  <a:lnTo>
                    <a:pt x="168" y="1008"/>
                  </a:lnTo>
                  <a:lnTo>
                    <a:pt x="162" y="1020"/>
                  </a:lnTo>
                  <a:lnTo>
                    <a:pt x="162" y="1044"/>
                  </a:lnTo>
                  <a:lnTo>
                    <a:pt x="156" y="1050"/>
                  </a:lnTo>
                  <a:lnTo>
                    <a:pt x="126" y="1044"/>
                  </a:lnTo>
                  <a:lnTo>
                    <a:pt x="114" y="1050"/>
                  </a:lnTo>
                  <a:lnTo>
                    <a:pt x="108" y="1044"/>
                  </a:lnTo>
                  <a:lnTo>
                    <a:pt x="102" y="1032"/>
                  </a:lnTo>
                  <a:lnTo>
                    <a:pt x="96" y="1026"/>
                  </a:lnTo>
                  <a:lnTo>
                    <a:pt x="84" y="1026"/>
                  </a:lnTo>
                  <a:lnTo>
                    <a:pt x="72" y="1038"/>
                  </a:lnTo>
                  <a:lnTo>
                    <a:pt x="48" y="1038"/>
                  </a:lnTo>
                  <a:lnTo>
                    <a:pt x="48" y="1056"/>
                  </a:lnTo>
                  <a:lnTo>
                    <a:pt x="36" y="1062"/>
                  </a:lnTo>
                  <a:lnTo>
                    <a:pt x="30" y="1068"/>
                  </a:lnTo>
                  <a:lnTo>
                    <a:pt x="18" y="1068"/>
                  </a:lnTo>
                  <a:lnTo>
                    <a:pt x="6" y="1074"/>
                  </a:lnTo>
                  <a:lnTo>
                    <a:pt x="0" y="1080"/>
                  </a:lnTo>
                  <a:lnTo>
                    <a:pt x="0" y="1086"/>
                  </a:lnTo>
                  <a:lnTo>
                    <a:pt x="12" y="1092"/>
                  </a:lnTo>
                  <a:lnTo>
                    <a:pt x="18" y="1104"/>
                  </a:lnTo>
                  <a:lnTo>
                    <a:pt x="18" y="1116"/>
                  </a:lnTo>
                  <a:lnTo>
                    <a:pt x="0" y="1116"/>
                  </a:lnTo>
                  <a:lnTo>
                    <a:pt x="0" y="1140"/>
                  </a:lnTo>
                  <a:lnTo>
                    <a:pt x="18" y="1140"/>
                  </a:lnTo>
                  <a:lnTo>
                    <a:pt x="18" y="1152"/>
                  </a:lnTo>
                  <a:lnTo>
                    <a:pt x="12" y="1164"/>
                  </a:lnTo>
                  <a:lnTo>
                    <a:pt x="12" y="1176"/>
                  </a:lnTo>
                  <a:lnTo>
                    <a:pt x="24" y="1188"/>
                  </a:lnTo>
                  <a:lnTo>
                    <a:pt x="36" y="1188"/>
                  </a:lnTo>
                  <a:lnTo>
                    <a:pt x="42" y="1182"/>
                  </a:lnTo>
                  <a:lnTo>
                    <a:pt x="66" y="1182"/>
                  </a:lnTo>
                  <a:lnTo>
                    <a:pt x="78" y="1188"/>
                  </a:lnTo>
                  <a:lnTo>
                    <a:pt x="84" y="1188"/>
                  </a:lnTo>
                  <a:lnTo>
                    <a:pt x="96" y="1194"/>
                  </a:lnTo>
                  <a:lnTo>
                    <a:pt x="102" y="1200"/>
                  </a:lnTo>
                  <a:lnTo>
                    <a:pt x="102" y="1242"/>
                  </a:lnTo>
                  <a:lnTo>
                    <a:pt x="114" y="1266"/>
                  </a:lnTo>
                  <a:lnTo>
                    <a:pt x="120" y="1272"/>
                  </a:lnTo>
                  <a:lnTo>
                    <a:pt x="126" y="1272"/>
                  </a:lnTo>
                  <a:lnTo>
                    <a:pt x="138" y="1284"/>
                  </a:lnTo>
                  <a:lnTo>
                    <a:pt x="132" y="1290"/>
                  </a:lnTo>
                  <a:lnTo>
                    <a:pt x="102" y="1290"/>
                  </a:lnTo>
                  <a:lnTo>
                    <a:pt x="96" y="1296"/>
                  </a:lnTo>
                  <a:lnTo>
                    <a:pt x="96" y="1308"/>
                  </a:lnTo>
                  <a:lnTo>
                    <a:pt x="108" y="1314"/>
                  </a:lnTo>
                  <a:lnTo>
                    <a:pt x="114" y="1320"/>
                  </a:lnTo>
                  <a:lnTo>
                    <a:pt x="162" y="1320"/>
                  </a:lnTo>
                  <a:lnTo>
                    <a:pt x="168" y="1332"/>
                  </a:lnTo>
                  <a:lnTo>
                    <a:pt x="180" y="1332"/>
                  </a:lnTo>
                  <a:lnTo>
                    <a:pt x="192" y="1338"/>
                  </a:lnTo>
                  <a:lnTo>
                    <a:pt x="204" y="1350"/>
                  </a:lnTo>
                  <a:lnTo>
                    <a:pt x="216" y="1374"/>
                  </a:lnTo>
                  <a:lnTo>
                    <a:pt x="216" y="1398"/>
                  </a:lnTo>
                  <a:lnTo>
                    <a:pt x="252" y="1410"/>
                  </a:lnTo>
                  <a:lnTo>
                    <a:pt x="264" y="1404"/>
                  </a:lnTo>
                  <a:lnTo>
                    <a:pt x="264" y="1410"/>
                  </a:lnTo>
                  <a:lnTo>
                    <a:pt x="270" y="1416"/>
                  </a:lnTo>
                  <a:lnTo>
                    <a:pt x="276" y="1428"/>
                  </a:lnTo>
                  <a:lnTo>
                    <a:pt x="288" y="1434"/>
                  </a:lnTo>
                  <a:lnTo>
                    <a:pt x="366" y="1434"/>
                  </a:lnTo>
                  <a:lnTo>
                    <a:pt x="378" y="1428"/>
                  </a:lnTo>
                  <a:lnTo>
                    <a:pt x="384" y="1416"/>
                  </a:lnTo>
                  <a:lnTo>
                    <a:pt x="402" y="1410"/>
                  </a:lnTo>
                  <a:lnTo>
                    <a:pt x="426" y="1398"/>
                  </a:lnTo>
                  <a:lnTo>
                    <a:pt x="438" y="1398"/>
                  </a:lnTo>
                  <a:lnTo>
                    <a:pt x="456" y="1410"/>
                  </a:lnTo>
                  <a:lnTo>
                    <a:pt x="480" y="1434"/>
                  </a:lnTo>
                  <a:lnTo>
                    <a:pt x="522" y="1434"/>
                  </a:lnTo>
                  <a:lnTo>
                    <a:pt x="522" y="1494"/>
                  </a:lnTo>
                  <a:lnTo>
                    <a:pt x="516" y="1500"/>
                  </a:lnTo>
                  <a:lnTo>
                    <a:pt x="498" y="1500"/>
                  </a:lnTo>
                  <a:lnTo>
                    <a:pt x="498" y="1506"/>
                  </a:lnTo>
                  <a:lnTo>
                    <a:pt x="504" y="1512"/>
                  </a:lnTo>
                  <a:lnTo>
                    <a:pt x="504" y="1536"/>
                  </a:lnTo>
                  <a:lnTo>
                    <a:pt x="498" y="1548"/>
                  </a:lnTo>
                  <a:lnTo>
                    <a:pt x="486" y="1554"/>
                  </a:lnTo>
                  <a:lnTo>
                    <a:pt x="456" y="1554"/>
                  </a:lnTo>
                  <a:lnTo>
                    <a:pt x="474" y="1578"/>
                  </a:lnTo>
                  <a:lnTo>
                    <a:pt x="456" y="1584"/>
                  </a:lnTo>
                  <a:lnTo>
                    <a:pt x="456" y="1608"/>
                  </a:lnTo>
                  <a:lnTo>
                    <a:pt x="480" y="1620"/>
                  </a:lnTo>
                  <a:lnTo>
                    <a:pt x="492" y="1620"/>
                  </a:lnTo>
                  <a:lnTo>
                    <a:pt x="498" y="1626"/>
                  </a:lnTo>
                  <a:lnTo>
                    <a:pt x="504" y="1638"/>
                  </a:lnTo>
                  <a:lnTo>
                    <a:pt x="522" y="1656"/>
                  </a:lnTo>
                  <a:lnTo>
                    <a:pt x="522" y="1668"/>
                  </a:lnTo>
                  <a:lnTo>
                    <a:pt x="510" y="1674"/>
                  </a:lnTo>
                  <a:lnTo>
                    <a:pt x="504" y="1680"/>
                  </a:lnTo>
                  <a:lnTo>
                    <a:pt x="498" y="1680"/>
                  </a:lnTo>
                  <a:lnTo>
                    <a:pt x="486" y="1698"/>
                  </a:lnTo>
                  <a:lnTo>
                    <a:pt x="474" y="1686"/>
                  </a:lnTo>
                  <a:lnTo>
                    <a:pt x="474" y="1668"/>
                  </a:lnTo>
                  <a:lnTo>
                    <a:pt x="462" y="1668"/>
                  </a:lnTo>
                  <a:lnTo>
                    <a:pt x="456" y="1674"/>
                  </a:lnTo>
                  <a:lnTo>
                    <a:pt x="450" y="1674"/>
                  </a:lnTo>
                  <a:lnTo>
                    <a:pt x="450" y="1692"/>
                  </a:lnTo>
                  <a:lnTo>
                    <a:pt x="456" y="1698"/>
                  </a:lnTo>
                  <a:lnTo>
                    <a:pt x="462" y="1710"/>
                  </a:lnTo>
                  <a:lnTo>
                    <a:pt x="474" y="1722"/>
                  </a:lnTo>
                  <a:lnTo>
                    <a:pt x="480" y="1722"/>
                  </a:lnTo>
                  <a:lnTo>
                    <a:pt x="480" y="1734"/>
                  </a:lnTo>
                  <a:lnTo>
                    <a:pt x="474" y="1740"/>
                  </a:lnTo>
                  <a:lnTo>
                    <a:pt x="474" y="1758"/>
                  </a:lnTo>
                  <a:lnTo>
                    <a:pt x="480" y="1764"/>
                  </a:lnTo>
                  <a:lnTo>
                    <a:pt x="510" y="1764"/>
                  </a:lnTo>
                  <a:lnTo>
                    <a:pt x="516" y="1776"/>
                  </a:lnTo>
                  <a:lnTo>
                    <a:pt x="528" y="1788"/>
                  </a:lnTo>
                  <a:lnTo>
                    <a:pt x="540" y="1794"/>
                  </a:lnTo>
                  <a:lnTo>
                    <a:pt x="552" y="1794"/>
                  </a:lnTo>
                  <a:lnTo>
                    <a:pt x="558" y="1800"/>
                  </a:lnTo>
                  <a:lnTo>
                    <a:pt x="564" y="1800"/>
                  </a:lnTo>
                  <a:lnTo>
                    <a:pt x="582" y="1818"/>
                  </a:lnTo>
                  <a:lnTo>
                    <a:pt x="600" y="1812"/>
                  </a:lnTo>
                  <a:lnTo>
                    <a:pt x="600" y="1830"/>
                  </a:lnTo>
                  <a:lnTo>
                    <a:pt x="612" y="1836"/>
                  </a:lnTo>
                  <a:lnTo>
                    <a:pt x="624" y="1836"/>
                  </a:lnTo>
                  <a:lnTo>
                    <a:pt x="666" y="1872"/>
                  </a:lnTo>
                  <a:lnTo>
                    <a:pt x="690" y="1854"/>
                  </a:lnTo>
                  <a:lnTo>
                    <a:pt x="696" y="1848"/>
                  </a:lnTo>
                  <a:lnTo>
                    <a:pt x="708" y="1842"/>
                  </a:lnTo>
                  <a:lnTo>
                    <a:pt x="720" y="1842"/>
                  </a:lnTo>
                  <a:lnTo>
                    <a:pt x="732" y="1848"/>
                  </a:lnTo>
                  <a:lnTo>
                    <a:pt x="744" y="1860"/>
                  </a:lnTo>
                  <a:lnTo>
                    <a:pt x="750" y="1872"/>
                  </a:lnTo>
                  <a:lnTo>
                    <a:pt x="762" y="1878"/>
                  </a:lnTo>
                  <a:lnTo>
                    <a:pt x="780" y="1896"/>
                  </a:lnTo>
                  <a:lnTo>
                    <a:pt x="822" y="1902"/>
                  </a:lnTo>
                  <a:lnTo>
                    <a:pt x="828" y="1914"/>
                  </a:lnTo>
                  <a:lnTo>
                    <a:pt x="834" y="1920"/>
                  </a:lnTo>
                  <a:lnTo>
                    <a:pt x="840" y="1932"/>
                  </a:lnTo>
                  <a:lnTo>
                    <a:pt x="846" y="1938"/>
                  </a:lnTo>
                  <a:lnTo>
                    <a:pt x="846" y="1950"/>
                  </a:lnTo>
                  <a:lnTo>
                    <a:pt x="858" y="1950"/>
                  </a:lnTo>
                  <a:lnTo>
                    <a:pt x="858" y="1944"/>
                  </a:lnTo>
                  <a:lnTo>
                    <a:pt x="864" y="1938"/>
                  </a:lnTo>
                  <a:lnTo>
                    <a:pt x="870" y="1926"/>
                  </a:lnTo>
                  <a:lnTo>
                    <a:pt x="882" y="1926"/>
                  </a:lnTo>
                  <a:lnTo>
                    <a:pt x="888" y="1932"/>
                  </a:lnTo>
                  <a:lnTo>
                    <a:pt x="894" y="1944"/>
                  </a:lnTo>
                  <a:lnTo>
                    <a:pt x="894" y="1962"/>
                  </a:lnTo>
                  <a:lnTo>
                    <a:pt x="924" y="1992"/>
                  </a:lnTo>
                  <a:lnTo>
                    <a:pt x="936" y="1998"/>
                  </a:lnTo>
                  <a:lnTo>
                    <a:pt x="942" y="1992"/>
                  </a:lnTo>
                  <a:lnTo>
                    <a:pt x="954" y="1986"/>
                  </a:lnTo>
                  <a:lnTo>
                    <a:pt x="960" y="1986"/>
                  </a:lnTo>
                  <a:lnTo>
                    <a:pt x="966" y="1992"/>
                  </a:lnTo>
                  <a:lnTo>
                    <a:pt x="966" y="1998"/>
                  </a:lnTo>
                  <a:lnTo>
                    <a:pt x="960" y="2004"/>
                  </a:lnTo>
                  <a:lnTo>
                    <a:pt x="960" y="2010"/>
                  </a:lnTo>
                  <a:lnTo>
                    <a:pt x="966" y="2010"/>
                  </a:lnTo>
                  <a:lnTo>
                    <a:pt x="972" y="2016"/>
                  </a:lnTo>
                  <a:lnTo>
                    <a:pt x="990" y="2022"/>
                  </a:lnTo>
                  <a:lnTo>
                    <a:pt x="1002" y="2022"/>
                  </a:lnTo>
                  <a:lnTo>
                    <a:pt x="1008" y="2016"/>
                  </a:lnTo>
                  <a:lnTo>
                    <a:pt x="1014" y="2016"/>
                  </a:lnTo>
                  <a:lnTo>
                    <a:pt x="1014" y="2034"/>
                  </a:lnTo>
                  <a:lnTo>
                    <a:pt x="1020" y="2040"/>
                  </a:lnTo>
                  <a:lnTo>
                    <a:pt x="1032" y="2040"/>
                  </a:lnTo>
                  <a:lnTo>
                    <a:pt x="1044" y="2028"/>
                  </a:lnTo>
                  <a:lnTo>
                    <a:pt x="1044" y="2022"/>
                  </a:lnTo>
                  <a:lnTo>
                    <a:pt x="1044" y="2034"/>
                  </a:lnTo>
                  <a:lnTo>
                    <a:pt x="1050" y="2040"/>
                  </a:lnTo>
                  <a:lnTo>
                    <a:pt x="1068" y="2040"/>
                  </a:lnTo>
                  <a:lnTo>
                    <a:pt x="1074" y="2034"/>
                  </a:lnTo>
                  <a:lnTo>
                    <a:pt x="1074" y="2028"/>
                  </a:lnTo>
                  <a:lnTo>
                    <a:pt x="1086" y="2034"/>
                  </a:lnTo>
                  <a:lnTo>
                    <a:pt x="1092" y="2040"/>
                  </a:lnTo>
                  <a:lnTo>
                    <a:pt x="1110" y="2046"/>
                  </a:lnTo>
                  <a:lnTo>
                    <a:pt x="1134" y="2058"/>
                  </a:lnTo>
                  <a:lnTo>
                    <a:pt x="1158" y="2058"/>
                  </a:lnTo>
                  <a:lnTo>
                    <a:pt x="1176" y="2040"/>
                  </a:lnTo>
                  <a:lnTo>
                    <a:pt x="1194" y="2034"/>
                  </a:lnTo>
                  <a:lnTo>
                    <a:pt x="1206" y="2028"/>
                  </a:lnTo>
                  <a:lnTo>
                    <a:pt x="1212" y="2028"/>
                  </a:lnTo>
                  <a:lnTo>
                    <a:pt x="1224" y="2034"/>
                  </a:lnTo>
                  <a:lnTo>
                    <a:pt x="1230" y="2040"/>
                  </a:lnTo>
                  <a:lnTo>
                    <a:pt x="1230" y="2088"/>
                  </a:lnTo>
                  <a:lnTo>
                    <a:pt x="1236" y="2094"/>
                  </a:lnTo>
                  <a:lnTo>
                    <a:pt x="1242" y="2094"/>
                  </a:lnTo>
                  <a:lnTo>
                    <a:pt x="1242" y="2088"/>
                  </a:lnTo>
                  <a:lnTo>
                    <a:pt x="1248" y="2082"/>
                  </a:lnTo>
                  <a:lnTo>
                    <a:pt x="1254" y="2070"/>
                  </a:lnTo>
                  <a:lnTo>
                    <a:pt x="1266" y="2052"/>
                  </a:lnTo>
                  <a:lnTo>
                    <a:pt x="1272" y="2040"/>
                  </a:lnTo>
                  <a:lnTo>
                    <a:pt x="1284" y="2028"/>
                  </a:lnTo>
                  <a:lnTo>
                    <a:pt x="1290" y="2016"/>
                  </a:lnTo>
                  <a:lnTo>
                    <a:pt x="1302" y="2016"/>
                  </a:lnTo>
                  <a:lnTo>
                    <a:pt x="1314" y="2022"/>
                  </a:lnTo>
                  <a:lnTo>
                    <a:pt x="1338" y="2022"/>
                  </a:lnTo>
                  <a:lnTo>
                    <a:pt x="1338" y="2046"/>
                  </a:lnTo>
                  <a:lnTo>
                    <a:pt x="1344" y="2046"/>
                  </a:lnTo>
                  <a:lnTo>
                    <a:pt x="1350" y="2040"/>
                  </a:lnTo>
                  <a:lnTo>
                    <a:pt x="1362" y="2034"/>
                  </a:lnTo>
                  <a:lnTo>
                    <a:pt x="1374" y="2034"/>
                  </a:lnTo>
                  <a:lnTo>
                    <a:pt x="1386" y="2028"/>
                  </a:lnTo>
                  <a:lnTo>
                    <a:pt x="1398" y="2028"/>
                  </a:lnTo>
                  <a:lnTo>
                    <a:pt x="1410" y="2034"/>
                  </a:lnTo>
                  <a:lnTo>
                    <a:pt x="1422" y="2046"/>
                  </a:lnTo>
                  <a:lnTo>
                    <a:pt x="1428" y="2058"/>
                  </a:lnTo>
                  <a:lnTo>
                    <a:pt x="1428" y="2064"/>
                  </a:lnTo>
                  <a:lnTo>
                    <a:pt x="1482" y="2064"/>
                  </a:lnTo>
                  <a:lnTo>
                    <a:pt x="1494" y="2052"/>
                  </a:lnTo>
                  <a:lnTo>
                    <a:pt x="1494" y="2034"/>
                  </a:lnTo>
                  <a:lnTo>
                    <a:pt x="1488" y="2022"/>
                  </a:lnTo>
                  <a:lnTo>
                    <a:pt x="1518" y="2022"/>
                  </a:lnTo>
                  <a:lnTo>
                    <a:pt x="1524" y="2016"/>
                  </a:lnTo>
                  <a:lnTo>
                    <a:pt x="1524" y="1992"/>
                  </a:lnTo>
                  <a:lnTo>
                    <a:pt x="1518" y="1986"/>
                  </a:lnTo>
                  <a:lnTo>
                    <a:pt x="1518" y="1980"/>
                  </a:lnTo>
                  <a:lnTo>
                    <a:pt x="1554" y="1980"/>
                  </a:lnTo>
                  <a:lnTo>
                    <a:pt x="1578" y="1956"/>
                  </a:lnTo>
                  <a:lnTo>
                    <a:pt x="1590" y="1950"/>
                  </a:lnTo>
                  <a:lnTo>
                    <a:pt x="1602" y="1938"/>
                  </a:lnTo>
                  <a:lnTo>
                    <a:pt x="1620" y="1938"/>
                  </a:lnTo>
                  <a:lnTo>
                    <a:pt x="1632" y="1944"/>
                  </a:lnTo>
                  <a:lnTo>
                    <a:pt x="1650" y="1956"/>
                  </a:lnTo>
                  <a:lnTo>
                    <a:pt x="1668" y="1956"/>
                  </a:lnTo>
                  <a:lnTo>
                    <a:pt x="1668" y="1932"/>
                  </a:lnTo>
                  <a:lnTo>
                    <a:pt x="1680" y="1920"/>
                  </a:lnTo>
                  <a:lnTo>
                    <a:pt x="1716" y="1938"/>
                  </a:lnTo>
                  <a:lnTo>
                    <a:pt x="1722" y="1944"/>
                  </a:lnTo>
                  <a:lnTo>
                    <a:pt x="1710" y="1956"/>
                  </a:lnTo>
                  <a:lnTo>
                    <a:pt x="1704" y="1956"/>
                  </a:lnTo>
                  <a:lnTo>
                    <a:pt x="1710" y="1962"/>
                  </a:lnTo>
                  <a:lnTo>
                    <a:pt x="1740" y="1962"/>
                  </a:lnTo>
                  <a:lnTo>
                    <a:pt x="1758" y="1992"/>
                  </a:lnTo>
                  <a:lnTo>
                    <a:pt x="1752" y="1992"/>
                  </a:lnTo>
                  <a:lnTo>
                    <a:pt x="1740" y="2004"/>
                  </a:lnTo>
                  <a:lnTo>
                    <a:pt x="1740" y="2010"/>
                  </a:lnTo>
                  <a:lnTo>
                    <a:pt x="1806" y="2010"/>
                  </a:lnTo>
                  <a:lnTo>
                    <a:pt x="1812" y="2016"/>
                  </a:lnTo>
                  <a:lnTo>
                    <a:pt x="1818" y="2016"/>
                  </a:lnTo>
                  <a:lnTo>
                    <a:pt x="1824" y="1998"/>
                  </a:lnTo>
                  <a:lnTo>
                    <a:pt x="1830" y="1998"/>
                  </a:lnTo>
                  <a:lnTo>
                    <a:pt x="1836" y="2004"/>
                  </a:lnTo>
                  <a:lnTo>
                    <a:pt x="1842" y="2016"/>
                  </a:lnTo>
                  <a:lnTo>
                    <a:pt x="1854" y="2022"/>
                  </a:lnTo>
                  <a:lnTo>
                    <a:pt x="1872" y="2058"/>
                  </a:lnTo>
                  <a:lnTo>
                    <a:pt x="1878" y="2064"/>
                  </a:lnTo>
                  <a:lnTo>
                    <a:pt x="1878" y="2070"/>
                  </a:lnTo>
                  <a:lnTo>
                    <a:pt x="1914" y="2070"/>
                  </a:lnTo>
                  <a:lnTo>
                    <a:pt x="1920" y="2076"/>
                  </a:lnTo>
                  <a:lnTo>
                    <a:pt x="1920" y="2106"/>
                  </a:lnTo>
                  <a:lnTo>
                    <a:pt x="1932" y="2130"/>
                  </a:lnTo>
                  <a:lnTo>
                    <a:pt x="1944" y="2190"/>
                  </a:lnTo>
                  <a:lnTo>
                    <a:pt x="1932" y="2190"/>
                  </a:lnTo>
                  <a:lnTo>
                    <a:pt x="1926" y="2196"/>
                  </a:lnTo>
                  <a:lnTo>
                    <a:pt x="1914" y="2196"/>
                  </a:lnTo>
                  <a:lnTo>
                    <a:pt x="1932" y="2214"/>
                  </a:lnTo>
                  <a:lnTo>
                    <a:pt x="1932" y="2220"/>
                  </a:lnTo>
                  <a:lnTo>
                    <a:pt x="1926" y="2232"/>
                  </a:lnTo>
                  <a:lnTo>
                    <a:pt x="1920" y="2238"/>
                  </a:lnTo>
                  <a:lnTo>
                    <a:pt x="1908" y="2238"/>
                  </a:lnTo>
                  <a:lnTo>
                    <a:pt x="1902" y="2232"/>
                  </a:lnTo>
                  <a:lnTo>
                    <a:pt x="1902" y="2268"/>
                  </a:lnTo>
                  <a:lnTo>
                    <a:pt x="1896" y="2274"/>
                  </a:lnTo>
                  <a:lnTo>
                    <a:pt x="1884" y="2274"/>
                  </a:lnTo>
                  <a:lnTo>
                    <a:pt x="1890" y="2304"/>
                  </a:lnTo>
                  <a:lnTo>
                    <a:pt x="1878" y="2304"/>
                  </a:lnTo>
                  <a:lnTo>
                    <a:pt x="1878" y="2322"/>
                  </a:lnTo>
                  <a:lnTo>
                    <a:pt x="1896" y="2340"/>
                  </a:lnTo>
                  <a:lnTo>
                    <a:pt x="1902" y="2352"/>
                  </a:lnTo>
                  <a:lnTo>
                    <a:pt x="1890" y="2370"/>
                  </a:lnTo>
                  <a:lnTo>
                    <a:pt x="1902" y="2364"/>
                  </a:lnTo>
                  <a:lnTo>
                    <a:pt x="1908" y="2358"/>
                  </a:lnTo>
                  <a:lnTo>
                    <a:pt x="1920" y="2358"/>
                  </a:lnTo>
                  <a:lnTo>
                    <a:pt x="1926" y="2352"/>
                  </a:lnTo>
                  <a:lnTo>
                    <a:pt x="1986" y="2352"/>
                  </a:lnTo>
                  <a:lnTo>
                    <a:pt x="1956" y="2376"/>
                  </a:lnTo>
                  <a:lnTo>
                    <a:pt x="1980" y="2394"/>
                  </a:lnTo>
                  <a:lnTo>
                    <a:pt x="1992" y="2436"/>
                  </a:lnTo>
                  <a:lnTo>
                    <a:pt x="2022" y="2436"/>
                  </a:lnTo>
                  <a:lnTo>
                    <a:pt x="2034" y="2442"/>
                  </a:lnTo>
                  <a:lnTo>
                    <a:pt x="2040" y="2448"/>
                  </a:lnTo>
                  <a:lnTo>
                    <a:pt x="2040" y="2454"/>
                  </a:lnTo>
                  <a:lnTo>
                    <a:pt x="2034" y="2460"/>
                  </a:lnTo>
                  <a:lnTo>
                    <a:pt x="2022" y="2460"/>
                  </a:lnTo>
                  <a:lnTo>
                    <a:pt x="2016" y="2466"/>
                  </a:lnTo>
                  <a:lnTo>
                    <a:pt x="2028" y="2478"/>
                  </a:lnTo>
                  <a:lnTo>
                    <a:pt x="2028" y="2490"/>
                  </a:lnTo>
                  <a:lnTo>
                    <a:pt x="2022" y="2496"/>
                  </a:lnTo>
                  <a:lnTo>
                    <a:pt x="2022" y="2502"/>
                  </a:lnTo>
                  <a:lnTo>
                    <a:pt x="2016" y="2514"/>
                  </a:lnTo>
                  <a:lnTo>
                    <a:pt x="2070" y="2520"/>
                  </a:lnTo>
                  <a:lnTo>
                    <a:pt x="2082" y="2550"/>
                  </a:lnTo>
                  <a:lnTo>
                    <a:pt x="2094" y="2550"/>
                  </a:lnTo>
                  <a:lnTo>
                    <a:pt x="2094" y="2568"/>
                  </a:lnTo>
                  <a:lnTo>
                    <a:pt x="2136" y="2568"/>
                  </a:lnTo>
                  <a:lnTo>
                    <a:pt x="2136" y="2562"/>
                  </a:lnTo>
                  <a:lnTo>
                    <a:pt x="2154" y="2544"/>
                  </a:lnTo>
                  <a:lnTo>
                    <a:pt x="2166" y="2544"/>
                  </a:lnTo>
                  <a:lnTo>
                    <a:pt x="2172" y="2550"/>
                  </a:lnTo>
                  <a:lnTo>
                    <a:pt x="2172" y="2592"/>
                  </a:lnTo>
                  <a:lnTo>
                    <a:pt x="2214" y="2592"/>
                  </a:lnTo>
                  <a:lnTo>
                    <a:pt x="2214" y="2556"/>
                  </a:lnTo>
                  <a:lnTo>
                    <a:pt x="2190" y="2532"/>
                  </a:lnTo>
                  <a:lnTo>
                    <a:pt x="2190" y="2490"/>
                  </a:lnTo>
                  <a:lnTo>
                    <a:pt x="2196" y="2484"/>
                  </a:lnTo>
                  <a:lnTo>
                    <a:pt x="2232" y="2490"/>
                  </a:lnTo>
                  <a:lnTo>
                    <a:pt x="2232" y="2472"/>
                  </a:lnTo>
                  <a:lnTo>
                    <a:pt x="2238" y="2460"/>
                  </a:lnTo>
                  <a:lnTo>
                    <a:pt x="2250" y="2460"/>
                  </a:lnTo>
                  <a:lnTo>
                    <a:pt x="2274" y="2484"/>
                  </a:lnTo>
                  <a:lnTo>
                    <a:pt x="2286" y="2484"/>
                  </a:lnTo>
                  <a:lnTo>
                    <a:pt x="2292" y="2478"/>
                  </a:lnTo>
                  <a:lnTo>
                    <a:pt x="2298" y="2466"/>
                  </a:lnTo>
                  <a:lnTo>
                    <a:pt x="2304" y="2460"/>
                  </a:lnTo>
                  <a:lnTo>
                    <a:pt x="2322" y="2478"/>
                  </a:lnTo>
                  <a:lnTo>
                    <a:pt x="2322" y="2460"/>
                  </a:lnTo>
                  <a:lnTo>
                    <a:pt x="2328" y="2460"/>
                  </a:lnTo>
                  <a:lnTo>
                    <a:pt x="2340" y="2478"/>
                  </a:lnTo>
                  <a:lnTo>
                    <a:pt x="2346" y="2484"/>
                  </a:lnTo>
                  <a:lnTo>
                    <a:pt x="2364" y="2484"/>
                  </a:lnTo>
                  <a:lnTo>
                    <a:pt x="2364" y="2472"/>
                  </a:lnTo>
                  <a:lnTo>
                    <a:pt x="2352" y="2460"/>
                  </a:lnTo>
                  <a:lnTo>
                    <a:pt x="2370" y="2460"/>
                  </a:lnTo>
                  <a:lnTo>
                    <a:pt x="2376" y="2466"/>
                  </a:lnTo>
                  <a:lnTo>
                    <a:pt x="2382" y="2460"/>
                  </a:lnTo>
                  <a:lnTo>
                    <a:pt x="2400" y="2460"/>
                  </a:lnTo>
                  <a:lnTo>
                    <a:pt x="2400" y="2454"/>
                  </a:lnTo>
                  <a:lnTo>
                    <a:pt x="2406" y="2442"/>
                  </a:lnTo>
                  <a:lnTo>
                    <a:pt x="2406" y="2430"/>
                  </a:lnTo>
                  <a:lnTo>
                    <a:pt x="2412" y="2424"/>
                  </a:lnTo>
                  <a:lnTo>
                    <a:pt x="2424" y="2418"/>
                  </a:lnTo>
                  <a:lnTo>
                    <a:pt x="2430" y="2412"/>
                  </a:lnTo>
                  <a:lnTo>
                    <a:pt x="2436" y="2412"/>
                  </a:lnTo>
                  <a:lnTo>
                    <a:pt x="2466" y="2448"/>
                  </a:lnTo>
                  <a:lnTo>
                    <a:pt x="2496" y="2442"/>
                  </a:lnTo>
                  <a:lnTo>
                    <a:pt x="2508" y="2454"/>
                  </a:lnTo>
                  <a:lnTo>
                    <a:pt x="2538" y="2454"/>
                  </a:lnTo>
                  <a:lnTo>
                    <a:pt x="2544" y="2460"/>
                  </a:lnTo>
                  <a:lnTo>
                    <a:pt x="2544" y="2466"/>
                  </a:lnTo>
                  <a:lnTo>
                    <a:pt x="2526" y="2484"/>
                  </a:lnTo>
                  <a:lnTo>
                    <a:pt x="2532" y="2502"/>
                  </a:lnTo>
                  <a:lnTo>
                    <a:pt x="2544" y="2508"/>
                  </a:lnTo>
                  <a:lnTo>
                    <a:pt x="2544" y="2526"/>
                  </a:lnTo>
                  <a:lnTo>
                    <a:pt x="2562" y="2526"/>
                  </a:lnTo>
                  <a:lnTo>
                    <a:pt x="2568" y="2532"/>
                  </a:lnTo>
                  <a:lnTo>
                    <a:pt x="2574" y="2544"/>
                  </a:lnTo>
                  <a:lnTo>
                    <a:pt x="2586" y="2550"/>
                  </a:lnTo>
                  <a:lnTo>
                    <a:pt x="2616" y="2550"/>
                  </a:lnTo>
                  <a:lnTo>
                    <a:pt x="2622" y="2556"/>
                  </a:lnTo>
                  <a:lnTo>
                    <a:pt x="2628" y="2556"/>
                  </a:lnTo>
                  <a:lnTo>
                    <a:pt x="2676" y="2526"/>
                  </a:lnTo>
                  <a:lnTo>
                    <a:pt x="2694" y="2538"/>
                  </a:lnTo>
                  <a:lnTo>
                    <a:pt x="2718" y="2538"/>
                  </a:lnTo>
                  <a:lnTo>
                    <a:pt x="2736" y="2544"/>
                  </a:lnTo>
                  <a:lnTo>
                    <a:pt x="2748" y="2544"/>
                  </a:lnTo>
                  <a:lnTo>
                    <a:pt x="2760" y="2550"/>
                  </a:lnTo>
                  <a:lnTo>
                    <a:pt x="2766" y="2556"/>
                  </a:lnTo>
                  <a:lnTo>
                    <a:pt x="2772" y="2568"/>
                  </a:lnTo>
                  <a:lnTo>
                    <a:pt x="2766" y="2580"/>
                  </a:lnTo>
                  <a:lnTo>
                    <a:pt x="2766" y="2604"/>
                  </a:lnTo>
                  <a:lnTo>
                    <a:pt x="2760" y="2616"/>
                  </a:lnTo>
                  <a:lnTo>
                    <a:pt x="2766" y="2628"/>
                  </a:lnTo>
                  <a:lnTo>
                    <a:pt x="2772" y="2634"/>
                  </a:lnTo>
                  <a:lnTo>
                    <a:pt x="2784" y="2640"/>
                  </a:lnTo>
                  <a:lnTo>
                    <a:pt x="2790" y="2652"/>
                  </a:lnTo>
                  <a:lnTo>
                    <a:pt x="2802" y="2658"/>
                  </a:lnTo>
                  <a:lnTo>
                    <a:pt x="2808" y="2664"/>
                  </a:lnTo>
                  <a:lnTo>
                    <a:pt x="2826" y="2664"/>
                  </a:lnTo>
                  <a:lnTo>
                    <a:pt x="2832" y="2640"/>
                  </a:lnTo>
                  <a:lnTo>
                    <a:pt x="2832" y="2634"/>
                  </a:lnTo>
                  <a:lnTo>
                    <a:pt x="2826" y="2628"/>
                  </a:lnTo>
                  <a:lnTo>
                    <a:pt x="2826" y="2586"/>
                  </a:lnTo>
                  <a:lnTo>
                    <a:pt x="2832" y="2568"/>
                  </a:lnTo>
                  <a:lnTo>
                    <a:pt x="2844" y="2556"/>
                  </a:lnTo>
                  <a:lnTo>
                    <a:pt x="2856" y="2550"/>
                  </a:lnTo>
                  <a:lnTo>
                    <a:pt x="2886" y="2550"/>
                  </a:lnTo>
                  <a:lnTo>
                    <a:pt x="2898" y="2544"/>
                  </a:lnTo>
                  <a:lnTo>
                    <a:pt x="2910" y="2544"/>
                  </a:lnTo>
                  <a:lnTo>
                    <a:pt x="2922" y="2538"/>
                  </a:lnTo>
                  <a:lnTo>
                    <a:pt x="2940" y="2538"/>
                  </a:lnTo>
                  <a:lnTo>
                    <a:pt x="2964" y="2532"/>
                  </a:lnTo>
                  <a:lnTo>
                    <a:pt x="2982" y="2526"/>
                  </a:lnTo>
                  <a:lnTo>
                    <a:pt x="3000" y="2508"/>
                  </a:lnTo>
                  <a:lnTo>
                    <a:pt x="3000" y="2466"/>
                  </a:lnTo>
                  <a:lnTo>
                    <a:pt x="3006" y="2454"/>
                  </a:lnTo>
                  <a:lnTo>
                    <a:pt x="3012" y="2448"/>
                  </a:lnTo>
                  <a:lnTo>
                    <a:pt x="3024" y="2460"/>
                  </a:lnTo>
                  <a:lnTo>
                    <a:pt x="3036" y="2484"/>
                  </a:lnTo>
                  <a:lnTo>
                    <a:pt x="3042" y="2490"/>
                  </a:lnTo>
                  <a:lnTo>
                    <a:pt x="3048" y="2490"/>
                  </a:lnTo>
                  <a:lnTo>
                    <a:pt x="3054" y="2484"/>
                  </a:lnTo>
                  <a:lnTo>
                    <a:pt x="3066" y="2478"/>
                  </a:lnTo>
                  <a:lnTo>
                    <a:pt x="3072" y="2466"/>
                  </a:lnTo>
                  <a:lnTo>
                    <a:pt x="3090" y="2448"/>
                  </a:lnTo>
                  <a:lnTo>
                    <a:pt x="3096" y="2436"/>
                  </a:lnTo>
                  <a:lnTo>
                    <a:pt x="3114" y="2454"/>
                  </a:lnTo>
                  <a:lnTo>
                    <a:pt x="3144" y="2442"/>
                  </a:lnTo>
                  <a:lnTo>
                    <a:pt x="3150" y="2442"/>
                  </a:lnTo>
                  <a:lnTo>
                    <a:pt x="3156" y="2448"/>
                  </a:lnTo>
                  <a:lnTo>
                    <a:pt x="3186" y="2448"/>
                  </a:lnTo>
                  <a:lnTo>
                    <a:pt x="3234" y="2424"/>
                  </a:lnTo>
                  <a:lnTo>
                    <a:pt x="3288" y="2370"/>
                  </a:lnTo>
                  <a:lnTo>
                    <a:pt x="3294" y="2358"/>
                  </a:lnTo>
                  <a:lnTo>
                    <a:pt x="3300" y="2352"/>
                  </a:lnTo>
                  <a:lnTo>
                    <a:pt x="3294" y="2340"/>
                  </a:lnTo>
                  <a:lnTo>
                    <a:pt x="3294" y="2334"/>
                  </a:lnTo>
                  <a:lnTo>
                    <a:pt x="3288" y="2322"/>
                  </a:lnTo>
                  <a:lnTo>
                    <a:pt x="3282" y="2316"/>
                  </a:lnTo>
                  <a:lnTo>
                    <a:pt x="3300" y="2316"/>
                  </a:lnTo>
                  <a:lnTo>
                    <a:pt x="3312" y="2286"/>
                  </a:lnTo>
                  <a:lnTo>
                    <a:pt x="3336" y="2286"/>
                  </a:lnTo>
                  <a:lnTo>
                    <a:pt x="3348" y="2250"/>
                  </a:lnTo>
                  <a:lnTo>
                    <a:pt x="3360" y="2250"/>
                  </a:lnTo>
                  <a:lnTo>
                    <a:pt x="3360" y="2208"/>
                  </a:lnTo>
                  <a:lnTo>
                    <a:pt x="3372" y="2208"/>
                  </a:lnTo>
                  <a:lnTo>
                    <a:pt x="3384" y="2196"/>
                  </a:lnTo>
                  <a:lnTo>
                    <a:pt x="3384" y="2172"/>
                  </a:lnTo>
                  <a:lnTo>
                    <a:pt x="3378" y="2160"/>
                  </a:lnTo>
                  <a:lnTo>
                    <a:pt x="3372" y="2154"/>
                  </a:lnTo>
                  <a:lnTo>
                    <a:pt x="3372" y="2142"/>
                  </a:lnTo>
                  <a:lnTo>
                    <a:pt x="3378" y="2136"/>
                  </a:lnTo>
                  <a:lnTo>
                    <a:pt x="3384" y="2136"/>
                  </a:lnTo>
                  <a:lnTo>
                    <a:pt x="3390" y="2130"/>
                  </a:lnTo>
                  <a:lnTo>
                    <a:pt x="3402" y="2124"/>
                  </a:lnTo>
                  <a:lnTo>
                    <a:pt x="3408" y="2118"/>
                  </a:lnTo>
                  <a:lnTo>
                    <a:pt x="3408" y="2094"/>
                  </a:lnTo>
                  <a:lnTo>
                    <a:pt x="3390" y="2076"/>
                  </a:lnTo>
                  <a:lnTo>
                    <a:pt x="3390" y="2064"/>
                  </a:lnTo>
                  <a:lnTo>
                    <a:pt x="3402" y="2058"/>
                  </a:lnTo>
                  <a:lnTo>
                    <a:pt x="3408" y="2052"/>
                  </a:lnTo>
                  <a:lnTo>
                    <a:pt x="3408" y="2016"/>
                  </a:lnTo>
                  <a:lnTo>
                    <a:pt x="3414" y="2016"/>
                  </a:lnTo>
                  <a:lnTo>
                    <a:pt x="3420" y="2010"/>
                  </a:lnTo>
                  <a:lnTo>
                    <a:pt x="3456" y="1992"/>
                  </a:lnTo>
                  <a:lnTo>
                    <a:pt x="3462" y="1980"/>
                  </a:lnTo>
                  <a:lnTo>
                    <a:pt x="3462" y="1962"/>
                  </a:lnTo>
                  <a:lnTo>
                    <a:pt x="3456" y="1956"/>
                  </a:lnTo>
                  <a:lnTo>
                    <a:pt x="3444" y="1956"/>
                  </a:lnTo>
                  <a:lnTo>
                    <a:pt x="3450" y="1956"/>
                  </a:lnTo>
                  <a:lnTo>
                    <a:pt x="3456" y="1950"/>
                  </a:lnTo>
                  <a:lnTo>
                    <a:pt x="3468" y="1950"/>
                  </a:lnTo>
                  <a:lnTo>
                    <a:pt x="3480" y="1944"/>
                  </a:lnTo>
                  <a:lnTo>
                    <a:pt x="3492" y="1932"/>
                  </a:lnTo>
                  <a:lnTo>
                    <a:pt x="3474" y="1914"/>
                  </a:lnTo>
                  <a:lnTo>
                    <a:pt x="3468" y="1914"/>
                  </a:lnTo>
                  <a:lnTo>
                    <a:pt x="3486" y="1896"/>
                  </a:lnTo>
                  <a:lnTo>
                    <a:pt x="3498" y="1872"/>
                  </a:lnTo>
                  <a:lnTo>
                    <a:pt x="3504" y="1866"/>
                  </a:lnTo>
                  <a:lnTo>
                    <a:pt x="3504" y="1854"/>
                  </a:lnTo>
                  <a:lnTo>
                    <a:pt x="3498" y="1848"/>
                  </a:lnTo>
                  <a:lnTo>
                    <a:pt x="3474" y="1842"/>
                  </a:lnTo>
                  <a:lnTo>
                    <a:pt x="3438" y="1848"/>
                  </a:lnTo>
                  <a:lnTo>
                    <a:pt x="3396" y="1854"/>
                  </a:lnTo>
                  <a:lnTo>
                    <a:pt x="3366" y="1860"/>
                  </a:lnTo>
                  <a:lnTo>
                    <a:pt x="3354" y="1866"/>
                  </a:lnTo>
                  <a:lnTo>
                    <a:pt x="3336" y="1848"/>
                  </a:lnTo>
                  <a:lnTo>
                    <a:pt x="3378" y="1848"/>
                  </a:lnTo>
                  <a:lnTo>
                    <a:pt x="3378" y="1836"/>
                  </a:lnTo>
                  <a:lnTo>
                    <a:pt x="3384" y="1824"/>
                  </a:lnTo>
                  <a:lnTo>
                    <a:pt x="3390" y="1818"/>
                  </a:lnTo>
                  <a:lnTo>
                    <a:pt x="3402" y="1812"/>
                  </a:lnTo>
                  <a:lnTo>
                    <a:pt x="3432" y="1812"/>
                  </a:lnTo>
                  <a:lnTo>
                    <a:pt x="3426" y="1800"/>
                  </a:lnTo>
                  <a:lnTo>
                    <a:pt x="3420" y="1794"/>
                  </a:lnTo>
                  <a:lnTo>
                    <a:pt x="3414" y="1782"/>
                  </a:lnTo>
                  <a:lnTo>
                    <a:pt x="3414" y="1776"/>
                  </a:lnTo>
                  <a:lnTo>
                    <a:pt x="3408" y="1770"/>
                  </a:lnTo>
                  <a:lnTo>
                    <a:pt x="3390" y="1770"/>
                  </a:lnTo>
                  <a:lnTo>
                    <a:pt x="3378" y="1764"/>
                  </a:lnTo>
                  <a:lnTo>
                    <a:pt x="3366" y="1764"/>
                  </a:lnTo>
                  <a:lnTo>
                    <a:pt x="3354" y="1746"/>
                  </a:lnTo>
                  <a:lnTo>
                    <a:pt x="3342" y="1746"/>
                  </a:lnTo>
                  <a:lnTo>
                    <a:pt x="3336" y="1734"/>
                  </a:lnTo>
                  <a:lnTo>
                    <a:pt x="3324" y="1728"/>
                  </a:lnTo>
                  <a:lnTo>
                    <a:pt x="3294" y="1728"/>
                  </a:lnTo>
                  <a:lnTo>
                    <a:pt x="3288" y="1734"/>
                  </a:lnTo>
                  <a:lnTo>
                    <a:pt x="3282" y="1734"/>
                  </a:lnTo>
                  <a:lnTo>
                    <a:pt x="3246" y="1686"/>
                  </a:lnTo>
                  <a:lnTo>
                    <a:pt x="3252" y="1698"/>
                  </a:lnTo>
                  <a:lnTo>
                    <a:pt x="3264" y="1704"/>
                  </a:lnTo>
                  <a:lnTo>
                    <a:pt x="3270" y="1710"/>
                  </a:lnTo>
                  <a:lnTo>
                    <a:pt x="3282" y="1716"/>
                  </a:lnTo>
                  <a:lnTo>
                    <a:pt x="3294" y="1716"/>
                  </a:lnTo>
                  <a:lnTo>
                    <a:pt x="3300" y="1710"/>
                  </a:lnTo>
                  <a:lnTo>
                    <a:pt x="3306" y="1710"/>
                  </a:lnTo>
                  <a:lnTo>
                    <a:pt x="3336" y="1716"/>
                  </a:lnTo>
                  <a:lnTo>
                    <a:pt x="3348" y="1734"/>
                  </a:lnTo>
                  <a:lnTo>
                    <a:pt x="3366" y="1728"/>
                  </a:lnTo>
                  <a:lnTo>
                    <a:pt x="3408" y="1740"/>
                  </a:lnTo>
                  <a:lnTo>
                    <a:pt x="3390" y="1716"/>
                  </a:lnTo>
                  <a:lnTo>
                    <a:pt x="3372" y="1710"/>
                  </a:lnTo>
                  <a:lnTo>
                    <a:pt x="3372" y="1692"/>
                  </a:lnTo>
                  <a:lnTo>
                    <a:pt x="3360" y="1680"/>
                  </a:lnTo>
                  <a:lnTo>
                    <a:pt x="3348" y="1674"/>
                  </a:lnTo>
                  <a:lnTo>
                    <a:pt x="3330" y="1674"/>
                  </a:lnTo>
                  <a:lnTo>
                    <a:pt x="3318" y="1662"/>
                  </a:lnTo>
                  <a:lnTo>
                    <a:pt x="3318" y="1650"/>
                  </a:lnTo>
                  <a:lnTo>
                    <a:pt x="3312" y="1644"/>
                  </a:lnTo>
                  <a:lnTo>
                    <a:pt x="3312" y="1632"/>
                  </a:lnTo>
                  <a:lnTo>
                    <a:pt x="3234" y="1530"/>
                  </a:lnTo>
                  <a:lnTo>
                    <a:pt x="3198" y="1524"/>
                  </a:lnTo>
                  <a:lnTo>
                    <a:pt x="3162" y="1494"/>
                  </a:lnTo>
                  <a:lnTo>
                    <a:pt x="3144" y="1500"/>
                  </a:lnTo>
                  <a:lnTo>
                    <a:pt x="3138" y="1488"/>
                  </a:lnTo>
                  <a:lnTo>
                    <a:pt x="3132" y="1482"/>
                  </a:lnTo>
                  <a:lnTo>
                    <a:pt x="3132" y="1470"/>
                  </a:lnTo>
                  <a:lnTo>
                    <a:pt x="3126" y="1464"/>
                  </a:lnTo>
                  <a:lnTo>
                    <a:pt x="3138" y="1452"/>
                  </a:lnTo>
                  <a:lnTo>
                    <a:pt x="3150" y="1446"/>
                  </a:lnTo>
                  <a:lnTo>
                    <a:pt x="3156" y="1434"/>
                  </a:lnTo>
                  <a:lnTo>
                    <a:pt x="3162" y="1428"/>
                  </a:lnTo>
                  <a:lnTo>
                    <a:pt x="3168" y="1416"/>
                  </a:lnTo>
                  <a:lnTo>
                    <a:pt x="3168" y="1410"/>
                  </a:lnTo>
                  <a:lnTo>
                    <a:pt x="3162" y="1398"/>
                  </a:lnTo>
                  <a:lnTo>
                    <a:pt x="3162" y="1392"/>
                  </a:lnTo>
                  <a:lnTo>
                    <a:pt x="3156" y="1380"/>
                  </a:lnTo>
                  <a:lnTo>
                    <a:pt x="3168" y="1386"/>
                  </a:lnTo>
                  <a:lnTo>
                    <a:pt x="3174" y="1392"/>
                  </a:lnTo>
                  <a:lnTo>
                    <a:pt x="3186" y="1398"/>
                  </a:lnTo>
                  <a:lnTo>
                    <a:pt x="3198" y="1386"/>
                  </a:lnTo>
                  <a:lnTo>
                    <a:pt x="3198" y="1368"/>
                  </a:lnTo>
                  <a:lnTo>
                    <a:pt x="3192" y="1356"/>
                  </a:lnTo>
                  <a:lnTo>
                    <a:pt x="3192" y="1344"/>
                  </a:lnTo>
                  <a:lnTo>
                    <a:pt x="3216" y="1344"/>
                  </a:lnTo>
                  <a:lnTo>
                    <a:pt x="3252" y="1320"/>
                  </a:lnTo>
                  <a:lnTo>
                    <a:pt x="3264" y="1320"/>
                  </a:lnTo>
                  <a:lnTo>
                    <a:pt x="3270" y="1326"/>
                  </a:lnTo>
                  <a:lnTo>
                    <a:pt x="3294" y="1326"/>
                  </a:lnTo>
                  <a:lnTo>
                    <a:pt x="3294" y="1320"/>
                  </a:lnTo>
                  <a:lnTo>
                    <a:pt x="3288" y="1314"/>
                  </a:lnTo>
                  <a:lnTo>
                    <a:pt x="3288" y="1308"/>
                  </a:lnTo>
                  <a:lnTo>
                    <a:pt x="3282" y="1302"/>
                  </a:lnTo>
                  <a:lnTo>
                    <a:pt x="3288" y="1278"/>
                  </a:lnTo>
                  <a:lnTo>
                    <a:pt x="3258" y="1278"/>
                  </a:lnTo>
                  <a:lnTo>
                    <a:pt x="3246" y="1266"/>
                  </a:lnTo>
                  <a:lnTo>
                    <a:pt x="3240" y="1278"/>
                  </a:lnTo>
                  <a:lnTo>
                    <a:pt x="3204" y="1278"/>
                  </a:lnTo>
                  <a:lnTo>
                    <a:pt x="3198" y="1272"/>
                  </a:lnTo>
                  <a:lnTo>
                    <a:pt x="3192" y="1260"/>
                  </a:lnTo>
                  <a:lnTo>
                    <a:pt x="3180" y="1254"/>
                  </a:lnTo>
                  <a:lnTo>
                    <a:pt x="3174" y="1248"/>
                  </a:lnTo>
                  <a:lnTo>
                    <a:pt x="3150" y="1248"/>
                  </a:lnTo>
                  <a:lnTo>
                    <a:pt x="3144" y="1260"/>
                  </a:lnTo>
                  <a:lnTo>
                    <a:pt x="3132" y="1266"/>
                  </a:lnTo>
                  <a:lnTo>
                    <a:pt x="3114" y="1284"/>
                  </a:lnTo>
                  <a:lnTo>
                    <a:pt x="3114" y="1296"/>
                  </a:lnTo>
                  <a:lnTo>
                    <a:pt x="3108" y="1302"/>
                  </a:lnTo>
                  <a:lnTo>
                    <a:pt x="3108" y="1308"/>
                  </a:lnTo>
                  <a:lnTo>
                    <a:pt x="3078" y="1308"/>
                  </a:lnTo>
                  <a:lnTo>
                    <a:pt x="3054" y="1296"/>
                  </a:lnTo>
                  <a:lnTo>
                    <a:pt x="3048" y="1290"/>
                  </a:lnTo>
                  <a:lnTo>
                    <a:pt x="3042" y="1278"/>
                  </a:lnTo>
                  <a:lnTo>
                    <a:pt x="3030" y="1242"/>
                  </a:lnTo>
                  <a:lnTo>
                    <a:pt x="3024" y="1230"/>
                  </a:lnTo>
                  <a:lnTo>
                    <a:pt x="3018" y="1224"/>
                  </a:lnTo>
                  <a:lnTo>
                    <a:pt x="3006" y="1224"/>
                  </a:lnTo>
                  <a:lnTo>
                    <a:pt x="3000" y="1230"/>
                  </a:lnTo>
                  <a:lnTo>
                    <a:pt x="3000" y="1242"/>
                  </a:lnTo>
                  <a:lnTo>
                    <a:pt x="2988" y="1224"/>
                  </a:lnTo>
                  <a:lnTo>
                    <a:pt x="2952" y="1224"/>
                  </a:lnTo>
                  <a:lnTo>
                    <a:pt x="2940" y="1218"/>
                  </a:lnTo>
                  <a:lnTo>
                    <a:pt x="2934" y="1212"/>
                  </a:lnTo>
                  <a:lnTo>
                    <a:pt x="2928" y="1200"/>
                  </a:lnTo>
                  <a:lnTo>
                    <a:pt x="2916" y="1194"/>
                  </a:lnTo>
                  <a:lnTo>
                    <a:pt x="2910" y="1182"/>
                  </a:lnTo>
                  <a:lnTo>
                    <a:pt x="2910" y="1140"/>
                  </a:lnTo>
                  <a:lnTo>
                    <a:pt x="2928" y="1140"/>
                  </a:lnTo>
                  <a:lnTo>
                    <a:pt x="2940" y="1152"/>
                  </a:lnTo>
                  <a:lnTo>
                    <a:pt x="2946" y="1152"/>
                  </a:lnTo>
                  <a:lnTo>
                    <a:pt x="2952" y="1146"/>
                  </a:lnTo>
                  <a:lnTo>
                    <a:pt x="2952" y="1140"/>
                  </a:lnTo>
                  <a:lnTo>
                    <a:pt x="2958" y="1134"/>
                  </a:lnTo>
                  <a:lnTo>
                    <a:pt x="2964" y="1134"/>
                  </a:lnTo>
                  <a:lnTo>
                    <a:pt x="2970" y="1140"/>
                  </a:lnTo>
                  <a:lnTo>
                    <a:pt x="2982" y="1140"/>
                  </a:lnTo>
                  <a:lnTo>
                    <a:pt x="2994" y="1134"/>
                  </a:lnTo>
                  <a:lnTo>
                    <a:pt x="3000" y="1128"/>
                  </a:lnTo>
                  <a:lnTo>
                    <a:pt x="3000" y="1116"/>
                  </a:lnTo>
                  <a:lnTo>
                    <a:pt x="2994" y="1110"/>
                  </a:lnTo>
                  <a:lnTo>
                    <a:pt x="2994" y="1086"/>
                  </a:lnTo>
                  <a:lnTo>
                    <a:pt x="3000" y="1074"/>
                  </a:lnTo>
                  <a:lnTo>
                    <a:pt x="3000" y="1068"/>
                  </a:lnTo>
                  <a:lnTo>
                    <a:pt x="3036" y="1068"/>
                  </a:lnTo>
                  <a:lnTo>
                    <a:pt x="3042" y="1062"/>
                  </a:lnTo>
                  <a:lnTo>
                    <a:pt x="3048" y="1050"/>
                  </a:lnTo>
                  <a:lnTo>
                    <a:pt x="3048" y="1038"/>
                  </a:lnTo>
                  <a:lnTo>
                    <a:pt x="3054" y="1032"/>
                  </a:lnTo>
                  <a:lnTo>
                    <a:pt x="3054" y="1026"/>
                  </a:lnTo>
                  <a:lnTo>
                    <a:pt x="3072" y="1014"/>
                  </a:lnTo>
                  <a:lnTo>
                    <a:pt x="3060" y="1002"/>
                  </a:lnTo>
                  <a:lnTo>
                    <a:pt x="3096" y="1014"/>
                  </a:lnTo>
                  <a:lnTo>
                    <a:pt x="3114" y="996"/>
                  </a:lnTo>
                  <a:lnTo>
                    <a:pt x="3126" y="1002"/>
                  </a:lnTo>
                  <a:lnTo>
                    <a:pt x="3132" y="1014"/>
                  </a:lnTo>
                  <a:lnTo>
                    <a:pt x="3144" y="1020"/>
                  </a:lnTo>
                  <a:lnTo>
                    <a:pt x="3156" y="1044"/>
                  </a:lnTo>
                  <a:lnTo>
                    <a:pt x="3156" y="1050"/>
                  </a:lnTo>
                  <a:lnTo>
                    <a:pt x="3144" y="1074"/>
                  </a:lnTo>
                  <a:lnTo>
                    <a:pt x="3126" y="1092"/>
                  </a:lnTo>
                  <a:lnTo>
                    <a:pt x="3126" y="1104"/>
                  </a:lnTo>
                  <a:lnTo>
                    <a:pt x="3132" y="1116"/>
                  </a:lnTo>
                  <a:lnTo>
                    <a:pt x="3144" y="1128"/>
                  </a:lnTo>
                  <a:lnTo>
                    <a:pt x="3150" y="1128"/>
                  </a:lnTo>
                  <a:lnTo>
                    <a:pt x="3162" y="1122"/>
                  </a:lnTo>
                  <a:lnTo>
                    <a:pt x="3168" y="1122"/>
                  </a:lnTo>
                  <a:lnTo>
                    <a:pt x="3162" y="1152"/>
                  </a:lnTo>
                  <a:lnTo>
                    <a:pt x="3144" y="1170"/>
                  </a:lnTo>
                  <a:lnTo>
                    <a:pt x="3144" y="1176"/>
                  </a:lnTo>
                  <a:lnTo>
                    <a:pt x="3150" y="1176"/>
                  </a:lnTo>
                  <a:lnTo>
                    <a:pt x="3162" y="1170"/>
                  </a:lnTo>
                  <a:lnTo>
                    <a:pt x="3168" y="1164"/>
                  </a:lnTo>
                  <a:lnTo>
                    <a:pt x="3180" y="1158"/>
                  </a:lnTo>
                  <a:lnTo>
                    <a:pt x="3186" y="1158"/>
                  </a:lnTo>
                  <a:lnTo>
                    <a:pt x="3198" y="1146"/>
                  </a:lnTo>
                  <a:lnTo>
                    <a:pt x="3198" y="1122"/>
                  </a:lnTo>
                  <a:lnTo>
                    <a:pt x="3204" y="1122"/>
                  </a:lnTo>
                  <a:lnTo>
                    <a:pt x="3210" y="1116"/>
                  </a:lnTo>
                  <a:lnTo>
                    <a:pt x="3258" y="1092"/>
                  </a:lnTo>
                  <a:lnTo>
                    <a:pt x="3264" y="1086"/>
                  </a:lnTo>
                  <a:lnTo>
                    <a:pt x="3306" y="1086"/>
                  </a:lnTo>
                  <a:lnTo>
                    <a:pt x="3312" y="1074"/>
                  </a:lnTo>
                  <a:lnTo>
                    <a:pt x="3312" y="1062"/>
                  </a:lnTo>
                  <a:lnTo>
                    <a:pt x="3318" y="1056"/>
                  </a:lnTo>
                  <a:lnTo>
                    <a:pt x="3324" y="1044"/>
                  </a:lnTo>
                  <a:lnTo>
                    <a:pt x="3360" y="1026"/>
                  </a:lnTo>
                  <a:lnTo>
                    <a:pt x="3372" y="1014"/>
                  </a:lnTo>
                  <a:lnTo>
                    <a:pt x="3390" y="978"/>
                  </a:lnTo>
                  <a:lnTo>
                    <a:pt x="3390" y="948"/>
                  </a:lnTo>
                  <a:lnTo>
                    <a:pt x="3396" y="942"/>
                  </a:lnTo>
                  <a:lnTo>
                    <a:pt x="3396" y="936"/>
                  </a:lnTo>
                  <a:lnTo>
                    <a:pt x="3408" y="936"/>
                  </a:lnTo>
                  <a:lnTo>
                    <a:pt x="3420" y="942"/>
                  </a:lnTo>
                  <a:lnTo>
                    <a:pt x="3432" y="954"/>
                  </a:lnTo>
                  <a:lnTo>
                    <a:pt x="3444" y="954"/>
                  </a:lnTo>
                  <a:lnTo>
                    <a:pt x="3456" y="960"/>
                  </a:lnTo>
                  <a:lnTo>
                    <a:pt x="3504" y="960"/>
                  </a:lnTo>
                  <a:lnTo>
                    <a:pt x="3504" y="948"/>
                  </a:lnTo>
                  <a:lnTo>
                    <a:pt x="3498" y="948"/>
                  </a:lnTo>
                  <a:lnTo>
                    <a:pt x="3474" y="924"/>
                  </a:lnTo>
                  <a:lnTo>
                    <a:pt x="3474" y="912"/>
                  </a:lnTo>
                  <a:lnTo>
                    <a:pt x="3480" y="906"/>
                  </a:lnTo>
                  <a:lnTo>
                    <a:pt x="3486" y="912"/>
                  </a:lnTo>
                  <a:lnTo>
                    <a:pt x="3510" y="912"/>
                  </a:lnTo>
                  <a:lnTo>
                    <a:pt x="3522" y="918"/>
                  </a:lnTo>
                  <a:lnTo>
                    <a:pt x="3534" y="912"/>
                  </a:lnTo>
                  <a:lnTo>
                    <a:pt x="3540" y="900"/>
                  </a:lnTo>
                  <a:lnTo>
                    <a:pt x="3540" y="894"/>
                  </a:lnTo>
                  <a:lnTo>
                    <a:pt x="3534" y="882"/>
                  </a:lnTo>
                  <a:lnTo>
                    <a:pt x="3558" y="882"/>
                  </a:lnTo>
                  <a:lnTo>
                    <a:pt x="3558" y="864"/>
                  </a:lnTo>
                  <a:lnTo>
                    <a:pt x="3552" y="852"/>
                  </a:lnTo>
                  <a:lnTo>
                    <a:pt x="3546" y="846"/>
                  </a:lnTo>
                  <a:lnTo>
                    <a:pt x="3546" y="840"/>
                  </a:lnTo>
                  <a:lnTo>
                    <a:pt x="3576" y="840"/>
                  </a:lnTo>
                  <a:lnTo>
                    <a:pt x="3594" y="864"/>
                  </a:lnTo>
                  <a:lnTo>
                    <a:pt x="3600" y="840"/>
                  </a:lnTo>
                  <a:lnTo>
                    <a:pt x="3630" y="846"/>
                  </a:lnTo>
                  <a:lnTo>
                    <a:pt x="3624" y="810"/>
                  </a:lnTo>
                  <a:lnTo>
                    <a:pt x="3618" y="798"/>
                  </a:lnTo>
                  <a:lnTo>
                    <a:pt x="3606" y="786"/>
                  </a:lnTo>
                  <a:lnTo>
                    <a:pt x="3606" y="774"/>
                  </a:lnTo>
                  <a:lnTo>
                    <a:pt x="3600" y="756"/>
                  </a:lnTo>
                  <a:lnTo>
                    <a:pt x="3588" y="744"/>
                  </a:lnTo>
                  <a:lnTo>
                    <a:pt x="3576" y="726"/>
                  </a:lnTo>
                  <a:lnTo>
                    <a:pt x="3564" y="720"/>
                  </a:lnTo>
                  <a:lnTo>
                    <a:pt x="3552" y="708"/>
                  </a:lnTo>
                  <a:lnTo>
                    <a:pt x="3546" y="708"/>
                  </a:lnTo>
                  <a:lnTo>
                    <a:pt x="3540" y="696"/>
                  </a:lnTo>
                  <a:lnTo>
                    <a:pt x="3540" y="684"/>
                  </a:lnTo>
                  <a:lnTo>
                    <a:pt x="3564" y="684"/>
                  </a:lnTo>
                  <a:lnTo>
                    <a:pt x="3564" y="672"/>
                  </a:lnTo>
                  <a:lnTo>
                    <a:pt x="3558" y="666"/>
                  </a:lnTo>
                  <a:lnTo>
                    <a:pt x="3564" y="660"/>
                  </a:lnTo>
                  <a:lnTo>
                    <a:pt x="3588" y="660"/>
                  </a:lnTo>
                  <a:lnTo>
                    <a:pt x="3600" y="666"/>
                  </a:lnTo>
                  <a:lnTo>
                    <a:pt x="3618" y="672"/>
                  </a:lnTo>
                  <a:lnTo>
                    <a:pt x="3630" y="672"/>
                  </a:lnTo>
                  <a:lnTo>
                    <a:pt x="3642" y="678"/>
                  </a:lnTo>
                  <a:lnTo>
                    <a:pt x="3648" y="678"/>
                  </a:lnTo>
                  <a:lnTo>
                    <a:pt x="3654" y="672"/>
                  </a:lnTo>
                  <a:lnTo>
                    <a:pt x="3654" y="660"/>
                  </a:lnTo>
                  <a:lnTo>
                    <a:pt x="3648" y="648"/>
                  </a:lnTo>
                  <a:lnTo>
                    <a:pt x="3648" y="630"/>
                  </a:lnTo>
                  <a:lnTo>
                    <a:pt x="3654" y="630"/>
                  </a:lnTo>
                  <a:lnTo>
                    <a:pt x="3660" y="624"/>
                  </a:lnTo>
                  <a:close/>
                </a:path>
              </a:pathLst>
            </a:custGeom>
            <a:solidFill>
              <a:srgbClr val="7030A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219" name="Chad" descr="© INSCALE GmbH, 05.05.2010&#10;http://www.presentationload.com/">
              <a:extLst>
                <a:ext uri="{FF2B5EF4-FFF2-40B4-BE49-F238E27FC236}">
                  <a16:creationId xmlns:a16="http://schemas.microsoft.com/office/drawing/2014/main" id="{76489BDC-D87F-0C22-240B-978E9F3ACC81}"/>
                </a:ext>
              </a:extLst>
            </p:cNvPr>
            <p:cNvSpPr>
              <a:spLocks/>
            </p:cNvSpPr>
            <p:nvPr/>
          </p:nvSpPr>
          <p:spPr bwMode="gray">
            <a:xfrm>
              <a:off x="4595608" y="2501007"/>
              <a:ext cx="281650" cy="489185"/>
            </a:xfrm>
            <a:custGeom>
              <a:avLst/>
              <a:gdLst>
                <a:gd name="T0" fmla="*/ 2147483647 w 744"/>
                <a:gd name="T1" fmla="*/ 2147483647 h 1290"/>
                <a:gd name="T2" fmla="*/ 2147483647 w 744"/>
                <a:gd name="T3" fmla="*/ 0 h 1290"/>
                <a:gd name="T4" fmla="*/ 2147483647 w 744"/>
                <a:gd name="T5" fmla="*/ 2147483647 h 1290"/>
                <a:gd name="T6" fmla="*/ 2147483647 w 744"/>
                <a:gd name="T7" fmla="*/ 2147483647 h 1290"/>
                <a:gd name="T8" fmla="*/ 2147483647 w 744"/>
                <a:gd name="T9" fmla="*/ 2147483647 h 1290"/>
                <a:gd name="T10" fmla="*/ 2147483647 w 744"/>
                <a:gd name="T11" fmla="*/ 2147483647 h 1290"/>
                <a:gd name="T12" fmla="*/ 2147483647 w 744"/>
                <a:gd name="T13" fmla="*/ 2147483647 h 1290"/>
                <a:gd name="T14" fmla="*/ 2147483647 w 744"/>
                <a:gd name="T15" fmla="*/ 2147483647 h 1290"/>
                <a:gd name="T16" fmla="*/ 2147483647 w 744"/>
                <a:gd name="T17" fmla="*/ 2147483647 h 1290"/>
                <a:gd name="T18" fmla="*/ 0 w 744"/>
                <a:gd name="T19" fmla="*/ 2147483647 h 1290"/>
                <a:gd name="T20" fmla="*/ 2147483647 w 744"/>
                <a:gd name="T21" fmla="*/ 2147483647 h 1290"/>
                <a:gd name="T22" fmla="*/ 2147483647 w 744"/>
                <a:gd name="T23" fmla="*/ 2147483647 h 1290"/>
                <a:gd name="T24" fmla="*/ 2147483647 w 744"/>
                <a:gd name="T25" fmla="*/ 2147483647 h 1290"/>
                <a:gd name="T26" fmla="*/ 2147483647 w 744"/>
                <a:gd name="T27" fmla="*/ 2147483647 h 1290"/>
                <a:gd name="T28" fmla="*/ 2147483647 w 744"/>
                <a:gd name="T29" fmla="*/ 2147483647 h 1290"/>
                <a:gd name="T30" fmla="*/ 2147483647 w 744"/>
                <a:gd name="T31" fmla="*/ 2147483647 h 1290"/>
                <a:gd name="T32" fmla="*/ 2147483647 w 744"/>
                <a:gd name="T33" fmla="*/ 2147483647 h 1290"/>
                <a:gd name="T34" fmla="*/ 2147483647 w 744"/>
                <a:gd name="T35" fmla="*/ 2147483647 h 1290"/>
                <a:gd name="T36" fmla="*/ 2147483647 w 744"/>
                <a:gd name="T37" fmla="*/ 2147483647 h 1290"/>
                <a:gd name="T38" fmla="*/ 2147483647 w 744"/>
                <a:gd name="T39" fmla="*/ 2147483647 h 1290"/>
                <a:gd name="T40" fmla="*/ 2147483647 w 744"/>
                <a:gd name="T41" fmla="*/ 2147483647 h 1290"/>
                <a:gd name="T42" fmla="*/ 2147483647 w 744"/>
                <a:gd name="T43" fmla="*/ 2147483647 h 1290"/>
                <a:gd name="T44" fmla="*/ 2147483647 w 744"/>
                <a:gd name="T45" fmla="*/ 2147483647 h 1290"/>
                <a:gd name="T46" fmla="*/ 2147483647 w 744"/>
                <a:gd name="T47" fmla="*/ 2147483647 h 1290"/>
                <a:gd name="T48" fmla="*/ 2147483647 w 744"/>
                <a:gd name="T49" fmla="*/ 2147483647 h 1290"/>
                <a:gd name="T50" fmla="*/ 2147483647 w 744"/>
                <a:gd name="T51" fmla="*/ 2147483647 h 1290"/>
                <a:gd name="T52" fmla="*/ 2147483647 w 744"/>
                <a:gd name="T53" fmla="*/ 2147483647 h 1290"/>
                <a:gd name="T54" fmla="*/ 2147483647 w 744"/>
                <a:gd name="T55" fmla="*/ 2147483647 h 1290"/>
                <a:gd name="T56" fmla="*/ 2147483647 w 744"/>
                <a:gd name="T57" fmla="*/ 2147483647 h 1290"/>
                <a:gd name="T58" fmla="*/ 2147483647 w 744"/>
                <a:gd name="T59" fmla="*/ 2147483647 h 1290"/>
                <a:gd name="T60" fmla="*/ 2147483647 w 744"/>
                <a:gd name="T61" fmla="*/ 2147483647 h 1290"/>
                <a:gd name="T62" fmla="*/ 2147483647 w 744"/>
                <a:gd name="T63" fmla="*/ 2147483647 h 1290"/>
                <a:gd name="T64" fmla="*/ 2147483647 w 744"/>
                <a:gd name="T65" fmla="*/ 2147483647 h 1290"/>
                <a:gd name="T66" fmla="*/ 2147483647 w 744"/>
                <a:gd name="T67" fmla="*/ 2147483647 h 1290"/>
                <a:gd name="T68" fmla="*/ 2147483647 w 744"/>
                <a:gd name="T69" fmla="*/ 2147483647 h 1290"/>
                <a:gd name="T70" fmla="*/ 2147483647 w 744"/>
                <a:gd name="T71" fmla="*/ 2147483647 h 1290"/>
                <a:gd name="T72" fmla="*/ 2147483647 w 744"/>
                <a:gd name="T73" fmla="*/ 2147483647 h 1290"/>
                <a:gd name="T74" fmla="*/ 2147483647 w 744"/>
                <a:gd name="T75" fmla="*/ 2147483647 h 1290"/>
                <a:gd name="T76" fmla="*/ 2147483647 w 744"/>
                <a:gd name="T77" fmla="*/ 2147483647 h 1290"/>
                <a:gd name="T78" fmla="*/ 2147483647 w 744"/>
                <a:gd name="T79" fmla="*/ 2147483647 h 1290"/>
                <a:gd name="T80" fmla="*/ 2147483647 w 744"/>
                <a:gd name="T81" fmla="*/ 2147483647 h 1290"/>
                <a:gd name="T82" fmla="*/ 2147483647 w 744"/>
                <a:gd name="T83" fmla="*/ 2147483647 h 1290"/>
                <a:gd name="T84" fmla="*/ 2147483647 w 744"/>
                <a:gd name="T85" fmla="*/ 2147483647 h 1290"/>
                <a:gd name="T86" fmla="*/ 2147483647 w 744"/>
                <a:gd name="T87" fmla="*/ 2147483647 h 1290"/>
                <a:gd name="T88" fmla="*/ 2147483647 w 744"/>
                <a:gd name="T89" fmla="*/ 2147483647 h 1290"/>
                <a:gd name="T90" fmla="*/ 2147483647 w 744"/>
                <a:gd name="T91" fmla="*/ 2147483647 h 1290"/>
                <a:gd name="T92" fmla="*/ 2147483647 w 744"/>
                <a:gd name="T93" fmla="*/ 2147483647 h 129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44"/>
                <a:gd name="T142" fmla="*/ 0 h 1290"/>
                <a:gd name="T143" fmla="*/ 744 w 744"/>
                <a:gd name="T144" fmla="*/ 1290 h 129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44" h="1290">
                  <a:moveTo>
                    <a:pt x="678" y="624"/>
                  </a:moveTo>
                  <a:lnTo>
                    <a:pt x="720" y="624"/>
                  </a:lnTo>
                  <a:lnTo>
                    <a:pt x="732" y="630"/>
                  </a:lnTo>
                  <a:lnTo>
                    <a:pt x="744" y="630"/>
                  </a:lnTo>
                  <a:lnTo>
                    <a:pt x="738" y="324"/>
                  </a:lnTo>
                  <a:lnTo>
                    <a:pt x="180" y="0"/>
                  </a:lnTo>
                  <a:lnTo>
                    <a:pt x="156" y="12"/>
                  </a:lnTo>
                  <a:lnTo>
                    <a:pt x="144" y="24"/>
                  </a:lnTo>
                  <a:lnTo>
                    <a:pt x="126" y="30"/>
                  </a:lnTo>
                  <a:lnTo>
                    <a:pt x="108" y="42"/>
                  </a:lnTo>
                  <a:lnTo>
                    <a:pt x="126" y="108"/>
                  </a:lnTo>
                  <a:lnTo>
                    <a:pt x="114" y="156"/>
                  </a:lnTo>
                  <a:lnTo>
                    <a:pt x="144" y="192"/>
                  </a:lnTo>
                  <a:lnTo>
                    <a:pt x="150" y="216"/>
                  </a:lnTo>
                  <a:lnTo>
                    <a:pt x="180" y="252"/>
                  </a:lnTo>
                  <a:lnTo>
                    <a:pt x="162" y="288"/>
                  </a:lnTo>
                  <a:lnTo>
                    <a:pt x="144" y="534"/>
                  </a:lnTo>
                  <a:lnTo>
                    <a:pt x="138" y="540"/>
                  </a:lnTo>
                  <a:lnTo>
                    <a:pt x="120" y="564"/>
                  </a:lnTo>
                  <a:lnTo>
                    <a:pt x="96" y="588"/>
                  </a:lnTo>
                  <a:lnTo>
                    <a:pt x="72" y="618"/>
                  </a:lnTo>
                  <a:lnTo>
                    <a:pt x="54" y="636"/>
                  </a:lnTo>
                  <a:lnTo>
                    <a:pt x="48" y="648"/>
                  </a:lnTo>
                  <a:lnTo>
                    <a:pt x="36" y="666"/>
                  </a:lnTo>
                  <a:lnTo>
                    <a:pt x="30" y="678"/>
                  </a:lnTo>
                  <a:lnTo>
                    <a:pt x="24" y="696"/>
                  </a:lnTo>
                  <a:lnTo>
                    <a:pt x="24" y="708"/>
                  </a:lnTo>
                  <a:lnTo>
                    <a:pt x="18" y="714"/>
                  </a:lnTo>
                  <a:lnTo>
                    <a:pt x="18" y="720"/>
                  </a:lnTo>
                  <a:lnTo>
                    <a:pt x="0" y="726"/>
                  </a:lnTo>
                  <a:lnTo>
                    <a:pt x="6" y="786"/>
                  </a:lnTo>
                  <a:lnTo>
                    <a:pt x="18" y="786"/>
                  </a:lnTo>
                  <a:lnTo>
                    <a:pt x="48" y="834"/>
                  </a:lnTo>
                  <a:lnTo>
                    <a:pt x="48" y="846"/>
                  </a:lnTo>
                  <a:lnTo>
                    <a:pt x="48" y="840"/>
                  </a:lnTo>
                  <a:lnTo>
                    <a:pt x="72" y="834"/>
                  </a:lnTo>
                  <a:lnTo>
                    <a:pt x="72" y="852"/>
                  </a:lnTo>
                  <a:lnTo>
                    <a:pt x="78" y="864"/>
                  </a:lnTo>
                  <a:lnTo>
                    <a:pt x="84" y="870"/>
                  </a:lnTo>
                  <a:lnTo>
                    <a:pt x="96" y="870"/>
                  </a:lnTo>
                  <a:lnTo>
                    <a:pt x="102" y="876"/>
                  </a:lnTo>
                  <a:lnTo>
                    <a:pt x="108" y="876"/>
                  </a:lnTo>
                  <a:lnTo>
                    <a:pt x="102" y="912"/>
                  </a:lnTo>
                  <a:lnTo>
                    <a:pt x="114" y="918"/>
                  </a:lnTo>
                  <a:lnTo>
                    <a:pt x="120" y="930"/>
                  </a:lnTo>
                  <a:lnTo>
                    <a:pt x="120" y="966"/>
                  </a:lnTo>
                  <a:lnTo>
                    <a:pt x="114" y="966"/>
                  </a:lnTo>
                  <a:lnTo>
                    <a:pt x="114" y="1002"/>
                  </a:lnTo>
                  <a:lnTo>
                    <a:pt x="120" y="1020"/>
                  </a:lnTo>
                  <a:lnTo>
                    <a:pt x="120" y="1038"/>
                  </a:lnTo>
                  <a:lnTo>
                    <a:pt x="126" y="1050"/>
                  </a:lnTo>
                  <a:lnTo>
                    <a:pt x="138" y="1056"/>
                  </a:lnTo>
                  <a:lnTo>
                    <a:pt x="144" y="1068"/>
                  </a:lnTo>
                  <a:lnTo>
                    <a:pt x="162" y="1086"/>
                  </a:lnTo>
                  <a:lnTo>
                    <a:pt x="66" y="1086"/>
                  </a:lnTo>
                  <a:lnTo>
                    <a:pt x="54" y="1092"/>
                  </a:lnTo>
                  <a:lnTo>
                    <a:pt x="48" y="1098"/>
                  </a:lnTo>
                  <a:lnTo>
                    <a:pt x="48" y="1110"/>
                  </a:lnTo>
                  <a:lnTo>
                    <a:pt x="60" y="1134"/>
                  </a:lnTo>
                  <a:lnTo>
                    <a:pt x="72" y="1146"/>
                  </a:lnTo>
                  <a:lnTo>
                    <a:pt x="78" y="1158"/>
                  </a:lnTo>
                  <a:lnTo>
                    <a:pt x="90" y="1170"/>
                  </a:lnTo>
                  <a:lnTo>
                    <a:pt x="108" y="1182"/>
                  </a:lnTo>
                  <a:lnTo>
                    <a:pt x="120" y="1188"/>
                  </a:lnTo>
                  <a:lnTo>
                    <a:pt x="132" y="1200"/>
                  </a:lnTo>
                  <a:lnTo>
                    <a:pt x="144" y="1224"/>
                  </a:lnTo>
                  <a:lnTo>
                    <a:pt x="144" y="1242"/>
                  </a:lnTo>
                  <a:lnTo>
                    <a:pt x="150" y="1254"/>
                  </a:lnTo>
                  <a:lnTo>
                    <a:pt x="156" y="1272"/>
                  </a:lnTo>
                  <a:lnTo>
                    <a:pt x="156" y="1284"/>
                  </a:lnTo>
                  <a:lnTo>
                    <a:pt x="162" y="1284"/>
                  </a:lnTo>
                  <a:lnTo>
                    <a:pt x="168" y="1290"/>
                  </a:lnTo>
                  <a:lnTo>
                    <a:pt x="186" y="1290"/>
                  </a:lnTo>
                  <a:lnTo>
                    <a:pt x="198" y="1284"/>
                  </a:lnTo>
                  <a:lnTo>
                    <a:pt x="216" y="1266"/>
                  </a:lnTo>
                  <a:lnTo>
                    <a:pt x="228" y="1260"/>
                  </a:lnTo>
                  <a:lnTo>
                    <a:pt x="234" y="1254"/>
                  </a:lnTo>
                  <a:lnTo>
                    <a:pt x="234" y="1278"/>
                  </a:lnTo>
                  <a:lnTo>
                    <a:pt x="240" y="1284"/>
                  </a:lnTo>
                  <a:lnTo>
                    <a:pt x="246" y="1284"/>
                  </a:lnTo>
                  <a:lnTo>
                    <a:pt x="258" y="1278"/>
                  </a:lnTo>
                  <a:lnTo>
                    <a:pt x="270" y="1266"/>
                  </a:lnTo>
                  <a:lnTo>
                    <a:pt x="276" y="1254"/>
                  </a:lnTo>
                  <a:lnTo>
                    <a:pt x="282" y="1248"/>
                  </a:lnTo>
                  <a:lnTo>
                    <a:pt x="372" y="1248"/>
                  </a:lnTo>
                  <a:lnTo>
                    <a:pt x="378" y="1242"/>
                  </a:lnTo>
                  <a:lnTo>
                    <a:pt x="384" y="1230"/>
                  </a:lnTo>
                  <a:lnTo>
                    <a:pt x="390" y="1224"/>
                  </a:lnTo>
                  <a:lnTo>
                    <a:pt x="396" y="1212"/>
                  </a:lnTo>
                  <a:lnTo>
                    <a:pt x="402" y="1206"/>
                  </a:lnTo>
                  <a:lnTo>
                    <a:pt x="402" y="1194"/>
                  </a:lnTo>
                  <a:lnTo>
                    <a:pt x="390" y="1182"/>
                  </a:lnTo>
                  <a:lnTo>
                    <a:pt x="384" y="1182"/>
                  </a:lnTo>
                  <a:lnTo>
                    <a:pt x="402" y="1170"/>
                  </a:lnTo>
                  <a:lnTo>
                    <a:pt x="420" y="1170"/>
                  </a:lnTo>
                  <a:lnTo>
                    <a:pt x="462" y="1164"/>
                  </a:lnTo>
                  <a:lnTo>
                    <a:pt x="510" y="1146"/>
                  </a:lnTo>
                  <a:lnTo>
                    <a:pt x="528" y="1134"/>
                  </a:lnTo>
                  <a:lnTo>
                    <a:pt x="552" y="1110"/>
                  </a:lnTo>
                  <a:lnTo>
                    <a:pt x="552" y="1092"/>
                  </a:lnTo>
                  <a:lnTo>
                    <a:pt x="588" y="1068"/>
                  </a:lnTo>
                  <a:lnTo>
                    <a:pt x="594" y="1038"/>
                  </a:lnTo>
                  <a:lnTo>
                    <a:pt x="648" y="1008"/>
                  </a:lnTo>
                  <a:lnTo>
                    <a:pt x="672" y="1008"/>
                  </a:lnTo>
                  <a:lnTo>
                    <a:pt x="672" y="996"/>
                  </a:lnTo>
                  <a:lnTo>
                    <a:pt x="684" y="996"/>
                  </a:lnTo>
                  <a:lnTo>
                    <a:pt x="684" y="990"/>
                  </a:lnTo>
                  <a:lnTo>
                    <a:pt x="678" y="984"/>
                  </a:lnTo>
                  <a:lnTo>
                    <a:pt x="666" y="966"/>
                  </a:lnTo>
                  <a:lnTo>
                    <a:pt x="654" y="960"/>
                  </a:lnTo>
                  <a:lnTo>
                    <a:pt x="648" y="960"/>
                  </a:lnTo>
                  <a:lnTo>
                    <a:pt x="642" y="936"/>
                  </a:lnTo>
                  <a:lnTo>
                    <a:pt x="660" y="930"/>
                  </a:lnTo>
                  <a:lnTo>
                    <a:pt x="642" y="918"/>
                  </a:lnTo>
                  <a:lnTo>
                    <a:pt x="642" y="876"/>
                  </a:lnTo>
                  <a:lnTo>
                    <a:pt x="636" y="870"/>
                  </a:lnTo>
                  <a:lnTo>
                    <a:pt x="624" y="870"/>
                  </a:lnTo>
                  <a:lnTo>
                    <a:pt x="618" y="876"/>
                  </a:lnTo>
                  <a:lnTo>
                    <a:pt x="606" y="876"/>
                  </a:lnTo>
                  <a:lnTo>
                    <a:pt x="600" y="870"/>
                  </a:lnTo>
                  <a:lnTo>
                    <a:pt x="600" y="852"/>
                  </a:lnTo>
                  <a:lnTo>
                    <a:pt x="606" y="840"/>
                  </a:lnTo>
                  <a:lnTo>
                    <a:pt x="618" y="834"/>
                  </a:lnTo>
                  <a:lnTo>
                    <a:pt x="630" y="822"/>
                  </a:lnTo>
                  <a:lnTo>
                    <a:pt x="630" y="810"/>
                  </a:lnTo>
                  <a:lnTo>
                    <a:pt x="618" y="786"/>
                  </a:lnTo>
                  <a:lnTo>
                    <a:pt x="612" y="780"/>
                  </a:lnTo>
                  <a:lnTo>
                    <a:pt x="630" y="762"/>
                  </a:lnTo>
                  <a:lnTo>
                    <a:pt x="648" y="750"/>
                  </a:lnTo>
                  <a:lnTo>
                    <a:pt x="642" y="732"/>
                  </a:lnTo>
                  <a:lnTo>
                    <a:pt x="636" y="708"/>
                  </a:lnTo>
                  <a:lnTo>
                    <a:pt x="648" y="708"/>
                  </a:lnTo>
                  <a:lnTo>
                    <a:pt x="648" y="690"/>
                  </a:lnTo>
                  <a:lnTo>
                    <a:pt x="660" y="678"/>
                  </a:lnTo>
                  <a:lnTo>
                    <a:pt x="672" y="672"/>
                  </a:lnTo>
                  <a:lnTo>
                    <a:pt x="678" y="666"/>
                  </a:lnTo>
                  <a:lnTo>
                    <a:pt x="678" y="660"/>
                  </a:lnTo>
                  <a:lnTo>
                    <a:pt x="672" y="654"/>
                  </a:lnTo>
                  <a:lnTo>
                    <a:pt x="672" y="642"/>
                  </a:lnTo>
                  <a:lnTo>
                    <a:pt x="666" y="636"/>
                  </a:lnTo>
                  <a:lnTo>
                    <a:pt x="678" y="624"/>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220" name="Central African Republic" descr="© INSCALE GmbH, 05.05.2010&#10;http://www.presentationload.com/">
              <a:extLst>
                <a:ext uri="{FF2B5EF4-FFF2-40B4-BE49-F238E27FC236}">
                  <a16:creationId xmlns:a16="http://schemas.microsoft.com/office/drawing/2014/main" id="{7E88182E-02A2-B4CF-70D5-E4BFB6F5B294}"/>
                </a:ext>
              </a:extLst>
            </p:cNvPr>
            <p:cNvSpPr>
              <a:spLocks/>
            </p:cNvSpPr>
            <p:nvPr/>
          </p:nvSpPr>
          <p:spPr bwMode="gray">
            <a:xfrm>
              <a:off x="4622291" y="2883461"/>
              <a:ext cx="346876" cy="265347"/>
            </a:xfrm>
            <a:custGeom>
              <a:avLst/>
              <a:gdLst>
                <a:gd name="T0" fmla="*/ 2147483647 w 912"/>
                <a:gd name="T1" fmla="*/ 2147483647 h 702"/>
                <a:gd name="T2" fmla="*/ 2147483647 w 912"/>
                <a:gd name="T3" fmla="*/ 2147483647 h 702"/>
                <a:gd name="T4" fmla="*/ 2147483647 w 912"/>
                <a:gd name="T5" fmla="*/ 2147483647 h 702"/>
                <a:gd name="T6" fmla="*/ 2147483647 w 912"/>
                <a:gd name="T7" fmla="*/ 2147483647 h 702"/>
                <a:gd name="T8" fmla="*/ 2147483647 w 912"/>
                <a:gd name="T9" fmla="*/ 2147483647 h 702"/>
                <a:gd name="T10" fmla="*/ 2147483647 w 912"/>
                <a:gd name="T11" fmla="*/ 2147483647 h 702"/>
                <a:gd name="T12" fmla="*/ 2147483647 w 912"/>
                <a:gd name="T13" fmla="*/ 2147483647 h 702"/>
                <a:gd name="T14" fmla="*/ 2147483647 w 912"/>
                <a:gd name="T15" fmla="*/ 2147483647 h 702"/>
                <a:gd name="T16" fmla="*/ 2147483647 w 912"/>
                <a:gd name="T17" fmla="*/ 2147483647 h 702"/>
                <a:gd name="T18" fmla="*/ 2147483647 w 912"/>
                <a:gd name="T19" fmla="*/ 2147483647 h 702"/>
                <a:gd name="T20" fmla="*/ 2147483647 w 912"/>
                <a:gd name="T21" fmla="*/ 2147483647 h 702"/>
                <a:gd name="T22" fmla="*/ 2147483647 w 912"/>
                <a:gd name="T23" fmla="*/ 2147483647 h 702"/>
                <a:gd name="T24" fmla="*/ 2147483647 w 912"/>
                <a:gd name="T25" fmla="*/ 2147483647 h 702"/>
                <a:gd name="T26" fmla="*/ 2147483647 w 912"/>
                <a:gd name="T27" fmla="*/ 2147483647 h 702"/>
                <a:gd name="T28" fmla="*/ 2147483647 w 912"/>
                <a:gd name="T29" fmla="*/ 2147483647 h 702"/>
                <a:gd name="T30" fmla="*/ 2147483647 w 912"/>
                <a:gd name="T31" fmla="*/ 0 h 702"/>
                <a:gd name="T32" fmla="*/ 2147483647 w 912"/>
                <a:gd name="T33" fmla="*/ 2147483647 h 702"/>
                <a:gd name="T34" fmla="*/ 2147483647 w 912"/>
                <a:gd name="T35" fmla="*/ 2147483647 h 702"/>
                <a:gd name="T36" fmla="*/ 2147483647 w 912"/>
                <a:gd name="T37" fmla="*/ 2147483647 h 702"/>
                <a:gd name="T38" fmla="*/ 2147483647 w 912"/>
                <a:gd name="T39" fmla="*/ 2147483647 h 702"/>
                <a:gd name="T40" fmla="*/ 2147483647 w 912"/>
                <a:gd name="T41" fmla="*/ 2147483647 h 702"/>
                <a:gd name="T42" fmla="*/ 2147483647 w 912"/>
                <a:gd name="T43" fmla="*/ 2147483647 h 702"/>
                <a:gd name="T44" fmla="*/ 2147483647 w 912"/>
                <a:gd name="T45" fmla="*/ 2147483647 h 702"/>
                <a:gd name="T46" fmla="*/ 2147483647 w 912"/>
                <a:gd name="T47" fmla="*/ 2147483647 h 702"/>
                <a:gd name="T48" fmla="*/ 2147483647 w 912"/>
                <a:gd name="T49" fmla="*/ 2147483647 h 702"/>
                <a:gd name="T50" fmla="*/ 2147483647 w 912"/>
                <a:gd name="T51" fmla="*/ 2147483647 h 702"/>
                <a:gd name="T52" fmla="*/ 2147483647 w 912"/>
                <a:gd name="T53" fmla="*/ 2147483647 h 702"/>
                <a:gd name="T54" fmla="*/ 2147483647 w 912"/>
                <a:gd name="T55" fmla="*/ 2147483647 h 702"/>
                <a:gd name="T56" fmla="*/ 2147483647 w 912"/>
                <a:gd name="T57" fmla="*/ 2147483647 h 702"/>
                <a:gd name="T58" fmla="*/ 2147483647 w 912"/>
                <a:gd name="T59" fmla="*/ 2147483647 h 702"/>
                <a:gd name="T60" fmla="*/ 0 w 912"/>
                <a:gd name="T61" fmla="*/ 2147483647 h 702"/>
                <a:gd name="T62" fmla="*/ 2147483647 w 912"/>
                <a:gd name="T63" fmla="*/ 2147483647 h 702"/>
                <a:gd name="T64" fmla="*/ 2147483647 w 912"/>
                <a:gd name="T65" fmla="*/ 2147483647 h 702"/>
                <a:gd name="T66" fmla="*/ 2147483647 w 912"/>
                <a:gd name="T67" fmla="*/ 2147483647 h 702"/>
                <a:gd name="T68" fmla="*/ 2147483647 w 912"/>
                <a:gd name="T69" fmla="*/ 2147483647 h 702"/>
                <a:gd name="T70" fmla="*/ 2147483647 w 912"/>
                <a:gd name="T71" fmla="*/ 2147483647 h 702"/>
                <a:gd name="T72" fmla="*/ 2147483647 w 912"/>
                <a:gd name="T73" fmla="*/ 2147483647 h 702"/>
                <a:gd name="T74" fmla="*/ 2147483647 w 912"/>
                <a:gd name="T75" fmla="*/ 2147483647 h 702"/>
                <a:gd name="T76" fmla="*/ 2147483647 w 912"/>
                <a:gd name="T77" fmla="*/ 2147483647 h 702"/>
                <a:gd name="T78" fmla="*/ 2147483647 w 912"/>
                <a:gd name="T79" fmla="*/ 2147483647 h 702"/>
                <a:gd name="T80" fmla="*/ 2147483647 w 912"/>
                <a:gd name="T81" fmla="*/ 2147483647 h 702"/>
                <a:gd name="T82" fmla="*/ 2147483647 w 912"/>
                <a:gd name="T83" fmla="*/ 2147483647 h 702"/>
                <a:gd name="T84" fmla="*/ 2147483647 w 912"/>
                <a:gd name="T85" fmla="*/ 2147483647 h 702"/>
                <a:gd name="T86" fmla="*/ 2147483647 w 912"/>
                <a:gd name="T87" fmla="*/ 2147483647 h 702"/>
                <a:gd name="T88" fmla="*/ 2147483647 w 912"/>
                <a:gd name="T89" fmla="*/ 2147483647 h 702"/>
                <a:gd name="T90" fmla="*/ 2147483647 w 912"/>
                <a:gd name="T91" fmla="*/ 2147483647 h 702"/>
                <a:gd name="T92" fmla="*/ 2147483647 w 912"/>
                <a:gd name="T93" fmla="*/ 2147483647 h 702"/>
                <a:gd name="T94" fmla="*/ 2147483647 w 912"/>
                <a:gd name="T95" fmla="*/ 2147483647 h 702"/>
                <a:gd name="T96" fmla="*/ 2147483647 w 912"/>
                <a:gd name="T97" fmla="*/ 2147483647 h 702"/>
                <a:gd name="T98" fmla="*/ 2147483647 w 912"/>
                <a:gd name="T99" fmla="*/ 2147483647 h 702"/>
                <a:gd name="T100" fmla="*/ 2147483647 w 912"/>
                <a:gd name="T101" fmla="*/ 2147483647 h 702"/>
                <a:gd name="T102" fmla="*/ 2147483647 w 912"/>
                <a:gd name="T103" fmla="*/ 2147483647 h 702"/>
                <a:gd name="T104" fmla="*/ 2147483647 w 912"/>
                <a:gd name="T105" fmla="*/ 2147483647 h 702"/>
                <a:gd name="T106" fmla="*/ 2147483647 w 912"/>
                <a:gd name="T107" fmla="*/ 2147483647 h 702"/>
                <a:gd name="T108" fmla="*/ 2147483647 w 912"/>
                <a:gd name="T109" fmla="*/ 2147483647 h 702"/>
                <a:gd name="T110" fmla="*/ 2147483647 w 912"/>
                <a:gd name="T111" fmla="*/ 2147483647 h 702"/>
                <a:gd name="T112" fmla="*/ 2147483647 w 912"/>
                <a:gd name="T113" fmla="*/ 2147483647 h 702"/>
                <a:gd name="T114" fmla="*/ 2147483647 w 912"/>
                <a:gd name="T115" fmla="*/ 2147483647 h 702"/>
                <a:gd name="T116" fmla="*/ 2147483647 w 912"/>
                <a:gd name="T117" fmla="*/ 2147483647 h 702"/>
                <a:gd name="T118" fmla="*/ 2147483647 w 912"/>
                <a:gd name="T119" fmla="*/ 2147483647 h 702"/>
                <a:gd name="T120" fmla="*/ 2147483647 w 912"/>
                <a:gd name="T121" fmla="*/ 2147483647 h 70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12"/>
                <a:gd name="T184" fmla="*/ 0 h 702"/>
                <a:gd name="T185" fmla="*/ 912 w 912"/>
                <a:gd name="T186" fmla="*/ 702 h 70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12" h="702">
                  <a:moveTo>
                    <a:pt x="906" y="420"/>
                  </a:moveTo>
                  <a:lnTo>
                    <a:pt x="900" y="414"/>
                  </a:lnTo>
                  <a:lnTo>
                    <a:pt x="888" y="408"/>
                  </a:lnTo>
                  <a:lnTo>
                    <a:pt x="882" y="402"/>
                  </a:lnTo>
                  <a:lnTo>
                    <a:pt x="858" y="396"/>
                  </a:lnTo>
                  <a:lnTo>
                    <a:pt x="858" y="378"/>
                  </a:lnTo>
                  <a:lnTo>
                    <a:pt x="846" y="366"/>
                  </a:lnTo>
                  <a:lnTo>
                    <a:pt x="846" y="360"/>
                  </a:lnTo>
                  <a:lnTo>
                    <a:pt x="858" y="360"/>
                  </a:lnTo>
                  <a:lnTo>
                    <a:pt x="858" y="348"/>
                  </a:lnTo>
                  <a:lnTo>
                    <a:pt x="852" y="342"/>
                  </a:lnTo>
                  <a:lnTo>
                    <a:pt x="834" y="342"/>
                  </a:lnTo>
                  <a:lnTo>
                    <a:pt x="834" y="336"/>
                  </a:lnTo>
                  <a:lnTo>
                    <a:pt x="828" y="330"/>
                  </a:lnTo>
                  <a:lnTo>
                    <a:pt x="822" y="318"/>
                  </a:lnTo>
                  <a:lnTo>
                    <a:pt x="810" y="306"/>
                  </a:lnTo>
                  <a:lnTo>
                    <a:pt x="798" y="300"/>
                  </a:lnTo>
                  <a:lnTo>
                    <a:pt x="792" y="300"/>
                  </a:lnTo>
                  <a:lnTo>
                    <a:pt x="780" y="294"/>
                  </a:lnTo>
                  <a:lnTo>
                    <a:pt x="768" y="282"/>
                  </a:lnTo>
                  <a:lnTo>
                    <a:pt x="768" y="276"/>
                  </a:lnTo>
                  <a:lnTo>
                    <a:pt x="774" y="276"/>
                  </a:lnTo>
                  <a:lnTo>
                    <a:pt x="774" y="270"/>
                  </a:lnTo>
                  <a:lnTo>
                    <a:pt x="780" y="270"/>
                  </a:lnTo>
                  <a:lnTo>
                    <a:pt x="780" y="264"/>
                  </a:lnTo>
                  <a:lnTo>
                    <a:pt x="768" y="252"/>
                  </a:lnTo>
                  <a:lnTo>
                    <a:pt x="756" y="246"/>
                  </a:lnTo>
                  <a:lnTo>
                    <a:pt x="750" y="246"/>
                  </a:lnTo>
                  <a:lnTo>
                    <a:pt x="750" y="228"/>
                  </a:lnTo>
                  <a:lnTo>
                    <a:pt x="720" y="228"/>
                  </a:lnTo>
                  <a:lnTo>
                    <a:pt x="696" y="216"/>
                  </a:lnTo>
                  <a:lnTo>
                    <a:pt x="696" y="186"/>
                  </a:lnTo>
                  <a:lnTo>
                    <a:pt x="648" y="180"/>
                  </a:lnTo>
                  <a:lnTo>
                    <a:pt x="654" y="162"/>
                  </a:lnTo>
                  <a:lnTo>
                    <a:pt x="648" y="162"/>
                  </a:lnTo>
                  <a:lnTo>
                    <a:pt x="642" y="156"/>
                  </a:lnTo>
                  <a:lnTo>
                    <a:pt x="642" y="150"/>
                  </a:lnTo>
                  <a:lnTo>
                    <a:pt x="648" y="144"/>
                  </a:lnTo>
                  <a:lnTo>
                    <a:pt x="654" y="132"/>
                  </a:lnTo>
                  <a:lnTo>
                    <a:pt x="660" y="126"/>
                  </a:lnTo>
                  <a:lnTo>
                    <a:pt x="660" y="96"/>
                  </a:lnTo>
                  <a:lnTo>
                    <a:pt x="654" y="84"/>
                  </a:lnTo>
                  <a:lnTo>
                    <a:pt x="648" y="66"/>
                  </a:lnTo>
                  <a:lnTo>
                    <a:pt x="636" y="54"/>
                  </a:lnTo>
                  <a:lnTo>
                    <a:pt x="630" y="42"/>
                  </a:lnTo>
                  <a:lnTo>
                    <a:pt x="600" y="12"/>
                  </a:lnTo>
                  <a:lnTo>
                    <a:pt x="600" y="0"/>
                  </a:lnTo>
                  <a:lnTo>
                    <a:pt x="576" y="0"/>
                  </a:lnTo>
                  <a:lnTo>
                    <a:pt x="522" y="30"/>
                  </a:lnTo>
                  <a:lnTo>
                    <a:pt x="516" y="60"/>
                  </a:lnTo>
                  <a:lnTo>
                    <a:pt x="480" y="84"/>
                  </a:lnTo>
                  <a:lnTo>
                    <a:pt x="480" y="102"/>
                  </a:lnTo>
                  <a:lnTo>
                    <a:pt x="456" y="126"/>
                  </a:lnTo>
                  <a:lnTo>
                    <a:pt x="438" y="138"/>
                  </a:lnTo>
                  <a:lnTo>
                    <a:pt x="390" y="156"/>
                  </a:lnTo>
                  <a:lnTo>
                    <a:pt x="348" y="162"/>
                  </a:lnTo>
                  <a:lnTo>
                    <a:pt x="330" y="162"/>
                  </a:lnTo>
                  <a:lnTo>
                    <a:pt x="312" y="174"/>
                  </a:lnTo>
                  <a:lnTo>
                    <a:pt x="318" y="174"/>
                  </a:lnTo>
                  <a:lnTo>
                    <a:pt x="330" y="186"/>
                  </a:lnTo>
                  <a:lnTo>
                    <a:pt x="330" y="198"/>
                  </a:lnTo>
                  <a:lnTo>
                    <a:pt x="324" y="204"/>
                  </a:lnTo>
                  <a:lnTo>
                    <a:pt x="318" y="216"/>
                  </a:lnTo>
                  <a:lnTo>
                    <a:pt x="312" y="222"/>
                  </a:lnTo>
                  <a:lnTo>
                    <a:pt x="306" y="234"/>
                  </a:lnTo>
                  <a:lnTo>
                    <a:pt x="300" y="240"/>
                  </a:lnTo>
                  <a:lnTo>
                    <a:pt x="210" y="240"/>
                  </a:lnTo>
                  <a:lnTo>
                    <a:pt x="204" y="246"/>
                  </a:lnTo>
                  <a:lnTo>
                    <a:pt x="198" y="258"/>
                  </a:lnTo>
                  <a:lnTo>
                    <a:pt x="186" y="270"/>
                  </a:lnTo>
                  <a:lnTo>
                    <a:pt x="174" y="276"/>
                  </a:lnTo>
                  <a:lnTo>
                    <a:pt x="168" y="276"/>
                  </a:lnTo>
                  <a:lnTo>
                    <a:pt x="162" y="270"/>
                  </a:lnTo>
                  <a:lnTo>
                    <a:pt x="162" y="246"/>
                  </a:lnTo>
                  <a:lnTo>
                    <a:pt x="156" y="252"/>
                  </a:lnTo>
                  <a:lnTo>
                    <a:pt x="144" y="258"/>
                  </a:lnTo>
                  <a:lnTo>
                    <a:pt x="126" y="276"/>
                  </a:lnTo>
                  <a:lnTo>
                    <a:pt x="114" y="282"/>
                  </a:lnTo>
                  <a:lnTo>
                    <a:pt x="96" y="282"/>
                  </a:lnTo>
                  <a:lnTo>
                    <a:pt x="90" y="276"/>
                  </a:lnTo>
                  <a:lnTo>
                    <a:pt x="78" y="276"/>
                  </a:lnTo>
                  <a:lnTo>
                    <a:pt x="66" y="288"/>
                  </a:lnTo>
                  <a:lnTo>
                    <a:pt x="60" y="300"/>
                  </a:lnTo>
                  <a:lnTo>
                    <a:pt x="54" y="306"/>
                  </a:lnTo>
                  <a:lnTo>
                    <a:pt x="54" y="324"/>
                  </a:lnTo>
                  <a:lnTo>
                    <a:pt x="48" y="336"/>
                  </a:lnTo>
                  <a:lnTo>
                    <a:pt x="42" y="336"/>
                  </a:lnTo>
                  <a:lnTo>
                    <a:pt x="36" y="372"/>
                  </a:lnTo>
                  <a:lnTo>
                    <a:pt x="30" y="372"/>
                  </a:lnTo>
                  <a:lnTo>
                    <a:pt x="24" y="378"/>
                  </a:lnTo>
                  <a:lnTo>
                    <a:pt x="12" y="384"/>
                  </a:lnTo>
                  <a:lnTo>
                    <a:pt x="0" y="396"/>
                  </a:lnTo>
                  <a:lnTo>
                    <a:pt x="0" y="402"/>
                  </a:lnTo>
                  <a:lnTo>
                    <a:pt x="12" y="408"/>
                  </a:lnTo>
                  <a:lnTo>
                    <a:pt x="18" y="408"/>
                  </a:lnTo>
                  <a:lnTo>
                    <a:pt x="18" y="444"/>
                  </a:lnTo>
                  <a:lnTo>
                    <a:pt x="6" y="456"/>
                  </a:lnTo>
                  <a:lnTo>
                    <a:pt x="24" y="468"/>
                  </a:lnTo>
                  <a:lnTo>
                    <a:pt x="24" y="516"/>
                  </a:lnTo>
                  <a:lnTo>
                    <a:pt x="30" y="516"/>
                  </a:lnTo>
                  <a:lnTo>
                    <a:pt x="48" y="534"/>
                  </a:lnTo>
                  <a:lnTo>
                    <a:pt x="54" y="534"/>
                  </a:lnTo>
                  <a:lnTo>
                    <a:pt x="54" y="576"/>
                  </a:lnTo>
                  <a:lnTo>
                    <a:pt x="60" y="582"/>
                  </a:lnTo>
                  <a:lnTo>
                    <a:pt x="72" y="606"/>
                  </a:lnTo>
                  <a:lnTo>
                    <a:pt x="84" y="618"/>
                  </a:lnTo>
                  <a:lnTo>
                    <a:pt x="96" y="624"/>
                  </a:lnTo>
                  <a:lnTo>
                    <a:pt x="102" y="636"/>
                  </a:lnTo>
                  <a:lnTo>
                    <a:pt x="114" y="642"/>
                  </a:lnTo>
                  <a:lnTo>
                    <a:pt x="120" y="660"/>
                  </a:lnTo>
                  <a:lnTo>
                    <a:pt x="120" y="690"/>
                  </a:lnTo>
                  <a:lnTo>
                    <a:pt x="132" y="702"/>
                  </a:lnTo>
                  <a:lnTo>
                    <a:pt x="138" y="696"/>
                  </a:lnTo>
                  <a:lnTo>
                    <a:pt x="144" y="684"/>
                  </a:lnTo>
                  <a:lnTo>
                    <a:pt x="150" y="678"/>
                  </a:lnTo>
                  <a:lnTo>
                    <a:pt x="156" y="666"/>
                  </a:lnTo>
                  <a:lnTo>
                    <a:pt x="156" y="642"/>
                  </a:lnTo>
                  <a:lnTo>
                    <a:pt x="144" y="630"/>
                  </a:lnTo>
                  <a:lnTo>
                    <a:pt x="162" y="600"/>
                  </a:lnTo>
                  <a:lnTo>
                    <a:pt x="192" y="600"/>
                  </a:lnTo>
                  <a:lnTo>
                    <a:pt x="210" y="582"/>
                  </a:lnTo>
                  <a:lnTo>
                    <a:pt x="228" y="582"/>
                  </a:lnTo>
                  <a:lnTo>
                    <a:pt x="264" y="600"/>
                  </a:lnTo>
                  <a:lnTo>
                    <a:pt x="276" y="600"/>
                  </a:lnTo>
                  <a:lnTo>
                    <a:pt x="288" y="588"/>
                  </a:lnTo>
                  <a:lnTo>
                    <a:pt x="300" y="570"/>
                  </a:lnTo>
                  <a:lnTo>
                    <a:pt x="300" y="552"/>
                  </a:lnTo>
                  <a:lnTo>
                    <a:pt x="294" y="552"/>
                  </a:lnTo>
                  <a:lnTo>
                    <a:pt x="294" y="540"/>
                  </a:lnTo>
                  <a:lnTo>
                    <a:pt x="306" y="528"/>
                  </a:lnTo>
                  <a:lnTo>
                    <a:pt x="312" y="528"/>
                  </a:lnTo>
                  <a:lnTo>
                    <a:pt x="324" y="516"/>
                  </a:lnTo>
                  <a:lnTo>
                    <a:pt x="330" y="504"/>
                  </a:lnTo>
                  <a:lnTo>
                    <a:pt x="330" y="498"/>
                  </a:lnTo>
                  <a:lnTo>
                    <a:pt x="336" y="486"/>
                  </a:lnTo>
                  <a:lnTo>
                    <a:pt x="336" y="480"/>
                  </a:lnTo>
                  <a:lnTo>
                    <a:pt x="342" y="474"/>
                  </a:lnTo>
                  <a:lnTo>
                    <a:pt x="354" y="468"/>
                  </a:lnTo>
                  <a:lnTo>
                    <a:pt x="366" y="468"/>
                  </a:lnTo>
                  <a:lnTo>
                    <a:pt x="384" y="474"/>
                  </a:lnTo>
                  <a:lnTo>
                    <a:pt x="396" y="474"/>
                  </a:lnTo>
                  <a:lnTo>
                    <a:pt x="408" y="480"/>
                  </a:lnTo>
                  <a:lnTo>
                    <a:pt x="408" y="492"/>
                  </a:lnTo>
                  <a:lnTo>
                    <a:pt x="426" y="492"/>
                  </a:lnTo>
                  <a:lnTo>
                    <a:pt x="432" y="498"/>
                  </a:lnTo>
                  <a:lnTo>
                    <a:pt x="432" y="528"/>
                  </a:lnTo>
                  <a:lnTo>
                    <a:pt x="474" y="528"/>
                  </a:lnTo>
                  <a:lnTo>
                    <a:pt x="480" y="534"/>
                  </a:lnTo>
                  <a:lnTo>
                    <a:pt x="492" y="540"/>
                  </a:lnTo>
                  <a:lnTo>
                    <a:pt x="540" y="540"/>
                  </a:lnTo>
                  <a:lnTo>
                    <a:pt x="552" y="546"/>
                  </a:lnTo>
                  <a:lnTo>
                    <a:pt x="558" y="552"/>
                  </a:lnTo>
                  <a:lnTo>
                    <a:pt x="570" y="558"/>
                  </a:lnTo>
                  <a:lnTo>
                    <a:pt x="576" y="552"/>
                  </a:lnTo>
                  <a:lnTo>
                    <a:pt x="582" y="540"/>
                  </a:lnTo>
                  <a:lnTo>
                    <a:pt x="588" y="534"/>
                  </a:lnTo>
                  <a:lnTo>
                    <a:pt x="588" y="522"/>
                  </a:lnTo>
                  <a:lnTo>
                    <a:pt x="606" y="504"/>
                  </a:lnTo>
                  <a:lnTo>
                    <a:pt x="612" y="492"/>
                  </a:lnTo>
                  <a:lnTo>
                    <a:pt x="636" y="516"/>
                  </a:lnTo>
                  <a:lnTo>
                    <a:pt x="642" y="516"/>
                  </a:lnTo>
                  <a:lnTo>
                    <a:pt x="648" y="510"/>
                  </a:lnTo>
                  <a:lnTo>
                    <a:pt x="660" y="504"/>
                  </a:lnTo>
                  <a:lnTo>
                    <a:pt x="672" y="492"/>
                  </a:lnTo>
                  <a:lnTo>
                    <a:pt x="690" y="492"/>
                  </a:lnTo>
                  <a:lnTo>
                    <a:pt x="714" y="474"/>
                  </a:lnTo>
                  <a:lnTo>
                    <a:pt x="726" y="486"/>
                  </a:lnTo>
                  <a:lnTo>
                    <a:pt x="750" y="486"/>
                  </a:lnTo>
                  <a:lnTo>
                    <a:pt x="756" y="480"/>
                  </a:lnTo>
                  <a:lnTo>
                    <a:pt x="768" y="480"/>
                  </a:lnTo>
                  <a:lnTo>
                    <a:pt x="768" y="468"/>
                  </a:lnTo>
                  <a:lnTo>
                    <a:pt x="786" y="450"/>
                  </a:lnTo>
                  <a:lnTo>
                    <a:pt x="792" y="450"/>
                  </a:lnTo>
                  <a:lnTo>
                    <a:pt x="792" y="456"/>
                  </a:lnTo>
                  <a:lnTo>
                    <a:pt x="804" y="468"/>
                  </a:lnTo>
                  <a:lnTo>
                    <a:pt x="840" y="462"/>
                  </a:lnTo>
                  <a:lnTo>
                    <a:pt x="840" y="468"/>
                  </a:lnTo>
                  <a:lnTo>
                    <a:pt x="852" y="480"/>
                  </a:lnTo>
                  <a:lnTo>
                    <a:pt x="876" y="480"/>
                  </a:lnTo>
                  <a:lnTo>
                    <a:pt x="894" y="474"/>
                  </a:lnTo>
                  <a:lnTo>
                    <a:pt x="912" y="456"/>
                  </a:lnTo>
                  <a:lnTo>
                    <a:pt x="912" y="432"/>
                  </a:lnTo>
                  <a:lnTo>
                    <a:pt x="906" y="420"/>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221" name="Canada" descr="© INSCALE GmbH, 05.05.2010&#10;http://www.presentationload.com/">
              <a:extLst>
                <a:ext uri="{FF2B5EF4-FFF2-40B4-BE49-F238E27FC236}">
                  <a16:creationId xmlns:a16="http://schemas.microsoft.com/office/drawing/2014/main" id="{20A65727-6D30-0680-9724-BCD6DF5B4F0B}"/>
                </a:ext>
              </a:extLst>
            </p:cNvPr>
            <p:cNvSpPr>
              <a:spLocks noEditPoints="1"/>
            </p:cNvSpPr>
            <p:nvPr/>
          </p:nvSpPr>
          <p:spPr bwMode="gray">
            <a:xfrm>
              <a:off x="1241000" y="843708"/>
              <a:ext cx="2112381" cy="1093995"/>
            </a:xfrm>
            <a:custGeom>
              <a:avLst/>
              <a:gdLst>
                <a:gd name="T0" fmla="*/ 2147483647 w 5574"/>
                <a:gd name="T1" fmla="*/ 2147483647 h 2886"/>
                <a:gd name="T2" fmla="*/ 2147483647 w 5574"/>
                <a:gd name="T3" fmla="*/ 2147483647 h 2886"/>
                <a:gd name="T4" fmla="*/ 2147483647 w 5574"/>
                <a:gd name="T5" fmla="*/ 2147483647 h 2886"/>
                <a:gd name="T6" fmla="*/ 2147483647 w 5574"/>
                <a:gd name="T7" fmla="*/ 2147483647 h 2886"/>
                <a:gd name="T8" fmla="*/ 2147483647 w 5574"/>
                <a:gd name="T9" fmla="*/ 2147483647 h 2886"/>
                <a:gd name="T10" fmla="*/ 2147483647 w 5574"/>
                <a:gd name="T11" fmla="*/ 2147483647 h 2886"/>
                <a:gd name="T12" fmla="*/ 2147483647 w 5574"/>
                <a:gd name="T13" fmla="*/ 2147483647 h 2886"/>
                <a:gd name="T14" fmla="*/ 2147483647 w 5574"/>
                <a:gd name="T15" fmla="*/ 2147483647 h 2886"/>
                <a:gd name="T16" fmla="*/ 2147483647 w 5574"/>
                <a:gd name="T17" fmla="*/ 2147483647 h 2886"/>
                <a:gd name="T18" fmla="*/ 2147483647 w 5574"/>
                <a:gd name="T19" fmla="*/ 2147483647 h 2886"/>
                <a:gd name="T20" fmla="*/ 2147483647 w 5574"/>
                <a:gd name="T21" fmla="*/ 2147483647 h 2886"/>
                <a:gd name="T22" fmla="*/ 2147483647 w 5574"/>
                <a:gd name="T23" fmla="*/ 2147483647 h 2886"/>
                <a:gd name="T24" fmla="*/ 2147483647 w 5574"/>
                <a:gd name="T25" fmla="*/ 2147483647 h 2886"/>
                <a:gd name="T26" fmla="*/ 2147483647 w 5574"/>
                <a:gd name="T27" fmla="*/ 2147483647 h 2886"/>
                <a:gd name="T28" fmla="*/ 2147483647 w 5574"/>
                <a:gd name="T29" fmla="*/ 2147483647 h 2886"/>
                <a:gd name="T30" fmla="*/ 2147483647 w 5574"/>
                <a:gd name="T31" fmla="*/ 2147483647 h 2886"/>
                <a:gd name="T32" fmla="*/ 2147483647 w 5574"/>
                <a:gd name="T33" fmla="*/ 2147483647 h 2886"/>
                <a:gd name="T34" fmla="*/ 2147483647 w 5574"/>
                <a:gd name="T35" fmla="*/ 2147483647 h 2886"/>
                <a:gd name="T36" fmla="*/ 2147483647 w 5574"/>
                <a:gd name="T37" fmla="*/ 2147483647 h 2886"/>
                <a:gd name="T38" fmla="*/ 2147483647 w 5574"/>
                <a:gd name="T39" fmla="*/ 2147483647 h 2886"/>
                <a:gd name="T40" fmla="*/ 2147483647 w 5574"/>
                <a:gd name="T41" fmla="*/ 2147483647 h 2886"/>
                <a:gd name="T42" fmla="*/ 2147483647 w 5574"/>
                <a:gd name="T43" fmla="*/ 2147483647 h 2886"/>
                <a:gd name="T44" fmla="*/ 2147483647 w 5574"/>
                <a:gd name="T45" fmla="*/ 2147483647 h 2886"/>
                <a:gd name="T46" fmla="*/ 2147483647 w 5574"/>
                <a:gd name="T47" fmla="*/ 2147483647 h 2886"/>
                <a:gd name="T48" fmla="*/ 2147483647 w 5574"/>
                <a:gd name="T49" fmla="*/ 2147483647 h 2886"/>
                <a:gd name="T50" fmla="*/ 2147483647 w 5574"/>
                <a:gd name="T51" fmla="*/ 2147483647 h 2886"/>
                <a:gd name="T52" fmla="*/ 2147483647 w 5574"/>
                <a:gd name="T53" fmla="*/ 2147483647 h 2886"/>
                <a:gd name="T54" fmla="*/ 2147483647 w 5574"/>
                <a:gd name="T55" fmla="*/ 2147483647 h 2886"/>
                <a:gd name="T56" fmla="*/ 2147483647 w 5574"/>
                <a:gd name="T57" fmla="*/ 2147483647 h 2886"/>
                <a:gd name="T58" fmla="*/ 2147483647 w 5574"/>
                <a:gd name="T59" fmla="*/ 2147483647 h 2886"/>
                <a:gd name="T60" fmla="*/ 2147483647 w 5574"/>
                <a:gd name="T61" fmla="*/ 2147483647 h 2886"/>
                <a:gd name="T62" fmla="*/ 2147483647 w 5574"/>
                <a:gd name="T63" fmla="*/ 2147483647 h 2886"/>
                <a:gd name="T64" fmla="*/ 2147483647 w 5574"/>
                <a:gd name="T65" fmla="*/ 2147483647 h 2886"/>
                <a:gd name="T66" fmla="*/ 2147483647 w 5574"/>
                <a:gd name="T67" fmla="*/ 2147483647 h 2886"/>
                <a:gd name="T68" fmla="*/ 2147483647 w 5574"/>
                <a:gd name="T69" fmla="*/ 2147483647 h 2886"/>
                <a:gd name="T70" fmla="*/ 2147483647 w 5574"/>
                <a:gd name="T71" fmla="*/ 2147483647 h 2886"/>
                <a:gd name="T72" fmla="*/ 2147483647 w 5574"/>
                <a:gd name="T73" fmla="*/ 2147483647 h 2886"/>
                <a:gd name="T74" fmla="*/ 2147483647 w 5574"/>
                <a:gd name="T75" fmla="*/ 2147483647 h 2886"/>
                <a:gd name="T76" fmla="*/ 2147483647 w 5574"/>
                <a:gd name="T77" fmla="*/ 2147483647 h 2886"/>
                <a:gd name="T78" fmla="*/ 2147483647 w 5574"/>
                <a:gd name="T79" fmla="*/ 2147483647 h 2886"/>
                <a:gd name="T80" fmla="*/ 2147483647 w 5574"/>
                <a:gd name="T81" fmla="*/ 2147483647 h 2886"/>
                <a:gd name="T82" fmla="*/ 2147483647 w 5574"/>
                <a:gd name="T83" fmla="*/ 2147483647 h 2886"/>
                <a:gd name="T84" fmla="*/ 2147483647 w 5574"/>
                <a:gd name="T85" fmla="*/ 2147483647 h 2886"/>
                <a:gd name="T86" fmla="*/ 2147483647 w 5574"/>
                <a:gd name="T87" fmla="*/ 2147483647 h 2886"/>
                <a:gd name="T88" fmla="*/ 2147483647 w 5574"/>
                <a:gd name="T89" fmla="*/ 2147483647 h 2886"/>
                <a:gd name="T90" fmla="*/ 2147483647 w 5574"/>
                <a:gd name="T91" fmla="*/ 2147483647 h 2886"/>
                <a:gd name="T92" fmla="*/ 2147483647 w 5574"/>
                <a:gd name="T93" fmla="*/ 2147483647 h 2886"/>
                <a:gd name="T94" fmla="*/ 2147483647 w 5574"/>
                <a:gd name="T95" fmla="*/ 2147483647 h 2886"/>
                <a:gd name="T96" fmla="*/ 2147483647 w 5574"/>
                <a:gd name="T97" fmla="*/ 2147483647 h 2886"/>
                <a:gd name="T98" fmla="*/ 2147483647 w 5574"/>
                <a:gd name="T99" fmla="*/ 2147483647 h 2886"/>
                <a:gd name="T100" fmla="*/ 2147483647 w 5574"/>
                <a:gd name="T101" fmla="*/ 2147483647 h 2886"/>
                <a:gd name="T102" fmla="*/ 2147483647 w 5574"/>
                <a:gd name="T103" fmla="*/ 2147483647 h 2886"/>
                <a:gd name="T104" fmla="*/ 2147483647 w 5574"/>
                <a:gd name="T105" fmla="*/ 2147483647 h 2886"/>
                <a:gd name="T106" fmla="*/ 2147483647 w 5574"/>
                <a:gd name="T107" fmla="*/ 2147483647 h 2886"/>
                <a:gd name="T108" fmla="*/ 2147483647 w 5574"/>
                <a:gd name="T109" fmla="*/ 2147483647 h 2886"/>
                <a:gd name="T110" fmla="*/ 2147483647 w 5574"/>
                <a:gd name="T111" fmla="*/ 2147483647 h 2886"/>
                <a:gd name="T112" fmla="*/ 2147483647 w 5574"/>
                <a:gd name="T113" fmla="*/ 2147483647 h 2886"/>
                <a:gd name="T114" fmla="*/ 2147483647 w 5574"/>
                <a:gd name="T115" fmla="*/ 2147483647 h 2886"/>
                <a:gd name="T116" fmla="*/ 2147483647 w 5574"/>
                <a:gd name="T117" fmla="*/ 2147483647 h 2886"/>
                <a:gd name="T118" fmla="*/ 2147483647 w 5574"/>
                <a:gd name="T119" fmla="*/ 2147483647 h 2886"/>
                <a:gd name="T120" fmla="*/ 2147483647 w 5574"/>
                <a:gd name="T121" fmla="*/ 2147483647 h 2886"/>
                <a:gd name="T122" fmla="*/ 2147483647 w 5574"/>
                <a:gd name="T123" fmla="*/ 2147483647 h 2886"/>
                <a:gd name="T124" fmla="*/ 2147483647 w 5574"/>
                <a:gd name="T125" fmla="*/ 2147483647 h 288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574"/>
                <a:gd name="T190" fmla="*/ 0 h 2886"/>
                <a:gd name="T191" fmla="*/ 5574 w 5574"/>
                <a:gd name="T192" fmla="*/ 2886 h 288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574" h="2886">
                  <a:moveTo>
                    <a:pt x="3114" y="252"/>
                  </a:moveTo>
                  <a:lnTo>
                    <a:pt x="3138" y="252"/>
                  </a:lnTo>
                  <a:lnTo>
                    <a:pt x="3150" y="258"/>
                  </a:lnTo>
                  <a:lnTo>
                    <a:pt x="3168" y="258"/>
                  </a:lnTo>
                  <a:lnTo>
                    <a:pt x="3174" y="252"/>
                  </a:lnTo>
                  <a:lnTo>
                    <a:pt x="3174" y="246"/>
                  </a:lnTo>
                  <a:lnTo>
                    <a:pt x="3168" y="234"/>
                  </a:lnTo>
                  <a:lnTo>
                    <a:pt x="3156" y="228"/>
                  </a:lnTo>
                  <a:lnTo>
                    <a:pt x="3108" y="228"/>
                  </a:lnTo>
                  <a:lnTo>
                    <a:pt x="3066" y="234"/>
                  </a:lnTo>
                  <a:lnTo>
                    <a:pt x="3036" y="246"/>
                  </a:lnTo>
                  <a:lnTo>
                    <a:pt x="3018" y="246"/>
                  </a:lnTo>
                  <a:lnTo>
                    <a:pt x="3060" y="246"/>
                  </a:lnTo>
                  <a:lnTo>
                    <a:pt x="3096" y="252"/>
                  </a:lnTo>
                  <a:lnTo>
                    <a:pt x="3114" y="252"/>
                  </a:lnTo>
                  <a:close/>
                  <a:moveTo>
                    <a:pt x="2988" y="318"/>
                  </a:moveTo>
                  <a:lnTo>
                    <a:pt x="3036" y="318"/>
                  </a:lnTo>
                  <a:lnTo>
                    <a:pt x="3048" y="312"/>
                  </a:lnTo>
                  <a:lnTo>
                    <a:pt x="3060" y="312"/>
                  </a:lnTo>
                  <a:lnTo>
                    <a:pt x="3072" y="300"/>
                  </a:lnTo>
                  <a:lnTo>
                    <a:pt x="3072" y="294"/>
                  </a:lnTo>
                  <a:lnTo>
                    <a:pt x="3066" y="282"/>
                  </a:lnTo>
                  <a:lnTo>
                    <a:pt x="3138" y="270"/>
                  </a:lnTo>
                  <a:lnTo>
                    <a:pt x="3120" y="264"/>
                  </a:lnTo>
                  <a:lnTo>
                    <a:pt x="3054" y="264"/>
                  </a:lnTo>
                  <a:lnTo>
                    <a:pt x="3042" y="276"/>
                  </a:lnTo>
                  <a:lnTo>
                    <a:pt x="3030" y="276"/>
                  </a:lnTo>
                  <a:lnTo>
                    <a:pt x="2994" y="270"/>
                  </a:lnTo>
                  <a:lnTo>
                    <a:pt x="2958" y="270"/>
                  </a:lnTo>
                  <a:lnTo>
                    <a:pt x="2940" y="282"/>
                  </a:lnTo>
                  <a:lnTo>
                    <a:pt x="2940" y="294"/>
                  </a:lnTo>
                  <a:lnTo>
                    <a:pt x="2946" y="300"/>
                  </a:lnTo>
                  <a:lnTo>
                    <a:pt x="2970" y="312"/>
                  </a:lnTo>
                  <a:lnTo>
                    <a:pt x="2976" y="318"/>
                  </a:lnTo>
                  <a:lnTo>
                    <a:pt x="2988" y="318"/>
                  </a:lnTo>
                  <a:close/>
                  <a:moveTo>
                    <a:pt x="2682" y="384"/>
                  </a:moveTo>
                  <a:lnTo>
                    <a:pt x="2628" y="408"/>
                  </a:lnTo>
                  <a:lnTo>
                    <a:pt x="2634" y="408"/>
                  </a:lnTo>
                  <a:lnTo>
                    <a:pt x="2646" y="414"/>
                  </a:lnTo>
                  <a:lnTo>
                    <a:pt x="2652" y="414"/>
                  </a:lnTo>
                  <a:lnTo>
                    <a:pt x="2658" y="420"/>
                  </a:lnTo>
                  <a:lnTo>
                    <a:pt x="2658" y="426"/>
                  </a:lnTo>
                  <a:lnTo>
                    <a:pt x="2622" y="426"/>
                  </a:lnTo>
                  <a:lnTo>
                    <a:pt x="2586" y="432"/>
                  </a:lnTo>
                  <a:lnTo>
                    <a:pt x="2556" y="438"/>
                  </a:lnTo>
                  <a:lnTo>
                    <a:pt x="2544" y="438"/>
                  </a:lnTo>
                  <a:lnTo>
                    <a:pt x="2520" y="456"/>
                  </a:lnTo>
                  <a:lnTo>
                    <a:pt x="2580" y="450"/>
                  </a:lnTo>
                  <a:lnTo>
                    <a:pt x="2586" y="450"/>
                  </a:lnTo>
                  <a:lnTo>
                    <a:pt x="2592" y="456"/>
                  </a:lnTo>
                  <a:lnTo>
                    <a:pt x="2610" y="456"/>
                  </a:lnTo>
                  <a:lnTo>
                    <a:pt x="2628" y="462"/>
                  </a:lnTo>
                  <a:lnTo>
                    <a:pt x="2658" y="462"/>
                  </a:lnTo>
                  <a:lnTo>
                    <a:pt x="2694" y="450"/>
                  </a:lnTo>
                  <a:lnTo>
                    <a:pt x="2730" y="444"/>
                  </a:lnTo>
                  <a:lnTo>
                    <a:pt x="2742" y="438"/>
                  </a:lnTo>
                  <a:lnTo>
                    <a:pt x="2742" y="450"/>
                  </a:lnTo>
                  <a:lnTo>
                    <a:pt x="2760" y="450"/>
                  </a:lnTo>
                  <a:lnTo>
                    <a:pt x="2796" y="444"/>
                  </a:lnTo>
                  <a:lnTo>
                    <a:pt x="2856" y="444"/>
                  </a:lnTo>
                  <a:lnTo>
                    <a:pt x="2850" y="444"/>
                  </a:lnTo>
                  <a:lnTo>
                    <a:pt x="2844" y="450"/>
                  </a:lnTo>
                  <a:lnTo>
                    <a:pt x="2832" y="450"/>
                  </a:lnTo>
                  <a:lnTo>
                    <a:pt x="2790" y="456"/>
                  </a:lnTo>
                  <a:lnTo>
                    <a:pt x="2730" y="468"/>
                  </a:lnTo>
                  <a:lnTo>
                    <a:pt x="2706" y="468"/>
                  </a:lnTo>
                  <a:lnTo>
                    <a:pt x="2688" y="474"/>
                  </a:lnTo>
                  <a:lnTo>
                    <a:pt x="2670" y="474"/>
                  </a:lnTo>
                  <a:lnTo>
                    <a:pt x="2652" y="480"/>
                  </a:lnTo>
                  <a:lnTo>
                    <a:pt x="2646" y="486"/>
                  </a:lnTo>
                  <a:lnTo>
                    <a:pt x="2640" y="486"/>
                  </a:lnTo>
                  <a:lnTo>
                    <a:pt x="2658" y="486"/>
                  </a:lnTo>
                  <a:lnTo>
                    <a:pt x="2694" y="492"/>
                  </a:lnTo>
                  <a:lnTo>
                    <a:pt x="2760" y="498"/>
                  </a:lnTo>
                  <a:lnTo>
                    <a:pt x="2808" y="492"/>
                  </a:lnTo>
                  <a:lnTo>
                    <a:pt x="2850" y="480"/>
                  </a:lnTo>
                  <a:lnTo>
                    <a:pt x="2874" y="474"/>
                  </a:lnTo>
                  <a:lnTo>
                    <a:pt x="2886" y="468"/>
                  </a:lnTo>
                  <a:lnTo>
                    <a:pt x="2958" y="450"/>
                  </a:lnTo>
                  <a:lnTo>
                    <a:pt x="3000" y="450"/>
                  </a:lnTo>
                  <a:lnTo>
                    <a:pt x="3054" y="444"/>
                  </a:lnTo>
                  <a:lnTo>
                    <a:pt x="3096" y="438"/>
                  </a:lnTo>
                  <a:lnTo>
                    <a:pt x="3120" y="432"/>
                  </a:lnTo>
                  <a:lnTo>
                    <a:pt x="3138" y="420"/>
                  </a:lnTo>
                  <a:lnTo>
                    <a:pt x="3156" y="414"/>
                  </a:lnTo>
                  <a:lnTo>
                    <a:pt x="3168" y="408"/>
                  </a:lnTo>
                  <a:lnTo>
                    <a:pt x="3168" y="396"/>
                  </a:lnTo>
                  <a:lnTo>
                    <a:pt x="3156" y="384"/>
                  </a:lnTo>
                  <a:lnTo>
                    <a:pt x="3144" y="378"/>
                  </a:lnTo>
                  <a:lnTo>
                    <a:pt x="3120" y="378"/>
                  </a:lnTo>
                  <a:lnTo>
                    <a:pt x="3114" y="384"/>
                  </a:lnTo>
                  <a:lnTo>
                    <a:pt x="3108" y="384"/>
                  </a:lnTo>
                  <a:lnTo>
                    <a:pt x="3108" y="396"/>
                  </a:lnTo>
                  <a:lnTo>
                    <a:pt x="3072" y="396"/>
                  </a:lnTo>
                  <a:lnTo>
                    <a:pt x="3078" y="390"/>
                  </a:lnTo>
                  <a:lnTo>
                    <a:pt x="3078" y="378"/>
                  </a:lnTo>
                  <a:lnTo>
                    <a:pt x="3102" y="354"/>
                  </a:lnTo>
                  <a:lnTo>
                    <a:pt x="3102" y="342"/>
                  </a:lnTo>
                  <a:lnTo>
                    <a:pt x="3096" y="342"/>
                  </a:lnTo>
                  <a:lnTo>
                    <a:pt x="3054" y="348"/>
                  </a:lnTo>
                  <a:lnTo>
                    <a:pt x="2988" y="372"/>
                  </a:lnTo>
                  <a:lnTo>
                    <a:pt x="2976" y="378"/>
                  </a:lnTo>
                  <a:lnTo>
                    <a:pt x="3024" y="378"/>
                  </a:lnTo>
                  <a:lnTo>
                    <a:pt x="3018" y="408"/>
                  </a:lnTo>
                  <a:lnTo>
                    <a:pt x="2898" y="420"/>
                  </a:lnTo>
                  <a:lnTo>
                    <a:pt x="2898" y="414"/>
                  </a:lnTo>
                  <a:lnTo>
                    <a:pt x="2892" y="408"/>
                  </a:lnTo>
                  <a:lnTo>
                    <a:pt x="2892" y="372"/>
                  </a:lnTo>
                  <a:lnTo>
                    <a:pt x="2886" y="366"/>
                  </a:lnTo>
                  <a:lnTo>
                    <a:pt x="2874" y="366"/>
                  </a:lnTo>
                  <a:lnTo>
                    <a:pt x="2856" y="360"/>
                  </a:lnTo>
                  <a:lnTo>
                    <a:pt x="2814" y="360"/>
                  </a:lnTo>
                  <a:lnTo>
                    <a:pt x="2682" y="384"/>
                  </a:lnTo>
                  <a:close/>
                  <a:moveTo>
                    <a:pt x="2832" y="342"/>
                  </a:moveTo>
                  <a:lnTo>
                    <a:pt x="2844" y="330"/>
                  </a:lnTo>
                  <a:lnTo>
                    <a:pt x="2844" y="318"/>
                  </a:lnTo>
                  <a:lnTo>
                    <a:pt x="2838" y="312"/>
                  </a:lnTo>
                  <a:lnTo>
                    <a:pt x="2814" y="312"/>
                  </a:lnTo>
                  <a:lnTo>
                    <a:pt x="2802" y="318"/>
                  </a:lnTo>
                  <a:lnTo>
                    <a:pt x="2796" y="324"/>
                  </a:lnTo>
                  <a:lnTo>
                    <a:pt x="2796" y="330"/>
                  </a:lnTo>
                  <a:lnTo>
                    <a:pt x="2802" y="336"/>
                  </a:lnTo>
                  <a:lnTo>
                    <a:pt x="2814" y="336"/>
                  </a:lnTo>
                  <a:lnTo>
                    <a:pt x="2820" y="342"/>
                  </a:lnTo>
                  <a:lnTo>
                    <a:pt x="2832" y="342"/>
                  </a:lnTo>
                  <a:close/>
                  <a:moveTo>
                    <a:pt x="3012" y="564"/>
                  </a:moveTo>
                  <a:lnTo>
                    <a:pt x="2988" y="540"/>
                  </a:lnTo>
                  <a:lnTo>
                    <a:pt x="2958" y="540"/>
                  </a:lnTo>
                  <a:lnTo>
                    <a:pt x="2952" y="534"/>
                  </a:lnTo>
                  <a:lnTo>
                    <a:pt x="2946" y="534"/>
                  </a:lnTo>
                  <a:lnTo>
                    <a:pt x="2934" y="528"/>
                  </a:lnTo>
                  <a:lnTo>
                    <a:pt x="2916" y="528"/>
                  </a:lnTo>
                  <a:lnTo>
                    <a:pt x="2898" y="534"/>
                  </a:lnTo>
                  <a:lnTo>
                    <a:pt x="2892" y="540"/>
                  </a:lnTo>
                  <a:lnTo>
                    <a:pt x="2892" y="552"/>
                  </a:lnTo>
                  <a:lnTo>
                    <a:pt x="2928" y="570"/>
                  </a:lnTo>
                  <a:lnTo>
                    <a:pt x="2934" y="576"/>
                  </a:lnTo>
                  <a:lnTo>
                    <a:pt x="2946" y="582"/>
                  </a:lnTo>
                  <a:lnTo>
                    <a:pt x="3012" y="564"/>
                  </a:lnTo>
                  <a:close/>
                  <a:moveTo>
                    <a:pt x="2460" y="414"/>
                  </a:moveTo>
                  <a:lnTo>
                    <a:pt x="2442" y="420"/>
                  </a:lnTo>
                  <a:lnTo>
                    <a:pt x="2430" y="426"/>
                  </a:lnTo>
                  <a:lnTo>
                    <a:pt x="2430" y="438"/>
                  </a:lnTo>
                  <a:lnTo>
                    <a:pt x="2442" y="438"/>
                  </a:lnTo>
                  <a:lnTo>
                    <a:pt x="2472" y="432"/>
                  </a:lnTo>
                  <a:lnTo>
                    <a:pt x="2490" y="426"/>
                  </a:lnTo>
                  <a:lnTo>
                    <a:pt x="2502" y="420"/>
                  </a:lnTo>
                  <a:lnTo>
                    <a:pt x="2502" y="414"/>
                  </a:lnTo>
                  <a:lnTo>
                    <a:pt x="2496" y="408"/>
                  </a:lnTo>
                  <a:lnTo>
                    <a:pt x="2484" y="408"/>
                  </a:lnTo>
                  <a:lnTo>
                    <a:pt x="2460" y="414"/>
                  </a:lnTo>
                  <a:close/>
                  <a:moveTo>
                    <a:pt x="2970" y="858"/>
                  </a:moveTo>
                  <a:lnTo>
                    <a:pt x="2988" y="858"/>
                  </a:lnTo>
                  <a:lnTo>
                    <a:pt x="3006" y="864"/>
                  </a:lnTo>
                  <a:lnTo>
                    <a:pt x="3018" y="870"/>
                  </a:lnTo>
                  <a:lnTo>
                    <a:pt x="3036" y="876"/>
                  </a:lnTo>
                  <a:lnTo>
                    <a:pt x="3060" y="882"/>
                  </a:lnTo>
                  <a:lnTo>
                    <a:pt x="3096" y="882"/>
                  </a:lnTo>
                  <a:lnTo>
                    <a:pt x="3126" y="876"/>
                  </a:lnTo>
                  <a:lnTo>
                    <a:pt x="3138" y="876"/>
                  </a:lnTo>
                  <a:lnTo>
                    <a:pt x="3120" y="810"/>
                  </a:lnTo>
                  <a:lnTo>
                    <a:pt x="3018" y="792"/>
                  </a:lnTo>
                  <a:lnTo>
                    <a:pt x="2988" y="828"/>
                  </a:lnTo>
                  <a:lnTo>
                    <a:pt x="2958" y="828"/>
                  </a:lnTo>
                  <a:lnTo>
                    <a:pt x="2952" y="834"/>
                  </a:lnTo>
                  <a:lnTo>
                    <a:pt x="2952" y="846"/>
                  </a:lnTo>
                  <a:lnTo>
                    <a:pt x="2958" y="852"/>
                  </a:lnTo>
                  <a:lnTo>
                    <a:pt x="2970" y="858"/>
                  </a:lnTo>
                  <a:close/>
                  <a:moveTo>
                    <a:pt x="168" y="2034"/>
                  </a:moveTo>
                  <a:lnTo>
                    <a:pt x="168" y="2040"/>
                  </a:lnTo>
                  <a:lnTo>
                    <a:pt x="174" y="2046"/>
                  </a:lnTo>
                  <a:lnTo>
                    <a:pt x="192" y="2046"/>
                  </a:lnTo>
                  <a:lnTo>
                    <a:pt x="186" y="2070"/>
                  </a:lnTo>
                  <a:lnTo>
                    <a:pt x="216" y="2052"/>
                  </a:lnTo>
                  <a:lnTo>
                    <a:pt x="216" y="2028"/>
                  </a:lnTo>
                  <a:lnTo>
                    <a:pt x="174" y="2028"/>
                  </a:lnTo>
                  <a:lnTo>
                    <a:pt x="168" y="2034"/>
                  </a:lnTo>
                  <a:close/>
                  <a:moveTo>
                    <a:pt x="252" y="2298"/>
                  </a:moveTo>
                  <a:lnTo>
                    <a:pt x="252" y="2292"/>
                  </a:lnTo>
                  <a:lnTo>
                    <a:pt x="246" y="2286"/>
                  </a:lnTo>
                  <a:lnTo>
                    <a:pt x="246" y="2268"/>
                  </a:lnTo>
                  <a:lnTo>
                    <a:pt x="252" y="2256"/>
                  </a:lnTo>
                  <a:lnTo>
                    <a:pt x="252" y="2238"/>
                  </a:lnTo>
                  <a:lnTo>
                    <a:pt x="246" y="2226"/>
                  </a:lnTo>
                  <a:lnTo>
                    <a:pt x="228" y="2226"/>
                  </a:lnTo>
                  <a:lnTo>
                    <a:pt x="216" y="2220"/>
                  </a:lnTo>
                  <a:lnTo>
                    <a:pt x="204" y="2220"/>
                  </a:lnTo>
                  <a:lnTo>
                    <a:pt x="192" y="2214"/>
                  </a:lnTo>
                  <a:lnTo>
                    <a:pt x="186" y="2208"/>
                  </a:lnTo>
                  <a:lnTo>
                    <a:pt x="174" y="2202"/>
                  </a:lnTo>
                  <a:lnTo>
                    <a:pt x="150" y="2178"/>
                  </a:lnTo>
                  <a:lnTo>
                    <a:pt x="138" y="2172"/>
                  </a:lnTo>
                  <a:lnTo>
                    <a:pt x="126" y="2172"/>
                  </a:lnTo>
                  <a:lnTo>
                    <a:pt x="102" y="2184"/>
                  </a:lnTo>
                  <a:lnTo>
                    <a:pt x="96" y="2196"/>
                  </a:lnTo>
                  <a:lnTo>
                    <a:pt x="96" y="2202"/>
                  </a:lnTo>
                  <a:lnTo>
                    <a:pt x="108" y="2208"/>
                  </a:lnTo>
                  <a:lnTo>
                    <a:pt x="114" y="2214"/>
                  </a:lnTo>
                  <a:lnTo>
                    <a:pt x="120" y="2214"/>
                  </a:lnTo>
                  <a:lnTo>
                    <a:pt x="132" y="2202"/>
                  </a:lnTo>
                  <a:lnTo>
                    <a:pt x="144" y="2208"/>
                  </a:lnTo>
                  <a:lnTo>
                    <a:pt x="132" y="2220"/>
                  </a:lnTo>
                  <a:lnTo>
                    <a:pt x="120" y="2220"/>
                  </a:lnTo>
                  <a:lnTo>
                    <a:pt x="114" y="2226"/>
                  </a:lnTo>
                  <a:lnTo>
                    <a:pt x="102" y="2232"/>
                  </a:lnTo>
                  <a:lnTo>
                    <a:pt x="102" y="2244"/>
                  </a:lnTo>
                  <a:lnTo>
                    <a:pt x="108" y="2250"/>
                  </a:lnTo>
                  <a:lnTo>
                    <a:pt x="126" y="2250"/>
                  </a:lnTo>
                  <a:lnTo>
                    <a:pt x="138" y="2244"/>
                  </a:lnTo>
                  <a:lnTo>
                    <a:pt x="132" y="2262"/>
                  </a:lnTo>
                  <a:lnTo>
                    <a:pt x="150" y="2262"/>
                  </a:lnTo>
                  <a:lnTo>
                    <a:pt x="132" y="2280"/>
                  </a:lnTo>
                  <a:lnTo>
                    <a:pt x="168" y="2274"/>
                  </a:lnTo>
                  <a:lnTo>
                    <a:pt x="156" y="2280"/>
                  </a:lnTo>
                  <a:lnTo>
                    <a:pt x="144" y="2292"/>
                  </a:lnTo>
                  <a:lnTo>
                    <a:pt x="138" y="2292"/>
                  </a:lnTo>
                  <a:lnTo>
                    <a:pt x="138" y="2298"/>
                  </a:lnTo>
                  <a:lnTo>
                    <a:pt x="150" y="2298"/>
                  </a:lnTo>
                  <a:lnTo>
                    <a:pt x="162" y="2286"/>
                  </a:lnTo>
                  <a:lnTo>
                    <a:pt x="168" y="2286"/>
                  </a:lnTo>
                  <a:lnTo>
                    <a:pt x="174" y="2292"/>
                  </a:lnTo>
                  <a:lnTo>
                    <a:pt x="174" y="2304"/>
                  </a:lnTo>
                  <a:lnTo>
                    <a:pt x="162" y="2316"/>
                  </a:lnTo>
                  <a:lnTo>
                    <a:pt x="162" y="2328"/>
                  </a:lnTo>
                  <a:lnTo>
                    <a:pt x="210" y="2328"/>
                  </a:lnTo>
                  <a:lnTo>
                    <a:pt x="228" y="2316"/>
                  </a:lnTo>
                  <a:lnTo>
                    <a:pt x="210" y="2340"/>
                  </a:lnTo>
                  <a:lnTo>
                    <a:pt x="192" y="2340"/>
                  </a:lnTo>
                  <a:lnTo>
                    <a:pt x="186" y="2346"/>
                  </a:lnTo>
                  <a:lnTo>
                    <a:pt x="186" y="2352"/>
                  </a:lnTo>
                  <a:lnTo>
                    <a:pt x="210" y="2364"/>
                  </a:lnTo>
                  <a:lnTo>
                    <a:pt x="216" y="2364"/>
                  </a:lnTo>
                  <a:lnTo>
                    <a:pt x="228" y="2370"/>
                  </a:lnTo>
                  <a:lnTo>
                    <a:pt x="234" y="2376"/>
                  </a:lnTo>
                  <a:lnTo>
                    <a:pt x="246" y="2376"/>
                  </a:lnTo>
                  <a:lnTo>
                    <a:pt x="258" y="2382"/>
                  </a:lnTo>
                  <a:lnTo>
                    <a:pt x="270" y="2376"/>
                  </a:lnTo>
                  <a:lnTo>
                    <a:pt x="288" y="2358"/>
                  </a:lnTo>
                  <a:lnTo>
                    <a:pt x="294" y="2346"/>
                  </a:lnTo>
                  <a:lnTo>
                    <a:pt x="294" y="2340"/>
                  </a:lnTo>
                  <a:lnTo>
                    <a:pt x="288" y="2334"/>
                  </a:lnTo>
                  <a:lnTo>
                    <a:pt x="282" y="2322"/>
                  </a:lnTo>
                  <a:lnTo>
                    <a:pt x="270" y="2316"/>
                  </a:lnTo>
                  <a:lnTo>
                    <a:pt x="264" y="2304"/>
                  </a:lnTo>
                  <a:lnTo>
                    <a:pt x="252" y="2298"/>
                  </a:lnTo>
                  <a:close/>
                  <a:moveTo>
                    <a:pt x="2304" y="372"/>
                  </a:moveTo>
                  <a:lnTo>
                    <a:pt x="2316" y="372"/>
                  </a:lnTo>
                  <a:lnTo>
                    <a:pt x="2328" y="366"/>
                  </a:lnTo>
                  <a:lnTo>
                    <a:pt x="2376" y="366"/>
                  </a:lnTo>
                  <a:lnTo>
                    <a:pt x="2388" y="378"/>
                  </a:lnTo>
                  <a:lnTo>
                    <a:pt x="2388" y="390"/>
                  </a:lnTo>
                  <a:lnTo>
                    <a:pt x="2424" y="390"/>
                  </a:lnTo>
                  <a:lnTo>
                    <a:pt x="2442" y="384"/>
                  </a:lnTo>
                  <a:lnTo>
                    <a:pt x="2454" y="384"/>
                  </a:lnTo>
                  <a:lnTo>
                    <a:pt x="2466" y="390"/>
                  </a:lnTo>
                  <a:lnTo>
                    <a:pt x="2472" y="396"/>
                  </a:lnTo>
                  <a:lnTo>
                    <a:pt x="2490" y="396"/>
                  </a:lnTo>
                  <a:lnTo>
                    <a:pt x="2514" y="384"/>
                  </a:lnTo>
                  <a:lnTo>
                    <a:pt x="2520" y="372"/>
                  </a:lnTo>
                  <a:lnTo>
                    <a:pt x="2520" y="354"/>
                  </a:lnTo>
                  <a:lnTo>
                    <a:pt x="2550" y="354"/>
                  </a:lnTo>
                  <a:lnTo>
                    <a:pt x="2616" y="336"/>
                  </a:lnTo>
                  <a:lnTo>
                    <a:pt x="2580" y="366"/>
                  </a:lnTo>
                  <a:lnTo>
                    <a:pt x="2634" y="378"/>
                  </a:lnTo>
                  <a:lnTo>
                    <a:pt x="2688" y="354"/>
                  </a:lnTo>
                  <a:lnTo>
                    <a:pt x="2784" y="312"/>
                  </a:lnTo>
                  <a:lnTo>
                    <a:pt x="2778" y="312"/>
                  </a:lnTo>
                  <a:lnTo>
                    <a:pt x="2772" y="306"/>
                  </a:lnTo>
                  <a:lnTo>
                    <a:pt x="2754" y="300"/>
                  </a:lnTo>
                  <a:lnTo>
                    <a:pt x="2736" y="300"/>
                  </a:lnTo>
                  <a:lnTo>
                    <a:pt x="2724" y="294"/>
                  </a:lnTo>
                  <a:lnTo>
                    <a:pt x="2706" y="288"/>
                  </a:lnTo>
                  <a:lnTo>
                    <a:pt x="2676" y="288"/>
                  </a:lnTo>
                  <a:lnTo>
                    <a:pt x="2646" y="282"/>
                  </a:lnTo>
                  <a:lnTo>
                    <a:pt x="2604" y="282"/>
                  </a:lnTo>
                  <a:lnTo>
                    <a:pt x="2526" y="294"/>
                  </a:lnTo>
                  <a:lnTo>
                    <a:pt x="2526" y="318"/>
                  </a:lnTo>
                  <a:lnTo>
                    <a:pt x="2406" y="324"/>
                  </a:lnTo>
                  <a:lnTo>
                    <a:pt x="2400" y="324"/>
                  </a:lnTo>
                  <a:lnTo>
                    <a:pt x="2394" y="318"/>
                  </a:lnTo>
                  <a:lnTo>
                    <a:pt x="2334" y="318"/>
                  </a:lnTo>
                  <a:lnTo>
                    <a:pt x="2322" y="324"/>
                  </a:lnTo>
                  <a:lnTo>
                    <a:pt x="2310" y="324"/>
                  </a:lnTo>
                  <a:lnTo>
                    <a:pt x="2304" y="330"/>
                  </a:lnTo>
                  <a:lnTo>
                    <a:pt x="2304" y="372"/>
                  </a:lnTo>
                  <a:close/>
                  <a:moveTo>
                    <a:pt x="150" y="1980"/>
                  </a:moveTo>
                  <a:lnTo>
                    <a:pt x="162" y="2004"/>
                  </a:lnTo>
                  <a:lnTo>
                    <a:pt x="174" y="2010"/>
                  </a:lnTo>
                  <a:lnTo>
                    <a:pt x="186" y="1980"/>
                  </a:lnTo>
                  <a:lnTo>
                    <a:pt x="180" y="1974"/>
                  </a:lnTo>
                  <a:lnTo>
                    <a:pt x="174" y="1974"/>
                  </a:lnTo>
                  <a:lnTo>
                    <a:pt x="162" y="1968"/>
                  </a:lnTo>
                  <a:lnTo>
                    <a:pt x="156" y="1968"/>
                  </a:lnTo>
                  <a:lnTo>
                    <a:pt x="150" y="1974"/>
                  </a:lnTo>
                  <a:lnTo>
                    <a:pt x="150" y="1980"/>
                  </a:lnTo>
                  <a:close/>
                  <a:moveTo>
                    <a:pt x="126" y="1932"/>
                  </a:moveTo>
                  <a:lnTo>
                    <a:pt x="120" y="1932"/>
                  </a:lnTo>
                  <a:lnTo>
                    <a:pt x="108" y="1938"/>
                  </a:lnTo>
                  <a:lnTo>
                    <a:pt x="96" y="1938"/>
                  </a:lnTo>
                  <a:lnTo>
                    <a:pt x="84" y="1944"/>
                  </a:lnTo>
                  <a:lnTo>
                    <a:pt x="78" y="1944"/>
                  </a:lnTo>
                  <a:lnTo>
                    <a:pt x="78" y="1950"/>
                  </a:lnTo>
                  <a:lnTo>
                    <a:pt x="72" y="1962"/>
                  </a:lnTo>
                  <a:lnTo>
                    <a:pt x="66" y="1968"/>
                  </a:lnTo>
                  <a:lnTo>
                    <a:pt x="48" y="1968"/>
                  </a:lnTo>
                  <a:lnTo>
                    <a:pt x="42" y="1962"/>
                  </a:lnTo>
                  <a:lnTo>
                    <a:pt x="48" y="1956"/>
                  </a:lnTo>
                  <a:lnTo>
                    <a:pt x="60" y="1956"/>
                  </a:lnTo>
                  <a:lnTo>
                    <a:pt x="66" y="1950"/>
                  </a:lnTo>
                  <a:lnTo>
                    <a:pt x="72" y="1950"/>
                  </a:lnTo>
                  <a:lnTo>
                    <a:pt x="78" y="1944"/>
                  </a:lnTo>
                  <a:lnTo>
                    <a:pt x="84" y="1944"/>
                  </a:lnTo>
                  <a:lnTo>
                    <a:pt x="78" y="1938"/>
                  </a:lnTo>
                  <a:lnTo>
                    <a:pt x="54" y="1938"/>
                  </a:lnTo>
                  <a:lnTo>
                    <a:pt x="48" y="1944"/>
                  </a:lnTo>
                  <a:lnTo>
                    <a:pt x="48" y="1932"/>
                  </a:lnTo>
                  <a:lnTo>
                    <a:pt x="36" y="1932"/>
                  </a:lnTo>
                  <a:lnTo>
                    <a:pt x="24" y="1944"/>
                  </a:lnTo>
                  <a:lnTo>
                    <a:pt x="6" y="1980"/>
                  </a:lnTo>
                  <a:lnTo>
                    <a:pt x="6" y="2004"/>
                  </a:lnTo>
                  <a:lnTo>
                    <a:pt x="12" y="2004"/>
                  </a:lnTo>
                  <a:lnTo>
                    <a:pt x="12" y="2010"/>
                  </a:lnTo>
                  <a:lnTo>
                    <a:pt x="18" y="2016"/>
                  </a:lnTo>
                  <a:lnTo>
                    <a:pt x="0" y="2022"/>
                  </a:lnTo>
                  <a:lnTo>
                    <a:pt x="12" y="2076"/>
                  </a:lnTo>
                  <a:lnTo>
                    <a:pt x="12" y="2082"/>
                  </a:lnTo>
                  <a:lnTo>
                    <a:pt x="6" y="2082"/>
                  </a:lnTo>
                  <a:lnTo>
                    <a:pt x="12" y="2088"/>
                  </a:lnTo>
                  <a:lnTo>
                    <a:pt x="12" y="2094"/>
                  </a:lnTo>
                  <a:lnTo>
                    <a:pt x="30" y="2094"/>
                  </a:lnTo>
                  <a:lnTo>
                    <a:pt x="30" y="2070"/>
                  </a:lnTo>
                  <a:lnTo>
                    <a:pt x="24" y="2058"/>
                  </a:lnTo>
                  <a:lnTo>
                    <a:pt x="24" y="2040"/>
                  </a:lnTo>
                  <a:lnTo>
                    <a:pt x="36" y="2028"/>
                  </a:lnTo>
                  <a:lnTo>
                    <a:pt x="42" y="2028"/>
                  </a:lnTo>
                  <a:lnTo>
                    <a:pt x="48" y="2016"/>
                  </a:lnTo>
                  <a:lnTo>
                    <a:pt x="54" y="2010"/>
                  </a:lnTo>
                  <a:lnTo>
                    <a:pt x="54" y="1986"/>
                  </a:lnTo>
                  <a:lnTo>
                    <a:pt x="84" y="1956"/>
                  </a:lnTo>
                  <a:lnTo>
                    <a:pt x="108" y="1944"/>
                  </a:lnTo>
                  <a:lnTo>
                    <a:pt x="114" y="1944"/>
                  </a:lnTo>
                  <a:lnTo>
                    <a:pt x="126" y="1938"/>
                  </a:lnTo>
                  <a:lnTo>
                    <a:pt x="126" y="1932"/>
                  </a:lnTo>
                  <a:close/>
                  <a:moveTo>
                    <a:pt x="1896" y="678"/>
                  </a:moveTo>
                  <a:lnTo>
                    <a:pt x="1896" y="690"/>
                  </a:lnTo>
                  <a:lnTo>
                    <a:pt x="1884" y="702"/>
                  </a:lnTo>
                  <a:lnTo>
                    <a:pt x="1884" y="714"/>
                  </a:lnTo>
                  <a:lnTo>
                    <a:pt x="1902" y="714"/>
                  </a:lnTo>
                  <a:lnTo>
                    <a:pt x="1926" y="708"/>
                  </a:lnTo>
                  <a:lnTo>
                    <a:pt x="1944" y="708"/>
                  </a:lnTo>
                  <a:lnTo>
                    <a:pt x="1980" y="696"/>
                  </a:lnTo>
                  <a:lnTo>
                    <a:pt x="1986" y="690"/>
                  </a:lnTo>
                  <a:lnTo>
                    <a:pt x="1992" y="690"/>
                  </a:lnTo>
                  <a:lnTo>
                    <a:pt x="2034" y="702"/>
                  </a:lnTo>
                  <a:lnTo>
                    <a:pt x="2112" y="642"/>
                  </a:lnTo>
                  <a:lnTo>
                    <a:pt x="2244" y="600"/>
                  </a:lnTo>
                  <a:lnTo>
                    <a:pt x="2370" y="564"/>
                  </a:lnTo>
                  <a:lnTo>
                    <a:pt x="2466" y="546"/>
                  </a:lnTo>
                  <a:lnTo>
                    <a:pt x="2454" y="540"/>
                  </a:lnTo>
                  <a:lnTo>
                    <a:pt x="2448" y="528"/>
                  </a:lnTo>
                  <a:lnTo>
                    <a:pt x="2436" y="522"/>
                  </a:lnTo>
                  <a:lnTo>
                    <a:pt x="2424" y="510"/>
                  </a:lnTo>
                  <a:lnTo>
                    <a:pt x="2412" y="504"/>
                  </a:lnTo>
                  <a:lnTo>
                    <a:pt x="2400" y="492"/>
                  </a:lnTo>
                  <a:lnTo>
                    <a:pt x="2352" y="492"/>
                  </a:lnTo>
                  <a:lnTo>
                    <a:pt x="2340" y="498"/>
                  </a:lnTo>
                  <a:lnTo>
                    <a:pt x="2328" y="498"/>
                  </a:lnTo>
                  <a:lnTo>
                    <a:pt x="2262" y="504"/>
                  </a:lnTo>
                  <a:lnTo>
                    <a:pt x="2226" y="480"/>
                  </a:lnTo>
                  <a:lnTo>
                    <a:pt x="2142" y="486"/>
                  </a:lnTo>
                  <a:lnTo>
                    <a:pt x="2094" y="504"/>
                  </a:lnTo>
                  <a:lnTo>
                    <a:pt x="2076" y="522"/>
                  </a:lnTo>
                  <a:lnTo>
                    <a:pt x="2064" y="552"/>
                  </a:lnTo>
                  <a:lnTo>
                    <a:pt x="2010" y="564"/>
                  </a:lnTo>
                  <a:lnTo>
                    <a:pt x="1944" y="588"/>
                  </a:lnTo>
                  <a:lnTo>
                    <a:pt x="1962" y="600"/>
                  </a:lnTo>
                  <a:lnTo>
                    <a:pt x="1842" y="654"/>
                  </a:lnTo>
                  <a:lnTo>
                    <a:pt x="1854" y="654"/>
                  </a:lnTo>
                  <a:lnTo>
                    <a:pt x="1890" y="672"/>
                  </a:lnTo>
                  <a:lnTo>
                    <a:pt x="1896" y="678"/>
                  </a:lnTo>
                  <a:close/>
                  <a:moveTo>
                    <a:pt x="198" y="1968"/>
                  </a:moveTo>
                  <a:lnTo>
                    <a:pt x="192" y="1992"/>
                  </a:lnTo>
                  <a:lnTo>
                    <a:pt x="192" y="2010"/>
                  </a:lnTo>
                  <a:lnTo>
                    <a:pt x="216" y="1998"/>
                  </a:lnTo>
                  <a:lnTo>
                    <a:pt x="198" y="1968"/>
                  </a:lnTo>
                  <a:close/>
                  <a:moveTo>
                    <a:pt x="4182" y="600"/>
                  </a:moveTo>
                  <a:lnTo>
                    <a:pt x="4194" y="606"/>
                  </a:lnTo>
                  <a:lnTo>
                    <a:pt x="4206" y="600"/>
                  </a:lnTo>
                  <a:lnTo>
                    <a:pt x="4218" y="600"/>
                  </a:lnTo>
                  <a:lnTo>
                    <a:pt x="4242" y="588"/>
                  </a:lnTo>
                  <a:lnTo>
                    <a:pt x="4308" y="588"/>
                  </a:lnTo>
                  <a:lnTo>
                    <a:pt x="4314" y="594"/>
                  </a:lnTo>
                  <a:lnTo>
                    <a:pt x="4350" y="594"/>
                  </a:lnTo>
                  <a:lnTo>
                    <a:pt x="4356" y="588"/>
                  </a:lnTo>
                  <a:lnTo>
                    <a:pt x="4356" y="582"/>
                  </a:lnTo>
                  <a:lnTo>
                    <a:pt x="4344" y="558"/>
                  </a:lnTo>
                  <a:lnTo>
                    <a:pt x="4338" y="552"/>
                  </a:lnTo>
                  <a:lnTo>
                    <a:pt x="4326" y="546"/>
                  </a:lnTo>
                  <a:lnTo>
                    <a:pt x="4230" y="546"/>
                  </a:lnTo>
                  <a:lnTo>
                    <a:pt x="4224" y="540"/>
                  </a:lnTo>
                  <a:lnTo>
                    <a:pt x="4212" y="540"/>
                  </a:lnTo>
                  <a:lnTo>
                    <a:pt x="4200" y="534"/>
                  </a:lnTo>
                  <a:lnTo>
                    <a:pt x="4188" y="534"/>
                  </a:lnTo>
                  <a:lnTo>
                    <a:pt x="4176" y="540"/>
                  </a:lnTo>
                  <a:lnTo>
                    <a:pt x="4158" y="558"/>
                  </a:lnTo>
                  <a:lnTo>
                    <a:pt x="4158" y="564"/>
                  </a:lnTo>
                  <a:lnTo>
                    <a:pt x="4176" y="576"/>
                  </a:lnTo>
                  <a:lnTo>
                    <a:pt x="4170" y="582"/>
                  </a:lnTo>
                  <a:lnTo>
                    <a:pt x="4170" y="594"/>
                  </a:lnTo>
                  <a:lnTo>
                    <a:pt x="4176" y="594"/>
                  </a:lnTo>
                  <a:lnTo>
                    <a:pt x="4182" y="600"/>
                  </a:lnTo>
                  <a:close/>
                  <a:moveTo>
                    <a:pt x="3708" y="516"/>
                  </a:moveTo>
                  <a:lnTo>
                    <a:pt x="3678" y="516"/>
                  </a:lnTo>
                  <a:lnTo>
                    <a:pt x="3624" y="510"/>
                  </a:lnTo>
                  <a:lnTo>
                    <a:pt x="3564" y="504"/>
                  </a:lnTo>
                  <a:lnTo>
                    <a:pt x="3468" y="504"/>
                  </a:lnTo>
                  <a:lnTo>
                    <a:pt x="3468" y="516"/>
                  </a:lnTo>
                  <a:lnTo>
                    <a:pt x="3462" y="522"/>
                  </a:lnTo>
                  <a:lnTo>
                    <a:pt x="3426" y="540"/>
                  </a:lnTo>
                  <a:lnTo>
                    <a:pt x="3396" y="546"/>
                  </a:lnTo>
                  <a:lnTo>
                    <a:pt x="3378" y="552"/>
                  </a:lnTo>
                  <a:lnTo>
                    <a:pt x="3372" y="552"/>
                  </a:lnTo>
                  <a:lnTo>
                    <a:pt x="3372" y="558"/>
                  </a:lnTo>
                  <a:lnTo>
                    <a:pt x="3384" y="570"/>
                  </a:lnTo>
                  <a:lnTo>
                    <a:pt x="3390" y="582"/>
                  </a:lnTo>
                  <a:lnTo>
                    <a:pt x="3390" y="594"/>
                  </a:lnTo>
                  <a:lnTo>
                    <a:pt x="3372" y="618"/>
                  </a:lnTo>
                  <a:lnTo>
                    <a:pt x="3402" y="636"/>
                  </a:lnTo>
                  <a:lnTo>
                    <a:pt x="3480" y="606"/>
                  </a:lnTo>
                  <a:lnTo>
                    <a:pt x="3474" y="600"/>
                  </a:lnTo>
                  <a:lnTo>
                    <a:pt x="3468" y="600"/>
                  </a:lnTo>
                  <a:lnTo>
                    <a:pt x="3468" y="594"/>
                  </a:lnTo>
                  <a:lnTo>
                    <a:pt x="3474" y="588"/>
                  </a:lnTo>
                  <a:lnTo>
                    <a:pt x="3486" y="582"/>
                  </a:lnTo>
                  <a:lnTo>
                    <a:pt x="3522" y="582"/>
                  </a:lnTo>
                  <a:lnTo>
                    <a:pt x="3546" y="594"/>
                  </a:lnTo>
                  <a:lnTo>
                    <a:pt x="3552" y="600"/>
                  </a:lnTo>
                  <a:lnTo>
                    <a:pt x="3606" y="594"/>
                  </a:lnTo>
                  <a:lnTo>
                    <a:pt x="3600" y="570"/>
                  </a:lnTo>
                  <a:lnTo>
                    <a:pt x="3630" y="570"/>
                  </a:lnTo>
                  <a:lnTo>
                    <a:pt x="3648" y="564"/>
                  </a:lnTo>
                  <a:lnTo>
                    <a:pt x="3666" y="564"/>
                  </a:lnTo>
                  <a:lnTo>
                    <a:pt x="3690" y="552"/>
                  </a:lnTo>
                  <a:lnTo>
                    <a:pt x="3696" y="546"/>
                  </a:lnTo>
                  <a:lnTo>
                    <a:pt x="3702" y="534"/>
                  </a:lnTo>
                  <a:lnTo>
                    <a:pt x="3714" y="522"/>
                  </a:lnTo>
                  <a:lnTo>
                    <a:pt x="3720" y="522"/>
                  </a:lnTo>
                  <a:lnTo>
                    <a:pt x="3714" y="516"/>
                  </a:lnTo>
                  <a:lnTo>
                    <a:pt x="3708" y="516"/>
                  </a:lnTo>
                  <a:close/>
                  <a:moveTo>
                    <a:pt x="3792" y="150"/>
                  </a:moveTo>
                  <a:lnTo>
                    <a:pt x="3738" y="156"/>
                  </a:lnTo>
                  <a:lnTo>
                    <a:pt x="3756" y="180"/>
                  </a:lnTo>
                  <a:lnTo>
                    <a:pt x="3792" y="150"/>
                  </a:lnTo>
                  <a:close/>
                  <a:moveTo>
                    <a:pt x="3612" y="480"/>
                  </a:moveTo>
                  <a:lnTo>
                    <a:pt x="3636" y="468"/>
                  </a:lnTo>
                  <a:lnTo>
                    <a:pt x="3642" y="456"/>
                  </a:lnTo>
                  <a:lnTo>
                    <a:pt x="3654" y="450"/>
                  </a:lnTo>
                  <a:lnTo>
                    <a:pt x="3660" y="438"/>
                  </a:lnTo>
                  <a:lnTo>
                    <a:pt x="3660" y="432"/>
                  </a:lnTo>
                  <a:lnTo>
                    <a:pt x="3654" y="426"/>
                  </a:lnTo>
                  <a:lnTo>
                    <a:pt x="3642" y="426"/>
                  </a:lnTo>
                  <a:lnTo>
                    <a:pt x="3630" y="420"/>
                  </a:lnTo>
                  <a:lnTo>
                    <a:pt x="3588" y="420"/>
                  </a:lnTo>
                  <a:lnTo>
                    <a:pt x="3570" y="426"/>
                  </a:lnTo>
                  <a:lnTo>
                    <a:pt x="3552" y="426"/>
                  </a:lnTo>
                  <a:lnTo>
                    <a:pt x="3534" y="438"/>
                  </a:lnTo>
                  <a:lnTo>
                    <a:pt x="3516" y="444"/>
                  </a:lnTo>
                  <a:lnTo>
                    <a:pt x="3504" y="450"/>
                  </a:lnTo>
                  <a:lnTo>
                    <a:pt x="3504" y="462"/>
                  </a:lnTo>
                  <a:lnTo>
                    <a:pt x="3528" y="468"/>
                  </a:lnTo>
                  <a:lnTo>
                    <a:pt x="3600" y="480"/>
                  </a:lnTo>
                  <a:lnTo>
                    <a:pt x="3612" y="480"/>
                  </a:lnTo>
                  <a:close/>
                  <a:moveTo>
                    <a:pt x="3954" y="180"/>
                  </a:moveTo>
                  <a:lnTo>
                    <a:pt x="3900" y="192"/>
                  </a:lnTo>
                  <a:lnTo>
                    <a:pt x="3936" y="210"/>
                  </a:lnTo>
                  <a:lnTo>
                    <a:pt x="3924" y="216"/>
                  </a:lnTo>
                  <a:lnTo>
                    <a:pt x="3918" y="222"/>
                  </a:lnTo>
                  <a:lnTo>
                    <a:pt x="3918" y="228"/>
                  </a:lnTo>
                  <a:lnTo>
                    <a:pt x="3924" y="234"/>
                  </a:lnTo>
                  <a:lnTo>
                    <a:pt x="3936" y="240"/>
                  </a:lnTo>
                  <a:lnTo>
                    <a:pt x="3966" y="240"/>
                  </a:lnTo>
                  <a:lnTo>
                    <a:pt x="3942" y="252"/>
                  </a:lnTo>
                  <a:lnTo>
                    <a:pt x="3954" y="252"/>
                  </a:lnTo>
                  <a:lnTo>
                    <a:pt x="4002" y="276"/>
                  </a:lnTo>
                  <a:lnTo>
                    <a:pt x="4014" y="276"/>
                  </a:lnTo>
                  <a:lnTo>
                    <a:pt x="4026" y="270"/>
                  </a:lnTo>
                  <a:lnTo>
                    <a:pt x="4032" y="264"/>
                  </a:lnTo>
                  <a:lnTo>
                    <a:pt x="4044" y="258"/>
                  </a:lnTo>
                  <a:lnTo>
                    <a:pt x="4050" y="252"/>
                  </a:lnTo>
                  <a:lnTo>
                    <a:pt x="4074" y="246"/>
                  </a:lnTo>
                  <a:lnTo>
                    <a:pt x="4086" y="258"/>
                  </a:lnTo>
                  <a:lnTo>
                    <a:pt x="4092" y="270"/>
                  </a:lnTo>
                  <a:lnTo>
                    <a:pt x="4098" y="276"/>
                  </a:lnTo>
                  <a:lnTo>
                    <a:pt x="4104" y="270"/>
                  </a:lnTo>
                  <a:lnTo>
                    <a:pt x="4116" y="270"/>
                  </a:lnTo>
                  <a:lnTo>
                    <a:pt x="4128" y="264"/>
                  </a:lnTo>
                  <a:lnTo>
                    <a:pt x="4134" y="258"/>
                  </a:lnTo>
                  <a:lnTo>
                    <a:pt x="4146" y="258"/>
                  </a:lnTo>
                  <a:lnTo>
                    <a:pt x="4152" y="252"/>
                  </a:lnTo>
                  <a:lnTo>
                    <a:pt x="4158" y="252"/>
                  </a:lnTo>
                  <a:lnTo>
                    <a:pt x="4170" y="246"/>
                  </a:lnTo>
                  <a:lnTo>
                    <a:pt x="4176" y="234"/>
                  </a:lnTo>
                  <a:lnTo>
                    <a:pt x="4182" y="228"/>
                  </a:lnTo>
                  <a:lnTo>
                    <a:pt x="4194" y="246"/>
                  </a:lnTo>
                  <a:lnTo>
                    <a:pt x="4218" y="222"/>
                  </a:lnTo>
                  <a:lnTo>
                    <a:pt x="4218" y="216"/>
                  </a:lnTo>
                  <a:lnTo>
                    <a:pt x="4236" y="210"/>
                  </a:lnTo>
                  <a:lnTo>
                    <a:pt x="4326" y="210"/>
                  </a:lnTo>
                  <a:lnTo>
                    <a:pt x="4332" y="204"/>
                  </a:lnTo>
                  <a:lnTo>
                    <a:pt x="4332" y="192"/>
                  </a:lnTo>
                  <a:lnTo>
                    <a:pt x="4266" y="186"/>
                  </a:lnTo>
                  <a:lnTo>
                    <a:pt x="4302" y="174"/>
                  </a:lnTo>
                  <a:lnTo>
                    <a:pt x="4302" y="132"/>
                  </a:lnTo>
                  <a:lnTo>
                    <a:pt x="4278" y="132"/>
                  </a:lnTo>
                  <a:lnTo>
                    <a:pt x="4266" y="138"/>
                  </a:lnTo>
                  <a:lnTo>
                    <a:pt x="4260" y="144"/>
                  </a:lnTo>
                  <a:lnTo>
                    <a:pt x="4248" y="150"/>
                  </a:lnTo>
                  <a:lnTo>
                    <a:pt x="4242" y="126"/>
                  </a:lnTo>
                  <a:lnTo>
                    <a:pt x="4194" y="132"/>
                  </a:lnTo>
                  <a:lnTo>
                    <a:pt x="4194" y="120"/>
                  </a:lnTo>
                  <a:lnTo>
                    <a:pt x="4176" y="84"/>
                  </a:lnTo>
                  <a:lnTo>
                    <a:pt x="4140" y="84"/>
                  </a:lnTo>
                  <a:lnTo>
                    <a:pt x="4122" y="90"/>
                  </a:lnTo>
                  <a:lnTo>
                    <a:pt x="4110" y="96"/>
                  </a:lnTo>
                  <a:lnTo>
                    <a:pt x="4104" y="102"/>
                  </a:lnTo>
                  <a:lnTo>
                    <a:pt x="4098" y="102"/>
                  </a:lnTo>
                  <a:lnTo>
                    <a:pt x="4020" y="108"/>
                  </a:lnTo>
                  <a:lnTo>
                    <a:pt x="4044" y="126"/>
                  </a:lnTo>
                  <a:lnTo>
                    <a:pt x="3996" y="126"/>
                  </a:lnTo>
                  <a:lnTo>
                    <a:pt x="3984" y="132"/>
                  </a:lnTo>
                  <a:lnTo>
                    <a:pt x="3972" y="132"/>
                  </a:lnTo>
                  <a:lnTo>
                    <a:pt x="3966" y="138"/>
                  </a:lnTo>
                  <a:lnTo>
                    <a:pt x="3984" y="156"/>
                  </a:lnTo>
                  <a:lnTo>
                    <a:pt x="3972" y="156"/>
                  </a:lnTo>
                  <a:lnTo>
                    <a:pt x="3936" y="150"/>
                  </a:lnTo>
                  <a:lnTo>
                    <a:pt x="3906" y="156"/>
                  </a:lnTo>
                  <a:lnTo>
                    <a:pt x="3888" y="168"/>
                  </a:lnTo>
                  <a:lnTo>
                    <a:pt x="3888" y="174"/>
                  </a:lnTo>
                  <a:lnTo>
                    <a:pt x="3894" y="180"/>
                  </a:lnTo>
                  <a:lnTo>
                    <a:pt x="3954" y="180"/>
                  </a:lnTo>
                  <a:close/>
                  <a:moveTo>
                    <a:pt x="3972" y="294"/>
                  </a:moveTo>
                  <a:lnTo>
                    <a:pt x="3954" y="300"/>
                  </a:lnTo>
                  <a:lnTo>
                    <a:pt x="3942" y="306"/>
                  </a:lnTo>
                  <a:lnTo>
                    <a:pt x="3936" y="312"/>
                  </a:lnTo>
                  <a:lnTo>
                    <a:pt x="3936" y="318"/>
                  </a:lnTo>
                  <a:lnTo>
                    <a:pt x="3966" y="324"/>
                  </a:lnTo>
                  <a:lnTo>
                    <a:pt x="3972" y="324"/>
                  </a:lnTo>
                  <a:lnTo>
                    <a:pt x="3990" y="306"/>
                  </a:lnTo>
                  <a:lnTo>
                    <a:pt x="3990" y="300"/>
                  </a:lnTo>
                  <a:lnTo>
                    <a:pt x="3984" y="294"/>
                  </a:lnTo>
                  <a:lnTo>
                    <a:pt x="3972" y="294"/>
                  </a:lnTo>
                  <a:close/>
                  <a:moveTo>
                    <a:pt x="3738" y="336"/>
                  </a:moveTo>
                  <a:lnTo>
                    <a:pt x="3726" y="336"/>
                  </a:lnTo>
                  <a:lnTo>
                    <a:pt x="3720" y="330"/>
                  </a:lnTo>
                  <a:lnTo>
                    <a:pt x="3672" y="330"/>
                  </a:lnTo>
                  <a:lnTo>
                    <a:pt x="3636" y="336"/>
                  </a:lnTo>
                  <a:lnTo>
                    <a:pt x="3624" y="342"/>
                  </a:lnTo>
                  <a:lnTo>
                    <a:pt x="3642" y="360"/>
                  </a:lnTo>
                  <a:lnTo>
                    <a:pt x="3654" y="360"/>
                  </a:lnTo>
                  <a:lnTo>
                    <a:pt x="3660" y="378"/>
                  </a:lnTo>
                  <a:lnTo>
                    <a:pt x="3768" y="378"/>
                  </a:lnTo>
                  <a:lnTo>
                    <a:pt x="3768" y="390"/>
                  </a:lnTo>
                  <a:lnTo>
                    <a:pt x="3762" y="396"/>
                  </a:lnTo>
                  <a:lnTo>
                    <a:pt x="3762" y="408"/>
                  </a:lnTo>
                  <a:lnTo>
                    <a:pt x="3708" y="450"/>
                  </a:lnTo>
                  <a:lnTo>
                    <a:pt x="3732" y="456"/>
                  </a:lnTo>
                  <a:lnTo>
                    <a:pt x="3720" y="468"/>
                  </a:lnTo>
                  <a:lnTo>
                    <a:pt x="3714" y="468"/>
                  </a:lnTo>
                  <a:lnTo>
                    <a:pt x="3708" y="474"/>
                  </a:lnTo>
                  <a:lnTo>
                    <a:pt x="3708" y="480"/>
                  </a:lnTo>
                  <a:lnTo>
                    <a:pt x="3726" y="480"/>
                  </a:lnTo>
                  <a:lnTo>
                    <a:pt x="3738" y="474"/>
                  </a:lnTo>
                  <a:lnTo>
                    <a:pt x="3744" y="474"/>
                  </a:lnTo>
                  <a:lnTo>
                    <a:pt x="3756" y="468"/>
                  </a:lnTo>
                  <a:lnTo>
                    <a:pt x="3756" y="480"/>
                  </a:lnTo>
                  <a:lnTo>
                    <a:pt x="3792" y="480"/>
                  </a:lnTo>
                  <a:lnTo>
                    <a:pt x="3810" y="474"/>
                  </a:lnTo>
                  <a:lnTo>
                    <a:pt x="3822" y="468"/>
                  </a:lnTo>
                  <a:lnTo>
                    <a:pt x="3840" y="468"/>
                  </a:lnTo>
                  <a:lnTo>
                    <a:pt x="3846" y="462"/>
                  </a:lnTo>
                  <a:lnTo>
                    <a:pt x="3852" y="462"/>
                  </a:lnTo>
                  <a:lnTo>
                    <a:pt x="3858" y="486"/>
                  </a:lnTo>
                  <a:lnTo>
                    <a:pt x="3924" y="480"/>
                  </a:lnTo>
                  <a:lnTo>
                    <a:pt x="4002" y="498"/>
                  </a:lnTo>
                  <a:lnTo>
                    <a:pt x="4098" y="486"/>
                  </a:lnTo>
                  <a:lnTo>
                    <a:pt x="4128" y="468"/>
                  </a:lnTo>
                  <a:lnTo>
                    <a:pt x="4122" y="474"/>
                  </a:lnTo>
                  <a:lnTo>
                    <a:pt x="4122" y="486"/>
                  </a:lnTo>
                  <a:lnTo>
                    <a:pt x="4260" y="486"/>
                  </a:lnTo>
                  <a:lnTo>
                    <a:pt x="4272" y="468"/>
                  </a:lnTo>
                  <a:lnTo>
                    <a:pt x="4338" y="438"/>
                  </a:lnTo>
                  <a:lnTo>
                    <a:pt x="4320" y="432"/>
                  </a:lnTo>
                  <a:lnTo>
                    <a:pt x="4320" y="420"/>
                  </a:lnTo>
                  <a:lnTo>
                    <a:pt x="4314" y="420"/>
                  </a:lnTo>
                  <a:lnTo>
                    <a:pt x="4308" y="414"/>
                  </a:lnTo>
                  <a:lnTo>
                    <a:pt x="4290" y="414"/>
                  </a:lnTo>
                  <a:lnTo>
                    <a:pt x="4278" y="408"/>
                  </a:lnTo>
                  <a:lnTo>
                    <a:pt x="4260" y="408"/>
                  </a:lnTo>
                  <a:lnTo>
                    <a:pt x="4242" y="402"/>
                  </a:lnTo>
                  <a:lnTo>
                    <a:pt x="4206" y="402"/>
                  </a:lnTo>
                  <a:lnTo>
                    <a:pt x="4164" y="414"/>
                  </a:lnTo>
                  <a:lnTo>
                    <a:pt x="4116" y="420"/>
                  </a:lnTo>
                  <a:lnTo>
                    <a:pt x="4074" y="426"/>
                  </a:lnTo>
                  <a:lnTo>
                    <a:pt x="4038" y="438"/>
                  </a:lnTo>
                  <a:lnTo>
                    <a:pt x="4026" y="438"/>
                  </a:lnTo>
                  <a:lnTo>
                    <a:pt x="4014" y="432"/>
                  </a:lnTo>
                  <a:lnTo>
                    <a:pt x="4008" y="426"/>
                  </a:lnTo>
                  <a:lnTo>
                    <a:pt x="3996" y="420"/>
                  </a:lnTo>
                  <a:lnTo>
                    <a:pt x="3984" y="420"/>
                  </a:lnTo>
                  <a:lnTo>
                    <a:pt x="3972" y="426"/>
                  </a:lnTo>
                  <a:lnTo>
                    <a:pt x="3960" y="426"/>
                  </a:lnTo>
                  <a:lnTo>
                    <a:pt x="3948" y="432"/>
                  </a:lnTo>
                  <a:lnTo>
                    <a:pt x="3942" y="438"/>
                  </a:lnTo>
                  <a:lnTo>
                    <a:pt x="3936" y="438"/>
                  </a:lnTo>
                  <a:lnTo>
                    <a:pt x="3912" y="414"/>
                  </a:lnTo>
                  <a:lnTo>
                    <a:pt x="3894" y="426"/>
                  </a:lnTo>
                  <a:lnTo>
                    <a:pt x="3864" y="420"/>
                  </a:lnTo>
                  <a:lnTo>
                    <a:pt x="3894" y="408"/>
                  </a:lnTo>
                  <a:lnTo>
                    <a:pt x="3876" y="396"/>
                  </a:lnTo>
                  <a:lnTo>
                    <a:pt x="3822" y="408"/>
                  </a:lnTo>
                  <a:lnTo>
                    <a:pt x="3858" y="396"/>
                  </a:lnTo>
                  <a:lnTo>
                    <a:pt x="3858" y="390"/>
                  </a:lnTo>
                  <a:lnTo>
                    <a:pt x="3924" y="384"/>
                  </a:lnTo>
                  <a:lnTo>
                    <a:pt x="3888" y="372"/>
                  </a:lnTo>
                  <a:lnTo>
                    <a:pt x="3870" y="372"/>
                  </a:lnTo>
                  <a:lnTo>
                    <a:pt x="3876" y="366"/>
                  </a:lnTo>
                  <a:lnTo>
                    <a:pt x="3876" y="360"/>
                  </a:lnTo>
                  <a:lnTo>
                    <a:pt x="3870" y="354"/>
                  </a:lnTo>
                  <a:lnTo>
                    <a:pt x="3840" y="354"/>
                  </a:lnTo>
                  <a:lnTo>
                    <a:pt x="3822" y="360"/>
                  </a:lnTo>
                  <a:lnTo>
                    <a:pt x="3804" y="360"/>
                  </a:lnTo>
                  <a:lnTo>
                    <a:pt x="3786" y="366"/>
                  </a:lnTo>
                  <a:lnTo>
                    <a:pt x="3774" y="354"/>
                  </a:lnTo>
                  <a:lnTo>
                    <a:pt x="3762" y="348"/>
                  </a:lnTo>
                  <a:lnTo>
                    <a:pt x="3756" y="342"/>
                  </a:lnTo>
                  <a:lnTo>
                    <a:pt x="3744" y="336"/>
                  </a:lnTo>
                  <a:lnTo>
                    <a:pt x="3738" y="336"/>
                  </a:lnTo>
                  <a:close/>
                  <a:moveTo>
                    <a:pt x="3264" y="420"/>
                  </a:moveTo>
                  <a:lnTo>
                    <a:pt x="3282" y="420"/>
                  </a:lnTo>
                  <a:lnTo>
                    <a:pt x="3300" y="426"/>
                  </a:lnTo>
                  <a:lnTo>
                    <a:pt x="3318" y="426"/>
                  </a:lnTo>
                  <a:lnTo>
                    <a:pt x="3330" y="432"/>
                  </a:lnTo>
                  <a:lnTo>
                    <a:pt x="3342" y="432"/>
                  </a:lnTo>
                  <a:lnTo>
                    <a:pt x="3330" y="444"/>
                  </a:lnTo>
                  <a:lnTo>
                    <a:pt x="3324" y="444"/>
                  </a:lnTo>
                  <a:lnTo>
                    <a:pt x="3324" y="456"/>
                  </a:lnTo>
                  <a:lnTo>
                    <a:pt x="3438" y="456"/>
                  </a:lnTo>
                  <a:lnTo>
                    <a:pt x="3462" y="444"/>
                  </a:lnTo>
                  <a:lnTo>
                    <a:pt x="3462" y="432"/>
                  </a:lnTo>
                  <a:lnTo>
                    <a:pt x="3468" y="426"/>
                  </a:lnTo>
                  <a:lnTo>
                    <a:pt x="3480" y="426"/>
                  </a:lnTo>
                  <a:lnTo>
                    <a:pt x="3492" y="420"/>
                  </a:lnTo>
                  <a:lnTo>
                    <a:pt x="3504" y="420"/>
                  </a:lnTo>
                  <a:lnTo>
                    <a:pt x="3510" y="414"/>
                  </a:lnTo>
                  <a:lnTo>
                    <a:pt x="3510" y="408"/>
                  </a:lnTo>
                  <a:lnTo>
                    <a:pt x="3522" y="396"/>
                  </a:lnTo>
                  <a:lnTo>
                    <a:pt x="3534" y="390"/>
                  </a:lnTo>
                  <a:lnTo>
                    <a:pt x="3540" y="384"/>
                  </a:lnTo>
                  <a:lnTo>
                    <a:pt x="3552" y="378"/>
                  </a:lnTo>
                  <a:lnTo>
                    <a:pt x="3552" y="372"/>
                  </a:lnTo>
                  <a:lnTo>
                    <a:pt x="3546" y="366"/>
                  </a:lnTo>
                  <a:lnTo>
                    <a:pt x="3534" y="360"/>
                  </a:lnTo>
                  <a:lnTo>
                    <a:pt x="3510" y="360"/>
                  </a:lnTo>
                  <a:lnTo>
                    <a:pt x="3504" y="366"/>
                  </a:lnTo>
                  <a:lnTo>
                    <a:pt x="3492" y="366"/>
                  </a:lnTo>
                  <a:lnTo>
                    <a:pt x="3486" y="360"/>
                  </a:lnTo>
                  <a:lnTo>
                    <a:pt x="3474" y="360"/>
                  </a:lnTo>
                  <a:lnTo>
                    <a:pt x="3462" y="354"/>
                  </a:lnTo>
                  <a:lnTo>
                    <a:pt x="3450" y="354"/>
                  </a:lnTo>
                  <a:lnTo>
                    <a:pt x="3432" y="348"/>
                  </a:lnTo>
                  <a:lnTo>
                    <a:pt x="3426" y="354"/>
                  </a:lnTo>
                  <a:lnTo>
                    <a:pt x="3420" y="354"/>
                  </a:lnTo>
                  <a:lnTo>
                    <a:pt x="3414" y="366"/>
                  </a:lnTo>
                  <a:lnTo>
                    <a:pt x="3414" y="396"/>
                  </a:lnTo>
                  <a:lnTo>
                    <a:pt x="3396" y="378"/>
                  </a:lnTo>
                  <a:lnTo>
                    <a:pt x="3384" y="372"/>
                  </a:lnTo>
                  <a:lnTo>
                    <a:pt x="3366" y="372"/>
                  </a:lnTo>
                  <a:lnTo>
                    <a:pt x="3354" y="384"/>
                  </a:lnTo>
                  <a:lnTo>
                    <a:pt x="3348" y="396"/>
                  </a:lnTo>
                  <a:lnTo>
                    <a:pt x="3330" y="414"/>
                  </a:lnTo>
                  <a:lnTo>
                    <a:pt x="3324" y="414"/>
                  </a:lnTo>
                  <a:lnTo>
                    <a:pt x="3300" y="366"/>
                  </a:lnTo>
                  <a:lnTo>
                    <a:pt x="3288" y="360"/>
                  </a:lnTo>
                  <a:lnTo>
                    <a:pt x="3258" y="360"/>
                  </a:lnTo>
                  <a:lnTo>
                    <a:pt x="3246" y="366"/>
                  </a:lnTo>
                  <a:lnTo>
                    <a:pt x="3240" y="372"/>
                  </a:lnTo>
                  <a:lnTo>
                    <a:pt x="3240" y="396"/>
                  </a:lnTo>
                  <a:lnTo>
                    <a:pt x="3246" y="408"/>
                  </a:lnTo>
                  <a:lnTo>
                    <a:pt x="3258" y="414"/>
                  </a:lnTo>
                  <a:lnTo>
                    <a:pt x="3264" y="420"/>
                  </a:lnTo>
                  <a:close/>
                  <a:moveTo>
                    <a:pt x="3720" y="288"/>
                  </a:moveTo>
                  <a:lnTo>
                    <a:pt x="3726" y="288"/>
                  </a:lnTo>
                  <a:lnTo>
                    <a:pt x="3732" y="294"/>
                  </a:lnTo>
                  <a:lnTo>
                    <a:pt x="3738" y="306"/>
                  </a:lnTo>
                  <a:lnTo>
                    <a:pt x="3768" y="306"/>
                  </a:lnTo>
                  <a:lnTo>
                    <a:pt x="3780" y="300"/>
                  </a:lnTo>
                  <a:lnTo>
                    <a:pt x="3834" y="300"/>
                  </a:lnTo>
                  <a:lnTo>
                    <a:pt x="3834" y="294"/>
                  </a:lnTo>
                  <a:lnTo>
                    <a:pt x="3828" y="294"/>
                  </a:lnTo>
                  <a:lnTo>
                    <a:pt x="3822" y="288"/>
                  </a:lnTo>
                  <a:lnTo>
                    <a:pt x="3810" y="288"/>
                  </a:lnTo>
                  <a:lnTo>
                    <a:pt x="3804" y="282"/>
                  </a:lnTo>
                  <a:lnTo>
                    <a:pt x="3792" y="282"/>
                  </a:lnTo>
                  <a:lnTo>
                    <a:pt x="3804" y="270"/>
                  </a:lnTo>
                  <a:lnTo>
                    <a:pt x="3816" y="264"/>
                  </a:lnTo>
                  <a:lnTo>
                    <a:pt x="3822" y="264"/>
                  </a:lnTo>
                  <a:lnTo>
                    <a:pt x="3828" y="258"/>
                  </a:lnTo>
                  <a:lnTo>
                    <a:pt x="3822" y="258"/>
                  </a:lnTo>
                  <a:lnTo>
                    <a:pt x="3810" y="252"/>
                  </a:lnTo>
                  <a:lnTo>
                    <a:pt x="3738" y="228"/>
                  </a:lnTo>
                  <a:lnTo>
                    <a:pt x="3732" y="228"/>
                  </a:lnTo>
                  <a:lnTo>
                    <a:pt x="3726" y="234"/>
                  </a:lnTo>
                  <a:lnTo>
                    <a:pt x="3714" y="240"/>
                  </a:lnTo>
                  <a:lnTo>
                    <a:pt x="3702" y="240"/>
                  </a:lnTo>
                  <a:lnTo>
                    <a:pt x="3690" y="252"/>
                  </a:lnTo>
                  <a:lnTo>
                    <a:pt x="3690" y="258"/>
                  </a:lnTo>
                  <a:lnTo>
                    <a:pt x="3696" y="264"/>
                  </a:lnTo>
                  <a:lnTo>
                    <a:pt x="3702" y="276"/>
                  </a:lnTo>
                  <a:lnTo>
                    <a:pt x="3714" y="282"/>
                  </a:lnTo>
                  <a:lnTo>
                    <a:pt x="3720" y="288"/>
                  </a:lnTo>
                  <a:close/>
                  <a:moveTo>
                    <a:pt x="3288" y="504"/>
                  </a:moveTo>
                  <a:lnTo>
                    <a:pt x="3270" y="504"/>
                  </a:lnTo>
                  <a:lnTo>
                    <a:pt x="3234" y="510"/>
                  </a:lnTo>
                  <a:lnTo>
                    <a:pt x="3186" y="516"/>
                  </a:lnTo>
                  <a:lnTo>
                    <a:pt x="3144" y="528"/>
                  </a:lnTo>
                  <a:lnTo>
                    <a:pt x="3132" y="534"/>
                  </a:lnTo>
                  <a:lnTo>
                    <a:pt x="3126" y="540"/>
                  </a:lnTo>
                  <a:lnTo>
                    <a:pt x="3132" y="540"/>
                  </a:lnTo>
                  <a:lnTo>
                    <a:pt x="3150" y="558"/>
                  </a:lnTo>
                  <a:lnTo>
                    <a:pt x="3156" y="570"/>
                  </a:lnTo>
                  <a:lnTo>
                    <a:pt x="3156" y="576"/>
                  </a:lnTo>
                  <a:lnTo>
                    <a:pt x="3138" y="582"/>
                  </a:lnTo>
                  <a:lnTo>
                    <a:pt x="3120" y="570"/>
                  </a:lnTo>
                  <a:lnTo>
                    <a:pt x="3090" y="564"/>
                  </a:lnTo>
                  <a:lnTo>
                    <a:pt x="3048" y="570"/>
                  </a:lnTo>
                  <a:lnTo>
                    <a:pt x="3066" y="606"/>
                  </a:lnTo>
                  <a:lnTo>
                    <a:pt x="3072" y="612"/>
                  </a:lnTo>
                  <a:lnTo>
                    <a:pt x="3084" y="618"/>
                  </a:lnTo>
                  <a:lnTo>
                    <a:pt x="3102" y="624"/>
                  </a:lnTo>
                  <a:lnTo>
                    <a:pt x="3114" y="630"/>
                  </a:lnTo>
                  <a:lnTo>
                    <a:pt x="3120" y="642"/>
                  </a:lnTo>
                  <a:lnTo>
                    <a:pt x="3120" y="654"/>
                  </a:lnTo>
                  <a:lnTo>
                    <a:pt x="3126" y="666"/>
                  </a:lnTo>
                  <a:lnTo>
                    <a:pt x="3126" y="678"/>
                  </a:lnTo>
                  <a:lnTo>
                    <a:pt x="3144" y="678"/>
                  </a:lnTo>
                  <a:lnTo>
                    <a:pt x="3228" y="666"/>
                  </a:lnTo>
                  <a:lnTo>
                    <a:pt x="3264" y="660"/>
                  </a:lnTo>
                  <a:lnTo>
                    <a:pt x="3276" y="654"/>
                  </a:lnTo>
                  <a:lnTo>
                    <a:pt x="3282" y="642"/>
                  </a:lnTo>
                  <a:lnTo>
                    <a:pt x="3288" y="624"/>
                  </a:lnTo>
                  <a:lnTo>
                    <a:pt x="3300" y="600"/>
                  </a:lnTo>
                  <a:lnTo>
                    <a:pt x="3300" y="588"/>
                  </a:lnTo>
                  <a:lnTo>
                    <a:pt x="3228" y="576"/>
                  </a:lnTo>
                  <a:lnTo>
                    <a:pt x="3240" y="570"/>
                  </a:lnTo>
                  <a:lnTo>
                    <a:pt x="3348" y="534"/>
                  </a:lnTo>
                  <a:lnTo>
                    <a:pt x="3360" y="528"/>
                  </a:lnTo>
                  <a:lnTo>
                    <a:pt x="3354" y="522"/>
                  </a:lnTo>
                  <a:lnTo>
                    <a:pt x="3342" y="516"/>
                  </a:lnTo>
                  <a:lnTo>
                    <a:pt x="3324" y="510"/>
                  </a:lnTo>
                  <a:lnTo>
                    <a:pt x="3312" y="510"/>
                  </a:lnTo>
                  <a:lnTo>
                    <a:pt x="3300" y="504"/>
                  </a:lnTo>
                  <a:lnTo>
                    <a:pt x="3288" y="504"/>
                  </a:lnTo>
                  <a:close/>
                  <a:moveTo>
                    <a:pt x="2898" y="744"/>
                  </a:moveTo>
                  <a:lnTo>
                    <a:pt x="2880" y="738"/>
                  </a:lnTo>
                  <a:lnTo>
                    <a:pt x="2796" y="738"/>
                  </a:lnTo>
                  <a:lnTo>
                    <a:pt x="2874" y="696"/>
                  </a:lnTo>
                  <a:lnTo>
                    <a:pt x="2880" y="684"/>
                  </a:lnTo>
                  <a:lnTo>
                    <a:pt x="2886" y="654"/>
                  </a:lnTo>
                  <a:lnTo>
                    <a:pt x="2898" y="624"/>
                  </a:lnTo>
                  <a:lnTo>
                    <a:pt x="2898" y="588"/>
                  </a:lnTo>
                  <a:lnTo>
                    <a:pt x="2880" y="570"/>
                  </a:lnTo>
                  <a:lnTo>
                    <a:pt x="2850" y="570"/>
                  </a:lnTo>
                  <a:lnTo>
                    <a:pt x="2814" y="576"/>
                  </a:lnTo>
                  <a:lnTo>
                    <a:pt x="2796" y="582"/>
                  </a:lnTo>
                  <a:lnTo>
                    <a:pt x="2784" y="588"/>
                  </a:lnTo>
                  <a:lnTo>
                    <a:pt x="2784" y="594"/>
                  </a:lnTo>
                  <a:lnTo>
                    <a:pt x="2766" y="612"/>
                  </a:lnTo>
                  <a:lnTo>
                    <a:pt x="2760" y="630"/>
                  </a:lnTo>
                  <a:lnTo>
                    <a:pt x="2736" y="654"/>
                  </a:lnTo>
                  <a:lnTo>
                    <a:pt x="2718" y="666"/>
                  </a:lnTo>
                  <a:lnTo>
                    <a:pt x="2706" y="672"/>
                  </a:lnTo>
                  <a:lnTo>
                    <a:pt x="2700" y="672"/>
                  </a:lnTo>
                  <a:lnTo>
                    <a:pt x="2694" y="666"/>
                  </a:lnTo>
                  <a:lnTo>
                    <a:pt x="2694" y="660"/>
                  </a:lnTo>
                  <a:lnTo>
                    <a:pt x="2700" y="654"/>
                  </a:lnTo>
                  <a:lnTo>
                    <a:pt x="2706" y="642"/>
                  </a:lnTo>
                  <a:lnTo>
                    <a:pt x="2712" y="636"/>
                  </a:lnTo>
                  <a:lnTo>
                    <a:pt x="2718" y="624"/>
                  </a:lnTo>
                  <a:lnTo>
                    <a:pt x="2718" y="612"/>
                  </a:lnTo>
                  <a:lnTo>
                    <a:pt x="2724" y="606"/>
                  </a:lnTo>
                  <a:lnTo>
                    <a:pt x="2724" y="600"/>
                  </a:lnTo>
                  <a:lnTo>
                    <a:pt x="2706" y="594"/>
                  </a:lnTo>
                  <a:lnTo>
                    <a:pt x="2676" y="588"/>
                  </a:lnTo>
                  <a:lnTo>
                    <a:pt x="2628" y="588"/>
                  </a:lnTo>
                  <a:lnTo>
                    <a:pt x="2622" y="606"/>
                  </a:lnTo>
                  <a:lnTo>
                    <a:pt x="2610" y="612"/>
                  </a:lnTo>
                  <a:lnTo>
                    <a:pt x="2586" y="618"/>
                  </a:lnTo>
                  <a:lnTo>
                    <a:pt x="2550" y="624"/>
                  </a:lnTo>
                  <a:lnTo>
                    <a:pt x="2508" y="630"/>
                  </a:lnTo>
                  <a:lnTo>
                    <a:pt x="2490" y="630"/>
                  </a:lnTo>
                  <a:lnTo>
                    <a:pt x="2496" y="624"/>
                  </a:lnTo>
                  <a:lnTo>
                    <a:pt x="2508" y="618"/>
                  </a:lnTo>
                  <a:lnTo>
                    <a:pt x="2520" y="618"/>
                  </a:lnTo>
                  <a:lnTo>
                    <a:pt x="2538" y="612"/>
                  </a:lnTo>
                  <a:lnTo>
                    <a:pt x="2550" y="606"/>
                  </a:lnTo>
                  <a:lnTo>
                    <a:pt x="2586" y="594"/>
                  </a:lnTo>
                  <a:lnTo>
                    <a:pt x="2598" y="588"/>
                  </a:lnTo>
                  <a:lnTo>
                    <a:pt x="2604" y="588"/>
                  </a:lnTo>
                  <a:lnTo>
                    <a:pt x="2604" y="582"/>
                  </a:lnTo>
                  <a:lnTo>
                    <a:pt x="2592" y="576"/>
                  </a:lnTo>
                  <a:lnTo>
                    <a:pt x="2556" y="576"/>
                  </a:lnTo>
                  <a:lnTo>
                    <a:pt x="2496" y="594"/>
                  </a:lnTo>
                  <a:lnTo>
                    <a:pt x="2460" y="600"/>
                  </a:lnTo>
                  <a:lnTo>
                    <a:pt x="2466" y="594"/>
                  </a:lnTo>
                  <a:lnTo>
                    <a:pt x="2478" y="588"/>
                  </a:lnTo>
                  <a:lnTo>
                    <a:pt x="2490" y="576"/>
                  </a:lnTo>
                  <a:lnTo>
                    <a:pt x="2502" y="570"/>
                  </a:lnTo>
                  <a:lnTo>
                    <a:pt x="2514" y="558"/>
                  </a:lnTo>
                  <a:lnTo>
                    <a:pt x="2508" y="558"/>
                  </a:lnTo>
                  <a:lnTo>
                    <a:pt x="2508" y="552"/>
                  </a:lnTo>
                  <a:lnTo>
                    <a:pt x="2496" y="552"/>
                  </a:lnTo>
                  <a:lnTo>
                    <a:pt x="2346" y="600"/>
                  </a:lnTo>
                  <a:lnTo>
                    <a:pt x="2328" y="600"/>
                  </a:lnTo>
                  <a:lnTo>
                    <a:pt x="2244" y="624"/>
                  </a:lnTo>
                  <a:lnTo>
                    <a:pt x="2250" y="642"/>
                  </a:lnTo>
                  <a:lnTo>
                    <a:pt x="2190" y="660"/>
                  </a:lnTo>
                  <a:lnTo>
                    <a:pt x="2172" y="678"/>
                  </a:lnTo>
                  <a:lnTo>
                    <a:pt x="2202" y="690"/>
                  </a:lnTo>
                  <a:lnTo>
                    <a:pt x="2208" y="684"/>
                  </a:lnTo>
                  <a:lnTo>
                    <a:pt x="2220" y="678"/>
                  </a:lnTo>
                  <a:lnTo>
                    <a:pt x="2238" y="678"/>
                  </a:lnTo>
                  <a:lnTo>
                    <a:pt x="2244" y="684"/>
                  </a:lnTo>
                  <a:lnTo>
                    <a:pt x="2244" y="690"/>
                  </a:lnTo>
                  <a:lnTo>
                    <a:pt x="2238" y="696"/>
                  </a:lnTo>
                  <a:lnTo>
                    <a:pt x="2226" y="696"/>
                  </a:lnTo>
                  <a:lnTo>
                    <a:pt x="2208" y="702"/>
                  </a:lnTo>
                  <a:lnTo>
                    <a:pt x="2196" y="702"/>
                  </a:lnTo>
                  <a:lnTo>
                    <a:pt x="2160" y="720"/>
                  </a:lnTo>
                  <a:lnTo>
                    <a:pt x="2166" y="732"/>
                  </a:lnTo>
                  <a:lnTo>
                    <a:pt x="2196" y="732"/>
                  </a:lnTo>
                  <a:lnTo>
                    <a:pt x="2238" y="738"/>
                  </a:lnTo>
                  <a:lnTo>
                    <a:pt x="2322" y="738"/>
                  </a:lnTo>
                  <a:lnTo>
                    <a:pt x="2352" y="744"/>
                  </a:lnTo>
                  <a:lnTo>
                    <a:pt x="2352" y="750"/>
                  </a:lnTo>
                  <a:lnTo>
                    <a:pt x="2322" y="762"/>
                  </a:lnTo>
                  <a:lnTo>
                    <a:pt x="2280" y="762"/>
                  </a:lnTo>
                  <a:lnTo>
                    <a:pt x="2172" y="774"/>
                  </a:lnTo>
                  <a:lnTo>
                    <a:pt x="2136" y="774"/>
                  </a:lnTo>
                  <a:lnTo>
                    <a:pt x="2112" y="786"/>
                  </a:lnTo>
                  <a:lnTo>
                    <a:pt x="2106" y="792"/>
                  </a:lnTo>
                  <a:lnTo>
                    <a:pt x="2118" y="804"/>
                  </a:lnTo>
                  <a:lnTo>
                    <a:pt x="2130" y="810"/>
                  </a:lnTo>
                  <a:lnTo>
                    <a:pt x="2148" y="810"/>
                  </a:lnTo>
                  <a:lnTo>
                    <a:pt x="2160" y="816"/>
                  </a:lnTo>
                  <a:lnTo>
                    <a:pt x="2178" y="822"/>
                  </a:lnTo>
                  <a:lnTo>
                    <a:pt x="2190" y="828"/>
                  </a:lnTo>
                  <a:lnTo>
                    <a:pt x="2190" y="834"/>
                  </a:lnTo>
                  <a:lnTo>
                    <a:pt x="2184" y="840"/>
                  </a:lnTo>
                  <a:lnTo>
                    <a:pt x="2172" y="840"/>
                  </a:lnTo>
                  <a:lnTo>
                    <a:pt x="2154" y="858"/>
                  </a:lnTo>
                  <a:lnTo>
                    <a:pt x="2166" y="870"/>
                  </a:lnTo>
                  <a:lnTo>
                    <a:pt x="2322" y="870"/>
                  </a:lnTo>
                  <a:lnTo>
                    <a:pt x="2370" y="864"/>
                  </a:lnTo>
                  <a:lnTo>
                    <a:pt x="2436" y="858"/>
                  </a:lnTo>
                  <a:lnTo>
                    <a:pt x="2508" y="846"/>
                  </a:lnTo>
                  <a:lnTo>
                    <a:pt x="2574" y="840"/>
                  </a:lnTo>
                  <a:lnTo>
                    <a:pt x="2616" y="828"/>
                  </a:lnTo>
                  <a:lnTo>
                    <a:pt x="2652" y="828"/>
                  </a:lnTo>
                  <a:lnTo>
                    <a:pt x="2736" y="864"/>
                  </a:lnTo>
                  <a:lnTo>
                    <a:pt x="2778" y="876"/>
                  </a:lnTo>
                  <a:lnTo>
                    <a:pt x="2796" y="876"/>
                  </a:lnTo>
                  <a:lnTo>
                    <a:pt x="2814" y="870"/>
                  </a:lnTo>
                  <a:lnTo>
                    <a:pt x="2832" y="852"/>
                  </a:lnTo>
                  <a:lnTo>
                    <a:pt x="2838" y="840"/>
                  </a:lnTo>
                  <a:lnTo>
                    <a:pt x="2844" y="834"/>
                  </a:lnTo>
                  <a:lnTo>
                    <a:pt x="2844" y="822"/>
                  </a:lnTo>
                  <a:lnTo>
                    <a:pt x="2766" y="822"/>
                  </a:lnTo>
                  <a:lnTo>
                    <a:pt x="2802" y="798"/>
                  </a:lnTo>
                  <a:lnTo>
                    <a:pt x="2850" y="798"/>
                  </a:lnTo>
                  <a:lnTo>
                    <a:pt x="2898" y="792"/>
                  </a:lnTo>
                  <a:lnTo>
                    <a:pt x="2910" y="786"/>
                  </a:lnTo>
                  <a:lnTo>
                    <a:pt x="2916" y="786"/>
                  </a:lnTo>
                  <a:lnTo>
                    <a:pt x="2922" y="780"/>
                  </a:lnTo>
                  <a:lnTo>
                    <a:pt x="2916" y="768"/>
                  </a:lnTo>
                  <a:lnTo>
                    <a:pt x="2898" y="750"/>
                  </a:lnTo>
                  <a:lnTo>
                    <a:pt x="2898" y="744"/>
                  </a:lnTo>
                  <a:close/>
                  <a:moveTo>
                    <a:pt x="2868" y="882"/>
                  </a:moveTo>
                  <a:lnTo>
                    <a:pt x="2886" y="882"/>
                  </a:lnTo>
                  <a:lnTo>
                    <a:pt x="2904" y="876"/>
                  </a:lnTo>
                  <a:lnTo>
                    <a:pt x="2910" y="870"/>
                  </a:lnTo>
                  <a:lnTo>
                    <a:pt x="2910" y="864"/>
                  </a:lnTo>
                  <a:lnTo>
                    <a:pt x="2904" y="858"/>
                  </a:lnTo>
                  <a:lnTo>
                    <a:pt x="2880" y="858"/>
                  </a:lnTo>
                  <a:lnTo>
                    <a:pt x="2868" y="870"/>
                  </a:lnTo>
                  <a:lnTo>
                    <a:pt x="2868" y="882"/>
                  </a:lnTo>
                  <a:close/>
                  <a:moveTo>
                    <a:pt x="3276" y="330"/>
                  </a:moveTo>
                  <a:lnTo>
                    <a:pt x="3288" y="330"/>
                  </a:lnTo>
                  <a:lnTo>
                    <a:pt x="3294" y="324"/>
                  </a:lnTo>
                  <a:lnTo>
                    <a:pt x="3300" y="312"/>
                  </a:lnTo>
                  <a:lnTo>
                    <a:pt x="3300" y="306"/>
                  </a:lnTo>
                  <a:lnTo>
                    <a:pt x="3294" y="294"/>
                  </a:lnTo>
                  <a:lnTo>
                    <a:pt x="3288" y="288"/>
                  </a:lnTo>
                  <a:lnTo>
                    <a:pt x="3276" y="288"/>
                  </a:lnTo>
                  <a:lnTo>
                    <a:pt x="3270" y="300"/>
                  </a:lnTo>
                  <a:lnTo>
                    <a:pt x="3264" y="306"/>
                  </a:lnTo>
                  <a:lnTo>
                    <a:pt x="3264" y="324"/>
                  </a:lnTo>
                  <a:lnTo>
                    <a:pt x="3270" y="330"/>
                  </a:lnTo>
                  <a:lnTo>
                    <a:pt x="3276" y="330"/>
                  </a:lnTo>
                  <a:close/>
                  <a:moveTo>
                    <a:pt x="3462" y="228"/>
                  </a:moveTo>
                  <a:lnTo>
                    <a:pt x="3450" y="240"/>
                  </a:lnTo>
                  <a:lnTo>
                    <a:pt x="3450" y="252"/>
                  </a:lnTo>
                  <a:lnTo>
                    <a:pt x="3456" y="258"/>
                  </a:lnTo>
                  <a:lnTo>
                    <a:pt x="3528" y="258"/>
                  </a:lnTo>
                  <a:lnTo>
                    <a:pt x="3546" y="276"/>
                  </a:lnTo>
                  <a:lnTo>
                    <a:pt x="3558" y="282"/>
                  </a:lnTo>
                  <a:lnTo>
                    <a:pt x="3588" y="282"/>
                  </a:lnTo>
                  <a:lnTo>
                    <a:pt x="3612" y="270"/>
                  </a:lnTo>
                  <a:lnTo>
                    <a:pt x="3618" y="264"/>
                  </a:lnTo>
                  <a:lnTo>
                    <a:pt x="3606" y="252"/>
                  </a:lnTo>
                  <a:lnTo>
                    <a:pt x="3636" y="246"/>
                  </a:lnTo>
                  <a:lnTo>
                    <a:pt x="3594" y="210"/>
                  </a:lnTo>
                  <a:lnTo>
                    <a:pt x="3552" y="216"/>
                  </a:lnTo>
                  <a:lnTo>
                    <a:pt x="3534" y="198"/>
                  </a:lnTo>
                  <a:lnTo>
                    <a:pt x="3450" y="198"/>
                  </a:lnTo>
                  <a:lnTo>
                    <a:pt x="3438" y="204"/>
                  </a:lnTo>
                  <a:lnTo>
                    <a:pt x="3426" y="204"/>
                  </a:lnTo>
                  <a:lnTo>
                    <a:pt x="3420" y="210"/>
                  </a:lnTo>
                  <a:lnTo>
                    <a:pt x="3438" y="228"/>
                  </a:lnTo>
                  <a:lnTo>
                    <a:pt x="3462" y="228"/>
                  </a:lnTo>
                  <a:close/>
                  <a:moveTo>
                    <a:pt x="3432" y="1302"/>
                  </a:moveTo>
                  <a:lnTo>
                    <a:pt x="3408" y="1326"/>
                  </a:lnTo>
                  <a:lnTo>
                    <a:pt x="3408" y="1344"/>
                  </a:lnTo>
                  <a:lnTo>
                    <a:pt x="3438" y="1344"/>
                  </a:lnTo>
                  <a:lnTo>
                    <a:pt x="3462" y="1332"/>
                  </a:lnTo>
                  <a:lnTo>
                    <a:pt x="3468" y="1332"/>
                  </a:lnTo>
                  <a:lnTo>
                    <a:pt x="3480" y="1326"/>
                  </a:lnTo>
                  <a:lnTo>
                    <a:pt x="3486" y="1326"/>
                  </a:lnTo>
                  <a:lnTo>
                    <a:pt x="3504" y="1308"/>
                  </a:lnTo>
                  <a:lnTo>
                    <a:pt x="3516" y="1290"/>
                  </a:lnTo>
                  <a:lnTo>
                    <a:pt x="3516" y="1266"/>
                  </a:lnTo>
                  <a:lnTo>
                    <a:pt x="3510" y="1260"/>
                  </a:lnTo>
                  <a:lnTo>
                    <a:pt x="3498" y="1260"/>
                  </a:lnTo>
                  <a:lnTo>
                    <a:pt x="3480" y="1266"/>
                  </a:lnTo>
                  <a:lnTo>
                    <a:pt x="3432" y="1302"/>
                  </a:lnTo>
                  <a:close/>
                  <a:moveTo>
                    <a:pt x="4416" y="1392"/>
                  </a:moveTo>
                  <a:lnTo>
                    <a:pt x="4428" y="1380"/>
                  </a:lnTo>
                  <a:lnTo>
                    <a:pt x="4428" y="1374"/>
                  </a:lnTo>
                  <a:lnTo>
                    <a:pt x="4386" y="1374"/>
                  </a:lnTo>
                  <a:lnTo>
                    <a:pt x="4386" y="1380"/>
                  </a:lnTo>
                  <a:lnTo>
                    <a:pt x="4404" y="1398"/>
                  </a:lnTo>
                  <a:lnTo>
                    <a:pt x="4416" y="1392"/>
                  </a:lnTo>
                  <a:close/>
                  <a:moveTo>
                    <a:pt x="3120" y="2034"/>
                  </a:moveTo>
                  <a:lnTo>
                    <a:pt x="3132" y="2034"/>
                  </a:lnTo>
                  <a:lnTo>
                    <a:pt x="3138" y="2028"/>
                  </a:lnTo>
                  <a:lnTo>
                    <a:pt x="3132" y="2022"/>
                  </a:lnTo>
                  <a:lnTo>
                    <a:pt x="3120" y="2016"/>
                  </a:lnTo>
                  <a:lnTo>
                    <a:pt x="3114" y="2010"/>
                  </a:lnTo>
                  <a:lnTo>
                    <a:pt x="3108" y="2010"/>
                  </a:lnTo>
                  <a:lnTo>
                    <a:pt x="3090" y="2016"/>
                  </a:lnTo>
                  <a:lnTo>
                    <a:pt x="3078" y="2022"/>
                  </a:lnTo>
                  <a:lnTo>
                    <a:pt x="3072" y="2022"/>
                  </a:lnTo>
                  <a:lnTo>
                    <a:pt x="3072" y="2028"/>
                  </a:lnTo>
                  <a:lnTo>
                    <a:pt x="3078" y="2034"/>
                  </a:lnTo>
                  <a:lnTo>
                    <a:pt x="3120" y="2034"/>
                  </a:lnTo>
                  <a:close/>
                  <a:moveTo>
                    <a:pt x="4758" y="996"/>
                  </a:moveTo>
                  <a:lnTo>
                    <a:pt x="4746" y="996"/>
                  </a:lnTo>
                  <a:lnTo>
                    <a:pt x="4734" y="984"/>
                  </a:lnTo>
                  <a:lnTo>
                    <a:pt x="4704" y="1008"/>
                  </a:lnTo>
                  <a:lnTo>
                    <a:pt x="4704" y="978"/>
                  </a:lnTo>
                  <a:lnTo>
                    <a:pt x="4662" y="978"/>
                  </a:lnTo>
                  <a:lnTo>
                    <a:pt x="4668" y="978"/>
                  </a:lnTo>
                  <a:lnTo>
                    <a:pt x="4674" y="972"/>
                  </a:lnTo>
                  <a:lnTo>
                    <a:pt x="4686" y="972"/>
                  </a:lnTo>
                  <a:lnTo>
                    <a:pt x="4698" y="966"/>
                  </a:lnTo>
                  <a:lnTo>
                    <a:pt x="4704" y="954"/>
                  </a:lnTo>
                  <a:lnTo>
                    <a:pt x="4704" y="948"/>
                  </a:lnTo>
                  <a:lnTo>
                    <a:pt x="4698" y="942"/>
                  </a:lnTo>
                  <a:lnTo>
                    <a:pt x="4680" y="942"/>
                  </a:lnTo>
                  <a:lnTo>
                    <a:pt x="4668" y="936"/>
                  </a:lnTo>
                  <a:lnTo>
                    <a:pt x="4650" y="936"/>
                  </a:lnTo>
                  <a:lnTo>
                    <a:pt x="4632" y="930"/>
                  </a:lnTo>
                  <a:lnTo>
                    <a:pt x="4620" y="930"/>
                  </a:lnTo>
                  <a:lnTo>
                    <a:pt x="4614" y="918"/>
                  </a:lnTo>
                  <a:lnTo>
                    <a:pt x="4566" y="912"/>
                  </a:lnTo>
                  <a:lnTo>
                    <a:pt x="4500" y="870"/>
                  </a:lnTo>
                  <a:lnTo>
                    <a:pt x="4566" y="864"/>
                  </a:lnTo>
                  <a:lnTo>
                    <a:pt x="4536" y="840"/>
                  </a:lnTo>
                  <a:lnTo>
                    <a:pt x="4542" y="840"/>
                  </a:lnTo>
                  <a:lnTo>
                    <a:pt x="4548" y="834"/>
                  </a:lnTo>
                  <a:lnTo>
                    <a:pt x="4584" y="834"/>
                  </a:lnTo>
                  <a:lnTo>
                    <a:pt x="4596" y="840"/>
                  </a:lnTo>
                  <a:lnTo>
                    <a:pt x="4638" y="840"/>
                  </a:lnTo>
                  <a:lnTo>
                    <a:pt x="4638" y="834"/>
                  </a:lnTo>
                  <a:lnTo>
                    <a:pt x="4632" y="828"/>
                  </a:lnTo>
                  <a:lnTo>
                    <a:pt x="4614" y="822"/>
                  </a:lnTo>
                  <a:lnTo>
                    <a:pt x="4596" y="822"/>
                  </a:lnTo>
                  <a:lnTo>
                    <a:pt x="4578" y="816"/>
                  </a:lnTo>
                  <a:lnTo>
                    <a:pt x="4518" y="816"/>
                  </a:lnTo>
                  <a:lnTo>
                    <a:pt x="4536" y="816"/>
                  </a:lnTo>
                  <a:lnTo>
                    <a:pt x="4620" y="804"/>
                  </a:lnTo>
                  <a:lnTo>
                    <a:pt x="4638" y="798"/>
                  </a:lnTo>
                  <a:lnTo>
                    <a:pt x="4638" y="792"/>
                  </a:lnTo>
                  <a:lnTo>
                    <a:pt x="4632" y="792"/>
                  </a:lnTo>
                  <a:lnTo>
                    <a:pt x="4626" y="786"/>
                  </a:lnTo>
                  <a:lnTo>
                    <a:pt x="4608" y="786"/>
                  </a:lnTo>
                  <a:lnTo>
                    <a:pt x="4500" y="798"/>
                  </a:lnTo>
                  <a:lnTo>
                    <a:pt x="4560" y="762"/>
                  </a:lnTo>
                  <a:lnTo>
                    <a:pt x="4620" y="762"/>
                  </a:lnTo>
                  <a:lnTo>
                    <a:pt x="4626" y="756"/>
                  </a:lnTo>
                  <a:lnTo>
                    <a:pt x="4620" y="750"/>
                  </a:lnTo>
                  <a:lnTo>
                    <a:pt x="4584" y="738"/>
                  </a:lnTo>
                  <a:lnTo>
                    <a:pt x="4572" y="732"/>
                  </a:lnTo>
                  <a:lnTo>
                    <a:pt x="4554" y="732"/>
                  </a:lnTo>
                  <a:lnTo>
                    <a:pt x="4518" y="750"/>
                  </a:lnTo>
                  <a:lnTo>
                    <a:pt x="4500" y="744"/>
                  </a:lnTo>
                  <a:lnTo>
                    <a:pt x="4458" y="774"/>
                  </a:lnTo>
                  <a:lnTo>
                    <a:pt x="4464" y="756"/>
                  </a:lnTo>
                  <a:lnTo>
                    <a:pt x="4440" y="774"/>
                  </a:lnTo>
                  <a:lnTo>
                    <a:pt x="4464" y="744"/>
                  </a:lnTo>
                  <a:lnTo>
                    <a:pt x="4500" y="744"/>
                  </a:lnTo>
                  <a:lnTo>
                    <a:pt x="4506" y="738"/>
                  </a:lnTo>
                  <a:lnTo>
                    <a:pt x="4518" y="714"/>
                  </a:lnTo>
                  <a:lnTo>
                    <a:pt x="4518" y="708"/>
                  </a:lnTo>
                  <a:lnTo>
                    <a:pt x="4512" y="702"/>
                  </a:lnTo>
                  <a:lnTo>
                    <a:pt x="4506" y="708"/>
                  </a:lnTo>
                  <a:lnTo>
                    <a:pt x="4494" y="714"/>
                  </a:lnTo>
                  <a:lnTo>
                    <a:pt x="4488" y="726"/>
                  </a:lnTo>
                  <a:lnTo>
                    <a:pt x="4452" y="726"/>
                  </a:lnTo>
                  <a:lnTo>
                    <a:pt x="4428" y="738"/>
                  </a:lnTo>
                  <a:lnTo>
                    <a:pt x="4452" y="708"/>
                  </a:lnTo>
                  <a:lnTo>
                    <a:pt x="4482" y="708"/>
                  </a:lnTo>
                  <a:lnTo>
                    <a:pt x="4494" y="702"/>
                  </a:lnTo>
                  <a:lnTo>
                    <a:pt x="4500" y="702"/>
                  </a:lnTo>
                  <a:lnTo>
                    <a:pt x="4506" y="696"/>
                  </a:lnTo>
                  <a:lnTo>
                    <a:pt x="4506" y="690"/>
                  </a:lnTo>
                  <a:lnTo>
                    <a:pt x="4500" y="684"/>
                  </a:lnTo>
                  <a:lnTo>
                    <a:pt x="4458" y="684"/>
                  </a:lnTo>
                  <a:lnTo>
                    <a:pt x="4446" y="690"/>
                  </a:lnTo>
                  <a:lnTo>
                    <a:pt x="4428" y="696"/>
                  </a:lnTo>
                  <a:lnTo>
                    <a:pt x="4422" y="702"/>
                  </a:lnTo>
                  <a:lnTo>
                    <a:pt x="4416" y="702"/>
                  </a:lnTo>
                  <a:lnTo>
                    <a:pt x="4404" y="684"/>
                  </a:lnTo>
                  <a:lnTo>
                    <a:pt x="4380" y="702"/>
                  </a:lnTo>
                  <a:lnTo>
                    <a:pt x="4398" y="672"/>
                  </a:lnTo>
                  <a:lnTo>
                    <a:pt x="4344" y="696"/>
                  </a:lnTo>
                  <a:lnTo>
                    <a:pt x="4344" y="672"/>
                  </a:lnTo>
                  <a:lnTo>
                    <a:pt x="4350" y="672"/>
                  </a:lnTo>
                  <a:lnTo>
                    <a:pt x="4356" y="666"/>
                  </a:lnTo>
                  <a:lnTo>
                    <a:pt x="4368" y="666"/>
                  </a:lnTo>
                  <a:lnTo>
                    <a:pt x="4386" y="660"/>
                  </a:lnTo>
                  <a:lnTo>
                    <a:pt x="4392" y="660"/>
                  </a:lnTo>
                  <a:lnTo>
                    <a:pt x="4398" y="654"/>
                  </a:lnTo>
                  <a:lnTo>
                    <a:pt x="4356" y="654"/>
                  </a:lnTo>
                  <a:lnTo>
                    <a:pt x="4338" y="660"/>
                  </a:lnTo>
                  <a:lnTo>
                    <a:pt x="4326" y="660"/>
                  </a:lnTo>
                  <a:lnTo>
                    <a:pt x="4320" y="648"/>
                  </a:lnTo>
                  <a:lnTo>
                    <a:pt x="4332" y="648"/>
                  </a:lnTo>
                  <a:lnTo>
                    <a:pt x="4356" y="636"/>
                  </a:lnTo>
                  <a:lnTo>
                    <a:pt x="4368" y="636"/>
                  </a:lnTo>
                  <a:lnTo>
                    <a:pt x="4380" y="630"/>
                  </a:lnTo>
                  <a:lnTo>
                    <a:pt x="4386" y="624"/>
                  </a:lnTo>
                  <a:lnTo>
                    <a:pt x="4368" y="618"/>
                  </a:lnTo>
                  <a:lnTo>
                    <a:pt x="4326" y="612"/>
                  </a:lnTo>
                  <a:lnTo>
                    <a:pt x="4290" y="612"/>
                  </a:lnTo>
                  <a:lnTo>
                    <a:pt x="4266" y="606"/>
                  </a:lnTo>
                  <a:lnTo>
                    <a:pt x="4236" y="606"/>
                  </a:lnTo>
                  <a:lnTo>
                    <a:pt x="4230" y="612"/>
                  </a:lnTo>
                  <a:lnTo>
                    <a:pt x="4230" y="618"/>
                  </a:lnTo>
                  <a:lnTo>
                    <a:pt x="4236" y="624"/>
                  </a:lnTo>
                  <a:lnTo>
                    <a:pt x="4242" y="636"/>
                  </a:lnTo>
                  <a:lnTo>
                    <a:pt x="4206" y="630"/>
                  </a:lnTo>
                  <a:lnTo>
                    <a:pt x="4212" y="660"/>
                  </a:lnTo>
                  <a:lnTo>
                    <a:pt x="4194" y="636"/>
                  </a:lnTo>
                  <a:lnTo>
                    <a:pt x="4152" y="660"/>
                  </a:lnTo>
                  <a:lnTo>
                    <a:pt x="4158" y="654"/>
                  </a:lnTo>
                  <a:lnTo>
                    <a:pt x="4158" y="636"/>
                  </a:lnTo>
                  <a:lnTo>
                    <a:pt x="4152" y="630"/>
                  </a:lnTo>
                  <a:lnTo>
                    <a:pt x="4140" y="630"/>
                  </a:lnTo>
                  <a:lnTo>
                    <a:pt x="4122" y="636"/>
                  </a:lnTo>
                  <a:lnTo>
                    <a:pt x="4110" y="642"/>
                  </a:lnTo>
                  <a:lnTo>
                    <a:pt x="4098" y="642"/>
                  </a:lnTo>
                  <a:lnTo>
                    <a:pt x="4086" y="648"/>
                  </a:lnTo>
                  <a:lnTo>
                    <a:pt x="4080" y="654"/>
                  </a:lnTo>
                  <a:lnTo>
                    <a:pt x="4074" y="654"/>
                  </a:lnTo>
                  <a:lnTo>
                    <a:pt x="4092" y="618"/>
                  </a:lnTo>
                  <a:lnTo>
                    <a:pt x="4110" y="618"/>
                  </a:lnTo>
                  <a:lnTo>
                    <a:pt x="4122" y="612"/>
                  </a:lnTo>
                  <a:lnTo>
                    <a:pt x="4134" y="612"/>
                  </a:lnTo>
                  <a:lnTo>
                    <a:pt x="4146" y="606"/>
                  </a:lnTo>
                  <a:lnTo>
                    <a:pt x="4152" y="600"/>
                  </a:lnTo>
                  <a:lnTo>
                    <a:pt x="4152" y="594"/>
                  </a:lnTo>
                  <a:lnTo>
                    <a:pt x="4146" y="582"/>
                  </a:lnTo>
                  <a:lnTo>
                    <a:pt x="4134" y="570"/>
                  </a:lnTo>
                  <a:lnTo>
                    <a:pt x="4152" y="552"/>
                  </a:lnTo>
                  <a:lnTo>
                    <a:pt x="4152" y="540"/>
                  </a:lnTo>
                  <a:lnTo>
                    <a:pt x="4050" y="540"/>
                  </a:lnTo>
                  <a:lnTo>
                    <a:pt x="4026" y="558"/>
                  </a:lnTo>
                  <a:lnTo>
                    <a:pt x="3942" y="558"/>
                  </a:lnTo>
                  <a:lnTo>
                    <a:pt x="3948" y="576"/>
                  </a:lnTo>
                  <a:lnTo>
                    <a:pt x="3978" y="588"/>
                  </a:lnTo>
                  <a:lnTo>
                    <a:pt x="3936" y="576"/>
                  </a:lnTo>
                  <a:lnTo>
                    <a:pt x="3948" y="600"/>
                  </a:lnTo>
                  <a:lnTo>
                    <a:pt x="3936" y="594"/>
                  </a:lnTo>
                  <a:lnTo>
                    <a:pt x="3930" y="594"/>
                  </a:lnTo>
                  <a:lnTo>
                    <a:pt x="3918" y="588"/>
                  </a:lnTo>
                  <a:lnTo>
                    <a:pt x="3894" y="588"/>
                  </a:lnTo>
                  <a:lnTo>
                    <a:pt x="3882" y="594"/>
                  </a:lnTo>
                  <a:lnTo>
                    <a:pt x="3876" y="606"/>
                  </a:lnTo>
                  <a:lnTo>
                    <a:pt x="3882" y="612"/>
                  </a:lnTo>
                  <a:lnTo>
                    <a:pt x="3888" y="624"/>
                  </a:lnTo>
                  <a:lnTo>
                    <a:pt x="3894" y="630"/>
                  </a:lnTo>
                  <a:lnTo>
                    <a:pt x="3900" y="660"/>
                  </a:lnTo>
                  <a:lnTo>
                    <a:pt x="3894" y="660"/>
                  </a:lnTo>
                  <a:lnTo>
                    <a:pt x="3888" y="654"/>
                  </a:lnTo>
                  <a:lnTo>
                    <a:pt x="3864" y="642"/>
                  </a:lnTo>
                  <a:lnTo>
                    <a:pt x="3852" y="642"/>
                  </a:lnTo>
                  <a:lnTo>
                    <a:pt x="3828" y="666"/>
                  </a:lnTo>
                  <a:lnTo>
                    <a:pt x="3828" y="678"/>
                  </a:lnTo>
                  <a:lnTo>
                    <a:pt x="3846" y="678"/>
                  </a:lnTo>
                  <a:lnTo>
                    <a:pt x="3858" y="690"/>
                  </a:lnTo>
                  <a:lnTo>
                    <a:pt x="3810" y="714"/>
                  </a:lnTo>
                  <a:lnTo>
                    <a:pt x="3750" y="720"/>
                  </a:lnTo>
                  <a:lnTo>
                    <a:pt x="3762" y="720"/>
                  </a:lnTo>
                  <a:lnTo>
                    <a:pt x="3798" y="702"/>
                  </a:lnTo>
                  <a:lnTo>
                    <a:pt x="3810" y="690"/>
                  </a:lnTo>
                  <a:lnTo>
                    <a:pt x="3810" y="684"/>
                  </a:lnTo>
                  <a:lnTo>
                    <a:pt x="3804" y="684"/>
                  </a:lnTo>
                  <a:lnTo>
                    <a:pt x="3792" y="672"/>
                  </a:lnTo>
                  <a:lnTo>
                    <a:pt x="3786" y="672"/>
                  </a:lnTo>
                  <a:lnTo>
                    <a:pt x="3786" y="660"/>
                  </a:lnTo>
                  <a:lnTo>
                    <a:pt x="3804" y="642"/>
                  </a:lnTo>
                  <a:lnTo>
                    <a:pt x="3816" y="636"/>
                  </a:lnTo>
                  <a:lnTo>
                    <a:pt x="3828" y="636"/>
                  </a:lnTo>
                  <a:lnTo>
                    <a:pt x="3828" y="606"/>
                  </a:lnTo>
                  <a:lnTo>
                    <a:pt x="3840" y="600"/>
                  </a:lnTo>
                  <a:lnTo>
                    <a:pt x="3858" y="582"/>
                  </a:lnTo>
                  <a:lnTo>
                    <a:pt x="3876" y="576"/>
                  </a:lnTo>
                  <a:lnTo>
                    <a:pt x="3882" y="570"/>
                  </a:lnTo>
                  <a:lnTo>
                    <a:pt x="3894" y="564"/>
                  </a:lnTo>
                  <a:lnTo>
                    <a:pt x="3906" y="564"/>
                  </a:lnTo>
                  <a:lnTo>
                    <a:pt x="3918" y="558"/>
                  </a:lnTo>
                  <a:lnTo>
                    <a:pt x="3936" y="552"/>
                  </a:lnTo>
                  <a:lnTo>
                    <a:pt x="3954" y="552"/>
                  </a:lnTo>
                  <a:lnTo>
                    <a:pt x="3966" y="546"/>
                  </a:lnTo>
                  <a:lnTo>
                    <a:pt x="3972" y="540"/>
                  </a:lnTo>
                  <a:lnTo>
                    <a:pt x="3942" y="534"/>
                  </a:lnTo>
                  <a:lnTo>
                    <a:pt x="3852" y="534"/>
                  </a:lnTo>
                  <a:lnTo>
                    <a:pt x="3822" y="540"/>
                  </a:lnTo>
                  <a:lnTo>
                    <a:pt x="3786" y="558"/>
                  </a:lnTo>
                  <a:lnTo>
                    <a:pt x="3744" y="576"/>
                  </a:lnTo>
                  <a:lnTo>
                    <a:pt x="3720" y="594"/>
                  </a:lnTo>
                  <a:lnTo>
                    <a:pt x="3708" y="600"/>
                  </a:lnTo>
                  <a:lnTo>
                    <a:pt x="3702" y="600"/>
                  </a:lnTo>
                  <a:lnTo>
                    <a:pt x="3696" y="606"/>
                  </a:lnTo>
                  <a:lnTo>
                    <a:pt x="3684" y="606"/>
                  </a:lnTo>
                  <a:lnTo>
                    <a:pt x="3660" y="618"/>
                  </a:lnTo>
                  <a:lnTo>
                    <a:pt x="3654" y="618"/>
                  </a:lnTo>
                  <a:lnTo>
                    <a:pt x="3642" y="624"/>
                  </a:lnTo>
                  <a:lnTo>
                    <a:pt x="3630" y="636"/>
                  </a:lnTo>
                  <a:lnTo>
                    <a:pt x="3618" y="642"/>
                  </a:lnTo>
                  <a:lnTo>
                    <a:pt x="3600" y="660"/>
                  </a:lnTo>
                  <a:lnTo>
                    <a:pt x="3588" y="666"/>
                  </a:lnTo>
                  <a:lnTo>
                    <a:pt x="3582" y="678"/>
                  </a:lnTo>
                  <a:lnTo>
                    <a:pt x="3582" y="684"/>
                  </a:lnTo>
                  <a:lnTo>
                    <a:pt x="3588" y="690"/>
                  </a:lnTo>
                  <a:lnTo>
                    <a:pt x="3612" y="690"/>
                  </a:lnTo>
                  <a:lnTo>
                    <a:pt x="3648" y="696"/>
                  </a:lnTo>
                  <a:lnTo>
                    <a:pt x="3672" y="696"/>
                  </a:lnTo>
                  <a:lnTo>
                    <a:pt x="3684" y="708"/>
                  </a:lnTo>
                  <a:lnTo>
                    <a:pt x="3666" y="714"/>
                  </a:lnTo>
                  <a:lnTo>
                    <a:pt x="3594" y="726"/>
                  </a:lnTo>
                  <a:lnTo>
                    <a:pt x="3570" y="732"/>
                  </a:lnTo>
                  <a:lnTo>
                    <a:pt x="3576" y="738"/>
                  </a:lnTo>
                  <a:lnTo>
                    <a:pt x="3594" y="750"/>
                  </a:lnTo>
                  <a:lnTo>
                    <a:pt x="3630" y="762"/>
                  </a:lnTo>
                  <a:lnTo>
                    <a:pt x="3642" y="768"/>
                  </a:lnTo>
                  <a:lnTo>
                    <a:pt x="3648" y="768"/>
                  </a:lnTo>
                  <a:lnTo>
                    <a:pt x="3690" y="750"/>
                  </a:lnTo>
                  <a:lnTo>
                    <a:pt x="3690" y="762"/>
                  </a:lnTo>
                  <a:lnTo>
                    <a:pt x="3702" y="774"/>
                  </a:lnTo>
                  <a:lnTo>
                    <a:pt x="3744" y="774"/>
                  </a:lnTo>
                  <a:lnTo>
                    <a:pt x="3786" y="780"/>
                  </a:lnTo>
                  <a:lnTo>
                    <a:pt x="3834" y="786"/>
                  </a:lnTo>
                  <a:lnTo>
                    <a:pt x="3876" y="792"/>
                  </a:lnTo>
                  <a:lnTo>
                    <a:pt x="3894" y="792"/>
                  </a:lnTo>
                  <a:lnTo>
                    <a:pt x="3900" y="786"/>
                  </a:lnTo>
                  <a:lnTo>
                    <a:pt x="3894" y="780"/>
                  </a:lnTo>
                  <a:lnTo>
                    <a:pt x="3882" y="774"/>
                  </a:lnTo>
                  <a:lnTo>
                    <a:pt x="3876" y="768"/>
                  </a:lnTo>
                  <a:lnTo>
                    <a:pt x="3894" y="768"/>
                  </a:lnTo>
                  <a:lnTo>
                    <a:pt x="3930" y="774"/>
                  </a:lnTo>
                  <a:lnTo>
                    <a:pt x="3966" y="774"/>
                  </a:lnTo>
                  <a:lnTo>
                    <a:pt x="3990" y="780"/>
                  </a:lnTo>
                  <a:lnTo>
                    <a:pt x="4002" y="780"/>
                  </a:lnTo>
                  <a:lnTo>
                    <a:pt x="4020" y="786"/>
                  </a:lnTo>
                  <a:lnTo>
                    <a:pt x="4032" y="792"/>
                  </a:lnTo>
                  <a:lnTo>
                    <a:pt x="4050" y="792"/>
                  </a:lnTo>
                  <a:lnTo>
                    <a:pt x="4062" y="786"/>
                  </a:lnTo>
                  <a:lnTo>
                    <a:pt x="4062" y="774"/>
                  </a:lnTo>
                  <a:lnTo>
                    <a:pt x="4056" y="768"/>
                  </a:lnTo>
                  <a:lnTo>
                    <a:pt x="4050" y="756"/>
                  </a:lnTo>
                  <a:lnTo>
                    <a:pt x="4044" y="750"/>
                  </a:lnTo>
                  <a:lnTo>
                    <a:pt x="4092" y="738"/>
                  </a:lnTo>
                  <a:lnTo>
                    <a:pt x="4092" y="744"/>
                  </a:lnTo>
                  <a:lnTo>
                    <a:pt x="4098" y="750"/>
                  </a:lnTo>
                  <a:lnTo>
                    <a:pt x="4104" y="762"/>
                  </a:lnTo>
                  <a:lnTo>
                    <a:pt x="4104" y="768"/>
                  </a:lnTo>
                  <a:lnTo>
                    <a:pt x="4110" y="774"/>
                  </a:lnTo>
                  <a:lnTo>
                    <a:pt x="4116" y="774"/>
                  </a:lnTo>
                  <a:lnTo>
                    <a:pt x="4122" y="780"/>
                  </a:lnTo>
                  <a:lnTo>
                    <a:pt x="4134" y="786"/>
                  </a:lnTo>
                  <a:lnTo>
                    <a:pt x="4140" y="792"/>
                  </a:lnTo>
                  <a:lnTo>
                    <a:pt x="4170" y="786"/>
                  </a:lnTo>
                  <a:lnTo>
                    <a:pt x="4170" y="792"/>
                  </a:lnTo>
                  <a:lnTo>
                    <a:pt x="4164" y="798"/>
                  </a:lnTo>
                  <a:lnTo>
                    <a:pt x="4164" y="816"/>
                  </a:lnTo>
                  <a:lnTo>
                    <a:pt x="4170" y="816"/>
                  </a:lnTo>
                  <a:lnTo>
                    <a:pt x="4182" y="822"/>
                  </a:lnTo>
                  <a:lnTo>
                    <a:pt x="4200" y="822"/>
                  </a:lnTo>
                  <a:lnTo>
                    <a:pt x="4206" y="828"/>
                  </a:lnTo>
                  <a:lnTo>
                    <a:pt x="4212" y="828"/>
                  </a:lnTo>
                  <a:lnTo>
                    <a:pt x="4194" y="846"/>
                  </a:lnTo>
                  <a:lnTo>
                    <a:pt x="4194" y="858"/>
                  </a:lnTo>
                  <a:lnTo>
                    <a:pt x="4230" y="858"/>
                  </a:lnTo>
                  <a:lnTo>
                    <a:pt x="4224" y="882"/>
                  </a:lnTo>
                  <a:lnTo>
                    <a:pt x="4236" y="882"/>
                  </a:lnTo>
                  <a:lnTo>
                    <a:pt x="4248" y="888"/>
                  </a:lnTo>
                  <a:lnTo>
                    <a:pt x="4254" y="888"/>
                  </a:lnTo>
                  <a:lnTo>
                    <a:pt x="4278" y="900"/>
                  </a:lnTo>
                  <a:lnTo>
                    <a:pt x="4278" y="924"/>
                  </a:lnTo>
                  <a:lnTo>
                    <a:pt x="4266" y="948"/>
                  </a:lnTo>
                  <a:lnTo>
                    <a:pt x="4254" y="966"/>
                  </a:lnTo>
                  <a:lnTo>
                    <a:pt x="4248" y="978"/>
                  </a:lnTo>
                  <a:lnTo>
                    <a:pt x="4236" y="990"/>
                  </a:lnTo>
                  <a:lnTo>
                    <a:pt x="4218" y="996"/>
                  </a:lnTo>
                  <a:lnTo>
                    <a:pt x="4182" y="1014"/>
                  </a:lnTo>
                  <a:lnTo>
                    <a:pt x="4140" y="1026"/>
                  </a:lnTo>
                  <a:lnTo>
                    <a:pt x="4092" y="1050"/>
                  </a:lnTo>
                  <a:lnTo>
                    <a:pt x="4098" y="1056"/>
                  </a:lnTo>
                  <a:lnTo>
                    <a:pt x="4110" y="1062"/>
                  </a:lnTo>
                  <a:lnTo>
                    <a:pt x="4122" y="1074"/>
                  </a:lnTo>
                  <a:lnTo>
                    <a:pt x="4122" y="1080"/>
                  </a:lnTo>
                  <a:lnTo>
                    <a:pt x="4116" y="1086"/>
                  </a:lnTo>
                  <a:lnTo>
                    <a:pt x="4080" y="1098"/>
                  </a:lnTo>
                  <a:lnTo>
                    <a:pt x="4062" y="1098"/>
                  </a:lnTo>
                  <a:lnTo>
                    <a:pt x="3984" y="1110"/>
                  </a:lnTo>
                  <a:lnTo>
                    <a:pt x="3978" y="1128"/>
                  </a:lnTo>
                  <a:lnTo>
                    <a:pt x="3960" y="1110"/>
                  </a:lnTo>
                  <a:lnTo>
                    <a:pt x="3954" y="1110"/>
                  </a:lnTo>
                  <a:lnTo>
                    <a:pt x="3948" y="1104"/>
                  </a:lnTo>
                  <a:lnTo>
                    <a:pt x="3930" y="1104"/>
                  </a:lnTo>
                  <a:lnTo>
                    <a:pt x="3918" y="1098"/>
                  </a:lnTo>
                  <a:lnTo>
                    <a:pt x="3900" y="1098"/>
                  </a:lnTo>
                  <a:lnTo>
                    <a:pt x="3888" y="1104"/>
                  </a:lnTo>
                  <a:lnTo>
                    <a:pt x="3882" y="1110"/>
                  </a:lnTo>
                  <a:lnTo>
                    <a:pt x="3882" y="1122"/>
                  </a:lnTo>
                  <a:lnTo>
                    <a:pt x="3870" y="1122"/>
                  </a:lnTo>
                  <a:lnTo>
                    <a:pt x="3858" y="1128"/>
                  </a:lnTo>
                  <a:lnTo>
                    <a:pt x="3840" y="1134"/>
                  </a:lnTo>
                  <a:lnTo>
                    <a:pt x="3828" y="1140"/>
                  </a:lnTo>
                  <a:lnTo>
                    <a:pt x="3822" y="1146"/>
                  </a:lnTo>
                  <a:lnTo>
                    <a:pt x="3816" y="1158"/>
                  </a:lnTo>
                  <a:lnTo>
                    <a:pt x="3816" y="1170"/>
                  </a:lnTo>
                  <a:lnTo>
                    <a:pt x="3822" y="1182"/>
                  </a:lnTo>
                  <a:lnTo>
                    <a:pt x="3834" y="1188"/>
                  </a:lnTo>
                  <a:lnTo>
                    <a:pt x="3864" y="1188"/>
                  </a:lnTo>
                  <a:lnTo>
                    <a:pt x="3876" y="1182"/>
                  </a:lnTo>
                  <a:lnTo>
                    <a:pt x="3894" y="1182"/>
                  </a:lnTo>
                  <a:lnTo>
                    <a:pt x="3906" y="1176"/>
                  </a:lnTo>
                  <a:lnTo>
                    <a:pt x="3924" y="1170"/>
                  </a:lnTo>
                  <a:lnTo>
                    <a:pt x="3936" y="1164"/>
                  </a:lnTo>
                  <a:lnTo>
                    <a:pt x="3966" y="1164"/>
                  </a:lnTo>
                  <a:lnTo>
                    <a:pt x="3978" y="1176"/>
                  </a:lnTo>
                  <a:lnTo>
                    <a:pt x="3996" y="1176"/>
                  </a:lnTo>
                  <a:lnTo>
                    <a:pt x="4002" y="1170"/>
                  </a:lnTo>
                  <a:lnTo>
                    <a:pt x="4002" y="1152"/>
                  </a:lnTo>
                  <a:lnTo>
                    <a:pt x="4026" y="1128"/>
                  </a:lnTo>
                  <a:lnTo>
                    <a:pt x="4014" y="1140"/>
                  </a:lnTo>
                  <a:lnTo>
                    <a:pt x="4014" y="1146"/>
                  </a:lnTo>
                  <a:lnTo>
                    <a:pt x="4020" y="1152"/>
                  </a:lnTo>
                  <a:lnTo>
                    <a:pt x="4086" y="1152"/>
                  </a:lnTo>
                  <a:lnTo>
                    <a:pt x="4080" y="1158"/>
                  </a:lnTo>
                  <a:lnTo>
                    <a:pt x="4068" y="1164"/>
                  </a:lnTo>
                  <a:lnTo>
                    <a:pt x="4062" y="1170"/>
                  </a:lnTo>
                  <a:lnTo>
                    <a:pt x="4062" y="1176"/>
                  </a:lnTo>
                  <a:lnTo>
                    <a:pt x="4068" y="1182"/>
                  </a:lnTo>
                  <a:lnTo>
                    <a:pt x="4080" y="1182"/>
                  </a:lnTo>
                  <a:lnTo>
                    <a:pt x="4086" y="1188"/>
                  </a:lnTo>
                  <a:lnTo>
                    <a:pt x="4098" y="1188"/>
                  </a:lnTo>
                  <a:lnTo>
                    <a:pt x="4086" y="1200"/>
                  </a:lnTo>
                  <a:lnTo>
                    <a:pt x="4086" y="1206"/>
                  </a:lnTo>
                  <a:lnTo>
                    <a:pt x="4092" y="1212"/>
                  </a:lnTo>
                  <a:lnTo>
                    <a:pt x="4116" y="1224"/>
                  </a:lnTo>
                  <a:lnTo>
                    <a:pt x="4146" y="1224"/>
                  </a:lnTo>
                  <a:lnTo>
                    <a:pt x="4098" y="1242"/>
                  </a:lnTo>
                  <a:lnTo>
                    <a:pt x="4098" y="1248"/>
                  </a:lnTo>
                  <a:lnTo>
                    <a:pt x="4110" y="1260"/>
                  </a:lnTo>
                  <a:lnTo>
                    <a:pt x="4110" y="1266"/>
                  </a:lnTo>
                  <a:lnTo>
                    <a:pt x="4116" y="1272"/>
                  </a:lnTo>
                  <a:lnTo>
                    <a:pt x="4122" y="1266"/>
                  </a:lnTo>
                  <a:lnTo>
                    <a:pt x="4128" y="1266"/>
                  </a:lnTo>
                  <a:lnTo>
                    <a:pt x="4140" y="1260"/>
                  </a:lnTo>
                  <a:lnTo>
                    <a:pt x="4146" y="1272"/>
                  </a:lnTo>
                  <a:lnTo>
                    <a:pt x="4158" y="1284"/>
                  </a:lnTo>
                  <a:lnTo>
                    <a:pt x="4182" y="1284"/>
                  </a:lnTo>
                  <a:lnTo>
                    <a:pt x="4194" y="1290"/>
                  </a:lnTo>
                  <a:lnTo>
                    <a:pt x="4206" y="1290"/>
                  </a:lnTo>
                  <a:lnTo>
                    <a:pt x="4206" y="1308"/>
                  </a:lnTo>
                  <a:lnTo>
                    <a:pt x="4212" y="1314"/>
                  </a:lnTo>
                  <a:lnTo>
                    <a:pt x="4224" y="1320"/>
                  </a:lnTo>
                  <a:lnTo>
                    <a:pt x="4272" y="1320"/>
                  </a:lnTo>
                  <a:lnTo>
                    <a:pt x="4290" y="1326"/>
                  </a:lnTo>
                  <a:lnTo>
                    <a:pt x="4350" y="1356"/>
                  </a:lnTo>
                  <a:lnTo>
                    <a:pt x="4356" y="1362"/>
                  </a:lnTo>
                  <a:lnTo>
                    <a:pt x="4362" y="1362"/>
                  </a:lnTo>
                  <a:lnTo>
                    <a:pt x="4362" y="1356"/>
                  </a:lnTo>
                  <a:lnTo>
                    <a:pt x="4368" y="1350"/>
                  </a:lnTo>
                  <a:lnTo>
                    <a:pt x="4368" y="1320"/>
                  </a:lnTo>
                  <a:lnTo>
                    <a:pt x="4362" y="1308"/>
                  </a:lnTo>
                  <a:lnTo>
                    <a:pt x="4350" y="1296"/>
                  </a:lnTo>
                  <a:lnTo>
                    <a:pt x="4338" y="1290"/>
                  </a:lnTo>
                  <a:lnTo>
                    <a:pt x="4320" y="1272"/>
                  </a:lnTo>
                  <a:lnTo>
                    <a:pt x="4314" y="1272"/>
                  </a:lnTo>
                  <a:lnTo>
                    <a:pt x="4308" y="1260"/>
                  </a:lnTo>
                  <a:lnTo>
                    <a:pt x="4302" y="1254"/>
                  </a:lnTo>
                  <a:lnTo>
                    <a:pt x="4290" y="1230"/>
                  </a:lnTo>
                  <a:lnTo>
                    <a:pt x="4290" y="1224"/>
                  </a:lnTo>
                  <a:lnTo>
                    <a:pt x="4308" y="1224"/>
                  </a:lnTo>
                  <a:lnTo>
                    <a:pt x="4314" y="1230"/>
                  </a:lnTo>
                  <a:lnTo>
                    <a:pt x="4326" y="1236"/>
                  </a:lnTo>
                  <a:lnTo>
                    <a:pt x="4332" y="1242"/>
                  </a:lnTo>
                  <a:lnTo>
                    <a:pt x="4332" y="1212"/>
                  </a:lnTo>
                  <a:lnTo>
                    <a:pt x="4332" y="1218"/>
                  </a:lnTo>
                  <a:lnTo>
                    <a:pt x="4344" y="1230"/>
                  </a:lnTo>
                  <a:lnTo>
                    <a:pt x="4350" y="1242"/>
                  </a:lnTo>
                  <a:lnTo>
                    <a:pt x="4362" y="1254"/>
                  </a:lnTo>
                  <a:lnTo>
                    <a:pt x="4374" y="1254"/>
                  </a:lnTo>
                  <a:lnTo>
                    <a:pt x="4386" y="1248"/>
                  </a:lnTo>
                  <a:lnTo>
                    <a:pt x="4398" y="1248"/>
                  </a:lnTo>
                  <a:lnTo>
                    <a:pt x="4398" y="1272"/>
                  </a:lnTo>
                  <a:lnTo>
                    <a:pt x="4404" y="1278"/>
                  </a:lnTo>
                  <a:lnTo>
                    <a:pt x="4416" y="1278"/>
                  </a:lnTo>
                  <a:lnTo>
                    <a:pt x="4428" y="1290"/>
                  </a:lnTo>
                  <a:lnTo>
                    <a:pt x="4452" y="1272"/>
                  </a:lnTo>
                  <a:lnTo>
                    <a:pt x="4464" y="1284"/>
                  </a:lnTo>
                  <a:lnTo>
                    <a:pt x="4470" y="1284"/>
                  </a:lnTo>
                  <a:lnTo>
                    <a:pt x="4476" y="1278"/>
                  </a:lnTo>
                  <a:lnTo>
                    <a:pt x="4476" y="1260"/>
                  </a:lnTo>
                  <a:lnTo>
                    <a:pt x="4470" y="1254"/>
                  </a:lnTo>
                  <a:lnTo>
                    <a:pt x="4488" y="1212"/>
                  </a:lnTo>
                  <a:lnTo>
                    <a:pt x="4488" y="1236"/>
                  </a:lnTo>
                  <a:lnTo>
                    <a:pt x="4500" y="1248"/>
                  </a:lnTo>
                  <a:lnTo>
                    <a:pt x="4512" y="1236"/>
                  </a:lnTo>
                  <a:lnTo>
                    <a:pt x="4518" y="1218"/>
                  </a:lnTo>
                  <a:lnTo>
                    <a:pt x="4518" y="1206"/>
                  </a:lnTo>
                  <a:lnTo>
                    <a:pt x="4494" y="1182"/>
                  </a:lnTo>
                  <a:lnTo>
                    <a:pt x="4518" y="1176"/>
                  </a:lnTo>
                  <a:lnTo>
                    <a:pt x="4500" y="1164"/>
                  </a:lnTo>
                  <a:lnTo>
                    <a:pt x="4500" y="1146"/>
                  </a:lnTo>
                  <a:lnTo>
                    <a:pt x="4470" y="1146"/>
                  </a:lnTo>
                  <a:lnTo>
                    <a:pt x="4470" y="1134"/>
                  </a:lnTo>
                  <a:lnTo>
                    <a:pt x="4446" y="1134"/>
                  </a:lnTo>
                  <a:lnTo>
                    <a:pt x="4446" y="1080"/>
                  </a:lnTo>
                  <a:lnTo>
                    <a:pt x="4416" y="1086"/>
                  </a:lnTo>
                  <a:lnTo>
                    <a:pt x="4410" y="1080"/>
                  </a:lnTo>
                  <a:lnTo>
                    <a:pt x="4410" y="1056"/>
                  </a:lnTo>
                  <a:lnTo>
                    <a:pt x="4416" y="1050"/>
                  </a:lnTo>
                  <a:lnTo>
                    <a:pt x="4428" y="1050"/>
                  </a:lnTo>
                  <a:lnTo>
                    <a:pt x="4434" y="1056"/>
                  </a:lnTo>
                  <a:lnTo>
                    <a:pt x="4446" y="1062"/>
                  </a:lnTo>
                  <a:lnTo>
                    <a:pt x="4452" y="1068"/>
                  </a:lnTo>
                  <a:lnTo>
                    <a:pt x="4458" y="1068"/>
                  </a:lnTo>
                  <a:lnTo>
                    <a:pt x="4464" y="1062"/>
                  </a:lnTo>
                  <a:lnTo>
                    <a:pt x="4464" y="1026"/>
                  </a:lnTo>
                  <a:lnTo>
                    <a:pt x="4488" y="1032"/>
                  </a:lnTo>
                  <a:lnTo>
                    <a:pt x="4524" y="1014"/>
                  </a:lnTo>
                  <a:lnTo>
                    <a:pt x="4524" y="1026"/>
                  </a:lnTo>
                  <a:lnTo>
                    <a:pt x="4530" y="1038"/>
                  </a:lnTo>
                  <a:lnTo>
                    <a:pt x="4530" y="1044"/>
                  </a:lnTo>
                  <a:lnTo>
                    <a:pt x="4536" y="1050"/>
                  </a:lnTo>
                  <a:lnTo>
                    <a:pt x="4548" y="1044"/>
                  </a:lnTo>
                  <a:lnTo>
                    <a:pt x="4566" y="1044"/>
                  </a:lnTo>
                  <a:lnTo>
                    <a:pt x="4554" y="1062"/>
                  </a:lnTo>
                  <a:lnTo>
                    <a:pt x="4578" y="1062"/>
                  </a:lnTo>
                  <a:lnTo>
                    <a:pt x="4566" y="1092"/>
                  </a:lnTo>
                  <a:lnTo>
                    <a:pt x="4566" y="1098"/>
                  </a:lnTo>
                  <a:lnTo>
                    <a:pt x="4584" y="1116"/>
                  </a:lnTo>
                  <a:lnTo>
                    <a:pt x="4590" y="1128"/>
                  </a:lnTo>
                  <a:lnTo>
                    <a:pt x="4614" y="1140"/>
                  </a:lnTo>
                  <a:lnTo>
                    <a:pt x="4626" y="1134"/>
                  </a:lnTo>
                  <a:lnTo>
                    <a:pt x="4638" y="1122"/>
                  </a:lnTo>
                  <a:lnTo>
                    <a:pt x="4656" y="1086"/>
                  </a:lnTo>
                  <a:lnTo>
                    <a:pt x="4656" y="1080"/>
                  </a:lnTo>
                  <a:lnTo>
                    <a:pt x="4662" y="1068"/>
                  </a:lnTo>
                  <a:lnTo>
                    <a:pt x="4668" y="1074"/>
                  </a:lnTo>
                  <a:lnTo>
                    <a:pt x="4680" y="1080"/>
                  </a:lnTo>
                  <a:lnTo>
                    <a:pt x="4692" y="1080"/>
                  </a:lnTo>
                  <a:lnTo>
                    <a:pt x="4698" y="1086"/>
                  </a:lnTo>
                  <a:lnTo>
                    <a:pt x="4710" y="1080"/>
                  </a:lnTo>
                  <a:lnTo>
                    <a:pt x="4722" y="1068"/>
                  </a:lnTo>
                  <a:lnTo>
                    <a:pt x="4728" y="1056"/>
                  </a:lnTo>
                  <a:lnTo>
                    <a:pt x="4728" y="1038"/>
                  </a:lnTo>
                  <a:lnTo>
                    <a:pt x="4794" y="1038"/>
                  </a:lnTo>
                  <a:lnTo>
                    <a:pt x="4806" y="1026"/>
                  </a:lnTo>
                  <a:lnTo>
                    <a:pt x="4812" y="1014"/>
                  </a:lnTo>
                  <a:lnTo>
                    <a:pt x="4800" y="1002"/>
                  </a:lnTo>
                  <a:lnTo>
                    <a:pt x="4788" y="996"/>
                  </a:lnTo>
                  <a:lnTo>
                    <a:pt x="4758" y="996"/>
                  </a:lnTo>
                  <a:close/>
                  <a:moveTo>
                    <a:pt x="4476" y="1308"/>
                  </a:moveTo>
                  <a:lnTo>
                    <a:pt x="4446" y="1308"/>
                  </a:lnTo>
                  <a:lnTo>
                    <a:pt x="4440" y="1326"/>
                  </a:lnTo>
                  <a:lnTo>
                    <a:pt x="4476" y="1320"/>
                  </a:lnTo>
                  <a:lnTo>
                    <a:pt x="4476" y="1308"/>
                  </a:lnTo>
                  <a:close/>
                  <a:moveTo>
                    <a:pt x="4140" y="1290"/>
                  </a:moveTo>
                  <a:lnTo>
                    <a:pt x="4134" y="1290"/>
                  </a:lnTo>
                  <a:lnTo>
                    <a:pt x="4128" y="1296"/>
                  </a:lnTo>
                  <a:lnTo>
                    <a:pt x="4128" y="1308"/>
                  </a:lnTo>
                  <a:lnTo>
                    <a:pt x="4134" y="1314"/>
                  </a:lnTo>
                  <a:lnTo>
                    <a:pt x="4158" y="1314"/>
                  </a:lnTo>
                  <a:lnTo>
                    <a:pt x="4164" y="1308"/>
                  </a:lnTo>
                  <a:lnTo>
                    <a:pt x="4164" y="1296"/>
                  </a:lnTo>
                  <a:lnTo>
                    <a:pt x="4158" y="1290"/>
                  </a:lnTo>
                  <a:lnTo>
                    <a:pt x="4140" y="1290"/>
                  </a:lnTo>
                  <a:close/>
                  <a:moveTo>
                    <a:pt x="3834" y="1242"/>
                  </a:moveTo>
                  <a:lnTo>
                    <a:pt x="3840" y="1236"/>
                  </a:lnTo>
                  <a:lnTo>
                    <a:pt x="3834" y="1230"/>
                  </a:lnTo>
                  <a:lnTo>
                    <a:pt x="3828" y="1230"/>
                  </a:lnTo>
                  <a:lnTo>
                    <a:pt x="3822" y="1224"/>
                  </a:lnTo>
                  <a:lnTo>
                    <a:pt x="3810" y="1224"/>
                  </a:lnTo>
                  <a:lnTo>
                    <a:pt x="3810" y="1236"/>
                  </a:lnTo>
                  <a:lnTo>
                    <a:pt x="3816" y="1242"/>
                  </a:lnTo>
                  <a:lnTo>
                    <a:pt x="3816" y="1248"/>
                  </a:lnTo>
                  <a:lnTo>
                    <a:pt x="3828" y="1248"/>
                  </a:lnTo>
                  <a:lnTo>
                    <a:pt x="3834" y="1242"/>
                  </a:lnTo>
                  <a:close/>
                  <a:moveTo>
                    <a:pt x="4206" y="1452"/>
                  </a:moveTo>
                  <a:lnTo>
                    <a:pt x="4170" y="1452"/>
                  </a:lnTo>
                  <a:lnTo>
                    <a:pt x="4206" y="1476"/>
                  </a:lnTo>
                  <a:lnTo>
                    <a:pt x="4218" y="1470"/>
                  </a:lnTo>
                  <a:lnTo>
                    <a:pt x="4218" y="1458"/>
                  </a:lnTo>
                  <a:lnTo>
                    <a:pt x="4212" y="1458"/>
                  </a:lnTo>
                  <a:lnTo>
                    <a:pt x="4206" y="1452"/>
                  </a:lnTo>
                  <a:close/>
                  <a:moveTo>
                    <a:pt x="4170" y="870"/>
                  </a:moveTo>
                  <a:lnTo>
                    <a:pt x="4152" y="870"/>
                  </a:lnTo>
                  <a:lnTo>
                    <a:pt x="4152" y="876"/>
                  </a:lnTo>
                  <a:lnTo>
                    <a:pt x="4158" y="882"/>
                  </a:lnTo>
                  <a:lnTo>
                    <a:pt x="4164" y="882"/>
                  </a:lnTo>
                  <a:lnTo>
                    <a:pt x="4170" y="888"/>
                  </a:lnTo>
                  <a:lnTo>
                    <a:pt x="4182" y="882"/>
                  </a:lnTo>
                  <a:lnTo>
                    <a:pt x="4188" y="882"/>
                  </a:lnTo>
                  <a:lnTo>
                    <a:pt x="4194" y="876"/>
                  </a:lnTo>
                  <a:lnTo>
                    <a:pt x="4188" y="870"/>
                  </a:lnTo>
                  <a:lnTo>
                    <a:pt x="4170" y="870"/>
                  </a:lnTo>
                  <a:close/>
                  <a:moveTo>
                    <a:pt x="4170" y="936"/>
                  </a:moveTo>
                  <a:lnTo>
                    <a:pt x="4236" y="936"/>
                  </a:lnTo>
                  <a:lnTo>
                    <a:pt x="4236" y="918"/>
                  </a:lnTo>
                  <a:lnTo>
                    <a:pt x="4188" y="918"/>
                  </a:lnTo>
                  <a:lnTo>
                    <a:pt x="4170" y="936"/>
                  </a:lnTo>
                  <a:close/>
                  <a:moveTo>
                    <a:pt x="5574" y="36"/>
                  </a:moveTo>
                  <a:lnTo>
                    <a:pt x="5490" y="36"/>
                  </a:lnTo>
                  <a:lnTo>
                    <a:pt x="5496" y="24"/>
                  </a:lnTo>
                  <a:lnTo>
                    <a:pt x="5490" y="24"/>
                  </a:lnTo>
                  <a:lnTo>
                    <a:pt x="5484" y="18"/>
                  </a:lnTo>
                  <a:lnTo>
                    <a:pt x="5448" y="18"/>
                  </a:lnTo>
                  <a:lnTo>
                    <a:pt x="5430" y="12"/>
                  </a:lnTo>
                  <a:lnTo>
                    <a:pt x="5400" y="12"/>
                  </a:lnTo>
                  <a:lnTo>
                    <a:pt x="5364" y="18"/>
                  </a:lnTo>
                  <a:lnTo>
                    <a:pt x="5334" y="30"/>
                  </a:lnTo>
                  <a:lnTo>
                    <a:pt x="5304" y="36"/>
                  </a:lnTo>
                  <a:lnTo>
                    <a:pt x="5292" y="36"/>
                  </a:lnTo>
                  <a:lnTo>
                    <a:pt x="5346" y="12"/>
                  </a:lnTo>
                  <a:lnTo>
                    <a:pt x="5274" y="18"/>
                  </a:lnTo>
                  <a:lnTo>
                    <a:pt x="5268" y="18"/>
                  </a:lnTo>
                  <a:lnTo>
                    <a:pt x="5262" y="12"/>
                  </a:lnTo>
                  <a:lnTo>
                    <a:pt x="5250" y="12"/>
                  </a:lnTo>
                  <a:lnTo>
                    <a:pt x="5226" y="0"/>
                  </a:lnTo>
                  <a:lnTo>
                    <a:pt x="5196" y="0"/>
                  </a:lnTo>
                  <a:lnTo>
                    <a:pt x="5190" y="6"/>
                  </a:lnTo>
                  <a:lnTo>
                    <a:pt x="5184" y="18"/>
                  </a:lnTo>
                  <a:lnTo>
                    <a:pt x="5178" y="18"/>
                  </a:lnTo>
                  <a:lnTo>
                    <a:pt x="5172" y="12"/>
                  </a:lnTo>
                  <a:lnTo>
                    <a:pt x="5160" y="6"/>
                  </a:lnTo>
                  <a:lnTo>
                    <a:pt x="5148" y="6"/>
                  </a:lnTo>
                  <a:lnTo>
                    <a:pt x="5136" y="0"/>
                  </a:lnTo>
                  <a:lnTo>
                    <a:pt x="5124" y="0"/>
                  </a:lnTo>
                  <a:lnTo>
                    <a:pt x="5112" y="6"/>
                  </a:lnTo>
                  <a:lnTo>
                    <a:pt x="5106" y="12"/>
                  </a:lnTo>
                  <a:lnTo>
                    <a:pt x="5094" y="18"/>
                  </a:lnTo>
                  <a:lnTo>
                    <a:pt x="5088" y="24"/>
                  </a:lnTo>
                  <a:lnTo>
                    <a:pt x="5046" y="12"/>
                  </a:lnTo>
                  <a:lnTo>
                    <a:pt x="4938" y="6"/>
                  </a:lnTo>
                  <a:lnTo>
                    <a:pt x="4968" y="36"/>
                  </a:lnTo>
                  <a:lnTo>
                    <a:pt x="4902" y="12"/>
                  </a:lnTo>
                  <a:lnTo>
                    <a:pt x="4842" y="24"/>
                  </a:lnTo>
                  <a:lnTo>
                    <a:pt x="4830" y="24"/>
                  </a:lnTo>
                  <a:lnTo>
                    <a:pt x="4812" y="18"/>
                  </a:lnTo>
                  <a:lnTo>
                    <a:pt x="4746" y="18"/>
                  </a:lnTo>
                  <a:lnTo>
                    <a:pt x="4710" y="24"/>
                  </a:lnTo>
                  <a:lnTo>
                    <a:pt x="4686" y="36"/>
                  </a:lnTo>
                  <a:lnTo>
                    <a:pt x="4674" y="36"/>
                  </a:lnTo>
                  <a:lnTo>
                    <a:pt x="4764" y="60"/>
                  </a:lnTo>
                  <a:lnTo>
                    <a:pt x="4674" y="48"/>
                  </a:lnTo>
                  <a:lnTo>
                    <a:pt x="4662" y="48"/>
                  </a:lnTo>
                  <a:lnTo>
                    <a:pt x="4590" y="36"/>
                  </a:lnTo>
                  <a:lnTo>
                    <a:pt x="4542" y="36"/>
                  </a:lnTo>
                  <a:lnTo>
                    <a:pt x="4530" y="48"/>
                  </a:lnTo>
                  <a:lnTo>
                    <a:pt x="4530" y="60"/>
                  </a:lnTo>
                  <a:lnTo>
                    <a:pt x="4512" y="60"/>
                  </a:lnTo>
                  <a:lnTo>
                    <a:pt x="4482" y="54"/>
                  </a:lnTo>
                  <a:lnTo>
                    <a:pt x="4392" y="54"/>
                  </a:lnTo>
                  <a:lnTo>
                    <a:pt x="4350" y="60"/>
                  </a:lnTo>
                  <a:lnTo>
                    <a:pt x="4302" y="66"/>
                  </a:lnTo>
                  <a:lnTo>
                    <a:pt x="4260" y="66"/>
                  </a:lnTo>
                  <a:lnTo>
                    <a:pt x="4242" y="72"/>
                  </a:lnTo>
                  <a:lnTo>
                    <a:pt x="4260" y="72"/>
                  </a:lnTo>
                  <a:lnTo>
                    <a:pt x="4266" y="78"/>
                  </a:lnTo>
                  <a:lnTo>
                    <a:pt x="4278" y="78"/>
                  </a:lnTo>
                  <a:lnTo>
                    <a:pt x="4362" y="84"/>
                  </a:lnTo>
                  <a:lnTo>
                    <a:pt x="4278" y="96"/>
                  </a:lnTo>
                  <a:lnTo>
                    <a:pt x="4284" y="96"/>
                  </a:lnTo>
                  <a:lnTo>
                    <a:pt x="4290" y="102"/>
                  </a:lnTo>
                  <a:lnTo>
                    <a:pt x="4314" y="114"/>
                  </a:lnTo>
                  <a:lnTo>
                    <a:pt x="4338" y="114"/>
                  </a:lnTo>
                  <a:lnTo>
                    <a:pt x="4356" y="108"/>
                  </a:lnTo>
                  <a:lnTo>
                    <a:pt x="4392" y="108"/>
                  </a:lnTo>
                  <a:lnTo>
                    <a:pt x="4398" y="102"/>
                  </a:lnTo>
                  <a:lnTo>
                    <a:pt x="4410" y="102"/>
                  </a:lnTo>
                  <a:lnTo>
                    <a:pt x="4416" y="96"/>
                  </a:lnTo>
                  <a:lnTo>
                    <a:pt x="4440" y="96"/>
                  </a:lnTo>
                  <a:lnTo>
                    <a:pt x="4458" y="90"/>
                  </a:lnTo>
                  <a:lnTo>
                    <a:pt x="4500" y="90"/>
                  </a:lnTo>
                  <a:lnTo>
                    <a:pt x="4518" y="96"/>
                  </a:lnTo>
                  <a:lnTo>
                    <a:pt x="4536" y="96"/>
                  </a:lnTo>
                  <a:lnTo>
                    <a:pt x="4548" y="102"/>
                  </a:lnTo>
                  <a:lnTo>
                    <a:pt x="4560" y="102"/>
                  </a:lnTo>
                  <a:lnTo>
                    <a:pt x="4494" y="102"/>
                  </a:lnTo>
                  <a:lnTo>
                    <a:pt x="4482" y="108"/>
                  </a:lnTo>
                  <a:lnTo>
                    <a:pt x="4458" y="108"/>
                  </a:lnTo>
                  <a:lnTo>
                    <a:pt x="4446" y="114"/>
                  </a:lnTo>
                  <a:lnTo>
                    <a:pt x="4434" y="114"/>
                  </a:lnTo>
                  <a:lnTo>
                    <a:pt x="4422" y="120"/>
                  </a:lnTo>
                  <a:lnTo>
                    <a:pt x="4410" y="120"/>
                  </a:lnTo>
                  <a:lnTo>
                    <a:pt x="4404" y="126"/>
                  </a:lnTo>
                  <a:lnTo>
                    <a:pt x="4398" y="126"/>
                  </a:lnTo>
                  <a:lnTo>
                    <a:pt x="4434" y="126"/>
                  </a:lnTo>
                  <a:lnTo>
                    <a:pt x="4452" y="132"/>
                  </a:lnTo>
                  <a:lnTo>
                    <a:pt x="4488" y="132"/>
                  </a:lnTo>
                  <a:lnTo>
                    <a:pt x="4500" y="126"/>
                  </a:lnTo>
                  <a:lnTo>
                    <a:pt x="4506" y="126"/>
                  </a:lnTo>
                  <a:lnTo>
                    <a:pt x="4512" y="120"/>
                  </a:lnTo>
                  <a:lnTo>
                    <a:pt x="4638" y="120"/>
                  </a:lnTo>
                  <a:lnTo>
                    <a:pt x="4656" y="114"/>
                  </a:lnTo>
                  <a:lnTo>
                    <a:pt x="4680" y="114"/>
                  </a:lnTo>
                  <a:lnTo>
                    <a:pt x="4698" y="108"/>
                  </a:lnTo>
                  <a:lnTo>
                    <a:pt x="4710" y="108"/>
                  </a:lnTo>
                  <a:lnTo>
                    <a:pt x="4722" y="96"/>
                  </a:lnTo>
                  <a:lnTo>
                    <a:pt x="4734" y="96"/>
                  </a:lnTo>
                  <a:lnTo>
                    <a:pt x="4752" y="90"/>
                  </a:lnTo>
                  <a:lnTo>
                    <a:pt x="4770" y="90"/>
                  </a:lnTo>
                  <a:lnTo>
                    <a:pt x="4782" y="84"/>
                  </a:lnTo>
                  <a:lnTo>
                    <a:pt x="4830" y="84"/>
                  </a:lnTo>
                  <a:lnTo>
                    <a:pt x="4746" y="114"/>
                  </a:lnTo>
                  <a:lnTo>
                    <a:pt x="4782" y="114"/>
                  </a:lnTo>
                  <a:lnTo>
                    <a:pt x="4734" y="126"/>
                  </a:lnTo>
                  <a:lnTo>
                    <a:pt x="4716" y="126"/>
                  </a:lnTo>
                  <a:lnTo>
                    <a:pt x="4674" y="132"/>
                  </a:lnTo>
                  <a:lnTo>
                    <a:pt x="4620" y="132"/>
                  </a:lnTo>
                  <a:lnTo>
                    <a:pt x="4566" y="138"/>
                  </a:lnTo>
                  <a:lnTo>
                    <a:pt x="4536" y="138"/>
                  </a:lnTo>
                  <a:lnTo>
                    <a:pt x="4524" y="150"/>
                  </a:lnTo>
                  <a:lnTo>
                    <a:pt x="4524" y="156"/>
                  </a:lnTo>
                  <a:lnTo>
                    <a:pt x="4602" y="174"/>
                  </a:lnTo>
                  <a:lnTo>
                    <a:pt x="4596" y="174"/>
                  </a:lnTo>
                  <a:lnTo>
                    <a:pt x="4590" y="180"/>
                  </a:lnTo>
                  <a:lnTo>
                    <a:pt x="4578" y="180"/>
                  </a:lnTo>
                  <a:lnTo>
                    <a:pt x="4566" y="186"/>
                  </a:lnTo>
                  <a:lnTo>
                    <a:pt x="4542" y="186"/>
                  </a:lnTo>
                  <a:lnTo>
                    <a:pt x="4518" y="174"/>
                  </a:lnTo>
                  <a:lnTo>
                    <a:pt x="4500" y="162"/>
                  </a:lnTo>
                  <a:lnTo>
                    <a:pt x="4476" y="150"/>
                  </a:lnTo>
                  <a:lnTo>
                    <a:pt x="4470" y="144"/>
                  </a:lnTo>
                  <a:lnTo>
                    <a:pt x="4356" y="144"/>
                  </a:lnTo>
                  <a:lnTo>
                    <a:pt x="4350" y="150"/>
                  </a:lnTo>
                  <a:lnTo>
                    <a:pt x="4344" y="162"/>
                  </a:lnTo>
                  <a:lnTo>
                    <a:pt x="4338" y="168"/>
                  </a:lnTo>
                  <a:lnTo>
                    <a:pt x="4368" y="186"/>
                  </a:lnTo>
                  <a:lnTo>
                    <a:pt x="4386" y="204"/>
                  </a:lnTo>
                  <a:lnTo>
                    <a:pt x="4410" y="216"/>
                  </a:lnTo>
                  <a:lnTo>
                    <a:pt x="4458" y="216"/>
                  </a:lnTo>
                  <a:lnTo>
                    <a:pt x="4476" y="210"/>
                  </a:lnTo>
                  <a:lnTo>
                    <a:pt x="4488" y="210"/>
                  </a:lnTo>
                  <a:lnTo>
                    <a:pt x="4476" y="216"/>
                  </a:lnTo>
                  <a:lnTo>
                    <a:pt x="4470" y="228"/>
                  </a:lnTo>
                  <a:lnTo>
                    <a:pt x="4398" y="228"/>
                  </a:lnTo>
                  <a:lnTo>
                    <a:pt x="4380" y="222"/>
                  </a:lnTo>
                  <a:lnTo>
                    <a:pt x="4350" y="222"/>
                  </a:lnTo>
                  <a:lnTo>
                    <a:pt x="4314" y="228"/>
                  </a:lnTo>
                  <a:lnTo>
                    <a:pt x="4272" y="234"/>
                  </a:lnTo>
                  <a:lnTo>
                    <a:pt x="4230" y="234"/>
                  </a:lnTo>
                  <a:lnTo>
                    <a:pt x="4218" y="240"/>
                  </a:lnTo>
                  <a:lnTo>
                    <a:pt x="4200" y="246"/>
                  </a:lnTo>
                  <a:lnTo>
                    <a:pt x="4188" y="258"/>
                  </a:lnTo>
                  <a:lnTo>
                    <a:pt x="4176" y="264"/>
                  </a:lnTo>
                  <a:lnTo>
                    <a:pt x="4170" y="270"/>
                  </a:lnTo>
                  <a:lnTo>
                    <a:pt x="4164" y="270"/>
                  </a:lnTo>
                  <a:lnTo>
                    <a:pt x="4236" y="258"/>
                  </a:lnTo>
                  <a:lnTo>
                    <a:pt x="4236" y="276"/>
                  </a:lnTo>
                  <a:lnTo>
                    <a:pt x="4296" y="258"/>
                  </a:lnTo>
                  <a:lnTo>
                    <a:pt x="4224" y="288"/>
                  </a:lnTo>
                  <a:lnTo>
                    <a:pt x="4230" y="288"/>
                  </a:lnTo>
                  <a:lnTo>
                    <a:pt x="4236" y="294"/>
                  </a:lnTo>
                  <a:lnTo>
                    <a:pt x="4248" y="300"/>
                  </a:lnTo>
                  <a:lnTo>
                    <a:pt x="4278" y="300"/>
                  </a:lnTo>
                  <a:lnTo>
                    <a:pt x="4314" y="288"/>
                  </a:lnTo>
                  <a:lnTo>
                    <a:pt x="4326" y="288"/>
                  </a:lnTo>
                  <a:lnTo>
                    <a:pt x="4344" y="282"/>
                  </a:lnTo>
                  <a:lnTo>
                    <a:pt x="4350" y="276"/>
                  </a:lnTo>
                  <a:lnTo>
                    <a:pt x="4356" y="276"/>
                  </a:lnTo>
                  <a:lnTo>
                    <a:pt x="4254" y="312"/>
                  </a:lnTo>
                  <a:lnTo>
                    <a:pt x="4188" y="312"/>
                  </a:lnTo>
                  <a:lnTo>
                    <a:pt x="4176" y="288"/>
                  </a:lnTo>
                  <a:lnTo>
                    <a:pt x="4164" y="288"/>
                  </a:lnTo>
                  <a:lnTo>
                    <a:pt x="4146" y="282"/>
                  </a:lnTo>
                  <a:lnTo>
                    <a:pt x="4110" y="282"/>
                  </a:lnTo>
                  <a:lnTo>
                    <a:pt x="4104" y="288"/>
                  </a:lnTo>
                  <a:lnTo>
                    <a:pt x="4104" y="300"/>
                  </a:lnTo>
                  <a:lnTo>
                    <a:pt x="4110" y="312"/>
                  </a:lnTo>
                  <a:lnTo>
                    <a:pt x="4110" y="318"/>
                  </a:lnTo>
                  <a:lnTo>
                    <a:pt x="4116" y="324"/>
                  </a:lnTo>
                  <a:lnTo>
                    <a:pt x="4092" y="324"/>
                  </a:lnTo>
                  <a:lnTo>
                    <a:pt x="4074" y="330"/>
                  </a:lnTo>
                  <a:lnTo>
                    <a:pt x="4032" y="330"/>
                  </a:lnTo>
                  <a:lnTo>
                    <a:pt x="4020" y="336"/>
                  </a:lnTo>
                  <a:lnTo>
                    <a:pt x="4002" y="342"/>
                  </a:lnTo>
                  <a:lnTo>
                    <a:pt x="3990" y="348"/>
                  </a:lnTo>
                  <a:lnTo>
                    <a:pt x="3972" y="354"/>
                  </a:lnTo>
                  <a:lnTo>
                    <a:pt x="3936" y="354"/>
                  </a:lnTo>
                  <a:lnTo>
                    <a:pt x="3924" y="360"/>
                  </a:lnTo>
                  <a:lnTo>
                    <a:pt x="3918" y="360"/>
                  </a:lnTo>
                  <a:lnTo>
                    <a:pt x="3924" y="360"/>
                  </a:lnTo>
                  <a:lnTo>
                    <a:pt x="3936" y="366"/>
                  </a:lnTo>
                  <a:lnTo>
                    <a:pt x="3978" y="366"/>
                  </a:lnTo>
                  <a:lnTo>
                    <a:pt x="3990" y="360"/>
                  </a:lnTo>
                  <a:lnTo>
                    <a:pt x="3996" y="354"/>
                  </a:lnTo>
                  <a:lnTo>
                    <a:pt x="3984" y="372"/>
                  </a:lnTo>
                  <a:lnTo>
                    <a:pt x="4020" y="366"/>
                  </a:lnTo>
                  <a:lnTo>
                    <a:pt x="4044" y="354"/>
                  </a:lnTo>
                  <a:lnTo>
                    <a:pt x="4044" y="372"/>
                  </a:lnTo>
                  <a:lnTo>
                    <a:pt x="4074" y="366"/>
                  </a:lnTo>
                  <a:lnTo>
                    <a:pt x="4098" y="366"/>
                  </a:lnTo>
                  <a:lnTo>
                    <a:pt x="4098" y="372"/>
                  </a:lnTo>
                  <a:lnTo>
                    <a:pt x="4104" y="378"/>
                  </a:lnTo>
                  <a:lnTo>
                    <a:pt x="4122" y="378"/>
                  </a:lnTo>
                  <a:lnTo>
                    <a:pt x="4146" y="366"/>
                  </a:lnTo>
                  <a:lnTo>
                    <a:pt x="4152" y="366"/>
                  </a:lnTo>
                  <a:lnTo>
                    <a:pt x="4164" y="360"/>
                  </a:lnTo>
                  <a:lnTo>
                    <a:pt x="4170" y="372"/>
                  </a:lnTo>
                  <a:lnTo>
                    <a:pt x="4200" y="354"/>
                  </a:lnTo>
                  <a:lnTo>
                    <a:pt x="4206" y="360"/>
                  </a:lnTo>
                  <a:lnTo>
                    <a:pt x="4212" y="372"/>
                  </a:lnTo>
                  <a:lnTo>
                    <a:pt x="4224" y="372"/>
                  </a:lnTo>
                  <a:lnTo>
                    <a:pt x="4236" y="366"/>
                  </a:lnTo>
                  <a:lnTo>
                    <a:pt x="4242" y="360"/>
                  </a:lnTo>
                  <a:lnTo>
                    <a:pt x="4248" y="360"/>
                  </a:lnTo>
                  <a:lnTo>
                    <a:pt x="4254" y="366"/>
                  </a:lnTo>
                  <a:lnTo>
                    <a:pt x="4266" y="372"/>
                  </a:lnTo>
                  <a:lnTo>
                    <a:pt x="4284" y="372"/>
                  </a:lnTo>
                  <a:lnTo>
                    <a:pt x="4290" y="366"/>
                  </a:lnTo>
                  <a:lnTo>
                    <a:pt x="4290" y="360"/>
                  </a:lnTo>
                  <a:lnTo>
                    <a:pt x="4284" y="354"/>
                  </a:lnTo>
                  <a:lnTo>
                    <a:pt x="4338" y="372"/>
                  </a:lnTo>
                  <a:lnTo>
                    <a:pt x="4344" y="378"/>
                  </a:lnTo>
                  <a:lnTo>
                    <a:pt x="4350" y="390"/>
                  </a:lnTo>
                  <a:lnTo>
                    <a:pt x="4374" y="390"/>
                  </a:lnTo>
                  <a:lnTo>
                    <a:pt x="4410" y="378"/>
                  </a:lnTo>
                  <a:lnTo>
                    <a:pt x="4440" y="372"/>
                  </a:lnTo>
                  <a:lnTo>
                    <a:pt x="4476" y="372"/>
                  </a:lnTo>
                  <a:lnTo>
                    <a:pt x="4494" y="366"/>
                  </a:lnTo>
                  <a:lnTo>
                    <a:pt x="4506" y="360"/>
                  </a:lnTo>
                  <a:lnTo>
                    <a:pt x="4524" y="342"/>
                  </a:lnTo>
                  <a:lnTo>
                    <a:pt x="4464" y="342"/>
                  </a:lnTo>
                  <a:lnTo>
                    <a:pt x="4470" y="336"/>
                  </a:lnTo>
                  <a:lnTo>
                    <a:pt x="4470" y="330"/>
                  </a:lnTo>
                  <a:lnTo>
                    <a:pt x="4416" y="330"/>
                  </a:lnTo>
                  <a:lnTo>
                    <a:pt x="4362" y="318"/>
                  </a:lnTo>
                  <a:lnTo>
                    <a:pt x="4380" y="300"/>
                  </a:lnTo>
                  <a:lnTo>
                    <a:pt x="4440" y="318"/>
                  </a:lnTo>
                  <a:lnTo>
                    <a:pt x="4452" y="318"/>
                  </a:lnTo>
                  <a:lnTo>
                    <a:pt x="4488" y="312"/>
                  </a:lnTo>
                  <a:lnTo>
                    <a:pt x="4566" y="312"/>
                  </a:lnTo>
                  <a:lnTo>
                    <a:pt x="4578" y="300"/>
                  </a:lnTo>
                  <a:lnTo>
                    <a:pt x="4578" y="288"/>
                  </a:lnTo>
                  <a:lnTo>
                    <a:pt x="4584" y="288"/>
                  </a:lnTo>
                  <a:lnTo>
                    <a:pt x="4590" y="282"/>
                  </a:lnTo>
                  <a:lnTo>
                    <a:pt x="4608" y="282"/>
                  </a:lnTo>
                  <a:lnTo>
                    <a:pt x="4626" y="276"/>
                  </a:lnTo>
                  <a:lnTo>
                    <a:pt x="4662" y="276"/>
                  </a:lnTo>
                  <a:lnTo>
                    <a:pt x="4680" y="270"/>
                  </a:lnTo>
                  <a:lnTo>
                    <a:pt x="4710" y="270"/>
                  </a:lnTo>
                  <a:lnTo>
                    <a:pt x="4722" y="264"/>
                  </a:lnTo>
                  <a:lnTo>
                    <a:pt x="4728" y="264"/>
                  </a:lnTo>
                  <a:lnTo>
                    <a:pt x="4704" y="246"/>
                  </a:lnTo>
                  <a:lnTo>
                    <a:pt x="4746" y="246"/>
                  </a:lnTo>
                  <a:lnTo>
                    <a:pt x="4770" y="240"/>
                  </a:lnTo>
                  <a:lnTo>
                    <a:pt x="4782" y="234"/>
                  </a:lnTo>
                  <a:lnTo>
                    <a:pt x="4776" y="228"/>
                  </a:lnTo>
                  <a:lnTo>
                    <a:pt x="4770" y="228"/>
                  </a:lnTo>
                  <a:lnTo>
                    <a:pt x="4758" y="222"/>
                  </a:lnTo>
                  <a:lnTo>
                    <a:pt x="4746" y="222"/>
                  </a:lnTo>
                  <a:lnTo>
                    <a:pt x="4734" y="216"/>
                  </a:lnTo>
                  <a:lnTo>
                    <a:pt x="4686" y="216"/>
                  </a:lnTo>
                  <a:lnTo>
                    <a:pt x="4674" y="210"/>
                  </a:lnTo>
                  <a:lnTo>
                    <a:pt x="4662" y="210"/>
                  </a:lnTo>
                  <a:lnTo>
                    <a:pt x="4662" y="204"/>
                  </a:lnTo>
                  <a:lnTo>
                    <a:pt x="4674" y="198"/>
                  </a:lnTo>
                  <a:lnTo>
                    <a:pt x="4686" y="198"/>
                  </a:lnTo>
                  <a:lnTo>
                    <a:pt x="4704" y="192"/>
                  </a:lnTo>
                  <a:lnTo>
                    <a:pt x="4716" y="186"/>
                  </a:lnTo>
                  <a:lnTo>
                    <a:pt x="4764" y="186"/>
                  </a:lnTo>
                  <a:lnTo>
                    <a:pt x="4782" y="192"/>
                  </a:lnTo>
                  <a:lnTo>
                    <a:pt x="4860" y="192"/>
                  </a:lnTo>
                  <a:lnTo>
                    <a:pt x="4878" y="186"/>
                  </a:lnTo>
                  <a:lnTo>
                    <a:pt x="4902" y="186"/>
                  </a:lnTo>
                  <a:lnTo>
                    <a:pt x="4896" y="180"/>
                  </a:lnTo>
                  <a:lnTo>
                    <a:pt x="4878" y="180"/>
                  </a:lnTo>
                  <a:lnTo>
                    <a:pt x="4866" y="174"/>
                  </a:lnTo>
                  <a:lnTo>
                    <a:pt x="4872" y="168"/>
                  </a:lnTo>
                  <a:lnTo>
                    <a:pt x="4902" y="162"/>
                  </a:lnTo>
                  <a:lnTo>
                    <a:pt x="4944" y="168"/>
                  </a:lnTo>
                  <a:lnTo>
                    <a:pt x="4974" y="174"/>
                  </a:lnTo>
                  <a:lnTo>
                    <a:pt x="4986" y="174"/>
                  </a:lnTo>
                  <a:lnTo>
                    <a:pt x="4992" y="168"/>
                  </a:lnTo>
                  <a:lnTo>
                    <a:pt x="4992" y="150"/>
                  </a:lnTo>
                  <a:lnTo>
                    <a:pt x="5070" y="156"/>
                  </a:lnTo>
                  <a:lnTo>
                    <a:pt x="5070" y="132"/>
                  </a:lnTo>
                  <a:lnTo>
                    <a:pt x="5082" y="132"/>
                  </a:lnTo>
                  <a:lnTo>
                    <a:pt x="5094" y="138"/>
                  </a:lnTo>
                  <a:lnTo>
                    <a:pt x="5112" y="138"/>
                  </a:lnTo>
                  <a:lnTo>
                    <a:pt x="5136" y="126"/>
                  </a:lnTo>
                  <a:lnTo>
                    <a:pt x="5148" y="126"/>
                  </a:lnTo>
                  <a:lnTo>
                    <a:pt x="5154" y="120"/>
                  </a:lnTo>
                  <a:lnTo>
                    <a:pt x="5172" y="120"/>
                  </a:lnTo>
                  <a:lnTo>
                    <a:pt x="5208" y="114"/>
                  </a:lnTo>
                  <a:lnTo>
                    <a:pt x="5256" y="102"/>
                  </a:lnTo>
                  <a:lnTo>
                    <a:pt x="5298" y="96"/>
                  </a:lnTo>
                  <a:lnTo>
                    <a:pt x="5322" y="90"/>
                  </a:lnTo>
                  <a:lnTo>
                    <a:pt x="5340" y="90"/>
                  </a:lnTo>
                  <a:lnTo>
                    <a:pt x="5346" y="84"/>
                  </a:lnTo>
                  <a:lnTo>
                    <a:pt x="5238" y="84"/>
                  </a:lnTo>
                  <a:lnTo>
                    <a:pt x="5214" y="96"/>
                  </a:lnTo>
                  <a:lnTo>
                    <a:pt x="5142" y="96"/>
                  </a:lnTo>
                  <a:lnTo>
                    <a:pt x="5226" y="90"/>
                  </a:lnTo>
                  <a:lnTo>
                    <a:pt x="5220" y="78"/>
                  </a:lnTo>
                  <a:lnTo>
                    <a:pt x="5268" y="84"/>
                  </a:lnTo>
                  <a:lnTo>
                    <a:pt x="5274" y="78"/>
                  </a:lnTo>
                  <a:lnTo>
                    <a:pt x="5286" y="72"/>
                  </a:lnTo>
                  <a:lnTo>
                    <a:pt x="5358" y="72"/>
                  </a:lnTo>
                  <a:lnTo>
                    <a:pt x="5406" y="66"/>
                  </a:lnTo>
                  <a:lnTo>
                    <a:pt x="5454" y="66"/>
                  </a:lnTo>
                  <a:lnTo>
                    <a:pt x="5484" y="60"/>
                  </a:lnTo>
                  <a:lnTo>
                    <a:pt x="5496" y="60"/>
                  </a:lnTo>
                  <a:lnTo>
                    <a:pt x="5514" y="54"/>
                  </a:lnTo>
                  <a:lnTo>
                    <a:pt x="5532" y="54"/>
                  </a:lnTo>
                  <a:lnTo>
                    <a:pt x="5550" y="48"/>
                  </a:lnTo>
                  <a:lnTo>
                    <a:pt x="5562" y="42"/>
                  </a:lnTo>
                  <a:lnTo>
                    <a:pt x="5574" y="42"/>
                  </a:lnTo>
                  <a:lnTo>
                    <a:pt x="5574" y="36"/>
                  </a:lnTo>
                  <a:close/>
                  <a:moveTo>
                    <a:pt x="4032" y="966"/>
                  </a:moveTo>
                  <a:lnTo>
                    <a:pt x="4086" y="966"/>
                  </a:lnTo>
                  <a:lnTo>
                    <a:pt x="4134" y="942"/>
                  </a:lnTo>
                  <a:lnTo>
                    <a:pt x="4140" y="930"/>
                  </a:lnTo>
                  <a:lnTo>
                    <a:pt x="4134" y="918"/>
                  </a:lnTo>
                  <a:lnTo>
                    <a:pt x="4134" y="912"/>
                  </a:lnTo>
                  <a:lnTo>
                    <a:pt x="4122" y="906"/>
                  </a:lnTo>
                  <a:lnTo>
                    <a:pt x="4074" y="906"/>
                  </a:lnTo>
                  <a:lnTo>
                    <a:pt x="4062" y="912"/>
                  </a:lnTo>
                  <a:lnTo>
                    <a:pt x="4050" y="912"/>
                  </a:lnTo>
                  <a:lnTo>
                    <a:pt x="4026" y="924"/>
                  </a:lnTo>
                  <a:lnTo>
                    <a:pt x="4014" y="936"/>
                  </a:lnTo>
                  <a:lnTo>
                    <a:pt x="4002" y="942"/>
                  </a:lnTo>
                  <a:lnTo>
                    <a:pt x="4002" y="954"/>
                  </a:lnTo>
                  <a:lnTo>
                    <a:pt x="4014" y="960"/>
                  </a:lnTo>
                  <a:lnTo>
                    <a:pt x="4032" y="966"/>
                  </a:lnTo>
                  <a:close/>
                  <a:moveTo>
                    <a:pt x="4014" y="840"/>
                  </a:moveTo>
                  <a:lnTo>
                    <a:pt x="4002" y="840"/>
                  </a:lnTo>
                  <a:lnTo>
                    <a:pt x="3990" y="846"/>
                  </a:lnTo>
                  <a:lnTo>
                    <a:pt x="3984" y="852"/>
                  </a:lnTo>
                  <a:lnTo>
                    <a:pt x="3972" y="852"/>
                  </a:lnTo>
                  <a:lnTo>
                    <a:pt x="3990" y="852"/>
                  </a:lnTo>
                  <a:lnTo>
                    <a:pt x="4008" y="846"/>
                  </a:lnTo>
                  <a:lnTo>
                    <a:pt x="4026" y="846"/>
                  </a:lnTo>
                  <a:lnTo>
                    <a:pt x="4044" y="840"/>
                  </a:lnTo>
                  <a:lnTo>
                    <a:pt x="4050" y="834"/>
                  </a:lnTo>
                  <a:lnTo>
                    <a:pt x="4056" y="834"/>
                  </a:lnTo>
                  <a:lnTo>
                    <a:pt x="4068" y="822"/>
                  </a:lnTo>
                  <a:lnTo>
                    <a:pt x="4050" y="822"/>
                  </a:lnTo>
                  <a:lnTo>
                    <a:pt x="4044" y="828"/>
                  </a:lnTo>
                  <a:lnTo>
                    <a:pt x="4032" y="828"/>
                  </a:lnTo>
                  <a:lnTo>
                    <a:pt x="4020" y="834"/>
                  </a:lnTo>
                  <a:lnTo>
                    <a:pt x="4014" y="840"/>
                  </a:lnTo>
                  <a:close/>
                  <a:moveTo>
                    <a:pt x="4122" y="822"/>
                  </a:moveTo>
                  <a:lnTo>
                    <a:pt x="4104" y="822"/>
                  </a:lnTo>
                  <a:lnTo>
                    <a:pt x="4098" y="828"/>
                  </a:lnTo>
                  <a:lnTo>
                    <a:pt x="4098" y="840"/>
                  </a:lnTo>
                  <a:lnTo>
                    <a:pt x="4104" y="846"/>
                  </a:lnTo>
                  <a:lnTo>
                    <a:pt x="4110" y="840"/>
                  </a:lnTo>
                  <a:lnTo>
                    <a:pt x="4116" y="840"/>
                  </a:lnTo>
                  <a:lnTo>
                    <a:pt x="4128" y="828"/>
                  </a:lnTo>
                  <a:lnTo>
                    <a:pt x="4122" y="822"/>
                  </a:lnTo>
                  <a:close/>
                  <a:moveTo>
                    <a:pt x="3528" y="1062"/>
                  </a:moveTo>
                  <a:lnTo>
                    <a:pt x="3522" y="1062"/>
                  </a:lnTo>
                  <a:lnTo>
                    <a:pt x="3504" y="1080"/>
                  </a:lnTo>
                  <a:lnTo>
                    <a:pt x="3504" y="1086"/>
                  </a:lnTo>
                  <a:lnTo>
                    <a:pt x="3510" y="1092"/>
                  </a:lnTo>
                  <a:lnTo>
                    <a:pt x="3528" y="1092"/>
                  </a:lnTo>
                  <a:lnTo>
                    <a:pt x="3534" y="1086"/>
                  </a:lnTo>
                  <a:lnTo>
                    <a:pt x="3540" y="1074"/>
                  </a:lnTo>
                  <a:lnTo>
                    <a:pt x="3540" y="1068"/>
                  </a:lnTo>
                  <a:lnTo>
                    <a:pt x="3534" y="1062"/>
                  </a:lnTo>
                  <a:lnTo>
                    <a:pt x="3528" y="1062"/>
                  </a:lnTo>
                  <a:close/>
                  <a:moveTo>
                    <a:pt x="3588" y="1062"/>
                  </a:moveTo>
                  <a:lnTo>
                    <a:pt x="3582" y="1062"/>
                  </a:lnTo>
                  <a:lnTo>
                    <a:pt x="3576" y="1068"/>
                  </a:lnTo>
                  <a:lnTo>
                    <a:pt x="3576" y="1080"/>
                  </a:lnTo>
                  <a:lnTo>
                    <a:pt x="3582" y="1086"/>
                  </a:lnTo>
                  <a:lnTo>
                    <a:pt x="3594" y="1086"/>
                  </a:lnTo>
                  <a:lnTo>
                    <a:pt x="3600" y="1080"/>
                  </a:lnTo>
                  <a:lnTo>
                    <a:pt x="3600" y="1068"/>
                  </a:lnTo>
                  <a:lnTo>
                    <a:pt x="3588" y="1062"/>
                  </a:lnTo>
                  <a:close/>
                  <a:moveTo>
                    <a:pt x="3756" y="1242"/>
                  </a:moveTo>
                  <a:lnTo>
                    <a:pt x="3744" y="1248"/>
                  </a:lnTo>
                  <a:lnTo>
                    <a:pt x="3744" y="1260"/>
                  </a:lnTo>
                  <a:lnTo>
                    <a:pt x="3750" y="1266"/>
                  </a:lnTo>
                  <a:lnTo>
                    <a:pt x="3762" y="1272"/>
                  </a:lnTo>
                  <a:lnTo>
                    <a:pt x="3768" y="1272"/>
                  </a:lnTo>
                  <a:lnTo>
                    <a:pt x="3786" y="1254"/>
                  </a:lnTo>
                  <a:lnTo>
                    <a:pt x="3786" y="1242"/>
                  </a:lnTo>
                  <a:lnTo>
                    <a:pt x="3780" y="1236"/>
                  </a:lnTo>
                  <a:lnTo>
                    <a:pt x="3768" y="1236"/>
                  </a:lnTo>
                  <a:lnTo>
                    <a:pt x="3756" y="1242"/>
                  </a:lnTo>
                  <a:close/>
                  <a:moveTo>
                    <a:pt x="3984" y="2532"/>
                  </a:moveTo>
                  <a:lnTo>
                    <a:pt x="3948" y="2520"/>
                  </a:lnTo>
                  <a:lnTo>
                    <a:pt x="3942" y="2514"/>
                  </a:lnTo>
                  <a:lnTo>
                    <a:pt x="3936" y="2514"/>
                  </a:lnTo>
                  <a:lnTo>
                    <a:pt x="3924" y="2526"/>
                  </a:lnTo>
                  <a:lnTo>
                    <a:pt x="3930" y="2532"/>
                  </a:lnTo>
                  <a:lnTo>
                    <a:pt x="3942" y="2538"/>
                  </a:lnTo>
                  <a:lnTo>
                    <a:pt x="3948" y="2544"/>
                  </a:lnTo>
                  <a:lnTo>
                    <a:pt x="3954" y="2544"/>
                  </a:lnTo>
                  <a:lnTo>
                    <a:pt x="3960" y="2550"/>
                  </a:lnTo>
                  <a:lnTo>
                    <a:pt x="3996" y="2550"/>
                  </a:lnTo>
                  <a:lnTo>
                    <a:pt x="4008" y="2556"/>
                  </a:lnTo>
                  <a:lnTo>
                    <a:pt x="4020" y="2556"/>
                  </a:lnTo>
                  <a:lnTo>
                    <a:pt x="4038" y="2538"/>
                  </a:lnTo>
                  <a:lnTo>
                    <a:pt x="4008" y="2538"/>
                  </a:lnTo>
                  <a:lnTo>
                    <a:pt x="3984" y="2532"/>
                  </a:lnTo>
                  <a:close/>
                  <a:moveTo>
                    <a:pt x="4098" y="2280"/>
                  </a:moveTo>
                  <a:lnTo>
                    <a:pt x="4092" y="2280"/>
                  </a:lnTo>
                  <a:lnTo>
                    <a:pt x="4086" y="2274"/>
                  </a:lnTo>
                  <a:lnTo>
                    <a:pt x="4050" y="2274"/>
                  </a:lnTo>
                  <a:lnTo>
                    <a:pt x="4032" y="2268"/>
                  </a:lnTo>
                  <a:lnTo>
                    <a:pt x="3996" y="2268"/>
                  </a:lnTo>
                  <a:lnTo>
                    <a:pt x="4002" y="2274"/>
                  </a:lnTo>
                  <a:lnTo>
                    <a:pt x="4008" y="2274"/>
                  </a:lnTo>
                  <a:lnTo>
                    <a:pt x="4014" y="2280"/>
                  </a:lnTo>
                  <a:lnTo>
                    <a:pt x="4026" y="2286"/>
                  </a:lnTo>
                  <a:lnTo>
                    <a:pt x="4032" y="2286"/>
                  </a:lnTo>
                  <a:lnTo>
                    <a:pt x="4032" y="2304"/>
                  </a:lnTo>
                  <a:lnTo>
                    <a:pt x="4044" y="2304"/>
                  </a:lnTo>
                  <a:lnTo>
                    <a:pt x="4080" y="2310"/>
                  </a:lnTo>
                  <a:lnTo>
                    <a:pt x="4128" y="2316"/>
                  </a:lnTo>
                  <a:lnTo>
                    <a:pt x="4164" y="2316"/>
                  </a:lnTo>
                  <a:lnTo>
                    <a:pt x="4170" y="2310"/>
                  </a:lnTo>
                  <a:lnTo>
                    <a:pt x="4170" y="2304"/>
                  </a:lnTo>
                  <a:lnTo>
                    <a:pt x="4164" y="2304"/>
                  </a:lnTo>
                  <a:lnTo>
                    <a:pt x="4152" y="2292"/>
                  </a:lnTo>
                  <a:lnTo>
                    <a:pt x="4128" y="2286"/>
                  </a:lnTo>
                  <a:lnTo>
                    <a:pt x="4098" y="2280"/>
                  </a:lnTo>
                  <a:close/>
                  <a:moveTo>
                    <a:pt x="4194" y="2550"/>
                  </a:moveTo>
                  <a:lnTo>
                    <a:pt x="4164" y="2550"/>
                  </a:lnTo>
                  <a:lnTo>
                    <a:pt x="4152" y="2556"/>
                  </a:lnTo>
                  <a:lnTo>
                    <a:pt x="4146" y="2562"/>
                  </a:lnTo>
                  <a:lnTo>
                    <a:pt x="4182" y="2526"/>
                  </a:lnTo>
                  <a:lnTo>
                    <a:pt x="4176" y="2520"/>
                  </a:lnTo>
                  <a:lnTo>
                    <a:pt x="4152" y="2520"/>
                  </a:lnTo>
                  <a:lnTo>
                    <a:pt x="4140" y="2526"/>
                  </a:lnTo>
                  <a:lnTo>
                    <a:pt x="4128" y="2538"/>
                  </a:lnTo>
                  <a:lnTo>
                    <a:pt x="4104" y="2574"/>
                  </a:lnTo>
                  <a:lnTo>
                    <a:pt x="4164" y="2568"/>
                  </a:lnTo>
                  <a:lnTo>
                    <a:pt x="4176" y="2568"/>
                  </a:lnTo>
                  <a:lnTo>
                    <a:pt x="4182" y="2562"/>
                  </a:lnTo>
                  <a:lnTo>
                    <a:pt x="4194" y="2562"/>
                  </a:lnTo>
                  <a:lnTo>
                    <a:pt x="4200" y="2556"/>
                  </a:lnTo>
                  <a:lnTo>
                    <a:pt x="4200" y="2550"/>
                  </a:lnTo>
                  <a:lnTo>
                    <a:pt x="4194" y="2550"/>
                  </a:lnTo>
                  <a:close/>
                  <a:moveTo>
                    <a:pt x="4590" y="1962"/>
                  </a:moveTo>
                  <a:lnTo>
                    <a:pt x="4578" y="1974"/>
                  </a:lnTo>
                  <a:lnTo>
                    <a:pt x="4578" y="1980"/>
                  </a:lnTo>
                  <a:lnTo>
                    <a:pt x="4572" y="1986"/>
                  </a:lnTo>
                  <a:lnTo>
                    <a:pt x="4566" y="1986"/>
                  </a:lnTo>
                  <a:lnTo>
                    <a:pt x="4554" y="1974"/>
                  </a:lnTo>
                  <a:lnTo>
                    <a:pt x="4554" y="1962"/>
                  </a:lnTo>
                  <a:lnTo>
                    <a:pt x="4566" y="1962"/>
                  </a:lnTo>
                  <a:lnTo>
                    <a:pt x="4572" y="1956"/>
                  </a:lnTo>
                  <a:lnTo>
                    <a:pt x="4566" y="1932"/>
                  </a:lnTo>
                  <a:lnTo>
                    <a:pt x="4536" y="1926"/>
                  </a:lnTo>
                  <a:lnTo>
                    <a:pt x="4530" y="1926"/>
                  </a:lnTo>
                  <a:lnTo>
                    <a:pt x="4524" y="1932"/>
                  </a:lnTo>
                  <a:lnTo>
                    <a:pt x="4512" y="1938"/>
                  </a:lnTo>
                  <a:lnTo>
                    <a:pt x="4494" y="1944"/>
                  </a:lnTo>
                  <a:lnTo>
                    <a:pt x="4470" y="1956"/>
                  </a:lnTo>
                  <a:lnTo>
                    <a:pt x="4464" y="1962"/>
                  </a:lnTo>
                  <a:lnTo>
                    <a:pt x="4458" y="1962"/>
                  </a:lnTo>
                  <a:lnTo>
                    <a:pt x="4446" y="1968"/>
                  </a:lnTo>
                  <a:lnTo>
                    <a:pt x="4434" y="1968"/>
                  </a:lnTo>
                  <a:lnTo>
                    <a:pt x="4416" y="1974"/>
                  </a:lnTo>
                  <a:lnTo>
                    <a:pt x="4404" y="1974"/>
                  </a:lnTo>
                  <a:lnTo>
                    <a:pt x="4374" y="1998"/>
                  </a:lnTo>
                  <a:lnTo>
                    <a:pt x="4386" y="1974"/>
                  </a:lnTo>
                  <a:lnTo>
                    <a:pt x="4362" y="1956"/>
                  </a:lnTo>
                  <a:lnTo>
                    <a:pt x="4398" y="1968"/>
                  </a:lnTo>
                  <a:lnTo>
                    <a:pt x="4410" y="1956"/>
                  </a:lnTo>
                  <a:lnTo>
                    <a:pt x="4440" y="1950"/>
                  </a:lnTo>
                  <a:lnTo>
                    <a:pt x="4440" y="1932"/>
                  </a:lnTo>
                  <a:lnTo>
                    <a:pt x="4494" y="1932"/>
                  </a:lnTo>
                  <a:lnTo>
                    <a:pt x="4518" y="1920"/>
                  </a:lnTo>
                  <a:lnTo>
                    <a:pt x="4524" y="1914"/>
                  </a:lnTo>
                  <a:lnTo>
                    <a:pt x="4536" y="1908"/>
                  </a:lnTo>
                  <a:lnTo>
                    <a:pt x="4608" y="1908"/>
                  </a:lnTo>
                  <a:lnTo>
                    <a:pt x="4602" y="1902"/>
                  </a:lnTo>
                  <a:lnTo>
                    <a:pt x="4596" y="1902"/>
                  </a:lnTo>
                  <a:lnTo>
                    <a:pt x="4584" y="1896"/>
                  </a:lnTo>
                  <a:lnTo>
                    <a:pt x="4578" y="1890"/>
                  </a:lnTo>
                  <a:lnTo>
                    <a:pt x="4578" y="1866"/>
                  </a:lnTo>
                  <a:lnTo>
                    <a:pt x="4572" y="1866"/>
                  </a:lnTo>
                  <a:lnTo>
                    <a:pt x="4566" y="1872"/>
                  </a:lnTo>
                  <a:lnTo>
                    <a:pt x="4542" y="1872"/>
                  </a:lnTo>
                  <a:lnTo>
                    <a:pt x="4530" y="1878"/>
                  </a:lnTo>
                  <a:lnTo>
                    <a:pt x="4518" y="1878"/>
                  </a:lnTo>
                  <a:lnTo>
                    <a:pt x="4518" y="1866"/>
                  </a:lnTo>
                  <a:lnTo>
                    <a:pt x="4512" y="1860"/>
                  </a:lnTo>
                  <a:lnTo>
                    <a:pt x="4452" y="1878"/>
                  </a:lnTo>
                  <a:lnTo>
                    <a:pt x="4458" y="1848"/>
                  </a:lnTo>
                  <a:lnTo>
                    <a:pt x="4410" y="1860"/>
                  </a:lnTo>
                  <a:lnTo>
                    <a:pt x="4416" y="1854"/>
                  </a:lnTo>
                  <a:lnTo>
                    <a:pt x="4422" y="1842"/>
                  </a:lnTo>
                  <a:lnTo>
                    <a:pt x="4440" y="1824"/>
                  </a:lnTo>
                  <a:lnTo>
                    <a:pt x="4446" y="1812"/>
                  </a:lnTo>
                  <a:lnTo>
                    <a:pt x="4446" y="1800"/>
                  </a:lnTo>
                  <a:lnTo>
                    <a:pt x="4434" y="1800"/>
                  </a:lnTo>
                  <a:lnTo>
                    <a:pt x="4422" y="1794"/>
                  </a:lnTo>
                  <a:lnTo>
                    <a:pt x="4398" y="1794"/>
                  </a:lnTo>
                  <a:lnTo>
                    <a:pt x="4404" y="1770"/>
                  </a:lnTo>
                  <a:lnTo>
                    <a:pt x="4368" y="1770"/>
                  </a:lnTo>
                  <a:lnTo>
                    <a:pt x="4380" y="1752"/>
                  </a:lnTo>
                  <a:lnTo>
                    <a:pt x="4356" y="1728"/>
                  </a:lnTo>
                  <a:lnTo>
                    <a:pt x="4368" y="1728"/>
                  </a:lnTo>
                  <a:lnTo>
                    <a:pt x="4380" y="1734"/>
                  </a:lnTo>
                  <a:lnTo>
                    <a:pt x="4404" y="1734"/>
                  </a:lnTo>
                  <a:lnTo>
                    <a:pt x="4410" y="1728"/>
                  </a:lnTo>
                  <a:lnTo>
                    <a:pt x="4422" y="1722"/>
                  </a:lnTo>
                  <a:lnTo>
                    <a:pt x="4434" y="1710"/>
                  </a:lnTo>
                  <a:lnTo>
                    <a:pt x="4440" y="1710"/>
                  </a:lnTo>
                  <a:lnTo>
                    <a:pt x="4398" y="1686"/>
                  </a:lnTo>
                  <a:lnTo>
                    <a:pt x="4446" y="1656"/>
                  </a:lnTo>
                  <a:lnTo>
                    <a:pt x="4398" y="1632"/>
                  </a:lnTo>
                  <a:lnTo>
                    <a:pt x="4350" y="1638"/>
                  </a:lnTo>
                  <a:lnTo>
                    <a:pt x="4404" y="1614"/>
                  </a:lnTo>
                  <a:lnTo>
                    <a:pt x="4368" y="1608"/>
                  </a:lnTo>
                  <a:lnTo>
                    <a:pt x="4410" y="1584"/>
                  </a:lnTo>
                  <a:lnTo>
                    <a:pt x="4404" y="1560"/>
                  </a:lnTo>
                  <a:lnTo>
                    <a:pt x="4374" y="1560"/>
                  </a:lnTo>
                  <a:lnTo>
                    <a:pt x="4380" y="1554"/>
                  </a:lnTo>
                  <a:lnTo>
                    <a:pt x="4392" y="1530"/>
                  </a:lnTo>
                  <a:lnTo>
                    <a:pt x="4374" y="1494"/>
                  </a:lnTo>
                  <a:lnTo>
                    <a:pt x="4362" y="1494"/>
                  </a:lnTo>
                  <a:lnTo>
                    <a:pt x="4374" y="1470"/>
                  </a:lnTo>
                  <a:lnTo>
                    <a:pt x="4362" y="1476"/>
                  </a:lnTo>
                  <a:lnTo>
                    <a:pt x="4356" y="1482"/>
                  </a:lnTo>
                  <a:lnTo>
                    <a:pt x="4344" y="1488"/>
                  </a:lnTo>
                  <a:lnTo>
                    <a:pt x="4332" y="1500"/>
                  </a:lnTo>
                  <a:lnTo>
                    <a:pt x="4332" y="1518"/>
                  </a:lnTo>
                  <a:lnTo>
                    <a:pt x="4302" y="1506"/>
                  </a:lnTo>
                  <a:lnTo>
                    <a:pt x="4308" y="1542"/>
                  </a:lnTo>
                  <a:lnTo>
                    <a:pt x="4284" y="1542"/>
                  </a:lnTo>
                  <a:lnTo>
                    <a:pt x="4272" y="1560"/>
                  </a:lnTo>
                  <a:lnTo>
                    <a:pt x="4278" y="1572"/>
                  </a:lnTo>
                  <a:lnTo>
                    <a:pt x="4254" y="1572"/>
                  </a:lnTo>
                  <a:lnTo>
                    <a:pt x="4230" y="1614"/>
                  </a:lnTo>
                  <a:lnTo>
                    <a:pt x="4218" y="1614"/>
                  </a:lnTo>
                  <a:lnTo>
                    <a:pt x="4236" y="1578"/>
                  </a:lnTo>
                  <a:lnTo>
                    <a:pt x="4224" y="1566"/>
                  </a:lnTo>
                  <a:lnTo>
                    <a:pt x="4212" y="1566"/>
                  </a:lnTo>
                  <a:lnTo>
                    <a:pt x="4194" y="1584"/>
                  </a:lnTo>
                  <a:lnTo>
                    <a:pt x="4182" y="1590"/>
                  </a:lnTo>
                  <a:lnTo>
                    <a:pt x="4176" y="1596"/>
                  </a:lnTo>
                  <a:lnTo>
                    <a:pt x="4164" y="1602"/>
                  </a:lnTo>
                  <a:lnTo>
                    <a:pt x="4158" y="1608"/>
                  </a:lnTo>
                  <a:lnTo>
                    <a:pt x="4146" y="1614"/>
                  </a:lnTo>
                  <a:lnTo>
                    <a:pt x="4140" y="1620"/>
                  </a:lnTo>
                  <a:lnTo>
                    <a:pt x="4116" y="1632"/>
                  </a:lnTo>
                  <a:lnTo>
                    <a:pt x="4110" y="1638"/>
                  </a:lnTo>
                  <a:lnTo>
                    <a:pt x="4116" y="1614"/>
                  </a:lnTo>
                  <a:lnTo>
                    <a:pt x="4116" y="1596"/>
                  </a:lnTo>
                  <a:lnTo>
                    <a:pt x="4080" y="1632"/>
                  </a:lnTo>
                  <a:lnTo>
                    <a:pt x="4014" y="1644"/>
                  </a:lnTo>
                  <a:lnTo>
                    <a:pt x="4074" y="1626"/>
                  </a:lnTo>
                  <a:lnTo>
                    <a:pt x="4080" y="1620"/>
                  </a:lnTo>
                  <a:lnTo>
                    <a:pt x="4092" y="1596"/>
                  </a:lnTo>
                  <a:lnTo>
                    <a:pt x="4098" y="1590"/>
                  </a:lnTo>
                  <a:lnTo>
                    <a:pt x="4098" y="1578"/>
                  </a:lnTo>
                  <a:lnTo>
                    <a:pt x="4092" y="1572"/>
                  </a:lnTo>
                  <a:lnTo>
                    <a:pt x="4050" y="1572"/>
                  </a:lnTo>
                  <a:lnTo>
                    <a:pt x="4038" y="1578"/>
                  </a:lnTo>
                  <a:lnTo>
                    <a:pt x="4032" y="1578"/>
                  </a:lnTo>
                  <a:lnTo>
                    <a:pt x="4020" y="1584"/>
                  </a:lnTo>
                  <a:lnTo>
                    <a:pt x="4002" y="1584"/>
                  </a:lnTo>
                  <a:lnTo>
                    <a:pt x="4002" y="1578"/>
                  </a:lnTo>
                  <a:lnTo>
                    <a:pt x="4008" y="1572"/>
                  </a:lnTo>
                  <a:lnTo>
                    <a:pt x="4020" y="1566"/>
                  </a:lnTo>
                  <a:lnTo>
                    <a:pt x="4026" y="1560"/>
                  </a:lnTo>
                  <a:lnTo>
                    <a:pt x="4032" y="1560"/>
                  </a:lnTo>
                  <a:lnTo>
                    <a:pt x="4032" y="1572"/>
                  </a:lnTo>
                  <a:lnTo>
                    <a:pt x="4050" y="1560"/>
                  </a:lnTo>
                  <a:lnTo>
                    <a:pt x="4044" y="1536"/>
                  </a:lnTo>
                  <a:lnTo>
                    <a:pt x="4050" y="1530"/>
                  </a:lnTo>
                  <a:lnTo>
                    <a:pt x="4062" y="1524"/>
                  </a:lnTo>
                  <a:lnTo>
                    <a:pt x="4074" y="1512"/>
                  </a:lnTo>
                  <a:lnTo>
                    <a:pt x="4074" y="1506"/>
                  </a:lnTo>
                  <a:lnTo>
                    <a:pt x="4068" y="1500"/>
                  </a:lnTo>
                  <a:lnTo>
                    <a:pt x="4056" y="1494"/>
                  </a:lnTo>
                  <a:lnTo>
                    <a:pt x="4044" y="1494"/>
                  </a:lnTo>
                  <a:lnTo>
                    <a:pt x="4032" y="1488"/>
                  </a:lnTo>
                  <a:lnTo>
                    <a:pt x="4014" y="1488"/>
                  </a:lnTo>
                  <a:lnTo>
                    <a:pt x="4044" y="1488"/>
                  </a:lnTo>
                  <a:lnTo>
                    <a:pt x="4056" y="1482"/>
                  </a:lnTo>
                  <a:lnTo>
                    <a:pt x="4074" y="1482"/>
                  </a:lnTo>
                  <a:lnTo>
                    <a:pt x="4086" y="1470"/>
                  </a:lnTo>
                  <a:lnTo>
                    <a:pt x="4098" y="1446"/>
                  </a:lnTo>
                  <a:lnTo>
                    <a:pt x="4104" y="1440"/>
                  </a:lnTo>
                  <a:lnTo>
                    <a:pt x="4110" y="1440"/>
                  </a:lnTo>
                  <a:lnTo>
                    <a:pt x="4122" y="1434"/>
                  </a:lnTo>
                  <a:lnTo>
                    <a:pt x="4128" y="1434"/>
                  </a:lnTo>
                  <a:lnTo>
                    <a:pt x="4134" y="1428"/>
                  </a:lnTo>
                  <a:lnTo>
                    <a:pt x="4122" y="1416"/>
                  </a:lnTo>
                  <a:lnTo>
                    <a:pt x="4110" y="1422"/>
                  </a:lnTo>
                  <a:lnTo>
                    <a:pt x="4098" y="1434"/>
                  </a:lnTo>
                  <a:lnTo>
                    <a:pt x="4092" y="1404"/>
                  </a:lnTo>
                  <a:lnTo>
                    <a:pt x="4068" y="1404"/>
                  </a:lnTo>
                  <a:lnTo>
                    <a:pt x="4050" y="1410"/>
                  </a:lnTo>
                  <a:lnTo>
                    <a:pt x="4026" y="1410"/>
                  </a:lnTo>
                  <a:lnTo>
                    <a:pt x="4020" y="1404"/>
                  </a:lnTo>
                  <a:lnTo>
                    <a:pt x="4020" y="1386"/>
                  </a:lnTo>
                  <a:lnTo>
                    <a:pt x="4038" y="1368"/>
                  </a:lnTo>
                  <a:lnTo>
                    <a:pt x="4032" y="1362"/>
                  </a:lnTo>
                  <a:lnTo>
                    <a:pt x="4014" y="1362"/>
                  </a:lnTo>
                  <a:lnTo>
                    <a:pt x="4008" y="1368"/>
                  </a:lnTo>
                  <a:lnTo>
                    <a:pt x="4020" y="1344"/>
                  </a:lnTo>
                  <a:lnTo>
                    <a:pt x="3984" y="1350"/>
                  </a:lnTo>
                  <a:lnTo>
                    <a:pt x="3984" y="1326"/>
                  </a:lnTo>
                  <a:lnTo>
                    <a:pt x="3978" y="1314"/>
                  </a:lnTo>
                  <a:lnTo>
                    <a:pt x="3972" y="1308"/>
                  </a:lnTo>
                  <a:lnTo>
                    <a:pt x="3948" y="1308"/>
                  </a:lnTo>
                  <a:lnTo>
                    <a:pt x="3930" y="1314"/>
                  </a:lnTo>
                  <a:lnTo>
                    <a:pt x="3906" y="1326"/>
                  </a:lnTo>
                  <a:lnTo>
                    <a:pt x="3900" y="1332"/>
                  </a:lnTo>
                  <a:lnTo>
                    <a:pt x="3894" y="1332"/>
                  </a:lnTo>
                  <a:lnTo>
                    <a:pt x="3888" y="1326"/>
                  </a:lnTo>
                  <a:lnTo>
                    <a:pt x="3876" y="1320"/>
                  </a:lnTo>
                  <a:lnTo>
                    <a:pt x="3864" y="1320"/>
                  </a:lnTo>
                  <a:lnTo>
                    <a:pt x="3852" y="1326"/>
                  </a:lnTo>
                  <a:lnTo>
                    <a:pt x="3846" y="1326"/>
                  </a:lnTo>
                  <a:lnTo>
                    <a:pt x="3834" y="1332"/>
                  </a:lnTo>
                  <a:lnTo>
                    <a:pt x="3822" y="1326"/>
                  </a:lnTo>
                  <a:lnTo>
                    <a:pt x="3762" y="1302"/>
                  </a:lnTo>
                  <a:lnTo>
                    <a:pt x="3738" y="1302"/>
                  </a:lnTo>
                  <a:lnTo>
                    <a:pt x="3714" y="1314"/>
                  </a:lnTo>
                  <a:lnTo>
                    <a:pt x="3708" y="1326"/>
                  </a:lnTo>
                  <a:lnTo>
                    <a:pt x="3702" y="1326"/>
                  </a:lnTo>
                  <a:lnTo>
                    <a:pt x="3684" y="1344"/>
                  </a:lnTo>
                  <a:lnTo>
                    <a:pt x="3684" y="1350"/>
                  </a:lnTo>
                  <a:lnTo>
                    <a:pt x="3696" y="1356"/>
                  </a:lnTo>
                  <a:lnTo>
                    <a:pt x="3702" y="1362"/>
                  </a:lnTo>
                  <a:lnTo>
                    <a:pt x="3708" y="1374"/>
                  </a:lnTo>
                  <a:lnTo>
                    <a:pt x="3708" y="1380"/>
                  </a:lnTo>
                  <a:lnTo>
                    <a:pt x="3702" y="1386"/>
                  </a:lnTo>
                  <a:lnTo>
                    <a:pt x="3690" y="1392"/>
                  </a:lnTo>
                  <a:lnTo>
                    <a:pt x="3672" y="1410"/>
                  </a:lnTo>
                  <a:lnTo>
                    <a:pt x="3660" y="1416"/>
                  </a:lnTo>
                  <a:lnTo>
                    <a:pt x="3636" y="1422"/>
                  </a:lnTo>
                  <a:lnTo>
                    <a:pt x="3660" y="1440"/>
                  </a:lnTo>
                  <a:lnTo>
                    <a:pt x="3654" y="1446"/>
                  </a:lnTo>
                  <a:lnTo>
                    <a:pt x="3642" y="1446"/>
                  </a:lnTo>
                  <a:lnTo>
                    <a:pt x="3636" y="1452"/>
                  </a:lnTo>
                  <a:lnTo>
                    <a:pt x="3636" y="1470"/>
                  </a:lnTo>
                  <a:lnTo>
                    <a:pt x="3642" y="1482"/>
                  </a:lnTo>
                  <a:lnTo>
                    <a:pt x="3642" y="1488"/>
                  </a:lnTo>
                  <a:lnTo>
                    <a:pt x="3636" y="1500"/>
                  </a:lnTo>
                  <a:lnTo>
                    <a:pt x="3624" y="1506"/>
                  </a:lnTo>
                  <a:lnTo>
                    <a:pt x="3618" y="1512"/>
                  </a:lnTo>
                  <a:lnTo>
                    <a:pt x="3606" y="1512"/>
                  </a:lnTo>
                  <a:lnTo>
                    <a:pt x="3582" y="1524"/>
                  </a:lnTo>
                  <a:lnTo>
                    <a:pt x="3576" y="1536"/>
                  </a:lnTo>
                  <a:lnTo>
                    <a:pt x="3576" y="1548"/>
                  </a:lnTo>
                  <a:lnTo>
                    <a:pt x="3570" y="1548"/>
                  </a:lnTo>
                  <a:lnTo>
                    <a:pt x="3564" y="1554"/>
                  </a:lnTo>
                  <a:lnTo>
                    <a:pt x="3552" y="1554"/>
                  </a:lnTo>
                  <a:lnTo>
                    <a:pt x="3540" y="1560"/>
                  </a:lnTo>
                  <a:lnTo>
                    <a:pt x="3534" y="1566"/>
                  </a:lnTo>
                  <a:lnTo>
                    <a:pt x="3522" y="1572"/>
                  </a:lnTo>
                  <a:lnTo>
                    <a:pt x="3504" y="1590"/>
                  </a:lnTo>
                  <a:lnTo>
                    <a:pt x="3510" y="1596"/>
                  </a:lnTo>
                  <a:lnTo>
                    <a:pt x="3522" y="1602"/>
                  </a:lnTo>
                  <a:lnTo>
                    <a:pt x="3534" y="1614"/>
                  </a:lnTo>
                  <a:lnTo>
                    <a:pt x="3552" y="1620"/>
                  </a:lnTo>
                  <a:lnTo>
                    <a:pt x="3558" y="1632"/>
                  </a:lnTo>
                  <a:lnTo>
                    <a:pt x="3564" y="1638"/>
                  </a:lnTo>
                  <a:lnTo>
                    <a:pt x="3564" y="1662"/>
                  </a:lnTo>
                  <a:lnTo>
                    <a:pt x="3558" y="1698"/>
                  </a:lnTo>
                  <a:lnTo>
                    <a:pt x="3540" y="1746"/>
                  </a:lnTo>
                  <a:lnTo>
                    <a:pt x="3510" y="1776"/>
                  </a:lnTo>
                  <a:lnTo>
                    <a:pt x="3468" y="1800"/>
                  </a:lnTo>
                  <a:lnTo>
                    <a:pt x="3426" y="1830"/>
                  </a:lnTo>
                  <a:lnTo>
                    <a:pt x="3390" y="1854"/>
                  </a:lnTo>
                  <a:lnTo>
                    <a:pt x="3366" y="1860"/>
                  </a:lnTo>
                  <a:lnTo>
                    <a:pt x="3336" y="1860"/>
                  </a:lnTo>
                  <a:lnTo>
                    <a:pt x="3300" y="1866"/>
                  </a:lnTo>
                  <a:lnTo>
                    <a:pt x="3276" y="1872"/>
                  </a:lnTo>
                  <a:lnTo>
                    <a:pt x="3258" y="1878"/>
                  </a:lnTo>
                  <a:lnTo>
                    <a:pt x="3258" y="1902"/>
                  </a:lnTo>
                  <a:lnTo>
                    <a:pt x="3264" y="1914"/>
                  </a:lnTo>
                  <a:lnTo>
                    <a:pt x="3264" y="1926"/>
                  </a:lnTo>
                  <a:lnTo>
                    <a:pt x="3270" y="1938"/>
                  </a:lnTo>
                  <a:lnTo>
                    <a:pt x="3270" y="1950"/>
                  </a:lnTo>
                  <a:lnTo>
                    <a:pt x="3252" y="1968"/>
                  </a:lnTo>
                  <a:lnTo>
                    <a:pt x="3234" y="2004"/>
                  </a:lnTo>
                  <a:lnTo>
                    <a:pt x="3234" y="2076"/>
                  </a:lnTo>
                  <a:lnTo>
                    <a:pt x="3210" y="2088"/>
                  </a:lnTo>
                  <a:lnTo>
                    <a:pt x="3204" y="2094"/>
                  </a:lnTo>
                  <a:lnTo>
                    <a:pt x="3180" y="2106"/>
                  </a:lnTo>
                  <a:lnTo>
                    <a:pt x="3180" y="2142"/>
                  </a:lnTo>
                  <a:lnTo>
                    <a:pt x="3156" y="2166"/>
                  </a:lnTo>
                  <a:lnTo>
                    <a:pt x="3156" y="2154"/>
                  </a:lnTo>
                  <a:lnTo>
                    <a:pt x="3162" y="2148"/>
                  </a:lnTo>
                  <a:lnTo>
                    <a:pt x="3162" y="2142"/>
                  </a:lnTo>
                  <a:lnTo>
                    <a:pt x="3156" y="2130"/>
                  </a:lnTo>
                  <a:lnTo>
                    <a:pt x="3138" y="2130"/>
                  </a:lnTo>
                  <a:lnTo>
                    <a:pt x="3126" y="2136"/>
                  </a:lnTo>
                  <a:lnTo>
                    <a:pt x="3108" y="2154"/>
                  </a:lnTo>
                  <a:lnTo>
                    <a:pt x="3108" y="2166"/>
                  </a:lnTo>
                  <a:lnTo>
                    <a:pt x="3114" y="2178"/>
                  </a:lnTo>
                  <a:lnTo>
                    <a:pt x="3114" y="2190"/>
                  </a:lnTo>
                  <a:lnTo>
                    <a:pt x="3108" y="2196"/>
                  </a:lnTo>
                  <a:lnTo>
                    <a:pt x="3108" y="2178"/>
                  </a:lnTo>
                  <a:lnTo>
                    <a:pt x="3102" y="2166"/>
                  </a:lnTo>
                  <a:lnTo>
                    <a:pt x="3090" y="2154"/>
                  </a:lnTo>
                  <a:lnTo>
                    <a:pt x="3078" y="2154"/>
                  </a:lnTo>
                  <a:lnTo>
                    <a:pt x="3066" y="2160"/>
                  </a:lnTo>
                  <a:lnTo>
                    <a:pt x="3042" y="2160"/>
                  </a:lnTo>
                  <a:lnTo>
                    <a:pt x="3036" y="2166"/>
                  </a:lnTo>
                  <a:lnTo>
                    <a:pt x="3030" y="2166"/>
                  </a:lnTo>
                  <a:lnTo>
                    <a:pt x="3042" y="2160"/>
                  </a:lnTo>
                  <a:lnTo>
                    <a:pt x="3060" y="2142"/>
                  </a:lnTo>
                  <a:lnTo>
                    <a:pt x="3072" y="2136"/>
                  </a:lnTo>
                  <a:lnTo>
                    <a:pt x="3078" y="2124"/>
                  </a:lnTo>
                  <a:lnTo>
                    <a:pt x="3078" y="2118"/>
                  </a:lnTo>
                  <a:lnTo>
                    <a:pt x="3072" y="2106"/>
                  </a:lnTo>
                  <a:lnTo>
                    <a:pt x="3060" y="2100"/>
                  </a:lnTo>
                  <a:lnTo>
                    <a:pt x="3048" y="2088"/>
                  </a:lnTo>
                  <a:lnTo>
                    <a:pt x="3030" y="2088"/>
                  </a:lnTo>
                  <a:lnTo>
                    <a:pt x="3024" y="2082"/>
                  </a:lnTo>
                  <a:lnTo>
                    <a:pt x="3018" y="2082"/>
                  </a:lnTo>
                  <a:lnTo>
                    <a:pt x="3024" y="2082"/>
                  </a:lnTo>
                  <a:lnTo>
                    <a:pt x="3042" y="2064"/>
                  </a:lnTo>
                  <a:lnTo>
                    <a:pt x="3042" y="2058"/>
                  </a:lnTo>
                  <a:lnTo>
                    <a:pt x="3030" y="2034"/>
                  </a:lnTo>
                  <a:lnTo>
                    <a:pt x="3030" y="2028"/>
                  </a:lnTo>
                  <a:lnTo>
                    <a:pt x="3024" y="2016"/>
                  </a:lnTo>
                  <a:lnTo>
                    <a:pt x="3060" y="1992"/>
                  </a:lnTo>
                  <a:lnTo>
                    <a:pt x="3060" y="1968"/>
                  </a:lnTo>
                  <a:lnTo>
                    <a:pt x="3084" y="1956"/>
                  </a:lnTo>
                  <a:lnTo>
                    <a:pt x="3084" y="1914"/>
                  </a:lnTo>
                  <a:lnTo>
                    <a:pt x="3090" y="1914"/>
                  </a:lnTo>
                  <a:lnTo>
                    <a:pt x="3102" y="1902"/>
                  </a:lnTo>
                  <a:lnTo>
                    <a:pt x="3114" y="1896"/>
                  </a:lnTo>
                  <a:lnTo>
                    <a:pt x="3132" y="1878"/>
                  </a:lnTo>
                  <a:lnTo>
                    <a:pt x="3126" y="1866"/>
                  </a:lnTo>
                  <a:lnTo>
                    <a:pt x="3120" y="1860"/>
                  </a:lnTo>
                  <a:lnTo>
                    <a:pt x="3084" y="1848"/>
                  </a:lnTo>
                  <a:lnTo>
                    <a:pt x="2976" y="1848"/>
                  </a:lnTo>
                  <a:lnTo>
                    <a:pt x="2940" y="1860"/>
                  </a:lnTo>
                  <a:lnTo>
                    <a:pt x="2946" y="1848"/>
                  </a:lnTo>
                  <a:lnTo>
                    <a:pt x="2952" y="1842"/>
                  </a:lnTo>
                  <a:lnTo>
                    <a:pt x="2952" y="1830"/>
                  </a:lnTo>
                  <a:lnTo>
                    <a:pt x="2958" y="1824"/>
                  </a:lnTo>
                  <a:lnTo>
                    <a:pt x="2952" y="1818"/>
                  </a:lnTo>
                  <a:lnTo>
                    <a:pt x="2940" y="1812"/>
                  </a:lnTo>
                  <a:lnTo>
                    <a:pt x="2928" y="1812"/>
                  </a:lnTo>
                  <a:lnTo>
                    <a:pt x="2892" y="1800"/>
                  </a:lnTo>
                  <a:lnTo>
                    <a:pt x="2874" y="1800"/>
                  </a:lnTo>
                  <a:lnTo>
                    <a:pt x="2868" y="1794"/>
                  </a:lnTo>
                  <a:lnTo>
                    <a:pt x="2862" y="1794"/>
                  </a:lnTo>
                  <a:lnTo>
                    <a:pt x="2862" y="1770"/>
                  </a:lnTo>
                  <a:lnTo>
                    <a:pt x="2856" y="1752"/>
                  </a:lnTo>
                  <a:lnTo>
                    <a:pt x="2844" y="1740"/>
                  </a:lnTo>
                  <a:lnTo>
                    <a:pt x="2790" y="1722"/>
                  </a:lnTo>
                  <a:lnTo>
                    <a:pt x="2778" y="1722"/>
                  </a:lnTo>
                  <a:lnTo>
                    <a:pt x="2778" y="1716"/>
                  </a:lnTo>
                  <a:lnTo>
                    <a:pt x="2766" y="1704"/>
                  </a:lnTo>
                  <a:lnTo>
                    <a:pt x="2754" y="1704"/>
                  </a:lnTo>
                  <a:lnTo>
                    <a:pt x="2736" y="1698"/>
                  </a:lnTo>
                  <a:lnTo>
                    <a:pt x="2694" y="1698"/>
                  </a:lnTo>
                  <a:lnTo>
                    <a:pt x="2646" y="1704"/>
                  </a:lnTo>
                  <a:lnTo>
                    <a:pt x="2610" y="1716"/>
                  </a:lnTo>
                  <a:lnTo>
                    <a:pt x="2592" y="1716"/>
                  </a:lnTo>
                  <a:lnTo>
                    <a:pt x="2598" y="1716"/>
                  </a:lnTo>
                  <a:lnTo>
                    <a:pt x="2604" y="1710"/>
                  </a:lnTo>
                  <a:lnTo>
                    <a:pt x="2616" y="1710"/>
                  </a:lnTo>
                  <a:lnTo>
                    <a:pt x="2628" y="1704"/>
                  </a:lnTo>
                  <a:lnTo>
                    <a:pt x="2634" y="1692"/>
                  </a:lnTo>
                  <a:lnTo>
                    <a:pt x="2640" y="1686"/>
                  </a:lnTo>
                  <a:lnTo>
                    <a:pt x="2646" y="1662"/>
                  </a:lnTo>
                  <a:lnTo>
                    <a:pt x="2658" y="1632"/>
                  </a:lnTo>
                  <a:lnTo>
                    <a:pt x="2664" y="1602"/>
                  </a:lnTo>
                  <a:lnTo>
                    <a:pt x="2670" y="1590"/>
                  </a:lnTo>
                  <a:lnTo>
                    <a:pt x="2658" y="1590"/>
                  </a:lnTo>
                  <a:lnTo>
                    <a:pt x="2646" y="1584"/>
                  </a:lnTo>
                  <a:lnTo>
                    <a:pt x="2616" y="1584"/>
                  </a:lnTo>
                  <a:lnTo>
                    <a:pt x="2610" y="1590"/>
                  </a:lnTo>
                  <a:lnTo>
                    <a:pt x="2598" y="1596"/>
                  </a:lnTo>
                  <a:lnTo>
                    <a:pt x="2592" y="1602"/>
                  </a:lnTo>
                  <a:lnTo>
                    <a:pt x="2580" y="1608"/>
                  </a:lnTo>
                  <a:lnTo>
                    <a:pt x="2598" y="1578"/>
                  </a:lnTo>
                  <a:lnTo>
                    <a:pt x="2592" y="1560"/>
                  </a:lnTo>
                  <a:lnTo>
                    <a:pt x="2610" y="1542"/>
                  </a:lnTo>
                  <a:lnTo>
                    <a:pt x="2616" y="1530"/>
                  </a:lnTo>
                  <a:lnTo>
                    <a:pt x="2640" y="1506"/>
                  </a:lnTo>
                  <a:lnTo>
                    <a:pt x="2646" y="1494"/>
                  </a:lnTo>
                  <a:lnTo>
                    <a:pt x="2664" y="1476"/>
                  </a:lnTo>
                  <a:lnTo>
                    <a:pt x="2694" y="1452"/>
                  </a:lnTo>
                  <a:lnTo>
                    <a:pt x="2730" y="1428"/>
                  </a:lnTo>
                  <a:lnTo>
                    <a:pt x="2754" y="1410"/>
                  </a:lnTo>
                  <a:lnTo>
                    <a:pt x="2766" y="1404"/>
                  </a:lnTo>
                  <a:lnTo>
                    <a:pt x="2760" y="1392"/>
                  </a:lnTo>
                  <a:lnTo>
                    <a:pt x="2826" y="1368"/>
                  </a:lnTo>
                  <a:lnTo>
                    <a:pt x="2826" y="1350"/>
                  </a:lnTo>
                  <a:lnTo>
                    <a:pt x="2868" y="1344"/>
                  </a:lnTo>
                  <a:lnTo>
                    <a:pt x="2868" y="1326"/>
                  </a:lnTo>
                  <a:lnTo>
                    <a:pt x="2898" y="1320"/>
                  </a:lnTo>
                  <a:lnTo>
                    <a:pt x="2952" y="1284"/>
                  </a:lnTo>
                  <a:lnTo>
                    <a:pt x="3006" y="1284"/>
                  </a:lnTo>
                  <a:lnTo>
                    <a:pt x="3042" y="1278"/>
                  </a:lnTo>
                  <a:lnTo>
                    <a:pt x="3060" y="1266"/>
                  </a:lnTo>
                  <a:lnTo>
                    <a:pt x="3060" y="1254"/>
                  </a:lnTo>
                  <a:lnTo>
                    <a:pt x="3030" y="1224"/>
                  </a:lnTo>
                  <a:lnTo>
                    <a:pt x="2970" y="1230"/>
                  </a:lnTo>
                  <a:lnTo>
                    <a:pt x="2982" y="1218"/>
                  </a:lnTo>
                  <a:lnTo>
                    <a:pt x="2928" y="1194"/>
                  </a:lnTo>
                  <a:lnTo>
                    <a:pt x="2952" y="1188"/>
                  </a:lnTo>
                  <a:lnTo>
                    <a:pt x="3036" y="1212"/>
                  </a:lnTo>
                  <a:lnTo>
                    <a:pt x="3054" y="1230"/>
                  </a:lnTo>
                  <a:lnTo>
                    <a:pt x="3066" y="1236"/>
                  </a:lnTo>
                  <a:lnTo>
                    <a:pt x="3096" y="1236"/>
                  </a:lnTo>
                  <a:lnTo>
                    <a:pt x="3108" y="1230"/>
                  </a:lnTo>
                  <a:lnTo>
                    <a:pt x="3114" y="1218"/>
                  </a:lnTo>
                  <a:lnTo>
                    <a:pt x="3126" y="1206"/>
                  </a:lnTo>
                  <a:lnTo>
                    <a:pt x="3132" y="1194"/>
                  </a:lnTo>
                  <a:lnTo>
                    <a:pt x="3144" y="1188"/>
                  </a:lnTo>
                  <a:lnTo>
                    <a:pt x="3150" y="1182"/>
                  </a:lnTo>
                  <a:lnTo>
                    <a:pt x="3156" y="1182"/>
                  </a:lnTo>
                  <a:lnTo>
                    <a:pt x="3180" y="1194"/>
                  </a:lnTo>
                  <a:lnTo>
                    <a:pt x="3198" y="1200"/>
                  </a:lnTo>
                  <a:lnTo>
                    <a:pt x="3210" y="1200"/>
                  </a:lnTo>
                  <a:lnTo>
                    <a:pt x="3246" y="1182"/>
                  </a:lnTo>
                  <a:lnTo>
                    <a:pt x="3282" y="1170"/>
                  </a:lnTo>
                  <a:lnTo>
                    <a:pt x="3318" y="1152"/>
                  </a:lnTo>
                  <a:lnTo>
                    <a:pt x="3336" y="1146"/>
                  </a:lnTo>
                  <a:lnTo>
                    <a:pt x="3360" y="1134"/>
                  </a:lnTo>
                  <a:lnTo>
                    <a:pt x="3372" y="1122"/>
                  </a:lnTo>
                  <a:lnTo>
                    <a:pt x="3366" y="1116"/>
                  </a:lnTo>
                  <a:lnTo>
                    <a:pt x="3342" y="1110"/>
                  </a:lnTo>
                  <a:lnTo>
                    <a:pt x="3264" y="1110"/>
                  </a:lnTo>
                  <a:lnTo>
                    <a:pt x="3258" y="1086"/>
                  </a:lnTo>
                  <a:lnTo>
                    <a:pt x="3174" y="1056"/>
                  </a:lnTo>
                  <a:lnTo>
                    <a:pt x="3186" y="1056"/>
                  </a:lnTo>
                  <a:lnTo>
                    <a:pt x="3216" y="1050"/>
                  </a:lnTo>
                  <a:lnTo>
                    <a:pt x="3252" y="1050"/>
                  </a:lnTo>
                  <a:lnTo>
                    <a:pt x="3282" y="1056"/>
                  </a:lnTo>
                  <a:lnTo>
                    <a:pt x="3294" y="1062"/>
                  </a:lnTo>
                  <a:lnTo>
                    <a:pt x="3306" y="1074"/>
                  </a:lnTo>
                  <a:lnTo>
                    <a:pt x="3324" y="1086"/>
                  </a:lnTo>
                  <a:lnTo>
                    <a:pt x="3336" y="1098"/>
                  </a:lnTo>
                  <a:lnTo>
                    <a:pt x="3348" y="1104"/>
                  </a:lnTo>
                  <a:lnTo>
                    <a:pt x="3372" y="1098"/>
                  </a:lnTo>
                  <a:lnTo>
                    <a:pt x="3408" y="1080"/>
                  </a:lnTo>
                  <a:lnTo>
                    <a:pt x="3444" y="1068"/>
                  </a:lnTo>
                  <a:lnTo>
                    <a:pt x="3474" y="1050"/>
                  </a:lnTo>
                  <a:lnTo>
                    <a:pt x="3486" y="1044"/>
                  </a:lnTo>
                  <a:lnTo>
                    <a:pt x="3462" y="1032"/>
                  </a:lnTo>
                  <a:lnTo>
                    <a:pt x="3468" y="1026"/>
                  </a:lnTo>
                  <a:lnTo>
                    <a:pt x="3492" y="1014"/>
                  </a:lnTo>
                  <a:lnTo>
                    <a:pt x="3522" y="1014"/>
                  </a:lnTo>
                  <a:lnTo>
                    <a:pt x="3528" y="1020"/>
                  </a:lnTo>
                  <a:lnTo>
                    <a:pt x="3534" y="1032"/>
                  </a:lnTo>
                  <a:lnTo>
                    <a:pt x="3540" y="1038"/>
                  </a:lnTo>
                  <a:lnTo>
                    <a:pt x="3570" y="1050"/>
                  </a:lnTo>
                  <a:lnTo>
                    <a:pt x="3576" y="1026"/>
                  </a:lnTo>
                  <a:lnTo>
                    <a:pt x="3594" y="1044"/>
                  </a:lnTo>
                  <a:lnTo>
                    <a:pt x="3600" y="1038"/>
                  </a:lnTo>
                  <a:lnTo>
                    <a:pt x="3600" y="1026"/>
                  </a:lnTo>
                  <a:lnTo>
                    <a:pt x="3594" y="1014"/>
                  </a:lnTo>
                  <a:lnTo>
                    <a:pt x="3582" y="1002"/>
                  </a:lnTo>
                  <a:lnTo>
                    <a:pt x="3564" y="990"/>
                  </a:lnTo>
                  <a:lnTo>
                    <a:pt x="3606" y="984"/>
                  </a:lnTo>
                  <a:lnTo>
                    <a:pt x="3606" y="990"/>
                  </a:lnTo>
                  <a:lnTo>
                    <a:pt x="3612" y="996"/>
                  </a:lnTo>
                  <a:lnTo>
                    <a:pt x="3612" y="1008"/>
                  </a:lnTo>
                  <a:lnTo>
                    <a:pt x="3624" y="1032"/>
                  </a:lnTo>
                  <a:lnTo>
                    <a:pt x="3630" y="1038"/>
                  </a:lnTo>
                  <a:lnTo>
                    <a:pt x="3636" y="1038"/>
                  </a:lnTo>
                  <a:lnTo>
                    <a:pt x="3654" y="1032"/>
                  </a:lnTo>
                  <a:lnTo>
                    <a:pt x="3690" y="1026"/>
                  </a:lnTo>
                  <a:lnTo>
                    <a:pt x="3732" y="1008"/>
                  </a:lnTo>
                  <a:lnTo>
                    <a:pt x="3768" y="990"/>
                  </a:lnTo>
                  <a:lnTo>
                    <a:pt x="3798" y="972"/>
                  </a:lnTo>
                  <a:lnTo>
                    <a:pt x="3798" y="960"/>
                  </a:lnTo>
                  <a:lnTo>
                    <a:pt x="3786" y="942"/>
                  </a:lnTo>
                  <a:lnTo>
                    <a:pt x="3780" y="930"/>
                  </a:lnTo>
                  <a:lnTo>
                    <a:pt x="3774" y="912"/>
                  </a:lnTo>
                  <a:lnTo>
                    <a:pt x="3774" y="900"/>
                  </a:lnTo>
                  <a:lnTo>
                    <a:pt x="3780" y="894"/>
                  </a:lnTo>
                  <a:lnTo>
                    <a:pt x="3792" y="894"/>
                  </a:lnTo>
                  <a:lnTo>
                    <a:pt x="3804" y="888"/>
                  </a:lnTo>
                  <a:lnTo>
                    <a:pt x="3822" y="888"/>
                  </a:lnTo>
                  <a:lnTo>
                    <a:pt x="3840" y="882"/>
                  </a:lnTo>
                  <a:lnTo>
                    <a:pt x="3858" y="882"/>
                  </a:lnTo>
                  <a:lnTo>
                    <a:pt x="3864" y="876"/>
                  </a:lnTo>
                  <a:lnTo>
                    <a:pt x="3870" y="876"/>
                  </a:lnTo>
                  <a:lnTo>
                    <a:pt x="3870" y="858"/>
                  </a:lnTo>
                  <a:lnTo>
                    <a:pt x="3864" y="846"/>
                  </a:lnTo>
                  <a:lnTo>
                    <a:pt x="3864" y="840"/>
                  </a:lnTo>
                  <a:lnTo>
                    <a:pt x="3858" y="828"/>
                  </a:lnTo>
                  <a:lnTo>
                    <a:pt x="3840" y="804"/>
                  </a:lnTo>
                  <a:lnTo>
                    <a:pt x="3822" y="798"/>
                  </a:lnTo>
                  <a:lnTo>
                    <a:pt x="3786" y="792"/>
                  </a:lnTo>
                  <a:lnTo>
                    <a:pt x="3744" y="792"/>
                  </a:lnTo>
                  <a:lnTo>
                    <a:pt x="3708" y="804"/>
                  </a:lnTo>
                  <a:lnTo>
                    <a:pt x="3690" y="822"/>
                  </a:lnTo>
                  <a:lnTo>
                    <a:pt x="3690" y="840"/>
                  </a:lnTo>
                  <a:lnTo>
                    <a:pt x="3696" y="840"/>
                  </a:lnTo>
                  <a:lnTo>
                    <a:pt x="3702" y="846"/>
                  </a:lnTo>
                  <a:lnTo>
                    <a:pt x="3666" y="870"/>
                  </a:lnTo>
                  <a:lnTo>
                    <a:pt x="3642" y="870"/>
                  </a:lnTo>
                  <a:lnTo>
                    <a:pt x="3576" y="918"/>
                  </a:lnTo>
                  <a:lnTo>
                    <a:pt x="3552" y="930"/>
                  </a:lnTo>
                  <a:lnTo>
                    <a:pt x="3546" y="936"/>
                  </a:lnTo>
                  <a:lnTo>
                    <a:pt x="3540" y="948"/>
                  </a:lnTo>
                  <a:lnTo>
                    <a:pt x="3522" y="966"/>
                  </a:lnTo>
                  <a:lnTo>
                    <a:pt x="3492" y="966"/>
                  </a:lnTo>
                  <a:lnTo>
                    <a:pt x="3456" y="984"/>
                  </a:lnTo>
                  <a:lnTo>
                    <a:pt x="3456" y="972"/>
                  </a:lnTo>
                  <a:lnTo>
                    <a:pt x="3450" y="954"/>
                  </a:lnTo>
                  <a:lnTo>
                    <a:pt x="3450" y="918"/>
                  </a:lnTo>
                  <a:lnTo>
                    <a:pt x="3456" y="912"/>
                  </a:lnTo>
                  <a:lnTo>
                    <a:pt x="3480" y="900"/>
                  </a:lnTo>
                  <a:lnTo>
                    <a:pt x="3498" y="900"/>
                  </a:lnTo>
                  <a:lnTo>
                    <a:pt x="3510" y="894"/>
                  </a:lnTo>
                  <a:lnTo>
                    <a:pt x="3516" y="882"/>
                  </a:lnTo>
                  <a:lnTo>
                    <a:pt x="3516" y="870"/>
                  </a:lnTo>
                  <a:lnTo>
                    <a:pt x="3510" y="852"/>
                  </a:lnTo>
                  <a:lnTo>
                    <a:pt x="3504" y="846"/>
                  </a:lnTo>
                  <a:lnTo>
                    <a:pt x="3498" y="834"/>
                  </a:lnTo>
                  <a:lnTo>
                    <a:pt x="3486" y="834"/>
                  </a:lnTo>
                  <a:lnTo>
                    <a:pt x="3450" y="852"/>
                  </a:lnTo>
                  <a:lnTo>
                    <a:pt x="3432" y="858"/>
                  </a:lnTo>
                  <a:lnTo>
                    <a:pt x="3420" y="864"/>
                  </a:lnTo>
                  <a:lnTo>
                    <a:pt x="3414" y="870"/>
                  </a:lnTo>
                  <a:lnTo>
                    <a:pt x="3408" y="870"/>
                  </a:lnTo>
                  <a:lnTo>
                    <a:pt x="3378" y="900"/>
                  </a:lnTo>
                  <a:lnTo>
                    <a:pt x="3372" y="888"/>
                  </a:lnTo>
                  <a:lnTo>
                    <a:pt x="3396" y="858"/>
                  </a:lnTo>
                  <a:lnTo>
                    <a:pt x="3396" y="840"/>
                  </a:lnTo>
                  <a:lnTo>
                    <a:pt x="3438" y="822"/>
                  </a:lnTo>
                  <a:lnTo>
                    <a:pt x="3402" y="816"/>
                  </a:lnTo>
                  <a:lnTo>
                    <a:pt x="3408" y="804"/>
                  </a:lnTo>
                  <a:lnTo>
                    <a:pt x="3360" y="816"/>
                  </a:lnTo>
                  <a:lnTo>
                    <a:pt x="3336" y="804"/>
                  </a:lnTo>
                  <a:lnTo>
                    <a:pt x="3378" y="792"/>
                  </a:lnTo>
                  <a:lnTo>
                    <a:pt x="3378" y="774"/>
                  </a:lnTo>
                  <a:lnTo>
                    <a:pt x="3390" y="774"/>
                  </a:lnTo>
                  <a:lnTo>
                    <a:pt x="3396" y="780"/>
                  </a:lnTo>
                  <a:lnTo>
                    <a:pt x="3420" y="780"/>
                  </a:lnTo>
                  <a:lnTo>
                    <a:pt x="3426" y="774"/>
                  </a:lnTo>
                  <a:lnTo>
                    <a:pt x="3426" y="762"/>
                  </a:lnTo>
                  <a:lnTo>
                    <a:pt x="3420" y="756"/>
                  </a:lnTo>
                  <a:lnTo>
                    <a:pt x="3408" y="756"/>
                  </a:lnTo>
                  <a:lnTo>
                    <a:pt x="3396" y="744"/>
                  </a:lnTo>
                  <a:lnTo>
                    <a:pt x="3396" y="738"/>
                  </a:lnTo>
                  <a:lnTo>
                    <a:pt x="3420" y="690"/>
                  </a:lnTo>
                  <a:lnTo>
                    <a:pt x="3426" y="684"/>
                  </a:lnTo>
                  <a:lnTo>
                    <a:pt x="3426" y="672"/>
                  </a:lnTo>
                  <a:lnTo>
                    <a:pt x="3420" y="666"/>
                  </a:lnTo>
                  <a:lnTo>
                    <a:pt x="3414" y="666"/>
                  </a:lnTo>
                  <a:lnTo>
                    <a:pt x="3372" y="648"/>
                  </a:lnTo>
                  <a:lnTo>
                    <a:pt x="3348" y="660"/>
                  </a:lnTo>
                  <a:lnTo>
                    <a:pt x="3336" y="660"/>
                  </a:lnTo>
                  <a:lnTo>
                    <a:pt x="3318" y="666"/>
                  </a:lnTo>
                  <a:lnTo>
                    <a:pt x="3312" y="666"/>
                  </a:lnTo>
                  <a:lnTo>
                    <a:pt x="3306" y="672"/>
                  </a:lnTo>
                  <a:lnTo>
                    <a:pt x="3306" y="690"/>
                  </a:lnTo>
                  <a:lnTo>
                    <a:pt x="3240" y="690"/>
                  </a:lnTo>
                  <a:lnTo>
                    <a:pt x="3228" y="696"/>
                  </a:lnTo>
                  <a:lnTo>
                    <a:pt x="3222" y="702"/>
                  </a:lnTo>
                  <a:lnTo>
                    <a:pt x="3210" y="708"/>
                  </a:lnTo>
                  <a:lnTo>
                    <a:pt x="3198" y="720"/>
                  </a:lnTo>
                  <a:lnTo>
                    <a:pt x="3204" y="726"/>
                  </a:lnTo>
                  <a:lnTo>
                    <a:pt x="3216" y="732"/>
                  </a:lnTo>
                  <a:lnTo>
                    <a:pt x="3228" y="732"/>
                  </a:lnTo>
                  <a:lnTo>
                    <a:pt x="3234" y="738"/>
                  </a:lnTo>
                  <a:lnTo>
                    <a:pt x="3228" y="738"/>
                  </a:lnTo>
                  <a:lnTo>
                    <a:pt x="3222" y="744"/>
                  </a:lnTo>
                  <a:lnTo>
                    <a:pt x="3204" y="744"/>
                  </a:lnTo>
                  <a:lnTo>
                    <a:pt x="3180" y="756"/>
                  </a:lnTo>
                  <a:lnTo>
                    <a:pt x="3168" y="768"/>
                  </a:lnTo>
                  <a:lnTo>
                    <a:pt x="3168" y="774"/>
                  </a:lnTo>
                  <a:lnTo>
                    <a:pt x="3174" y="786"/>
                  </a:lnTo>
                  <a:lnTo>
                    <a:pt x="3186" y="798"/>
                  </a:lnTo>
                  <a:lnTo>
                    <a:pt x="3198" y="804"/>
                  </a:lnTo>
                  <a:lnTo>
                    <a:pt x="3204" y="810"/>
                  </a:lnTo>
                  <a:lnTo>
                    <a:pt x="3210" y="810"/>
                  </a:lnTo>
                  <a:lnTo>
                    <a:pt x="3234" y="798"/>
                  </a:lnTo>
                  <a:lnTo>
                    <a:pt x="3234" y="822"/>
                  </a:lnTo>
                  <a:lnTo>
                    <a:pt x="3240" y="828"/>
                  </a:lnTo>
                  <a:lnTo>
                    <a:pt x="3246" y="828"/>
                  </a:lnTo>
                  <a:lnTo>
                    <a:pt x="3258" y="822"/>
                  </a:lnTo>
                  <a:lnTo>
                    <a:pt x="3282" y="822"/>
                  </a:lnTo>
                  <a:lnTo>
                    <a:pt x="3276" y="828"/>
                  </a:lnTo>
                  <a:lnTo>
                    <a:pt x="3252" y="840"/>
                  </a:lnTo>
                  <a:lnTo>
                    <a:pt x="3246" y="840"/>
                  </a:lnTo>
                  <a:lnTo>
                    <a:pt x="3228" y="828"/>
                  </a:lnTo>
                  <a:lnTo>
                    <a:pt x="3222" y="846"/>
                  </a:lnTo>
                  <a:lnTo>
                    <a:pt x="3204" y="846"/>
                  </a:lnTo>
                  <a:lnTo>
                    <a:pt x="3192" y="852"/>
                  </a:lnTo>
                  <a:lnTo>
                    <a:pt x="3186" y="852"/>
                  </a:lnTo>
                  <a:lnTo>
                    <a:pt x="3180" y="858"/>
                  </a:lnTo>
                  <a:lnTo>
                    <a:pt x="3204" y="858"/>
                  </a:lnTo>
                  <a:lnTo>
                    <a:pt x="3228" y="846"/>
                  </a:lnTo>
                  <a:lnTo>
                    <a:pt x="3240" y="846"/>
                  </a:lnTo>
                  <a:lnTo>
                    <a:pt x="3240" y="852"/>
                  </a:lnTo>
                  <a:lnTo>
                    <a:pt x="3228" y="870"/>
                  </a:lnTo>
                  <a:lnTo>
                    <a:pt x="3210" y="882"/>
                  </a:lnTo>
                  <a:lnTo>
                    <a:pt x="3198" y="888"/>
                  </a:lnTo>
                  <a:lnTo>
                    <a:pt x="3180" y="894"/>
                  </a:lnTo>
                  <a:lnTo>
                    <a:pt x="3168" y="900"/>
                  </a:lnTo>
                  <a:lnTo>
                    <a:pt x="3162" y="906"/>
                  </a:lnTo>
                  <a:lnTo>
                    <a:pt x="3138" y="918"/>
                  </a:lnTo>
                  <a:lnTo>
                    <a:pt x="3132" y="924"/>
                  </a:lnTo>
                  <a:lnTo>
                    <a:pt x="3120" y="918"/>
                  </a:lnTo>
                  <a:lnTo>
                    <a:pt x="3114" y="918"/>
                  </a:lnTo>
                  <a:lnTo>
                    <a:pt x="3102" y="912"/>
                  </a:lnTo>
                  <a:lnTo>
                    <a:pt x="3090" y="912"/>
                  </a:lnTo>
                  <a:lnTo>
                    <a:pt x="3072" y="930"/>
                  </a:lnTo>
                  <a:lnTo>
                    <a:pt x="3060" y="936"/>
                  </a:lnTo>
                  <a:lnTo>
                    <a:pt x="3054" y="948"/>
                  </a:lnTo>
                  <a:lnTo>
                    <a:pt x="3054" y="972"/>
                  </a:lnTo>
                  <a:lnTo>
                    <a:pt x="3048" y="978"/>
                  </a:lnTo>
                  <a:lnTo>
                    <a:pt x="3042" y="966"/>
                  </a:lnTo>
                  <a:lnTo>
                    <a:pt x="3030" y="966"/>
                  </a:lnTo>
                  <a:lnTo>
                    <a:pt x="3018" y="960"/>
                  </a:lnTo>
                  <a:lnTo>
                    <a:pt x="3012" y="960"/>
                  </a:lnTo>
                  <a:lnTo>
                    <a:pt x="3006" y="954"/>
                  </a:lnTo>
                  <a:lnTo>
                    <a:pt x="3030" y="930"/>
                  </a:lnTo>
                  <a:lnTo>
                    <a:pt x="3042" y="924"/>
                  </a:lnTo>
                  <a:lnTo>
                    <a:pt x="3060" y="906"/>
                  </a:lnTo>
                  <a:lnTo>
                    <a:pt x="3072" y="900"/>
                  </a:lnTo>
                  <a:lnTo>
                    <a:pt x="3036" y="900"/>
                  </a:lnTo>
                  <a:lnTo>
                    <a:pt x="3030" y="888"/>
                  </a:lnTo>
                  <a:lnTo>
                    <a:pt x="3018" y="882"/>
                  </a:lnTo>
                  <a:lnTo>
                    <a:pt x="2994" y="882"/>
                  </a:lnTo>
                  <a:lnTo>
                    <a:pt x="2988" y="888"/>
                  </a:lnTo>
                  <a:lnTo>
                    <a:pt x="2946" y="888"/>
                  </a:lnTo>
                  <a:lnTo>
                    <a:pt x="2946" y="894"/>
                  </a:lnTo>
                  <a:lnTo>
                    <a:pt x="2940" y="906"/>
                  </a:lnTo>
                  <a:lnTo>
                    <a:pt x="2940" y="918"/>
                  </a:lnTo>
                  <a:lnTo>
                    <a:pt x="2946" y="918"/>
                  </a:lnTo>
                  <a:lnTo>
                    <a:pt x="2952" y="924"/>
                  </a:lnTo>
                  <a:lnTo>
                    <a:pt x="2964" y="924"/>
                  </a:lnTo>
                  <a:lnTo>
                    <a:pt x="2976" y="936"/>
                  </a:lnTo>
                  <a:lnTo>
                    <a:pt x="2982" y="936"/>
                  </a:lnTo>
                  <a:lnTo>
                    <a:pt x="2976" y="942"/>
                  </a:lnTo>
                  <a:lnTo>
                    <a:pt x="2958" y="942"/>
                  </a:lnTo>
                  <a:lnTo>
                    <a:pt x="2952" y="936"/>
                  </a:lnTo>
                  <a:lnTo>
                    <a:pt x="2940" y="930"/>
                  </a:lnTo>
                  <a:lnTo>
                    <a:pt x="2934" y="924"/>
                  </a:lnTo>
                  <a:lnTo>
                    <a:pt x="2916" y="912"/>
                  </a:lnTo>
                  <a:lnTo>
                    <a:pt x="2910" y="942"/>
                  </a:lnTo>
                  <a:lnTo>
                    <a:pt x="2904" y="942"/>
                  </a:lnTo>
                  <a:lnTo>
                    <a:pt x="2898" y="948"/>
                  </a:lnTo>
                  <a:lnTo>
                    <a:pt x="2862" y="948"/>
                  </a:lnTo>
                  <a:lnTo>
                    <a:pt x="2844" y="942"/>
                  </a:lnTo>
                  <a:lnTo>
                    <a:pt x="2826" y="942"/>
                  </a:lnTo>
                  <a:lnTo>
                    <a:pt x="2808" y="936"/>
                  </a:lnTo>
                  <a:lnTo>
                    <a:pt x="2718" y="936"/>
                  </a:lnTo>
                  <a:lnTo>
                    <a:pt x="2706" y="930"/>
                  </a:lnTo>
                  <a:lnTo>
                    <a:pt x="2700" y="918"/>
                  </a:lnTo>
                  <a:lnTo>
                    <a:pt x="2688" y="912"/>
                  </a:lnTo>
                  <a:lnTo>
                    <a:pt x="2628" y="918"/>
                  </a:lnTo>
                  <a:lnTo>
                    <a:pt x="2622" y="912"/>
                  </a:lnTo>
                  <a:lnTo>
                    <a:pt x="2616" y="900"/>
                  </a:lnTo>
                  <a:lnTo>
                    <a:pt x="2604" y="894"/>
                  </a:lnTo>
                  <a:lnTo>
                    <a:pt x="2598" y="894"/>
                  </a:lnTo>
                  <a:lnTo>
                    <a:pt x="2586" y="888"/>
                  </a:lnTo>
                  <a:lnTo>
                    <a:pt x="2568" y="888"/>
                  </a:lnTo>
                  <a:lnTo>
                    <a:pt x="2556" y="894"/>
                  </a:lnTo>
                  <a:lnTo>
                    <a:pt x="2538" y="900"/>
                  </a:lnTo>
                  <a:lnTo>
                    <a:pt x="2532" y="906"/>
                  </a:lnTo>
                  <a:lnTo>
                    <a:pt x="2526" y="906"/>
                  </a:lnTo>
                  <a:lnTo>
                    <a:pt x="2526" y="912"/>
                  </a:lnTo>
                  <a:lnTo>
                    <a:pt x="2484" y="912"/>
                  </a:lnTo>
                  <a:lnTo>
                    <a:pt x="2472" y="906"/>
                  </a:lnTo>
                  <a:lnTo>
                    <a:pt x="2442" y="906"/>
                  </a:lnTo>
                  <a:lnTo>
                    <a:pt x="2430" y="918"/>
                  </a:lnTo>
                  <a:lnTo>
                    <a:pt x="2430" y="930"/>
                  </a:lnTo>
                  <a:lnTo>
                    <a:pt x="2418" y="954"/>
                  </a:lnTo>
                  <a:lnTo>
                    <a:pt x="2412" y="960"/>
                  </a:lnTo>
                  <a:lnTo>
                    <a:pt x="2412" y="966"/>
                  </a:lnTo>
                  <a:lnTo>
                    <a:pt x="2400" y="996"/>
                  </a:lnTo>
                  <a:lnTo>
                    <a:pt x="2364" y="996"/>
                  </a:lnTo>
                  <a:lnTo>
                    <a:pt x="2358" y="1026"/>
                  </a:lnTo>
                  <a:lnTo>
                    <a:pt x="2334" y="978"/>
                  </a:lnTo>
                  <a:lnTo>
                    <a:pt x="2340" y="978"/>
                  </a:lnTo>
                  <a:lnTo>
                    <a:pt x="2352" y="984"/>
                  </a:lnTo>
                  <a:lnTo>
                    <a:pt x="2376" y="984"/>
                  </a:lnTo>
                  <a:lnTo>
                    <a:pt x="2388" y="972"/>
                  </a:lnTo>
                  <a:lnTo>
                    <a:pt x="2358" y="942"/>
                  </a:lnTo>
                  <a:lnTo>
                    <a:pt x="2340" y="942"/>
                  </a:lnTo>
                  <a:lnTo>
                    <a:pt x="2328" y="936"/>
                  </a:lnTo>
                  <a:lnTo>
                    <a:pt x="2316" y="936"/>
                  </a:lnTo>
                  <a:lnTo>
                    <a:pt x="2322" y="918"/>
                  </a:lnTo>
                  <a:lnTo>
                    <a:pt x="2304" y="924"/>
                  </a:lnTo>
                  <a:lnTo>
                    <a:pt x="2262" y="930"/>
                  </a:lnTo>
                  <a:lnTo>
                    <a:pt x="2208" y="936"/>
                  </a:lnTo>
                  <a:lnTo>
                    <a:pt x="2160" y="942"/>
                  </a:lnTo>
                  <a:lnTo>
                    <a:pt x="2112" y="942"/>
                  </a:lnTo>
                  <a:lnTo>
                    <a:pt x="2064" y="936"/>
                  </a:lnTo>
                  <a:lnTo>
                    <a:pt x="2034" y="930"/>
                  </a:lnTo>
                  <a:lnTo>
                    <a:pt x="2028" y="924"/>
                  </a:lnTo>
                  <a:lnTo>
                    <a:pt x="2052" y="918"/>
                  </a:lnTo>
                  <a:lnTo>
                    <a:pt x="2082" y="918"/>
                  </a:lnTo>
                  <a:lnTo>
                    <a:pt x="2118" y="912"/>
                  </a:lnTo>
                  <a:lnTo>
                    <a:pt x="2142" y="900"/>
                  </a:lnTo>
                  <a:lnTo>
                    <a:pt x="2142" y="888"/>
                  </a:lnTo>
                  <a:lnTo>
                    <a:pt x="2112" y="864"/>
                  </a:lnTo>
                  <a:lnTo>
                    <a:pt x="2082" y="852"/>
                  </a:lnTo>
                  <a:lnTo>
                    <a:pt x="2004" y="852"/>
                  </a:lnTo>
                  <a:lnTo>
                    <a:pt x="1968" y="840"/>
                  </a:lnTo>
                  <a:lnTo>
                    <a:pt x="1944" y="834"/>
                  </a:lnTo>
                  <a:lnTo>
                    <a:pt x="1938" y="828"/>
                  </a:lnTo>
                  <a:lnTo>
                    <a:pt x="1908" y="828"/>
                  </a:lnTo>
                  <a:lnTo>
                    <a:pt x="1896" y="822"/>
                  </a:lnTo>
                  <a:lnTo>
                    <a:pt x="1866" y="804"/>
                  </a:lnTo>
                  <a:lnTo>
                    <a:pt x="1836" y="792"/>
                  </a:lnTo>
                  <a:lnTo>
                    <a:pt x="1812" y="786"/>
                  </a:lnTo>
                  <a:lnTo>
                    <a:pt x="1800" y="792"/>
                  </a:lnTo>
                  <a:lnTo>
                    <a:pt x="1782" y="798"/>
                  </a:lnTo>
                  <a:lnTo>
                    <a:pt x="1770" y="804"/>
                  </a:lnTo>
                  <a:lnTo>
                    <a:pt x="1758" y="816"/>
                  </a:lnTo>
                  <a:lnTo>
                    <a:pt x="1734" y="828"/>
                  </a:lnTo>
                  <a:lnTo>
                    <a:pt x="1680" y="828"/>
                  </a:lnTo>
                  <a:lnTo>
                    <a:pt x="1710" y="810"/>
                  </a:lnTo>
                  <a:lnTo>
                    <a:pt x="1710" y="798"/>
                  </a:lnTo>
                  <a:lnTo>
                    <a:pt x="1734" y="768"/>
                  </a:lnTo>
                  <a:lnTo>
                    <a:pt x="1728" y="768"/>
                  </a:lnTo>
                  <a:lnTo>
                    <a:pt x="1722" y="774"/>
                  </a:lnTo>
                  <a:lnTo>
                    <a:pt x="1674" y="798"/>
                  </a:lnTo>
                  <a:lnTo>
                    <a:pt x="1650" y="822"/>
                  </a:lnTo>
                  <a:lnTo>
                    <a:pt x="1638" y="828"/>
                  </a:lnTo>
                  <a:lnTo>
                    <a:pt x="1620" y="834"/>
                  </a:lnTo>
                  <a:lnTo>
                    <a:pt x="1608" y="828"/>
                  </a:lnTo>
                  <a:lnTo>
                    <a:pt x="1602" y="816"/>
                  </a:lnTo>
                  <a:lnTo>
                    <a:pt x="1602" y="798"/>
                  </a:lnTo>
                  <a:lnTo>
                    <a:pt x="1614" y="774"/>
                  </a:lnTo>
                  <a:lnTo>
                    <a:pt x="1614" y="762"/>
                  </a:lnTo>
                  <a:lnTo>
                    <a:pt x="1608" y="750"/>
                  </a:lnTo>
                  <a:lnTo>
                    <a:pt x="1596" y="744"/>
                  </a:lnTo>
                  <a:lnTo>
                    <a:pt x="1590" y="738"/>
                  </a:lnTo>
                  <a:lnTo>
                    <a:pt x="1578" y="738"/>
                  </a:lnTo>
                  <a:lnTo>
                    <a:pt x="1572" y="744"/>
                  </a:lnTo>
                  <a:lnTo>
                    <a:pt x="1572" y="750"/>
                  </a:lnTo>
                  <a:lnTo>
                    <a:pt x="1578" y="762"/>
                  </a:lnTo>
                  <a:lnTo>
                    <a:pt x="1584" y="768"/>
                  </a:lnTo>
                  <a:lnTo>
                    <a:pt x="1542" y="768"/>
                  </a:lnTo>
                  <a:lnTo>
                    <a:pt x="1530" y="774"/>
                  </a:lnTo>
                  <a:lnTo>
                    <a:pt x="1512" y="780"/>
                  </a:lnTo>
                  <a:lnTo>
                    <a:pt x="1494" y="798"/>
                  </a:lnTo>
                  <a:lnTo>
                    <a:pt x="1446" y="798"/>
                  </a:lnTo>
                  <a:lnTo>
                    <a:pt x="1428" y="804"/>
                  </a:lnTo>
                  <a:lnTo>
                    <a:pt x="1416" y="804"/>
                  </a:lnTo>
                  <a:lnTo>
                    <a:pt x="1398" y="810"/>
                  </a:lnTo>
                  <a:lnTo>
                    <a:pt x="1380" y="810"/>
                  </a:lnTo>
                  <a:lnTo>
                    <a:pt x="1374" y="816"/>
                  </a:lnTo>
                  <a:lnTo>
                    <a:pt x="1368" y="816"/>
                  </a:lnTo>
                  <a:lnTo>
                    <a:pt x="1356" y="822"/>
                  </a:lnTo>
                  <a:lnTo>
                    <a:pt x="1350" y="828"/>
                  </a:lnTo>
                  <a:lnTo>
                    <a:pt x="1338" y="834"/>
                  </a:lnTo>
                  <a:lnTo>
                    <a:pt x="1314" y="816"/>
                  </a:lnTo>
                  <a:lnTo>
                    <a:pt x="1302" y="822"/>
                  </a:lnTo>
                  <a:lnTo>
                    <a:pt x="1296" y="828"/>
                  </a:lnTo>
                  <a:lnTo>
                    <a:pt x="1272" y="840"/>
                  </a:lnTo>
                  <a:lnTo>
                    <a:pt x="1260" y="840"/>
                  </a:lnTo>
                  <a:lnTo>
                    <a:pt x="1254" y="846"/>
                  </a:lnTo>
                  <a:lnTo>
                    <a:pt x="1242" y="846"/>
                  </a:lnTo>
                  <a:lnTo>
                    <a:pt x="1230" y="852"/>
                  </a:lnTo>
                  <a:lnTo>
                    <a:pt x="1224" y="858"/>
                  </a:lnTo>
                  <a:lnTo>
                    <a:pt x="1212" y="864"/>
                  </a:lnTo>
                  <a:lnTo>
                    <a:pt x="1176" y="864"/>
                  </a:lnTo>
                  <a:lnTo>
                    <a:pt x="1188" y="858"/>
                  </a:lnTo>
                  <a:lnTo>
                    <a:pt x="1194" y="846"/>
                  </a:lnTo>
                  <a:lnTo>
                    <a:pt x="1212" y="840"/>
                  </a:lnTo>
                  <a:lnTo>
                    <a:pt x="1236" y="828"/>
                  </a:lnTo>
                  <a:lnTo>
                    <a:pt x="1254" y="828"/>
                  </a:lnTo>
                  <a:lnTo>
                    <a:pt x="1266" y="822"/>
                  </a:lnTo>
                  <a:lnTo>
                    <a:pt x="1284" y="816"/>
                  </a:lnTo>
                  <a:lnTo>
                    <a:pt x="1290" y="810"/>
                  </a:lnTo>
                  <a:lnTo>
                    <a:pt x="1362" y="810"/>
                  </a:lnTo>
                  <a:lnTo>
                    <a:pt x="1386" y="798"/>
                  </a:lnTo>
                  <a:lnTo>
                    <a:pt x="1422" y="792"/>
                  </a:lnTo>
                  <a:lnTo>
                    <a:pt x="1458" y="780"/>
                  </a:lnTo>
                  <a:lnTo>
                    <a:pt x="1470" y="780"/>
                  </a:lnTo>
                  <a:lnTo>
                    <a:pt x="1476" y="774"/>
                  </a:lnTo>
                  <a:lnTo>
                    <a:pt x="1482" y="774"/>
                  </a:lnTo>
                  <a:lnTo>
                    <a:pt x="1476" y="768"/>
                  </a:lnTo>
                  <a:lnTo>
                    <a:pt x="1410" y="768"/>
                  </a:lnTo>
                  <a:lnTo>
                    <a:pt x="1398" y="774"/>
                  </a:lnTo>
                  <a:lnTo>
                    <a:pt x="1392" y="774"/>
                  </a:lnTo>
                  <a:lnTo>
                    <a:pt x="1380" y="780"/>
                  </a:lnTo>
                  <a:lnTo>
                    <a:pt x="1374" y="786"/>
                  </a:lnTo>
                  <a:lnTo>
                    <a:pt x="1368" y="786"/>
                  </a:lnTo>
                  <a:lnTo>
                    <a:pt x="1362" y="792"/>
                  </a:lnTo>
                  <a:lnTo>
                    <a:pt x="1278" y="792"/>
                  </a:lnTo>
                  <a:lnTo>
                    <a:pt x="1254" y="804"/>
                  </a:lnTo>
                  <a:lnTo>
                    <a:pt x="1248" y="810"/>
                  </a:lnTo>
                  <a:lnTo>
                    <a:pt x="1236" y="816"/>
                  </a:lnTo>
                  <a:lnTo>
                    <a:pt x="1230" y="822"/>
                  </a:lnTo>
                  <a:lnTo>
                    <a:pt x="1212" y="822"/>
                  </a:lnTo>
                  <a:lnTo>
                    <a:pt x="1158" y="846"/>
                  </a:lnTo>
                  <a:lnTo>
                    <a:pt x="1140" y="846"/>
                  </a:lnTo>
                  <a:lnTo>
                    <a:pt x="1128" y="858"/>
                  </a:lnTo>
                  <a:lnTo>
                    <a:pt x="1122" y="870"/>
                  </a:lnTo>
                  <a:lnTo>
                    <a:pt x="1122" y="876"/>
                  </a:lnTo>
                  <a:lnTo>
                    <a:pt x="1116" y="876"/>
                  </a:lnTo>
                  <a:lnTo>
                    <a:pt x="1110" y="870"/>
                  </a:lnTo>
                  <a:lnTo>
                    <a:pt x="1110" y="846"/>
                  </a:lnTo>
                  <a:lnTo>
                    <a:pt x="1116" y="846"/>
                  </a:lnTo>
                  <a:lnTo>
                    <a:pt x="1152" y="834"/>
                  </a:lnTo>
                  <a:lnTo>
                    <a:pt x="1176" y="822"/>
                  </a:lnTo>
                  <a:lnTo>
                    <a:pt x="1194" y="816"/>
                  </a:lnTo>
                  <a:lnTo>
                    <a:pt x="1188" y="810"/>
                  </a:lnTo>
                  <a:lnTo>
                    <a:pt x="1176" y="810"/>
                  </a:lnTo>
                  <a:lnTo>
                    <a:pt x="1164" y="804"/>
                  </a:lnTo>
                  <a:lnTo>
                    <a:pt x="1140" y="804"/>
                  </a:lnTo>
                  <a:lnTo>
                    <a:pt x="1122" y="822"/>
                  </a:lnTo>
                  <a:lnTo>
                    <a:pt x="1110" y="828"/>
                  </a:lnTo>
                  <a:lnTo>
                    <a:pt x="1092" y="828"/>
                  </a:lnTo>
                  <a:lnTo>
                    <a:pt x="1080" y="834"/>
                  </a:lnTo>
                  <a:lnTo>
                    <a:pt x="1068" y="834"/>
                  </a:lnTo>
                  <a:lnTo>
                    <a:pt x="1068" y="840"/>
                  </a:lnTo>
                  <a:lnTo>
                    <a:pt x="1062" y="846"/>
                  </a:lnTo>
                  <a:lnTo>
                    <a:pt x="1062" y="876"/>
                  </a:lnTo>
                  <a:lnTo>
                    <a:pt x="1038" y="858"/>
                  </a:lnTo>
                  <a:lnTo>
                    <a:pt x="972" y="852"/>
                  </a:lnTo>
                  <a:lnTo>
                    <a:pt x="960" y="846"/>
                  </a:lnTo>
                  <a:lnTo>
                    <a:pt x="948" y="834"/>
                  </a:lnTo>
                  <a:lnTo>
                    <a:pt x="936" y="834"/>
                  </a:lnTo>
                  <a:lnTo>
                    <a:pt x="936" y="828"/>
                  </a:lnTo>
                  <a:lnTo>
                    <a:pt x="942" y="822"/>
                  </a:lnTo>
                  <a:lnTo>
                    <a:pt x="942" y="810"/>
                  </a:lnTo>
                  <a:lnTo>
                    <a:pt x="948" y="804"/>
                  </a:lnTo>
                  <a:lnTo>
                    <a:pt x="834" y="804"/>
                  </a:lnTo>
                  <a:lnTo>
                    <a:pt x="852" y="804"/>
                  </a:lnTo>
                  <a:lnTo>
                    <a:pt x="78" y="1440"/>
                  </a:lnTo>
                  <a:lnTo>
                    <a:pt x="72" y="1446"/>
                  </a:lnTo>
                  <a:lnTo>
                    <a:pt x="60" y="1452"/>
                  </a:lnTo>
                  <a:lnTo>
                    <a:pt x="54" y="1464"/>
                  </a:lnTo>
                  <a:lnTo>
                    <a:pt x="54" y="1476"/>
                  </a:lnTo>
                  <a:lnTo>
                    <a:pt x="108" y="1476"/>
                  </a:lnTo>
                  <a:lnTo>
                    <a:pt x="120" y="1464"/>
                  </a:lnTo>
                  <a:lnTo>
                    <a:pt x="156" y="1464"/>
                  </a:lnTo>
                  <a:lnTo>
                    <a:pt x="132" y="1488"/>
                  </a:lnTo>
                  <a:lnTo>
                    <a:pt x="132" y="1494"/>
                  </a:lnTo>
                  <a:lnTo>
                    <a:pt x="138" y="1506"/>
                  </a:lnTo>
                  <a:lnTo>
                    <a:pt x="138" y="1524"/>
                  </a:lnTo>
                  <a:lnTo>
                    <a:pt x="144" y="1530"/>
                  </a:lnTo>
                  <a:lnTo>
                    <a:pt x="156" y="1536"/>
                  </a:lnTo>
                  <a:lnTo>
                    <a:pt x="162" y="1542"/>
                  </a:lnTo>
                  <a:lnTo>
                    <a:pt x="144" y="1560"/>
                  </a:lnTo>
                  <a:lnTo>
                    <a:pt x="144" y="1572"/>
                  </a:lnTo>
                  <a:lnTo>
                    <a:pt x="150" y="1572"/>
                  </a:lnTo>
                  <a:lnTo>
                    <a:pt x="156" y="1566"/>
                  </a:lnTo>
                  <a:lnTo>
                    <a:pt x="168" y="1560"/>
                  </a:lnTo>
                  <a:lnTo>
                    <a:pt x="174" y="1554"/>
                  </a:lnTo>
                  <a:lnTo>
                    <a:pt x="180" y="1554"/>
                  </a:lnTo>
                  <a:lnTo>
                    <a:pt x="186" y="1548"/>
                  </a:lnTo>
                  <a:lnTo>
                    <a:pt x="198" y="1548"/>
                  </a:lnTo>
                  <a:lnTo>
                    <a:pt x="210" y="1542"/>
                  </a:lnTo>
                  <a:lnTo>
                    <a:pt x="222" y="1542"/>
                  </a:lnTo>
                  <a:lnTo>
                    <a:pt x="234" y="1536"/>
                  </a:lnTo>
                  <a:lnTo>
                    <a:pt x="240" y="1530"/>
                  </a:lnTo>
                  <a:lnTo>
                    <a:pt x="258" y="1530"/>
                  </a:lnTo>
                  <a:lnTo>
                    <a:pt x="258" y="1518"/>
                  </a:lnTo>
                  <a:lnTo>
                    <a:pt x="264" y="1518"/>
                  </a:lnTo>
                  <a:lnTo>
                    <a:pt x="270" y="1512"/>
                  </a:lnTo>
                  <a:lnTo>
                    <a:pt x="282" y="1512"/>
                  </a:lnTo>
                  <a:lnTo>
                    <a:pt x="300" y="1506"/>
                  </a:lnTo>
                  <a:lnTo>
                    <a:pt x="312" y="1506"/>
                  </a:lnTo>
                  <a:lnTo>
                    <a:pt x="330" y="1512"/>
                  </a:lnTo>
                  <a:lnTo>
                    <a:pt x="336" y="1518"/>
                  </a:lnTo>
                  <a:lnTo>
                    <a:pt x="330" y="1524"/>
                  </a:lnTo>
                  <a:lnTo>
                    <a:pt x="324" y="1524"/>
                  </a:lnTo>
                  <a:lnTo>
                    <a:pt x="318" y="1530"/>
                  </a:lnTo>
                  <a:lnTo>
                    <a:pt x="318" y="1560"/>
                  </a:lnTo>
                  <a:lnTo>
                    <a:pt x="306" y="1572"/>
                  </a:lnTo>
                  <a:lnTo>
                    <a:pt x="324" y="1590"/>
                  </a:lnTo>
                  <a:lnTo>
                    <a:pt x="330" y="1602"/>
                  </a:lnTo>
                  <a:lnTo>
                    <a:pt x="330" y="1620"/>
                  </a:lnTo>
                  <a:lnTo>
                    <a:pt x="312" y="1656"/>
                  </a:lnTo>
                  <a:lnTo>
                    <a:pt x="312" y="1698"/>
                  </a:lnTo>
                  <a:lnTo>
                    <a:pt x="306" y="1704"/>
                  </a:lnTo>
                  <a:lnTo>
                    <a:pt x="300" y="1716"/>
                  </a:lnTo>
                  <a:lnTo>
                    <a:pt x="300" y="1728"/>
                  </a:lnTo>
                  <a:lnTo>
                    <a:pt x="294" y="1740"/>
                  </a:lnTo>
                  <a:lnTo>
                    <a:pt x="294" y="1746"/>
                  </a:lnTo>
                  <a:lnTo>
                    <a:pt x="300" y="1752"/>
                  </a:lnTo>
                  <a:lnTo>
                    <a:pt x="312" y="1758"/>
                  </a:lnTo>
                  <a:lnTo>
                    <a:pt x="318" y="1764"/>
                  </a:lnTo>
                  <a:lnTo>
                    <a:pt x="324" y="1764"/>
                  </a:lnTo>
                  <a:lnTo>
                    <a:pt x="330" y="1770"/>
                  </a:lnTo>
                  <a:lnTo>
                    <a:pt x="330" y="1776"/>
                  </a:lnTo>
                  <a:lnTo>
                    <a:pt x="348" y="1776"/>
                  </a:lnTo>
                  <a:lnTo>
                    <a:pt x="354" y="1782"/>
                  </a:lnTo>
                  <a:lnTo>
                    <a:pt x="354" y="1794"/>
                  </a:lnTo>
                  <a:lnTo>
                    <a:pt x="342" y="1800"/>
                  </a:lnTo>
                  <a:lnTo>
                    <a:pt x="330" y="1812"/>
                  </a:lnTo>
                  <a:lnTo>
                    <a:pt x="318" y="1818"/>
                  </a:lnTo>
                  <a:lnTo>
                    <a:pt x="318" y="1830"/>
                  </a:lnTo>
                  <a:lnTo>
                    <a:pt x="312" y="1842"/>
                  </a:lnTo>
                  <a:lnTo>
                    <a:pt x="294" y="1860"/>
                  </a:lnTo>
                  <a:lnTo>
                    <a:pt x="282" y="1866"/>
                  </a:lnTo>
                  <a:lnTo>
                    <a:pt x="270" y="1878"/>
                  </a:lnTo>
                  <a:lnTo>
                    <a:pt x="252" y="1884"/>
                  </a:lnTo>
                  <a:lnTo>
                    <a:pt x="234" y="1896"/>
                  </a:lnTo>
                  <a:lnTo>
                    <a:pt x="228" y="1902"/>
                  </a:lnTo>
                  <a:lnTo>
                    <a:pt x="222" y="1914"/>
                  </a:lnTo>
                  <a:lnTo>
                    <a:pt x="222" y="1926"/>
                  </a:lnTo>
                  <a:lnTo>
                    <a:pt x="216" y="1932"/>
                  </a:lnTo>
                  <a:lnTo>
                    <a:pt x="216" y="1944"/>
                  </a:lnTo>
                  <a:lnTo>
                    <a:pt x="204" y="1956"/>
                  </a:lnTo>
                  <a:lnTo>
                    <a:pt x="210" y="1962"/>
                  </a:lnTo>
                  <a:lnTo>
                    <a:pt x="216" y="1962"/>
                  </a:lnTo>
                  <a:lnTo>
                    <a:pt x="216" y="1974"/>
                  </a:lnTo>
                  <a:lnTo>
                    <a:pt x="228" y="1986"/>
                  </a:lnTo>
                  <a:lnTo>
                    <a:pt x="240" y="1980"/>
                  </a:lnTo>
                  <a:lnTo>
                    <a:pt x="246" y="1968"/>
                  </a:lnTo>
                  <a:lnTo>
                    <a:pt x="258" y="1962"/>
                  </a:lnTo>
                  <a:lnTo>
                    <a:pt x="276" y="1956"/>
                  </a:lnTo>
                  <a:lnTo>
                    <a:pt x="294" y="1938"/>
                  </a:lnTo>
                  <a:lnTo>
                    <a:pt x="306" y="1938"/>
                  </a:lnTo>
                  <a:lnTo>
                    <a:pt x="306" y="1944"/>
                  </a:lnTo>
                  <a:lnTo>
                    <a:pt x="300" y="1950"/>
                  </a:lnTo>
                  <a:lnTo>
                    <a:pt x="288" y="1956"/>
                  </a:lnTo>
                  <a:lnTo>
                    <a:pt x="282" y="1956"/>
                  </a:lnTo>
                  <a:lnTo>
                    <a:pt x="276" y="1962"/>
                  </a:lnTo>
                  <a:lnTo>
                    <a:pt x="276" y="1974"/>
                  </a:lnTo>
                  <a:lnTo>
                    <a:pt x="282" y="1986"/>
                  </a:lnTo>
                  <a:lnTo>
                    <a:pt x="294" y="1998"/>
                  </a:lnTo>
                  <a:lnTo>
                    <a:pt x="252" y="1992"/>
                  </a:lnTo>
                  <a:lnTo>
                    <a:pt x="246" y="1998"/>
                  </a:lnTo>
                  <a:lnTo>
                    <a:pt x="240" y="2010"/>
                  </a:lnTo>
                  <a:lnTo>
                    <a:pt x="234" y="2016"/>
                  </a:lnTo>
                  <a:lnTo>
                    <a:pt x="228" y="2028"/>
                  </a:lnTo>
                  <a:lnTo>
                    <a:pt x="228" y="2034"/>
                  </a:lnTo>
                  <a:lnTo>
                    <a:pt x="234" y="2034"/>
                  </a:lnTo>
                  <a:lnTo>
                    <a:pt x="240" y="2040"/>
                  </a:lnTo>
                  <a:lnTo>
                    <a:pt x="252" y="2040"/>
                  </a:lnTo>
                  <a:lnTo>
                    <a:pt x="258" y="2046"/>
                  </a:lnTo>
                  <a:lnTo>
                    <a:pt x="252" y="2052"/>
                  </a:lnTo>
                  <a:lnTo>
                    <a:pt x="252" y="2058"/>
                  </a:lnTo>
                  <a:lnTo>
                    <a:pt x="246" y="2070"/>
                  </a:lnTo>
                  <a:lnTo>
                    <a:pt x="246" y="2076"/>
                  </a:lnTo>
                  <a:lnTo>
                    <a:pt x="252" y="2070"/>
                  </a:lnTo>
                  <a:lnTo>
                    <a:pt x="288" y="2052"/>
                  </a:lnTo>
                  <a:lnTo>
                    <a:pt x="306" y="2034"/>
                  </a:lnTo>
                  <a:lnTo>
                    <a:pt x="318" y="2028"/>
                  </a:lnTo>
                  <a:lnTo>
                    <a:pt x="318" y="2040"/>
                  </a:lnTo>
                  <a:lnTo>
                    <a:pt x="288" y="2058"/>
                  </a:lnTo>
                  <a:lnTo>
                    <a:pt x="312" y="2064"/>
                  </a:lnTo>
                  <a:lnTo>
                    <a:pt x="312" y="2076"/>
                  </a:lnTo>
                  <a:lnTo>
                    <a:pt x="294" y="2094"/>
                  </a:lnTo>
                  <a:lnTo>
                    <a:pt x="276" y="2076"/>
                  </a:lnTo>
                  <a:lnTo>
                    <a:pt x="270" y="2076"/>
                  </a:lnTo>
                  <a:lnTo>
                    <a:pt x="264" y="2082"/>
                  </a:lnTo>
                  <a:lnTo>
                    <a:pt x="240" y="2094"/>
                  </a:lnTo>
                  <a:lnTo>
                    <a:pt x="228" y="2094"/>
                  </a:lnTo>
                  <a:lnTo>
                    <a:pt x="216" y="2106"/>
                  </a:lnTo>
                  <a:lnTo>
                    <a:pt x="210" y="2118"/>
                  </a:lnTo>
                  <a:lnTo>
                    <a:pt x="204" y="2124"/>
                  </a:lnTo>
                  <a:lnTo>
                    <a:pt x="210" y="2118"/>
                  </a:lnTo>
                  <a:lnTo>
                    <a:pt x="222" y="2118"/>
                  </a:lnTo>
                  <a:lnTo>
                    <a:pt x="228" y="2112"/>
                  </a:lnTo>
                  <a:lnTo>
                    <a:pt x="276" y="2112"/>
                  </a:lnTo>
                  <a:lnTo>
                    <a:pt x="270" y="2112"/>
                  </a:lnTo>
                  <a:lnTo>
                    <a:pt x="264" y="2118"/>
                  </a:lnTo>
                  <a:lnTo>
                    <a:pt x="252" y="2118"/>
                  </a:lnTo>
                  <a:lnTo>
                    <a:pt x="240" y="2124"/>
                  </a:lnTo>
                  <a:lnTo>
                    <a:pt x="228" y="2124"/>
                  </a:lnTo>
                  <a:lnTo>
                    <a:pt x="216" y="2130"/>
                  </a:lnTo>
                  <a:lnTo>
                    <a:pt x="210" y="2130"/>
                  </a:lnTo>
                  <a:lnTo>
                    <a:pt x="210" y="2148"/>
                  </a:lnTo>
                  <a:lnTo>
                    <a:pt x="204" y="2148"/>
                  </a:lnTo>
                  <a:lnTo>
                    <a:pt x="198" y="2142"/>
                  </a:lnTo>
                  <a:lnTo>
                    <a:pt x="174" y="2142"/>
                  </a:lnTo>
                  <a:lnTo>
                    <a:pt x="174" y="2154"/>
                  </a:lnTo>
                  <a:lnTo>
                    <a:pt x="180" y="2166"/>
                  </a:lnTo>
                  <a:lnTo>
                    <a:pt x="192" y="2172"/>
                  </a:lnTo>
                  <a:lnTo>
                    <a:pt x="198" y="2178"/>
                  </a:lnTo>
                  <a:lnTo>
                    <a:pt x="246" y="2160"/>
                  </a:lnTo>
                  <a:lnTo>
                    <a:pt x="264" y="2184"/>
                  </a:lnTo>
                  <a:lnTo>
                    <a:pt x="300" y="2166"/>
                  </a:lnTo>
                  <a:lnTo>
                    <a:pt x="294" y="2172"/>
                  </a:lnTo>
                  <a:lnTo>
                    <a:pt x="288" y="2184"/>
                  </a:lnTo>
                  <a:lnTo>
                    <a:pt x="276" y="2190"/>
                  </a:lnTo>
                  <a:lnTo>
                    <a:pt x="270" y="2196"/>
                  </a:lnTo>
                  <a:lnTo>
                    <a:pt x="264" y="2208"/>
                  </a:lnTo>
                  <a:lnTo>
                    <a:pt x="264" y="2214"/>
                  </a:lnTo>
                  <a:lnTo>
                    <a:pt x="276" y="2214"/>
                  </a:lnTo>
                  <a:lnTo>
                    <a:pt x="282" y="2208"/>
                  </a:lnTo>
                  <a:lnTo>
                    <a:pt x="300" y="2202"/>
                  </a:lnTo>
                  <a:lnTo>
                    <a:pt x="318" y="2184"/>
                  </a:lnTo>
                  <a:lnTo>
                    <a:pt x="330" y="2178"/>
                  </a:lnTo>
                  <a:lnTo>
                    <a:pt x="306" y="2202"/>
                  </a:lnTo>
                  <a:lnTo>
                    <a:pt x="300" y="2214"/>
                  </a:lnTo>
                  <a:lnTo>
                    <a:pt x="294" y="2220"/>
                  </a:lnTo>
                  <a:lnTo>
                    <a:pt x="300" y="2220"/>
                  </a:lnTo>
                  <a:lnTo>
                    <a:pt x="312" y="2214"/>
                  </a:lnTo>
                  <a:lnTo>
                    <a:pt x="324" y="2214"/>
                  </a:lnTo>
                  <a:lnTo>
                    <a:pt x="318" y="2220"/>
                  </a:lnTo>
                  <a:lnTo>
                    <a:pt x="306" y="2226"/>
                  </a:lnTo>
                  <a:lnTo>
                    <a:pt x="300" y="2238"/>
                  </a:lnTo>
                  <a:lnTo>
                    <a:pt x="282" y="2256"/>
                  </a:lnTo>
                  <a:lnTo>
                    <a:pt x="288" y="2262"/>
                  </a:lnTo>
                  <a:lnTo>
                    <a:pt x="294" y="2262"/>
                  </a:lnTo>
                  <a:lnTo>
                    <a:pt x="342" y="2238"/>
                  </a:lnTo>
                  <a:lnTo>
                    <a:pt x="348" y="2232"/>
                  </a:lnTo>
                  <a:lnTo>
                    <a:pt x="324" y="2256"/>
                  </a:lnTo>
                  <a:lnTo>
                    <a:pt x="318" y="2268"/>
                  </a:lnTo>
                  <a:lnTo>
                    <a:pt x="318" y="2274"/>
                  </a:lnTo>
                  <a:lnTo>
                    <a:pt x="330" y="2280"/>
                  </a:lnTo>
                  <a:lnTo>
                    <a:pt x="342" y="2280"/>
                  </a:lnTo>
                  <a:lnTo>
                    <a:pt x="354" y="2292"/>
                  </a:lnTo>
                  <a:lnTo>
                    <a:pt x="354" y="2298"/>
                  </a:lnTo>
                  <a:lnTo>
                    <a:pt x="348" y="2304"/>
                  </a:lnTo>
                  <a:lnTo>
                    <a:pt x="348" y="2340"/>
                  </a:lnTo>
                  <a:lnTo>
                    <a:pt x="2058" y="2340"/>
                  </a:lnTo>
                  <a:lnTo>
                    <a:pt x="2064" y="2328"/>
                  </a:lnTo>
                  <a:lnTo>
                    <a:pt x="2064" y="2322"/>
                  </a:lnTo>
                  <a:lnTo>
                    <a:pt x="2070" y="2310"/>
                  </a:lnTo>
                  <a:lnTo>
                    <a:pt x="2076" y="2304"/>
                  </a:lnTo>
                  <a:lnTo>
                    <a:pt x="2088" y="2298"/>
                  </a:lnTo>
                  <a:lnTo>
                    <a:pt x="2100" y="2310"/>
                  </a:lnTo>
                  <a:lnTo>
                    <a:pt x="2088" y="2322"/>
                  </a:lnTo>
                  <a:lnTo>
                    <a:pt x="2082" y="2334"/>
                  </a:lnTo>
                  <a:lnTo>
                    <a:pt x="2082" y="2346"/>
                  </a:lnTo>
                  <a:lnTo>
                    <a:pt x="2094" y="2352"/>
                  </a:lnTo>
                  <a:lnTo>
                    <a:pt x="2112" y="2358"/>
                  </a:lnTo>
                  <a:lnTo>
                    <a:pt x="2124" y="2358"/>
                  </a:lnTo>
                  <a:lnTo>
                    <a:pt x="2142" y="2376"/>
                  </a:lnTo>
                  <a:lnTo>
                    <a:pt x="2154" y="2376"/>
                  </a:lnTo>
                  <a:lnTo>
                    <a:pt x="2154" y="2370"/>
                  </a:lnTo>
                  <a:lnTo>
                    <a:pt x="2166" y="2358"/>
                  </a:lnTo>
                  <a:lnTo>
                    <a:pt x="2178" y="2358"/>
                  </a:lnTo>
                  <a:lnTo>
                    <a:pt x="2190" y="2364"/>
                  </a:lnTo>
                  <a:lnTo>
                    <a:pt x="2202" y="2376"/>
                  </a:lnTo>
                  <a:lnTo>
                    <a:pt x="2202" y="2382"/>
                  </a:lnTo>
                  <a:lnTo>
                    <a:pt x="2208" y="2388"/>
                  </a:lnTo>
                  <a:lnTo>
                    <a:pt x="2238" y="2388"/>
                  </a:lnTo>
                  <a:lnTo>
                    <a:pt x="2256" y="2406"/>
                  </a:lnTo>
                  <a:lnTo>
                    <a:pt x="2268" y="2406"/>
                  </a:lnTo>
                  <a:lnTo>
                    <a:pt x="2280" y="2394"/>
                  </a:lnTo>
                  <a:lnTo>
                    <a:pt x="2292" y="2388"/>
                  </a:lnTo>
                  <a:lnTo>
                    <a:pt x="2298" y="2382"/>
                  </a:lnTo>
                  <a:lnTo>
                    <a:pt x="2298" y="2400"/>
                  </a:lnTo>
                  <a:lnTo>
                    <a:pt x="2346" y="2394"/>
                  </a:lnTo>
                  <a:lnTo>
                    <a:pt x="2346" y="2400"/>
                  </a:lnTo>
                  <a:lnTo>
                    <a:pt x="2352" y="2400"/>
                  </a:lnTo>
                  <a:lnTo>
                    <a:pt x="2364" y="2406"/>
                  </a:lnTo>
                  <a:lnTo>
                    <a:pt x="2382" y="2406"/>
                  </a:lnTo>
                  <a:lnTo>
                    <a:pt x="2394" y="2394"/>
                  </a:lnTo>
                  <a:lnTo>
                    <a:pt x="2406" y="2388"/>
                  </a:lnTo>
                  <a:lnTo>
                    <a:pt x="2412" y="2376"/>
                  </a:lnTo>
                  <a:lnTo>
                    <a:pt x="2412" y="2370"/>
                  </a:lnTo>
                  <a:lnTo>
                    <a:pt x="2430" y="2370"/>
                  </a:lnTo>
                  <a:lnTo>
                    <a:pt x="2436" y="2376"/>
                  </a:lnTo>
                  <a:lnTo>
                    <a:pt x="2442" y="2376"/>
                  </a:lnTo>
                  <a:lnTo>
                    <a:pt x="2454" y="2364"/>
                  </a:lnTo>
                  <a:lnTo>
                    <a:pt x="2460" y="2352"/>
                  </a:lnTo>
                  <a:lnTo>
                    <a:pt x="2466" y="2346"/>
                  </a:lnTo>
                  <a:lnTo>
                    <a:pt x="2472" y="2346"/>
                  </a:lnTo>
                  <a:lnTo>
                    <a:pt x="2472" y="2352"/>
                  </a:lnTo>
                  <a:lnTo>
                    <a:pt x="2478" y="2358"/>
                  </a:lnTo>
                  <a:lnTo>
                    <a:pt x="2502" y="2352"/>
                  </a:lnTo>
                  <a:lnTo>
                    <a:pt x="2496" y="2346"/>
                  </a:lnTo>
                  <a:lnTo>
                    <a:pt x="2496" y="2334"/>
                  </a:lnTo>
                  <a:lnTo>
                    <a:pt x="2502" y="2328"/>
                  </a:lnTo>
                  <a:lnTo>
                    <a:pt x="2514" y="2322"/>
                  </a:lnTo>
                  <a:lnTo>
                    <a:pt x="2532" y="2340"/>
                  </a:lnTo>
                  <a:lnTo>
                    <a:pt x="2556" y="2340"/>
                  </a:lnTo>
                  <a:lnTo>
                    <a:pt x="2562" y="2346"/>
                  </a:lnTo>
                  <a:lnTo>
                    <a:pt x="2580" y="2346"/>
                  </a:lnTo>
                  <a:lnTo>
                    <a:pt x="2604" y="2358"/>
                  </a:lnTo>
                  <a:lnTo>
                    <a:pt x="2604" y="2370"/>
                  </a:lnTo>
                  <a:lnTo>
                    <a:pt x="2598" y="2382"/>
                  </a:lnTo>
                  <a:lnTo>
                    <a:pt x="2598" y="2388"/>
                  </a:lnTo>
                  <a:lnTo>
                    <a:pt x="2592" y="2400"/>
                  </a:lnTo>
                  <a:lnTo>
                    <a:pt x="2604" y="2412"/>
                  </a:lnTo>
                  <a:lnTo>
                    <a:pt x="2592" y="2436"/>
                  </a:lnTo>
                  <a:lnTo>
                    <a:pt x="2598" y="2436"/>
                  </a:lnTo>
                  <a:lnTo>
                    <a:pt x="2604" y="2430"/>
                  </a:lnTo>
                  <a:lnTo>
                    <a:pt x="2616" y="2424"/>
                  </a:lnTo>
                  <a:lnTo>
                    <a:pt x="2634" y="2418"/>
                  </a:lnTo>
                  <a:lnTo>
                    <a:pt x="2646" y="2412"/>
                  </a:lnTo>
                  <a:lnTo>
                    <a:pt x="2670" y="2412"/>
                  </a:lnTo>
                  <a:lnTo>
                    <a:pt x="2670" y="2424"/>
                  </a:lnTo>
                  <a:lnTo>
                    <a:pt x="2658" y="2430"/>
                  </a:lnTo>
                  <a:lnTo>
                    <a:pt x="2652" y="2436"/>
                  </a:lnTo>
                  <a:lnTo>
                    <a:pt x="2646" y="2436"/>
                  </a:lnTo>
                  <a:lnTo>
                    <a:pt x="2640" y="2442"/>
                  </a:lnTo>
                  <a:lnTo>
                    <a:pt x="2646" y="2448"/>
                  </a:lnTo>
                  <a:lnTo>
                    <a:pt x="2652" y="2448"/>
                  </a:lnTo>
                  <a:lnTo>
                    <a:pt x="2664" y="2460"/>
                  </a:lnTo>
                  <a:lnTo>
                    <a:pt x="2640" y="2484"/>
                  </a:lnTo>
                  <a:lnTo>
                    <a:pt x="2640" y="2490"/>
                  </a:lnTo>
                  <a:lnTo>
                    <a:pt x="2652" y="2490"/>
                  </a:lnTo>
                  <a:lnTo>
                    <a:pt x="2652" y="2502"/>
                  </a:lnTo>
                  <a:lnTo>
                    <a:pt x="2640" y="2514"/>
                  </a:lnTo>
                  <a:lnTo>
                    <a:pt x="2640" y="2526"/>
                  </a:lnTo>
                  <a:lnTo>
                    <a:pt x="2658" y="2526"/>
                  </a:lnTo>
                  <a:lnTo>
                    <a:pt x="2652" y="2544"/>
                  </a:lnTo>
                  <a:lnTo>
                    <a:pt x="2658" y="2544"/>
                  </a:lnTo>
                  <a:lnTo>
                    <a:pt x="2670" y="2550"/>
                  </a:lnTo>
                  <a:lnTo>
                    <a:pt x="2754" y="2550"/>
                  </a:lnTo>
                  <a:lnTo>
                    <a:pt x="2766" y="2556"/>
                  </a:lnTo>
                  <a:lnTo>
                    <a:pt x="2784" y="2568"/>
                  </a:lnTo>
                  <a:lnTo>
                    <a:pt x="2838" y="2568"/>
                  </a:lnTo>
                  <a:lnTo>
                    <a:pt x="2850" y="2574"/>
                  </a:lnTo>
                  <a:lnTo>
                    <a:pt x="2856" y="2580"/>
                  </a:lnTo>
                  <a:lnTo>
                    <a:pt x="2856" y="2610"/>
                  </a:lnTo>
                  <a:lnTo>
                    <a:pt x="2874" y="2610"/>
                  </a:lnTo>
                  <a:lnTo>
                    <a:pt x="2874" y="2628"/>
                  </a:lnTo>
                  <a:lnTo>
                    <a:pt x="2862" y="2640"/>
                  </a:lnTo>
                  <a:lnTo>
                    <a:pt x="2862" y="2652"/>
                  </a:lnTo>
                  <a:lnTo>
                    <a:pt x="2874" y="2664"/>
                  </a:lnTo>
                  <a:lnTo>
                    <a:pt x="2880" y="2664"/>
                  </a:lnTo>
                  <a:lnTo>
                    <a:pt x="2856" y="2658"/>
                  </a:lnTo>
                  <a:lnTo>
                    <a:pt x="2856" y="2670"/>
                  </a:lnTo>
                  <a:lnTo>
                    <a:pt x="2850" y="2676"/>
                  </a:lnTo>
                  <a:lnTo>
                    <a:pt x="2844" y="2688"/>
                  </a:lnTo>
                  <a:lnTo>
                    <a:pt x="2838" y="2694"/>
                  </a:lnTo>
                  <a:lnTo>
                    <a:pt x="2832" y="2688"/>
                  </a:lnTo>
                  <a:lnTo>
                    <a:pt x="2820" y="2682"/>
                  </a:lnTo>
                  <a:lnTo>
                    <a:pt x="2802" y="2670"/>
                  </a:lnTo>
                  <a:lnTo>
                    <a:pt x="2790" y="2664"/>
                  </a:lnTo>
                  <a:lnTo>
                    <a:pt x="2784" y="2652"/>
                  </a:lnTo>
                  <a:lnTo>
                    <a:pt x="2784" y="2628"/>
                  </a:lnTo>
                  <a:lnTo>
                    <a:pt x="2766" y="2622"/>
                  </a:lnTo>
                  <a:lnTo>
                    <a:pt x="2772" y="2640"/>
                  </a:lnTo>
                  <a:lnTo>
                    <a:pt x="2772" y="2646"/>
                  </a:lnTo>
                  <a:lnTo>
                    <a:pt x="2778" y="2652"/>
                  </a:lnTo>
                  <a:lnTo>
                    <a:pt x="2778" y="2664"/>
                  </a:lnTo>
                  <a:lnTo>
                    <a:pt x="2772" y="2676"/>
                  </a:lnTo>
                  <a:lnTo>
                    <a:pt x="2760" y="2688"/>
                  </a:lnTo>
                  <a:lnTo>
                    <a:pt x="2754" y="2700"/>
                  </a:lnTo>
                  <a:lnTo>
                    <a:pt x="2736" y="2706"/>
                  </a:lnTo>
                  <a:lnTo>
                    <a:pt x="2718" y="2724"/>
                  </a:lnTo>
                  <a:lnTo>
                    <a:pt x="2712" y="2742"/>
                  </a:lnTo>
                  <a:lnTo>
                    <a:pt x="2700" y="2760"/>
                  </a:lnTo>
                  <a:lnTo>
                    <a:pt x="2694" y="2778"/>
                  </a:lnTo>
                  <a:lnTo>
                    <a:pt x="2688" y="2784"/>
                  </a:lnTo>
                  <a:lnTo>
                    <a:pt x="2664" y="2796"/>
                  </a:lnTo>
                  <a:lnTo>
                    <a:pt x="2652" y="2796"/>
                  </a:lnTo>
                  <a:lnTo>
                    <a:pt x="2646" y="2790"/>
                  </a:lnTo>
                  <a:lnTo>
                    <a:pt x="2640" y="2802"/>
                  </a:lnTo>
                  <a:lnTo>
                    <a:pt x="2634" y="2808"/>
                  </a:lnTo>
                  <a:lnTo>
                    <a:pt x="2634" y="2832"/>
                  </a:lnTo>
                  <a:lnTo>
                    <a:pt x="2628" y="2838"/>
                  </a:lnTo>
                  <a:lnTo>
                    <a:pt x="2622" y="2838"/>
                  </a:lnTo>
                  <a:lnTo>
                    <a:pt x="2586" y="2856"/>
                  </a:lnTo>
                  <a:lnTo>
                    <a:pt x="2562" y="2880"/>
                  </a:lnTo>
                  <a:lnTo>
                    <a:pt x="2562" y="2886"/>
                  </a:lnTo>
                  <a:lnTo>
                    <a:pt x="2568" y="2886"/>
                  </a:lnTo>
                  <a:lnTo>
                    <a:pt x="2580" y="2880"/>
                  </a:lnTo>
                  <a:lnTo>
                    <a:pt x="2592" y="2880"/>
                  </a:lnTo>
                  <a:lnTo>
                    <a:pt x="2598" y="2886"/>
                  </a:lnTo>
                  <a:lnTo>
                    <a:pt x="2610" y="2880"/>
                  </a:lnTo>
                  <a:lnTo>
                    <a:pt x="2616" y="2868"/>
                  </a:lnTo>
                  <a:lnTo>
                    <a:pt x="2628" y="2862"/>
                  </a:lnTo>
                  <a:lnTo>
                    <a:pt x="2658" y="2862"/>
                  </a:lnTo>
                  <a:lnTo>
                    <a:pt x="2658" y="2856"/>
                  </a:lnTo>
                  <a:lnTo>
                    <a:pt x="2664" y="2844"/>
                  </a:lnTo>
                  <a:lnTo>
                    <a:pt x="2676" y="2838"/>
                  </a:lnTo>
                  <a:lnTo>
                    <a:pt x="2682" y="2832"/>
                  </a:lnTo>
                  <a:lnTo>
                    <a:pt x="2754" y="2832"/>
                  </a:lnTo>
                  <a:lnTo>
                    <a:pt x="2766" y="2838"/>
                  </a:lnTo>
                  <a:lnTo>
                    <a:pt x="2790" y="2820"/>
                  </a:lnTo>
                  <a:lnTo>
                    <a:pt x="2856" y="2820"/>
                  </a:lnTo>
                  <a:lnTo>
                    <a:pt x="2862" y="2814"/>
                  </a:lnTo>
                  <a:lnTo>
                    <a:pt x="2862" y="2790"/>
                  </a:lnTo>
                  <a:lnTo>
                    <a:pt x="2844" y="2796"/>
                  </a:lnTo>
                  <a:lnTo>
                    <a:pt x="2832" y="2796"/>
                  </a:lnTo>
                  <a:lnTo>
                    <a:pt x="2826" y="2790"/>
                  </a:lnTo>
                  <a:lnTo>
                    <a:pt x="2826" y="2784"/>
                  </a:lnTo>
                  <a:lnTo>
                    <a:pt x="2832" y="2772"/>
                  </a:lnTo>
                  <a:lnTo>
                    <a:pt x="2850" y="2754"/>
                  </a:lnTo>
                  <a:lnTo>
                    <a:pt x="2868" y="2742"/>
                  </a:lnTo>
                  <a:lnTo>
                    <a:pt x="2880" y="2736"/>
                  </a:lnTo>
                  <a:lnTo>
                    <a:pt x="2910" y="2736"/>
                  </a:lnTo>
                  <a:lnTo>
                    <a:pt x="2928" y="2730"/>
                  </a:lnTo>
                  <a:lnTo>
                    <a:pt x="2952" y="2730"/>
                  </a:lnTo>
                  <a:lnTo>
                    <a:pt x="2964" y="2724"/>
                  </a:lnTo>
                  <a:lnTo>
                    <a:pt x="2970" y="2724"/>
                  </a:lnTo>
                  <a:lnTo>
                    <a:pt x="2976" y="2718"/>
                  </a:lnTo>
                  <a:lnTo>
                    <a:pt x="2982" y="2718"/>
                  </a:lnTo>
                  <a:lnTo>
                    <a:pt x="2994" y="2724"/>
                  </a:lnTo>
                  <a:lnTo>
                    <a:pt x="3000" y="2724"/>
                  </a:lnTo>
                  <a:lnTo>
                    <a:pt x="3012" y="2730"/>
                  </a:lnTo>
                  <a:lnTo>
                    <a:pt x="3018" y="2736"/>
                  </a:lnTo>
                  <a:lnTo>
                    <a:pt x="3024" y="2736"/>
                  </a:lnTo>
                  <a:lnTo>
                    <a:pt x="3030" y="2730"/>
                  </a:lnTo>
                  <a:lnTo>
                    <a:pt x="3030" y="2712"/>
                  </a:lnTo>
                  <a:lnTo>
                    <a:pt x="3036" y="2706"/>
                  </a:lnTo>
                  <a:lnTo>
                    <a:pt x="3048" y="2700"/>
                  </a:lnTo>
                  <a:lnTo>
                    <a:pt x="3060" y="2700"/>
                  </a:lnTo>
                  <a:lnTo>
                    <a:pt x="3066" y="2706"/>
                  </a:lnTo>
                  <a:lnTo>
                    <a:pt x="3072" y="2706"/>
                  </a:lnTo>
                  <a:lnTo>
                    <a:pt x="3072" y="2700"/>
                  </a:lnTo>
                  <a:lnTo>
                    <a:pt x="3102" y="2700"/>
                  </a:lnTo>
                  <a:lnTo>
                    <a:pt x="3114" y="2688"/>
                  </a:lnTo>
                  <a:lnTo>
                    <a:pt x="3126" y="2682"/>
                  </a:lnTo>
                  <a:lnTo>
                    <a:pt x="3150" y="2658"/>
                  </a:lnTo>
                  <a:lnTo>
                    <a:pt x="3162" y="2652"/>
                  </a:lnTo>
                  <a:lnTo>
                    <a:pt x="3174" y="2640"/>
                  </a:lnTo>
                  <a:lnTo>
                    <a:pt x="3408" y="2640"/>
                  </a:lnTo>
                  <a:lnTo>
                    <a:pt x="3408" y="2634"/>
                  </a:lnTo>
                  <a:lnTo>
                    <a:pt x="3420" y="2622"/>
                  </a:lnTo>
                  <a:lnTo>
                    <a:pt x="3438" y="2622"/>
                  </a:lnTo>
                  <a:lnTo>
                    <a:pt x="3450" y="2616"/>
                  </a:lnTo>
                  <a:lnTo>
                    <a:pt x="3456" y="2616"/>
                  </a:lnTo>
                  <a:lnTo>
                    <a:pt x="3456" y="2610"/>
                  </a:lnTo>
                  <a:lnTo>
                    <a:pt x="3468" y="2598"/>
                  </a:lnTo>
                  <a:lnTo>
                    <a:pt x="3480" y="2592"/>
                  </a:lnTo>
                  <a:lnTo>
                    <a:pt x="3486" y="2586"/>
                  </a:lnTo>
                  <a:lnTo>
                    <a:pt x="3498" y="2586"/>
                  </a:lnTo>
                  <a:lnTo>
                    <a:pt x="3504" y="2592"/>
                  </a:lnTo>
                  <a:lnTo>
                    <a:pt x="3510" y="2592"/>
                  </a:lnTo>
                  <a:lnTo>
                    <a:pt x="3510" y="2568"/>
                  </a:lnTo>
                  <a:lnTo>
                    <a:pt x="3516" y="2556"/>
                  </a:lnTo>
                  <a:lnTo>
                    <a:pt x="3528" y="2544"/>
                  </a:lnTo>
                  <a:lnTo>
                    <a:pt x="3534" y="2544"/>
                  </a:lnTo>
                  <a:lnTo>
                    <a:pt x="3546" y="2532"/>
                  </a:lnTo>
                  <a:lnTo>
                    <a:pt x="3546" y="2508"/>
                  </a:lnTo>
                  <a:lnTo>
                    <a:pt x="3588" y="2484"/>
                  </a:lnTo>
                  <a:lnTo>
                    <a:pt x="3594" y="2472"/>
                  </a:lnTo>
                  <a:lnTo>
                    <a:pt x="3618" y="2448"/>
                  </a:lnTo>
                  <a:lnTo>
                    <a:pt x="3630" y="2448"/>
                  </a:lnTo>
                  <a:lnTo>
                    <a:pt x="3636" y="2454"/>
                  </a:lnTo>
                  <a:lnTo>
                    <a:pt x="3636" y="2460"/>
                  </a:lnTo>
                  <a:lnTo>
                    <a:pt x="3642" y="2466"/>
                  </a:lnTo>
                  <a:lnTo>
                    <a:pt x="3654" y="2466"/>
                  </a:lnTo>
                  <a:lnTo>
                    <a:pt x="3666" y="2460"/>
                  </a:lnTo>
                  <a:lnTo>
                    <a:pt x="3702" y="2460"/>
                  </a:lnTo>
                  <a:lnTo>
                    <a:pt x="3708" y="2466"/>
                  </a:lnTo>
                  <a:lnTo>
                    <a:pt x="3708" y="2472"/>
                  </a:lnTo>
                  <a:lnTo>
                    <a:pt x="3702" y="2496"/>
                  </a:lnTo>
                  <a:lnTo>
                    <a:pt x="3690" y="2520"/>
                  </a:lnTo>
                  <a:lnTo>
                    <a:pt x="3678" y="2550"/>
                  </a:lnTo>
                  <a:lnTo>
                    <a:pt x="3666" y="2574"/>
                  </a:lnTo>
                  <a:lnTo>
                    <a:pt x="3666" y="2586"/>
                  </a:lnTo>
                  <a:lnTo>
                    <a:pt x="3672" y="2592"/>
                  </a:lnTo>
                  <a:lnTo>
                    <a:pt x="3678" y="2592"/>
                  </a:lnTo>
                  <a:lnTo>
                    <a:pt x="3684" y="2598"/>
                  </a:lnTo>
                  <a:lnTo>
                    <a:pt x="3672" y="2610"/>
                  </a:lnTo>
                  <a:lnTo>
                    <a:pt x="3666" y="2622"/>
                  </a:lnTo>
                  <a:lnTo>
                    <a:pt x="3666" y="2628"/>
                  </a:lnTo>
                  <a:lnTo>
                    <a:pt x="3690" y="2628"/>
                  </a:lnTo>
                  <a:lnTo>
                    <a:pt x="3690" y="2634"/>
                  </a:lnTo>
                  <a:lnTo>
                    <a:pt x="3696" y="2640"/>
                  </a:lnTo>
                  <a:lnTo>
                    <a:pt x="3714" y="2640"/>
                  </a:lnTo>
                  <a:lnTo>
                    <a:pt x="3750" y="2622"/>
                  </a:lnTo>
                  <a:lnTo>
                    <a:pt x="3768" y="2604"/>
                  </a:lnTo>
                  <a:lnTo>
                    <a:pt x="3780" y="2622"/>
                  </a:lnTo>
                  <a:lnTo>
                    <a:pt x="3786" y="2622"/>
                  </a:lnTo>
                  <a:lnTo>
                    <a:pt x="3792" y="2616"/>
                  </a:lnTo>
                  <a:lnTo>
                    <a:pt x="3816" y="2604"/>
                  </a:lnTo>
                  <a:lnTo>
                    <a:pt x="3828" y="2604"/>
                  </a:lnTo>
                  <a:lnTo>
                    <a:pt x="3840" y="2592"/>
                  </a:lnTo>
                  <a:lnTo>
                    <a:pt x="3852" y="2592"/>
                  </a:lnTo>
                  <a:lnTo>
                    <a:pt x="3864" y="2580"/>
                  </a:lnTo>
                  <a:lnTo>
                    <a:pt x="3870" y="2580"/>
                  </a:lnTo>
                  <a:lnTo>
                    <a:pt x="3888" y="2586"/>
                  </a:lnTo>
                  <a:lnTo>
                    <a:pt x="3846" y="2616"/>
                  </a:lnTo>
                  <a:lnTo>
                    <a:pt x="3936" y="2610"/>
                  </a:lnTo>
                  <a:lnTo>
                    <a:pt x="3918" y="2610"/>
                  </a:lnTo>
                  <a:lnTo>
                    <a:pt x="3906" y="2616"/>
                  </a:lnTo>
                  <a:lnTo>
                    <a:pt x="3894" y="2616"/>
                  </a:lnTo>
                  <a:lnTo>
                    <a:pt x="3888" y="2622"/>
                  </a:lnTo>
                  <a:lnTo>
                    <a:pt x="3888" y="2634"/>
                  </a:lnTo>
                  <a:lnTo>
                    <a:pt x="3882" y="2640"/>
                  </a:lnTo>
                  <a:lnTo>
                    <a:pt x="3876" y="2640"/>
                  </a:lnTo>
                  <a:lnTo>
                    <a:pt x="3870" y="2634"/>
                  </a:lnTo>
                  <a:lnTo>
                    <a:pt x="3864" y="2634"/>
                  </a:lnTo>
                  <a:lnTo>
                    <a:pt x="3852" y="2628"/>
                  </a:lnTo>
                  <a:lnTo>
                    <a:pt x="3846" y="2628"/>
                  </a:lnTo>
                  <a:lnTo>
                    <a:pt x="3828" y="2634"/>
                  </a:lnTo>
                  <a:lnTo>
                    <a:pt x="3738" y="2688"/>
                  </a:lnTo>
                  <a:lnTo>
                    <a:pt x="3726" y="2700"/>
                  </a:lnTo>
                  <a:lnTo>
                    <a:pt x="3720" y="2712"/>
                  </a:lnTo>
                  <a:lnTo>
                    <a:pt x="3720" y="2748"/>
                  </a:lnTo>
                  <a:lnTo>
                    <a:pt x="3726" y="2748"/>
                  </a:lnTo>
                  <a:lnTo>
                    <a:pt x="3732" y="2742"/>
                  </a:lnTo>
                  <a:lnTo>
                    <a:pt x="3738" y="2742"/>
                  </a:lnTo>
                  <a:lnTo>
                    <a:pt x="3738" y="2754"/>
                  </a:lnTo>
                  <a:lnTo>
                    <a:pt x="3744" y="2760"/>
                  </a:lnTo>
                  <a:lnTo>
                    <a:pt x="3756" y="2760"/>
                  </a:lnTo>
                  <a:lnTo>
                    <a:pt x="3762" y="2754"/>
                  </a:lnTo>
                  <a:lnTo>
                    <a:pt x="3768" y="2742"/>
                  </a:lnTo>
                  <a:lnTo>
                    <a:pt x="3774" y="2736"/>
                  </a:lnTo>
                  <a:lnTo>
                    <a:pt x="3786" y="2736"/>
                  </a:lnTo>
                  <a:lnTo>
                    <a:pt x="3804" y="2730"/>
                  </a:lnTo>
                  <a:lnTo>
                    <a:pt x="3816" y="2724"/>
                  </a:lnTo>
                  <a:lnTo>
                    <a:pt x="3834" y="2718"/>
                  </a:lnTo>
                  <a:lnTo>
                    <a:pt x="3846" y="2706"/>
                  </a:lnTo>
                  <a:lnTo>
                    <a:pt x="3852" y="2694"/>
                  </a:lnTo>
                  <a:lnTo>
                    <a:pt x="3870" y="2676"/>
                  </a:lnTo>
                  <a:lnTo>
                    <a:pt x="3876" y="2664"/>
                  </a:lnTo>
                  <a:lnTo>
                    <a:pt x="3876" y="2670"/>
                  </a:lnTo>
                  <a:lnTo>
                    <a:pt x="3882" y="2682"/>
                  </a:lnTo>
                  <a:lnTo>
                    <a:pt x="3888" y="2688"/>
                  </a:lnTo>
                  <a:lnTo>
                    <a:pt x="3894" y="2688"/>
                  </a:lnTo>
                  <a:lnTo>
                    <a:pt x="3930" y="2676"/>
                  </a:lnTo>
                  <a:lnTo>
                    <a:pt x="3954" y="2664"/>
                  </a:lnTo>
                  <a:lnTo>
                    <a:pt x="3972" y="2658"/>
                  </a:lnTo>
                  <a:lnTo>
                    <a:pt x="3984" y="2652"/>
                  </a:lnTo>
                  <a:lnTo>
                    <a:pt x="4008" y="2646"/>
                  </a:lnTo>
                  <a:lnTo>
                    <a:pt x="4068" y="2634"/>
                  </a:lnTo>
                  <a:lnTo>
                    <a:pt x="4080" y="2628"/>
                  </a:lnTo>
                  <a:lnTo>
                    <a:pt x="4068" y="2616"/>
                  </a:lnTo>
                  <a:lnTo>
                    <a:pt x="4074" y="2598"/>
                  </a:lnTo>
                  <a:lnTo>
                    <a:pt x="4038" y="2604"/>
                  </a:lnTo>
                  <a:lnTo>
                    <a:pt x="4038" y="2580"/>
                  </a:lnTo>
                  <a:lnTo>
                    <a:pt x="4026" y="2586"/>
                  </a:lnTo>
                  <a:lnTo>
                    <a:pt x="4020" y="2586"/>
                  </a:lnTo>
                  <a:lnTo>
                    <a:pt x="4008" y="2592"/>
                  </a:lnTo>
                  <a:lnTo>
                    <a:pt x="4002" y="2598"/>
                  </a:lnTo>
                  <a:lnTo>
                    <a:pt x="3990" y="2598"/>
                  </a:lnTo>
                  <a:lnTo>
                    <a:pt x="3990" y="2580"/>
                  </a:lnTo>
                  <a:lnTo>
                    <a:pt x="3930" y="2580"/>
                  </a:lnTo>
                  <a:lnTo>
                    <a:pt x="3924" y="2574"/>
                  </a:lnTo>
                  <a:lnTo>
                    <a:pt x="3924" y="2568"/>
                  </a:lnTo>
                  <a:lnTo>
                    <a:pt x="3918" y="2562"/>
                  </a:lnTo>
                  <a:lnTo>
                    <a:pt x="3918" y="2556"/>
                  </a:lnTo>
                  <a:lnTo>
                    <a:pt x="3930" y="2556"/>
                  </a:lnTo>
                  <a:lnTo>
                    <a:pt x="3918" y="2544"/>
                  </a:lnTo>
                  <a:lnTo>
                    <a:pt x="3888" y="2544"/>
                  </a:lnTo>
                  <a:lnTo>
                    <a:pt x="3882" y="2532"/>
                  </a:lnTo>
                  <a:lnTo>
                    <a:pt x="3882" y="2526"/>
                  </a:lnTo>
                  <a:lnTo>
                    <a:pt x="3876" y="2514"/>
                  </a:lnTo>
                  <a:lnTo>
                    <a:pt x="3876" y="2502"/>
                  </a:lnTo>
                  <a:lnTo>
                    <a:pt x="3894" y="2484"/>
                  </a:lnTo>
                  <a:lnTo>
                    <a:pt x="3870" y="2484"/>
                  </a:lnTo>
                  <a:lnTo>
                    <a:pt x="3876" y="2478"/>
                  </a:lnTo>
                  <a:lnTo>
                    <a:pt x="3888" y="2472"/>
                  </a:lnTo>
                  <a:lnTo>
                    <a:pt x="3894" y="2460"/>
                  </a:lnTo>
                  <a:lnTo>
                    <a:pt x="3906" y="2454"/>
                  </a:lnTo>
                  <a:lnTo>
                    <a:pt x="3918" y="2442"/>
                  </a:lnTo>
                  <a:lnTo>
                    <a:pt x="3924" y="2430"/>
                  </a:lnTo>
                  <a:lnTo>
                    <a:pt x="3936" y="2424"/>
                  </a:lnTo>
                  <a:lnTo>
                    <a:pt x="3942" y="2412"/>
                  </a:lnTo>
                  <a:lnTo>
                    <a:pt x="3948" y="2406"/>
                  </a:lnTo>
                  <a:lnTo>
                    <a:pt x="3936" y="2400"/>
                  </a:lnTo>
                  <a:lnTo>
                    <a:pt x="3912" y="2430"/>
                  </a:lnTo>
                  <a:lnTo>
                    <a:pt x="3894" y="2418"/>
                  </a:lnTo>
                  <a:lnTo>
                    <a:pt x="3864" y="2436"/>
                  </a:lnTo>
                  <a:lnTo>
                    <a:pt x="3858" y="2418"/>
                  </a:lnTo>
                  <a:lnTo>
                    <a:pt x="3828" y="2406"/>
                  </a:lnTo>
                  <a:lnTo>
                    <a:pt x="3810" y="2412"/>
                  </a:lnTo>
                  <a:lnTo>
                    <a:pt x="3864" y="2394"/>
                  </a:lnTo>
                  <a:lnTo>
                    <a:pt x="3870" y="2400"/>
                  </a:lnTo>
                  <a:lnTo>
                    <a:pt x="3882" y="2406"/>
                  </a:lnTo>
                  <a:lnTo>
                    <a:pt x="3900" y="2406"/>
                  </a:lnTo>
                  <a:lnTo>
                    <a:pt x="3918" y="2388"/>
                  </a:lnTo>
                  <a:lnTo>
                    <a:pt x="3930" y="2382"/>
                  </a:lnTo>
                  <a:lnTo>
                    <a:pt x="3936" y="2376"/>
                  </a:lnTo>
                  <a:lnTo>
                    <a:pt x="3978" y="2376"/>
                  </a:lnTo>
                  <a:lnTo>
                    <a:pt x="3978" y="2364"/>
                  </a:lnTo>
                  <a:lnTo>
                    <a:pt x="3972" y="2358"/>
                  </a:lnTo>
                  <a:lnTo>
                    <a:pt x="3966" y="2346"/>
                  </a:lnTo>
                  <a:lnTo>
                    <a:pt x="3990" y="2346"/>
                  </a:lnTo>
                  <a:lnTo>
                    <a:pt x="3978" y="2334"/>
                  </a:lnTo>
                  <a:lnTo>
                    <a:pt x="3972" y="2322"/>
                  </a:lnTo>
                  <a:lnTo>
                    <a:pt x="3960" y="2316"/>
                  </a:lnTo>
                  <a:lnTo>
                    <a:pt x="3942" y="2310"/>
                  </a:lnTo>
                  <a:lnTo>
                    <a:pt x="3918" y="2310"/>
                  </a:lnTo>
                  <a:lnTo>
                    <a:pt x="3852" y="2316"/>
                  </a:lnTo>
                  <a:lnTo>
                    <a:pt x="3792" y="2334"/>
                  </a:lnTo>
                  <a:lnTo>
                    <a:pt x="3744" y="2352"/>
                  </a:lnTo>
                  <a:lnTo>
                    <a:pt x="3684" y="2376"/>
                  </a:lnTo>
                  <a:lnTo>
                    <a:pt x="3660" y="2388"/>
                  </a:lnTo>
                  <a:lnTo>
                    <a:pt x="3642" y="2400"/>
                  </a:lnTo>
                  <a:lnTo>
                    <a:pt x="3624" y="2418"/>
                  </a:lnTo>
                  <a:lnTo>
                    <a:pt x="3606" y="2430"/>
                  </a:lnTo>
                  <a:lnTo>
                    <a:pt x="3594" y="2442"/>
                  </a:lnTo>
                  <a:lnTo>
                    <a:pt x="3576" y="2454"/>
                  </a:lnTo>
                  <a:lnTo>
                    <a:pt x="3564" y="2466"/>
                  </a:lnTo>
                  <a:lnTo>
                    <a:pt x="3528" y="2484"/>
                  </a:lnTo>
                  <a:lnTo>
                    <a:pt x="3516" y="2484"/>
                  </a:lnTo>
                  <a:lnTo>
                    <a:pt x="3498" y="2490"/>
                  </a:lnTo>
                  <a:lnTo>
                    <a:pt x="3486" y="2490"/>
                  </a:lnTo>
                  <a:lnTo>
                    <a:pt x="3492" y="2490"/>
                  </a:lnTo>
                  <a:lnTo>
                    <a:pt x="3498" y="2484"/>
                  </a:lnTo>
                  <a:lnTo>
                    <a:pt x="3510" y="2478"/>
                  </a:lnTo>
                  <a:lnTo>
                    <a:pt x="3522" y="2466"/>
                  </a:lnTo>
                  <a:lnTo>
                    <a:pt x="3540" y="2460"/>
                  </a:lnTo>
                  <a:lnTo>
                    <a:pt x="3552" y="2448"/>
                  </a:lnTo>
                  <a:lnTo>
                    <a:pt x="3576" y="2436"/>
                  </a:lnTo>
                  <a:lnTo>
                    <a:pt x="3600" y="2412"/>
                  </a:lnTo>
                  <a:lnTo>
                    <a:pt x="3606" y="2400"/>
                  </a:lnTo>
                  <a:lnTo>
                    <a:pt x="3582" y="2388"/>
                  </a:lnTo>
                  <a:lnTo>
                    <a:pt x="3588" y="2388"/>
                  </a:lnTo>
                  <a:lnTo>
                    <a:pt x="3594" y="2394"/>
                  </a:lnTo>
                  <a:lnTo>
                    <a:pt x="3624" y="2394"/>
                  </a:lnTo>
                  <a:lnTo>
                    <a:pt x="3642" y="2382"/>
                  </a:lnTo>
                  <a:lnTo>
                    <a:pt x="3702" y="2334"/>
                  </a:lnTo>
                  <a:lnTo>
                    <a:pt x="3750" y="2310"/>
                  </a:lnTo>
                  <a:lnTo>
                    <a:pt x="3768" y="2304"/>
                  </a:lnTo>
                  <a:lnTo>
                    <a:pt x="3804" y="2304"/>
                  </a:lnTo>
                  <a:lnTo>
                    <a:pt x="3852" y="2256"/>
                  </a:lnTo>
                  <a:lnTo>
                    <a:pt x="3870" y="2244"/>
                  </a:lnTo>
                  <a:lnTo>
                    <a:pt x="3888" y="2238"/>
                  </a:lnTo>
                  <a:lnTo>
                    <a:pt x="3936" y="2232"/>
                  </a:lnTo>
                  <a:lnTo>
                    <a:pt x="3990" y="2232"/>
                  </a:lnTo>
                  <a:lnTo>
                    <a:pt x="4044" y="2226"/>
                  </a:lnTo>
                  <a:lnTo>
                    <a:pt x="4074" y="2226"/>
                  </a:lnTo>
                  <a:lnTo>
                    <a:pt x="4104" y="2232"/>
                  </a:lnTo>
                  <a:lnTo>
                    <a:pt x="4176" y="2244"/>
                  </a:lnTo>
                  <a:lnTo>
                    <a:pt x="4200" y="2250"/>
                  </a:lnTo>
                  <a:lnTo>
                    <a:pt x="4212" y="2244"/>
                  </a:lnTo>
                  <a:lnTo>
                    <a:pt x="4248" y="2232"/>
                  </a:lnTo>
                  <a:lnTo>
                    <a:pt x="4260" y="2226"/>
                  </a:lnTo>
                  <a:lnTo>
                    <a:pt x="4278" y="2226"/>
                  </a:lnTo>
                  <a:lnTo>
                    <a:pt x="4296" y="2220"/>
                  </a:lnTo>
                  <a:lnTo>
                    <a:pt x="4320" y="2214"/>
                  </a:lnTo>
                  <a:lnTo>
                    <a:pt x="4338" y="2208"/>
                  </a:lnTo>
                  <a:lnTo>
                    <a:pt x="4374" y="2172"/>
                  </a:lnTo>
                  <a:lnTo>
                    <a:pt x="4392" y="2166"/>
                  </a:lnTo>
                  <a:lnTo>
                    <a:pt x="4404" y="2154"/>
                  </a:lnTo>
                  <a:lnTo>
                    <a:pt x="4410" y="2154"/>
                  </a:lnTo>
                  <a:lnTo>
                    <a:pt x="4422" y="2148"/>
                  </a:lnTo>
                  <a:lnTo>
                    <a:pt x="4452" y="2148"/>
                  </a:lnTo>
                  <a:lnTo>
                    <a:pt x="4458" y="2142"/>
                  </a:lnTo>
                  <a:lnTo>
                    <a:pt x="4470" y="2136"/>
                  </a:lnTo>
                  <a:lnTo>
                    <a:pt x="4476" y="2130"/>
                  </a:lnTo>
                  <a:lnTo>
                    <a:pt x="4494" y="2130"/>
                  </a:lnTo>
                  <a:lnTo>
                    <a:pt x="4500" y="2136"/>
                  </a:lnTo>
                  <a:lnTo>
                    <a:pt x="4518" y="2136"/>
                  </a:lnTo>
                  <a:lnTo>
                    <a:pt x="4530" y="2130"/>
                  </a:lnTo>
                  <a:lnTo>
                    <a:pt x="4536" y="2130"/>
                  </a:lnTo>
                  <a:lnTo>
                    <a:pt x="4542" y="2124"/>
                  </a:lnTo>
                  <a:lnTo>
                    <a:pt x="4596" y="2106"/>
                  </a:lnTo>
                  <a:lnTo>
                    <a:pt x="4620" y="2094"/>
                  </a:lnTo>
                  <a:lnTo>
                    <a:pt x="4620" y="2088"/>
                  </a:lnTo>
                  <a:lnTo>
                    <a:pt x="4614" y="2076"/>
                  </a:lnTo>
                  <a:lnTo>
                    <a:pt x="4602" y="2070"/>
                  </a:lnTo>
                  <a:lnTo>
                    <a:pt x="4584" y="2052"/>
                  </a:lnTo>
                  <a:lnTo>
                    <a:pt x="4578" y="2052"/>
                  </a:lnTo>
                  <a:lnTo>
                    <a:pt x="4602" y="2052"/>
                  </a:lnTo>
                  <a:lnTo>
                    <a:pt x="4614" y="2046"/>
                  </a:lnTo>
                  <a:lnTo>
                    <a:pt x="4614" y="2028"/>
                  </a:lnTo>
                  <a:lnTo>
                    <a:pt x="4608" y="2022"/>
                  </a:lnTo>
                  <a:lnTo>
                    <a:pt x="4608" y="2010"/>
                  </a:lnTo>
                  <a:lnTo>
                    <a:pt x="4632" y="2010"/>
                  </a:lnTo>
                  <a:lnTo>
                    <a:pt x="4644" y="1998"/>
                  </a:lnTo>
                  <a:lnTo>
                    <a:pt x="4644" y="1992"/>
                  </a:lnTo>
                  <a:lnTo>
                    <a:pt x="4632" y="1980"/>
                  </a:lnTo>
                  <a:lnTo>
                    <a:pt x="4626" y="1968"/>
                  </a:lnTo>
                  <a:lnTo>
                    <a:pt x="4608" y="1962"/>
                  </a:lnTo>
                  <a:lnTo>
                    <a:pt x="4602" y="1956"/>
                  </a:lnTo>
                  <a:lnTo>
                    <a:pt x="4590" y="1962"/>
                  </a:lnTo>
                  <a:close/>
                </a:path>
              </a:pathLst>
            </a:custGeom>
            <a:solidFill>
              <a:srgbClr val="0070C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222" name="Cameroon" descr="© INSCALE GmbH, 05.05.2010&#10;http://www.presentationload.com/">
              <a:extLst>
                <a:ext uri="{FF2B5EF4-FFF2-40B4-BE49-F238E27FC236}">
                  <a16:creationId xmlns:a16="http://schemas.microsoft.com/office/drawing/2014/main" id="{01627E01-6CE5-D742-1ABE-4EEF415A9FED}"/>
                </a:ext>
              </a:extLst>
            </p:cNvPr>
            <p:cNvSpPr>
              <a:spLocks/>
            </p:cNvSpPr>
            <p:nvPr/>
          </p:nvSpPr>
          <p:spPr bwMode="gray">
            <a:xfrm>
              <a:off x="4465160" y="2816755"/>
              <a:ext cx="207532" cy="351324"/>
            </a:xfrm>
            <a:custGeom>
              <a:avLst/>
              <a:gdLst>
                <a:gd name="T0" fmla="*/ 2147483647 w 546"/>
                <a:gd name="T1" fmla="*/ 0 h 924"/>
                <a:gd name="T2" fmla="*/ 2147483647 w 546"/>
                <a:gd name="T3" fmla="*/ 2147483647 h 924"/>
                <a:gd name="T4" fmla="*/ 2147483647 w 546"/>
                <a:gd name="T5" fmla="*/ 2147483647 h 924"/>
                <a:gd name="T6" fmla="*/ 2147483647 w 546"/>
                <a:gd name="T7" fmla="*/ 2147483647 h 924"/>
                <a:gd name="T8" fmla="*/ 2147483647 w 546"/>
                <a:gd name="T9" fmla="*/ 2147483647 h 924"/>
                <a:gd name="T10" fmla="*/ 2147483647 w 546"/>
                <a:gd name="T11" fmla="*/ 2147483647 h 924"/>
                <a:gd name="T12" fmla="*/ 2147483647 w 546"/>
                <a:gd name="T13" fmla="*/ 2147483647 h 924"/>
                <a:gd name="T14" fmla="*/ 2147483647 w 546"/>
                <a:gd name="T15" fmla="*/ 2147483647 h 924"/>
                <a:gd name="T16" fmla="*/ 2147483647 w 546"/>
                <a:gd name="T17" fmla="*/ 2147483647 h 924"/>
                <a:gd name="T18" fmla="*/ 2147483647 w 546"/>
                <a:gd name="T19" fmla="*/ 2147483647 h 924"/>
                <a:gd name="T20" fmla="*/ 2147483647 w 546"/>
                <a:gd name="T21" fmla="*/ 2147483647 h 924"/>
                <a:gd name="T22" fmla="*/ 2147483647 w 546"/>
                <a:gd name="T23" fmla="*/ 2147483647 h 924"/>
                <a:gd name="T24" fmla="*/ 2147483647 w 546"/>
                <a:gd name="T25" fmla="*/ 2147483647 h 924"/>
                <a:gd name="T26" fmla="*/ 2147483647 w 546"/>
                <a:gd name="T27" fmla="*/ 2147483647 h 924"/>
                <a:gd name="T28" fmla="*/ 2147483647 w 546"/>
                <a:gd name="T29" fmla="*/ 2147483647 h 924"/>
                <a:gd name="T30" fmla="*/ 2147483647 w 546"/>
                <a:gd name="T31" fmla="*/ 2147483647 h 924"/>
                <a:gd name="T32" fmla="*/ 2147483647 w 546"/>
                <a:gd name="T33" fmla="*/ 2147483647 h 924"/>
                <a:gd name="T34" fmla="*/ 2147483647 w 546"/>
                <a:gd name="T35" fmla="*/ 2147483647 h 924"/>
                <a:gd name="T36" fmla="*/ 2147483647 w 546"/>
                <a:gd name="T37" fmla="*/ 2147483647 h 924"/>
                <a:gd name="T38" fmla="*/ 2147483647 w 546"/>
                <a:gd name="T39" fmla="*/ 2147483647 h 924"/>
                <a:gd name="T40" fmla="*/ 2147483647 w 546"/>
                <a:gd name="T41" fmla="*/ 2147483647 h 924"/>
                <a:gd name="T42" fmla="*/ 2147483647 w 546"/>
                <a:gd name="T43" fmla="*/ 2147483647 h 924"/>
                <a:gd name="T44" fmla="*/ 2147483647 w 546"/>
                <a:gd name="T45" fmla="*/ 2147483647 h 924"/>
                <a:gd name="T46" fmla="*/ 2147483647 w 546"/>
                <a:gd name="T47" fmla="*/ 2147483647 h 924"/>
                <a:gd name="T48" fmla="*/ 2147483647 w 546"/>
                <a:gd name="T49" fmla="*/ 2147483647 h 924"/>
                <a:gd name="T50" fmla="*/ 2147483647 w 546"/>
                <a:gd name="T51" fmla="*/ 2147483647 h 924"/>
                <a:gd name="T52" fmla="*/ 2147483647 w 546"/>
                <a:gd name="T53" fmla="*/ 2147483647 h 924"/>
                <a:gd name="T54" fmla="*/ 2147483647 w 546"/>
                <a:gd name="T55" fmla="*/ 2147483647 h 924"/>
                <a:gd name="T56" fmla="*/ 2147483647 w 546"/>
                <a:gd name="T57" fmla="*/ 2147483647 h 924"/>
                <a:gd name="T58" fmla="*/ 2147483647 w 546"/>
                <a:gd name="T59" fmla="*/ 2147483647 h 924"/>
                <a:gd name="T60" fmla="*/ 2147483647 w 546"/>
                <a:gd name="T61" fmla="*/ 2147483647 h 924"/>
                <a:gd name="T62" fmla="*/ 2147483647 w 546"/>
                <a:gd name="T63" fmla="*/ 2147483647 h 924"/>
                <a:gd name="T64" fmla="*/ 2147483647 w 546"/>
                <a:gd name="T65" fmla="*/ 2147483647 h 924"/>
                <a:gd name="T66" fmla="*/ 2147483647 w 546"/>
                <a:gd name="T67" fmla="*/ 2147483647 h 924"/>
                <a:gd name="T68" fmla="*/ 2147483647 w 546"/>
                <a:gd name="T69" fmla="*/ 2147483647 h 924"/>
                <a:gd name="T70" fmla="*/ 2147483647 w 546"/>
                <a:gd name="T71" fmla="*/ 2147483647 h 924"/>
                <a:gd name="T72" fmla="*/ 2147483647 w 546"/>
                <a:gd name="T73" fmla="*/ 2147483647 h 924"/>
                <a:gd name="T74" fmla="*/ 2147483647 w 546"/>
                <a:gd name="T75" fmla="*/ 2147483647 h 924"/>
                <a:gd name="T76" fmla="*/ 2147483647 w 546"/>
                <a:gd name="T77" fmla="*/ 2147483647 h 924"/>
                <a:gd name="T78" fmla="*/ 2147483647 w 546"/>
                <a:gd name="T79" fmla="*/ 2147483647 h 924"/>
                <a:gd name="T80" fmla="*/ 2147483647 w 546"/>
                <a:gd name="T81" fmla="*/ 2147483647 h 924"/>
                <a:gd name="T82" fmla="*/ 2147483647 w 546"/>
                <a:gd name="T83" fmla="*/ 2147483647 h 924"/>
                <a:gd name="T84" fmla="*/ 2147483647 w 546"/>
                <a:gd name="T85" fmla="*/ 2147483647 h 924"/>
                <a:gd name="T86" fmla="*/ 2147483647 w 546"/>
                <a:gd name="T87" fmla="*/ 2147483647 h 924"/>
                <a:gd name="T88" fmla="*/ 2147483647 w 546"/>
                <a:gd name="T89" fmla="*/ 2147483647 h 924"/>
                <a:gd name="T90" fmla="*/ 2147483647 w 546"/>
                <a:gd name="T91" fmla="*/ 2147483647 h 924"/>
                <a:gd name="T92" fmla="*/ 2147483647 w 546"/>
                <a:gd name="T93" fmla="*/ 2147483647 h 924"/>
                <a:gd name="T94" fmla="*/ 2147483647 w 546"/>
                <a:gd name="T95" fmla="*/ 2147483647 h 924"/>
                <a:gd name="T96" fmla="*/ 2147483647 w 546"/>
                <a:gd name="T97" fmla="*/ 2147483647 h 924"/>
                <a:gd name="T98" fmla="*/ 2147483647 w 546"/>
                <a:gd name="T99" fmla="*/ 2147483647 h 924"/>
                <a:gd name="T100" fmla="*/ 2147483647 w 546"/>
                <a:gd name="T101" fmla="*/ 2147483647 h 924"/>
                <a:gd name="T102" fmla="*/ 2147483647 w 546"/>
                <a:gd name="T103" fmla="*/ 2147483647 h 924"/>
                <a:gd name="T104" fmla="*/ 2147483647 w 546"/>
                <a:gd name="T105" fmla="*/ 2147483647 h 924"/>
                <a:gd name="T106" fmla="*/ 2147483647 w 546"/>
                <a:gd name="T107" fmla="*/ 2147483647 h 924"/>
                <a:gd name="T108" fmla="*/ 2147483647 w 546"/>
                <a:gd name="T109" fmla="*/ 2147483647 h 924"/>
                <a:gd name="T110" fmla="*/ 2147483647 w 546"/>
                <a:gd name="T111" fmla="*/ 2147483647 h 9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46"/>
                <a:gd name="T169" fmla="*/ 0 h 924"/>
                <a:gd name="T170" fmla="*/ 546 w 546"/>
                <a:gd name="T171" fmla="*/ 924 h 9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46" h="924">
                  <a:moveTo>
                    <a:pt x="420" y="30"/>
                  </a:moveTo>
                  <a:lnTo>
                    <a:pt x="414" y="18"/>
                  </a:lnTo>
                  <a:lnTo>
                    <a:pt x="414" y="0"/>
                  </a:lnTo>
                  <a:lnTo>
                    <a:pt x="390" y="6"/>
                  </a:lnTo>
                  <a:lnTo>
                    <a:pt x="390" y="54"/>
                  </a:lnTo>
                  <a:lnTo>
                    <a:pt x="396" y="60"/>
                  </a:lnTo>
                  <a:lnTo>
                    <a:pt x="396" y="66"/>
                  </a:lnTo>
                  <a:lnTo>
                    <a:pt x="426" y="66"/>
                  </a:lnTo>
                  <a:lnTo>
                    <a:pt x="426" y="96"/>
                  </a:lnTo>
                  <a:lnTo>
                    <a:pt x="420" y="102"/>
                  </a:lnTo>
                  <a:lnTo>
                    <a:pt x="420" y="108"/>
                  </a:lnTo>
                  <a:lnTo>
                    <a:pt x="426" y="114"/>
                  </a:lnTo>
                  <a:lnTo>
                    <a:pt x="426" y="126"/>
                  </a:lnTo>
                  <a:lnTo>
                    <a:pt x="408" y="144"/>
                  </a:lnTo>
                  <a:lnTo>
                    <a:pt x="396" y="150"/>
                  </a:lnTo>
                  <a:lnTo>
                    <a:pt x="384" y="150"/>
                  </a:lnTo>
                  <a:lnTo>
                    <a:pt x="384" y="156"/>
                  </a:lnTo>
                  <a:lnTo>
                    <a:pt x="378" y="162"/>
                  </a:lnTo>
                  <a:lnTo>
                    <a:pt x="378" y="168"/>
                  </a:lnTo>
                  <a:lnTo>
                    <a:pt x="372" y="174"/>
                  </a:lnTo>
                  <a:lnTo>
                    <a:pt x="372" y="180"/>
                  </a:lnTo>
                  <a:lnTo>
                    <a:pt x="360" y="192"/>
                  </a:lnTo>
                  <a:lnTo>
                    <a:pt x="354" y="204"/>
                  </a:lnTo>
                  <a:lnTo>
                    <a:pt x="348" y="234"/>
                  </a:lnTo>
                  <a:lnTo>
                    <a:pt x="342" y="240"/>
                  </a:lnTo>
                  <a:lnTo>
                    <a:pt x="342" y="270"/>
                  </a:lnTo>
                  <a:lnTo>
                    <a:pt x="336" y="288"/>
                  </a:lnTo>
                  <a:lnTo>
                    <a:pt x="330" y="294"/>
                  </a:lnTo>
                  <a:lnTo>
                    <a:pt x="312" y="294"/>
                  </a:lnTo>
                  <a:lnTo>
                    <a:pt x="312" y="324"/>
                  </a:lnTo>
                  <a:lnTo>
                    <a:pt x="306" y="342"/>
                  </a:lnTo>
                  <a:lnTo>
                    <a:pt x="306" y="354"/>
                  </a:lnTo>
                  <a:lnTo>
                    <a:pt x="300" y="360"/>
                  </a:lnTo>
                  <a:lnTo>
                    <a:pt x="288" y="366"/>
                  </a:lnTo>
                  <a:lnTo>
                    <a:pt x="282" y="372"/>
                  </a:lnTo>
                  <a:lnTo>
                    <a:pt x="270" y="378"/>
                  </a:lnTo>
                  <a:lnTo>
                    <a:pt x="258" y="426"/>
                  </a:lnTo>
                  <a:lnTo>
                    <a:pt x="234" y="456"/>
                  </a:lnTo>
                  <a:lnTo>
                    <a:pt x="234" y="486"/>
                  </a:lnTo>
                  <a:lnTo>
                    <a:pt x="228" y="492"/>
                  </a:lnTo>
                  <a:lnTo>
                    <a:pt x="216" y="498"/>
                  </a:lnTo>
                  <a:lnTo>
                    <a:pt x="210" y="510"/>
                  </a:lnTo>
                  <a:lnTo>
                    <a:pt x="210" y="522"/>
                  </a:lnTo>
                  <a:lnTo>
                    <a:pt x="192" y="540"/>
                  </a:lnTo>
                  <a:lnTo>
                    <a:pt x="186" y="540"/>
                  </a:lnTo>
                  <a:lnTo>
                    <a:pt x="180" y="534"/>
                  </a:lnTo>
                  <a:lnTo>
                    <a:pt x="174" y="522"/>
                  </a:lnTo>
                  <a:lnTo>
                    <a:pt x="174" y="516"/>
                  </a:lnTo>
                  <a:lnTo>
                    <a:pt x="168" y="504"/>
                  </a:lnTo>
                  <a:lnTo>
                    <a:pt x="156" y="492"/>
                  </a:lnTo>
                  <a:lnTo>
                    <a:pt x="150" y="480"/>
                  </a:lnTo>
                  <a:lnTo>
                    <a:pt x="138" y="480"/>
                  </a:lnTo>
                  <a:lnTo>
                    <a:pt x="144" y="486"/>
                  </a:lnTo>
                  <a:lnTo>
                    <a:pt x="144" y="498"/>
                  </a:lnTo>
                  <a:lnTo>
                    <a:pt x="138" y="504"/>
                  </a:lnTo>
                  <a:lnTo>
                    <a:pt x="132" y="504"/>
                  </a:lnTo>
                  <a:lnTo>
                    <a:pt x="120" y="498"/>
                  </a:lnTo>
                  <a:lnTo>
                    <a:pt x="114" y="492"/>
                  </a:lnTo>
                  <a:lnTo>
                    <a:pt x="108" y="492"/>
                  </a:lnTo>
                  <a:lnTo>
                    <a:pt x="102" y="498"/>
                  </a:lnTo>
                  <a:lnTo>
                    <a:pt x="90" y="522"/>
                  </a:lnTo>
                  <a:lnTo>
                    <a:pt x="84" y="528"/>
                  </a:lnTo>
                  <a:lnTo>
                    <a:pt x="84" y="534"/>
                  </a:lnTo>
                  <a:lnTo>
                    <a:pt x="18" y="588"/>
                  </a:lnTo>
                  <a:lnTo>
                    <a:pt x="18" y="642"/>
                  </a:lnTo>
                  <a:lnTo>
                    <a:pt x="12" y="654"/>
                  </a:lnTo>
                  <a:lnTo>
                    <a:pt x="12" y="666"/>
                  </a:lnTo>
                  <a:lnTo>
                    <a:pt x="6" y="672"/>
                  </a:lnTo>
                  <a:lnTo>
                    <a:pt x="6" y="678"/>
                  </a:lnTo>
                  <a:lnTo>
                    <a:pt x="0" y="690"/>
                  </a:lnTo>
                  <a:lnTo>
                    <a:pt x="24" y="684"/>
                  </a:lnTo>
                  <a:lnTo>
                    <a:pt x="24" y="708"/>
                  </a:lnTo>
                  <a:lnTo>
                    <a:pt x="36" y="732"/>
                  </a:lnTo>
                  <a:lnTo>
                    <a:pt x="60" y="744"/>
                  </a:lnTo>
                  <a:lnTo>
                    <a:pt x="66" y="750"/>
                  </a:lnTo>
                  <a:lnTo>
                    <a:pt x="84" y="726"/>
                  </a:lnTo>
                  <a:lnTo>
                    <a:pt x="66" y="756"/>
                  </a:lnTo>
                  <a:lnTo>
                    <a:pt x="84" y="786"/>
                  </a:lnTo>
                  <a:lnTo>
                    <a:pt x="102" y="792"/>
                  </a:lnTo>
                  <a:lnTo>
                    <a:pt x="102" y="840"/>
                  </a:lnTo>
                  <a:lnTo>
                    <a:pt x="90" y="840"/>
                  </a:lnTo>
                  <a:lnTo>
                    <a:pt x="90" y="870"/>
                  </a:lnTo>
                  <a:lnTo>
                    <a:pt x="102" y="882"/>
                  </a:lnTo>
                  <a:lnTo>
                    <a:pt x="198" y="882"/>
                  </a:lnTo>
                  <a:lnTo>
                    <a:pt x="216" y="864"/>
                  </a:lnTo>
                  <a:lnTo>
                    <a:pt x="228" y="882"/>
                  </a:lnTo>
                  <a:lnTo>
                    <a:pt x="258" y="882"/>
                  </a:lnTo>
                  <a:lnTo>
                    <a:pt x="270" y="870"/>
                  </a:lnTo>
                  <a:lnTo>
                    <a:pt x="276" y="870"/>
                  </a:lnTo>
                  <a:lnTo>
                    <a:pt x="288" y="876"/>
                  </a:lnTo>
                  <a:lnTo>
                    <a:pt x="294" y="876"/>
                  </a:lnTo>
                  <a:lnTo>
                    <a:pt x="342" y="870"/>
                  </a:lnTo>
                  <a:lnTo>
                    <a:pt x="342" y="888"/>
                  </a:lnTo>
                  <a:lnTo>
                    <a:pt x="372" y="888"/>
                  </a:lnTo>
                  <a:lnTo>
                    <a:pt x="390" y="882"/>
                  </a:lnTo>
                  <a:lnTo>
                    <a:pt x="438" y="882"/>
                  </a:lnTo>
                  <a:lnTo>
                    <a:pt x="450" y="888"/>
                  </a:lnTo>
                  <a:lnTo>
                    <a:pt x="456" y="894"/>
                  </a:lnTo>
                  <a:lnTo>
                    <a:pt x="468" y="894"/>
                  </a:lnTo>
                  <a:lnTo>
                    <a:pt x="474" y="900"/>
                  </a:lnTo>
                  <a:lnTo>
                    <a:pt x="510" y="900"/>
                  </a:lnTo>
                  <a:lnTo>
                    <a:pt x="534" y="924"/>
                  </a:lnTo>
                  <a:lnTo>
                    <a:pt x="540" y="882"/>
                  </a:lnTo>
                  <a:lnTo>
                    <a:pt x="546" y="876"/>
                  </a:lnTo>
                  <a:lnTo>
                    <a:pt x="534" y="864"/>
                  </a:lnTo>
                  <a:lnTo>
                    <a:pt x="534" y="834"/>
                  </a:lnTo>
                  <a:lnTo>
                    <a:pt x="528" y="816"/>
                  </a:lnTo>
                  <a:lnTo>
                    <a:pt x="516" y="810"/>
                  </a:lnTo>
                  <a:lnTo>
                    <a:pt x="510" y="798"/>
                  </a:lnTo>
                  <a:lnTo>
                    <a:pt x="498" y="792"/>
                  </a:lnTo>
                  <a:lnTo>
                    <a:pt x="486" y="780"/>
                  </a:lnTo>
                  <a:lnTo>
                    <a:pt x="474" y="756"/>
                  </a:lnTo>
                  <a:lnTo>
                    <a:pt x="468" y="750"/>
                  </a:lnTo>
                  <a:lnTo>
                    <a:pt x="468" y="708"/>
                  </a:lnTo>
                  <a:lnTo>
                    <a:pt x="462" y="708"/>
                  </a:lnTo>
                  <a:lnTo>
                    <a:pt x="444" y="690"/>
                  </a:lnTo>
                  <a:lnTo>
                    <a:pt x="438" y="690"/>
                  </a:lnTo>
                  <a:lnTo>
                    <a:pt x="438" y="642"/>
                  </a:lnTo>
                  <a:lnTo>
                    <a:pt x="420" y="630"/>
                  </a:lnTo>
                  <a:lnTo>
                    <a:pt x="432" y="618"/>
                  </a:lnTo>
                  <a:lnTo>
                    <a:pt x="432" y="582"/>
                  </a:lnTo>
                  <a:lnTo>
                    <a:pt x="426" y="582"/>
                  </a:lnTo>
                  <a:lnTo>
                    <a:pt x="414" y="576"/>
                  </a:lnTo>
                  <a:lnTo>
                    <a:pt x="414" y="570"/>
                  </a:lnTo>
                  <a:lnTo>
                    <a:pt x="426" y="558"/>
                  </a:lnTo>
                  <a:lnTo>
                    <a:pt x="438" y="552"/>
                  </a:lnTo>
                  <a:lnTo>
                    <a:pt x="444" y="546"/>
                  </a:lnTo>
                  <a:lnTo>
                    <a:pt x="450" y="546"/>
                  </a:lnTo>
                  <a:lnTo>
                    <a:pt x="456" y="510"/>
                  </a:lnTo>
                  <a:lnTo>
                    <a:pt x="462" y="510"/>
                  </a:lnTo>
                  <a:lnTo>
                    <a:pt x="468" y="498"/>
                  </a:lnTo>
                  <a:lnTo>
                    <a:pt x="468" y="480"/>
                  </a:lnTo>
                  <a:lnTo>
                    <a:pt x="474" y="474"/>
                  </a:lnTo>
                  <a:lnTo>
                    <a:pt x="480" y="462"/>
                  </a:lnTo>
                  <a:lnTo>
                    <a:pt x="492" y="450"/>
                  </a:lnTo>
                  <a:lnTo>
                    <a:pt x="498" y="450"/>
                  </a:lnTo>
                  <a:lnTo>
                    <a:pt x="498" y="438"/>
                  </a:lnTo>
                  <a:lnTo>
                    <a:pt x="492" y="420"/>
                  </a:lnTo>
                  <a:lnTo>
                    <a:pt x="486" y="408"/>
                  </a:lnTo>
                  <a:lnTo>
                    <a:pt x="486" y="390"/>
                  </a:lnTo>
                  <a:lnTo>
                    <a:pt x="474" y="366"/>
                  </a:lnTo>
                  <a:lnTo>
                    <a:pt x="462" y="354"/>
                  </a:lnTo>
                  <a:lnTo>
                    <a:pt x="450" y="348"/>
                  </a:lnTo>
                  <a:lnTo>
                    <a:pt x="432" y="336"/>
                  </a:lnTo>
                  <a:lnTo>
                    <a:pt x="420" y="324"/>
                  </a:lnTo>
                  <a:lnTo>
                    <a:pt x="414" y="312"/>
                  </a:lnTo>
                  <a:lnTo>
                    <a:pt x="402" y="300"/>
                  </a:lnTo>
                  <a:lnTo>
                    <a:pt x="390" y="276"/>
                  </a:lnTo>
                  <a:lnTo>
                    <a:pt x="390" y="264"/>
                  </a:lnTo>
                  <a:lnTo>
                    <a:pt x="396" y="258"/>
                  </a:lnTo>
                  <a:lnTo>
                    <a:pt x="408" y="252"/>
                  </a:lnTo>
                  <a:lnTo>
                    <a:pt x="504" y="252"/>
                  </a:lnTo>
                  <a:lnTo>
                    <a:pt x="486" y="234"/>
                  </a:lnTo>
                  <a:lnTo>
                    <a:pt x="480" y="222"/>
                  </a:lnTo>
                  <a:lnTo>
                    <a:pt x="468" y="216"/>
                  </a:lnTo>
                  <a:lnTo>
                    <a:pt x="462" y="204"/>
                  </a:lnTo>
                  <a:lnTo>
                    <a:pt x="462" y="186"/>
                  </a:lnTo>
                  <a:lnTo>
                    <a:pt x="456" y="168"/>
                  </a:lnTo>
                  <a:lnTo>
                    <a:pt x="456" y="132"/>
                  </a:lnTo>
                  <a:lnTo>
                    <a:pt x="462" y="132"/>
                  </a:lnTo>
                  <a:lnTo>
                    <a:pt x="462" y="96"/>
                  </a:lnTo>
                  <a:lnTo>
                    <a:pt x="456" y="84"/>
                  </a:lnTo>
                  <a:lnTo>
                    <a:pt x="444" y="78"/>
                  </a:lnTo>
                  <a:lnTo>
                    <a:pt x="450" y="42"/>
                  </a:lnTo>
                  <a:lnTo>
                    <a:pt x="444" y="42"/>
                  </a:lnTo>
                  <a:lnTo>
                    <a:pt x="438" y="36"/>
                  </a:lnTo>
                  <a:lnTo>
                    <a:pt x="426" y="36"/>
                  </a:lnTo>
                  <a:lnTo>
                    <a:pt x="420" y="30"/>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223" name="Cambodia" descr="© INSCALE GmbH, 05.05.2010&#10;http://www.presentationload.com/">
              <a:extLst>
                <a:ext uri="{FF2B5EF4-FFF2-40B4-BE49-F238E27FC236}">
                  <a16:creationId xmlns:a16="http://schemas.microsoft.com/office/drawing/2014/main" id="{9ECF9DBC-E8EC-76A2-DAB5-6B07499AD7E1}"/>
                </a:ext>
              </a:extLst>
            </p:cNvPr>
            <p:cNvSpPr>
              <a:spLocks/>
            </p:cNvSpPr>
            <p:nvPr/>
          </p:nvSpPr>
          <p:spPr bwMode="gray">
            <a:xfrm>
              <a:off x="6979264" y="2773765"/>
              <a:ext cx="143790" cy="127485"/>
            </a:xfrm>
            <a:custGeom>
              <a:avLst/>
              <a:gdLst>
                <a:gd name="T0" fmla="*/ 2147483647 w 378"/>
                <a:gd name="T1" fmla="*/ 2147483647 h 336"/>
                <a:gd name="T2" fmla="*/ 2147483647 w 378"/>
                <a:gd name="T3" fmla="*/ 2147483647 h 336"/>
                <a:gd name="T4" fmla="*/ 2147483647 w 378"/>
                <a:gd name="T5" fmla="*/ 2147483647 h 336"/>
                <a:gd name="T6" fmla="*/ 2147483647 w 378"/>
                <a:gd name="T7" fmla="*/ 2147483647 h 336"/>
                <a:gd name="T8" fmla="*/ 2147483647 w 378"/>
                <a:gd name="T9" fmla="*/ 2147483647 h 336"/>
                <a:gd name="T10" fmla="*/ 2147483647 w 378"/>
                <a:gd name="T11" fmla="*/ 2147483647 h 336"/>
                <a:gd name="T12" fmla="*/ 2147483647 w 378"/>
                <a:gd name="T13" fmla="*/ 2147483647 h 336"/>
                <a:gd name="T14" fmla="*/ 2147483647 w 378"/>
                <a:gd name="T15" fmla="*/ 2147483647 h 336"/>
                <a:gd name="T16" fmla="*/ 2147483647 w 378"/>
                <a:gd name="T17" fmla="*/ 2147483647 h 336"/>
                <a:gd name="T18" fmla="*/ 2147483647 w 378"/>
                <a:gd name="T19" fmla="*/ 2147483647 h 336"/>
                <a:gd name="T20" fmla="*/ 2147483647 w 378"/>
                <a:gd name="T21" fmla="*/ 2147483647 h 336"/>
                <a:gd name="T22" fmla="*/ 2147483647 w 378"/>
                <a:gd name="T23" fmla="*/ 2147483647 h 336"/>
                <a:gd name="T24" fmla="*/ 2147483647 w 378"/>
                <a:gd name="T25" fmla="*/ 2147483647 h 336"/>
                <a:gd name="T26" fmla="*/ 2147483647 w 378"/>
                <a:gd name="T27" fmla="*/ 2147483647 h 336"/>
                <a:gd name="T28" fmla="*/ 0 w 378"/>
                <a:gd name="T29" fmla="*/ 2147483647 h 336"/>
                <a:gd name="T30" fmla="*/ 2147483647 w 378"/>
                <a:gd name="T31" fmla="*/ 2147483647 h 336"/>
                <a:gd name="T32" fmla="*/ 2147483647 w 378"/>
                <a:gd name="T33" fmla="*/ 2147483647 h 336"/>
                <a:gd name="T34" fmla="*/ 2147483647 w 378"/>
                <a:gd name="T35" fmla="*/ 2147483647 h 336"/>
                <a:gd name="T36" fmla="*/ 2147483647 w 378"/>
                <a:gd name="T37" fmla="*/ 2147483647 h 336"/>
                <a:gd name="T38" fmla="*/ 2147483647 w 378"/>
                <a:gd name="T39" fmla="*/ 2147483647 h 336"/>
                <a:gd name="T40" fmla="*/ 2147483647 w 378"/>
                <a:gd name="T41" fmla="*/ 2147483647 h 336"/>
                <a:gd name="T42" fmla="*/ 2147483647 w 378"/>
                <a:gd name="T43" fmla="*/ 2147483647 h 336"/>
                <a:gd name="T44" fmla="*/ 2147483647 w 378"/>
                <a:gd name="T45" fmla="*/ 2147483647 h 336"/>
                <a:gd name="T46" fmla="*/ 2147483647 w 378"/>
                <a:gd name="T47" fmla="*/ 2147483647 h 336"/>
                <a:gd name="T48" fmla="*/ 2147483647 w 378"/>
                <a:gd name="T49" fmla="*/ 2147483647 h 336"/>
                <a:gd name="T50" fmla="*/ 2147483647 w 378"/>
                <a:gd name="T51" fmla="*/ 2147483647 h 336"/>
                <a:gd name="T52" fmla="*/ 2147483647 w 378"/>
                <a:gd name="T53" fmla="*/ 2147483647 h 336"/>
                <a:gd name="T54" fmla="*/ 2147483647 w 378"/>
                <a:gd name="T55" fmla="*/ 2147483647 h 336"/>
                <a:gd name="T56" fmla="*/ 2147483647 w 378"/>
                <a:gd name="T57" fmla="*/ 2147483647 h 336"/>
                <a:gd name="T58" fmla="*/ 2147483647 w 378"/>
                <a:gd name="T59" fmla="*/ 2147483647 h 336"/>
                <a:gd name="T60" fmla="*/ 2147483647 w 378"/>
                <a:gd name="T61" fmla="*/ 2147483647 h 336"/>
                <a:gd name="T62" fmla="*/ 2147483647 w 378"/>
                <a:gd name="T63" fmla="*/ 2147483647 h 336"/>
                <a:gd name="T64" fmla="*/ 2147483647 w 378"/>
                <a:gd name="T65" fmla="*/ 2147483647 h 336"/>
                <a:gd name="T66" fmla="*/ 2147483647 w 378"/>
                <a:gd name="T67" fmla="*/ 2147483647 h 336"/>
                <a:gd name="T68" fmla="*/ 2147483647 w 378"/>
                <a:gd name="T69" fmla="*/ 2147483647 h 336"/>
                <a:gd name="T70" fmla="*/ 2147483647 w 378"/>
                <a:gd name="T71" fmla="*/ 2147483647 h 336"/>
                <a:gd name="T72" fmla="*/ 2147483647 w 378"/>
                <a:gd name="T73" fmla="*/ 2147483647 h 336"/>
                <a:gd name="T74" fmla="*/ 2147483647 w 378"/>
                <a:gd name="T75" fmla="*/ 2147483647 h 336"/>
                <a:gd name="T76" fmla="*/ 2147483647 w 378"/>
                <a:gd name="T77" fmla="*/ 2147483647 h 336"/>
                <a:gd name="T78" fmla="*/ 2147483647 w 378"/>
                <a:gd name="T79" fmla="*/ 2147483647 h 336"/>
                <a:gd name="T80" fmla="*/ 2147483647 w 378"/>
                <a:gd name="T81" fmla="*/ 2147483647 h 336"/>
                <a:gd name="T82" fmla="*/ 2147483647 w 378"/>
                <a:gd name="T83" fmla="*/ 2147483647 h 336"/>
                <a:gd name="T84" fmla="*/ 2147483647 w 378"/>
                <a:gd name="T85" fmla="*/ 2147483647 h 336"/>
                <a:gd name="T86" fmla="*/ 2147483647 w 378"/>
                <a:gd name="T87" fmla="*/ 2147483647 h 336"/>
                <a:gd name="T88" fmla="*/ 2147483647 w 378"/>
                <a:gd name="T89" fmla="*/ 2147483647 h 336"/>
                <a:gd name="T90" fmla="*/ 2147483647 w 378"/>
                <a:gd name="T91" fmla="*/ 2147483647 h 336"/>
                <a:gd name="T92" fmla="*/ 2147483647 w 378"/>
                <a:gd name="T93" fmla="*/ 2147483647 h 336"/>
                <a:gd name="T94" fmla="*/ 2147483647 w 378"/>
                <a:gd name="T95" fmla="*/ 0 h 3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8"/>
                <a:gd name="T145" fmla="*/ 0 h 336"/>
                <a:gd name="T146" fmla="*/ 378 w 378"/>
                <a:gd name="T147" fmla="*/ 336 h 3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8" h="336">
                  <a:moveTo>
                    <a:pt x="324" y="0"/>
                  </a:moveTo>
                  <a:lnTo>
                    <a:pt x="312" y="12"/>
                  </a:lnTo>
                  <a:lnTo>
                    <a:pt x="276" y="0"/>
                  </a:lnTo>
                  <a:lnTo>
                    <a:pt x="264" y="12"/>
                  </a:lnTo>
                  <a:lnTo>
                    <a:pt x="246" y="24"/>
                  </a:lnTo>
                  <a:lnTo>
                    <a:pt x="258" y="36"/>
                  </a:lnTo>
                  <a:lnTo>
                    <a:pt x="258" y="48"/>
                  </a:lnTo>
                  <a:lnTo>
                    <a:pt x="252" y="54"/>
                  </a:lnTo>
                  <a:lnTo>
                    <a:pt x="240" y="54"/>
                  </a:lnTo>
                  <a:lnTo>
                    <a:pt x="228" y="42"/>
                  </a:lnTo>
                  <a:lnTo>
                    <a:pt x="228" y="36"/>
                  </a:lnTo>
                  <a:lnTo>
                    <a:pt x="222" y="36"/>
                  </a:lnTo>
                  <a:lnTo>
                    <a:pt x="216" y="30"/>
                  </a:lnTo>
                  <a:lnTo>
                    <a:pt x="192" y="30"/>
                  </a:lnTo>
                  <a:lnTo>
                    <a:pt x="192" y="18"/>
                  </a:lnTo>
                  <a:lnTo>
                    <a:pt x="186" y="18"/>
                  </a:lnTo>
                  <a:lnTo>
                    <a:pt x="186" y="24"/>
                  </a:lnTo>
                  <a:lnTo>
                    <a:pt x="180" y="18"/>
                  </a:lnTo>
                  <a:lnTo>
                    <a:pt x="168" y="12"/>
                  </a:lnTo>
                  <a:lnTo>
                    <a:pt x="138" y="12"/>
                  </a:lnTo>
                  <a:lnTo>
                    <a:pt x="126" y="18"/>
                  </a:lnTo>
                  <a:lnTo>
                    <a:pt x="114" y="18"/>
                  </a:lnTo>
                  <a:lnTo>
                    <a:pt x="108" y="12"/>
                  </a:lnTo>
                  <a:lnTo>
                    <a:pt x="72" y="12"/>
                  </a:lnTo>
                  <a:lnTo>
                    <a:pt x="54" y="18"/>
                  </a:lnTo>
                  <a:lnTo>
                    <a:pt x="42" y="24"/>
                  </a:lnTo>
                  <a:lnTo>
                    <a:pt x="36" y="30"/>
                  </a:lnTo>
                  <a:lnTo>
                    <a:pt x="30" y="42"/>
                  </a:lnTo>
                  <a:lnTo>
                    <a:pt x="30" y="48"/>
                  </a:lnTo>
                  <a:lnTo>
                    <a:pt x="0" y="78"/>
                  </a:lnTo>
                  <a:lnTo>
                    <a:pt x="6" y="114"/>
                  </a:lnTo>
                  <a:lnTo>
                    <a:pt x="18" y="126"/>
                  </a:lnTo>
                  <a:lnTo>
                    <a:pt x="18" y="156"/>
                  </a:lnTo>
                  <a:lnTo>
                    <a:pt x="30" y="168"/>
                  </a:lnTo>
                  <a:lnTo>
                    <a:pt x="30" y="198"/>
                  </a:lnTo>
                  <a:lnTo>
                    <a:pt x="42" y="210"/>
                  </a:lnTo>
                  <a:lnTo>
                    <a:pt x="48" y="222"/>
                  </a:lnTo>
                  <a:lnTo>
                    <a:pt x="54" y="228"/>
                  </a:lnTo>
                  <a:lnTo>
                    <a:pt x="54" y="234"/>
                  </a:lnTo>
                  <a:lnTo>
                    <a:pt x="42" y="246"/>
                  </a:lnTo>
                  <a:lnTo>
                    <a:pt x="54" y="270"/>
                  </a:lnTo>
                  <a:lnTo>
                    <a:pt x="60" y="276"/>
                  </a:lnTo>
                  <a:lnTo>
                    <a:pt x="72" y="282"/>
                  </a:lnTo>
                  <a:lnTo>
                    <a:pt x="78" y="282"/>
                  </a:lnTo>
                  <a:lnTo>
                    <a:pt x="90" y="270"/>
                  </a:lnTo>
                  <a:lnTo>
                    <a:pt x="90" y="264"/>
                  </a:lnTo>
                  <a:lnTo>
                    <a:pt x="90" y="288"/>
                  </a:lnTo>
                  <a:lnTo>
                    <a:pt x="96" y="300"/>
                  </a:lnTo>
                  <a:lnTo>
                    <a:pt x="102" y="306"/>
                  </a:lnTo>
                  <a:lnTo>
                    <a:pt x="114" y="306"/>
                  </a:lnTo>
                  <a:lnTo>
                    <a:pt x="120" y="300"/>
                  </a:lnTo>
                  <a:lnTo>
                    <a:pt x="132" y="300"/>
                  </a:lnTo>
                  <a:lnTo>
                    <a:pt x="138" y="306"/>
                  </a:lnTo>
                  <a:lnTo>
                    <a:pt x="138" y="312"/>
                  </a:lnTo>
                  <a:lnTo>
                    <a:pt x="150" y="336"/>
                  </a:lnTo>
                  <a:lnTo>
                    <a:pt x="168" y="336"/>
                  </a:lnTo>
                  <a:lnTo>
                    <a:pt x="180" y="324"/>
                  </a:lnTo>
                  <a:lnTo>
                    <a:pt x="192" y="318"/>
                  </a:lnTo>
                  <a:lnTo>
                    <a:pt x="210" y="318"/>
                  </a:lnTo>
                  <a:lnTo>
                    <a:pt x="222" y="312"/>
                  </a:lnTo>
                  <a:lnTo>
                    <a:pt x="222" y="306"/>
                  </a:lnTo>
                  <a:lnTo>
                    <a:pt x="216" y="300"/>
                  </a:lnTo>
                  <a:lnTo>
                    <a:pt x="210" y="300"/>
                  </a:lnTo>
                  <a:lnTo>
                    <a:pt x="204" y="294"/>
                  </a:lnTo>
                  <a:lnTo>
                    <a:pt x="240" y="294"/>
                  </a:lnTo>
                  <a:lnTo>
                    <a:pt x="240" y="288"/>
                  </a:lnTo>
                  <a:lnTo>
                    <a:pt x="246" y="282"/>
                  </a:lnTo>
                  <a:lnTo>
                    <a:pt x="258" y="282"/>
                  </a:lnTo>
                  <a:lnTo>
                    <a:pt x="270" y="288"/>
                  </a:lnTo>
                  <a:lnTo>
                    <a:pt x="276" y="294"/>
                  </a:lnTo>
                  <a:lnTo>
                    <a:pt x="288" y="300"/>
                  </a:lnTo>
                  <a:lnTo>
                    <a:pt x="294" y="306"/>
                  </a:lnTo>
                  <a:lnTo>
                    <a:pt x="294" y="294"/>
                  </a:lnTo>
                  <a:lnTo>
                    <a:pt x="276" y="276"/>
                  </a:lnTo>
                  <a:lnTo>
                    <a:pt x="264" y="252"/>
                  </a:lnTo>
                  <a:lnTo>
                    <a:pt x="264" y="228"/>
                  </a:lnTo>
                  <a:lnTo>
                    <a:pt x="306" y="228"/>
                  </a:lnTo>
                  <a:lnTo>
                    <a:pt x="306" y="204"/>
                  </a:lnTo>
                  <a:lnTo>
                    <a:pt x="336" y="204"/>
                  </a:lnTo>
                  <a:lnTo>
                    <a:pt x="336" y="186"/>
                  </a:lnTo>
                  <a:lnTo>
                    <a:pt x="342" y="180"/>
                  </a:lnTo>
                  <a:lnTo>
                    <a:pt x="360" y="180"/>
                  </a:lnTo>
                  <a:lnTo>
                    <a:pt x="372" y="186"/>
                  </a:lnTo>
                  <a:lnTo>
                    <a:pt x="372" y="156"/>
                  </a:lnTo>
                  <a:lnTo>
                    <a:pt x="366" y="150"/>
                  </a:lnTo>
                  <a:lnTo>
                    <a:pt x="366" y="120"/>
                  </a:lnTo>
                  <a:lnTo>
                    <a:pt x="360" y="114"/>
                  </a:lnTo>
                  <a:lnTo>
                    <a:pt x="360" y="102"/>
                  </a:lnTo>
                  <a:lnTo>
                    <a:pt x="366" y="102"/>
                  </a:lnTo>
                  <a:lnTo>
                    <a:pt x="378" y="90"/>
                  </a:lnTo>
                  <a:lnTo>
                    <a:pt x="378" y="84"/>
                  </a:lnTo>
                  <a:lnTo>
                    <a:pt x="366" y="60"/>
                  </a:lnTo>
                  <a:lnTo>
                    <a:pt x="354" y="48"/>
                  </a:lnTo>
                  <a:lnTo>
                    <a:pt x="348" y="48"/>
                  </a:lnTo>
                  <a:lnTo>
                    <a:pt x="348" y="6"/>
                  </a:lnTo>
                  <a:lnTo>
                    <a:pt x="324" y="0"/>
                  </a:lnTo>
                  <a:close/>
                </a:path>
              </a:pathLst>
            </a:custGeom>
            <a:solidFill>
              <a:srgbClr val="F2F2F2"/>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224" name="Burundi" descr="© INSCALE GmbH, 05.05.2010&#10;http://www.presentationload.com/">
              <a:extLst>
                <a:ext uri="{FF2B5EF4-FFF2-40B4-BE49-F238E27FC236}">
                  <a16:creationId xmlns:a16="http://schemas.microsoft.com/office/drawing/2014/main" id="{B1922AF7-09F4-BE2E-41FB-B51DD9D943BA}"/>
                </a:ext>
              </a:extLst>
            </p:cNvPr>
            <p:cNvSpPr>
              <a:spLocks/>
            </p:cNvSpPr>
            <p:nvPr/>
          </p:nvSpPr>
          <p:spPr bwMode="gray">
            <a:xfrm>
              <a:off x="5016603" y="3292597"/>
              <a:ext cx="50401" cy="63743"/>
            </a:xfrm>
            <a:custGeom>
              <a:avLst/>
              <a:gdLst>
                <a:gd name="T0" fmla="*/ 2147483647 w 132"/>
                <a:gd name="T1" fmla="*/ 2147483647 h 168"/>
                <a:gd name="T2" fmla="*/ 2147483647 w 132"/>
                <a:gd name="T3" fmla="*/ 2147483647 h 168"/>
                <a:gd name="T4" fmla="*/ 2147483647 w 132"/>
                <a:gd name="T5" fmla="*/ 2147483647 h 168"/>
                <a:gd name="T6" fmla="*/ 2147483647 w 132"/>
                <a:gd name="T7" fmla="*/ 2147483647 h 168"/>
                <a:gd name="T8" fmla="*/ 2147483647 w 132"/>
                <a:gd name="T9" fmla="*/ 2147483647 h 168"/>
                <a:gd name="T10" fmla="*/ 2147483647 w 132"/>
                <a:gd name="T11" fmla="*/ 2147483647 h 168"/>
                <a:gd name="T12" fmla="*/ 2147483647 w 132"/>
                <a:gd name="T13" fmla="*/ 2147483647 h 168"/>
                <a:gd name="T14" fmla="*/ 2147483647 w 132"/>
                <a:gd name="T15" fmla="*/ 2147483647 h 168"/>
                <a:gd name="T16" fmla="*/ 2147483647 w 132"/>
                <a:gd name="T17" fmla="*/ 2147483647 h 168"/>
                <a:gd name="T18" fmla="*/ 2147483647 w 132"/>
                <a:gd name="T19" fmla="*/ 2147483647 h 168"/>
                <a:gd name="T20" fmla="*/ 2147483647 w 132"/>
                <a:gd name="T21" fmla="*/ 2147483647 h 168"/>
                <a:gd name="T22" fmla="*/ 2147483647 w 132"/>
                <a:gd name="T23" fmla="*/ 2147483647 h 168"/>
                <a:gd name="T24" fmla="*/ 2147483647 w 132"/>
                <a:gd name="T25" fmla="*/ 2147483647 h 168"/>
                <a:gd name="T26" fmla="*/ 2147483647 w 132"/>
                <a:gd name="T27" fmla="*/ 2147483647 h 168"/>
                <a:gd name="T28" fmla="*/ 2147483647 w 132"/>
                <a:gd name="T29" fmla="*/ 2147483647 h 168"/>
                <a:gd name="T30" fmla="*/ 2147483647 w 132"/>
                <a:gd name="T31" fmla="*/ 2147483647 h 168"/>
                <a:gd name="T32" fmla="*/ 2147483647 w 132"/>
                <a:gd name="T33" fmla="*/ 2147483647 h 168"/>
                <a:gd name="T34" fmla="*/ 2147483647 w 132"/>
                <a:gd name="T35" fmla="*/ 2147483647 h 168"/>
                <a:gd name="T36" fmla="*/ 2147483647 w 132"/>
                <a:gd name="T37" fmla="*/ 2147483647 h 168"/>
                <a:gd name="T38" fmla="*/ 2147483647 w 132"/>
                <a:gd name="T39" fmla="*/ 2147483647 h 168"/>
                <a:gd name="T40" fmla="*/ 2147483647 w 132"/>
                <a:gd name="T41" fmla="*/ 2147483647 h 168"/>
                <a:gd name="T42" fmla="*/ 2147483647 w 132"/>
                <a:gd name="T43" fmla="*/ 2147483647 h 168"/>
                <a:gd name="T44" fmla="*/ 2147483647 w 132"/>
                <a:gd name="T45" fmla="*/ 2147483647 h 168"/>
                <a:gd name="T46" fmla="*/ 2147483647 w 132"/>
                <a:gd name="T47" fmla="*/ 0 h 168"/>
                <a:gd name="T48" fmla="*/ 2147483647 w 132"/>
                <a:gd name="T49" fmla="*/ 0 h 168"/>
                <a:gd name="T50" fmla="*/ 2147483647 w 132"/>
                <a:gd name="T51" fmla="*/ 0 h 168"/>
                <a:gd name="T52" fmla="*/ 2147483647 w 132"/>
                <a:gd name="T53" fmla="*/ 2147483647 h 168"/>
                <a:gd name="T54" fmla="*/ 2147483647 w 132"/>
                <a:gd name="T55" fmla="*/ 2147483647 h 168"/>
                <a:gd name="T56" fmla="*/ 2147483647 w 132"/>
                <a:gd name="T57" fmla="*/ 2147483647 h 168"/>
                <a:gd name="T58" fmla="*/ 2147483647 w 132"/>
                <a:gd name="T59" fmla="*/ 2147483647 h 168"/>
                <a:gd name="T60" fmla="*/ 2147483647 w 132"/>
                <a:gd name="T61" fmla="*/ 2147483647 h 168"/>
                <a:gd name="T62" fmla="*/ 2147483647 w 132"/>
                <a:gd name="T63" fmla="*/ 2147483647 h 168"/>
                <a:gd name="T64" fmla="*/ 0 w 132"/>
                <a:gd name="T65" fmla="*/ 2147483647 h 168"/>
                <a:gd name="T66" fmla="*/ 2147483647 w 132"/>
                <a:gd name="T67" fmla="*/ 2147483647 h 168"/>
                <a:gd name="T68" fmla="*/ 2147483647 w 132"/>
                <a:gd name="T69" fmla="*/ 2147483647 h 168"/>
                <a:gd name="T70" fmla="*/ 2147483647 w 132"/>
                <a:gd name="T71" fmla="*/ 2147483647 h 168"/>
                <a:gd name="T72" fmla="*/ 2147483647 w 132"/>
                <a:gd name="T73" fmla="*/ 2147483647 h 168"/>
                <a:gd name="T74" fmla="*/ 2147483647 w 132"/>
                <a:gd name="T75" fmla="*/ 2147483647 h 16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32"/>
                <a:gd name="T115" fmla="*/ 0 h 168"/>
                <a:gd name="T116" fmla="*/ 132 w 132"/>
                <a:gd name="T117" fmla="*/ 168 h 16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32" h="168">
                  <a:moveTo>
                    <a:pt x="36" y="72"/>
                  </a:moveTo>
                  <a:lnTo>
                    <a:pt x="36" y="96"/>
                  </a:lnTo>
                  <a:lnTo>
                    <a:pt x="30" y="102"/>
                  </a:lnTo>
                  <a:lnTo>
                    <a:pt x="30" y="138"/>
                  </a:lnTo>
                  <a:lnTo>
                    <a:pt x="36" y="156"/>
                  </a:lnTo>
                  <a:lnTo>
                    <a:pt x="42" y="168"/>
                  </a:lnTo>
                  <a:lnTo>
                    <a:pt x="54" y="168"/>
                  </a:lnTo>
                  <a:lnTo>
                    <a:pt x="60" y="162"/>
                  </a:lnTo>
                  <a:lnTo>
                    <a:pt x="72" y="156"/>
                  </a:lnTo>
                  <a:lnTo>
                    <a:pt x="84" y="144"/>
                  </a:lnTo>
                  <a:lnTo>
                    <a:pt x="90" y="132"/>
                  </a:lnTo>
                  <a:lnTo>
                    <a:pt x="90" y="114"/>
                  </a:lnTo>
                  <a:lnTo>
                    <a:pt x="96" y="102"/>
                  </a:lnTo>
                  <a:lnTo>
                    <a:pt x="114" y="84"/>
                  </a:lnTo>
                  <a:lnTo>
                    <a:pt x="126" y="84"/>
                  </a:lnTo>
                  <a:lnTo>
                    <a:pt x="120" y="72"/>
                  </a:lnTo>
                  <a:lnTo>
                    <a:pt x="132" y="66"/>
                  </a:lnTo>
                  <a:lnTo>
                    <a:pt x="132" y="48"/>
                  </a:lnTo>
                  <a:lnTo>
                    <a:pt x="114" y="48"/>
                  </a:lnTo>
                  <a:lnTo>
                    <a:pt x="108" y="42"/>
                  </a:lnTo>
                  <a:lnTo>
                    <a:pt x="102" y="42"/>
                  </a:lnTo>
                  <a:lnTo>
                    <a:pt x="102" y="24"/>
                  </a:lnTo>
                  <a:lnTo>
                    <a:pt x="108" y="12"/>
                  </a:lnTo>
                  <a:lnTo>
                    <a:pt x="108" y="0"/>
                  </a:lnTo>
                  <a:lnTo>
                    <a:pt x="120" y="0"/>
                  </a:lnTo>
                  <a:lnTo>
                    <a:pt x="66" y="0"/>
                  </a:lnTo>
                  <a:lnTo>
                    <a:pt x="60" y="24"/>
                  </a:lnTo>
                  <a:lnTo>
                    <a:pt x="48" y="30"/>
                  </a:lnTo>
                  <a:lnTo>
                    <a:pt x="42" y="36"/>
                  </a:lnTo>
                  <a:lnTo>
                    <a:pt x="30" y="36"/>
                  </a:lnTo>
                  <a:lnTo>
                    <a:pt x="24" y="30"/>
                  </a:lnTo>
                  <a:lnTo>
                    <a:pt x="18" y="18"/>
                  </a:lnTo>
                  <a:lnTo>
                    <a:pt x="0" y="18"/>
                  </a:lnTo>
                  <a:lnTo>
                    <a:pt x="12" y="48"/>
                  </a:lnTo>
                  <a:lnTo>
                    <a:pt x="18" y="54"/>
                  </a:lnTo>
                  <a:lnTo>
                    <a:pt x="30" y="60"/>
                  </a:lnTo>
                  <a:lnTo>
                    <a:pt x="36" y="66"/>
                  </a:lnTo>
                  <a:lnTo>
                    <a:pt x="36" y="72"/>
                  </a:lnTo>
                  <a:close/>
                </a:path>
              </a:pathLst>
            </a:custGeom>
            <a:grp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225" name="Burkina Faso" descr="© INSCALE GmbH, 05.05.2010&#10;http://www.presentationload.com/">
              <a:extLst>
                <a:ext uri="{FF2B5EF4-FFF2-40B4-BE49-F238E27FC236}">
                  <a16:creationId xmlns:a16="http://schemas.microsoft.com/office/drawing/2014/main" id="{9E7D1332-321B-5E2F-2C3C-0E8B3479FEC9}"/>
                </a:ext>
              </a:extLst>
            </p:cNvPr>
            <p:cNvSpPr>
              <a:spLocks/>
            </p:cNvSpPr>
            <p:nvPr/>
          </p:nvSpPr>
          <p:spPr bwMode="gray">
            <a:xfrm>
              <a:off x="4085673" y="2758941"/>
              <a:ext cx="216427" cy="170474"/>
            </a:xfrm>
            <a:custGeom>
              <a:avLst/>
              <a:gdLst>
                <a:gd name="T0" fmla="*/ 2147483647 w 570"/>
                <a:gd name="T1" fmla="*/ 2147483647 h 450"/>
                <a:gd name="T2" fmla="*/ 2147483647 w 570"/>
                <a:gd name="T3" fmla="*/ 2147483647 h 450"/>
                <a:gd name="T4" fmla="*/ 2147483647 w 570"/>
                <a:gd name="T5" fmla="*/ 2147483647 h 450"/>
                <a:gd name="T6" fmla="*/ 2147483647 w 570"/>
                <a:gd name="T7" fmla="*/ 2147483647 h 450"/>
                <a:gd name="T8" fmla="*/ 2147483647 w 570"/>
                <a:gd name="T9" fmla="*/ 2147483647 h 450"/>
                <a:gd name="T10" fmla="*/ 2147483647 w 570"/>
                <a:gd name="T11" fmla="*/ 2147483647 h 450"/>
                <a:gd name="T12" fmla="*/ 2147483647 w 570"/>
                <a:gd name="T13" fmla="*/ 2147483647 h 450"/>
                <a:gd name="T14" fmla="*/ 2147483647 w 570"/>
                <a:gd name="T15" fmla="*/ 2147483647 h 450"/>
                <a:gd name="T16" fmla="*/ 2147483647 w 570"/>
                <a:gd name="T17" fmla="*/ 2147483647 h 450"/>
                <a:gd name="T18" fmla="*/ 2147483647 w 570"/>
                <a:gd name="T19" fmla="*/ 2147483647 h 450"/>
                <a:gd name="T20" fmla="*/ 2147483647 w 570"/>
                <a:gd name="T21" fmla="*/ 2147483647 h 450"/>
                <a:gd name="T22" fmla="*/ 2147483647 w 570"/>
                <a:gd name="T23" fmla="*/ 2147483647 h 450"/>
                <a:gd name="T24" fmla="*/ 2147483647 w 570"/>
                <a:gd name="T25" fmla="*/ 2147483647 h 450"/>
                <a:gd name="T26" fmla="*/ 2147483647 w 570"/>
                <a:gd name="T27" fmla="*/ 2147483647 h 450"/>
                <a:gd name="T28" fmla="*/ 2147483647 w 570"/>
                <a:gd name="T29" fmla="*/ 2147483647 h 450"/>
                <a:gd name="T30" fmla="*/ 2147483647 w 570"/>
                <a:gd name="T31" fmla="*/ 2147483647 h 450"/>
                <a:gd name="T32" fmla="*/ 2147483647 w 570"/>
                <a:gd name="T33" fmla="*/ 2147483647 h 450"/>
                <a:gd name="T34" fmla="*/ 2147483647 w 570"/>
                <a:gd name="T35" fmla="*/ 2147483647 h 450"/>
                <a:gd name="T36" fmla="*/ 2147483647 w 570"/>
                <a:gd name="T37" fmla="*/ 2147483647 h 450"/>
                <a:gd name="T38" fmla="*/ 2147483647 w 570"/>
                <a:gd name="T39" fmla="*/ 2147483647 h 450"/>
                <a:gd name="T40" fmla="*/ 2147483647 w 570"/>
                <a:gd name="T41" fmla="*/ 2147483647 h 450"/>
                <a:gd name="T42" fmla="*/ 2147483647 w 570"/>
                <a:gd name="T43" fmla="*/ 2147483647 h 450"/>
                <a:gd name="T44" fmla="*/ 2147483647 w 570"/>
                <a:gd name="T45" fmla="*/ 2147483647 h 450"/>
                <a:gd name="T46" fmla="*/ 2147483647 w 570"/>
                <a:gd name="T47" fmla="*/ 2147483647 h 450"/>
                <a:gd name="T48" fmla="*/ 2147483647 w 570"/>
                <a:gd name="T49" fmla="*/ 2147483647 h 450"/>
                <a:gd name="T50" fmla="*/ 2147483647 w 570"/>
                <a:gd name="T51" fmla="*/ 2147483647 h 450"/>
                <a:gd name="T52" fmla="*/ 2147483647 w 570"/>
                <a:gd name="T53" fmla="*/ 2147483647 h 450"/>
                <a:gd name="T54" fmla="*/ 2147483647 w 570"/>
                <a:gd name="T55" fmla="*/ 2147483647 h 450"/>
                <a:gd name="T56" fmla="*/ 2147483647 w 570"/>
                <a:gd name="T57" fmla="*/ 2147483647 h 450"/>
                <a:gd name="T58" fmla="*/ 2147483647 w 570"/>
                <a:gd name="T59" fmla="*/ 2147483647 h 450"/>
                <a:gd name="T60" fmla="*/ 2147483647 w 570"/>
                <a:gd name="T61" fmla="*/ 2147483647 h 450"/>
                <a:gd name="T62" fmla="*/ 2147483647 w 570"/>
                <a:gd name="T63" fmla="*/ 2147483647 h 450"/>
                <a:gd name="T64" fmla="*/ 2147483647 w 570"/>
                <a:gd name="T65" fmla="*/ 2147483647 h 450"/>
                <a:gd name="T66" fmla="*/ 2147483647 w 570"/>
                <a:gd name="T67" fmla="*/ 0 h 450"/>
                <a:gd name="T68" fmla="*/ 2147483647 w 570"/>
                <a:gd name="T69" fmla="*/ 2147483647 h 450"/>
                <a:gd name="T70" fmla="*/ 2147483647 w 570"/>
                <a:gd name="T71" fmla="*/ 2147483647 h 450"/>
                <a:gd name="T72" fmla="*/ 2147483647 w 570"/>
                <a:gd name="T73" fmla="*/ 2147483647 h 450"/>
                <a:gd name="T74" fmla="*/ 2147483647 w 570"/>
                <a:gd name="T75" fmla="*/ 2147483647 h 450"/>
                <a:gd name="T76" fmla="*/ 2147483647 w 570"/>
                <a:gd name="T77" fmla="*/ 2147483647 h 450"/>
                <a:gd name="T78" fmla="*/ 2147483647 w 570"/>
                <a:gd name="T79" fmla="*/ 2147483647 h 450"/>
                <a:gd name="T80" fmla="*/ 2147483647 w 570"/>
                <a:gd name="T81" fmla="*/ 2147483647 h 450"/>
                <a:gd name="T82" fmla="*/ 2147483647 w 570"/>
                <a:gd name="T83" fmla="*/ 2147483647 h 450"/>
                <a:gd name="T84" fmla="*/ 2147483647 w 570"/>
                <a:gd name="T85" fmla="*/ 2147483647 h 450"/>
                <a:gd name="T86" fmla="*/ 2147483647 w 570"/>
                <a:gd name="T87" fmla="*/ 2147483647 h 450"/>
                <a:gd name="T88" fmla="*/ 2147483647 w 570"/>
                <a:gd name="T89" fmla="*/ 2147483647 h 450"/>
                <a:gd name="T90" fmla="*/ 2147483647 w 570"/>
                <a:gd name="T91" fmla="*/ 2147483647 h 450"/>
                <a:gd name="T92" fmla="*/ 2147483647 w 570"/>
                <a:gd name="T93" fmla="*/ 2147483647 h 450"/>
                <a:gd name="T94" fmla="*/ 2147483647 w 570"/>
                <a:gd name="T95" fmla="*/ 2147483647 h 450"/>
                <a:gd name="T96" fmla="*/ 2147483647 w 570"/>
                <a:gd name="T97" fmla="*/ 2147483647 h 450"/>
                <a:gd name="T98" fmla="*/ 2147483647 w 570"/>
                <a:gd name="T99" fmla="*/ 2147483647 h 450"/>
                <a:gd name="T100" fmla="*/ 2147483647 w 570"/>
                <a:gd name="T101" fmla="*/ 2147483647 h 450"/>
                <a:gd name="T102" fmla="*/ 2147483647 w 570"/>
                <a:gd name="T103" fmla="*/ 2147483647 h 45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70"/>
                <a:gd name="T157" fmla="*/ 0 h 450"/>
                <a:gd name="T158" fmla="*/ 570 w 570"/>
                <a:gd name="T159" fmla="*/ 450 h 45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70" h="450">
                  <a:moveTo>
                    <a:pt x="0" y="312"/>
                  </a:moveTo>
                  <a:lnTo>
                    <a:pt x="6" y="366"/>
                  </a:lnTo>
                  <a:lnTo>
                    <a:pt x="6" y="390"/>
                  </a:lnTo>
                  <a:lnTo>
                    <a:pt x="30" y="384"/>
                  </a:lnTo>
                  <a:lnTo>
                    <a:pt x="30" y="390"/>
                  </a:lnTo>
                  <a:lnTo>
                    <a:pt x="36" y="396"/>
                  </a:lnTo>
                  <a:lnTo>
                    <a:pt x="36" y="408"/>
                  </a:lnTo>
                  <a:lnTo>
                    <a:pt x="42" y="420"/>
                  </a:lnTo>
                  <a:lnTo>
                    <a:pt x="54" y="426"/>
                  </a:lnTo>
                  <a:lnTo>
                    <a:pt x="60" y="432"/>
                  </a:lnTo>
                  <a:lnTo>
                    <a:pt x="72" y="432"/>
                  </a:lnTo>
                  <a:lnTo>
                    <a:pt x="78" y="438"/>
                  </a:lnTo>
                  <a:lnTo>
                    <a:pt x="90" y="438"/>
                  </a:lnTo>
                  <a:lnTo>
                    <a:pt x="96" y="432"/>
                  </a:lnTo>
                  <a:lnTo>
                    <a:pt x="96" y="426"/>
                  </a:lnTo>
                  <a:lnTo>
                    <a:pt x="120" y="414"/>
                  </a:lnTo>
                  <a:lnTo>
                    <a:pt x="150" y="414"/>
                  </a:lnTo>
                  <a:lnTo>
                    <a:pt x="168" y="420"/>
                  </a:lnTo>
                  <a:lnTo>
                    <a:pt x="186" y="438"/>
                  </a:lnTo>
                  <a:lnTo>
                    <a:pt x="186" y="450"/>
                  </a:lnTo>
                  <a:lnTo>
                    <a:pt x="204" y="444"/>
                  </a:lnTo>
                  <a:lnTo>
                    <a:pt x="198" y="450"/>
                  </a:lnTo>
                  <a:lnTo>
                    <a:pt x="198" y="396"/>
                  </a:lnTo>
                  <a:lnTo>
                    <a:pt x="192" y="366"/>
                  </a:lnTo>
                  <a:lnTo>
                    <a:pt x="186" y="366"/>
                  </a:lnTo>
                  <a:lnTo>
                    <a:pt x="186" y="348"/>
                  </a:lnTo>
                  <a:lnTo>
                    <a:pt x="192" y="336"/>
                  </a:lnTo>
                  <a:lnTo>
                    <a:pt x="198" y="330"/>
                  </a:lnTo>
                  <a:lnTo>
                    <a:pt x="354" y="330"/>
                  </a:lnTo>
                  <a:lnTo>
                    <a:pt x="378" y="318"/>
                  </a:lnTo>
                  <a:lnTo>
                    <a:pt x="396" y="324"/>
                  </a:lnTo>
                  <a:lnTo>
                    <a:pt x="414" y="324"/>
                  </a:lnTo>
                  <a:lnTo>
                    <a:pt x="438" y="330"/>
                  </a:lnTo>
                  <a:lnTo>
                    <a:pt x="456" y="330"/>
                  </a:lnTo>
                  <a:lnTo>
                    <a:pt x="462" y="318"/>
                  </a:lnTo>
                  <a:lnTo>
                    <a:pt x="474" y="318"/>
                  </a:lnTo>
                  <a:lnTo>
                    <a:pt x="480" y="306"/>
                  </a:lnTo>
                  <a:lnTo>
                    <a:pt x="498" y="288"/>
                  </a:lnTo>
                  <a:lnTo>
                    <a:pt x="528" y="288"/>
                  </a:lnTo>
                  <a:lnTo>
                    <a:pt x="534" y="294"/>
                  </a:lnTo>
                  <a:lnTo>
                    <a:pt x="534" y="282"/>
                  </a:lnTo>
                  <a:lnTo>
                    <a:pt x="540" y="282"/>
                  </a:lnTo>
                  <a:lnTo>
                    <a:pt x="546" y="276"/>
                  </a:lnTo>
                  <a:lnTo>
                    <a:pt x="558" y="276"/>
                  </a:lnTo>
                  <a:lnTo>
                    <a:pt x="564" y="258"/>
                  </a:lnTo>
                  <a:lnTo>
                    <a:pt x="570" y="252"/>
                  </a:lnTo>
                  <a:lnTo>
                    <a:pt x="564" y="252"/>
                  </a:lnTo>
                  <a:lnTo>
                    <a:pt x="540" y="216"/>
                  </a:lnTo>
                  <a:lnTo>
                    <a:pt x="564" y="210"/>
                  </a:lnTo>
                  <a:lnTo>
                    <a:pt x="558" y="198"/>
                  </a:lnTo>
                  <a:lnTo>
                    <a:pt x="546" y="186"/>
                  </a:lnTo>
                  <a:lnTo>
                    <a:pt x="534" y="186"/>
                  </a:lnTo>
                  <a:lnTo>
                    <a:pt x="522" y="198"/>
                  </a:lnTo>
                  <a:lnTo>
                    <a:pt x="504" y="198"/>
                  </a:lnTo>
                  <a:lnTo>
                    <a:pt x="498" y="186"/>
                  </a:lnTo>
                  <a:lnTo>
                    <a:pt x="486" y="180"/>
                  </a:lnTo>
                  <a:lnTo>
                    <a:pt x="462" y="156"/>
                  </a:lnTo>
                  <a:lnTo>
                    <a:pt x="462" y="150"/>
                  </a:lnTo>
                  <a:lnTo>
                    <a:pt x="480" y="132"/>
                  </a:lnTo>
                  <a:lnTo>
                    <a:pt x="468" y="132"/>
                  </a:lnTo>
                  <a:lnTo>
                    <a:pt x="468" y="114"/>
                  </a:lnTo>
                  <a:lnTo>
                    <a:pt x="444" y="114"/>
                  </a:lnTo>
                  <a:lnTo>
                    <a:pt x="432" y="108"/>
                  </a:lnTo>
                  <a:lnTo>
                    <a:pt x="420" y="84"/>
                  </a:lnTo>
                  <a:lnTo>
                    <a:pt x="420" y="60"/>
                  </a:lnTo>
                  <a:lnTo>
                    <a:pt x="414" y="48"/>
                  </a:lnTo>
                  <a:lnTo>
                    <a:pt x="414" y="12"/>
                  </a:lnTo>
                  <a:lnTo>
                    <a:pt x="390" y="0"/>
                  </a:lnTo>
                  <a:lnTo>
                    <a:pt x="342" y="0"/>
                  </a:lnTo>
                  <a:lnTo>
                    <a:pt x="324" y="18"/>
                  </a:lnTo>
                  <a:lnTo>
                    <a:pt x="300" y="18"/>
                  </a:lnTo>
                  <a:lnTo>
                    <a:pt x="282" y="42"/>
                  </a:lnTo>
                  <a:lnTo>
                    <a:pt x="258" y="42"/>
                  </a:lnTo>
                  <a:lnTo>
                    <a:pt x="258" y="60"/>
                  </a:lnTo>
                  <a:lnTo>
                    <a:pt x="252" y="66"/>
                  </a:lnTo>
                  <a:lnTo>
                    <a:pt x="252" y="72"/>
                  </a:lnTo>
                  <a:lnTo>
                    <a:pt x="240" y="72"/>
                  </a:lnTo>
                  <a:lnTo>
                    <a:pt x="228" y="60"/>
                  </a:lnTo>
                  <a:lnTo>
                    <a:pt x="222" y="60"/>
                  </a:lnTo>
                  <a:lnTo>
                    <a:pt x="216" y="66"/>
                  </a:lnTo>
                  <a:lnTo>
                    <a:pt x="210" y="78"/>
                  </a:lnTo>
                  <a:lnTo>
                    <a:pt x="198" y="84"/>
                  </a:lnTo>
                  <a:lnTo>
                    <a:pt x="192" y="96"/>
                  </a:lnTo>
                  <a:lnTo>
                    <a:pt x="186" y="102"/>
                  </a:lnTo>
                  <a:lnTo>
                    <a:pt x="186" y="108"/>
                  </a:lnTo>
                  <a:lnTo>
                    <a:pt x="168" y="108"/>
                  </a:lnTo>
                  <a:lnTo>
                    <a:pt x="168" y="144"/>
                  </a:lnTo>
                  <a:lnTo>
                    <a:pt x="144" y="150"/>
                  </a:lnTo>
                  <a:lnTo>
                    <a:pt x="114" y="120"/>
                  </a:lnTo>
                  <a:lnTo>
                    <a:pt x="96" y="150"/>
                  </a:lnTo>
                  <a:lnTo>
                    <a:pt x="102" y="156"/>
                  </a:lnTo>
                  <a:lnTo>
                    <a:pt x="102" y="186"/>
                  </a:lnTo>
                  <a:lnTo>
                    <a:pt x="84" y="186"/>
                  </a:lnTo>
                  <a:lnTo>
                    <a:pt x="84" y="216"/>
                  </a:lnTo>
                  <a:lnTo>
                    <a:pt x="78" y="222"/>
                  </a:lnTo>
                  <a:lnTo>
                    <a:pt x="72" y="222"/>
                  </a:lnTo>
                  <a:lnTo>
                    <a:pt x="78" y="228"/>
                  </a:lnTo>
                  <a:lnTo>
                    <a:pt x="78" y="240"/>
                  </a:lnTo>
                  <a:lnTo>
                    <a:pt x="42" y="240"/>
                  </a:lnTo>
                  <a:lnTo>
                    <a:pt x="36" y="246"/>
                  </a:lnTo>
                  <a:lnTo>
                    <a:pt x="30" y="246"/>
                  </a:lnTo>
                  <a:lnTo>
                    <a:pt x="12" y="258"/>
                  </a:lnTo>
                  <a:lnTo>
                    <a:pt x="36" y="288"/>
                  </a:lnTo>
                  <a:lnTo>
                    <a:pt x="24" y="312"/>
                  </a:lnTo>
                  <a:lnTo>
                    <a:pt x="0" y="312"/>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226" name="Bulgaria" descr="© INSCALE GmbH, 05.05.2010&#10;http://www.presentationload.com/">
              <a:extLst>
                <a:ext uri="{FF2B5EF4-FFF2-40B4-BE49-F238E27FC236}">
                  <a16:creationId xmlns:a16="http://schemas.microsoft.com/office/drawing/2014/main" id="{62A330DA-1EFB-61F9-0568-17A9E7430A01}"/>
                </a:ext>
              </a:extLst>
            </p:cNvPr>
            <p:cNvSpPr>
              <a:spLocks/>
            </p:cNvSpPr>
            <p:nvPr/>
          </p:nvSpPr>
          <p:spPr bwMode="gray">
            <a:xfrm>
              <a:off x="4807587" y="1870997"/>
              <a:ext cx="149720" cy="85978"/>
            </a:xfrm>
            <a:custGeom>
              <a:avLst/>
              <a:gdLst>
                <a:gd name="T0" fmla="*/ 2147483647 w 396"/>
                <a:gd name="T1" fmla="*/ 2147483647 h 228"/>
                <a:gd name="T2" fmla="*/ 2147483647 w 396"/>
                <a:gd name="T3" fmla="*/ 2147483647 h 228"/>
                <a:gd name="T4" fmla="*/ 2147483647 w 396"/>
                <a:gd name="T5" fmla="*/ 2147483647 h 228"/>
                <a:gd name="T6" fmla="*/ 2147483647 w 396"/>
                <a:gd name="T7" fmla="*/ 2147483647 h 228"/>
                <a:gd name="T8" fmla="*/ 2147483647 w 396"/>
                <a:gd name="T9" fmla="*/ 2147483647 h 228"/>
                <a:gd name="T10" fmla="*/ 2147483647 w 396"/>
                <a:gd name="T11" fmla="*/ 2147483647 h 228"/>
                <a:gd name="T12" fmla="*/ 2147483647 w 396"/>
                <a:gd name="T13" fmla="*/ 2147483647 h 228"/>
                <a:gd name="T14" fmla="*/ 2147483647 w 396"/>
                <a:gd name="T15" fmla="*/ 0 h 228"/>
                <a:gd name="T16" fmla="*/ 2147483647 w 396"/>
                <a:gd name="T17" fmla="*/ 2147483647 h 228"/>
                <a:gd name="T18" fmla="*/ 2147483647 w 396"/>
                <a:gd name="T19" fmla="*/ 2147483647 h 228"/>
                <a:gd name="T20" fmla="*/ 2147483647 w 396"/>
                <a:gd name="T21" fmla="*/ 2147483647 h 228"/>
                <a:gd name="T22" fmla="*/ 2147483647 w 396"/>
                <a:gd name="T23" fmla="*/ 2147483647 h 228"/>
                <a:gd name="T24" fmla="*/ 2147483647 w 396"/>
                <a:gd name="T25" fmla="*/ 2147483647 h 228"/>
                <a:gd name="T26" fmla="*/ 2147483647 w 396"/>
                <a:gd name="T27" fmla="*/ 2147483647 h 228"/>
                <a:gd name="T28" fmla="*/ 2147483647 w 396"/>
                <a:gd name="T29" fmla="*/ 2147483647 h 228"/>
                <a:gd name="T30" fmla="*/ 2147483647 w 396"/>
                <a:gd name="T31" fmla="*/ 2147483647 h 228"/>
                <a:gd name="T32" fmla="*/ 2147483647 w 396"/>
                <a:gd name="T33" fmla="*/ 2147483647 h 228"/>
                <a:gd name="T34" fmla="*/ 2147483647 w 396"/>
                <a:gd name="T35" fmla="*/ 2147483647 h 228"/>
                <a:gd name="T36" fmla="*/ 2147483647 w 396"/>
                <a:gd name="T37" fmla="*/ 2147483647 h 228"/>
                <a:gd name="T38" fmla="*/ 2147483647 w 396"/>
                <a:gd name="T39" fmla="*/ 2147483647 h 228"/>
                <a:gd name="T40" fmla="*/ 2147483647 w 396"/>
                <a:gd name="T41" fmla="*/ 2147483647 h 228"/>
                <a:gd name="T42" fmla="*/ 2147483647 w 396"/>
                <a:gd name="T43" fmla="*/ 0 h 228"/>
                <a:gd name="T44" fmla="*/ 0 w 396"/>
                <a:gd name="T45" fmla="*/ 2147483647 h 228"/>
                <a:gd name="T46" fmla="*/ 2147483647 w 396"/>
                <a:gd name="T47" fmla="*/ 2147483647 h 228"/>
                <a:gd name="T48" fmla="*/ 2147483647 w 396"/>
                <a:gd name="T49" fmla="*/ 2147483647 h 228"/>
                <a:gd name="T50" fmla="*/ 2147483647 w 396"/>
                <a:gd name="T51" fmla="*/ 2147483647 h 228"/>
                <a:gd name="T52" fmla="*/ 2147483647 w 396"/>
                <a:gd name="T53" fmla="*/ 2147483647 h 228"/>
                <a:gd name="T54" fmla="*/ 2147483647 w 396"/>
                <a:gd name="T55" fmla="*/ 2147483647 h 228"/>
                <a:gd name="T56" fmla="*/ 0 w 396"/>
                <a:gd name="T57" fmla="*/ 2147483647 h 228"/>
                <a:gd name="T58" fmla="*/ 2147483647 w 396"/>
                <a:gd name="T59" fmla="*/ 2147483647 h 228"/>
                <a:gd name="T60" fmla="*/ 2147483647 w 396"/>
                <a:gd name="T61" fmla="*/ 2147483647 h 228"/>
                <a:gd name="T62" fmla="*/ 2147483647 w 396"/>
                <a:gd name="T63" fmla="*/ 2147483647 h 228"/>
                <a:gd name="T64" fmla="*/ 2147483647 w 396"/>
                <a:gd name="T65" fmla="*/ 2147483647 h 228"/>
                <a:gd name="T66" fmla="*/ 2147483647 w 396"/>
                <a:gd name="T67" fmla="*/ 2147483647 h 228"/>
                <a:gd name="T68" fmla="*/ 2147483647 w 396"/>
                <a:gd name="T69" fmla="*/ 2147483647 h 228"/>
                <a:gd name="T70" fmla="*/ 2147483647 w 396"/>
                <a:gd name="T71" fmla="*/ 2147483647 h 228"/>
                <a:gd name="T72" fmla="*/ 2147483647 w 396"/>
                <a:gd name="T73" fmla="*/ 2147483647 h 228"/>
                <a:gd name="T74" fmla="*/ 2147483647 w 396"/>
                <a:gd name="T75" fmla="*/ 2147483647 h 228"/>
                <a:gd name="T76" fmla="*/ 2147483647 w 396"/>
                <a:gd name="T77" fmla="*/ 2147483647 h 228"/>
                <a:gd name="T78" fmla="*/ 2147483647 w 396"/>
                <a:gd name="T79" fmla="*/ 2147483647 h 228"/>
                <a:gd name="T80" fmla="*/ 2147483647 w 396"/>
                <a:gd name="T81" fmla="*/ 2147483647 h 228"/>
                <a:gd name="T82" fmla="*/ 2147483647 w 396"/>
                <a:gd name="T83" fmla="*/ 2147483647 h 228"/>
                <a:gd name="T84" fmla="*/ 2147483647 w 396"/>
                <a:gd name="T85" fmla="*/ 2147483647 h 228"/>
                <a:gd name="T86" fmla="*/ 2147483647 w 396"/>
                <a:gd name="T87" fmla="*/ 2147483647 h 228"/>
                <a:gd name="T88" fmla="*/ 2147483647 w 396"/>
                <a:gd name="T89" fmla="*/ 2147483647 h 228"/>
                <a:gd name="T90" fmla="*/ 2147483647 w 396"/>
                <a:gd name="T91" fmla="*/ 2147483647 h 228"/>
                <a:gd name="T92" fmla="*/ 2147483647 w 396"/>
                <a:gd name="T93" fmla="*/ 2147483647 h 22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96"/>
                <a:gd name="T142" fmla="*/ 0 h 228"/>
                <a:gd name="T143" fmla="*/ 396 w 396"/>
                <a:gd name="T144" fmla="*/ 228 h 22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96" h="228">
                  <a:moveTo>
                    <a:pt x="372" y="168"/>
                  </a:moveTo>
                  <a:lnTo>
                    <a:pt x="336" y="126"/>
                  </a:lnTo>
                  <a:lnTo>
                    <a:pt x="354" y="108"/>
                  </a:lnTo>
                  <a:lnTo>
                    <a:pt x="354" y="78"/>
                  </a:lnTo>
                  <a:lnTo>
                    <a:pt x="360" y="72"/>
                  </a:lnTo>
                  <a:lnTo>
                    <a:pt x="372" y="66"/>
                  </a:lnTo>
                  <a:lnTo>
                    <a:pt x="396" y="66"/>
                  </a:lnTo>
                  <a:lnTo>
                    <a:pt x="396" y="48"/>
                  </a:lnTo>
                  <a:lnTo>
                    <a:pt x="390" y="36"/>
                  </a:lnTo>
                  <a:lnTo>
                    <a:pt x="372" y="36"/>
                  </a:lnTo>
                  <a:lnTo>
                    <a:pt x="348" y="12"/>
                  </a:lnTo>
                  <a:lnTo>
                    <a:pt x="324" y="12"/>
                  </a:lnTo>
                  <a:lnTo>
                    <a:pt x="312" y="6"/>
                  </a:lnTo>
                  <a:lnTo>
                    <a:pt x="300" y="6"/>
                  </a:lnTo>
                  <a:lnTo>
                    <a:pt x="288" y="0"/>
                  </a:lnTo>
                  <a:lnTo>
                    <a:pt x="282" y="0"/>
                  </a:lnTo>
                  <a:lnTo>
                    <a:pt x="282" y="12"/>
                  </a:lnTo>
                  <a:lnTo>
                    <a:pt x="252" y="6"/>
                  </a:lnTo>
                  <a:lnTo>
                    <a:pt x="252" y="12"/>
                  </a:lnTo>
                  <a:lnTo>
                    <a:pt x="246" y="12"/>
                  </a:lnTo>
                  <a:lnTo>
                    <a:pt x="234" y="18"/>
                  </a:lnTo>
                  <a:lnTo>
                    <a:pt x="228" y="18"/>
                  </a:lnTo>
                  <a:lnTo>
                    <a:pt x="222" y="24"/>
                  </a:lnTo>
                  <a:lnTo>
                    <a:pt x="222" y="36"/>
                  </a:lnTo>
                  <a:lnTo>
                    <a:pt x="216" y="42"/>
                  </a:lnTo>
                  <a:lnTo>
                    <a:pt x="198" y="42"/>
                  </a:lnTo>
                  <a:lnTo>
                    <a:pt x="186" y="36"/>
                  </a:lnTo>
                  <a:lnTo>
                    <a:pt x="180" y="30"/>
                  </a:lnTo>
                  <a:lnTo>
                    <a:pt x="156" y="30"/>
                  </a:lnTo>
                  <a:lnTo>
                    <a:pt x="138" y="24"/>
                  </a:lnTo>
                  <a:lnTo>
                    <a:pt x="138" y="30"/>
                  </a:lnTo>
                  <a:lnTo>
                    <a:pt x="132" y="36"/>
                  </a:lnTo>
                  <a:lnTo>
                    <a:pt x="108" y="36"/>
                  </a:lnTo>
                  <a:lnTo>
                    <a:pt x="102" y="30"/>
                  </a:lnTo>
                  <a:lnTo>
                    <a:pt x="90" y="30"/>
                  </a:lnTo>
                  <a:lnTo>
                    <a:pt x="66" y="18"/>
                  </a:lnTo>
                  <a:lnTo>
                    <a:pt x="54" y="30"/>
                  </a:lnTo>
                  <a:lnTo>
                    <a:pt x="36" y="30"/>
                  </a:lnTo>
                  <a:lnTo>
                    <a:pt x="30" y="24"/>
                  </a:lnTo>
                  <a:lnTo>
                    <a:pt x="36" y="18"/>
                  </a:lnTo>
                  <a:lnTo>
                    <a:pt x="36" y="12"/>
                  </a:lnTo>
                  <a:lnTo>
                    <a:pt x="42" y="6"/>
                  </a:lnTo>
                  <a:lnTo>
                    <a:pt x="36" y="0"/>
                  </a:lnTo>
                  <a:lnTo>
                    <a:pt x="12" y="0"/>
                  </a:lnTo>
                  <a:lnTo>
                    <a:pt x="12" y="12"/>
                  </a:lnTo>
                  <a:lnTo>
                    <a:pt x="0" y="24"/>
                  </a:lnTo>
                  <a:lnTo>
                    <a:pt x="0" y="42"/>
                  </a:lnTo>
                  <a:lnTo>
                    <a:pt x="18" y="48"/>
                  </a:lnTo>
                  <a:lnTo>
                    <a:pt x="12" y="60"/>
                  </a:lnTo>
                  <a:lnTo>
                    <a:pt x="30" y="66"/>
                  </a:lnTo>
                  <a:lnTo>
                    <a:pt x="36" y="72"/>
                  </a:lnTo>
                  <a:lnTo>
                    <a:pt x="36" y="96"/>
                  </a:lnTo>
                  <a:lnTo>
                    <a:pt x="30" y="102"/>
                  </a:lnTo>
                  <a:lnTo>
                    <a:pt x="6" y="102"/>
                  </a:lnTo>
                  <a:lnTo>
                    <a:pt x="6" y="108"/>
                  </a:lnTo>
                  <a:lnTo>
                    <a:pt x="12" y="114"/>
                  </a:lnTo>
                  <a:lnTo>
                    <a:pt x="12" y="138"/>
                  </a:lnTo>
                  <a:lnTo>
                    <a:pt x="0" y="138"/>
                  </a:lnTo>
                  <a:lnTo>
                    <a:pt x="12" y="156"/>
                  </a:lnTo>
                  <a:lnTo>
                    <a:pt x="18" y="156"/>
                  </a:lnTo>
                  <a:lnTo>
                    <a:pt x="18" y="168"/>
                  </a:lnTo>
                  <a:lnTo>
                    <a:pt x="36" y="180"/>
                  </a:lnTo>
                  <a:lnTo>
                    <a:pt x="42" y="186"/>
                  </a:lnTo>
                  <a:lnTo>
                    <a:pt x="48" y="198"/>
                  </a:lnTo>
                  <a:lnTo>
                    <a:pt x="48" y="210"/>
                  </a:lnTo>
                  <a:lnTo>
                    <a:pt x="42" y="222"/>
                  </a:lnTo>
                  <a:lnTo>
                    <a:pt x="48" y="222"/>
                  </a:lnTo>
                  <a:lnTo>
                    <a:pt x="54" y="228"/>
                  </a:lnTo>
                  <a:lnTo>
                    <a:pt x="66" y="228"/>
                  </a:lnTo>
                  <a:lnTo>
                    <a:pt x="78" y="222"/>
                  </a:lnTo>
                  <a:lnTo>
                    <a:pt x="84" y="216"/>
                  </a:lnTo>
                  <a:lnTo>
                    <a:pt x="108" y="222"/>
                  </a:lnTo>
                  <a:lnTo>
                    <a:pt x="114" y="204"/>
                  </a:lnTo>
                  <a:lnTo>
                    <a:pt x="144" y="198"/>
                  </a:lnTo>
                  <a:lnTo>
                    <a:pt x="144" y="204"/>
                  </a:lnTo>
                  <a:lnTo>
                    <a:pt x="162" y="222"/>
                  </a:lnTo>
                  <a:lnTo>
                    <a:pt x="174" y="222"/>
                  </a:lnTo>
                  <a:lnTo>
                    <a:pt x="180" y="216"/>
                  </a:lnTo>
                  <a:lnTo>
                    <a:pt x="192" y="228"/>
                  </a:lnTo>
                  <a:lnTo>
                    <a:pt x="204" y="228"/>
                  </a:lnTo>
                  <a:lnTo>
                    <a:pt x="216" y="216"/>
                  </a:lnTo>
                  <a:lnTo>
                    <a:pt x="228" y="228"/>
                  </a:lnTo>
                  <a:lnTo>
                    <a:pt x="246" y="228"/>
                  </a:lnTo>
                  <a:lnTo>
                    <a:pt x="252" y="222"/>
                  </a:lnTo>
                  <a:lnTo>
                    <a:pt x="252" y="204"/>
                  </a:lnTo>
                  <a:lnTo>
                    <a:pt x="246" y="198"/>
                  </a:lnTo>
                  <a:lnTo>
                    <a:pt x="264" y="192"/>
                  </a:lnTo>
                  <a:lnTo>
                    <a:pt x="282" y="168"/>
                  </a:lnTo>
                  <a:lnTo>
                    <a:pt x="312" y="174"/>
                  </a:lnTo>
                  <a:lnTo>
                    <a:pt x="324" y="156"/>
                  </a:lnTo>
                  <a:lnTo>
                    <a:pt x="336" y="174"/>
                  </a:lnTo>
                  <a:lnTo>
                    <a:pt x="348" y="174"/>
                  </a:lnTo>
                  <a:lnTo>
                    <a:pt x="360" y="180"/>
                  </a:lnTo>
                  <a:lnTo>
                    <a:pt x="372" y="180"/>
                  </a:lnTo>
                  <a:lnTo>
                    <a:pt x="372" y="168"/>
                  </a:lnTo>
                  <a:close/>
                </a:path>
              </a:pathLst>
            </a:custGeom>
            <a:grp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227" name="Brazil" descr="© INSCALE GmbH, 05.05.2010&#10;http://www.presentationload.com/">
              <a:extLst>
                <a:ext uri="{FF2B5EF4-FFF2-40B4-BE49-F238E27FC236}">
                  <a16:creationId xmlns:a16="http://schemas.microsoft.com/office/drawing/2014/main" id="{A795D7A9-F3FC-607C-B16D-BF52D56ABAAE}"/>
                </a:ext>
              </a:extLst>
            </p:cNvPr>
            <p:cNvSpPr>
              <a:spLocks noEditPoints="1"/>
            </p:cNvSpPr>
            <p:nvPr/>
          </p:nvSpPr>
          <p:spPr bwMode="gray">
            <a:xfrm>
              <a:off x="2243083" y="3056900"/>
              <a:ext cx="1055450" cy="1193315"/>
            </a:xfrm>
            <a:custGeom>
              <a:avLst/>
              <a:gdLst>
                <a:gd name="T0" fmla="*/ 2147483647 w 2784"/>
                <a:gd name="T1" fmla="*/ 2147483647 h 3150"/>
                <a:gd name="T2" fmla="*/ 2147483647 w 2784"/>
                <a:gd name="T3" fmla="*/ 2147483647 h 3150"/>
                <a:gd name="T4" fmla="*/ 2147483647 w 2784"/>
                <a:gd name="T5" fmla="*/ 2147483647 h 3150"/>
                <a:gd name="T6" fmla="*/ 2147483647 w 2784"/>
                <a:gd name="T7" fmla="*/ 2147483647 h 3150"/>
                <a:gd name="T8" fmla="*/ 2147483647 w 2784"/>
                <a:gd name="T9" fmla="*/ 2147483647 h 3150"/>
                <a:gd name="T10" fmla="*/ 2147483647 w 2784"/>
                <a:gd name="T11" fmla="*/ 2147483647 h 3150"/>
                <a:gd name="T12" fmla="*/ 2147483647 w 2784"/>
                <a:gd name="T13" fmla="*/ 2147483647 h 3150"/>
                <a:gd name="T14" fmla="*/ 2147483647 w 2784"/>
                <a:gd name="T15" fmla="*/ 2147483647 h 3150"/>
                <a:gd name="T16" fmla="*/ 2147483647 w 2784"/>
                <a:gd name="T17" fmla="*/ 2147483647 h 3150"/>
                <a:gd name="T18" fmla="*/ 2147483647 w 2784"/>
                <a:gd name="T19" fmla="*/ 2147483647 h 3150"/>
                <a:gd name="T20" fmla="*/ 2147483647 w 2784"/>
                <a:gd name="T21" fmla="*/ 2147483647 h 3150"/>
                <a:gd name="T22" fmla="*/ 2147483647 w 2784"/>
                <a:gd name="T23" fmla="*/ 2147483647 h 3150"/>
                <a:gd name="T24" fmla="*/ 2147483647 w 2784"/>
                <a:gd name="T25" fmla="*/ 2147483647 h 3150"/>
                <a:gd name="T26" fmla="*/ 2147483647 w 2784"/>
                <a:gd name="T27" fmla="*/ 2147483647 h 3150"/>
                <a:gd name="T28" fmla="*/ 2147483647 w 2784"/>
                <a:gd name="T29" fmla="*/ 2147483647 h 3150"/>
                <a:gd name="T30" fmla="*/ 2147483647 w 2784"/>
                <a:gd name="T31" fmla="*/ 2147483647 h 3150"/>
                <a:gd name="T32" fmla="*/ 2147483647 w 2784"/>
                <a:gd name="T33" fmla="*/ 2147483647 h 3150"/>
                <a:gd name="T34" fmla="*/ 2147483647 w 2784"/>
                <a:gd name="T35" fmla="*/ 2147483647 h 3150"/>
                <a:gd name="T36" fmla="*/ 2147483647 w 2784"/>
                <a:gd name="T37" fmla="*/ 2147483647 h 3150"/>
                <a:gd name="T38" fmla="*/ 2147483647 w 2784"/>
                <a:gd name="T39" fmla="*/ 2147483647 h 3150"/>
                <a:gd name="T40" fmla="*/ 2147483647 w 2784"/>
                <a:gd name="T41" fmla="*/ 2147483647 h 3150"/>
                <a:gd name="T42" fmla="*/ 2147483647 w 2784"/>
                <a:gd name="T43" fmla="*/ 2147483647 h 3150"/>
                <a:gd name="T44" fmla="*/ 2147483647 w 2784"/>
                <a:gd name="T45" fmla="*/ 2147483647 h 3150"/>
                <a:gd name="T46" fmla="*/ 2147483647 w 2784"/>
                <a:gd name="T47" fmla="*/ 2147483647 h 3150"/>
                <a:gd name="T48" fmla="*/ 2147483647 w 2784"/>
                <a:gd name="T49" fmla="*/ 2147483647 h 3150"/>
                <a:gd name="T50" fmla="*/ 2147483647 w 2784"/>
                <a:gd name="T51" fmla="*/ 2147483647 h 3150"/>
                <a:gd name="T52" fmla="*/ 2147483647 w 2784"/>
                <a:gd name="T53" fmla="*/ 2147483647 h 3150"/>
                <a:gd name="T54" fmla="*/ 2147483647 w 2784"/>
                <a:gd name="T55" fmla="*/ 2147483647 h 3150"/>
                <a:gd name="T56" fmla="*/ 2147483647 w 2784"/>
                <a:gd name="T57" fmla="*/ 2147483647 h 3150"/>
                <a:gd name="T58" fmla="*/ 2147483647 w 2784"/>
                <a:gd name="T59" fmla="*/ 2147483647 h 3150"/>
                <a:gd name="T60" fmla="*/ 2147483647 w 2784"/>
                <a:gd name="T61" fmla="*/ 2147483647 h 3150"/>
                <a:gd name="T62" fmla="*/ 2147483647 w 2784"/>
                <a:gd name="T63" fmla="*/ 2147483647 h 3150"/>
                <a:gd name="T64" fmla="*/ 2147483647 w 2784"/>
                <a:gd name="T65" fmla="*/ 2147483647 h 3150"/>
                <a:gd name="T66" fmla="*/ 2147483647 w 2784"/>
                <a:gd name="T67" fmla="*/ 2147483647 h 3150"/>
                <a:gd name="T68" fmla="*/ 2147483647 w 2784"/>
                <a:gd name="T69" fmla="*/ 2147483647 h 3150"/>
                <a:gd name="T70" fmla="*/ 2147483647 w 2784"/>
                <a:gd name="T71" fmla="*/ 2147483647 h 3150"/>
                <a:gd name="T72" fmla="*/ 2147483647 w 2784"/>
                <a:gd name="T73" fmla="*/ 2147483647 h 3150"/>
                <a:gd name="T74" fmla="*/ 2147483647 w 2784"/>
                <a:gd name="T75" fmla="*/ 2147483647 h 3150"/>
                <a:gd name="T76" fmla="*/ 2147483647 w 2784"/>
                <a:gd name="T77" fmla="*/ 2147483647 h 3150"/>
                <a:gd name="T78" fmla="*/ 2147483647 w 2784"/>
                <a:gd name="T79" fmla="*/ 2147483647 h 3150"/>
                <a:gd name="T80" fmla="*/ 2147483647 w 2784"/>
                <a:gd name="T81" fmla="*/ 2147483647 h 3150"/>
                <a:gd name="T82" fmla="*/ 2147483647 w 2784"/>
                <a:gd name="T83" fmla="*/ 2147483647 h 3150"/>
                <a:gd name="T84" fmla="*/ 2147483647 w 2784"/>
                <a:gd name="T85" fmla="*/ 2147483647 h 3150"/>
                <a:gd name="T86" fmla="*/ 2147483647 w 2784"/>
                <a:gd name="T87" fmla="*/ 2147483647 h 3150"/>
                <a:gd name="T88" fmla="*/ 2147483647 w 2784"/>
                <a:gd name="T89" fmla="*/ 2147483647 h 3150"/>
                <a:gd name="T90" fmla="*/ 2147483647 w 2784"/>
                <a:gd name="T91" fmla="*/ 2147483647 h 3150"/>
                <a:gd name="T92" fmla="*/ 2147483647 w 2784"/>
                <a:gd name="T93" fmla="*/ 2147483647 h 3150"/>
                <a:gd name="T94" fmla="*/ 2147483647 w 2784"/>
                <a:gd name="T95" fmla="*/ 2147483647 h 3150"/>
                <a:gd name="T96" fmla="*/ 2147483647 w 2784"/>
                <a:gd name="T97" fmla="*/ 2147483647 h 3150"/>
                <a:gd name="T98" fmla="*/ 2147483647 w 2784"/>
                <a:gd name="T99" fmla="*/ 2147483647 h 3150"/>
                <a:gd name="T100" fmla="*/ 2147483647 w 2784"/>
                <a:gd name="T101" fmla="*/ 2147483647 h 3150"/>
                <a:gd name="T102" fmla="*/ 2147483647 w 2784"/>
                <a:gd name="T103" fmla="*/ 2147483647 h 3150"/>
                <a:gd name="T104" fmla="*/ 2147483647 w 2784"/>
                <a:gd name="T105" fmla="*/ 2147483647 h 3150"/>
                <a:gd name="T106" fmla="*/ 2147483647 w 2784"/>
                <a:gd name="T107" fmla="*/ 2147483647 h 3150"/>
                <a:gd name="T108" fmla="*/ 2147483647 w 2784"/>
                <a:gd name="T109" fmla="*/ 2147483647 h 3150"/>
                <a:gd name="T110" fmla="*/ 2147483647 w 2784"/>
                <a:gd name="T111" fmla="*/ 2147483647 h 3150"/>
                <a:gd name="T112" fmla="*/ 2147483647 w 2784"/>
                <a:gd name="T113" fmla="*/ 2147483647 h 3150"/>
                <a:gd name="T114" fmla="*/ 2147483647 w 2784"/>
                <a:gd name="T115" fmla="*/ 2147483647 h 3150"/>
                <a:gd name="T116" fmla="*/ 2147483647 w 2784"/>
                <a:gd name="T117" fmla="*/ 2147483647 h 3150"/>
                <a:gd name="T118" fmla="*/ 2147483647 w 2784"/>
                <a:gd name="T119" fmla="*/ 2147483647 h 31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784"/>
                <a:gd name="T181" fmla="*/ 0 h 3150"/>
                <a:gd name="T182" fmla="*/ 2784 w 2784"/>
                <a:gd name="T183" fmla="*/ 3150 h 315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784" h="3150">
                  <a:moveTo>
                    <a:pt x="1716" y="450"/>
                  </a:moveTo>
                  <a:lnTo>
                    <a:pt x="1710" y="450"/>
                  </a:lnTo>
                  <a:lnTo>
                    <a:pt x="1698" y="444"/>
                  </a:lnTo>
                  <a:lnTo>
                    <a:pt x="1680" y="444"/>
                  </a:lnTo>
                  <a:lnTo>
                    <a:pt x="1662" y="438"/>
                  </a:lnTo>
                  <a:lnTo>
                    <a:pt x="1650" y="438"/>
                  </a:lnTo>
                  <a:lnTo>
                    <a:pt x="1644" y="444"/>
                  </a:lnTo>
                  <a:lnTo>
                    <a:pt x="1644" y="450"/>
                  </a:lnTo>
                  <a:lnTo>
                    <a:pt x="1650" y="462"/>
                  </a:lnTo>
                  <a:lnTo>
                    <a:pt x="1650" y="468"/>
                  </a:lnTo>
                  <a:lnTo>
                    <a:pt x="1656" y="480"/>
                  </a:lnTo>
                  <a:lnTo>
                    <a:pt x="1638" y="480"/>
                  </a:lnTo>
                  <a:lnTo>
                    <a:pt x="1638" y="504"/>
                  </a:lnTo>
                  <a:lnTo>
                    <a:pt x="1656" y="516"/>
                  </a:lnTo>
                  <a:lnTo>
                    <a:pt x="1644" y="528"/>
                  </a:lnTo>
                  <a:lnTo>
                    <a:pt x="1644" y="540"/>
                  </a:lnTo>
                  <a:lnTo>
                    <a:pt x="1656" y="564"/>
                  </a:lnTo>
                  <a:lnTo>
                    <a:pt x="1668" y="570"/>
                  </a:lnTo>
                  <a:lnTo>
                    <a:pt x="1674" y="576"/>
                  </a:lnTo>
                  <a:lnTo>
                    <a:pt x="1686" y="576"/>
                  </a:lnTo>
                  <a:lnTo>
                    <a:pt x="1698" y="570"/>
                  </a:lnTo>
                  <a:lnTo>
                    <a:pt x="1710" y="570"/>
                  </a:lnTo>
                  <a:lnTo>
                    <a:pt x="1716" y="564"/>
                  </a:lnTo>
                  <a:lnTo>
                    <a:pt x="1716" y="558"/>
                  </a:lnTo>
                  <a:lnTo>
                    <a:pt x="1728" y="558"/>
                  </a:lnTo>
                  <a:lnTo>
                    <a:pt x="1740" y="552"/>
                  </a:lnTo>
                  <a:lnTo>
                    <a:pt x="1758" y="552"/>
                  </a:lnTo>
                  <a:lnTo>
                    <a:pt x="1770" y="546"/>
                  </a:lnTo>
                  <a:lnTo>
                    <a:pt x="1776" y="534"/>
                  </a:lnTo>
                  <a:lnTo>
                    <a:pt x="1788" y="492"/>
                  </a:lnTo>
                  <a:lnTo>
                    <a:pt x="1794" y="480"/>
                  </a:lnTo>
                  <a:lnTo>
                    <a:pt x="1794" y="474"/>
                  </a:lnTo>
                  <a:lnTo>
                    <a:pt x="1800" y="462"/>
                  </a:lnTo>
                  <a:lnTo>
                    <a:pt x="1800" y="444"/>
                  </a:lnTo>
                  <a:lnTo>
                    <a:pt x="1794" y="438"/>
                  </a:lnTo>
                  <a:lnTo>
                    <a:pt x="1752" y="438"/>
                  </a:lnTo>
                  <a:lnTo>
                    <a:pt x="1740" y="444"/>
                  </a:lnTo>
                  <a:lnTo>
                    <a:pt x="1734" y="444"/>
                  </a:lnTo>
                  <a:lnTo>
                    <a:pt x="1722" y="450"/>
                  </a:lnTo>
                  <a:lnTo>
                    <a:pt x="1716" y="450"/>
                  </a:lnTo>
                  <a:close/>
                  <a:moveTo>
                    <a:pt x="1716" y="438"/>
                  </a:moveTo>
                  <a:lnTo>
                    <a:pt x="1740" y="432"/>
                  </a:lnTo>
                  <a:lnTo>
                    <a:pt x="1722" y="414"/>
                  </a:lnTo>
                  <a:lnTo>
                    <a:pt x="1698" y="438"/>
                  </a:lnTo>
                  <a:lnTo>
                    <a:pt x="1716" y="438"/>
                  </a:lnTo>
                  <a:close/>
                  <a:moveTo>
                    <a:pt x="1686" y="408"/>
                  </a:moveTo>
                  <a:lnTo>
                    <a:pt x="1662" y="408"/>
                  </a:lnTo>
                  <a:lnTo>
                    <a:pt x="1662" y="426"/>
                  </a:lnTo>
                  <a:lnTo>
                    <a:pt x="1698" y="426"/>
                  </a:lnTo>
                  <a:lnTo>
                    <a:pt x="1716" y="402"/>
                  </a:lnTo>
                  <a:lnTo>
                    <a:pt x="1698" y="384"/>
                  </a:lnTo>
                  <a:lnTo>
                    <a:pt x="1686" y="408"/>
                  </a:lnTo>
                  <a:close/>
                  <a:moveTo>
                    <a:pt x="1572" y="492"/>
                  </a:moveTo>
                  <a:lnTo>
                    <a:pt x="1572" y="510"/>
                  </a:lnTo>
                  <a:lnTo>
                    <a:pt x="1554" y="546"/>
                  </a:lnTo>
                  <a:lnTo>
                    <a:pt x="1584" y="528"/>
                  </a:lnTo>
                  <a:lnTo>
                    <a:pt x="1590" y="516"/>
                  </a:lnTo>
                  <a:lnTo>
                    <a:pt x="1596" y="510"/>
                  </a:lnTo>
                  <a:lnTo>
                    <a:pt x="1608" y="486"/>
                  </a:lnTo>
                  <a:lnTo>
                    <a:pt x="1608" y="480"/>
                  </a:lnTo>
                  <a:lnTo>
                    <a:pt x="1602" y="474"/>
                  </a:lnTo>
                  <a:lnTo>
                    <a:pt x="1596" y="474"/>
                  </a:lnTo>
                  <a:lnTo>
                    <a:pt x="1584" y="480"/>
                  </a:lnTo>
                  <a:lnTo>
                    <a:pt x="1572" y="492"/>
                  </a:lnTo>
                  <a:close/>
                  <a:moveTo>
                    <a:pt x="1632" y="426"/>
                  </a:moveTo>
                  <a:lnTo>
                    <a:pt x="1608" y="450"/>
                  </a:lnTo>
                  <a:lnTo>
                    <a:pt x="1626" y="456"/>
                  </a:lnTo>
                  <a:lnTo>
                    <a:pt x="1644" y="432"/>
                  </a:lnTo>
                  <a:lnTo>
                    <a:pt x="1632" y="426"/>
                  </a:lnTo>
                  <a:close/>
                  <a:moveTo>
                    <a:pt x="2778" y="1002"/>
                  </a:moveTo>
                  <a:lnTo>
                    <a:pt x="2778" y="984"/>
                  </a:lnTo>
                  <a:lnTo>
                    <a:pt x="2772" y="972"/>
                  </a:lnTo>
                  <a:lnTo>
                    <a:pt x="2760" y="954"/>
                  </a:lnTo>
                  <a:lnTo>
                    <a:pt x="2754" y="936"/>
                  </a:lnTo>
                  <a:lnTo>
                    <a:pt x="2754" y="870"/>
                  </a:lnTo>
                  <a:lnTo>
                    <a:pt x="2724" y="840"/>
                  </a:lnTo>
                  <a:lnTo>
                    <a:pt x="2694" y="834"/>
                  </a:lnTo>
                  <a:lnTo>
                    <a:pt x="2646" y="840"/>
                  </a:lnTo>
                  <a:lnTo>
                    <a:pt x="2628" y="822"/>
                  </a:lnTo>
                  <a:lnTo>
                    <a:pt x="2610" y="822"/>
                  </a:lnTo>
                  <a:lnTo>
                    <a:pt x="2592" y="798"/>
                  </a:lnTo>
                  <a:lnTo>
                    <a:pt x="2568" y="798"/>
                  </a:lnTo>
                  <a:lnTo>
                    <a:pt x="2538" y="768"/>
                  </a:lnTo>
                  <a:lnTo>
                    <a:pt x="2526" y="750"/>
                  </a:lnTo>
                  <a:lnTo>
                    <a:pt x="2490" y="714"/>
                  </a:lnTo>
                  <a:lnTo>
                    <a:pt x="2418" y="666"/>
                  </a:lnTo>
                  <a:lnTo>
                    <a:pt x="2394" y="660"/>
                  </a:lnTo>
                  <a:lnTo>
                    <a:pt x="2316" y="660"/>
                  </a:lnTo>
                  <a:lnTo>
                    <a:pt x="2316" y="672"/>
                  </a:lnTo>
                  <a:lnTo>
                    <a:pt x="2310" y="672"/>
                  </a:lnTo>
                  <a:lnTo>
                    <a:pt x="2298" y="660"/>
                  </a:lnTo>
                  <a:lnTo>
                    <a:pt x="2286" y="654"/>
                  </a:lnTo>
                  <a:lnTo>
                    <a:pt x="2274" y="654"/>
                  </a:lnTo>
                  <a:lnTo>
                    <a:pt x="2262" y="648"/>
                  </a:lnTo>
                  <a:lnTo>
                    <a:pt x="2232" y="648"/>
                  </a:lnTo>
                  <a:lnTo>
                    <a:pt x="2226" y="642"/>
                  </a:lnTo>
                  <a:lnTo>
                    <a:pt x="2214" y="636"/>
                  </a:lnTo>
                  <a:lnTo>
                    <a:pt x="2196" y="630"/>
                  </a:lnTo>
                  <a:lnTo>
                    <a:pt x="2184" y="624"/>
                  </a:lnTo>
                  <a:lnTo>
                    <a:pt x="2166" y="618"/>
                  </a:lnTo>
                  <a:lnTo>
                    <a:pt x="2154" y="618"/>
                  </a:lnTo>
                  <a:lnTo>
                    <a:pt x="2142" y="624"/>
                  </a:lnTo>
                  <a:lnTo>
                    <a:pt x="2112" y="654"/>
                  </a:lnTo>
                  <a:lnTo>
                    <a:pt x="2106" y="666"/>
                  </a:lnTo>
                  <a:lnTo>
                    <a:pt x="2088" y="642"/>
                  </a:lnTo>
                  <a:lnTo>
                    <a:pt x="2088" y="678"/>
                  </a:lnTo>
                  <a:lnTo>
                    <a:pt x="2058" y="702"/>
                  </a:lnTo>
                  <a:lnTo>
                    <a:pt x="2076" y="636"/>
                  </a:lnTo>
                  <a:lnTo>
                    <a:pt x="2082" y="636"/>
                  </a:lnTo>
                  <a:lnTo>
                    <a:pt x="2094" y="624"/>
                  </a:lnTo>
                  <a:lnTo>
                    <a:pt x="2094" y="606"/>
                  </a:lnTo>
                  <a:lnTo>
                    <a:pt x="2088" y="600"/>
                  </a:lnTo>
                  <a:lnTo>
                    <a:pt x="2082" y="600"/>
                  </a:lnTo>
                  <a:lnTo>
                    <a:pt x="2064" y="618"/>
                  </a:lnTo>
                  <a:lnTo>
                    <a:pt x="2076" y="582"/>
                  </a:lnTo>
                  <a:lnTo>
                    <a:pt x="2070" y="582"/>
                  </a:lnTo>
                  <a:lnTo>
                    <a:pt x="2064" y="576"/>
                  </a:lnTo>
                  <a:lnTo>
                    <a:pt x="2064" y="570"/>
                  </a:lnTo>
                  <a:lnTo>
                    <a:pt x="2040" y="546"/>
                  </a:lnTo>
                  <a:lnTo>
                    <a:pt x="2034" y="546"/>
                  </a:lnTo>
                  <a:lnTo>
                    <a:pt x="2022" y="564"/>
                  </a:lnTo>
                  <a:lnTo>
                    <a:pt x="2016" y="552"/>
                  </a:lnTo>
                  <a:lnTo>
                    <a:pt x="2004" y="546"/>
                  </a:lnTo>
                  <a:lnTo>
                    <a:pt x="1998" y="534"/>
                  </a:lnTo>
                  <a:lnTo>
                    <a:pt x="1986" y="528"/>
                  </a:lnTo>
                  <a:lnTo>
                    <a:pt x="1980" y="522"/>
                  </a:lnTo>
                  <a:lnTo>
                    <a:pt x="1968" y="516"/>
                  </a:lnTo>
                  <a:lnTo>
                    <a:pt x="1944" y="516"/>
                  </a:lnTo>
                  <a:lnTo>
                    <a:pt x="1932" y="510"/>
                  </a:lnTo>
                  <a:lnTo>
                    <a:pt x="1926" y="510"/>
                  </a:lnTo>
                  <a:lnTo>
                    <a:pt x="1914" y="498"/>
                  </a:lnTo>
                  <a:lnTo>
                    <a:pt x="1902" y="492"/>
                  </a:lnTo>
                  <a:lnTo>
                    <a:pt x="1896" y="480"/>
                  </a:lnTo>
                  <a:lnTo>
                    <a:pt x="1884" y="474"/>
                  </a:lnTo>
                  <a:lnTo>
                    <a:pt x="1878" y="486"/>
                  </a:lnTo>
                  <a:lnTo>
                    <a:pt x="1824" y="486"/>
                  </a:lnTo>
                  <a:lnTo>
                    <a:pt x="1812" y="498"/>
                  </a:lnTo>
                  <a:lnTo>
                    <a:pt x="1806" y="510"/>
                  </a:lnTo>
                  <a:lnTo>
                    <a:pt x="1806" y="522"/>
                  </a:lnTo>
                  <a:lnTo>
                    <a:pt x="1800" y="528"/>
                  </a:lnTo>
                  <a:lnTo>
                    <a:pt x="1800" y="534"/>
                  </a:lnTo>
                  <a:lnTo>
                    <a:pt x="1812" y="552"/>
                  </a:lnTo>
                  <a:lnTo>
                    <a:pt x="1776" y="552"/>
                  </a:lnTo>
                  <a:lnTo>
                    <a:pt x="1770" y="564"/>
                  </a:lnTo>
                  <a:lnTo>
                    <a:pt x="1758" y="576"/>
                  </a:lnTo>
                  <a:lnTo>
                    <a:pt x="1752" y="588"/>
                  </a:lnTo>
                  <a:lnTo>
                    <a:pt x="1752" y="594"/>
                  </a:lnTo>
                  <a:lnTo>
                    <a:pt x="1746" y="600"/>
                  </a:lnTo>
                  <a:lnTo>
                    <a:pt x="1746" y="612"/>
                  </a:lnTo>
                  <a:lnTo>
                    <a:pt x="1740" y="624"/>
                  </a:lnTo>
                  <a:lnTo>
                    <a:pt x="1728" y="636"/>
                  </a:lnTo>
                  <a:lnTo>
                    <a:pt x="1722" y="636"/>
                  </a:lnTo>
                  <a:lnTo>
                    <a:pt x="1728" y="630"/>
                  </a:lnTo>
                  <a:lnTo>
                    <a:pt x="1728" y="618"/>
                  </a:lnTo>
                  <a:lnTo>
                    <a:pt x="1734" y="606"/>
                  </a:lnTo>
                  <a:lnTo>
                    <a:pt x="1734" y="600"/>
                  </a:lnTo>
                  <a:lnTo>
                    <a:pt x="1740" y="588"/>
                  </a:lnTo>
                  <a:lnTo>
                    <a:pt x="1740" y="582"/>
                  </a:lnTo>
                  <a:lnTo>
                    <a:pt x="1734" y="576"/>
                  </a:lnTo>
                  <a:lnTo>
                    <a:pt x="1728" y="576"/>
                  </a:lnTo>
                  <a:lnTo>
                    <a:pt x="1722" y="582"/>
                  </a:lnTo>
                  <a:lnTo>
                    <a:pt x="1716" y="582"/>
                  </a:lnTo>
                  <a:lnTo>
                    <a:pt x="1704" y="594"/>
                  </a:lnTo>
                  <a:lnTo>
                    <a:pt x="1692" y="588"/>
                  </a:lnTo>
                  <a:lnTo>
                    <a:pt x="1656" y="588"/>
                  </a:lnTo>
                  <a:lnTo>
                    <a:pt x="1644" y="582"/>
                  </a:lnTo>
                  <a:lnTo>
                    <a:pt x="1632" y="570"/>
                  </a:lnTo>
                  <a:lnTo>
                    <a:pt x="1632" y="522"/>
                  </a:lnTo>
                  <a:lnTo>
                    <a:pt x="1626" y="516"/>
                  </a:lnTo>
                  <a:lnTo>
                    <a:pt x="1626" y="504"/>
                  </a:lnTo>
                  <a:lnTo>
                    <a:pt x="1620" y="504"/>
                  </a:lnTo>
                  <a:lnTo>
                    <a:pt x="1614" y="510"/>
                  </a:lnTo>
                  <a:lnTo>
                    <a:pt x="1602" y="516"/>
                  </a:lnTo>
                  <a:lnTo>
                    <a:pt x="1596" y="522"/>
                  </a:lnTo>
                  <a:lnTo>
                    <a:pt x="1590" y="534"/>
                  </a:lnTo>
                  <a:lnTo>
                    <a:pt x="1584" y="540"/>
                  </a:lnTo>
                  <a:lnTo>
                    <a:pt x="1560" y="552"/>
                  </a:lnTo>
                  <a:lnTo>
                    <a:pt x="1554" y="558"/>
                  </a:lnTo>
                  <a:lnTo>
                    <a:pt x="1512" y="558"/>
                  </a:lnTo>
                  <a:lnTo>
                    <a:pt x="1500" y="552"/>
                  </a:lnTo>
                  <a:lnTo>
                    <a:pt x="1542" y="540"/>
                  </a:lnTo>
                  <a:lnTo>
                    <a:pt x="1548" y="528"/>
                  </a:lnTo>
                  <a:lnTo>
                    <a:pt x="1566" y="510"/>
                  </a:lnTo>
                  <a:lnTo>
                    <a:pt x="1566" y="492"/>
                  </a:lnTo>
                  <a:lnTo>
                    <a:pt x="1572" y="486"/>
                  </a:lnTo>
                  <a:lnTo>
                    <a:pt x="1590" y="450"/>
                  </a:lnTo>
                  <a:lnTo>
                    <a:pt x="1626" y="414"/>
                  </a:lnTo>
                  <a:lnTo>
                    <a:pt x="1638" y="408"/>
                  </a:lnTo>
                  <a:lnTo>
                    <a:pt x="1656" y="390"/>
                  </a:lnTo>
                  <a:lnTo>
                    <a:pt x="1656" y="378"/>
                  </a:lnTo>
                  <a:lnTo>
                    <a:pt x="1662" y="366"/>
                  </a:lnTo>
                  <a:lnTo>
                    <a:pt x="1674" y="354"/>
                  </a:lnTo>
                  <a:lnTo>
                    <a:pt x="1686" y="348"/>
                  </a:lnTo>
                  <a:lnTo>
                    <a:pt x="1692" y="342"/>
                  </a:lnTo>
                  <a:lnTo>
                    <a:pt x="1704" y="336"/>
                  </a:lnTo>
                  <a:lnTo>
                    <a:pt x="1680" y="330"/>
                  </a:lnTo>
                  <a:lnTo>
                    <a:pt x="1698" y="312"/>
                  </a:lnTo>
                  <a:lnTo>
                    <a:pt x="1698" y="294"/>
                  </a:lnTo>
                  <a:lnTo>
                    <a:pt x="1692" y="288"/>
                  </a:lnTo>
                  <a:lnTo>
                    <a:pt x="1680" y="282"/>
                  </a:lnTo>
                  <a:lnTo>
                    <a:pt x="1662" y="282"/>
                  </a:lnTo>
                  <a:lnTo>
                    <a:pt x="1650" y="276"/>
                  </a:lnTo>
                  <a:lnTo>
                    <a:pt x="1644" y="270"/>
                  </a:lnTo>
                  <a:lnTo>
                    <a:pt x="1638" y="252"/>
                  </a:lnTo>
                  <a:lnTo>
                    <a:pt x="1632" y="216"/>
                  </a:lnTo>
                  <a:lnTo>
                    <a:pt x="1626" y="168"/>
                  </a:lnTo>
                  <a:lnTo>
                    <a:pt x="1620" y="138"/>
                  </a:lnTo>
                  <a:lnTo>
                    <a:pt x="1614" y="114"/>
                  </a:lnTo>
                  <a:lnTo>
                    <a:pt x="1608" y="96"/>
                  </a:lnTo>
                  <a:lnTo>
                    <a:pt x="1602" y="84"/>
                  </a:lnTo>
                  <a:lnTo>
                    <a:pt x="1590" y="78"/>
                  </a:lnTo>
                  <a:lnTo>
                    <a:pt x="1584" y="78"/>
                  </a:lnTo>
                  <a:lnTo>
                    <a:pt x="1584" y="90"/>
                  </a:lnTo>
                  <a:lnTo>
                    <a:pt x="1590" y="96"/>
                  </a:lnTo>
                  <a:lnTo>
                    <a:pt x="1590" y="108"/>
                  </a:lnTo>
                  <a:lnTo>
                    <a:pt x="1572" y="108"/>
                  </a:lnTo>
                  <a:lnTo>
                    <a:pt x="1572" y="102"/>
                  </a:lnTo>
                  <a:lnTo>
                    <a:pt x="1566" y="108"/>
                  </a:lnTo>
                  <a:lnTo>
                    <a:pt x="1560" y="120"/>
                  </a:lnTo>
                  <a:lnTo>
                    <a:pt x="1560" y="126"/>
                  </a:lnTo>
                  <a:lnTo>
                    <a:pt x="1554" y="132"/>
                  </a:lnTo>
                  <a:lnTo>
                    <a:pt x="1548" y="144"/>
                  </a:lnTo>
                  <a:lnTo>
                    <a:pt x="1536" y="156"/>
                  </a:lnTo>
                  <a:lnTo>
                    <a:pt x="1518" y="192"/>
                  </a:lnTo>
                  <a:lnTo>
                    <a:pt x="1518" y="210"/>
                  </a:lnTo>
                  <a:lnTo>
                    <a:pt x="1494" y="246"/>
                  </a:lnTo>
                  <a:lnTo>
                    <a:pt x="1488" y="246"/>
                  </a:lnTo>
                  <a:lnTo>
                    <a:pt x="1482" y="252"/>
                  </a:lnTo>
                  <a:lnTo>
                    <a:pt x="1464" y="252"/>
                  </a:lnTo>
                  <a:lnTo>
                    <a:pt x="1452" y="240"/>
                  </a:lnTo>
                  <a:lnTo>
                    <a:pt x="1446" y="246"/>
                  </a:lnTo>
                  <a:lnTo>
                    <a:pt x="1434" y="246"/>
                  </a:lnTo>
                  <a:lnTo>
                    <a:pt x="1428" y="240"/>
                  </a:lnTo>
                  <a:lnTo>
                    <a:pt x="1416" y="240"/>
                  </a:lnTo>
                  <a:lnTo>
                    <a:pt x="1410" y="246"/>
                  </a:lnTo>
                  <a:lnTo>
                    <a:pt x="1410" y="252"/>
                  </a:lnTo>
                  <a:lnTo>
                    <a:pt x="1404" y="258"/>
                  </a:lnTo>
                  <a:lnTo>
                    <a:pt x="1380" y="258"/>
                  </a:lnTo>
                  <a:lnTo>
                    <a:pt x="1368" y="246"/>
                  </a:lnTo>
                  <a:lnTo>
                    <a:pt x="1368" y="240"/>
                  </a:lnTo>
                  <a:lnTo>
                    <a:pt x="1350" y="234"/>
                  </a:lnTo>
                  <a:lnTo>
                    <a:pt x="1344" y="228"/>
                  </a:lnTo>
                  <a:lnTo>
                    <a:pt x="1338" y="216"/>
                  </a:lnTo>
                  <a:lnTo>
                    <a:pt x="1332" y="216"/>
                  </a:lnTo>
                  <a:lnTo>
                    <a:pt x="1320" y="222"/>
                  </a:lnTo>
                  <a:lnTo>
                    <a:pt x="1314" y="228"/>
                  </a:lnTo>
                  <a:lnTo>
                    <a:pt x="1302" y="234"/>
                  </a:lnTo>
                  <a:lnTo>
                    <a:pt x="1278" y="234"/>
                  </a:lnTo>
                  <a:lnTo>
                    <a:pt x="1278" y="222"/>
                  </a:lnTo>
                  <a:lnTo>
                    <a:pt x="1272" y="222"/>
                  </a:lnTo>
                  <a:lnTo>
                    <a:pt x="1260" y="228"/>
                  </a:lnTo>
                  <a:lnTo>
                    <a:pt x="1260" y="252"/>
                  </a:lnTo>
                  <a:lnTo>
                    <a:pt x="1272" y="264"/>
                  </a:lnTo>
                  <a:lnTo>
                    <a:pt x="1272" y="270"/>
                  </a:lnTo>
                  <a:lnTo>
                    <a:pt x="1278" y="276"/>
                  </a:lnTo>
                  <a:lnTo>
                    <a:pt x="1272" y="282"/>
                  </a:lnTo>
                  <a:lnTo>
                    <a:pt x="1254" y="282"/>
                  </a:lnTo>
                  <a:lnTo>
                    <a:pt x="1230" y="270"/>
                  </a:lnTo>
                  <a:lnTo>
                    <a:pt x="1224" y="270"/>
                  </a:lnTo>
                  <a:lnTo>
                    <a:pt x="1212" y="264"/>
                  </a:lnTo>
                  <a:lnTo>
                    <a:pt x="1212" y="270"/>
                  </a:lnTo>
                  <a:lnTo>
                    <a:pt x="1206" y="276"/>
                  </a:lnTo>
                  <a:lnTo>
                    <a:pt x="1200" y="276"/>
                  </a:lnTo>
                  <a:lnTo>
                    <a:pt x="1188" y="264"/>
                  </a:lnTo>
                  <a:lnTo>
                    <a:pt x="1176" y="264"/>
                  </a:lnTo>
                  <a:lnTo>
                    <a:pt x="1158" y="282"/>
                  </a:lnTo>
                  <a:lnTo>
                    <a:pt x="1158" y="288"/>
                  </a:lnTo>
                  <a:lnTo>
                    <a:pt x="1128" y="288"/>
                  </a:lnTo>
                  <a:lnTo>
                    <a:pt x="1122" y="300"/>
                  </a:lnTo>
                  <a:lnTo>
                    <a:pt x="1104" y="300"/>
                  </a:lnTo>
                  <a:lnTo>
                    <a:pt x="1092" y="312"/>
                  </a:lnTo>
                  <a:lnTo>
                    <a:pt x="1092" y="324"/>
                  </a:lnTo>
                  <a:lnTo>
                    <a:pt x="1086" y="330"/>
                  </a:lnTo>
                  <a:lnTo>
                    <a:pt x="1050" y="330"/>
                  </a:lnTo>
                  <a:lnTo>
                    <a:pt x="1044" y="318"/>
                  </a:lnTo>
                  <a:lnTo>
                    <a:pt x="1032" y="318"/>
                  </a:lnTo>
                  <a:lnTo>
                    <a:pt x="1002" y="282"/>
                  </a:lnTo>
                  <a:lnTo>
                    <a:pt x="1002" y="252"/>
                  </a:lnTo>
                  <a:lnTo>
                    <a:pt x="978" y="228"/>
                  </a:lnTo>
                  <a:lnTo>
                    <a:pt x="972" y="216"/>
                  </a:lnTo>
                  <a:lnTo>
                    <a:pt x="972" y="210"/>
                  </a:lnTo>
                  <a:lnTo>
                    <a:pt x="978" y="198"/>
                  </a:lnTo>
                  <a:lnTo>
                    <a:pt x="978" y="192"/>
                  </a:lnTo>
                  <a:lnTo>
                    <a:pt x="984" y="180"/>
                  </a:lnTo>
                  <a:lnTo>
                    <a:pt x="996" y="138"/>
                  </a:lnTo>
                  <a:lnTo>
                    <a:pt x="1008" y="126"/>
                  </a:lnTo>
                  <a:lnTo>
                    <a:pt x="1014" y="114"/>
                  </a:lnTo>
                  <a:lnTo>
                    <a:pt x="1014" y="102"/>
                  </a:lnTo>
                  <a:lnTo>
                    <a:pt x="1008" y="102"/>
                  </a:lnTo>
                  <a:lnTo>
                    <a:pt x="1002" y="96"/>
                  </a:lnTo>
                  <a:lnTo>
                    <a:pt x="1002" y="66"/>
                  </a:lnTo>
                  <a:lnTo>
                    <a:pt x="996" y="66"/>
                  </a:lnTo>
                  <a:lnTo>
                    <a:pt x="984" y="72"/>
                  </a:lnTo>
                  <a:lnTo>
                    <a:pt x="978" y="72"/>
                  </a:lnTo>
                  <a:lnTo>
                    <a:pt x="972" y="66"/>
                  </a:lnTo>
                  <a:lnTo>
                    <a:pt x="972" y="60"/>
                  </a:lnTo>
                  <a:lnTo>
                    <a:pt x="978" y="54"/>
                  </a:lnTo>
                  <a:lnTo>
                    <a:pt x="984" y="42"/>
                  </a:lnTo>
                  <a:lnTo>
                    <a:pt x="984" y="24"/>
                  </a:lnTo>
                  <a:lnTo>
                    <a:pt x="978" y="12"/>
                  </a:lnTo>
                  <a:lnTo>
                    <a:pt x="966" y="0"/>
                  </a:lnTo>
                  <a:lnTo>
                    <a:pt x="960" y="12"/>
                  </a:lnTo>
                  <a:lnTo>
                    <a:pt x="936" y="6"/>
                  </a:lnTo>
                  <a:lnTo>
                    <a:pt x="936" y="42"/>
                  </a:lnTo>
                  <a:lnTo>
                    <a:pt x="930" y="48"/>
                  </a:lnTo>
                  <a:lnTo>
                    <a:pt x="918" y="48"/>
                  </a:lnTo>
                  <a:lnTo>
                    <a:pt x="918" y="60"/>
                  </a:lnTo>
                  <a:lnTo>
                    <a:pt x="894" y="60"/>
                  </a:lnTo>
                  <a:lnTo>
                    <a:pt x="882" y="66"/>
                  </a:lnTo>
                  <a:lnTo>
                    <a:pt x="858" y="90"/>
                  </a:lnTo>
                  <a:lnTo>
                    <a:pt x="846" y="96"/>
                  </a:lnTo>
                  <a:lnTo>
                    <a:pt x="828" y="96"/>
                  </a:lnTo>
                  <a:lnTo>
                    <a:pt x="822" y="90"/>
                  </a:lnTo>
                  <a:lnTo>
                    <a:pt x="804" y="90"/>
                  </a:lnTo>
                  <a:lnTo>
                    <a:pt x="798" y="96"/>
                  </a:lnTo>
                  <a:lnTo>
                    <a:pt x="798" y="108"/>
                  </a:lnTo>
                  <a:lnTo>
                    <a:pt x="792" y="120"/>
                  </a:lnTo>
                  <a:lnTo>
                    <a:pt x="792" y="138"/>
                  </a:lnTo>
                  <a:lnTo>
                    <a:pt x="786" y="144"/>
                  </a:lnTo>
                  <a:lnTo>
                    <a:pt x="774" y="138"/>
                  </a:lnTo>
                  <a:lnTo>
                    <a:pt x="762" y="126"/>
                  </a:lnTo>
                  <a:lnTo>
                    <a:pt x="756" y="114"/>
                  </a:lnTo>
                  <a:lnTo>
                    <a:pt x="750" y="108"/>
                  </a:lnTo>
                  <a:lnTo>
                    <a:pt x="738" y="108"/>
                  </a:lnTo>
                  <a:lnTo>
                    <a:pt x="732" y="114"/>
                  </a:lnTo>
                  <a:lnTo>
                    <a:pt x="720" y="108"/>
                  </a:lnTo>
                  <a:lnTo>
                    <a:pt x="708" y="114"/>
                  </a:lnTo>
                  <a:lnTo>
                    <a:pt x="696" y="114"/>
                  </a:lnTo>
                  <a:lnTo>
                    <a:pt x="696" y="96"/>
                  </a:lnTo>
                  <a:lnTo>
                    <a:pt x="690" y="90"/>
                  </a:lnTo>
                  <a:lnTo>
                    <a:pt x="648" y="90"/>
                  </a:lnTo>
                  <a:lnTo>
                    <a:pt x="648" y="84"/>
                  </a:lnTo>
                  <a:lnTo>
                    <a:pt x="642" y="78"/>
                  </a:lnTo>
                  <a:lnTo>
                    <a:pt x="642" y="108"/>
                  </a:lnTo>
                  <a:lnTo>
                    <a:pt x="660" y="126"/>
                  </a:lnTo>
                  <a:lnTo>
                    <a:pt x="672" y="132"/>
                  </a:lnTo>
                  <a:lnTo>
                    <a:pt x="678" y="138"/>
                  </a:lnTo>
                  <a:lnTo>
                    <a:pt x="678" y="168"/>
                  </a:lnTo>
                  <a:lnTo>
                    <a:pt x="672" y="174"/>
                  </a:lnTo>
                  <a:lnTo>
                    <a:pt x="684" y="186"/>
                  </a:lnTo>
                  <a:lnTo>
                    <a:pt x="690" y="198"/>
                  </a:lnTo>
                  <a:lnTo>
                    <a:pt x="690" y="228"/>
                  </a:lnTo>
                  <a:lnTo>
                    <a:pt x="738" y="234"/>
                  </a:lnTo>
                  <a:lnTo>
                    <a:pt x="744" y="240"/>
                  </a:lnTo>
                  <a:lnTo>
                    <a:pt x="744" y="246"/>
                  </a:lnTo>
                  <a:lnTo>
                    <a:pt x="738" y="258"/>
                  </a:lnTo>
                  <a:lnTo>
                    <a:pt x="732" y="264"/>
                  </a:lnTo>
                  <a:lnTo>
                    <a:pt x="690" y="264"/>
                  </a:lnTo>
                  <a:lnTo>
                    <a:pt x="690" y="294"/>
                  </a:lnTo>
                  <a:lnTo>
                    <a:pt x="684" y="306"/>
                  </a:lnTo>
                  <a:lnTo>
                    <a:pt x="648" y="324"/>
                  </a:lnTo>
                  <a:lnTo>
                    <a:pt x="642" y="330"/>
                  </a:lnTo>
                  <a:lnTo>
                    <a:pt x="624" y="330"/>
                  </a:lnTo>
                  <a:lnTo>
                    <a:pt x="612" y="342"/>
                  </a:lnTo>
                  <a:lnTo>
                    <a:pt x="600" y="366"/>
                  </a:lnTo>
                  <a:lnTo>
                    <a:pt x="588" y="378"/>
                  </a:lnTo>
                  <a:lnTo>
                    <a:pt x="582" y="378"/>
                  </a:lnTo>
                  <a:lnTo>
                    <a:pt x="582" y="354"/>
                  </a:lnTo>
                  <a:lnTo>
                    <a:pt x="576" y="348"/>
                  </a:lnTo>
                  <a:lnTo>
                    <a:pt x="570" y="354"/>
                  </a:lnTo>
                  <a:lnTo>
                    <a:pt x="558" y="360"/>
                  </a:lnTo>
                  <a:lnTo>
                    <a:pt x="552" y="366"/>
                  </a:lnTo>
                  <a:lnTo>
                    <a:pt x="540" y="372"/>
                  </a:lnTo>
                  <a:lnTo>
                    <a:pt x="534" y="372"/>
                  </a:lnTo>
                  <a:lnTo>
                    <a:pt x="522" y="366"/>
                  </a:lnTo>
                  <a:lnTo>
                    <a:pt x="516" y="366"/>
                  </a:lnTo>
                  <a:lnTo>
                    <a:pt x="504" y="354"/>
                  </a:lnTo>
                  <a:lnTo>
                    <a:pt x="504" y="348"/>
                  </a:lnTo>
                  <a:lnTo>
                    <a:pt x="498" y="336"/>
                  </a:lnTo>
                  <a:lnTo>
                    <a:pt x="492" y="330"/>
                  </a:lnTo>
                  <a:lnTo>
                    <a:pt x="468" y="330"/>
                  </a:lnTo>
                  <a:lnTo>
                    <a:pt x="468" y="300"/>
                  </a:lnTo>
                  <a:lnTo>
                    <a:pt x="462" y="288"/>
                  </a:lnTo>
                  <a:lnTo>
                    <a:pt x="462" y="276"/>
                  </a:lnTo>
                  <a:lnTo>
                    <a:pt x="456" y="270"/>
                  </a:lnTo>
                  <a:lnTo>
                    <a:pt x="456" y="258"/>
                  </a:lnTo>
                  <a:lnTo>
                    <a:pt x="450" y="258"/>
                  </a:lnTo>
                  <a:lnTo>
                    <a:pt x="420" y="288"/>
                  </a:lnTo>
                  <a:lnTo>
                    <a:pt x="396" y="264"/>
                  </a:lnTo>
                  <a:lnTo>
                    <a:pt x="390" y="264"/>
                  </a:lnTo>
                  <a:lnTo>
                    <a:pt x="384" y="270"/>
                  </a:lnTo>
                  <a:lnTo>
                    <a:pt x="384" y="288"/>
                  </a:lnTo>
                  <a:lnTo>
                    <a:pt x="318" y="294"/>
                  </a:lnTo>
                  <a:lnTo>
                    <a:pt x="306" y="282"/>
                  </a:lnTo>
                  <a:lnTo>
                    <a:pt x="288" y="282"/>
                  </a:lnTo>
                  <a:lnTo>
                    <a:pt x="282" y="288"/>
                  </a:lnTo>
                  <a:lnTo>
                    <a:pt x="276" y="300"/>
                  </a:lnTo>
                  <a:lnTo>
                    <a:pt x="276" y="312"/>
                  </a:lnTo>
                  <a:lnTo>
                    <a:pt x="282" y="324"/>
                  </a:lnTo>
                  <a:lnTo>
                    <a:pt x="282" y="336"/>
                  </a:lnTo>
                  <a:lnTo>
                    <a:pt x="306" y="348"/>
                  </a:lnTo>
                  <a:lnTo>
                    <a:pt x="318" y="342"/>
                  </a:lnTo>
                  <a:lnTo>
                    <a:pt x="330" y="354"/>
                  </a:lnTo>
                  <a:lnTo>
                    <a:pt x="330" y="360"/>
                  </a:lnTo>
                  <a:lnTo>
                    <a:pt x="336" y="366"/>
                  </a:lnTo>
                  <a:lnTo>
                    <a:pt x="336" y="372"/>
                  </a:lnTo>
                  <a:lnTo>
                    <a:pt x="330" y="378"/>
                  </a:lnTo>
                  <a:lnTo>
                    <a:pt x="300" y="378"/>
                  </a:lnTo>
                  <a:lnTo>
                    <a:pt x="294" y="372"/>
                  </a:lnTo>
                  <a:lnTo>
                    <a:pt x="264" y="378"/>
                  </a:lnTo>
                  <a:lnTo>
                    <a:pt x="258" y="444"/>
                  </a:lnTo>
                  <a:lnTo>
                    <a:pt x="264" y="444"/>
                  </a:lnTo>
                  <a:lnTo>
                    <a:pt x="276" y="456"/>
                  </a:lnTo>
                  <a:lnTo>
                    <a:pt x="288" y="462"/>
                  </a:lnTo>
                  <a:lnTo>
                    <a:pt x="294" y="468"/>
                  </a:lnTo>
                  <a:lnTo>
                    <a:pt x="294" y="492"/>
                  </a:lnTo>
                  <a:lnTo>
                    <a:pt x="300" y="498"/>
                  </a:lnTo>
                  <a:lnTo>
                    <a:pt x="300" y="504"/>
                  </a:lnTo>
                  <a:lnTo>
                    <a:pt x="312" y="516"/>
                  </a:lnTo>
                  <a:lnTo>
                    <a:pt x="318" y="528"/>
                  </a:lnTo>
                  <a:lnTo>
                    <a:pt x="318" y="540"/>
                  </a:lnTo>
                  <a:lnTo>
                    <a:pt x="312" y="552"/>
                  </a:lnTo>
                  <a:lnTo>
                    <a:pt x="300" y="564"/>
                  </a:lnTo>
                  <a:lnTo>
                    <a:pt x="306" y="612"/>
                  </a:lnTo>
                  <a:lnTo>
                    <a:pt x="288" y="660"/>
                  </a:lnTo>
                  <a:lnTo>
                    <a:pt x="282" y="732"/>
                  </a:lnTo>
                  <a:lnTo>
                    <a:pt x="282" y="762"/>
                  </a:lnTo>
                  <a:lnTo>
                    <a:pt x="276" y="774"/>
                  </a:lnTo>
                  <a:lnTo>
                    <a:pt x="270" y="780"/>
                  </a:lnTo>
                  <a:lnTo>
                    <a:pt x="252" y="780"/>
                  </a:lnTo>
                  <a:lnTo>
                    <a:pt x="252" y="774"/>
                  </a:lnTo>
                  <a:lnTo>
                    <a:pt x="240" y="762"/>
                  </a:lnTo>
                  <a:lnTo>
                    <a:pt x="222" y="762"/>
                  </a:lnTo>
                  <a:lnTo>
                    <a:pt x="216" y="768"/>
                  </a:lnTo>
                  <a:lnTo>
                    <a:pt x="210" y="780"/>
                  </a:lnTo>
                  <a:lnTo>
                    <a:pt x="204" y="786"/>
                  </a:lnTo>
                  <a:lnTo>
                    <a:pt x="174" y="780"/>
                  </a:lnTo>
                  <a:lnTo>
                    <a:pt x="168" y="792"/>
                  </a:lnTo>
                  <a:lnTo>
                    <a:pt x="138" y="792"/>
                  </a:lnTo>
                  <a:lnTo>
                    <a:pt x="126" y="798"/>
                  </a:lnTo>
                  <a:lnTo>
                    <a:pt x="120" y="804"/>
                  </a:lnTo>
                  <a:lnTo>
                    <a:pt x="108" y="810"/>
                  </a:lnTo>
                  <a:lnTo>
                    <a:pt x="96" y="822"/>
                  </a:lnTo>
                  <a:lnTo>
                    <a:pt x="96" y="828"/>
                  </a:lnTo>
                  <a:lnTo>
                    <a:pt x="90" y="834"/>
                  </a:lnTo>
                  <a:lnTo>
                    <a:pt x="90" y="840"/>
                  </a:lnTo>
                  <a:lnTo>
                    <a:pt x="66" y="840"/>
                  </a:lnTo>
                  <a:lnTo>
                    <a:pt x="66" y="894"/>
                  </a:lnTo>
                  <a:lnTo>
                    <a:pt x="48" y="912"/>
                  </a:lnTo>
                  <a:lnTo>
                    <a:pt x="48" y="924"/>
                  </a:lnTo>
                  <a:lnTo>
                    <a:pt x="54" y="930"/>
                  </a:lnTo>
                  <a:lnTo>
                    <a:pt x="54" y="948"/>
                  </a:lnTo>
                  <a:lnTo>
                    <a:pt x="60" y="954"/>
                  </a:lnTo>
                  <a:lnTo>
                    <a:pt x="54" y="954"/>
                  </a:lnTo>
                  <a:lnTo>
                    <a:pt x="48" y="948"/>
                  </a:lnTo>
                  <a:lnTo>
                    <a:pt x="18" y="978"/>
                  </a:lnTo>
                  <a:lnTo>
                    <a:pt x="12" y="990"/>
                  </a:lnTo>
                  <a:lnTo>
                    <a:pt x="12" y="1014"/>
                  </a:lnTo>
                  <a:lnTo>
                    <a:pt x="18" y="1020"/>
                  </a:lnTo>
                  <a:lnTo>
                    <a:pt x="6" y="1026"/>
                  </a:lnTo>
                  <a:lnTo>
                    <a:pt x="0" y="1032"/>
                  </a:lnTo>
                  <a:lnTo>
                    <a:pt x="0" y="1044"/>
                  </a:lnTo>
                  <a:lnTo>
                    <a:pt x="6" y="1050"/>
                  </a:lnTo>
                  <a:lnTo>
                    <a:pt x="18" y="1056"/>
                  </a:lnTo>
                  <a:lnTo>
                    <a:pt x="24" y="1080"/>
                  </a:lnTo>
                  <a:lnTo>
                    <a:pt x="24" y="1086"/>
                  </a:lnTo>
                  <a:lnTo>
                    <a:pt x="30" y="1092"/>
                  </a:lnTo>
                  <a:lnTo>
                    <a:pt x="42" y="1116"/>
                  </a:lnTo>
                  <a:lnTo>
                    <a:pt x="54" y="1128"/>
                  </a:lnTo>
                  <a:lnTo>
                    <a:pt x="66" y="1134"/>
                  </a:lnTo>
                  <a:lnTo>
                    <a:pt x="90" y="1158"/>
                  </a:lnTo>
                  <a:lnTo>
                    <a:pt x="84" y="1164"/>
                  </a:lnTo>
                  <a:lnTo>
                    <a:pt x="78" y="1176"/>
                  </a:lnTo>
                  <a:lnTo>
                    <a:pt x="66" y="1182"/>
                  </a:lnTo>
                  <a:lnTo>
                    <a:pt x="60" y="1188"/>
                  </a:lnTo>
                  <a:lnTo>
                    <a:pt x="102" y="1188"/>
                  </a:lnTo>
                  <a:lnTo>
                    <a:pt x="114" y="1194"/>
                  </a:lnTo>
                  <a:lnTo>
                    <a:pt x="120" y="1194"/>
                  </a:lnTo>
                  <a:lnTo>
                    <a:pt x="126" y="1200"/>
                  </a:lnTo>
                  <a:lnTo>
                    <a:pt x="126" y="1212"/>
                  </a:lnTo>
                  <a:lnTo>
                    <a:pt x="132" y="1224"/>
                  </a:lnTo>
                  <a:lnTo>
                    <a:pt x="138" y="1230"/>
                  </a:lnTo>
                  <a:lnTo>
                    <a:pt x="138" y="1236"/>
                  </a:lnTo>
                  <a:lnTo>
                    <a:pt x="198" y="1230"/>
                  </a:lnTo>
                  <a:lnTo>
                    <a:pt x="252" y="1182"/>
                  </a:lnTo>
                  <a:lnTo>
                    <a:pt x="252" y="1194"/>
                  </a:lnTo>
                  <a:lnTo>
                    <a:pt x="258" y="1206"/>
                  </a:lnTo>
                  <a:lnTo>
                    <a:pt x="258" y="1224"/>
                  </a:lnTo>
                  <a:lnTo>
                    <a:pt x="252" y="1230"/>
                  </a:lnTo>
                  <a:lnTo>
                    <a:pt x="252" y="1242"/>
                  </a:lnTo>
                  <a:lnTo>
                    <a:pt x="246" y="1254"/>
                  </a:lnTo>
                  <a:lnTo>
                    <a:pt x="246" y="1266"/>
                  </a:lnTo>
                  <a:lnTo>
                    <a:pt x="252" y="1284"/>
                  </a:lnTo>
                  <a:lnTo>
                    <a:pt x="252" y="1314"/>
                  </a:lnTo>
                  <a:lnTo>
                    <a:pt x="264" y="1308"/>
                  </a:lnTo>
                  <a:lnTo>
                    <a:pt x="264" y="1314"/>
                  </a:lnTo>
                  <a:lnTo>
                    <a:pt x="270" y="1320"/>
                  </a:lnTo>
                  <a:lnTo>
                    <a:pt x="282" y="1320"/>
                  </a:lnTo>
                  <a:lnTo>
                    <a:pt x="282" y="1314"/>
                  </a:lnTo>
                  <a:lnTo>
                    <a:pt x="288" y="1314"/>
                  </a:lnTo>
                  <a:lnTo>
                    <a:pt x="294" y="1308"/>
                  </a:lnTo>
                  <a:lnTo>
                    <a:pt x="324" y="1308"/>
                  </a:lnTo>
                  <a:lnTo>
                    <a:pt x="336" y="1314"/>
                  </a:lnTo>
                  <a:lnTo>
                    <a:pt x="366" y="1314"/>
                  </a:lnTo>
                  <a:lnTo>
                    <a:pt x="372" y="1320"/>
                  </a:lnTo>
                  <a:lnTo>
                    <a:pt x="372" y="1326"/>
                  </a:lnTo>
                  <a:lnTo>
                    <a:pt x="390" y="1326"/>
                  </a:lnTo>
                  <a:lnTo>
                    <a:pt x="414" y="1314"/>
                  </a:lnTo>
                  <a:lnTo>
                    <a:pt x="420" y="1308"/>
                  </a:lnTo>
                  <a:lnTo>
                    <a:pt x="432" y="1290"/>
                  </a:lnTo>
                  <a:lnTo>
                    <a:pt x="468" y="1290"/>
                  </a:lnTo>
                  <a:lnTo>
                    <a:pt x="474" y="1260"/>
                  </a:lnTo>
                  <a:lnTo>
                    <a:pt x="510" y="1260"/>
                  </a:lnTo>
                  <a:lnTo>
                    <a:pt x="510" y="1254"/>
                  </a:lnTo>
                  <a:lnTo>
                    <a:pt x="516" y="1248"/>
                  </a:lnTo>
                  <a:lnTo>
                    <a:pt x="522" y="1236"/>
                  </a:lnTo>
                  <a:lnTo>
                    <a:pt x="528" y="1230"/>
                  </a:lnTo>
                  <a:lnTo>
                    <a:pt x="540" y="1224"/>
                  </a:lnTo>
                  <a:lnTo>
                    <a:pt x="576" y="1224"/>
                  </a:lnTo>
                  <a:lnTo>
                    <a:pt x="588" y="1212"/>
                  </a:lnTo>
                  <a:lnTo>
                    <a:pt x="600" y="1224"/>
                  </a:lnTo>
                  <a:lnTo>
                    <a:pt x="606" y="1224"/>
                  </a:lnTo>
                  <a:lnTo>
                    <a:pt x="606" y="1218"/>
                  </a:lnTo>
                  <a:lnTo>
                    <a:pt x="618" y="1212"/>
                  </a:lnTo>
                  <a:lnTo>
                    <a:pt x="630" y="1212"/>
                  </a:lnTo>
                  <a:lnTo>
                    <a:pt x="630" y="1242"/>
                  </a:lnTo>
                  <a:lnTo>
                    <a:pt x="624" y="1248"/>
                  </a:lnTo>
                  <a:lnTo>
                    <a:pt x="624" y="1254"/>
                  </a:lnTo>
                  <a:lnTo>
                    <a:pt x="618" y="1260"/>
                  </a:lnTo>
                  <a:lnTo>
                    <a:pt x="618" y="1290"/>
                  </a:lnTo>
                  <a:lnTo>
                    <a:pt x="624" y="1296"/>
                  </a:lnTo>
                  <a:lnTo>
                    <a:pt x="630" y="1308"/>
                  </a:lnTo>
                  <a:lnTo>
                    <a:pt x="630" y="1326"/>
                  </a:lnTo>
                  <a:lnTo>
                    <a:pt x="624" y="1332"/>
                  </a:lnTo>
                  <a:lnTo>
                    <a:pt x="624" y="1344"/>
                  </a:lnTo>
                  <a:lnTo>
                    <a:pt x="636" y="1356"/>
                  </a:lnTo>
                  <a:lnTo>
                    <a:pt x="648" y="1362"/>
                  </a:lnTo>
                  <a:lnTo>
                    <a:pt x="654" y="1368"/>
                  </a:lnTo>
                  <a:lnTo>
                    <a:pt x="660" y="1398"/>
                  </a:lnTo>
                  <a:lnTo>
                    <a:pt x="684" y="1398"/>
                  </a:lnTo>
                  <a:lnTo>
                    <a:pt x="690" y="1404"/>
                  </a:lnTo>
                  <a:lnTo>
                    <a:pt x="690" y="1410"/>
                  </a:lnTo>
                  <a:lnTo>
                    <a:pt x="696" y="1422"/>
                  </a:lnTo>
                  <a:lnTo>
                    <a:pt x="696" y="1428"/>
                  </a:lnTo>
                  <a:lnTo>
                    <a:pt x="702" y="1434"/>
                  </a:lnTo>
                  <a:lnTo>
                    <a:pt x="714" y="1440"/>
                  </a:lnTo>
                  <a:lnTo>
                    <a:pt x="744" y="1440"/>
                  </a:lnTo>
                  <a:lnTo>
                    <a:pt x="750" y="1434"/>
                  </a:lnTo>
                  <a:lnTo>
                    <a:pt x="756" y="1446"/>
                  </a:lnTo>
                  <a:lnTo>
                    <a:pt x="768" y="1452"/>
                  </a:lnTo>
                  <a:lnTo>
                    <a:pt x="780" y="1452"/>
                  </a:lnTo>
                  <a:lnTo>
                    <a:pt x="786" y="1446"/>
                  </a:lnTo>
                  <a:lnTo>
                    <a:pt x="798" y="1446"/>
                  </a:lnTo>
                  <a:lnTo>
                    <a:pt x="798" y="1452"/>
                  </a:lnTo>
                  <a:lnTo>
                    <a:pt x="804" y="1464"/>
                  </a:lnTo>
                  <a:lnTo>
                    <a:pt x="816" y="1470"/>
                  </a:lnTo>
                  <a:lnTo>
                    <a:pt x="828" y="1482"/>
                  </a:lnTo>
                  <a:lnTo>
                    <a:pt x="840" y="1488"/>
                  </a:lnTo>
                  <a:lnTo>
                    <a:pt x="864" y="1488"/>
                  </a:lnTo>
                  <a:lnTo>
                    <a:pt x="864" y="1494"/>
                  </a:lnTo>
                  <a:lnTo>
                    <a:pt x="876" y="1506"/>
                  </a:lnTo>
                  <a:lnTo>
                    <a:pt x="888" y="1512"/>
                  </a:lnTo>
                  <a:lnTo>
                    <a:pt x="894" y="1518"/>
                  </a:lnTo>
                  <a:lnTo>
                    <a:pt x="954" y="1518"/>
                  </a:lnTo>
                  <a:lnTo>
                    <a:pt x="978" y="1530"/>
                  </a:lnTo>
                  <a:lnTo>
                    <a:pt x="984" y="1542"/>
                  </a:lnTo>
                  <a:lnTo>
                    <a:pt x="990" y="1548"/>
                  </a:lnTo>
                  <a:lnTo>
                    <a:pt x="990" y="1578"/>
                  </a:lnTo>
                  <a:lnTo>
                    <a:pt x="996" y="1590"/>
                  </a:lnTo>
                  <a:lnTo>
                    <a:pt x="1002" y="1596"/>
                  </a:lnTo>
                  <a:lnTo>
                    <a:pt x="1008" y="1608"/>
                  </a:lnTo>
                  <a:lnTo>
                    <a:pt x="1008" y="1638"/>
                  </a:lnTo>
                  <a:lnTo>
                    <a:pt x="990" y="1638"/>
                  </a:lnTo>
                  <a:lnTo>
                    <a:pt x="990" y="1644"/>
                  </a:lnTo>
                  <a:lnTo>
                    <a:pt x="996" y="1650"/>
                  </a:lnTo>
                  <a:lnTo>
                    <a:pt x="1002" y="1662"/>
                  </a:lnTo>
                  <a:lnTo>
                    <a:pt x="1014" y="1668"/>
                  </a:lnTo>
                  <a:lnTo>
                    <a:pt x="1020" y="1674"/>
                  </a:lnTo>
                  <a:lnTo>
                    <a:pt x="1014" y="1686"/>
                  </a:lnTo>
                  <a:lnTo>
                    <a:pt x="1014" y="1728"/>
                  </a:lnTo>
                  <a:lnTo>
                    <a:pt x="1020" y="1734"/>
                  </a:lnTo>
                  <a:lnTo>
                    <a:pt x="1050" y="1740"/>
                  </a:lnTo>
                  <a:lnTo>
                    <a:pt x="1098" y="1746"/>
                  </a:lnTo>
                  <a:lnTo>
                    <a:pt x="1158" y="1746"/>
                  </a:lnTo>
                  <a:lnTo>
                    <a:pt x="1158" y="1752"/>
                  </a:lnTo>
                  <a:lnTo>
                    <a:pt x="1152" y="1758"/>
                  </a:lnTo>
                  <a:lnTo>
                    <a:pt x="1152" y="1770"/>
                  </a:lnTo>
                  <a:lnTo>
                    <a:pt x="1146" y="1788"/>
                  </a:lnTo>
                  <a:lnTo>
                    <a:pt x="1146" y="1800"/>
                  </a:lnTo>
                  <a:lnTo>
                    <a:pt x="1152" y="1812"/>
                  </a:lnTo>
                  <a:lnTo>
                    <a:pt x="1164" y="1818"/>
                  </a:lnTo>
                  <a:lnTo>
                    <a:pt x="1170" y="1824"/>
                  </a:lnTo>
                  <a:lnTo>
                    <a:pt x="1194" y="1836"/>
                  </a:lnTo>
                  <a:lnTo>
                    <a:pt x="1206" y="1848"/>
                  </a:lnTo>
                  <a:lnTo>
                    <a:pt x="1212" y="1860"/>
                  </a:lnTo>
                  <a:lnTo>
                    <a:pt x="1224" y="1896"/>
                  </a:lnTo>
                  <a:lnTo>
                    <a:pt x="1224" y="1908"/>
                  </a:lnTo>
                  <a:lnTo>
                    <a:pt x="1218" y="1920"/>
                  </a:lnTo>
                  <a:lnTo>
                    <a:pt x="1218" y="1944"/>
                  </a:lnTo>
                  <a:lnTo>
                    <a:pt x="1212" y="1950"/>
                  </a:lnTo>
                  <a:lnTo>
                    <a:pt x="1212" y="1956"/>
                  </a:lnTo>
                  <a:lnTo>
                    <a:pt x="1218" y="1968"/>
                  </a:lnTo>
                  <a:lnTo>
                    <a:pt x="1212" y="1980"/>
                  </a:lnTo>
                  <a:lnTo>
                    <a:pt x="1206" y="1986"/>
                  </a:lnTo>
                  <a:lnTo>
                    <a:pt x="1200" y="1998"/>
                  </a:lnTo>
                  <a:lnTo>
                    <a:pt x="1200" y="2022"/>
                  </a:lnTo>
                  <a:lnTo>
                    <a:pt x="1206" y="2028"/>
                  </a:lnTo>
                  <a:lnTo>
                    <a:pt x="1218" y="2034"/>
                  </a:lnTo>
                  <a:lnTo>
                    <a:pt x="1212" y="2040"/>
                  </a:lnTo>
                  <a:lnTo>
                    <a:pt x="1200" y="2046"/>
                  </a:lnTo>
                  <a:lnTo>
                    <a:pt x="1194" y="2052"/>
                  </a:lnTo>
                  <a:lnTo>
                    <a:pt x="1194" y="2064"/>
                  </a:lnTo>
                  <a:lnTo>
                    <a:pt x="1200" y="2070"/>
                  </a:lnTo>
                  <a:lnTo>
                    <a:pt x="1212" y="2076"/>
                  </a:lnTo>
                  <a:lnTo>
                    <a:pt x="1212" y="2112"/>
                  </a:lnTo>
                  <a:lnTo>
                    <a:pt x="1224" y="2112"/>
                  </a:lnTo>
                  <a:lnTo>
                    <a:pt x="1224" y="2130"/>
                  </a:lnTo>
                  <a:lnTo>
                    <a:pt x="1218" y="2142"/>
                  </a:lnTo>
                  <a:lnTo>
                    <a:pt x="1218" y="2184"/>
                  </a:lnTo>
                  <a:lnTo>
                    <a:pt x="1224" y="2196"/>
                  </a:lnTo>
                  <a:lnTo>
                    <a:pt x="1230" y="2202"/>
                  </a:lnTo>
                  <a:lnTo>
                    <a:pt x="1266" y="2214"/>
                  </a:lnTo>
                  <a:lnTo>
                    <a:pt x="1308" y="2220"/>
                  </a:lnTo>
                  <a:lnTo>
                    <a:pt x="1380" y="2220"/>
                  </a:lnTo>
                  <a:lnTo>
                    <a:pt x="1392" y="2226"/>
                  </a:lnTo>
                  <a:lnTo>
                    <a:pt x="1398" y="2232"/>
                  </a:lnTo>
                  <a:lnTo>
                    <a:pt x="1398" y="2256"/>
                  </a:lnTo>
                  <a:lnTo>
                    <a:pt x="1404" y="2274"/>
                  </a:lnTo>
                  <a:lnTo>
                    <a:pt x="1404" y="2298"/>
                  </a:lnTo>
                  <a:lnTo>
                    <a:pt x="1410" y="2316"/>
                  </a:lnTo>
                  <a:lnTo>
                    <a:pt x="1410" y="2334"/>
                  </a:lnTo>
                  <a:lnTo>
                    <a:pt x="1422" y="2358"/>
                  </a:lnTo>
                  <a:lnTo>
                    <a:pt x="1434" y="2364"/>
                  </a:lnTo>
                  <a:lnTo>
                    <a:pt x="1446" y="2364"/>
                  </a:lnTo>
                  <a:lnTo>
                    <a:pt x="1464" y="2346"/>
                  </a:lnTo>
                  <a:lnTo>
                    <a:pt x="1476" y="2346"/>
                  </a:lnTo>
                  <a:lnTo>
                    <a:pt x="1488" y="2352"/>
                  </a:lnTo>
                  <a:lnTo>
                    <a:pt x="1500" y="2364"/>
                  </a:lnTo>
                  <a:lnTo>
                    <a:pt x="1506" y="2376"/>
                  </a:lnTo>
                  <a:lnTo>
                    <a:pt x="1506" y="2394"/>
                  </a:lnTo>
                  <a:lnTo>
                    <a:pt x="1500" y="2412"/>
                  </a:lnTo>
                  <a:lnTo>
                    <a:pt x="1500" y="2442"/>
                  </a:lnTo>
                  <a:lnTo>
                    <a:pt x="1494" y="2448"/>
                  </a:lnTo>
                  <a:lnTo>
                    <a:pt x="1494" y="2454"/>
                  </a:lnTo>
                  <a:lnTo>
                    <a:pt x="1488" y="2466"/>
                  </a:lnTo>
                  <a:lnTo>
                    <a:pt x="1488" y="2478"/>
                  </a:lnTo>
                  <a:lnTo>
                    <a:pt x="1494" y="2496"/>
                  </a:lnTo>
                  <a:lnTo>
                    <a:pt x="1506" y="2490"/>
                  </a:lnTo>
                  <a:lnTo>
                    <a:pt x="1512" y="2484"/>
                  </a:lnTo>
                  <a:lnTo>
                    <a:pt x="1530" y="2484"/>
                  </a:lnTo>
                  <a:lnTo>
                    <a:pt x="1536" y="2490"/>
                  </a:lnTo>
                  <a:lnTo>
                    <a:pt x="1548" y="2514"/>
                  </a:lnTo>
                  <a:lnTo>
                    <a:pt x="1548" y="2526"/>
                  </a:lnTo>
                  <a:lnTo>
                    <a:pt x="1554" y="2526"/>
                  </a:lnTo>
                  <a:lnTo>
                    <a:pt x="1560" y="2532"/>
                  </a:lnTo>
                  <a:lnTo>
                    <a:pt x="1560" y="2562"/>
                  </a:lnTo>
                  <a:lnTo>
                    <a:pt x="1566" y="2580"/>
                  </a:lnTo>
                  <a:lnTo>
                    <a:pt x="1566" y="2616"/>
                  </a:lnTo>
                  <a:lnTo>
                    <a:pt x="1512" y="2634"/>
                  </a:lnTo>
                  <a:lnTo>
                    <a:pt x="1506" y="2640"/>
                  </a:lnTo>
                  <a:lnTo>
                    <a:pt x="1500" y="2652"/>
                  </a:lnTo>
                  <a:lnTo>
                    <a:pt x="1500" y="2670"/>
                  </a:lnTo>
                  <a:lnTo>
                    <a:pt x="1464" y="2670"/>
                  </a:lnTo>
                  <a:lnTo>
                    <a:pt x="1464" y="2688"/>
                  </a:lnTo>
                  <a:lnTo>
                    <a:pt x="1458" y="2694"/>
                  </a:lnTo>
                  <a:lnTo>
                    <a:pt x="1452" y="2718"/>
                  </a:lnTo>
                  <a:lnTo>
                    <a:pt x="1428" y="2724"/>
                  </a:lnTo>
                  <a:lnTo>
                    <a:pt x="1428" y="2736"/>
                  </a:lnTo>
                  <a:lnTo>
                    <a:pt x="1422" y="2748"/>
                  </a:lnTo>
                  <a:lnTo>
                    <a:pt x="1422" y="2760"/>
                  </a:lnTo>
                  <a:lnTo>
                    <a:pt x="1404" y="2778"/>
                  </a:lnTo>
                  <a:lnTo>
                    <a:pt x="1392" y="2778"/>
                  </a:lnTo>
                  <a:lnTo>
                    <a:pt x="1392" y="2802"/>
                  </a:lnTo>
                  <a:lnTo>
                    <a:pt x="1386" y="2808"/>
                  </a:lnTo>
                  <a:lnTo>
                    <a:pt x="1380" y="2820"/>
                  </a:lnTo>
                  <a:lnTo>
                    <a:pt x="1374" y="2826"/>
                  </a:lnTo>
                  <a:lnTo>
                    <a:pt x="1356" y="2826"/>
                  </a:lnTo>
                  <a:lnTo>
                    <a:pt x="1350" y="2832"/>
                  </a:lnTo>
                  <a:lnTo>
                    <a:pt x="1350" y="2844"/>
                  </a:lnTo>
                  <a:lnTo>
                    <a:pt x="1344" y="2856"/>
                  </a:lnTo>
                  <a:lnTo>
                    <a:pt x="1344" y="2868"/>
                  </a:lnTo>
                  <a:lnTo>
                    <a:pt x="1368" y="2868"/>
                  </a:lnTo>
                  <a:lnTo>
                    <a:pt x="1374" y="2862"/>
                  </a:lnTo>
                  <a:lnTo>
                    <a:pt x="1386" y="2856"/>
                  </a:lnTo>
                  <a:lnTo>
                    <a:pt x="1398" y="2856"/>
                  </a:lnTo>
                  <a:lnTo>
                    <a:pt x="1404" y="2862"/>
                  </a:lnTo>
                  <a:lnTo>
                    <a:pt x="1428" y="2874"/>
                  </a:lnTo>
                  <a:lnTo>
                    <a:pt x="1434" y="2886"/>
                  </a:lnTo>
                  <a:lnTo>
                    <a:pt x="1446" y="2892"/>
                  </a:lnTo>
                  <a:lnTo>
                    <a:pt x="1452" y="2898"/>
                  </a:lnTo>
                  <a:lnTo>
                    <a:pt x="1458" y="2910"/>
                  </a:lnTo>
                  <a:lnTo>
                    <a:pt x="1470" y="2922"/>
                  </a:lnTo>
                  <a:lnTo>
                    <a:pt x="1470" y="2934"/>
                  </a:lnTo>
                  <a:lnTo>
                    <a:pt x="1482" y="2934"/>
                  </a:lnTo>
                  <a:lnTo>
                    <a:pt x="1482" y="2928"/>
                  </a:lnTo>
                  <a:lnTo>
                    <a:pt x="1494" y="2916"/>
                  </a:lnTo>
                  <a:lnTo>
                    <a:pt x="1500" y="2916"/>
                  </a:lnTo>
                  <a:lnTo>
                    <a:pt x="1512" y="2922"/>
                  </a:lnTo>
                  <a:lnTo>
                    <a:pt x="1518" y="2934"/>
                  </a:lnTo>
                  <a:lnTo>
                    <a:pt x="1536" y="2952"/>
                  </a:lnTo>
                  <a:lnTo>
                    <a:pt x="1554" y="2952"/>
                  </a:lnTo>
                  <a:lnTo>
                    <a:pt x="1572" y="2970"/>
                  </a:lnTo>
                  <a:lnTo>
                    <a:pt x="1578" y="2970"/>
                  </a:lnTo>
                  <a:lnTo>
                    <a:pt x="1578" y="2982"/>
                  </a:lnTo>
                  <a:lnTo>
                    <a:pt x="1584" y="2988"/>
                  </a:lnTo>
                  <a:lnTo>
                    <a:pt x="1596" y="2994"/>
                  </a:lnTo>
                  <a:lnTo>
                    <a:pt x="1614" y="3000"/>
                  </a:lnTo>
                  <a:lnTo>
                    <a:pt x="1626" y="3000"/>
                  </a:lnTo>
                  <a:lnTo>
                    <a:pt x="1632" y="3012"/>
                  </a:lnTo>
                  <a:lnTo>
                    <a:pt x="1638" y="3018"/>
                  </a:lnTo>
                  <a:lnTo>
                    <a:pt x="1644" y="3030"/>
                  </a:lnTo>
                  <a:lnTo>
                    <a:pt x="1662" y="3048"/>
                  </a:lnTo>
                  <a:lnTo>
                    <a:pt x="1668" y="3048"/>
                  </a:lnTo>
                  <a:lnTo>
                    <a:pt x="1680" y="3054"/>
                  </a:lnTo>
                  <a:lnTo>
                    <a:pt x="1686" y="3054"/>
                  </a:lnTo>
                  <a:lnTo>
                    <a:pt x="1686" y="3066"/>
                  </a:lnTo>
                  <a:lnTo>
                    <a:pt x="1674" y="3090"/>
                  </a:lnTo>
                  <a:lnTo>
                    <a:pt x="1668" y="3096"/>
                  </a:lnTo>
                  <a:lnTo>
                    <a:pt x="1668" y="3120"/>
                  </a:lnTo>
                  <a:lnTo>
                    <a:pt x="1674" y="3120"/>
                  </a:lnTo>
                  <a:lnTo>
                    <a:pt x="1674" y="3150"/>
                  </a:lnTo>
                  <a:lnTo>
                    <a:pt x="1692" y="3150"/>
                  </a:lnTo>
                  <a:lnTo>
                    <a:pt x="1692" y="3144"/>
                  </a:lnTo>
                  <a:lnTo>
                    <a:pt x="1698" y="3132"/>
                  </a:lnTo>
                  <a:lnTo>
                    <a:pt x="1710" y="3126"/>
                  </a:lnTo>
                  <a:lnTo>
                    <a:pt x="1716" y="3114"/>
                  </a:lnTo>
                  <a:lnTo>
                    <a:pt x="1728" y="3102"/>
                  </a:lnTo>
                  <a:lnTo>
                    <a:pt x="1734" y="3090"/>
                  </a:lnTo>
                  <a:lnTo>
                    <a:pt x="1734" y="3060"/>
                  </a:lnTo>
                  <a:lnTo>
                    <a:pt x="1728" y="3054"/>
                  </a:lnTo>
                  <a:lnTo>
                    <a:pt x="1728" y="3048"/>
                  </a:lnTo>
                  <a:lnTo>
                    <a:pt x="1746" y="3018"/>
                  </a:lnTo>
                  <a:lnTo>
                    <a:pt x="1734" y="3012"/>
                  </a:lnTo>
                  <a:lnTo>
                    <a:pt x="1728" y="3000"/>
                  </a:lnTo>
                  <a:lnTo>
                    <a:pt x="1728" y="2988"/>
                  </a:lnTo>
                  <a:lnTo>
                    <a:pt x="1740" y="2976"/>
                  </a:lnTo>
                  <a:lnTo>
                    <a:pt x="1746" y="2976"/>
                  </a:lnTo>
                  <a:lnTo>
                    <a:pt x="1746" y="2952"/>
                  </a:lnTo>
                  <a:lnTo>
                    <a:pt x="1764" y="2952"/>
                  </a:lnTo>
                  <a:lnTo>
                    <a:pt x="1776" y="2940"/>
                  </a:lnTo>
                  <a:lnTo>
                    <a:pt x="1776" y="2904"/>
                  </a:lnTo>
                  <a:lnTo>
                    <a:pt x="1782" y="2898"/>
                  </a:lnTo>
                  <a:lnTo>
                    <a:pt x="1788" y="2886"/>
                  </a:lnTo>
                  <a:lnTo>
                    <a:pt x="1800" y="2874"/>
                  </a:lnTo>
                  <a:lnTo>
                    <a:pt x="1812" y="2868"/>
                  </a:lnTo>
                  <a:lnTo>
                    <a:pt x="1818" y="2862"/>
                  </a:lnTo>
                  <a:lnTo>
                    <a:pt x="1824" y="2862"/>
                  </a:lnTo>
                  <a:lnTo>
                    <a:pt x="1824" y="2898"/>
                  </a:lnTo>
                  <a:lnTo>
                    <a:pt x="1818" y="2904"/>
                  </a:lnTo>
                  <a:lnTo>
                    <a:pt x="1818" y="2910"/>
                  </a:lnTo>
                  <a:lnTo>
                    <a:pt x="1812" y="2916"/>
                  </a:lnTo>
                  <a:lnTo>
                    <a:pt x="1812" y="2934"/>
                  </a:lnTo>
                  <a:lnTo>
                    <a:pt x="1800" y="2940"/>
                  </a:lnTo>
                  <a:lnTo>
                    <a:pt x="1800" y="2952"/>
                  </a:lnTo>
                  <a:lnTo>
                    <a:pt x="1776" y="2982"/>
                  </a:lnTo>
                  <a:lnTo>
                    <a:pt x="1746" y="3006"/>
                  </a:lnTo>
                  <a:lnTo>
                    <a:pt x="1752" y="3012"/>
                  </a:lnTo>
                  <a:lnTo>
                    <a:pt x="1770" y="3012"/>
                  </a:lnTo>
                  <a:lnTo>
                    <a:pt x="1770" y="2994"/>
                  </a:lnTo>
                  <a:lnTo>
                    <a:pt x="1776" y="2988"/>
                  </a:lnTo>
                  <a:lnTo>
                    <a:pt x="1788" y="2988"/>
                  </a:lnTo>
                  <a:lnTo>
                    <a:pt x="1794" y="2982"/>
                  </a:lnTo>
                  <a:lnTo>
                    <a:pt x="1800" y="2982"/>
                  </a:lnTo>
                  <a:lnTo>
                    <a:pt x="1812" y="2964"/>
                  </a:lnTo>
                  <a:lnTo>
                    <a:pt x="1824" y="2940"/>
                  </a:lnTo>
                  <a:lnTo>
                    <a:pt x="1848" y="2880"/>
                  </a:lnTo>
                  <a:lnTo>
                    <a:pt x="1860" y="2832"/>
                  </a:lnTo>
                  <a:lnTo>
                    <a:pt x="1872" y="2808"/>
                  </a:lnTo>
                  <a:lnTo>
                    <a:pt x="1878" y="2790"/>
                  </a:lnTo>
                  <a:lnTo>
                    <a:pt x="1884" y="2778"/>
                  </a:lnTo>
                  <a:lnTo>
                    <a:pt x="1896" y="2772"/>
                  </a:lnTo>
                  <a:lnTo>
                    <a:pt x="1902" y="2760"/>
                  </a:lnTo>
                  <a:lnTo>
                    <a:pt x="1926" y="2736"/>
                  </a:lnTo>
                  <a:lnTo>
                    <a:pt x="1926" y="2724"/>
                  </a:lnTo>
                  <a:lnTo>
                    <a:pt x="1920" y="2718"/>
                  </a:lnTo>
                  <a:lnTo>
                    <a:pt x="1938" y="2706"/>
                  </a:lnTo>
                  <a:lnTo>
                    <a:pt x="1932" y="2670"/>
                  </a:lnTo>
                  <a:lnTo>
                    <a:pt x="1938" y="2646"/>
                  </a:lnTo>
                  <a:lnTo>
                    <a:pt x="1926" y="2640"/>
                  </a:lnTo>
                  <a:lnTo>
                    <a:pt x="1932" y="2634"/>
                  </a:lnTo>
                  <a:lnTo>
                    <a:pt x="1938" y="2622"/>
                  </a:lnTo>
                  <a:lnTo>
                    <a:pt x="1938" y="2610"/>
                  </a:lnTo>
                  <a:lnTo>
                    <a:pt x="1932" y="2604"/>
                  </a:lnTo>
                  <a:lnTo>
                    <a:pt x="1920" y="2598"/>
                  </a:lnTo>
                  <a:lnTo>
                    <a:pt x="1914" y="2592"/>
                  </a:lnTo>
                  <a:lnTo>
                    <a:pt x="1914" y="2556"/>
                  </a:lnTo>
                  <a:lnTo>
                    <a:pt x="1896" y="2544"/>
                  </a:lnTo>
                  <a:lnTo>
                    <a:pt x="1920" y="2544"/>
                  </a:lnTo>
                  <a:lnTo>
                    <a:pt x="1914" y="2520"/>
                  </a:lnTo>
                  <a:lnTo>
                    <a:pt x="1902" y="2508"/>
                  </a:lnTo>
                  <a:lnTo>
                    <a:pt x="1908" y="2508"/>
                  </a:lnTo>
                  <a:lnTo>
                    <a:pt x="1920" y="2502"/>
                  </a:lnTo>
                  <a:lnTo>
                    <a:pt x="1920" y="2490"/>
                  </a:lnTo>
                  <a:lnTo>
                    <a:pt x="1914" y="2490"/>
                  </a:lnTo>
                  <a:lnTo>
                    <a:pt x="1902" y="2484"/>
                  </a:lnTo>
                  <a:lnTo>
                    <a:pt x="1896" y="2478"/>
                  </a:lnTo>
                  <a:lnTo>
                    <a:pt x="1920" y="2460"/>
                  </a:lnTo>
                  <a:lnTo>
                    <a:pt x="1932" y="2472"/>
                  </a:lnTo>
                  <a:lnTo>
                    <a:pt x="1944" y="2478"/>
                  </a:lnTo>
                  <a:lnTo>
                    <a:pt x="1950" y="2478"/>
                  </a:lnTo>
                  <a:lnTo>
                    <a:pt x="1950" y="2448"/>
                  </a:lnTo>
                  <a:lnTo>
                    <a:pt x="1962" y="2424"/>
                  </a:lnTo>
                  <a:lnTo>
                    <a:pt x="1974" y="2418"/>
                  </a:lnTo>
                  <a:lnTo>
                    <a:pt x="1980" y="2418"/>
                  </a:lnTo>
                  <a:lnTo>
                    <a:pt x="2004" y="2406"/>
                  </a:lnTo>
                  <a:lnTo>
                    <a:pt x="2010" y="2394"/>
                  </a:lnTo>
                  <a:lnTo>
                    <a:pt x="2010" y="2382"/>
                  </a:lnTo>
                  <a:lnTo>
                    <a:pt x="2016" y="2376"/>
                  </a:lnTo>
                  <a:lnTo>
                    <a:pt x="2028" y="2376"/>
                  </a:lnTo>
                  <a:lnTo>
                    <a:pt x="2034" y="2370"/>
                  </a:lnTo>
                  <a:lnTo>
                    <a:pt x="2046" y="2370"/>
                  </a:lnTo>
                  <a:lnTo>
                    <a:pt x="2046" y="2358"/>
                  </a:lnTo>
                  <a:lnTo>
                    <a:pt x="2070" y="2358"/>
                  </a:lnTo>
                  <a:lnTo>
                    <a:pt x="2070" y="2340"/>
                  </a:lnTo>
                  <a:lnTo>
                    <a:pt x="2118" y="2340"/>
                  </a:lnTo>
                  <a:lnTo>
                    <a:pt x="2124" y="2358"/>
                  </a:lnTo>
                  <a:lnTo>
                    <a:pt x="2136" y="2352"/>
                  </a:lnTo>
                  <a:lnTo>
                    <a:pt x="2118" y="2334"/>
                  </a:lnTo>
                  <a:lnTo>
                    <a:pt x="2136" y="2316"/>
                  </a:lnTo>
                  <a:lnTo>
                    <a:pt x="2142" y="2316"/>
                  </a:lnTo>
                  <a:lnTo>
                    <a:pt x="2154" y="2310"/>
                  </a:lnTo>
                  <a:lnTo>
                    <a:pt x="2178" y="2310"/>
                  </a:lnTo>
                  <a:lnTo>
                    <a:pt x="2160" y="2292"/>
                  </a:lnTo>
                  <a:lnTo>
                    <a:pt x="2172" y="2286"/>
                  </a:lnTo>
                  <a:lnTo>
                    <a:pt x="2178" y="2280"/>
                  </a:lnTo>
                  <a:lnTo>
                    <a:pt x="2190" y="2280"/>
                  </a:lnTo>
                  <a:lnTo>
                    <a:pt x="2190" y="2304"/>
                  </a:lnTo>
                  <a:lnTo>
                    <a:pt x="2196" y="2304"/>
                  </a:lnTo>
                  <a:lnTo>
                    <a:pt x="2196" y="2298"/>
                  </a:lnTo>
                  <a:lnTo>
                    <a:pt x="2202" y="2286"/>
                  </a:lnTo>
                  <a:lnTo>
                    <a:pt x="2208" y="2280"/>
                  </a:lnTo>
                  <a:lnTo>
                    <a:pt x="2244" y="2286"/>
                  </a:lnTo>
                  <a:lnTo>
                    <a:pt x="2244" y="2280"/>
                  </a:lnTo>
                  <a:lnTo>
                    <a:pt x="2250" y="2274"/>
                  </a:lnTo>
                  <a:lnTo>
                    <a:pt x="2250" y="2268"/>
                  </a:lnTo>
                  <a:lnTo>
                    <a:pt x="2256" y="2262"/>
                  </a:lnTo>
                  <a:lnTo>
                    <a:pt x="2268" y="2256"/>
                  </a:lnTo>
                  <a:lnTo>
                    <a:pt x="2274" y="2256"/>
                  </a:lnTo>
                  <a:lnTo>
                    <a:pt x="2280" y="2262"/>
                  </a:lnTo>
                  <a:lnTo>
                    <a:pt x="2280" y="2286"/>
                  </a:lnTo>
                  <a:lnTo>
                    <a:pt x="2346" y="2280"/>
                  </a:lnTo>
                  <a:lnTo>
                    <a:pt x="2352" y="2262"/>
                  </a:lnTo>
                  <a:lnTo>
                    <a:pt x="2346" y="2250"/>
                  </a:lnTo>
                  <a:lnTo>
                    <a:pt x="2352" y="2244"/>
                  </a:lnTo>
                  <a:lnTo>
                    <a:pt x="2358" y="2232"/>
                  </a:lnTo>
                  <a:lnTo>
                    <a:pt x="2370" y="2220"/>
                  </a:lnTo>
                  <a:lnTo>
                    <a:pt x="2406" y="2202"/>
                  </a:lnTo>
                  <a:lnTo>
                    <a:pt x="2418" y="2202"/>
                  </a:lnTo>
                  <a:lnTo>
                    <a:pt x="2412" y="2190"/>
                  </a:lnTo>
                  <a:lnTo>
                    <a:pt x="2412" y="2112"/>
                  </a:lnTo>
                  <a:lnTo>
                    <a:pt x="2442" y="2082"/>
                  </a:lnTo>
                  <a:lnTo>
                    <a:pt x="2442" y="2058"/>
                  </a:lnTo>
                  <a:lnTo>
                    <a:pt x="2460" y="2052"/>
                  </a:lnTo>
                  <a:lnTo>
                    <a:pt x="2460" y="2022"/>
                  </a:lnTo>
                  <a:lnTo>
                    <a:pt x="2466" y="2022"/>
                  </a:lnTo>
                  <a:lnTo>
                    <a:pt x="2472" y="2016"/>
                  </a:lnTo>
                  <a:lnTo>
                    <a:pt x="2478" y="2016"/>
                  </a:lnTo>
                  <a:lnTo>
                    <a:pt x="2478" y="2010"/>
                  </a:lnTo>
                  <a:lnTo>
                    <a:pt x="2484" y="2004"/>
                  </a:lnTo>
                  <a:lnTo>
                    <a:pt x="2484" y="1956"/>
                  </a:lnTo>
                  <a:lnTo>
                    <a:pt x="2478" y="1944"/>
                  </a:lnTo>
                  <a:lnTo>
                    <a:pt x="2478" y="1926"/>
                  </a:lnTo>
                  <a:lnTo>
                    <a:pt x="2472" y="1908"/>
                  </a:lnTo>
                  <a:lnTo>
                    <a:pt x="2484" y="1884"/>
                  </a:lnTo>
                  <a:lnTo>
                    <a:pt x="2514" y="1854"/>
                  </a:lnTo>
                  <a:lnTo>
                    <a:pt x="2514" y="1848"/>
                  </a:lnTo>
                  <a:lnTo>
                    <a:pt x="2508" y="1836"/>
                  </a:lnTo>
                  <a:lnTo>
                    <a:pt x="2508" y="1830"/>
                  </a:lnTo>
                  <a:lnTo>
                    <a:pt x="2502" y="1818"/>
                  </a:lnTo>
                  <a:lnTo>
                    <a:pt x="2508" y="1764"/>
                  </a:lnTo>
                  <a:lnTo>
                    <a:pt x="2508" y="1758"/>
                  </a:lnTo>
                  <a:lnTo>
                    <a:pt x="2514" y="1752"/>
                  </a:lnTo>
                  <a:lnTo>
                    <a:pt x="2514" y="1722"/>
                  </a:lnTo>
                  <a:lnTo>
                    <a:pt x="2520" y="1710"/>
                  </a:lnTo>
                  <a:lnTo>
                    <a:pt x="2520" y="1680"/>
                  </a:lnTo>
                  <a:lnTo>
                    <a:pt x="2508" y="1644"/>
                  </a:lnTo>
                  <a:lnTo>
                    <a:pt x="2502" y="1608"/>
                  </a:lnTo>
                  <a:lnTo>
                    <a:pt x="2502" y="1596"/>
                  </a:lnTo>
                  <a:lnTo>
                    <a:pt x="2508" y="1560"/>
                  </a:lnTo>
                  <a:lnTo>
                    <a:pt x="2508" y="1548"/>
                  </a:lnTo>
                  <a:lnTo>
                    <a:pt x="2502" y="1536"/>
                  </a:lnTo>
                  <a:lnTo>
                    <a:pt x="2502" y="1500"/>
                  </a:lnTo>
                  <a:lnTo>
                    <a:pt x="2508" y="1488"/>
                  </a:lnTo>
                  <a:lnTo>
                    <a:pt x="2520" y="1476"/>
                  </a:lnTo>
                  <a:lnTo>
                    <a:pt x="2508" y="1458"/>
                  </a:lnTo>
                  <a:lnTo>
                    <a:pt x="2520" y="1446"/>
                  </a:lnTo>
                  <a:lnTo>
                    <a:pt x="2532" y="1446"/>
                  </a:lnTo>
                  <a:lnTo>
                    <a:pt x="2532" y="1452"/>
                  </a:lnTo>
                  <a:lnTo>
                    <a:pt x="2538" y="1464"/>
                  </a:lnTo>
                  <a:lnTo>
                    <a:pt x="2544" y="1470"/>
                  </a:lnTo>
                  <a:lnTo>
                    <a:pt x="2556" y="1464"/>
                  </a:lnTo>
                  <a:lnTo>
                    <a:pt x="2562" y="1452"/>
                  </a:lnTo>
                  <a:lnTo>
                    <a:pt x="2574" y="1446"/>
                  </a:lnTo>
                  <a:lnTo>
                    <a:pt x="2580" y="1434"/>
                  </a:lnTo>
                  <a:lnTo>
                    <a:pt x="2586" y="1428"/>
                  </a:lnTo>
                  <a:lnTo>
                    <a:pt x="2592" y="1416"/>
                  </a:lnTo>
                  <a:lnTo>
                    <a:pt x="2592" y="1404"/>
                  </a:lnTo>
                  <a:lnTo>
                    <a:pt x="2598" y="1386"/>
                  </a:lnTo>
                  <a:lnTo>
                    <a:pt x="2598" y="1374"/>
                  </a:lnTo>
                  <a:lnTo>
                    <a:pt x="2604" y="1356"/>
                  </a:lnTo>
                  <a:lnTo>
                    <a:pt x="2604" y="1344"/>
                  </a:lnTo>
                  <a:lnTo>
                    <a:pt x="2610" y="1338"/>
                  </a:lnTo>
                  <a:lnTo>
                    <a:pt x="2616" y="1338"/>
                  </a:lnTo>
                  <a:lnTo>
                    <a:pt x="2628" y="1326"/>
                  </a:lnTo>
                  <a:lnTo>
                    <a:pt x="2634" y="1314"/>
                  </a:lnTo>
                  <a:lnTo>
                    <a:pt x="2640" y="1308"/>
                  </a:lnTo>
                  <a:lnTo>
                    <a:pt x="2640" y="1296"/>
                  </a:lnTo>
                  <a:lnTo>
                    <a:pt x="2652" y="1290"/>
                  </a:lnTo>
                  <a:lnTo>
                    <a:pt x="2658" y="1284"/>
                  </a:lnTo>
                  <a:lnTo>
                    <a:pt x="2670" y="1284"/>
                  </a:lnTo>
                  <a:lnTo>
                    <a:pt x="2682" y="1272"/>
                  </a:lnTo>
                  <a:lnTo>
                    <a:pt x="2682" y="1254"/>
                  </a:lnTo>
                  <a:lnTo>
                    <a:pt x="2688" y="1254"/>
                  </a:lnTo>
                  <a:lnTo>
                    <a:pt x="2724" y="1218"/>
                  </a:lnTo>
                  <a:lnTo>
                    <a:pt x="2736" y="1188"/>
                  </a:lnTo>
                  <a:lnTo>
                    <a:pt x="2754" y="1158"/>
                  </a:lnTo>
                  <a:lnTo>
                    <a:pt x="2760" y="1134"/>
                  </a:lnTo>
                  <a:lnTo>
                    <a:pt x="2766" y="1122"/>
                  </a:lnTo>
                  <a:lnTo>
                    <a:pt x="2772" y="1116"/>
                  </a:lnTo>
                  <a:lnTo>
                    <a:pt x="2778" y="1104"/>
                  </a:lnTo>
                  <a:lnTo>
                    <a:pt x="2784" y="1098"/>
                  </a:lnTo>
                  <a:lnTo>
                    <a:pt x="2784" y="1080"/>
                  </a:lnTo>
                  <a:lnTo>
                    <a:pt x="2778" y="1068"/>
                  </a:lnTo>
                  <a:lnTo>
                    <a:pt x="2778" y="1002"/>
                  </a:lnTo>
                  <a:close/>
                </a:path>
              </a:pathLst>
            </a:custGeom>
            <a:solidFill>
              <a:srgbClr val="FFFF0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228" name="Botswana" descr="© INSCALE GmbH, 05.05.2010&#10;http://www.presentationload.com/">
              <a:extLst>
                <a:ext uri="{FF2B5EF4-FFF2-40B4-BE49-F238E27FC236}">
                  <a16:creationId xmlns:a16="http://schemas.microsoft.com/office/drawing/2014/main" id="{536781C6-9982-9966-9E65-CEDD0647F250}"/>
                </a:ext>
              </a:extLst>
            </p:cNvPr>
            <p:cNvSpPr>
              <a:spLocks/>
            </p:cNvSpPr>
            <p:nvPr/>
          </p:nvSpPr>
          <p:spPr bwMode="gray">
            <a:xfrm>
              <a:off x="4766081" y="3761029"/>
              <a:ext cx="246074" cy="277205"/>
            </a:xfrm>
            <a:custGeom>
              <a:avLst/>
              <a:gdLst>
                <a:gd name="T0" fmla="*/ 2147483647 w 648"/>
                <a:gd name="T1" fmla="*/ 2147483647 h 732"/>
                <a:gd name="T2" fmla="*/ 2147483647 w 648"/>
                <a:gd name="T3" fmla="*/ 2147483647 h 732"/>
                <a:gd name="T4" fmla="*/ 2147483647 w 648"/>
                <a:gd name="T5" fmla="*/ 2147483647 h 732"/>
                <a:gd name="T6" fmla="*/ 2147483647 w 648"/>
                <a:gd name="T7" fmla="*/ 2147483647 h 732"/>
                <a:gd name="T8" fmla="*/ 2147483647 w 648"/>
                <a:gd name="T9" fmla="*/ 2147483647 h 732"/>
                <a:gd name="T10" fmla="*/ 2147483647 w 648"/>
                <a:gd name="T11" fmla="*/ 2147483647 h 732"/>
                <a:gd name="T12" fmla="*/ 2147483647 w 648"/>
                <a:gd name="T13" fmla="*/ 2147483647 h 732"/>
                <a:gd name="T14" fmla="*/ 2147483647 w 648"/>
                <a:gd name="T15" fmla="*/ 2147483647 h 732"/>
                <a:gd name="T16" fmla="*/ 2147483647 w 648"/>
                <a:gd name="T17" fmla="*/ 2147483647 h 732"/>
                <a:gd name="T18" fmla="*/ 2147483647 w 648"/>
                <a:gd name="T19" fmla="*/ 2147483647 h 732"/>
                <a:gd name="T20" fmla="*/ 2147483647 w 648"/>
                <a:gd name="T21" fmla="*/ 2147483647 h 732"/>
                <a:gd name="T22" fmla="*/ 2147483647 w 648"/>
                <a:gd name="T23" fmla="*/ 2147483647 h 732"/>
                <a:gd name="T24" fmla="*/ 2147483647 w 648"/>
                <a:gd name="T25" fmla="*/ 2147483647 h 732"/>
                <a:gd name="T26" fmla="*/ 2147483647 w 648"/>
                <a:gd name="T27" fmla="*/ 2147483647 h 732"/>
                <a:gd name="T28" fmla="*/ 2147483647 w 648"/>
                <a:gd name="T29" fmla="*/ 2147483647 h 732"/>
                <a:gd name="T30" fmla="*/ 2147483647 w 648"/>
                <a:gd name="T31" fmla="*/ 2147483647 h 732"/>
                <a:gd name="T32" fmla="*/ 2147483647 w 648"/>
                <a:gd name="T33" fmla="*/ 2147483647 h 732"/>
                <a:gd name="T34" fmla="*/ 2147483647 w 648"/>
                <a:gd name="T35" fmla="*/ 2147483647 h 732"/>
                <a:gd name="T36" fmla="*/ 2147483647 w 648"/>
                <a:gd name="T37" fmla="*/ 2147483647 h 732"/>
                <a:gd name="T38" fmla="*/ 2147483647 w 648"/>
                <a:gd name="T39" fmla="*/ 2147483647 h 732"/>
                <a:gd name="T40" fmla="*/ 2147483647 w 648"/>
                <a:gd name="T41" fmla="*/ 2147483647 h 732"/>
                <a:gd name="T42" fmla="*/ 2147483647 w 648"/>
                <a:gd name="T43" fmla="*/ 2147483647 h 732"/>
                <a:gd name="T44" fmla="*/ 2147483647 w 648"/>
                <a:gd name="T45" fmla="*/ 2147483647 h 732"/>
                <a:gd name="T46" fmla="*/ 2147483647 w 648"/>
                <a:gd name="T47" fmla="*/ 2147483647 h 732"/>
                <a:gd name="T48" fmla="*/ 2147483647 w 648"/>
                <a:gd name="T49" fmla="*/ 2147483647 h 732"/>
                <a:gd name="T50" fmla="*/ 2147483647 w 648"/>
                <a:gd name="T51" fmla="*/ 2147483647 h 732"/>
                <a:gd name="T52" fmla="*/ 2147483647 w 648"/>
                <a:gd name="T53" fmla="*/ 2147483647 h 732"/>
                <a:gd name="T54" fmla="*/ 2147483647 w 648"/>
                <a:gd name="T55" fmla="*/ 2147483647 h 732"/>
                <a:gd name="T56" fmla="*/ 2147483647 w 648"/>
                <a:gd name="T57" fmla="*/ 2147483647 h 732"/>
                <a:gd name="T58" fmla="*/ 2147483647 w 648"/>
                <a:gd name="T59" fmla="*/ 2147483647 h 732"/>
                <a:gd name="T60" fmla="*/ 2147483647 w 648"/>
                <a:gd name="T61" fmla="*/ 2147483647 h 732"/>
                <a:gd name="T62" fmla="*/ 2147483647 w 648"/>
                <a:gd name="T63" fmla="*/ 2147483647 h 732"/>
                <a:gd name="T64" fmla="*/ 2147483647 w 648"/>
                <a:gd name="T65" fmla="*/ 2147483647 h 732"/>
                <a:gd name="T66" fmla="*/ 2147483647 w 648"/>
                <a:gd name="T67" fmla="*/ 2147483647 h 732"/>
                <a:gd name="T68" fmla="*/ 2147483647 w 648"/>
                <a:gd name="T69" fmla="*/ 2147483647 h 732"/>
                <a:gd name="T70" fmla="*/ 2147483647 w 648"/>
                <a:gd name="T71" fmla="*/ 2147483647 h 732"/>
                <a:gd name="T72" fmla="*/ 2147483647 w 648"/>
                <a:gd name="T73" fmla="*/ 2147483647 h 732"/>
                <a:gd name="T74" fmla="*/ 2147483647 w 648"/>
                <a:gd name="T75" fmla="*/ 2147483647 h 732"/>
                <a:gd name="T76" fmla="*/ 2147483647 w 648"/>
                <a:gd name="T77" fmla="*/ 2147483647 h 732"/>
                <a:gd name="T78" fmla="*/ 2147483647 w 648"/>
                <a:gd name="T79" fmla="*/ 2147483647 h 732"/>
                <a:gd name="T80" fmla="*/ 2147483647 w 648"/>
                <a:gd name="T81" fmla="*/ 2147483647 h 732"/>
                <a:gd name="T82" fmla="*/ 2147483647 w 648"/>
                <a:gd name="T83" fmla="*/ 2147483647 h 732"/>
                <a:gd name="T84" fmla="*/ 2147483647 w 648"/>
                <a:gd name="T85" fmla="*/ 2147483647 h 732"/>
                <a:gd name="T86" fmla="*/ 2147483647 w 648"/>
                <a:gd name="T87" fmla="*/ 2147483647 h 732"/>
                <a:gd name="T88" fmla="*/ 2147483647 w 648"/>
                <a:gd name="T89" fmla="*/ 2147483647 h 732"/>
                <a:gd name="T90" fmla="*/ 2147483647 w 648"/>
                <a:gd name="T91" fmla="*/ 2147483647 h 732"/>
                <a:gd name="T92" fmla="*/ 2147483647 w 648"/>
                <a:gd name="T93" fmla="*/ 2147483647 h 732"/>
                <a:gd name="T94" fmla="*/ 2147483647 w 648"/>
                <a:gd name="T95" fmla="*/ 0 h 732"/>
                <a:gd name="T96" fmla="*/ 2147483647 w 648"/>
                <a:gd name="T97" fmla="*/ 2147483647 h 732"/>
                <a:gd name="T98" fmla="*/ 2147483647 w 648"/>
                <a:gd name="T99" fmla="*/ 2147483647 h 732"/>
                <a:gd name="T100" fmla="*/ 2147483647 w 648"/>
                <a:gd name="T101" fmla="*/ 2147483647 h 732"/>
                <a:gd name="T102" fmla="*/ 2147483647 w 648"/>
                <a:gd name="T103" fmla="*/ 2147483647 h 732"/>
                <a:gd name="T104" fmla="*/ 2147483647 w 648"/>
                <a:gd name="T105" fmla="*/ 2147483647 h 732"/>
                <a:gd name="T106" fmla="*/ 2147483647 w 648"/>
                <a:gd name="T107" fmla="*/ 2147483647 h 732"/>
                <a:gd name="T108" fmla="*/ 2147483647 w 648"/>
                <a:gd name="T109" fmla="*/ 2147483647 h 732"/>
                <a:gd name="T110" fmla="*/ 2147483647 w 648"/>
                <a:gd name="T111" fmla="*/ 2147483647 h 732"/>
                <a:gd name="T112" fmla="*/ 2147483647 w 648"/>
                <a:gd name="T113" fmla="*/ 2147483647 h 732"/>
                <a:gd name="T114" fmla="*/ 0 w 648"/>
                <a:gd name="T115" fmla="*/ 2147483647 h 7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48"/>
                <a:gd name="T175" fmla="*/ 0 h 732"/>
                <a:gd name="T176" fmla="*/ 648 w 648"/>
                <a:gd name="T177" fmla="*/ 732 h 7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48" h="732">
                  <a:moveTo>
                    <a:pt x="0" y="570"/>
                  </a:moveTo>
                  <a:lnTo>
                    <a:pt x="12" y="576"/>
                  </a:lnTo>
                  <a:lnTo>
                    <a:pt x="18" y="582"/>
                  </a:lnTo>
                  <a:lnTo>
                    <a:pt x="30" y="588"/>
                  </a:lnTo>
                  <a:lnTo>
                    <a:pt x="36" y="594"/>
                  </a:lnTo>
                  <a:lnTo>
                    <a:pt x="42" y="612"/>
                  </a:lnTo>
                  <a:lnTo>
                    <a:pt x="48" y="624"/>
                  </a:lnTo>
                  <a:lnTo>
                    <a:pt x="48" y="642"/>
                  </a:lnTo>
                  <a:lnTo>
                    <a:pt x="54" y="648"/>
                  </a:lnTo>
                  <a:lnTo>
                    <a:pt x="54" y="672"/>
                  </a:lnTo>
                  <a:lnTo>
                    <a:pt x="48" y="684"/>
                  </a:lnTo>
                  <a:lnTo>
                    <a:pt x="48" y="690"/>
                  </a:lnTo>
                  <a:lnTo>
                    <a:pt x="42" y="702"/>
                  </a:lnTo>
                  <a:lnTo>
                    <a:pt x="42" y="732"/>
                  </a:lnTo>
                  <a:lnTo>
                    <a:pt x="120" y="732"/>
                  </a:lnTo>
                  <a:lnTo>
                    <a:pt x="120" y="714"/>
                  </a:lnTo>
                  <a:lnTo>
                    <a:pt x="144" y="714"/>
                  </a:lnTo>
                  <a:lnTo>
                    <a:pt x="144" y="708"/>
                  </a:lnTo>
                  <a:lnTo>
                    <a:pt x="150" y="702"/>
                  </a:lnTo>
                  <a:lnTo>
                    <a:pt x="156" y="690"/>
                  </a:lnTo>
                  <a:lnTo>
                    <a:pt x="162" y="684"/>
                  </a:lnTo>
                  <a:lnTo>
                    <a:pt x="168" y="684"/>
                  </a:lnTo>
                  <a:lnTo>
                    <a:pt x="174" y="678"/>
                  </a:lnTo>
                  <a:lnTo>
                    <a:pt x="186" y="678"/>
                  </a:lnTo>
                  <a:lnTo>
                    <a:pt x="186" y="654"/>
                  </a:lnTo>
                  <a:lnTo>
                    <a:pt x="192" y="642"/>
                  </a:lnTo>
                  <a:lnTo>
                    <a:pt x="192" y="630"/>
                  </a:lnTo>
                  <a:lnTo>
                    <a:pt x="198" y="618"/>
                  </a:lnTo>
                  <a:lnTo>
                    <a:pt x="204" y="612"/>
                  </a:lnTo>
                  <a:lnTo>
                    <a:pt x="216" y="606"/>
                  </a:lnTo>
                  <a:lnTo>
                    <a:pt x="228" y="606"/>
                  </a:lnTo>
                  <a:lnTo>
                    <a:pt x="240" y="612"/>
                  </a:lnTo>
                  <a:lnTo>
                    <a:pt x="246" y="618"/>
                  </a:lnTo>
                  <a:lnTo>
                    <a:pt x="258" y="624"/>
                  </a:lnTo>
                  <a:lnTo>
                    <a:pt x="270" y="636"/>
                  </a:lnTo>
                  <a:lnTo>
                    <a:pt x="300" y="636"/>
                  </a:lnTo>
                  <a:lnTo>
                    <a:pt x="306" y="642"/>
                  </a:lnTo>
                  <a:lnTo>
                    <a:pt x="318" y="648"/>
                  </a:lnTo>
                  <a:lnTo>
                    <a:pt x="324" y="654"/>
                  </a:lnTo>
                  <a:lnTo>
                    <a:pt x="336" y="654"/>
                  </a:lnTo>
                  <a:lnTo>
                    <a:pt x="348" y="648"/>
                  </a:lnTo>
                  <a:lnTo>
                    <a:pt x="354" y="642"/>
                  </a:lnTo>
                  <a:lnTo>
                    <a:pt x="360" y="648"/>
                  </a:lnTo>
                  <a:lnTo>
                    <a:pt x="372" y="648"/>
                  </a:lnTo>
                  <a:lnTo>
                    <a:pt x="384" y="642"/>
                  </a:lnTo>
                  <a:lnTo>
                    <a:pt x="390" y="636"/>
                  </a:lnTo>
                  <a:lnTo>
                    <a:pt x="396" y="624"/>
                  </a:lnTo>
                  <a:lnTo>
                    <a:pt x="402" y="606"/>
                  </a:lnTo>
                  <a:lnTo>
                    <a:pt x="408" y="594"/>
                  </a:lnTo>
                  <a:lnTo>
                    <a:pt x="408" y="582"/>
                  </a:lnTo>
                  <a:lnTo>
                    <a:pt x="426" y="564"/>
                  </a:lnTo>
                  <a:lnTo>
                    <a:pt x="444" y="558"/>
                  </a:lnTo>
                  <a:lnTo>
                    <a:pt x="456" y="552"/>
                  </a:lnTo>
                  <a:lnTo>
                    <a:pt x="462" y="546"/>
                  </a:lnTo>
                  <a:lnTo>
                    <a:pt x="468" y="534"/>
                  </a:lnTo>
                  <a:lnTo>
                    <a:pt x="480" y="528"/>
                  </a:lnTo>
                  <a:lnTo>
                    <a:pt x="480" y="492"/>
                  </a:lnTo>
                  <a:lnTo>
                    <a:pt x="492" y="468"/>
                  </a:lnTo>
                  <a:lnTo>
                    <a:pt x="504" y="462"/>
                  </a:lnTo>
                  <a:lnTo>
                    <a:pt x="510" y="462"/>
                  </a:lnTo>
                  <a:lnTo>
                    <a:pt x="522" y="456"/>
                  </a:lnTo>
                  <a:lnTo>
                    <a:pt x="564" y="414"/>
                  </a:lnTo>
                  <a:lnTo>
                    <a:pt x="576" y="390"/>
                  </a:lnTo>
                  <a:lnTo>
                    <a:pt x="582" y="384"/>
                  </a:lnTo>
                  <a:lnTo>
                    <a:pt x="594" y="384"/>
                  </a:lnTo>
                  <a:lnTo>
                    <a:pt x="606" y="378"/>
                  </a:lnTo>
                  <a:lnTo>
                    <a:pt x="618" y="378"/>
                  </a:lnTo>
                  <a:lnTo>
                    <a:pt x="630" y="354"/>
                  </a:lnTo>
                  <a:lnTo>
                    <a:pt x="648" y="354"/>
                  </a:lnTo>
                  <a:lnTo>
                    <a:pt x="648" y="348"/>
                  </a:lnTo>
                  <a:lnTo>
                    <a:pt x="642" y="336"/>
                  </a:lnTo>
                  <a:lnTo>
                    <a:pt x="624" y="318"/>
                  </a:lnTo>
                  <a:lnTo>
                    <a:pt x="606" y="312"/>
                  </a:lnTo>
                  <a:lnTo>
                    <a:pt x="594" y="312"/>
                  </a:lnTo>
                  <a:lnTo>
                    <a:pt x="576" y="306"/>
                  </a:lnTo>
                  <a:lnTo>
                    <a:pt x="564" y="306"/>
                  </a:lnTo>
                  <a:lnTo>
                    <a:pt x="564" y="276"/>
                  </a:lnTo>
                  <a:lnTo>
                    <a:pt x="546" y="276"/>
                  </a:lnTo>
                  <a:lnTo>
                    <a:pt x="546" y="246"/>
                  </a:lnTo>
                  <a:lnTo>
                    <a:pt x="552" y="240"/>
                  </a:lnTo>
                  <a:lnTo>
                    <a:pt x="546" y="216"/>
                  </a:lnTo>
                  <a:lnTo>
                    <a:pt x="516" y="216"/>
                  </a:lnTo>
                  <a:lnTo>
                    <a:pt x="516" y="186"/>
                  </a:lnTo>
                  <a:lnTo>
                    <a:pt x="510" y="180"/>
                  </a:lnTo>
                  <a:lnTo>
                    <a:pt x="480" y="180"/>
                  </a:lnTo>
                  <a:lnTo>
                    <a:pt x="462" y="162"/>
                  </a:lnTo>
                  <a:lnTo>
                    <a:pt x="450" y="156"/>
                  </a:lnTo>
                  <a:lnTo>
                    <a:pt x="432" y="120"/>
                  </a:lnTo>
                  <a:lnTo>
                    <a:pt x="432" y="96"/>
                  </a:lnTo>
                  <a:lnTo>
                    <a:pt x="426" y="90"/>
                  </a:lnTo>
                  <a:lnTo>
                    <a:pt x="414" y="66"/>
                  </a:lnTo>
                  <a:lnTo>
                    <a:pt x="408" y="60"/>
                  </a:lnTo>
                  <a:lnTo>
                    <a:pt x="396" y="60"/>
                  </a:lnTo>
                  <a:lnTo>
                    <a:pt x="396" y="30"/>
                  </a:lnTo>
                  <a:lnTo>
                    <a:pt x="384" y="18"/>
                  </a:lnTo>
                  <a:lnTo>
                    <a:pt x="378" y="0"/>
                  </a:lnTo>
                  <a:lnTo>
                    <a:pt x="342" y="6"/>
                  </a:lnTo>
                  <a:lnTo>
                    <a:pt x="330" y="18"/>
                  </a:lnTo>
                  <a:lnTo>
                    <a:pt x="306" y="18"/>
                  </a:lnTo>
                  <a:lnTo>
                    <a:pt x="264" y="60"/>
                  </a:lnTo>
                  <a:lnTo>
                    <a:pt x="258" y="60"/>
                  </a:lnTo>
                  <a:lnTo>
                    <a:pt x="258" y="42"/>
                  </a:lnTo>
                  <a:lnTo>
                    <a:pt x="252" y="42"/>
                  </a:lnTo>
                  <a:lnTo>
                    <a:pt x="252" y="24"/>
                  </a:lnTo>
                  <a:lnTo>
                    <a:pt x="246" y="18"/>
                  </a:lnTo>
                  <a:lnTo>
                    <a:pt x="228" y="18"/>
                  </a:lnTo>
                  <a:lnTo>
                    <a:pt x="216" y="24"/>
                  </a:lnTo>
                  <a:lnTo>
                    <a:pt x="168" y="36"/>
                  </a:lnTo>
                  <a:lnTo>
                    <a:pt x="132" y="36"/>
                  </a:lnTo>
                  <a:lnTo>
                    <a:pt x="114" y="42"/>
                  </a:lnTo>
                  <a:lnTo>
                    <a:pt x="78" y="42"/>
                  </a:lnTo>
                  <a:lnTo>
                    <a:pt x="78" y="216"/>
                  </a:lnTo>
                  <a:lnTo>
                    <a:pt x="72" y="222"/>
                  </a:lnTo>
                  <a:lnTo>
                    <a:pt x="78" y="348"/>
                  </a:lnTo>
                  <a:lnTo>
                    <a:pt x="6" y="348"/>
                  </a:lnTo>
                  <a:lnTo>
                    <a:pt x="0" y="570"/>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229" name="Bosnia and Herzegovina" descr="© INSCALE GmbH, 05.05.2010&#10;http://www.presentationload.com/">
              <a:extLst>
                <a:ext uri="{FF2B5EF4-FFF2-40B4-BE49-F238E27FC236}">
                  <a16:creationId xmlns:a16="http://schemas.microsoft.com/office/drawing/2014/main" id="{ED4D0A1A-1262-B271-1533-786072B10FA6}"/>
                </a:ext>
              </a:extLst>
            </p:cNvPr>
            <p:cNvSpPr>
              <a:spLocks/>
            </p:cNvSpPr>
            <p:nvPr/>
          </p:nvSpPr>
          <p:spPr bwMode="gray">
            <a:xfrm>
              <a:off x="4638597" y="1836902"/>
              <a:ext cx="100801" cy="88942"/>
            </a:xfrm>
            <a:custGeom>
              <a:avLst/>
              <a:gdLst>
                <a:gd name="T0" fmla="*/ 2147483647 w 264"/>
                <a:gd name="T1" fmla="*/ 2147483647 h 234"/>
                <a:gd name="T2" fmla="*/ 2147483647 w 264"/>
                <a:gd name="T3" fmla="*/ 2147483647 h 234"/>
                <a:gd name="T4" fmla="*/ 2147483647 w 264"/>
                <a:gd name="T5" fmla="*/ 2147483647 h 234"/>
                <a:gd name="T6" fmla="*/ 2147483647 w 264"/>
                <a:gd name="T7" fmla="*/ 2147483647 h 234"/>
                <a:gd name="T8" fmla="*/ 2147483647 w 264"/>
                <a:gd name="T9" fmla="*/ 2147483647 h 234"/>
                <a:gd name="T10" fmla="*/ 2147483647 w 264"/>
                <a:gd name="T11" fmla="*/ 2147483647 h 234"/>
                <a:gd name="T12" fmla="*/ 2147483647 w 264"/>
                <a:gd name="T13" fmla="*/ 2147483647 h 234"/>
                <a:gd name="T14" fmla="*/ 2147483647 w 264"/>
                <a:gd name="T15" fmla="*/ 2147483647 h 234"/>
                <a:gd name="T16" fmla="*/ 2147483647 w 264"/>
                <a:gd name="T17" fmla="*/ 2147483647 h 234"/>
                <a:gd name="T18" fmla="*/ 2147483647 w 264"/>
                <a:gd name="T19" fmla="*/ 2147483647 h 234"/>
                <a:gd name="T20" fmla="*/ 2147483647 w 264"/>
                <a:gd name="T21" fmla="*/ 2147483647 h 234"/>
                <a:gd name="T22" fmla="*/ 2147483647 w 264"/>
                <a:gd name="T23" fmla="*/ 2147483647 h 234"/>
                <a:gd name="T24" fmla="*/ 2147483647 w 264"/>
                <a:gd name="T25" fmla="*/ 2147483647 h 234"/>
                <a:gd name="T26" fmla="*/ 2147483647 w 264"/>
                <a:gd name="T27" fmla="*/ 2147483647 h 234"/>
                <a:gd name="T28" fmla="*/ 2147483647 w 264"/>
                <a:gd name="T29" fmla="*/ 2147483647 h 234"/>
                <a:gd name="T30" fmla="*/ 2147483647 w 264"/>
                <a:gd name="T31" fmla="*/ 2147483647 h 234"/>
                <a:gd name="T32" fmla="*/ 2147483647 w 264"/>
                <a:gd name="T33" fmla="*/ 2147483647 h 234"/>
                <a:gd name="T34" fmla="*/ 2147483647 w 264"/>
                <a:gd name="T35" fmla="*/ 2147483647 h 234"/>
                <a:gd name="T36" fmla="*/ 2147483647 w 264"/>
                <a:gd name="T37" fmla="*/ 2147483647 h 234"/>
                <a:gd name="T38" fmla="*/ 2147483647 w 264"/>
                <a:gd name="T39" fmla="*/ 0 h 234"/>
                <a:gd name="T40" fmla="*/ 2147483647 w 264"/>
                <a:gd name="T41" fmla="*/ 0 h 234"/>
                <a:gd name="T42" fmla="*/ 2147483647 w 264"/>
                <a:gd name="T43" fmla="*/ 2147483647 h 234"/>
                <a:gd name="T44" fmla="*/ 0 w 264"/>
                <a:gd name="T45" fmla="*/ 2147483647 h 234"/>
                <a:gd name="T46" fmla="*/ 2147483647 w 264"/>
                <a:gd name="T47" fmla="*/ 2147483647 h 234"/>
                <a:gd name="T48" fmla="*/ 2147483647 w 264"/>
                <a:gd name="T49" fmla="*/ 2147483647 h 234"/>
                <a:gd name="T50" fmla="*/ 2147483647 w 264"/>
                <a:gd name="T51" fmla="*/ 2147483647 h 234"/>
                <a:gd name="T52" fmla="*/ 2147483647 w 264"/>
                <a:gd name="T53" fmla="*/ 2147483647 h 234"/>
                <a:gd name="T54" fmla="*/ 2147483647 w 264"/>
                <a:gd name="T55" fmla="*/ 2147483647 h 234"/>
                <a:gd name="T56" fmla="*/ 2147483647 w 264"/>
                <a:gd name="T57" fmla="*/ 2147483647 h 234"/>
                <a:gd name="T58" fmla="*/ 2147483647 w 264"/>
                <a:gd name="T59" fmla="*/ 2147483647 h 234"/>
                <a:gd name="T60" fmla="*/ 2147483647 w 264"/>
                <a:gd name="T61" fmla="*/ 2147483647 h 234"/>
                <a:gd name="T62" fmla="*/ 2147483647 w 264"/>
                <a:gd name="T63" fmla="*/ 2147483647 h 234"/>
                <a:gd name="T64" fmla="*/ 2147483647 w 264"/>
                <a:gd name="T65" fmla="*/ 2147483647 h 234"/>
                <a:gd name="T66" fmla="*/ 2147483647 w 264"/>
                <a:gd name="T67" fmla="*/ 2147483647 h 234"/>
                <a:gd name="T68" fmla="*/ 2147483647 w 264"/>
                <a:gd name="T69" fmla="*/ 2147483647 h 234"/>
                <a:gd name="T70" fmla="*/ 2147483647 w 264"/>
                <a:gd name="T71" fmla="*/ 2147483647 h 234"/>
                <a:gd name="T72" fmla="*/ 2147483647 w 264"/>
                <a:gd name="T73" fmla="*/ 2147483647 h 234"/>
                <a:gd name="T74" fmla="*/ 2147483647 w 264"/>
                <a:gd name="T75" fmla="*/ 2147483647 h 234"/>
                <a:gd name="T76" fmla="*/ 2147483647 w 264"/>
                <a:gd name="T77" fmla="*/ 2147483647 h 234"/>
                <a:gd name="T78" fmla="*/ 2147483647 w 264"/>
                <a:gd name="T79" fmla="*/ 2147483647 h 234"/>
                <a:gd name="T80" fmla="*/ 2147483647 w 264"/>
                <a:gd name="T81" fmla="*/ 2147483647 h 234"/>
                <a:gd name="T82" fmla="*/ 2147483647 w 264"/>
                <a:gd name="T83" fmla="*/ 2147483647 h 234"/>
                <a:gd name="T84" fmla="*/ 2147483647 w 264"/>
                <a:gd name="T85" fmla="*/ 2147483647 h 234"/>
                <a:gd name="T86" fmla="*/ 2147483647 w 264"/>
                <a:gd name="T87" fmla="*/ 2147483647 h 234"/>
                <a:gd name="T88" fmla="*/ 2147483647 w 264"/>
                <a:gd name="T89" fmla="*/ 2147483647 h 234"/>
                <a:gd name="T90" fmla="*/ 2147483647 w 264"/>
                <a:gd name="T91" fmla="*/ 2147483647 h 234"/>
                <a:gd name="T92" fmla="*/ 2147483647 w 264"/>
                <a:gd name="T93" fmla="*/ 2147483647 h 234"/>
                <a:gd name="T94" fmla="*/ 2147483647 w 264"/>
                <a:gd name="T95" fmla="*/ 2147483647 h 234"/>
                <a:gd name="T96" fmla="*/ 2147483647 w 264"/>
                <a:gd name="T97" fmla="*/ 2147483647 h 234"/>
                <a:gd name="T98" fmla="*/ 2147483647 w 264"/>
                <a:gd name="T99" fmla="*/ 2147483647 h 234"/>
                <a:gd name="T100" fmla="*/ 2147483647 w 264"/>
                <a:gd name="T101" fmla="*/ 2147483647 h 234"/>
                <a:gd name="T102" fmla="*/ 2147483647 w 264"/>
                <a:gd name="T103" fmla="*/ 2147483647 h 234"/>
                <a:gd name="T104" fmla="*/ 2147483647 w 264"/>
                <a:gd name="T105" fmla="*/ 2147483647 h 234"/>
                <a:gd name="T106" fmla="*/ 2147483647 w 264"/>
                <a:gd name="T107" fmla="*/ 2147483647 h 234"/>
                <a:gd name="T108" fmla="*/ 2147483647 w 264"/>
                <a:gd name="T109" fmla="*/ 2147483647 h 234"/>
                <a:gd name="T110" fmla="*/ 2147483647 w 264"/>
                <a:gd name="T111" fmla="*/ 2147483647 h 234"/>
                <a:gd name="T112" fmla="*/ 2147483647 w 264"/>
                <a:gd name="T113" fmla="*/ 2147483647 h 234"/>
                <a:gd name="T114" fmla="*/ 2147483647 w 264"/>
                <a:gd name="T115" fmla="*/ 2147483647 h 234"/>
                <a:gd name="T116" fmla="*/ 2147483647 w 264"/>
                <a:gd name="T117" fmla="*/ 2147483647 h 234"/>
                <a:gd name="T118" fmla="*/ 2147483647 w 264"/>
                <a:gd name="T119" fmla="*/ 2147483647 h 234"/>
                <a:gd name="T120" fmla="*/ 2147483647 w 264"/>
                <a:gd name="T121" fmla="*/ 2147483647 h 234"/>
                <a:gd name="T122" fmla="*/ 2147483647 w 264"/>
                <a:gd name="T123" fmla="*/ 2147483647 h 234"/>
                <a:gd name="T124" fmla="*/ 2147483647 w 264"/>
                <a:gd name="T125" fmla="*/ 2147483647 h 2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64"/>
                <a:gd name="T190" fmla="*/ 0 h 234"/>
                <a:gd name="T191" fmla="*/ 264 w 264"/>
                <a:gd name="T192" fmla="*/ 234 h 2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64" h="234">
                  <a:moveTo>
                    <a:pt x="246" y="78"/>
                  </a:moveTo>
                  <a:lnTo>
                    <a:pt x="228" y="78"/>
                  </a:lnTo>
                  <a:lnTo>
                    <a:pt x="228" y="60"/>
                  </a:lnTo>
                  <a:lnTo>
                    <a:pt x="246" y="42"/>
                  </a:lnTo>
                  <a:lnTo>
                    <a:pt x="246" y="30"/>
                  </a:lnTo>
                  <a:lnTo>
                    <a:pt x="234" y="30"/>
                  </a:lnTo>
                  <a:lnTo>
                    <a:pt x="222" y="36"/>
                  </a:lnTo>
                  <a:lnTo>
                    <a:pt x="216" y="36"/>
                  </a:lnTo>
                  <a:lnTo>
                    <a:pt x="216" y="30"/>
                  </a:lnTo>
                  <a:lnTo>
                    <a:pt x="204" y="30"/>
                  </a:lnTo>
                  <a:lnTo>
                    <a:pt x="192" y="12"/>
                  </a:lnTo>
                  <a:lnTo>
                    <a:pt x="138" y="12"/>
                  </a:lnTo>
                  <a:lnTo>
                    <a:pt x="132" y="6"/>
                  </a:lnTo>
                  <a:lnTo>
                    <a:pt x="120" y="6"/>
                  </a:lnTo>
                  <a:lnTo>
                    <a:pt x="108" y="12"/>
                  </a:lnTo>
                  <a:lnTo>
                    <a:pt x="90" y="6"/>
                  </a:lnTo>
                  <a:lnTo>
                    <a:pt x="66" y="6"/>
                  </a:lnTo>
                  <a:lnTo>
                    <a:pt x="42" y="12"/>
                  </a:lnTo>
                  <a:lnTo>
                    <a:pt x="30" y="6"/>
                  </a:lnTo>
                  <a:lnTo>
                    <a:pt x="24" y="0"/>
                  </a:lnTo>
                  <a:lnTo>
                    <a:pt x="18" y="0"/>
                  </a:lnTo>
                  <a:lnTo>
                    <a:pt x="18" y="24"/>
                  </a:lnTo>
                  <a:lnTo>
                    <a:pt x="0" y="30"/>
                  </a:lnTo>
                  <a:lnTo>
                    <a:pt x="12" y="42"/>
                  </a:lnTo>
                  <a:lnTo>
                    <a:pt x="30" y="48"/>
                  </a:lnTo>
                  <a:lnTo>
                    <a:pt x="30" y="60"/>
                  </a:lnTo>
                  <a:lnTo>
                    <a:pt x="36" y="60"/>
                  </a:lnTo>
                  <a:lnTo>
                    <a:pt x="42" y="66"/>
                  </a:lnTo>
                  <a:lnTo>
                    <a:pt x="42" y="84"/>
                  </a:lnTo>
                  <a:lnTo>
                    <a:pt x="60" y="90"/>
                  </a:lnTo>
                  <a:lnTo>
                    <a:pt x="72" y="120"/>
                  </a:lnTo>
                  <a:lnTo>
                    <a:pt x="84" y="132"/>
                  </a:lnTo>
                  <a:lnTo>
                    <a:pt x="96" y="138"/>
                  </a:lnTo>
                  <a:lnTo>
                    <a:pt x="114" y="150"/>
                  </a:lnTo>
                  <a:lnTo>
                    <a:pt x="126" y="156"/>
                  </a:lnTo>
                  <a:lnTo>
                    <a:pt x="132" y="168"/>
                  </a:lnTo>
                  <a:lnTo>
                    <a:pt x="132" y="174"/>
                  </a:lnTo>
                  <a:lnTo>
                    <a:pt x="126" y="180"/>
                  </a:lnTo>
                  <a:lnTo>
                    <a:pt x="138" y="180"/>
                  </a:lnTo>
                  <a:lnTo>
                    <a:pt x="156" y="198"/>
                  </a:lnTo>
                  <a:lnTo>
                    <a:pt x="162" y="210"/>
                  </a:lnTo>
                  <a:lnTo>
                    <a:pt x="174" y="216"/>
                  </a:lnTo>
                  <a:lnTo>
                    <a:pt x="192" y="234"/>
                  </a:lnTo>
                  <a:lnTo>
                    <a:pt x="210" y="204"/>
                  </a:lnTo>
                  <a:lnTo>
                    <a:pt x="198" y="198"/>
                  </a:lnTo>
                  <a:lnTo>
                    <a:pt x="192" y="198"/>
                  </a:lnTo>
                  <a:lnTo>
                    <a:pt x="186" y="192"/>
                  </a:lnTo>
                  <a:lnTo>
                    <a:pt x="186" y="186"/>
                  </a:lnTo>
                  <a:lnTo>
                    <a:pt x="192" y="180"/>
                  </a:lnTo>
                  <a:lnTo>
                    <a:pt x="198" y="180"/>
                  </a:lnTo>
                  <a:lnTo>
                    <a:pt x="204" y="168"/>
                  </a:lnTo>
                  <a:lnTo>
                    <a:pt x="204" y="162"/>
                  </a:lnTo>
                  <a:lnTo>
                    <a:pt x="210" y="156"/>
                  </a:lnTo>
                  <a:lnTo>
                    <a:pt x="228" y="156"/>
                  </a:lnTo>
                  <a:lnTo>
                    <a:pt x="228" y="132"/>
                  </a:lnTo>
                  <a:lnTo>
                    <a:pt x="258" y="132"/>
                  </a:lnTo>
                  <a:lnTo>
                    <a:pt x="258" y="126"/>
                  </a:lnTo>
                  <a:lnTo>
                    <a:pt x="252" y="114"/>
                  </a:lnTo>
                  <a:lnTo>
                    <a:pt x="240" y="102"/>
                  </a:lnTo>
                  <a:lnTo>
                    <a:pt x="264" y="96"/>
                  </a:lnTo>
                  <a:lnTo>
                    <a:pt x="258" y="84"/>
                  </a:lnTo>
                  <a:lnTo>
                    <a:pt x="252" y="78"/>
                  </a:lnTo>
                  <a:lnTo>
                    <a:pt x="246" y="78"/>
                  </a:lnTo>
                  <a:close/>
                </a:path>
              </a:pathLst>
            </a:custGeom>
            <a:solidFill>
              <a:srgbClr val="F2F2F2"/>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230" name="Bolivia" descr="© INSCALE GmbH, 05.05.2010&#10;http://www.presentationload.com/">
              <a:extLst>
                <a:ext uri="{FF2B5EF4-FFF2-40B4-BE49-F238E27FC236}">
                  <a16:creationId xmlns:a16="http://schemas.microsoft.com/office/drawing/2014/main" id="{070FF6E5-8D30-58C7-1D87-E0C06F1FE2BB}"/>
                </a:ext>
              </a:extLst>
            </p:cNvPr>
            <p:cNvSpPr>
              <a:spLocks/>
            </p:cNvSpPr>
            <p:nvPr/>
          </p:nvSpPr>
          <p:spPr bwMode="gray">
            <a:xfrm>
              <a:off x="2369085" y="3514955"/>
              <a:ext cx="337980" cy="401725"/>
            </a:xfrm>
            <a:custGeom>
              <a:avLst/>
              <a:gdLst>
                <a:gd name="T0" fmla="*/ 2147483647 w 894"/>
                <a:gd name="T1" fmla="*/ 2147483647 h 1056"/>
                <a:gd name="T2" fmla="*/ 2147483647 w 894"/>
                <a:gd name="T3" fmla="*/ 2147483647 h 1056"/>
                <a:gd name="T4" fmla="*/ 2147483647 w 894"/>
                <a:gd name="T5" fmla="*/ 2147483647 h 1056"/>
                <a:gd name="T6" fmla="*/ 2147483647 w 894"/>
                <a:gd name="T7" fmla="*/ 2147483647 h 1056"/>
                <a:gd name="T8" fmla="*/ 2147483647 w 894"/>
                <a:gd name="T9" fmla="*/ 2147483647 h 1056"/>
                <a:gd name="T10" fmla="*/ 2147483647 w 894"/>
                <a:gd name="T11" fmla="*/ 2147483647 h 1056"/>
                <a:gd name="T12" fmla="*/ 2147483647 w 894"/>
                <a:gd name="T13" fmla="*/ 2147483647 h 1056"/>
                <a:gd name="T14" fmla="*/ 2147483647 w 894"/>
                <a:gd name="T15" fmla="*/ 2147483647 h 1056"/>
                <a:gd name="T16" fmla="*/ 2147483647 w 894"/>
                <a:gd name="T17" fmla="*/ 2147483647 h 1056"/>
                <a:gd name="T18" fmla="*/ 2147483647 w 894"/>
                <a:gd name="T19" fmla="*/ 2147483647 h 1056"/>
                <a:gd name="T20" fmla="*/ 2147483647 w 894"/>
                <a:gd name="T21" fmla="*/ 2147483647 h 1056"/>
                <a:gd name="T22" fmla="*/ 2147483647 w 894"/>
                <a:gd name="T23" fmla="*/ 2147483647 h 1056"/>
                <a:gd name="T24" fmla="*/ 2147483647 w 894"/>
                <a:gd name="T25" fmla="*/ 2147483647 h 1056"/>
                <a:gd name="T26" fmla="*/ 2147483647 w 894"/>
                <a:gd name="T27" fmla="*/ 2147483647 h 1056"/>
                <a:gd name="T28" fmla="*/ 2147483647 w 894"/>
                <a:gd name="T29" fmla="*/ 2147483647 h 1056"/>
                <a:gd name="T30" fmla="*/ 2147483647 w 894"/>
                <a:gd name="T31" fmla="*/ 2147483647 h 1056"/>
                <a:gd name="T32" fmla="*/ 2147483647 w 894"/>
                <a:gd name="T33" fmla="*/ 2147483647 h 1056"/>
                <a:gd name="T34" fmla="*/ 2147483647 w 894"/>
                <a:gd name="T35" fmla="*/ 2147483647 h 1056"/>
                <a:gd name="T36" fmla="*/ 2147483647 w 894"/>
                <a:gd name="T37" fmla="*/ 2147483647 h 1056"/>
                <a:gd name="T38" fmla="*/ 2147483647 w 894"/>
                <a:gd name="T39" fmla="*/ 2147483647 h 1056"/>
                <a:gd name="T40" fmla="*/ 2147483647 w 894"/>
                <a:gd name="T41" fmla="*/ 2147483647 h 1056"/>
                <a:gd name="T42" fmla="*/ 2147483647 w 894"/>
                <a:gd name="T43" fmla="*/ 2147483647 h 1056"/>
                <a:gd name="T44" fmla="*/ 2147483647 w 894"/>
                <a:gd name="T45" fmla="*/ 2147483647 h 1056"/>
                <a:gd name="T46" fmla="*/ 2147483647 w 894"/>
                <a:gd name="T47" fmla="*/ 2147483647 h 1056"/>
                <a:gd name="T48" fmla="*/ 0 w 894"/>
                <a:gd name="T49" fmla="*/ 2147483647 h 1056"/>
                <a:gd name="T50" fmla="*/ 2147483647 w 894"/>
                <a:gd name="T51" fmla="*/ 2147483647 h 1056"/>
                <a:gd name="T52" fmla="*/ 2147483647 w 894"/>
                <a:gd name="T53" fmla="*/ 2147483647 h 1056"/>
                <a:gd name="T54" fmla="*/ 2147483647 w 894"/>
                <a:gd name="T55" fmla="*/ 2147483647 h 1056"/>
                <a:gd name="T56" fmla="*/ 2147483647 w 894"/>
                <a:gd name="T57" fmla="*/ 2147483647 h 1056"/>
                <a:gd name="T58" fmla="*/ 2147483647 w 894"/>
                <a:gd name="T59" fmla="*/ 2147483647 h 1056"/>
                <a:gd name="T60" fmla="*/ 2147483647 w 894"/>
                <a:gd name="T61" fmla="*/ 2147483647 h 1056"/>
                <a:gd name="T62" fmla="*/ 2147483647 w 894"/>
                <a:gd name="T63" fmla="*/ 2147483647 h 1056"/>
                <a:gd name="T64" fmla="*/ 2147483647 w 894"/>
                <a:gd name="T65" fmla="*/ 2147483647 h 1056"/>
                <a:gd name="T66" fmla="*/ 2147483647 w 894"/>
                <a:gd name="T67" fmla="*/ 2147483647 h 1056"/>
                <a:gd name="T68" fmla="*/ 2147483647 w 894"/>
                <a:gd name="T69" fmla="*/ 2147483647 h 1056"/>
                <a:gd name="T70" fmla="*/ 2147483647 w 894"/>
                <a:gd name="T71" fmla="*/ 2147483647 h 1056"/>
                <a:gd name="T72" fmla="*/ 2147483647 w 894"/>
                <a:gd name="T73" fmla="*/ 2147483647 h 1056"/>
                <a:gd name="T74" fmla="*/ 2147483647 w 894"/>
                <a:gd name="T75" fmla="*/ 2147483647 h 1056"/>
                <a:gd name="T76" fmla="*/ 2147483647 w 894"/>
                <a:gd name="T77" fmla="*/ 2147483647 h 1056"/>
                <a:gd name="T78" fmla="*/ 2147483647 w 894"/>
                <a:gd name="T79" fmla="*/ 2147483647 h 1056"/>
                <a:gd name="T80" fmla="*/ 2147483647 w 894"/>
                <a:gd name="T81" fmla="*/ 2147483647 h 1056"/>
                <a:gd name="T82" fmla="*/ 2147483647 w 894"/>
                <a:gd name="T83" fmla="*/ 2147483647 h 1056"/>
                <a:gd name="T84" fmla="*/ 2147483647 w 894"/>
                <a:gd name="T85" fmla="*/ 2147483647 h 1056"/>
                <a:gd name="T86" fmla="*/ 2147483647 w 894"/>
                <a:gd name="T87" fmla="*/ 2147483647 h 1056"/>
                <a:gd name="T88" fmla="*/ 2147483647 w 894"/>
                <a:gd name="T89" fmla="*/ 2147483647 h 1056"/>
                <a:gd name="T90" fmla="*/ 2147483647 w 894"/>
                <a:gd name="T91" fmla="*/ 2147483647 h 1056"/>
                <a:gd name="T92" fmla="*/ 2147483647 w 894"/>
                <a:gd name="T93" fmla="*/ 2147483647 h 1056"/>
                <a:gd name="T94" fmla="*/ 2147483647 w 894"/>
                <a:gd name="T95" fmla="*/ 2147483647 h 1056"/>
                <a:gd name="T96" fmla="*/ 2147483647 w 894"/>
                <a:gd name="T97" fmla="*/ 2147483647 h 1056"/>
                <a:gd name="T98" fmla="*/ 2147483647 w 894"/>
                <a:gd name="T99" fmla="*/ 2147483647 h 1056"/>
                <a:gd name="T100" fmla="*/ 2147483647 w 894"/>
                <a:gd name="T101" fmla="*/ 2147483647 h 10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94"/>
                <a:gd name="T154" fmla="*/ 0 h 1056"/>
                <a:gd name="T155" fmla="*/ 894 w 894"/>
                <a:gd name="T156" fmla="*/ 1056 h 10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94" h="1056">
                  <a:moveTo>
                    <a:pt x="882" y="744"/>
                  </a:moveTo>
                  <a:lnTo>
                    <a:pt x="882" y="738"/>
                  </a:lnTo>
                  <a:lnTo>
                    <a:pt x="888" y="732"/>
                  </a:lnTo>
                  <a:lnTo>
                    <a:pt x="888" y="708"/>
                  </a:lnTo>
                  <a:lnTo>
                    <a:pt x="894" y="696"/>
                  </a:lnTo>
                  <a:lnTo>
                    <a:pt x="894" y="684"/>
                  </a:lnTo>
                  <a:lnTo>
                    <a:pt x="882" y="648"/>
                  </a:lnTo>
                  <a:lnTo>
                    <a:pt x="876" y="636"/>
                  </a:lnTo>
                  <a:lnTo>
                    <a:pt x="864" y="624"/>
                  </a:lnTo>
                  <a:lnTo>
                    <a:pt x="840" y="612"/>
                  </a:lnTo>
                  <a:lnTo>
                    <a:pt x="834" y="606"/>
                  </a:lnTo>
                  <a:lnTo>
                    <a:pt x="822" y="600"/>
                  </a:lnTo>
                  <a:lnTo>
                    <a:pt x="816" y="588"/>
                  </a:lnTo>
                  <a:lnTo>
                    <a:pt x="816" y="576"/>
                  </a:lnTo>
                  <a:lnTo>
                    <a:pt x="822" y="558"/>
                  </a:lnTo>
                  <a:lnTo>
                    <a:pt x="822" y="546"/>
                  </a:lnTo>
                  <a:lnTo>
                    <a:pt x="828" y="540"/>
                  </a:lnTo>
                  <a:lnTo>
                    <a:pt x="828" y="534"/>
                  </a:lnTo>
                  <a:lnTo>
                    <a:pt x="768" y="534"/>
                  </a:lnTo>
                  <a:lnTo>
                    <a:pt x="720" y="528"/>
                  </a:lnTo>
                  <a:lnTo>
                    <a:pt x="690" y="522"/>
                  </a:lnTo>
                  <a:lnTo>
                    <a:pt x="684" y="516"/>
                  </a:lnTo>
                  <a:lnTo>
                    <a:pt x="684" y="474"/>
                  </a:lnTo>
                  <a:lnTo>
                    <a:pt x="690" y="462"/>
                  </a:lnTo>
                  <a:lnTo>
                    <a:pt x="684" y="456"/>
                  </a:lnTo>
                  <a:lnTo>
                    <a:pt x="672" y="450"/>
                  </a:lnTo>
                  <a:lnTo>
                    <a:pt x="666" y="438"/>
                  </a:lnTo>
                  <a:lnTo>
                    <a:pt x="660" y="432"/>
                  </a:lnTo>
                  <a:lnTo>
                    <a:pt x="660" y="426"/>
                  </a:lnTo>
                  <a:lnTo>
                    <a:pt x="678" y="426"/>
                  </a:lnTo>
                  <a:lnTo>
                    <a:pt x="678" y="396"/>
                  </a:lnTo>
                  <a:lnTo>
                    <a:pt x="672" y="384"/>
                  </a:lnTo>
                  <a:lnTo>
                    <a:pt x="666" y="378"/>
                  </a:lnTo>
                  <a:lnTo>
                    <a:pt x="660" y="366"/>
                  </a:lnTo>
                  <a:lnTo>
                    <a:pt x="660" y="336"/>
                  </a:lnTo>
                  <a:lnTo>
                    <a:pt x="654" y="330"/>
                  </a:lnTo>
                  <a:lnTo>
                    <a:pt x="648" y="318"/>
                  </a:lnTo>
                  <a:lnTo>
                    <a:pt x="624" y="306"/>
                  </a:lnTo>
                  <a:lnTo>
                    <a:pt x="564" y="306"/>
                  </a:lnTo>
                  <a:lnTo>
                    <a:pt x="558" y="300"/>
                  </a:lnTo>
                  <a:lnTo>
                    <a:pt x="546" y="294"/>
                  </a:lnTo>
                  <a:lnTo>
                    <a:pt x="534" y="282"/>
                  </a:lnTo>
                  <a:lnTo>
                    <a:pt x="534" y="276"/>
                  </a:lnTo>
                  <a:lnTo>
                    <a:pt x="510" y="276"/>
                  </a:lnTo>
                  <a:lnTo>
                    <a:pt x="498" y="270"/>
                  </a:lnTo>
                  <a:lnTo>
                    <a:pt x="486" y="258"/>
                  </a:lnTo>
                  <a:lnTo>
                    <a:pt x="474" y="252"/>
                  </a:lnTo>
                  <a:lnTo>
                    <a:pt x="468" y="240"/>
                  </a:lnTo>
                  <a:lnTo>
                    <a:pt x="468" y="234"/>
                  </a:lnTo>
                  <a:lnTo>
                    <a:pt x="456" y="234"/>
                  </a:lnTo>
                  <a:lnTo>
                    <a:pt x="450" y="240"/>
                  </a:lnTo>
                  <a:lnTo>
                    <a:pt x="438" y="240"/>
                  </a:lnTo>
                  <a:lnTo>
                    <a:pt x="426" y="234"/>
                  </a:lnTo>
                  <a:lnTo>
                    <a:pt x="420" y="222"/>
                  </a:lnTo>
                  <a:lnTo>
                    <a:pt x="414" y="228"/>
                  </a:lnTo>
                  <a:lnTo>
                    <a:pt x="384" y="228"/>
                  </a:lnTo>
                  <a:lnTo>
                    <a:pt x="372" y="222"/>
                  </a:lnTo>
                  <a:lnTo>
                    <a:pt x="366" y="216"/>
                  </a:lnTo>
                  <a:lnTo>
                    <a:pt x="366" y="210"/>
                  </a:lnTo>
                  <a:lnTo>
                    <a:pt x="360" y="198"/>
                  </a:lnTo>
                  <a:lnTo>
                    <a:pt x="360" y="192"/>
                  </a:lnTo>
                  <a:lnTo>
                    <a:pt x="354" y="186"/>
                  </a:lnTo>
                  <a:lnTo>
                    <a:pt x="330" y="186"/>
                  </a:lnTo>
                  <a:lnTo>
                    <a:pt x="324" y="156"/>
                  </a:lnTo>
                  <a:lnTo>
                    <a:pt x="318" y="150"/>
                  </a:lnTo>
                  <a:lnTo>
                    <a:pt x="306" y="144"/>
                  </a:lnTo>
                  <a:lnTo>
                    <a:pt x="294" y="132"/>
                  </a:lnTo>
                  <a:lnTo>
                    <a:pt x="294" y="120"/>
                  </a:lnTo>
                  <a:lnTo>
                    <a:pt x="300" y="114"/>
                  </a:lnTo>
                  <a:lnTo>
                    <a:pt x="300" y="96"/>
                  </a:lnTo>
                  <a:lnTo>
                    <a:pt x="294" y="84"/>
                  </a:lnTo>
                  <a:lnTo>
                    <a:pt x="288" y="78"/>
                  </a:lnTo>
                  <a:lnTo>
                    <a:pt x="288" y="48"/>
                  </a:lnTo>
                  <a:lnTo>
                    <a:pt x="294" y="42"/>
                  </a:lnTo>
                  <a:lnTo>
                    <a:pt x="294" y="36"/>
                  </a:lnTo>
                  <a:lnTo>
                    <a:pt x="300" y="30"/>
                  </a:lnTo>
                  <a:lnTo>
                    <a:pt x="300" y="0"/>
                  </a:lnTo>
                  <a:lnTo>
                    <a:pt x="288" y="0"/>
                  </a:lnTo>
                  <a:lnTo>
                    <a:pt x="276" y="6"/>
                  </a:lnTo>
                  <a:lnTo>
                    <a:pt x="276" y="12"/>
                  </a:lnTo>
                  <a:lnTo>
                    <a:pt x="270" y="12"/>
                  </a:lnTo>
                  <a:lnTo>
                    <a:pt x="258" y="0"/>
                  </a:lnTo>
                  <a:lnTo>
                    <a:pt x="246" y="12"/>
                  </a:lnTo>
                  <a:lnTo>
                    <a:pt x="210" y="12"/>
                  </a:lnTo>
                  <a:lnTo>
                    <a:pt x="198" y="18"/>
                  </a:lnTo>
                  <a:lnTo>
                    <a:pt x="192" y="24"/>
                  </a:lnTo>
                  <a:lnTo>
                    <a:pt x="186" y="36"/>
                  </a:lnTo>
                  <a:lnTo>
                    <a:pt x="180" y="42"/>
                  </a:lnTo>
                  <a:lnTo>
                    <a:pt x="180" y="48"/>
                  </a:lnTo>
                  <a:lnTo>
                    <a:pt x="144" y="48"/>
                  </a:lnTo>
                  <a:lnTo>
                    <a:pt x="138" y="78"/>
                  </a:lnTo>
                  <a:lnTo>
                    <a:pt x="102" y="78"/>
                  </a:lnTo>
                  <a:lnTo>
                    <a:pt x="90" y="96"/>
                  </a:lnTo>
                  <a:lnTo>
                    <a:pt x="84" y="102"/>
                  </a:lnTo>
                  <a:lnTo>
                    <a:pt x="60" y="114"/>
                  </a:lnTo>
                  <a:lnTo>
                    <a:pt x="42" y="114"/>
                  </a:lnTo>
                  <a:lnTo>
                    <a:pt x="42" y="108"/>
                  </a:lnTo>
                  <a:lnTo>
                    <a:pt x="36" y="102"/>
                  </a:lnTo>
                  <a:lnTo>
                    <a:pt x="12" y="102"/>
                  </a:lnTo>
                  <a:lnTo>
                    <a:pt x="0" y="96"/>
                  </a:lnTo>
                  <a:lnTo>
                    <a:pt x="0" y="114"/>
                  </a:lnTo>
                  <a:lnTo>
                    <a:pt x="6" y="132"/>
                  </a:lnTo>
                  <a:lnTo>
                    <a:pt x="18" y="144"/>
                  </a:lnTo>
                  <a:lnTo>
                    <a:pt x="30" y="162"/>
                  </a:lnTo>
                  <a:lnTo>
                    <a:pt x="42" y="174"/>
                  </a:lnTo>
                  <a:lnTo>
                    <a:pt x="54" y="192"/>
                  </a:lnTo>
                  <a:lnTo>
                    <a:pt x="66" y="216"/>
                  </a:lnTo>
                  <a:lnTo>
                    <a:pt x="66" y="228"/>
                  </a:lnTo>
                  <a:lnTo>
                    <a:pt x="60" y="234"/>
                  </a:lnTo>
                  <a:lnTo>
                    <a:pt x="54" y="246"/>
                  </a:lnTo>
                  <a:lnTo>
                    <a:pt x="48" y="252"/>
                  </a:lnTo>
                  <a:lnTo>
                    <a:pt x="60" y="300"/>
                  </a:lnTo>
                  <a:lnTo>
                    <a:pt x="42" y="330"/>
                  </a:lnTo>
                  <a:lnTo>
                    <a:pt x="48" y="330"/>
                  </a:lnTo>
                  <a:lnTo>
                    <a:pt x="60" y="342"/>
                  </a:lnTo>
                  <a:lnTo>
                    <a:pt x="66" y="354"/>
                  </a:lnTo>
                  <a:lnTo>
                    <a:pt x="66" y="360"/>
                  </a:lnTo>
                  <a:lnTo>
                    <a:pt x="60" y="372"/>
                  </a:lnTo>
                  <a:lnTo>
                    <a:pt x="48" y="384"/>
                  </a:lnTo>
                  <a:lnTo>
                    <a:pt x="36" y="408"/>
                  </a:lnTo>
                  <a:lnTo>
                    <a:pt x="42" y="426"/>
                  </a:lnTo>
                  <a:lnTo>
                    <a:pt x="48" y="438"/>
                  </a:lnTo>
                  <a:lnTo>
                    <a:pt x="54" y="444"/>
                  </a:lnTo>
                  <a:lnTo>
                    <a:pt x="54" y="450"/>
                  </a:lnTo>
                  <a:lnTo>
                    <a:pt x="42" y="468"/>
                  </a:lnTo>
                  <a:lnTo>
                    <a:pt x="54" y="480"/>
                  </a:lnTo>
                  <a:lnTo>
                    <a:pt x="78" y="498"/>
                  </a:lnTo>
                  <a:lnTo>
                    <a:pt x="78" y="516"/>
                  </a:lnTo>
                  <a:lnTo>
                    <a:pt x="102" y="528"/>
                  </a:lnTo>
                  <a:lnTo>
                    <a:pt x="90" y="558"/>
                  </a:lnTo>
                  <a:lnTo>
                    <a:pt x="78" y="546"/>
                  </a:lnTo>
                  <a:lnTo>
                    <a:pt x="78" y="558"/>
                  </a:lnTo>
                  <a:lnTo>
                    <a:pt x="66" y="582"/>
                  </a:lnTo>
                  <a:lnTo>
                    <a:pt x="54" y="588"/>
                  </a:lnTo>
                  <a:lnTo>
                    <a:pt x="36" y="606"/>
                  </a:lnTo>
                  <a:lnTo>
                    <a:pt x="48" y="630"/>
                  </a:lnTo>
                  <a:lnTo>
                    <a:pt x="42" y="636"/>
                  </a:lnTo>
                  <a:lnTo>
                    <a:pt x="60" y="666"/>
                  </a:lnTo>
                  <a:lnTo>
                    <a:pt x="84" y="666"/>
                  </a:lnTo>
                  <a:lnTo>
                    <a:pt x="96" y="744"/>
                  </a:lnTo>
                  <a:lnTo>
                    <a:pt x="108" y="750"/>
                  </a:lnTo>
                  <a:lnTo>
                    <a:pt x="114" y="750"/>
                  </a:lnTo>
                  <a:lnTo>
                    <a:pt x="138" y="762"/>
                  </a:lnTo>
                  <a:lnTo>
                    <a:pt x="144" y="774"/>
                  </a:lnTo>
                  <a:lnTo>
                    <a:pt x="144" y="780"/>
                  </a:lnTo>
                  <a:lnTo>
                    <a:pt x="138" y="792"/>
                  </a:lnTo>
                  <a:lnTo>
                    <a:pt x="126" y="804"/>
                  </a:lnTo>
                  <a:lnTo>
                    <a:pt x="144" y="822"/>
                  </a:lnTo>
                  <a:lnTo>
                    <a:pt x="138" y="828"/>
                  </a:lnTo>
                  <a:lnTo>
                    <a:pt x="132" y="840"/>
                  </a:lnTo>
                  <a:lnTo>
                    <a:pt x="126" y="846"/>
                  </a:lnTo>
                  <a:lnTo>
                    <a:pt x="126" y="858"/>
                  </a:lnTo>
                  <a:lnTo>
                    <a:pt x="132" y="870"/>
                  </a:lnTo>
                  <a:lnTo>
                    <a:pt x="138" y="876"/>
                  </a:lnTo>
                  <a:lnTo>
                    <a:pt x="138" y="900"/>
                  </a:lnTo>
                  <a:lnTo>
                    <a:pt x="144" y="900"/>
                  </a:lnTo>
                  <a:lnTo>
                    <a:pt x="150" y="906"/>
                  </a:lnTo>
                  <a:lnTo>
                    <a:pt x="162" y="912"/>
                  </a:lnTo>
                  <a:lnTo>
                    <a:pt x="168" y="918"/>
                  </a:lnTo>
                  <a:lnTo>
                    <a:pt x="180" y="924"/>
                  </a:lnTo>
                  <a:lnTo>
                    <a:pt x="186" y="930"/>
                  </a:lnTo>
                  <a:lnTo>
                    <a:pt x="186" y="996"/>
                  </a:lnTo>
                  <a:lnTo>
                    <a:pt x="210" y="1020"/>
                  </a:lnTo>
                  <a:lnTo>
                    <a:pt x="210" y="1044"/>
                  </a:lnTo>
                  <a:lnTo>
                    <a:pt x="216" y="1056"/>
                  </a:lnTo>
                  <a:lnTo>
                    <a:pt x="270" y="1056"/>
                  </a:lnTo>
                  <a:lnTo>
                    <a:pt x="270" y="1026"/>
                  </a:lnTo>
                  <a:lnTo>
                    <a:pt x="282" y="1026"/>
                  </a:lnTo>
                  <a:lnTo>
                    <a:pt x="282" y="1008"/>
                  </a:lnTo>
                  <a:lnTo>
                    <a:pt x="306" y="1002"/>
                  </a:lnTo>
                  <a:lnTo>
                    <a:pt x="318" y="978"/>
                  </a:lnTo>
                  <a:lnTo>
                    <a:pt x="324" y="984"/>
                  </a:lnTo>
                  <a:lnTo>
                    <a:pt x="348" y="996"/>
                  </a:lnTo>
                  <a:lnTo>
                    <a:pt x="360" y="996"/>
                  </a:lnTo>
                  <a:lnTo>
                    <a:pt x="378" y="1002"/>
                  </a:lnTo>
                  <a:lnTo>
                    <a:pt x="432" y="1002"/>
                  </a:lnTo>
                  <a:lnTo>
                    <a:pt x="462" y="1050"/>
                  </a:lnTo>
                  <a:lnTo>
                    <a:pt x="474" y="996"/>
                  </a:lnTo>
                  <a:lnTo>
                    <a:pt x="546" y="990"/>
                  </a:lnTo>
                  <a:lnTo>
                    <a:pt x="582" y="1014"/>
                  </a:lnTo>
                  <a:lnTo>
                    <a:pt x="582" y="996"/>
                  </a:lnTo>
                  <a:lnTo>
                    <a:pt x="594" y="924"/>
                  </a:lnTo>
                  <a:lnTo>
                    <a:pt x="594" y="900"/>
                  </a:lnTo>
                  <a:lnTo>
                    <a:pt x="588" y="894"/>
                  </a:lnTo>
                  <a:lnTo>
                    <a:pt x="588" y="888"/>
                  </a:lnTo>
                  <a:lnTo>
                    <a:pt x="576" y="864"/>
                  </a:lnTo>
                  <a:lnTo>
                    <a:pt x="576" y="852"/>
                  </a:lnTo>
                  <a:lnTo>
                    <a:pt x="582" y="846"/>
                  </a:lnTo>
                  <a:lnTo>
                    <a:pt x="594" y="840"/>
                  </a:lnTo>
                  <a:lnTo>
                    <a:pt x="606" y="828"/>
                  </a:lnTo>
                  <a:lnTo>
                    <a:pt x="612" y="798"/>
                  </a:lnTo>
                  <a:lnTo>
                    <a:pt x="714" y="780"/>
                  </a:lnTo>
                  <a:lnTo>
                    <a:pt x="792" y="768"/>
                  </a:lnTo>
                  <a:lnTo>
                    <a:pt x="846" y="810"/>
                  </a:lnTo>
                  <a:lnTo>
                    <a:pt x="864" y="846"/>
                  </a:lnTo>
                  <a:lnTo>
                    <a:pt x="864" y="840"/>
                  </a:lnTo>
                  <a:lnTo>
                    <a:pt x="870" y="834"/>
                  </a:lnTo>
                  <a:lnTo>
                    <a:pt x="882" y="828"/>
                  </a:lnTo>
                  <a:lnTo>
                    <a:pt x="888" y="822"/>
                  </a:lnTo>
                  <a:lnTo>
                    <a:pt x="876" y="816"/>
                  </a:lnTo>
                  <a:lnTo>
                    <a:pt x="870" y="810"/>
                  </a:lnTo>
                  <a:lnTo>
                    <a:pt x="870" y="786"/>
                  </a:lnTo>
                  <a:lnTo>
                    <a:pt x="876" y="774"/>
                  </a:lnTo>
                  <a:lnTo>
                    <a:pt x="882" y="768"/>
                  </a:lnTo>
                  <a:lnTo>
                    <a:pt x="888" y="756"/>
                  </a:lnTo>
                  <a:lnTo>
                    <a:pt x="882" y="744"/>
                  </a:lnTo>
                  <a:close/>
                </a:path>
              </a:pathLst>
            </a:custGeom>
            <a:solidFill>
              <a:srgbClr val="FFFF0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231" name="Bhutan" descr="© INSCALE GmbH, 05.05.2010&#10;http://www.presentationload.com/">
              <a:extLst>
                <a:ext uri="{FF2B5EF4-FFF2-40B4-BE49-F238E27FC236}">
                  <a16:creationId xmlns:a16="http://schemas.microsoft.com/office/drawing/2014/main" id="{81F82F27-79A7-73B9-0421-AA782BBF83C8}"/>
                </a:ext>
              </a:extLst>
            </p:cNvPr>
            <p:cNvSpPr>
              <a:spLocks/>
            </p:cNvSpPr>
            <p:nvPr/>
          </p:nvSpPr>
          <p:spPr bwMode="gray">
            <a:xfrm>
              <a:off x="6562717" y="2352770"/>
              <a:ext cx="88942" cy="50401"/>
            </a:xfrm>
            <a:custGeom>
              <a:avLst/>
              <a:gdLst>
                <a:gd name="T0" fmla="*/ 2147483647 w 234"/>
                <a:gd name="T1" fmla="*/ 2147483647 h 132"/>
                <a:gd name="T2" fmla="*/ 2147483647 w 234"/>
                <a:gd name="T3" fmla="*/ 2147483647 h 132"/>
                <a:gd name="T4" fmla="*/ 2147483647 w 234"/>
                <a:gd name="T5" fmla="*/ 2147483647 h 132"/>
                <a:gd name="T6" fmla="*/ 2147483647 w 234"/>
                <a:gd name="T7" fmla="*/ 2147483647 h 132"/>
                <a:gd name="T8" fmla="*/ 2147483647 w 234"/>
                <a:gd name="T9" fmla="*/ 2147483647 h 132"/>
                <a:gd name="T10" fmla="*/ 2147483647 w 234"/>
                <a:gd name="T11" fmla="*/ 2147483647 h 132"/>
                <a:gd name="T12" fmla="*/ 2147483647 w 234"/>
                <a:gd name="T13" fmla="*/ 2147483647 h 132"/>
                <a:gd name="T14" fmla="*/ 2147483647 w 234"/>
                <a:gd name="T15" fmla="*/ 2147483647 h 132"/>
                <a:gd name="T16" fmla="*/ 2147483647 w 234"/>
                <a:gd name="T17" fmla="*/ 2147483647 h 132"/>
                <a:gd name="T18" fmla="*/ 2147483647 w 234"/>
                <a:gd name="T19" fmla="*/ 2147483647 h 132"/>
                <a:gd name="T20" fmla="*/ 2147483647 w 234"/>
                <a:gd name="T21" fmla="*/ 2147483647 h 132"/>
                <a:gd name="T22" fmla="*/ 2147483647 w 234"/>
                <a:gd name="T23" fmla="*/ 2147483647 h 132"/>
                <a:gd name="T24" fmla="*/ 2147483647 w 234"/>
                <a:gd name="T25" fmla="*/ 2147483647 h 132"/>
                <a:gd name="T26" fmla="*/ 2147483647 w 234"/>
                <a:gd name="T27" fmla="*/ 2147483647 h 132"/>
                <a:gd name="T28" fmla="*/ 2147483647 w 234"/>
                <a:gd name="T29" fmla="*/ 2147483647 h 132"/>
                <a:gd name="T30" fmla="*/ 2147483647 w 234"/>
                <a:gd name="T31" fmla="*/ 2147483647 h 132"/>
                <a:gd name="T32" fmla="*/ 2147483647 w 234"/>
                <a:gd name="T33" fmla="*/ 2147483647 h 132"/>
                <a:gd name="T34" fmla="*/ 2147483647 w 234"/>
                <a:gd name="T35" fmla="*/ 2147483647 h 132"/>
                <a:gd name="T36" fmla="*/ 2147483647 w 234"/>
                <a:gd name="T37" fmla="*/ 2147483647 h 132"/>
                <a:gd name="T38" fmla="*/ 2147483647 w 234"/>
                <a:gd name="T39" fmla="*/ 2147483647 h 132"/>
                <a:gd name="T40" fmla="*/ 2147483647 w 234"/>
                <a:gd name="T41" fmla="*/ 2147483647 h 132"/>
                <a:gd name="T42" fmla="*/ 2147483647 w 234"/>
                <a:gd name="T43" fmla="*/ 2147483647 h 132"/>
                <a:gd name="T44" fmla="*/ 2147483647 w 234"/>
                <a:gd name="T45" fmla="*/ 2147483647 h 132"/>
                <a:gd name="T46" fmla="*/ 2147483647 w 234"/>
                <a:gd name="T47" fmla="*/ 2147483647 h 132"/>
                <a:gd name="T48" fmla="*/ 2147483647 w 234"/>
                <a:gd name="T49" fmla="*/ 2147483647 h 132"/>
                <a:gd name="T50" fmla="*/ 2147483647 w 234"/>
                <a:gd name="T51" fmla="*/ 2147483647 h 132"/>
                <a:gd name="T52" fmla="*/ 2147483647 w 234"/>
                <a:gd name="T53" fmla="*/ 2147483647 h 132"/>
                <a:gd name="T54" fmla="*/ 2147483647 w 234"/>
                <a:gd name="T55" fmla="*/ 2147483647 h 132"/>
                <a:gd name="T56" fmla="*/ 2147483647 w 234"/>
                <a:gd name="T57" fmla="*/ 2147483647 h 132"/>
                <a:gd name="T58" fmla="*/ 2147483647 w 234"/>
                <a:gd name="T59" fmla="*/ 0 h 132"/>
                <a:gd name="T60" fmla="*/ 2147483647 w 234"/>
                <a:gd name="T61" fmla="*/ 0 h 132"/>
                <a:gd name="T62" fmla="*/ 2147483647 w 234"/>
                <a:gd name="T63" fmla="*/ 2147483647 h 132"/>
                <a:gd name="T64" fmla="*/ 2147483647 w 234"/>
                <a:gd name="T65" fmla="*/ 2147483647 h 132"/>
                <a:gd name="T66" fmla="*/ 2147483647 w 234"/>
                <a:gd name="T67" fmla="*/ 2147483647 h 132"/>
                <a:gd name="T68" fmla="*/ 2147483647 w 234"/>
                <a:gd name="T69" fmla="*/ 2147483647 h 132"/>
                <a:gd name="T70" fmla="*/ 2147483647 w 234"/>
                <a:gd name="T71" fmla="*/ 2147483647 h 132"/>
                <a:gd name="T72" fmla="*/ 2147483647 w 234"/>
                <a:gd name="T73" fmla="*/ 2147483647 h 132"/>
                <a:gd name="T74" fmla="*/ 2147483647 w 234"/>
                <a:gd name="T75" fmla="*/ 2147483647 h 132"/>
                <a:gd name="T76" fmla="*/ 0 w 234"/>
                <a:gd name="T77" fmla="*/ 2147483647 h 132"/>
                <a:gd name="T78" fmla="*/ 0 w 234"/>
                <a:gd name="T79" fmla="*/ 2147483647 h 132"/>
                <a:gd name="T80" fmla="*/ 2147483647 w 234"/>
                <a:gd name="T81" fmla="*/ 2147483647 h 132"/>
                <a:gd name="T82" fmla="*/ 2147483647 w 234"/>
                <a:gd name="T83" fmla="*/ 2147483647 h 132"/>
                <a:gd name="T84" fmla="*/ 2147483647 w 234"/>
                <a:gd name="T85" fmla="*/ 2147483647 h 132"/>
                <a:gd name="T86" fmla="*/ 2147483647 w 234"/>
                <a:gd name="T87" fmla="*/ 2147483647 h 132"/>
                <a:gd name="T88" fmla="*/ 2147483647 w 234"/>
                <a:gd name="T89" fmla="*/ 2147483647 h 132"/>
                <a:gd name="T90" fmla="*/ 2147483647 w 234"/>
                <a:gd name="T91" fmla="*/ 2147483647 h 132"/>
                <a:gd name="T92" fmla="*/ 2147483647 w 234"/>
                <a:gd name="T93" fmla="*/ 2147483647 h 13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34"/>
                <a:gd name="T142" fmla="*/ 0 h 132"/>
                <a:gd name="T143" fmla="*/ 234 w 234"/>
                <a:gd name="T144" fmla="*/ 132 h 13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34" h="132">
                  <a:moveTo>
                    <a:pt x="78" y="132"/>
                  </a:moveTo>
                  <a:lnTo>
                    <a:pt x="90" y="132"/>
                  </a:lnTo>
                  <a:lnTo>
                    <a:pt x="102" y="126"/>
                  </a:lnTo>
                  <a:lnTo>
                    <a:pt x="108" y="120"/>
                  </a:lnTo>
                  <a:lnTo>
                    <a:pt x="126" y="120"/>
                  </a:lnTo>
                  <a:lnTo>
                    <a:pt x="138" y="126"/>
                  </a:lnTo>
                  <a:lnTo>
                    <a:pt x="168" y="126"/>
                  </a:lnTo>
                  <a:lnTo>
                    <a:pt x="180" y="120"/>
                  </a:lnTo>
                  <a:lnTo>
                    <a:pt x="192" y="120"/>
                  </a:lnTo>
                  <a:lnTo>
                    <a:pt x="198" y="126"/>
                  </a:lnTo>
                  <a:lnTo>
                    <a:pt x="210" y="126"/>
                  </a:lnTo>
                  <a:lnTo>
                    <a:pt x="234" y="114"/>
                  </a:lnTo>
                  <a:lnTo>
                    <a:pt x="234" y="108"/>
                  </a:lnTo>
                  <a:lnTo>
                    <a:pt x="222" y="96"/>
                  </a:lnTo>
                  <a:lnTo>
                    <a:pt x="222" y="72"/>
                  </a:lnTo>
                  <a:lnTo>
                    <a:pt x="198" y="72"/>
                  </a:lnTo>
                  <a:lnTo>
                    <a:pt x="192" y="66"/>
                  </a:lnTo>
                  <a:lnTo>
                    <a:pt x="192" y="42"/>
                  </a:lnTo>
                  <a:lnTo>
                    <a:pt x="186" y="30"/>
                  </a:lnTo>
                  <a:lnTo>
                    <a:pt x="174" y="18"/>
                  </a:lnTo>
                  <a:lnTo>
                    <a:pt x="162" y="12"/>
                  </a:lnTo>
                  <a:lnTo>
                    <a:pt x="150" y="12"/>
                  </a:lnTo>
                  <a:lnTo>
                    <a:pt x="138" y="18"/>
                  </a:lnTo>
                  <a:lnTo>
                    <a:pt x="126" y="18"/>
                  </a:lnTo>
                  <a:lnTo>
                    <a:pt x="114" y="24"/>
                  </a:lnTo>
                  <a:lnTo>
                    <a:pt x="108" y="30"/>
                  </a:lnTo>
                  <a:lnTo>
                    <a:pt x="102" y="30"/>
                  </a:lnTo>
                  <a:lnTo>
                    <a:pt x="102" y="6"/>
                  </a:lnTo>
                  <a:lnTo>
                    <a:pt x="78" y="6"/>
                  </a:lnTo>
                  <a:lnTo>
                    <a:pt x="66" y="0"/>
                  </a:lnTo>
                  <a:lnTo>
                    <a:pt x="54" y="0"/>
                  </a:lnTo>
                  <a:lnTo>
                    <a:pt x="48" y="12"/>
                  </a:lnTo>
                  <a:lnTo>
                    <a:pt x="36" y="24"/>
                  </a:lnTo>
                  <a:lnTo>
                    <a:pt x="30" y="36"/>
                  </a:lnTo>
                  <a:lnTo>
                    <a:pt x="18" y="54"/>
                  </a:lnTo>
                  <a:lnTo>
                    <a:pt x="12" y="66"/>
                  </a:lnTo>
                  <a:lnTo>
                    <a:pt x="6" y="72"/>
                  </a:lnTo>
                  <a:lnTo>
                    <a:pt x="6" y="78"/>
                  </a:lnTo>
                  <a:lnTo>
                    <a:pt x="0" y="78"/>
                  </a:lnTo>
                  <a:lnTo>
                    <a:pt x="0" y="90"/>
                  </a:lnTo>
                  <a:lnTo>
                    <a:pt x="18" y="108"/>
                  </a:lnTo>
                  <a:lnTo>
                    <a:pt x="42" y="120"/>
                  </a:lnTo>
                  <a:lnTo>
                    <a:pt x="54" y="120"/>
                  </a:lnTo>
                  <a:lnTo>
                    <a:pt x="54" y="114"/>
                  </a:lnTo>
                  <a:lnTo>
                    <a:pt x="54" y="120"/>
                  </a:lnTo>
                  <a:lnTo>
                    <a:pt x="66" y="132"/>
                  </a:lnTo>
                  <a:lnTo>
                    <a:pt x="78" y="132"/>
                  </a:lnTo>
                  <a:close/>
                </a:path>
              </a:pathLst>
            </a:custGeom>
            <a:grp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232" name="Benin" descr="© INSCALE GmbH, 05.05.2010&#10;http://www.presentationload.com/">
              <a:extLst>
                <a:ext uri="{FF2B5EF4-FFF2-40B4-BE49-F238E27FC236}">
                  <a16:creationId xmlns:a16="http://schemas.microsoft.com/office/drawing/2014/main" id="{F99E02DA-C397-8515-52FA-4572E0D15A4D}"/>
                </a:ext>
              </a:extLst>
            </p:cNvPr>
            <p:cNvSpPr>
              <a:spLocks/>
            </p:cNvSpPr>
            <p:nvPr/>
          </p:nvSpPr>
          <p:spPr bwMode="gray">
            <a:xfrm>
              <a:off x="4256145" y="2840473"/>
              <a:ext cx="84496" cy="188262"/>
            </a:xfrm>
            <a:custGeom>
              <a:avLst/>
              <a:gdLst>
                <a:gd name="T0" fmla="*/ 2147483647 w 222"/>
                <a:gd name="T1" fmla="*/ 2147483647 h 498"/>
                <a:gd name="T2" fmla="*/ 2147483647 w 222"/>
                <a:gd name="T3" fmla="*/ 2147483647 h 498"/>
                <a:gd name="T4" fmla="*/ 2147483647 w 222"/>
                <a:gd name="T5" fmla="*/ 2147483647 h 498"/>
                <a:gd name="T6" fmla="*/ 2147483647 w 222"/>
                <a:gd name="T7" fmla="*/ 2147483647 h 498"/>
                <a:gd name="T8" fmla="*/ 2147483647 w 222"/>
                <a:gd name="T9" fmla="*/ 2147483647 h 498"/>
                <a:gd name="T10" fmla="*/ 2147483647 w 222"/>
                <a:gd name="T11" fmla="*/ 2147483647 h 498"/>
                <a:gd name="T12" fmla="*/ 2147483647 w 222"/>
                <a:gd name="T13" fmla="*/ 2147483647 h 498"/>
                <a:gd name="T14" fmla="*/ 2147483647 w 222"/>
                <a:gd name="T15" fmla="*/ 2147483647 h 498"/>
                <a:gd name="T16" fmla="*/ 2147483647 w 222"/>
                <a:gd name="T17" fmla="*/ 2147483647 h 498"/>
                <a:gd name="T18" fmla="*/ 2147483647 w 222"/>
                <a:gd name="T19" fmla="*/ 2147483647 h 498"/>
                <a:gd name="T20" fmla="*/ 2147483647 w 222"/>
                <a:gd name="T21" fmla="*/ 2147483647 h 498"/>
                <a:gd name="T22" fmla="*/ 2147483647 w 222"/>
                <a:gd name="T23" fmla="*/ 2147483647 h 498"/>
                <a:gd name="T24" fmla="*/ 2147483647 w 222"/>
                <a:gd name="T25" fmla="*/ 2147483647 h 498"/>
                <a:gd name="T26" fmla="*/ 2147483647 w 222"/>
                <a:gd name="T27" fmla="*/ 2147483647 h 498"/>
                <a:gd name="T28" fmla="*/ 2147483647 w 222"/>
                <a:gd name="T29" fmla="*/ 2147483647 h 498"/>
                <a:gd name="T30" fmla="*/ 2147483647 w 222"/>
                <a:gd name="T31" fmla="*/ 2147483647 h 498"/>
                <a:gd name="T32" fmla="*/ 2147483647 w 222"/>
                <a:gd name="T33" fmla="*/ 2147483647 h 498"/>
                <a:gd name="T34" fmla="*/ 2147483647 w 222"/>
                <a:gd name="T35" fmla="*/ 2147483647 h 498"/>
                <a:gd name="T36" fmla="*/ 2147483647 w 222"/>
                <a:gd name="T37" fmla="*/ 2147483647 h 498"/>
                <a:gd name="T38" fmla="*/ 2147483647 w 222"/>
                <a:gd name="T39" fmla="*/ 2147483647 h 498"/>
                <a:gd name="T40" fmla="*/ 2147483647 w 222"/>
                <a:gd name="T41" fmla="*/ 2147483647 h 498"/>
                <a:gd name="T42" fmla="*/ 2147483647 w 222"/>
                <a:gd name="T43" fmla="*/ 2147483647 h 498"/>
                <a:gd name="T44" fmla="*/ 2147483647 w 222"/>
                <a:gd name="T45" fmla="*/ 2147483647 h 498"/>
                <a:gd name="T46" fmla="*/ 0 w 222"/>
                <a:gd name="T47" fmla="*/ 2147483647 h 498"/>
                <a:gd name="T48" fmla="*/ 2147483647 w 222"/>
                <a:gd name="T49" fmla="*/ 2147483647 h 498"/>
                <a:gd name="T50" fmla="*/ 2147483647 w 222"/>
                <a:gd name="T51" fmla="*/ 2147483647 h 498"/>
                <a:gd name="T52" fmla="*/ 2147483647 w 222"/>
                <a:gd name="T53" fmla="*/ 2147483647 h 498"/>
                <a:gd name="T54" fmla="*/ 2147483647 w 222"/>
                <a:gd name="T55" fmla="*/ 2147483647 h 498"/>
                <a:gd name="T56" fmla="*/ 2147483647 w 222"/>
                <a:gd name="T57" fmla="*/ 2147483647 h 498"/>
                <a:gd name="T58" fmla="*/ 2147483647 w 222"/>
                <a:gd name="T59" fmla="*/ 2147483647 h 498"/>
                <a:gd name="T60" fmla="*/ 2147483647 w 222"/>
                <a:gd name="T61" fmla="*/ 2147483647 h 498"/>
                <a:gd name="T62" fmla="*/ 2147483647 w 222"/>
                <a:gd name="T63" fmla="*/ 2147483647 h 498"/>
                <a:gd name="T64" fmla="*/ 2147483647 w 222"/>
                <a:gd name="T65" fmla="*/ 2147483647 h 498"/>
                <a:gd name="T66" fmla="*/ 2147483647 w 222"/>
                <a:gd name="T67" fmla="*/ 2147483647 h 498"/>
                <a:gd name="T68" fmla="*/ 2147483647 w 222"/>
                <a:gd name="T69" fmla="*/ 2147483647 h 49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22"/>
                <a:gd name="T106" fmla="*/ 0 h 498"/>
                <a:gd name="T107" fmla="*/ 222 w 222"/>
                <a:gd name="T108" fmla="*/ 498 h 49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22" h="498">
                  <a:moveTo>
                    <a:pt x="138" y="372"/>
                  </a:moveTo>
                  <a:lnTo>
                    <a:pt x="144" y="342"/>
                  </a:lnTo>
                  <a:lnTo>
                    <a:pt x="138" y="306"/>
                  </a:lnTo>
                  <a:lnTo>
                    <a:pt x="144" y="276"/>
                  </a:lnTo>
                  <a:lnTo>
                    <a:pt x="162" y="276"/>
                  </a:lnTo>
                  <a:lnTo>
                    <a:pt x="174" y="252"/>
                  </a:lnTo>
                  <a:lnTo>
                    <a:pt x="174" y="222"/>
                  </a:lnTo>
                  <a:lnTo>
                    <a:pt x="180" y="216"/>
                  </a:lnTo>
                  <a:lnTo>
                    <a:pt x="186" y="204"/>
                  </a:lnTo>
                  <a:lnTo>
                    <a:pt x="198" y="198"/>
                  </a:lnTo>
                  <a:lnTo>
                    <a:pt x="198" y="156"/>
                  </a:lnTo>
                  <a:lnTo>
                    <a:pt x="210" y="150"/>
                  </a:lnTo>
                  <a:lnTo>
                    <a:pt x="216" y="150"/>
                  </a:lnTo>
                  <a:lnTo>
                    <a:pt x="222" y="144"/>
                  </a:lnTo>
                  <a:lnTo>
                    <a:pt x="222" y="132"/>
                  </a:lnTo>
                  <a:lnTo>
                    <a:pt x="216" y="126"/>
                  </a:lnTo>
                  <a:lnTo>
                    <a:pt x="216" y="114"/>
                  </a:lnTo>
                  <a:lnTo>
                    <a:pt x="210" y="102"/>
                  </a:lnTo>
                  <a:lnTo>
                    <a:pt x="204" y="96"/>
                  </a:lnTo>
                  <a:lnTo>
                    <a:pt x="192" y="72"/>
                  </a:lnTo>
                  <a:lnTo>
                    <a:pt x="198" y="66"/>
                  </a:lnTo>
                  <a:lnTo>
                    <a:pt x="198" y="60"/>
                  </a:lnTo>
                  <a:lnTo>
                    <a:pt x="204" y="48"/>
                  </a:lnTo>
                  <a:lnTo>
                    <a:pt x="198" y="42"/>
                  </a:lnTo>
                  <a:lnTo>
                    <a:pt x="186" y="36"/>
                  </a:lnTo>
                  <a:lnTo>
                    <a:pt x="180" y="36"/>
                  </a:lnTo>
                  <a:lnTo>
                    <a:pt x="174" y="30"/>
                  </a:lnTo>
                  <a:lnTo>
                    <a:pt x="168" y="30"/>
                  </a:lnTo>
                  <a:lnTo>
                    <a:pt x="162" y="24"/>
                  </a:lnTo>
                  <a:lnTo>
                    <a:pt x="156" y="12"/>
                  </a:lnTo>
                  <a:lnTo>
                    <a:pt x="144" y="0"/>
                  </a:lnTo>
                  <a:lnTo>
                    <a:pt x="114" y="12"/>
                  </a:lnTo>
                  <a:lnTo>
                    <a:pt x="114" y="36"/>
                  </a:lnTo>
                  <a:lnTo>
                    <a:pt x="120" y="36"/>
                  </a:lnTo>
                  <a:lnTo>
                    <a:pt x="114" y="42"/>
                  </a:lnTo>
                  <a:lnTo>
                    <a:pt x="108" y="60"/>
                  </a:lnTo>
                  <a:lnTo>
                    <a:pt x="96" y="60"/>
                  </a:lnTo>
                  <a:lnTo>
                    <a:pt x="90" y="66"/>
                  </a:lnTo>
                  <a:lnTo>
                    <a:pt x="84" y="66"/>
                  </a:lnTo>
                  <a:lnTo>
                    <a:pt x="84" y="78"/>
                  </a:lnTo>
                  <a:lnTo>
                    <a:pt x="78" y="72"/>
                  </a:lnTo>
                  <a:lnTo>
                    <a:pt x="48" y="72"/>
                  </a:lnTo>
                  <a:lnTo>
                    <a:pt x="30" y="90"/>
                  </a:lnTo>
                  <a:lnTo>
                    <a:pt x="24" y="102"/>
                  </a:lnTo>
                  <a:lnTo>
                    <a:pt x="12" y="102"/>
                  </a:lnTo>
                  <a:lnTo>
                    <a:pt x="6" y="114"/>
                  </a:lnTo>
                  <a:lnTo>
                    <a:pt x="0" y="132"/>
                  </a:lnTo>
                  <a:lnTo>
                    <a:pt x="0" y="162"/>
                  </a:lnTo>
                  <a:lnTo>
                    <a:pt x="12" y="168"/>
                  </a:lnTo>
                  <a:lnTo>
                    <a:pt x="42" y="198"/>
                  </a:lnTo>
                  <a:lnTo>
                    <a:pt x="42" y="240"/>
                  </a:lnTo>
                  <a:lnTo>
                    <a:pt x="54" y="252"/>
                  </a:lnTo>
                  <a:lnTo>
                    <a:pt x="60" y="264"/>
                  </a:lnTo>
                  <a:lnTo>
                    <a:pt x="60" y="294"/>
                  </a:lnTo>
                  <a:lnTo>
                    <a:pt x="66" y="306"/>
                  </a:lnTo>
                  <a:lnTo>
                    <a:pt x="54" y="318"/>
                  </a:lnTo>
                  <a:lnTo>
                    <a:pt x="54" y="378"/>
                  </a:lnTo>
                  <a:lnTo>
                    <a:pt x="66" y="390"/>
                  </a:lnTo>
                  <a:lnTo>
                    <a:pt x="54" y="396"/>
                  </a:lnTo>
                  <a:lnTo>
                    <a:pt x="60" y="462"/>
                  </a:lnTo>
                  <a:lnTo>
                    <a:pt x="60" y="468"/>
                  </a:lnTo>
                  <a:lnTo>
                    <a:pt x="72" y="480"/>
                  </a:lnTo>
                  <a:lnTo>
                    <a:pt x="72" y="492"/>
                  </a:lnTo>
                  <a:lnTo>
                    <a:pt x="84" y="492"/>
                  </a:lnTo>
                  <a:lnTo>
                    <a:pt x="96" y="498"/>
                  </a:lnTo>
                  <a:lnTo>
                    <a:pt x="108" y="498"/>
                  </a:lnTo>
                  <a:lnTo>
                    <a:pt x="120" y="474"/>
                  </a:lnTo>
                  <a:lnTo>
                    <a:pt x="126" y="480"/>
                  </a:lnTo>
                  <a:lnTo>
                    <a:pt x="138" y="486"/>
                  </a:lnTo>
                  <a:lnTo>
                    <a:pt x="138" y="372"/>
                  </a:lnTo>
                  <a:close/>
                </a:path>
              </a:pathLst>
            </a:custGeom>
            <a:grp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233" name="Belize" descr="© INSCALE GmbH, 05.05.2010&#10;http://www.presentationload.com/">
              <a:extLst>
                <a:ext uri="{FF2B5EF4-FFF2-40B4-BE49-F238E27FC236}">
                  <a16:creationId xmlns:a16="http://schemas.microsoft.com/office/drawing/2014/main" id="{501508D5-BD7D-0DE8-8FBA-C3C85429A13A}"/>
                </a:ext>
              </a:extLst>
            </p:cNvPr>
            <p:cNvSpPr>
              <a:spLocks/>
            </p:cNvSpPr>
            <p:nvPr/>
          </p:nvSpPr>
          <p:spPr bwMode="gray">
            <a:xfrm>
              <a:off x="1854703" y="2653693"/>
              <a:ext cx="41506" cy="80048"/>
            </a:xfrm>
            <a:custGeom>
              <a:avLst/>
              <a:gdLst>
                <a:gd name="T0" fmla="*/ 2147483647 w 108"/>
                <a:gd name="T1" fmla="*/ 2147483647 h 210"/>
                <a:gd name="T2" fmla="*/ 2147483647 w 108"/>
                <a:gd name="T3" fmla="*/ 2147483647 h 210"/>
                <a:gd name="T4" fmla="*/ 2147483647 w 108"/>
                <a:gd name="T5" fmla="*/ 2147483647 h 210"/>
                <a:gd name="T6" fmla="*/ 2147483647 w 108"/>
                <a:gd name="T7" fmla="*/ 2147483647 h 210"/>
                <a:gd name="T8" fmla="*/ 2147483647 w 108"/>
                <a:gd name="T9" fmla="*/ 2147483647 h 210"/>
                <a:gd name="T10" fmla="*/ 2147483647 w 108"/>
                <a:gd name="T11" fmla="*/ 0 h 210"/>
                <a:gd name="T12" fmla="*/ 2147483647 w 108"/>
                <a:gd name="T13" fmla="*/ 2147483647 h 210"/>
                <a:gd name="T14" fmla="*/ 2147483647 w 108"/>
                <a:gd name="T15" fmla="*/ 2147483647 h 210"/>
                <a:gd name="T16" fmla="*/ 2147483647 w 108"/>
                <a:gd name="T17" fmla="*/ 2147483647 h 210"/>
                <a:gd name="T18" fmla="*/ 2147483647 w 108"/>
                <a:gd name="T19" fmla="*/ 2147483647 h 210"/>
                <a:gd name="T20" fmla="*/ 2147483647 w 108"/>
                <a:gd name="T21" fmla="*/ 2147483647 h 210"/>
                <a:gd name="T22" fmla="*/ 2147483647 w 108"/>
                <a:gd name="T23" fmla="*/ 2147483647 h 210"/>
                <a:gd name="T24" fmla="*/ 2147483647 w 108"/>
                <a:gd name="T25" fmla="*/ 2147483647 h 210"/>
                <a:gd name="T26" fmla="*/ 2147483647 w 108"/>
                <a:gd name="T27" fmla="*/ 2147483647 h 210"/>
                <a:gd name="T28" fmla="*/ 2147483647 w 108"/>
                <a:gd name="T29" fmla="*/ 2147483647 h 210"/>
                <a:gd name="T30" fmla="*/ 2147483647 w 108"/>
                <a:gd name="T31" fmla="*/ 2147483647 h 210"/>
                <a:gd name="T32" fmla="*/ 2147483647 w 108"/>
                <a:gd name="T33" fmla="*/ 2147483647 h 210"/>
                <a:gd name="T34" fmla="*/ 2147483647 w 108"/>
                <a:gd name="T35" fmla="*/ 2147483647 h 210"/>
                <a:gd name="T36" fmla="*/ 0 w 108"/>
                <a:gd name="T37" fmla="*/ 2147483647 h 210"/>
                <a:gd name="T38" fmla="*/ 2147483647 w 108"/>
                <a:gd name="T39" fmla="*/ 2147483647 h 210"/>
                <a:gd name="T40" fmla="*/ 2147483647 w 108"/>
                <a:gd name="T41" fmla="*/ 2147483647 h 210"/>
                <a:gd name="T42" fmla="*/ 2147483647 w 108"/>
                <a:gd name="T43" fmla="*/ 2147483647 h 210"/>
                <a:gd name="T44" fmla="*/ 2147483647 w 108"/>
                <a:gd name="T45" fmla="*/ 2147483647 h 210"/>
                <a:gd name="T46" fmla="*/ 2147483647 w 108"/>
                <a:gd name="T47" fmla="*/ 2147483647 h 210"/>
                <a:gd name="T48" fmla="*/ 2147483647 w 108"/>
                <a:gd name="T49" fmla="*/ 2147483647 h 210"/>
                <a:gd name="T50" fmla="*/ 2147483647 w 108"/>
                <a:gd name="T51" fmla="*/ 2147483647 h 210"/>
                <a:gd name="T52" fmla="*/ 2147483647 w 108"/>
                <a:gd name="T53" fmla="*/ 2147483647 h 210"/>
                <a:gd name="T54" fmla="*/ 2147483647 w 108"/>
                <a:gd name="T55" fmla="*/ 2147483647 h 21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08"/>
                <a:gd name="T85" fmla="*/ 0 h 210"/>
                <a:gd name="T86" fmla="*/ 108 w 108"/>
                <a:gd name="T87" fmla="*/ 210 h 21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08" h="210">
                  <a:moveTo>
                    <a:pt x="108" y="30"/>
                  </a:moveTo>
                  <a:lnTo>
                    <a:pt x="108" y="24"/>
                  </a:lnTo>
                  <a:lnTo>
                    <a:pt x="102" y="24"/>
                  </a:lnTo>
                  <a:lnTo>
                    <a:pt x="90" y="18"/>
                  </a:lnTo>
                  <a:lnTo>
                    <a:pt x="84" y="12"/>
                  </a:lnTo>
                  <a:lnTo>
                    <a:pt x="78" y="0"/>
                  </a:lnTo>
                  <a:lnTo>
                    <a:pt x="78" y="6"/>
                  </a:lnTo>
                  <a:lnTo>
                    <a:pt x="72" y="12"/>
                  </a:lnTo>
                  <a:lnTo>
                    <a:pt x="72" y="24"/>
                  </a:lnTo>
                  <a:lnTo>
                    <a:pt x="66" y="36"/>
                  </a:lnTo>
                  <a:lnTo>
                    <a:pt x="54" y="42"/>
                  </a:lnTo>
                  <a:lnTo>
                    <a:pt x="48" y="48"/>
                  </a:lnTo>
                  <a:lnTo>
                    <a:pt x="42" y="48"/>
                  </a:lnTo>
                  <a:lnTo>
                    <a:pt x="42" y="42"/>
                  </a:lnTo>
                  <a:lnTo>
                    <a:pt x="36" y="36"/>
                  </a:lnTo>
                  <a:lnTo>
                    <a:pt x="30" y="36"/>
                  </a:lnTo>
                  <a:lnTo>
                    <a:pt x="30" y="42"/>
                  </a:lnTo>
                  <a:lnTo>
                    <a:pt x="24" y="54"/>
                  </a:lnTo>
                  <a:lnTo>
                    <a:pt x="0" y="210"/>
                  </a:lnTo>
                  <a:lnTo>
                    <a:pt x="30" y="210"/>
                  </a:lnTo>
                  <a:lnTo>
                    <a:pt x="42" y="168"/>
                  </a:lnTo>
                  <a:lnTo>
                    <a:pt x="60" y="174"/>
                  </a:lnTo>
                  <a:lnTo>
                    <a:pt x="84" y="150"/>
                  </a:lnTo>
                  <a:lnTo>
                    <a:pt x="84" y="90"/>
                  </a:lnTo>
                  <a:lnTo>
                    <a:pt x="90" y="78"/>
                  </a:lnTo>
                  <a:lnTo>
                    <a:pt x="96" y="60"/>
                  </a:lnTo>
                  <a:lnTo>
                    <a:pt x="108" y="36"/>
                  </a:lnTo>
                  <a:lnTo>
                    <a:pt x="108" y="30"/>
                  </a:lnTo>
                  <a:close/>
                </a:path>
              </a:pathLst>
            </a:custGeom>
            <a:grp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234" name="Belgium" descr="© INSCALE GmbH, 05.05.2010&#10;http://www.presentationload.com/">
              <a:extLst>
                <a:ext uri="{FF2B5EF4-FFF2-40B4-BE49-F238E27FC236}">
                  <a16:creationId xmlns:a16="http://schemas.microsoft.com/office/drawing/2014/main" id="{96ACC198-87A4-5A33-8D9A-0A9E531DA24F}"/>
                </a:ext>
              </a:extLst>
            </p:cNvPr>
            <p:cNvSpPr>
              <a:spLocks/>
            </p:cNvSpPr>
            <p:nvPr/>
          </p:nvSpPr>
          <p:spPr bwMode="gray">
            <a:xfrm>
              <a:off x="4336193" y="1654570"/>
              <a:ext cx="84496" cy="57813"/>
            </a:xfrm>
            <a:custGeom>
              <a:avLst/>
              <a:gdLst>
                <a:gd name="T0" fmla="*/ 0 w 222"/>
                <a:gd name="T1" fmla="*/ 2147483647 h 150"/>
                <a:gd name="T2" fmla="*/ 2147483647 w 222"/>
                <a:gd name="T3" fmla="*/ 2147483647 h 150"/>
                <a:gd name="T4" fmla="*/ 2147483647 w 222"/>
                <a:gd name="T5" fmla="*/ 2147483647 h 150"/>
                <a:gd name="T6" fmla="*/ 2147483647 w 222"/>
                <a:gd name="T7" fmla="*/ 2147483647 h 150"/>
                <a:gd name="T8" fmla="*/ 2147483647 w 222"/>
                <a:gd name="T9" fmla="*/ 2147483647 h 150"/>
                <a:gd name="T10" fmla="*/ 2147483647 w 222"/>
                <a:gd name="T11" fmla="*/ 2147483647 h 150"/>
                <a:gd name="T12" fmla="*/ 2147483647 w 222"/>
                <a:gd name="T13" fmla="*/ 2147483647 h 150"/>
                <a:gd name="T14" fmla="*/ 2147483647 w 222"/>
                <a:gd name="T15" fmla="*/ 2147483647 h 150"/>
                <a:gd name="T16" fmla="*/ 2147483647 w 222"/>
                <a:gd name="T17" fmla="*/ 2147483647 h 150"/>
                <a:gd name="T18" fmla="*/ 2147483647 w 222"/>
                <a:gd name="T19" fmla="*/ 2147483647 h 150"/>
                <a:gd name="T20" fmla="*/ 2147483647 w 222"/>
                <a:gd name="T21" fmla="*/ 2147483647 h 150"/>
                <a:gd name="T22" fmla="*/ 2147483647 w 222"/>
                <a:gd name="T23" fmla="*/ 2147483647 h 150"/>
                <a:gd name="T24" fmla="*/ 2147483647 w 222"/>
                <a:gd name="T25" fmla="*/ 2147483647 h 150"/>
                <a:gd name="T26" fmla="*/ 2147483647 w 222"/>
                <a:gd name="T27" fmla="*/ 2147483647 h 150"/>
                <a:gd name="T28" fmla="*/ 2147483647 w 222"/>
                <a:gd name="T29" fmla="*/ 2147483647 h 150"/>
                <a:gd name="T30" fmla="*/ 2147483647 w 222"/>
                <a:gd name="T31" fmla="*/ 2147483647 h 150"/>
                <a:gd name="T32" fmla="*/ 2147483647 w 222"/>
                <a:gd name="T33" fmla="*/ 2147483647 h 150"/>
                <a:gd name="T34" fmla="*/ 2147483647 w 222"/>
                <a:gd name="T35" fmla="*/ 2147483647 h 150"/>
                <a:gd name="T36" fmla="*/ 2147483647 w 222"/>
                <a:gd name="T37" fmla="*/ 2147483647 h 150"/>
                <a:gd name="T38" fmla="*/ 2147483647 w 222"/>
                <a:gd name="T39" fmla="*/ 2147483647 h 150"/>
                <a:gd name="T40" fmla="*/ 2147483647 w 222"/>
                <a:gd name="T41" fmla="*/ 2147483647 h 150"/>
                <a:gd name="T42" fmla="*/ 2147483647 w 222"/>
                <a:gd name="T43" fmla="*/ 2147483647 h 150"/>
                <a:gd name="T44" fmla="*/ 2147483647 w 222"/>
                <a:gd name="T45" fmla="*/ 2147483647 h 150"/>
                <a:gd name="T46" fmla="*/ 2147483647 w 222"/>
                <a:gd name="T47" fmla="*/ 2147483647 h 150"/>
                <a:gd name="T48" fmla="*/ 2147483647 w 222"/>
                <a:gd name="T49" fmla="*/ 2147483647 h 150"/>
                <a:gd name="T50" fmla="*/ 2147483647 w 222"/>
                <a:gd name="T51" fmla="*/ 2147483647 h 150"/>
                <a:gd name="T52" fmla="*/ 2147483647 w 222"/>
                <a:gd name="T53" fmla="*/ 2147483647 h 150"/>
                <a:gd name="T54" fmla="*/ 2147483647 w 222"/>
                <a:gd name="T55" fmla="*/ 2147483647 h 150"/>
                <a:gd name="T56" fmla="*/ 2147483647 w 222"/>
                <a:gd name="T57" fmla="*/ 2147483647 h 150"/>
                <a:gd name="T58" fmla="*/ 2147483647 w 222"/>
                <a:gd name="T59" fmla="*/ 2147483647 h 150"/>
                <a:gd name="T60" fmla="*/ 2147483647 w 222"/>
                <a:gd name="T61" fmla="*/ 2147483647 h 150"/>
                <a:gd name="T62" fmla="*/ 2147483647 w 222"/>
                <a:gd name="T63" fmla="*/ 2147483647 h 150"/>
                <a:gd name="T64" fmla="*/ 2147483647 w 222"/>
                <a:gd name="T65" fmla="*/ 2147483647 h 150"/>
                <a:gd name="T66" fmla="*/ 2147483647 w 222"/>
                <a:gd name="T67" fmla="*/ 2147483647 h 150"/>
                <a:gd name="T68" fmla="*/ 2147483647 w 222"/>
                <a:gd name="T69" fmla="*/ 2147483647 h 150"/>
                <a:gd name="T70" fmla="*/ 2147483647 w 222"/>
                <a:gd name="T71" fmla="*/ 2147483647 h 150"/>
                <a:gd name="T72" fmla="*/ 2147483647 w 222"/>
                <a:gd name="T73" fmla="*/ 2147483647 h 150"/>
                <a:gd name="T74" fmla="*/ 2147483647 w 222"/>
                <a:gd name="T75" fmla="*/ 2147483647 h 150"/>
                <a:gd name="T76" fmla="*/ 2147483647 w 222"/>
                <a:gd name="T77" fmla="*/ 2147483647 h 150"/>
                <a:gd name="T78" fmla="*/ 2147483647 w 222"/>
                <a:gd name="T79" fmla="*/ 2147483647 h 150"/>
                <a:gd name="T80" fmla="*/ 2147483647 w 222"/>
                <a:gd name="T81" fmla="*/ 0 h 150"/>
                <a:gd name="T82" fmla="*/ 2147483647 w 222"/>
                <a:gd name="T83" fmla="*/ 0 h 150"/>
                <a:gd name="T84" fmla="*/ 2147483647 w 222"/>
                <a:gd name="T85" fmla="*/ 2147483647 h 150"/>
                <a:gd name="T86" fmla="*/ 2147483647 w 222"/>
                <a:gd name="T87" fmla="*/ 0 h 150"/>
                <a:gd name="T88" fmla="*/ 2147483647 w 222"/>
                <a:gd name="T89" fmla="*/ 2147483647 h 150"/>
                <a:gd name="T90" fmla="*/ 2147483647 w 222"/>
                <a:gd name="T91" fmla="*/ 2147483647 h 150"/>
                <a:gd name="T92" fmla="*/ 2147483647 w 222"/>
                <a:gd name="T93" fmla="*/ 2147483647 h 150"/>
                <a:gd name="T94" fmla="*/ 2147483647 w 222"/>
                <a:gd name="T95" fmla="*/ 2147483647 h 150"/>
                <a:gd name="T96" fmla="*/ 2147483647 w 222"/>
                <a:gd name="T97" fmla="*/ 2147483647 h 150"/>
                <a:gd name="T98" fmla="*/ 2147483647 w 222"/>
                <a:gd name="T99" fmla="*/ 2147483647 h 150"/>
                <a:gd name="T100" fmla="*/ 2147483647 w 222"/>
                <a:gd name="T101" fmla="*/ 2147483647 h 150"/>
                <a:gd name="T102" fmla="*/ 0 w 222"/>
                <a:gd name="T103" fmla="*/ 2147483647 h 150"/>
                <a:gd name="T104" fmla="*/ 0 w 222"/>
                <a:gd name="T105" fmla="*/ 2147483647 h 15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22"/>
                <a:gd name="T160" fmla="*/ 0 h 150"/>
                <a:gd name="T161" fmla="*/ 222 w 222"/>
                <a:gd name="T162" fmla="*/ 150 h 15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22" h="150">
                  <a:moveTo>
                    <a:pt x="0" y="42"/>
                  </a:moveTo>
                  <a:lnTo>
                    <a:pt x="6" y="60"/>
                  </a:lnTo>
                  <a:lnTo>
                    <a:pt x="30" y="66"/>
                  </a:lnTo>
                  <a:lnTo>
                    <a:pt x="42" y="78"/>
                  </a:lnTo>
                  <a:lnTo>
                    <a:pt x="66" y="78"/>
                  </a:lnTo>
                  <a:lnTo>
                    <a:pt x="78" y="84"/>
                  </a:lnTo>
                  <a:lnTo>
                    <a:pt x="84" y="90"/>
                  </a:lnTo>
                  <a:lnTo>
                    <a:pt x="84" y="114"/>
                  </a:lnTo>
                  <a:lnTo>
                    <a:pt x="108" y="114"/>
                  </a:lnTo>
                  <a:lnTo>
                    <a:pt x="120" y="102"/>
                  </a:lnTo>
                  <a:lnTo>
                    <a:pt x="120" y="126"/>
                  </a:lnTo>
                  <a:lnTo>
                    <a:pt x="132" y="126"/>
                  </a:lnTo>
                  <a:lnTo>
                    <a:pt x="144" y="132"/>
                  </a:lnTo>
                  <a:lnTo>
                    <a:pt x="150" y="132"/>
                  </a:lnTo>
                  <a:lnTo>
                    <a:pt x="162" y="144"/>
                  </a:lnTo>
                  <a:lnTo>
                    <a:pt x="180" y="144"/>
                  </a:lnTo>
                  <a:lnTo>
                    <a:pt x="192" y="150"/>
                  </a:lnTo>
                  <a:lnTo>
                    <a:pt x="192" y="144"/>
                  </a:lnTo>
                  <a:lnTo>
                    <a:pt x="186" y="132"/>
                  </a:lnTo>
                  <a:lnTo>
                    <a:pt x="174" y="120"/>
                  </a:lnTo>
                  <a:lnTo>
                    <a:pt x="174" y="114"/>
                  </a:lnTo>
                  <a:lnTo>
                    <a:pt x="180" y="114"/>
                  </a:lnTo>
                  <a:lnTo>
                    <a:pt x="192" y="108"/>
                  </a:lnTo>
                  <a:lnTo>
                    <a:pt x="198" y="102"/>
                  </a:lnTo>
                  <a:lnTo>
                    <a:pt x="204" y="102"/>
                  </a:lnTo>
                  <a:lnTo>
                    <a:pt x="204" y="96"/>
                  </a:lnTo>
                  <a:lnTo>
                    <a:pt x="210" y="90"/>
                  </a:lnTo>
                  <a:lnTo>
                    <a:pt x="222" y="90"/>
                  </a:lnTo>
                  <a:lnTo>
                    <a:pt x="216" y="84"/>
                  </a:lnTo>
                  <a:lnTo>
                    <a:pt x="216" y="66"/>
                  </a:lnTo>
                  <a:lnTo>
                    <a:pt x="204" y="54"/>
                  </a:lnTo>
                  <a:lnTo>
                    <a:pt x="180" y="54"/>
                  </a:lnTo>
                  <a:lnTo>
                    <a:pt x="180" y="42"/>
                  </a:lnTo>
                  <a:lnTo>
                    <a:pt x="186" y="36"/>
                  </a:lnTo>
                  <a:lnTo>
                    <a:pt x="186" y="18"/>
                  </a:lnTo>
                  <a:lnTo>
                    <a:pt x="180" y="12"/>
                  </a:lnTo>
                  <a:lnTo>
                    <a:pt x="174" y="12"/>
                  </a:lnTo>
                  <a:lnTo>
                    <a:pt x="162" y="18"/>
                  </a:lnTo>
                  <a:lnTo>
                    <a:pt x="150" y="18"/>
                  </a:lnTo>
                  <a:lnTo>
                    <a:pt x="144" y="12"/>
                  </a:lnTo>
                  <a:lnTo>
                    <a:pt x="144" y="0"/>
                  </a:lnTo>
                  <a:lnTo>
                    <a:pt x="108" y="0"/>
                  </a:lnTo>
                  <a:lnTo>
                    <a:pt x="108" y="6"/>
                  </a:lnTo>
                  <a:lnTo>
                    <a:pt x="96" y="0"/>
                  </a:lnTo>
                  <a:lnTo>
                    <a:pt x="96" y="12"/>
                  </a:lnTo>
                  <a:lnTo>
                    <a:pt x="78" y="6"/>
                  </a:lnTo>
                  <a:lnTo>
                    <a:pt x="72" y="18"/>
                  </a:lnTo>
                  <a:lnTo>
                    <a:pt x="66" y="12"/>
                  </a:lnTo>
                  <a:lnTo>
                    <a:pt x="42" y="12"/>
                  </a:lnTo>
                  <a:lnTo>
                    <a:pt x="36" y="6"/>
                  </a:lnTo>
                  <a:lnTo>
                    <a:pt x="24" y="6"/>
                  </a:lnTo>
                  <a:lnTo>
                    <a:pt x="0" y="24"/>
                  </a:lnTo>
                  <a:lnTo>
                    <a:pt x="0" y="42"/>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235" name="Bangladesh" descr="© INSCALE GmbH, 05.05.2010&#10;http://www.presentationload.com/">
              <a:extLst>
                <a:ext uri="{FF2B5EF4-FFF2-40B4-BE49-F238E27FC236}">
                  <a16:creationId xmlns:a16="http://schemas.microsoft.com/office/drawing/2014/main" id="{F826241D-44BA-3F6B-ACE4-47697F8E8D8C}"/>
                </a:ext>
              </a:extLst>
            </p:cNvPr>
            <p:cNvSpPr>
              <a:spLocks/>
            </p:cNvSpPr>
            <p:nvPr/>
          </p:nvSpPr>
          <p:spPr bwMode="gray">
            <a:xfrm>
              <a:off x="6550859" y="2407618"/>
              <a:ext cx="142308" cy="161579"/>
            </a:xfrm>
            <a:custGeom>
              <a:avLst/>
              <a:gdLst>
                <a:gd name="T0" fmla="*/ 2147483647 w 372"/>
                <a:gd name="T1" fmla="*/ 2147483647 h 426"/>
                <a:gd name="T2" fmla="*/ 2147483647 w 372"/>
                <a:gd name="T3" fmla="*/ 2147483647 h 426"/>
                <a:gd name="T4" fmla="*/ 2147483647 w 372"/>
                <a:gd name="T5" fmla="*/ 2147483647 h 426"/>
                <a:gd name="T6" fmla="*/ 2147483647 w 372"/>
                <a:gd name="T7" fmla="*/ 2147483647 h 426"/>
                <a:gd name="T8" fmla="*/ 2147483647 w 372"/>
                <a:gd name="T9" fmla="*/ 2147483647 h 426"/>
                <a:gd name="T10" fmla="*/ 2147483647 w 372"/>
                <a:gd name="T11" fmla="*/ 2147483647 h 426"/>
                <a:gd name="T12" fmla="*/ 2147483647 w 372"/>
                <a:gd name="T13" fmla="*/ 2147483647 h 426"/>
                <a:gd name="T14" fmla="*/ 2147483647 w 372"/>
                <a:gd name="T15" fmla="*/ 2147483647 h 426"/>
                <a:gd name="T16" fmla="*/ 2147483647 w 372"/>
                <a:gd name="T17" fmla="*/ 2147483647 h 426"/>
                <a:gd name="T18" fmla="*/ 2147483647 w 372"/>
                <a:gd name="T19" fmla="*/ 2147483647 h 426"/>
                <a:gd name="T20" fmla="*/ 2147483647 w 372"/>
                <a:gd name="T21" fmla="*/ 2147483647 h 426"/>
                <a:gd name="T22" fmla="*/ 2147483647 w 372"/>
                <a:gd name="T23" fmla="*/ 2147483647 h 426"/>
                <a:gd name="T24" fmla="*/ 2147483647 w 372"/>
                <a:gd name="T25" fmla="*/ 2147483647 h 426"/>
                <a:gd name="T26" fmla="*/ 2147483647 w 372"/>
                <a:gd name="T27" fmla="*/ 2147483647 h 426"/>
                <a:gd name="T28" fmla="*/ 2147483647 w 372"/>
                <a:gd name="T29" fmla="*/ 2147483647 h 426"/>
                <a:gd name="T30" fmla="*/ 2147483647 w 372"/>
                <a:gd name="T31" fmla="*/ 2147483647 h 426"/>
                <a:gd name="T32" fmla="*/ 2147483647 w 372"/>
                <a:gd name="T33" fmla="*/ 2147483647 h 426"/>
                <a:gd name="T34" fmla="*/ 2147483647 w 372"/>
                <a:gd name="T35" fmla="*/ 2147483647 h 426"/>
                <a:gd name="T36" fmla="*/ 2147483647 w 372"/>
                <a:gd name="T37" fmla="*/ 2147483647 h 426"/>
                <a:gd name="T38" fmla="*/ 2147483647 w 372"/>
                <a:gd name="T39" fmla="*/ 2147483647 h 426"/>
                <a:gd name="T40" fmla="*/ 2147483647 w 372"/>
                <a:gd name="T41" fmla="*/ 2147483647 h 426"/>
                <a:gd name="T42" fmla="*/ 2147483647 w 372"/>
                <a:gd name="T43" fmla="*/ 2147483647 h 426"/>
                <a:gd name="T44" fmla="*/ 2147483647 w 372"/>
                <a:gd name="T45" fmla="*/ 2147483647 h 426"/>
                <a:gd name="T46" fmla="*/ 2147483647 w 372"/>
                <a:gd name="T47" fmla="*/ 2147483647 h 426"/>
                <a:gd name="T48" fmla="*/ 2147483647 w 372"/>
                <a:gd name="T49" fmla="*/ 2147483647 h 426"/>
                <a:gd name="T50" fmla="*/ 2147483647 w 372"/>
                <a:gd name="T51" fmla="*/ 2147483647 h 426"/>
                <a:gd name="T52" fmla="*/ 2147483647 w 372"/>
                <a:gd name="T53" fmla="*/ 2147483647 h 426"/>
                <a:gd name="T54" fmla="*/ 2147483647 w 372"/>
                <a:gd name="T55" fmla="*/ 2147483647 h 426"/>
                <a:gd name="T56" fmla="*/ 2147483647 w 372"/>
                <a:gd name="T57" fmla="*/ 2147483647 h 426"/>
                <a:gd name="T58" fmla="*/ 2147483647 w 372"/>
                <a:gd name="T59" fmla="*/ 2147483647 h 426"/>
                <a:gd name="T60" fmla="*/ 2147483647 w 372"/>
                <a:gd name="T61" fmla="*/ 2147483647 h 426"/>
                <a:gd name="T62" fmla="*/ 2147483647 w 372"/>
                <a:gd name="T63" fmla="*/ 2147483647 h 426"/>
                <a:gd name="T64" fmla="*/ 2147483647 w 372"/>
                <a:gd name="T65" fmla="*/ 2147483647 h 426"/>
                <a:gd name="T66" fmla="*/ 2147483647 w 372"/>
                <a:gd name="T67" fmla="*/ 2147483647 h 426"/>
                <a:gd name="T68" fmla="*/ 2147483647 w 372"/>
                <a:gd name="T69" fmla="*/ 2147483647 h 426"/>
                <a:gd name="T70" fmla="*/ 2147483647 w 372"/>
                <a:gd name="T71" fmla="*/ 2147483647 h 426"/>
                <a:gd name="T72" fmla="*/ 2147483647 w 372"/>
                <a:gd name="T73" fmla="*/ 2147483647 h 426"/>
                <a:gd name="T74" fmla="*/ 2147483647 w 372"/>
                <a:gd name="T75" fmla="*/ 2147483647 h 426"/>
                <a:gd name="T76" fmla="*/ 2147483647 w 372"/>
                <a:gd name="T77" fmla="*/ 2147483647 h 426"/>
                <a:gd name="T78" fmla="*/ 2147483647 w 372"/>
                <a:gd name="T79" fmla="*/ 2147483647 h 426"/>
                <a:gd name="T80" fmla="*/ 2147483647 w 372"/>
                <a:gd name="T81" fmla="*/ 2147483647 h 426"/>
                <a:gd name="T82" fmla="*/ 2147483647 w 372"/>
                <a:gd name="T83" fmla="*/ 2147483647 h 426"/>
                <a:gd name="T84" fmla="*/ 2147483647 w 372"/>
                <a:gd name="T85" fmla="*/ 0 h 426"/>
                <a:gd name="T86" fmla="*/ 2147483647 w 372"/>
                <a:gd name="T87" fmla="*/ 2147483647 h 426"/>
                <a:gd name="T88" fmla="*/ 0 w 372"/>
                <a:gd name="T89" fmla="*/ 2147483647 h 426"/>
                <a:gd name="T90" fmla="*/ 2147483647 w 372"/>
                <a:gd name="T91" fmla="*/ 2147483647 h 426"/>
                <a:gd name="T92" fmla="*/ 2147483647 w 372"/>
                <a:gd name="T93" fmla="*/ 2147483647 h 426"/>
                <a:gd name="T94" fmla="*/ 2147483647 w 372"/>
                <a:gd name="T95" fmla="*/ 2147483647 h 426"/>
                <a:gd name="T96" fmla="*/ 2147483647 w 372"/>
                <a:gd name="T97" fmla="*/ 2147483647 h 426"/>
                <a:gd name="T98" fmla="*/ 2147483647 w 372"/>
                <a:gd name="T99" fmla="*/ 2147483647 h 426"/>
                <a:gd name="T100" fmla="*/ 2147483647 w 372"/>
                <a:gd name="T101" fmla="*/ 2147483647 h 426"/>
                <a:gd name="T102" fmla="*/ 2147483647 w 372"/>
                <a:gd name="T103" fmla="*/ 2147483647 h 426"/>
                <a:gd name="T104" fmla="*/ 2147483647 w 372"/>
                <a:gd name="T105" fmla="*/ 2147483647 h 426"/>
                <a:gd name="T106" fmla="*/ 2147483647 w 372"/>
                <a:gd name="T107" fmla="*/ 2147483647 h 426"/>
                <a:gd name="T108" fmla="*/ 2147483647 w 372"/>
                <a:gd name="T109" fmla="*/ 2147483647 h 426"/>
                <a:gd name="T110" fmla="*/ 2147483647 w 372"/>
                <a:gd name="T111" fmla="*/ 2147483647 h 426"/>
                <a:gd name="T112" fmla="*/ 2147483647 w 372"/>
                <a:gd name="T113" fmla="*/ 2147483647 h 426"/>
                <a:gd name="T114" fmla="*/ 2147483647 w 372"/>
                <a:gd name="T115" fmla="*/ 2147483647 h 4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72"/>
                <a:gd name="T175" fmla="*/ 0 h 426"/>
                <a:gd name="T176" fmla="*/ 372 w 372"/>
                <a:gd name="T177" fmla="*/ 426 h 4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72" h="426">
                  <a:moveTo>
                    <a:pt x="132" y="414"/>
                  </a:moveTo>
                  <a:lnTo>
                    <a:pt x="138" y="354"/>
                  </a:lnTo>
                  <a:lnTo>
                    <a:pt x="144" y="354"/>
                  </a:lnTo>
                  <a:lnTo>
                    <a:pt x="150" y="360"/>
                  </a:lnTo>
                  <a:lnTo>
                    <a:pt x="162" y="360"/>
                  </a:lnTo>
                  <a:lnTo>
                    <a:pt x="174" y="366"/>
                  </a:lnTo>
                  <a:lnTo>
                    <a:pt x="192" y="372"/>
                  </a:lnTo>
                  <a:lnTo>
                    <a:pt x="216" y="372"/>
                  </a:lnTo>
                  <a:lnTo>
                    <a:pt x="210" y="366"/>
                  </a:lnTo>
                  <a:lnTo>
                    <a:pt x="210" y="348"/>
                  </a:lnTo>
                  <a:lnTo>
                    <a:pt x="204" y="342"/>
                  </a:lnTo>
                  <a:lnTo>
                    <a:pt x="222" y="342"/>
                  </a:lnTo>
                  <a:lnTo>
                    <a:pt x="258" y="360"/>
                  </a:lnTo>
                  <a:lnTo>
                    <a:pt x="270" y="360"/>
                  </a:lnTo>
                  <a:lnTo>
                    <a:pt x="282" y="348"/>
                  </a:lnTo>
                  <a:lnTo>
                    <a:pt x="282" y="336"/>
                  </a:lnTo>
                  <a:lnTo>
                    <a:pt x="270" y="300"/>
                  </a:lnTo>
                  <a:lnTo>
                    <a:pt x="318" y="354"/>
                  </a:lnTo>
                  <a:lnTo>
                    <a:pt x="318" y="360"/>
                  </a:lnTo>
                  <a:lnTo>
                    <a:pt x="312" y="366"/>
                  </a:lnTo>
                  <a:lnTo>
                    <a:pt x="312" y="390"/>
                  </a:lnTo>
                  <a:lnTo>
                    <a:pt x="306" y="402"/>
                  </a:lnTo>
                  <a:lnTo>
                    <a:pt x="306" y="414"/>
                  </a:lnTo>
                  <a:lnTo>
                    <a:pt x="312" y="420"/>
                  </a:lnTo>
                  <a:lnTo>
                    <a:pt x="324" y="420"/>
                  </a:lnTo>
                  <a:lnTo>
                    <a:pt x="330" y="426"/>
                  </a:lnTo>
                  <a:lnTo>
                    <a:pt x="336" y="414"/>
                  </a:lnTo>
                  <a:lnTo>
                    <a:pt x="336" y="408"/>
                  </a:lnTo>
                  <a:lnTo>
                    <a:pt x="372" y="414"/>
                  </a:lnTo>
                  <a:lnTo>
                    <a:pt x="360" y="354"/>
                  </a:lnTo>
                  <a:lnTo>
                    <a:pt x="360" y="348"/>
                  </a:lnTo>
                  <a:lnTo>
                    <a:pt x="354" y="342"/>
                  </a:lnTo>
                  <a:lnTo>
                    <a:pt x="348" y="330"/>
                  </a:lnTo>
                  <a:lnTo>
                    <a:pt x="342" y="312"/>
                  </a:lnTo>
                  <a:lnTo>
                    <a:pt x="336" y="300"/>
                  </a:lnTo>
                  <a:lnTo>
                    <a:pt x="336" y="288"/>
                  </a:lnTo>
                  <a:lnTo>
                    <a:pt x="330" y="276"/>
                  </a:lnTo>
                  <a:lnTo>
                    <a:pt x="330" y="270"/>
                  </a:lnTo>
                  <a:lnTo>
                    <a:pt x="324" y="258"/>
                  </a:lnTo>
                  <a:lnTo>
                    <a:pt x="324" y="240"/>
                  </a:lnTo>
                  <a:lnTo>
                    <a:pt x="318" y="234"/>
                  </a:lnTo>
                  <a:lnTo>
                    <a:pt x="306" y="228"/>
                  </a:lnTo>
                  <a:lnTo>
                    <a:pt x="288" y="228"/>
                  </a:lnTo>
                  <a:lnTo>
                    <a:pt x="288" y="252"/>
                  </a:lnTo>
                  <a:lnTo>
                    <a:pt x="282" y="288"/>
                  </a:lnTo>
                  <a:lnTo>
                    <a:pt x="264" y="264"/>
                  </a:lnTo>
                  <a:lnTo>
                    <a:pt x="258" y="264"/>
                  </a:lnTo>
                  <a:lnTo>
                    <a:pt x="240" y="246"/>
                  </a:lnTo>
                  <a:lnTo>
                    <a:pt x="234" y="234"/>
                  </a:lnTo>
                  <a:lnTo>
                    <a:pt x="234" y="216"/>
                  </a:lnTo>
                  <a:lnTo>
                    <a:pt x="240" y="204"/>
                  </a:lnTo>
                  <a:lnTo>
                    <a:pt x="252" y="192"/>
                  </a:lnTo>
                  <a:lnTo>
                    <a:pt x="258" y="192"/>
                  </a:lnTo>
                  <a:lnTo>
                    <a:pt x="270" y="186"/>
                  </a:lnTo>
                  <a:lnTo>
                    <a:pt x="276" y="186"/>
                  </a:lnTo>
                  <a:lnTo>
                    <a:pt x="282" y="180"/>
                  </a:lnTo>
                  <a:lnTo>
                    <a:pt x="288" y="168"/>
                  </a:lnTo>
                  <a:lnTo>
                    <a:pt x="294" y="150"/>
                  </a:lnTo>
                  <a:lnTo>
                    <a:pt x="294" y="138"/>
                  </a:lnTo>
                  <a:lnTo>
                    <a:pt x="300" y="138"/>
                  </a:lnTo>
                  <a:lnTo>
                    <a:pt x="306" y="132"/>
                  </a:lnTo>
                  <a:lnTo>
                    <a:pt x="306" y="126"/>
                  </a:lnTo>
                  <a:lnTo>
                    <a:pt x="282" y="102"/>
                  </a:lnTo>
                  <a:lnTo>
                    <a:pt x="276" y="102"/>
                  </a:lnTo>
                  <a:lnTo>
                    <a:pt x="228" y="114"/>
                  </a:lnTo>
                  <a:lnTo>
                    <a:pt x="210" y="114"/>
                  </a:lnTo>
                  <a:lnTo>
                    <a:pt x="198" y="108"/>
                  </a:lnTo>
                  <a:lnTo>
                    <a:pt x="138" y="108"/>
                  </a:lnTo>
                  <a:lnTo>
                    <a:pt x="132" y="102"/>
                  </a:lnTo>
                  <a:lnTo>
                    <a:pt x="126" y="102"/>
                  </a:lnTo>
                  <a:lnTo>
                    <a:pt x="126" y="66"/>
                  </a:lnTo>
                  <a:lnTo>
                    <a:pt x="120" y="66"/>
                  </a:lnTo>
                  <a:lnTo>
                    <a:pt x="120" y="36"/>
                  </a:lnTo>
                  <a:lnTo>
                    <a:pt x="114" y="30"/>
                  </a:lnTo>
                  <a:lnTo>
                    <a:pt x="108" y="30"/>
                  </a:lnTo>
                  <a:lnTo>
                    <a:pt x="102" y="24"/>
                  </a:lnTo>
                  <a:lnTo>
                    <a:pt x="96" y="42"/>
                  </a:lnTo>
                  <a:lnTo>
                    <a:pt x="90" y="36"/>
                  </a:lnTo>
                  <a:lnTo>
                    <a:pt x="78" y="36"/>
                  </a:lnTo>
                  <a:lnTo>
                    <a:pt x="72" y="30"/>
                  </a:lnTo>
                  <a:lnTo>
                    <a:pt x="66" y="18"/>
                  </a:lnTo>
                  <a:lnTo>
                    <a:pt x="66" y="12"/>
                  </a:lnTo>
                  <a:lnTo>
                    <a:pt x="60" y="0"/>
                  </a:lnTo>
                  <a:lnTo>
                    <a:pt x="42" y="6"/>
                  </a:lnTo>
                  <a:lnTo>
                    <a:pt x="48" y="12"/>
                  </a:lnTo>
                  <a:lnTo>
                    <a:pt x="24" y="0"/>
                  </a:lnTo>
                  <a:lnTo>
                    <a:pt x="6" y="0"/>
                  </a:lnTo>
                  <a:lnTo>
                    <a:pt x="18" y="18"/>
                  </a:lnTo>
                  <a:lnTo>
                    <a:pt x="6" y="30"/>
                  </a:lnTo>
                  <a:lnTo>
                    <a:pt x="0" y="42"/>
                  </a:lnTo>
                  <a:lnTo>
                    <a:pt x="0" y="48"/>
                  </a:lnTo>
                  <a:lnTo>
                    <a:pt x="6" y="60"/>
                  </a:lnTo>
                  <a:lnTo>
                    <a:pt x="18" y="66"/>
                  </a:lnTo>
                  <a:lnTo>
                    <a:pt x="30" y="78"/>
                  </a:lnTo>
                  <a:lnTo>
                    <a:pt x="36" y="78"/>
                  </a:lnTo>
                  <a:lnTo>
                    <a:pt x="66" y="96"/>
                  </a:lnTo>
                  <a:lnTo>
                    <a:pt x="66" y="108"/>
                  </a:lnTo>
                  <a:lnTo>
                    <a:pt x="30" y="108"/>
                  </a:lnTo>
                  <a:lnTo>
                    <a:pt x="30" y="138"/>
                  </a:lnTo>
                  <a:lnTo>
                    <a:pt x="24" y="138"/>
                  </a:lnTo>
                  <a:lnTo>
                    <a:pt x="12" y="150"/>
                  </a:lnTo>
                  <a:lnTo>
                    <a:pt x="24" y="162"/>
                  </a:lnTo>
                  <a:lnTo>
                    <a:pt x="36" y="168"/>
                  </a:lnTo>
                  <a:lnTo>
                    <a:pt x="54" y="168"/>
                  </a:lnTo>
                  <a:lnTo>
                    <a:pt x="66" y="174"/>
                  </a:lnTo>
                  <a:lnTo>
                    <a:pt x="72" y="180"/>
                  </a:lnTo>
                  <a:lnTo>
                    <a:pt x="72" y="186"/>
                  </a:lnTo>
                  <a:lnTo>
                    <a:pt x="66" y="204"/>
                  </a:lnTo>
                  <a:lnTo>
                    <a:pt x="60" y="210"/>
                  </a:lnTo>
                  <a:lnTo>
                    <a:pt x="54" y="222"/>
                  </a:lnTo>
                  <a:lnTo>
                    <a:pt x="66" y="252"/>
                  </a:lnTo>
                  <a:lnTo>
                    <a:pt x="96" y="276"/>
                  </a:lnTo>
                  <a:lnTo>
                    <a:pt x="96" y="306"/>
                  </a:lnTo>
                  <a:lnTo>
                    <a:pt x="114" y="348"/>
                  </a:lnTo>
                  <a:lnTo>
                    <a:pt x="108" y="378"/>
                  </a:lnTo>
                  <a:lnTo>
                    <a:pt x="132" y="414"/>
                  </a:lnTo>
                  <a:close/>
                </a:path>
              </a:pathLst>
            </a:custGeom>
            <a:solidFill>
              <a:srgbClr val="F2F2F2"/>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236" name="Bahrain" descr="© INSCALE GmbH, 05.05.2010&#10;http://www.presentationload.com/">
              <a:extLst>
                <a:ext uri="{FF2B5EF4-FFF2-40B4-BE49-F238E27FC236}">
                  <a16:creationId xmlns:a16="http://schemas.microsoft.com/office/drawing/2014/main" id="{BE18EE56-B0D5-795D-5C5B-35527682CA63}"/>
                </a:ext>
              </a:extLst>
            </p:cNvPr>
            <p:cNvSpPr>
              <a:spLocks/>
            </p:cNvSpPr>
            <p:nvPr/>
          </p:nvSpPr>
          <p:spPr bwMode="gray">
            <a:xfrm>
              <a:off x="5569528" y="2413548"/>
              <a:ext cx="10377" cy="20753"/>
            </a:xfrm>
            <a:custGeom>
              <a:avLst/>
              <a:gdLst>
                <a:gd name="T0" fmla="*/ 2147483647 w 15"/>
                <a:gd name="T1" fmla="*/ 0 h 28"/>
                <a:gd name="T2" fmla="*/ 2147483647 w 15"/>
                <a:gd name="T3" fmla="*/ 2147483647 h 28"/>
                <a:gd name="T4" fmla="*/ 2147483647 w 15"/>
                <a:gd name="T5" fmla="*/ 2147483647 h 28"/>
                <a:gd name="T6" fmla="*/ 2032697641 w 15"/>
                <a:gd name="T7" fmla="*/ 2147483647 h 28"/>
                <a:gd name="T8" fmla="*/ 813299296 w 15"/>
                <a:gd name="T9" fmla="*/ 2147483647 h 28"/>
                <a:gd name="T10" fmla="*/ 2147483647 w 15"/>
                <a:gd name="T11" fmla="*/ 0 h 28"/>
                <a:gd name="T12" fmla="*/ 0 60000 65536"/>
                <a:gd name="T13" fmla="*/ 0 60000 65536"/>
                <a:gd name="T14" fmla="*/ 0 60000 65536"/>
                <a:gd name="T15" fmla="*/ 0 60000 65536"/>
                <a:gd name="T16" fmla="*/ 0 60000 65536"/>
                <a:gd name="T17" fmla="*/ 0 60000 65536"/>
                <a:gd name="T18" fmla="*/ 0 w 15"/>
                <a:gd name="T19" fmla="*/ 0 h 28"/>
                <a:gd name="T20" fmla="*/ 15 w 15"/>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15" h="28">
                  <a:moveTo>
                    <a:pt x="9" y="0"/>
                  </a:moveTo>
                  <a:cubicBezTo>
                    <a:pt x="14" y="0"/>
                    <a:pt x="15" y="10"/>
                    <a:pt x="14" y="14"/>
                  </a:cubicBezTo>
                  <a:cubicBezTo>
                    <a:pt x="13" y="18"/>
                    <a:pt x="15" y="28"/>
                    <a:pt x="9" y="28"/>
                  </a:cubicBezTo>
                  <a:cubicBezTo>
                    <a:pt x="4" y="27"/>
                    <a:pt x="5" y="21"/>
                    <a:pt x="5" y="18"/>
                  </a:cubicBezTo>
                  <a:cubicBezTo>
                    <a:pt x="5" y="14"/>
                    <a:pt x="0" y="14"/>
                    <a:pt x="2" y="8"/>
                  </a:cubicBez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237" name="Belarus" descr="© INSCALE GmbH, 05.05.2010&#10;http://www.presentationload.com/">
              <a:extLst>
                <a:ext uri="{FF2B5EF4-FFF2-40B4-BE49-F238E27FC236}">
                  <a16:creationId xmlns:a16="http://schemas.microsoft.com/office/drawing/2014/main" id="{E9C5865A-71D1-C20F-922A-B5601D21A24F}"/>
                </a:ext>
              </a:extLst>
            </p:cNvPr>
            <p:cNvSpPr>
              <a:spLocks/>
            </p:cNvSpPr>
            <p:nvPr/>
          </p:nvSpPr>
          <p:spPr bwMode="gray">
            <a:xfrm>
              <a:off x="4809071" y="1516708"/>
              <a:ext cx="216427" cy="140826"/>
            </a:xfrm>
            <a:custGeom>
              <a:avLst/>
              <a:gdLst>
                <a:gd name="T0" fmla="*/ 2147483647 w 570"/>
                <a:gd name="T1" fmla="*/ 2147483647 h 372"/>
                <a:gd name="T2" fmla="*/ 2147483647 w 570"/>
                <a:gd name="T3" fmla="*/ 2147483647 h 372"/>
                <a:gd name="T4" fmla="*/ 2147483647 w 570"/>
                <a:gd name="T5" fmla="*/ 2147483647 h 372"/>
                <a:gd name="T6" fmla="*/ 2147483647 w 570"/>
                <a:gd name="T7" fmla="*/ 2147483647 h 372"/>
                <a:gd name="T8" fmla="*/ 2147483647 w 570"/>
                <a:gd name="T9" fmla="*/ 2147483647 h 372"/>
                <a:gd name="T10" fmla="*/ 2147483647 w 570"/>
                <a:gd name="T11" fmla="*/ 2147483647 h 372"/>
                <a:gd name="T12" fmla="*/ 2147483647 w 570"/>
                <a:gd name="T13" fmla="*/ 2147483647 h 372"/>
                <a:gd name="T14" fmla="*/ 2147483647 w 570"/>
                <a:gd name="T15" fmla="*/ 2147483647 h 372"/>
                <a:gd name="T16" fmla="*/ 2147483647 w 570"/>
                <a:gd name="T17" fmla="*/ 2147483647 h 372"/>
                <a:gd name="T18" fmla="*/ 2147483647 w 570"/>
                <a:gd name="T19" fmla="*/ 2147483647 h 372"/>
                <a:gd name="T20" fmla="*/ 2147483647 w 570"/>
                <a:gd name="T21" fmla="*/ 2147483647 h 372"/>
                <a:gd name="T22" fmla="*/ 2147483647 w 570"/>
                <a:gd name="T23" fmla="*/ 2147483647 h 372"/>
                <a:gd name="T24" fmla="*/ 2147483647 w 570"/>
                <a:gd name="T25" fmla="*/ 2147483647 h 372"/>
                <a:gd name="T26" fmla="*/ 2147483647 w 570"/>
                <a:gd name="T27" fmla="*/ 2147483647 h 372"/>
                <a:gd name="T28" fmla="*/ 2147483647 w 570"/>
                <a:gd name="T29" fmla="*/ 2147483647 h 372"/>
                <a:gd name="T30" fmla="*/ 2147483647 w 570"/>
                <a:gd name="T31" fmla="*/ 2147483647 h 372"/>
                <a:gd name="T32" fmla="*/ 2147483647 w 570"/>
                <a:gd name="T33" fmla="*/ 2147483647 h 372"/>
                <a:gd name="T34" fmla="*/ 2147483647 w 570"/>
                <a:gd name="T35" fmla="*/ 2147483647 h 372"/>
                <a:gd name="T36" fmla="*/ 2147483647 w 570"/>
                <a:gd name="T37" fmla="*/ 2147483647 h 372"/>
                <a:gd name="T38" fmla="*/ 2147483647 w 570"/>
                <a:gd name="T39" fmla="*/ 2147483647 h 372"/>
                <a:gd name="T40" fmla="*/ 2147483647 w 570"/>
                <a:gd name="T41" fmla="*/ 2147483647 h 372"/>
                <a:gd name="T42" fmla="*/ 2147483647 w 570"/>
                <a:gd name="T43" fmla="*/ 2147483647 h 372"/>
                <a:gd name="T44" fmla="*/ 2147483647 w 570"/>
                <a:gd name="T45" fmla="*/ 2147483647 h 372"/>
                <a:gd name="T46" fmla="*/ 2147483647 w 570"/>
                <a:gd name="T47" fmla="*/ 2147483647 h 372"/>
                <a:gd name="T48" fmla="*/ 2147483647 w 570"/>
                <a:gd name="T49" fmla="*/ 2147483647 h 372"/>
                <a:gd name="T50" fmla="*/ 2147483647 w 570"/>
                <a:gd name="T51" fmla="*/ 2147483647 h 372"/>
                <a:gd name="T52" fmla="*/ 2147483647 w 570"/>
                <a:gd name="T53" fmla="*/ 2147483647 h 372"/>
                <a:gd name="T54" fmla="*/ 2147483647 w 570"/>
                <a:gd name="T55" fmla="*/ 2147483647 h 372"/>
                <a:gd name="T56" fmla="*/ 2147483647 w 570"/>
                <a:gd name="T57" fmla="*/ 0 h 372"/>
                <a:gd name="T58" fmla="*/ 2147483647 w 570"/>
                <a:gd name="T59" fmla="*/ 2147483647 h 372"/>
                <a:gd name="T60" fmla="*/ 2147483647 w 570"/>
                <a:gd name="T61" fmla="*/ 2147483647 h 372"/>
                <a:gd name="T62" fmla="*/ 2147483647 w 570"/>
                <a:gd name="T63" fmla="*/ 2147483647 h 372"/>
                <a:gd name="T64" fmla="*/ 2147483647 w 570"/>
                <a:gd name="T65" fmla="*/ 2147483647 h 372"/>
                <a:gd name="T66" fmla="*/ 2147483647 w 570"/>
                <a:gd name="T67" fmla="*/ 2147483647 h 372"/>
                <a:gd name="T68" fmla="*/ 2147483647 w 570"/>
                <a:gd name="T69" fmla="*/ 2147483647 h 372"/>
                <a:gd name="T70" fmla="*/ 2147483647 w 570"/>
                <a:gd name="T71" fmla="*/ 2147483647 h 372"/>
                <a:gd name="T72" fmla="*/ 2147483647 w 570"/>
                <a:gd name="T73" fmla="*/ 2147483647 h 372"/>
                <a:gd name="T74" fmla="*/ 2147483647 w 570"/>
                <a:gd name="T75" fmla="*/ 2147483647 h 372"/>
                <a:gd name="T76" fmla="*/ 2147483647 w 570"/>
                <a:gd name="T77" fmla="*/ 2147483647 h 372"/>
                <a:gd name="T78" fmla="*/ 2147483647 w 570"/>
                <a:gd name="T79" fmla="*/ 2147483647 h 372"/>
                <a:gd name="T80" fmla="*/ 2147483647 w 570"/>
                <a:gd name="T81" fmla="*/ 2147483647 h 372"/>
                <a:gd name="T82" fmla="*/ 2147483647 w 570"/>
                <a:gd name="T83" fmla="*/ 2147483647 h 372"/>
                <a:gd name="T84" fmla="*/ 2147483647 w 570"/>
                <a:gd name="T85" fmla="*/ 2147483647 h 372"/>
                <a:gd name="T86" fmla="*/ 2147483647 w 570"/>
                <a:gd name="T87" fmla="*/ 2147483647 h 372"/>
                <a:gd name="T88" fmla="*/ 2147483647 w 570"/>
                <a:gd name="T89" fmla="*/ 2147483647 h 372"/>
                <a:gd name="T90" fmla="*/ 2147483647 w 570"/>
                <a:gd name="T91" fmla="*/ 2147483647 h 372"/>
                <a:gd name="T92" fmla="*/ 2147483647 w 570"/>
                <a:gd name="T93" fmla="*/ 2147483647 h 372"/>
                <a:gd name="T94" fmla="*/ 2147483647 w 570"/>
                <a:gd name="T95" fmla="*/ 2147483647 h 372"/>
                <a:gd name="T96" fmla="*/ 2147483647 w 570"/>
                <a:gd name="T97" fmla="*/ 2147483647 h 37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70"/>
                <a:gd name="T148" fmla="*/ 0 h 372"/>
                <a:gd name="T149" fmla="*/ 570 w 570"/>
                <a:gd name="T150" fmla="*/ 372 h 37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70" h="372">
                  <a:moveTo>
                    <a:pt x="24" y="312"/>
                  </a:moveTo>
                  <a:lnTo>
                    <a:pt x="24" y="342"/>
                  </a:lnTo>
                  <a:lnTo>
                    <a:pt x="30" y="354"/>
                  </a:lnTo>
                  <a:lnTo>
                    <a:pt x="36" y="360"/>
                  </a:lnTo>
                  <a:lnTo>
                    <a:pt x="48" y="360"/>
                  </a:lnTo>
                  <a:lnTo>
                    <a:pt x="60" y="354"/>
                  </a:lnTo>
                  <a:lnTo>
                    <a:pt x="72" y="342"/>
                  </a:lnTo>
                  <a:lnTo>
                    <a:pt x="72" y="336"/>
                  </a:lnTo>
                  <a:lnTo>
                    <a:pt x="108" y="336"/>
                  </a:lnTo>
                  <a:lnTo>
                    <a:pt x="120" y="330"/>
                  </a:lnTo>
                  <a:lnTo>
                    <a:pt x="126" y="324"/>
                  </a:lnTo>
                  <a:lnTo>
                    <a:pt x="174" y="324"/>
                  </a:lnTo>
                  <a:lnTo>
                    <a:pt x="174" y="330"/>
                  </a:lnTo>
                  <a:lnTo>
                    <a:pt x="180" y="336"/>
                  </a:lnTo>
                  <a:lnTo>
                    <a:pt x="216" y="336"/>
                  </a:lnTo>
                  <a:lnTo>
                    <a:pt x="240" y="342"/>
                  </a:lnTo>
                  <a:lnTo>
                    <a:pt x="258" y="354"/>
                  </a:lnTo>
                  <a:lnTo>
                    <a:pt x="264" y="348"/>
                  </a:lnTo>
                  <a:lnTo>
                    <a:pt x="282" y="360"/>
                  </a:lnTo>
                  <a:lnTo>
                    <a:pt x="294" y="348"/>
                  </a:lnTo>
                  <a:lnTo>
                    <a:pt x="300" y="360"/>
                  </a:lnTo>
                  <a:lnTo>
                    <a:pt x="318" y="354"/>
                  </a:lnTo>
                  <a:lnTo>
                    <a:pt x="324" y="360"/>
                  </a:lnTo>
                  <a:lnTo>
                    <a:pt x="336" y="354"/>
                  </a:lnTo>
                  <a:lnTo>
                    <a:pt x="348" y="366"/>
                  </a:lnTo>
                  <a:lnTo>
                    <a:pt x="348" y="360"/>
                  </a:lnTo>
                  <a:lnTo>
                    <a:pt x="354" y="354"/>
                  </a:lnTo>
                  <a:lnTo>
                    <a:pt x="372" y="354"/>
                  </a:lnTo>
                  <a:lnTo>
                    <a:pt x="378" y="360"/>
                  </a:lnTo>
                  <a:lnTo>
                    <a:pt x="378" y="372"/>
                  </a:lnTo>
                  <a:lnTo>
                    <a:pt x="384" y="372"/>
                  </a:lnTo>
                  <a:lnTo>
                    <a:pt x="396" y="366"/>
                  </a:lnTo>
                  <a:lnTo>
                    <a:pt x="420" y="366"/>
                  </a:lnTo>
                  <a:lnTo>
                    <a:pt x="426" y="372"/>
                  </a:lnTo>
                  <a:lnTo>
                    <a:pt x="444" y="372"/>
                  </a:lnTo>
                  <a:lnTo>
                    <a:pt x="450" y="366"/>
                  </a:lnTo>
                  <a:lnTo>
                    <a:pt x="450" y="354"/>
                  </a:lnTo>
                  <a:lnTo>
                    <a:pt x="444" y="348"/>
                  </a:lnTo>
                  <a:lnTo>
                    <a:pt x="450" y="336"/>
                  </a:lnTo>
                  <a:lnTo>
                    <a:pt x="456" y="330"/>
                  </a:lnTo>
                  <a:lnTo>
                    <a:pt x="468" y="324"/>
                  </a:lnTo>
                  <a:lnTo>
                    <a:pt x="474" y="312"/>
                  </a:lnTo>
                  <a:lnTo>
                    <a:pt x="498" y="312"/>
                  </a:lnTo>
                  <a:lnTo>
                    <a:pt x="516" y="318"/>
                  </a:lnTo>
                  <a:lnTo>
                    <a:pt x="516" y="300"/>
                  </a:lnTo>
                  <a:lnTo>
                    <a:pt x="510" y="288"/>
                  </a:lnTo>
                  <a:lnTo>
                    <a:pt x="504" y="282"/>
                  </a:lnTo>
                  <a:lnTo>
                    <a:pt x="504" y="264"/>
                  </a:lnTo>
                  <a:lnTo>
                    <a:pt x="480" y="240"/>
                  </a:lnTo>
                  <a:lnTo>
                    <a:pt x="480" y="234"/>
                  </a:lnTo>
                  <a:lnTo>
                    <a:pt x="486" y="228"/>
                  </a:lnTo>
                  <a:lnTo>
                    <a:pt x="510" y="228"/>
                  </a:lnTo>
                  <a:lnTo>
                    <a:pt x="510" y="234"/>
                  </a:lnTo>
                  <a:lnTo>
                    <a:pt x="516" y="234"/>
                  </a:lnTo>
                  <a:lnTo>
                    <a:pt x="522" y="240"/>
                  </a:lnTo>
                  <a:lnTo>
                    <a:pt x="528" y="240"/>
                  </a:lnTo>
                  <a:lnTo>
                    <a:pt x="552" y="228"/>
                  </a:lnTo>
                  <a:lnTo>
                    <a:pt x="558" y="216"/>
                  </a:lnTo>
                  <a:lnTo>
                    <a:pt x="570" y="210"/>
                  </a:lnTo>
                  <a:lnTo>
                    <a:pt x="546" y="198"/>
                  </a:lnTo>
                  <a:lnTo>
                    <a:pt x="552" y="192"/>
                  </a:lnTo>
                  <a:lnTo>
                    <a:pt x="552" y="186"/>
                  </a:lnTo>
                  <a:lnTo>
                    <a:pt x="546" y="186"/>
                  </a:lnTo>
                  <a:lnTo>
                    <a:pt x="540" y="180"/>
                  </a:lnTo>
                  <a:lnTo>
                    <a:pt x="504" y="180"/>
                  </a:lnTo>
                  <a:lnTo>
                    <a:pt x="504" y="156"/>
                  </a:lnTo>
                  <a:lnTo>
                    <a:pt x="474" y="144"/>
                  </a:lnTo>
                  <a:lnTo>
                    <a:pt x="474" y="132"/>
                  </a:lnTo>
                  <a:lnTo>
                    <a:pt x="456" y="114"/>
                  </a:lnTo>
                  <a:lnTo>
                    <a:pt x="444" y="108"/>
                  </a:lnTo>
                  <a:lnTo>
                    <a:pt x="438" y="102"/>
                  </a:lnTo>
                  <a:lnTo>
                    <a:pt x="444" y="84"/>
                  </a:lnTo>
                  <a:lnTo>
                    <a:pt x="432" y="66"/>
                  </a:lnTo>
                  <a:lnTo>
                    <a:pt x="438" y="60"/>
                  </a:lnTo>
                  <a:lnTo>
                    <a:pt x="438" y="48"/>
                  </a:lnTo>
                  <a:lnTo>
                    <a:pt x="432" y="42"/>
                  </a:lnTo>
                  <a:lnTo>
                    <a:pt x="396" y="24"/>
                  </a:lnTo>
                  <a:lnTo>
                    <a:pt x="390" y="18"/>
                  </a:lnTo>
                  <a:lnTo>
                    <a:pt x="384" y="18"/>
                  </a:lnTo>
                  <a:lnTo>
                    <a:pt x="354" y="36"/>
                  </a:lnTo>
                  <a:lnTo>
                    <a:pt x="348" y="18"/>
                  </a:lnTo>
                  <a:lnTo>
                    <a:pt x="312" y="12"/>
                  </a:lnTo>
                  <a:lnTo>
                    <a:pt x="300" y="18"/>
                  </a:lnTo>
                  <a:lnTo>
                    <a:pt x="300" y="12"/>
                  </a:lnTo>
                  <a:lnTo>
                    <a:pt x="294" y="6"/>
                  </a:lnTo>
                  <a:lnTo>
                    <a:pt x="276" y="6"/>
                  </a:lnTo>
                  <a:lnTo>
                    <a:pt x="270" y="0"/>
                  </a:lnTo>
                  <a:lnTo>
                    <a:pt x="258" y="0"/>
                  </a:lnTo>
                  <a:lnTo>
                    <a:pt x="252" y="6"/>
                  </a:lnTo>
                  <a:lnTo>
                    <a:pt x="246" y="18"/>
                  </a:lnTo>
                  <a:lnTo>
                    <a:pt x="240" y="24"/>
                  </a:lnTo>
                  <a:lnTo>
                    <a:pt x="234" y="24"/>
                  </a:lnTo>
                  <a:lnTo>
                    <a:pt x="228" y="30"/>
                  </a:lnTo>
                  <a:lnTo>
                    <a:pt x="222" y="24"/>
                  </a:lnTo>
                  <a:lnTo>
                    <a:pt x="198" y="24"/>
                  </a:lnTo>
                  <a:lnTo>
                    <a:pt x="192" y="30"/>
                  </a:lnTo>
                  <a:lnTo>
                    <a:pt x="180" y="36"/>
                  </a:lnTo>
                  <a:lnTo>
                    <a:pt x="174" y="42"/>
                  </a:lnTo>
                  <a:lnTo>
                    <a:pt x="174" y="54"/>
                  </a:lnTo>
                  <a:lnTo>
                    <a:pt x="192" y="72"/>
                  </a:lnTo>
                  <a:lnTo>
                    <a:pt x="186" y="78"/>
                  </a:lnTo>
                  <a:lnTo>
                    <a:pt x="168" y="78"/>
                  </a:lnTo>
                  <a:lnTo>
                    <a:pt x="162" y="72"/>
                  </a:lnTo>
                  <a:lnTo>
                    <a:pt x="156" y="72"/>
                  </a:lnTo>
                  <a:lnTo>
                    <a:pt x="162" y="90"/>
                  </a:lnTo>
                  <a:lnTo>
                    <a:pt x="144" y="90"/>
                  </a:lnTo>
                  <a:lnTo>
                    <a:pt x="138" y="96"/>
                  </a:lnTo>
                  <a:lnTo>
                    <a:pt x="138" y="102"/>
                  </a:lnTo>
                  <a:lnTo>
                    <a:pt x="144" y="114"/>
                  </a:lnTo>
                  <a:lnTo>
                    <a:pt x="144" y="120"/>
                  </a:lnTo>
                  <a:lnTo>
                    <a:pt x="132" y="120"/>
                  </a:lnTo>
                  <a:lnTo>
                    <a:pt x="132" y="126"/>
                  </a:lnTo>
                  <a:lnTo>
                    <a:pt x="138" y="132"/>
                  </a:lnTo>
                  <a:lnTo>
                    <a:pt x="138" y="144"/>
                  </a:lnTo>
                  <a:lnTo>
                    <a:pt x="144" y="150"/>
                  </a:lnTo>
                  <a:lnTo>
                    <a:pt x="144" y="156"/>
                  </a:lnTo>
                  <a:lnTo>
                    <a:pt x="132" y="156"/>
                  </a:lnTo>
                  <a:lnTo>
                    <a:pt x="138" y="150"/>
                  </a:lnTo>
                  <a:lnTo>
                    <a:pt x="138" y="144"/>
                  </a:lnTo>
                  <a:lnTo>
                    <a:pt x="120" y="144"/>
                  </a:lnTo>
                  <a:lnTo>
                    <a:pt x="108" y="150"/>
                  </a:lnTo>
                  <a:lnTo>
                    <a:pt x="102" y="156"/>
                  </a:lnTo>
                  <a:lnTo>
                    <a:pt x="96" y="168"/>
                  </a:lnTo>
                  <a:lnTo>
                    <a:pt x="84" y="156"/>
                  </a:lnTo>
                  <a:lnTo>
                    <a:pt x="84" y="174"/>
                  </a:lnTo>
                  <a:lnTo>
                    <a:pt x="54" y="174"/>
                  </a:lnTo>
                  <a:lnTo>
                    <a:pt x="54" y="168"/>
                  </a:lnTo>
                  <a:lnTo>
                    <a:pt x="48" y="162"/>
                  </a:lnTo>
                  <a:lnTo>
                    <a:pt x="42" y="162"/>
                  </a:lnTo>
                  <a:lnTo>
                    <a:pt x="30" y="168"/>
                  </a:lnTo>
                  <a:lnTo>
                    <a:pt x="18" y="168"/>
                  </a:lnTo>
                  <a:lnTo>
                    <a:pt x="12" y="174"/>
                  </a:lnTo>
                  <a:lnTo>
                    <a:pt x="6" y="174"/>
                  </a:lnTo>
                  <a:lnTo>
                    <a:pt x="12" y="186"/>
                  </a:lnTo>
                  <a:lnTo>
                    <a:pt x="18" y="192"/>
                  </a:lnTo>
                  <a:lnTo>
                    <a:pt x="18" y="204"/>
                  </a:lnTo>
                  <a:lnTo>
                    <a:pt x="24" y="210"/>
                  </a:lnTo>
                  <a:lnTo>
                    <a:pt x="36" y="234"/>
                  </a:lnTo>
                  <a:lnTo>
                    <a:pt x="42" y="240"/>
                  </a:lnTo>
                  <a:lnTo>
                    <a:pt x="42" y="246"/>
                  </a:lnTo>
                  <a:lnTo>
                    <a:pt x="36" y="252"/>
                  </a:lnTo>
                  <a:lnTo>
                    <a:pt x="36" y="264"/>
                  </a:lnTo>
                  <a:lnTo>
                    <a:pt x="12" y="270"/>
                  </a:lnTo>
                  <a:lnTo>
                    <a:pt x="12" y="288"/>
                  </a:lnTo>
                  <a:lnTo>
                    <a:pt x="0" y="288"/>
                  </a:lnTo>
                  <a:lnTo>
                    <a:pt x="0" y="294"/>
                  </a:lnTo>
                  <a:lnTo>
                    <a:pt x="6" y="300"/>
                  </a:lnTo>
                  <a:lnTo>
                    <a:pt x="12" y="300"/>
                  </a:lnTo>
                  <a:lnTo>
                    <a:pt x="24" y="312"/>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238" name="Azerbaijan" descr="© INSCALE GmbH, 05.05.2010&#10;http://www.presentationload.com/">
              <a:extLst>
                <a:ext uri="{FF2B5EF4-FFF2-40B4-BE49-F238E27FC236}">
                  <a16:creationId xmlns:a16="http://schemas.microsoft.com/office/drawing/2014/main" id="{5575EBE6-4F64-B7BA-0917-DEE26D8F2CA9}"/>
                </a:ext>
              </a:extLst>
            </p:cNvPr>
            <p:cNvSpPr>
              <a:spLocks noEditPoints="1"/>
            </p:cNvSpPr>
            <p:nvPr/>
          </p:nvSpPr>
          <p:spPr bwMode="gray">
            <a:xfrm>
              <a:off x="5370891" y="1939187"/>
              <a:ext cx="136378" cy="109696"/>
            </a:xfrm>
            <a:custGeom>
              <a:avLst/>
              <a:gdLst>
                <a:gd name="T0" fmla="*/ 2147483647 w 360"/>
                <a:gd name="T1" fmla="*/ 2147483647 h 288"/>
                <a:gd name="T2" fmla="*/ 2147483647 w 360"/>
                <a:gd name="T3" fmla="*/ 2147483647 h 288"/>
                <a:gd name="T4" fmla="*/ 2147483647 w 360"/>
                <a:gd name="T5" fmla="*/ 2147483647 h 288"/>
                <a:gd name="T6" fmla="*/ 2147483647 w 360"/>
                <a:gd name="T7" fmla="*/ 2147483647 h 288"/>
                <a:gd name="T8" fmla="*/ 2147483647 w 360"/>
                <a:gd name="T9" fmla="*/ 2147483647 h 288"/>
                <a:gd name="T10" fmla="*/ 2147483647 w 360"/>
                <a:gd name="T11" fmla="*/ 2147483647 h 288"/>
                <a:gd name="T12" fmla="*/ 2147483647 w 360"/>
                <a:gd name="T13" fmla="*/ 2147483647 h 288"/>
                <a:gd name="T14" fmla="*/ 2147483647 w 360"/>
                <a:gd name="T15" fmla="*/ 2147483647 h 288"/>
                <a:gd name="T16" fmla="*/ 2147483647 w 360"/>
                <a:gd name="T17" fmla="*/ 2147483647 h 288"/>
                <a:gd name="T18" fmla="*/ 2147483647 w 360"/>
                <a:gd name="T19" fmla="*/ 2147483647 h 288"/>
                <a:gd name="T20" fmla="*/ 2147483647 w 360"/>
                <a:gd name="T21" fmla="*/ 2147483647 h 288"/>
                <a:gd name="T22" fmla="*/ 2147483647 w 360"/>
                <a:gd name="T23" fmla="*/ 2147483647 h 288"/>
                <a:gd name="T24" fmla="*/ 2147483647 w 360"/>
                <a:gd name="T25" fmla="*/ 2147483647 h 288"/>
                <a:gd name="T26" fmla="*/ 2147483647 w 360"/>
                <a:gd name="T27" fmla="*/ 0 h 288"/>
                <a:gd name="T28" fmla="*/ 2147483647 w 360"/>
                <a:gd name="T29" fmla="*/ 2147483647 h 288"/>
                <a:gd name="T30" fmla="*/ 2147483647 w 360"/>
                <a:gd name="T31" fmla="*/ 2147483647 h 288"/>
                <a:gd name="T32" fmla="*/ 2147483647 w 360"/>
                <a:gd name="T33" fmla="*/ 2147483647 h 288"/>
                <a:gd name="T34" fmla="*/ 2147483647 w 360"/>
                <a:gd name="T35" fmla="*/ 2147483647 h 288"/>
                <a:gd name="T36" fmla="*/ 2147483647 w 360"/>
                <a:gd name="T37" fmla="*/ 2147483647 h 288"/>
                <a:gd name="T38" fmla="*/ 2147483647 w 360"/>
                <a:gd name="T39" fmla="*/ 0 h 288"/>
                <a:gd name="T40" fmla="*/ 2147483647 w 360"/>
                <a:gd name="T41" fmla="*/ 2147483647 h 288"/>
                <a:gd name="T42" fmla="*/ 2147483647 w 360"/>
                <a:gd name="T43" fmla="*/ 2147483647 h 288"/>
                <a:gd name="T44" fmla="*/ 2147483647 w 360"/>
                <a:gd name="T45" fmla="*/ 2147483647 h 288"/>
                <a:gd name="T46" fmla="*/ 2147483647 w 360"/>
                <a:gd name="T47" fmla="*/ 2147483647 h 288"/>
                <a:gd name="T48" fmla="*/ 2147483647 w 360"/>
                <a:gd name="T49" fmla="*/ 2147483647 h 288"/>
                <a:gd name="T50" fmla="*/ 2147483647 w 360"/>
                <a:gd name="T51" fmla="*/ 2147483647 h 288"/>
                <a:gd name="T52" fmla="*/ 2147483647 w 360"/>
                <a:gd name="T53" fmla="*/ 2147483647 h 288"/>
                <a:gd name="T54" fmla="*/ 0 w 360"/>
                <a:gd name="T55" fmla="*/ 2147483647 h 288"/>
                <a:gd name="T56" fmla="*/ 2147483647 w 360"/>
                <a:gd name="T57" fmla="*/ 2147483647 h 288"/>
                <a:gd name="T58" fmla="*/ 2147483647 w 360"/>
                <a:gd name="T59" fmla="*/ 2147483647 h 288"/>
                <a:gd name="T60" fmla="*/ 2147483647 w 360"/>
                <a:gd name="T61" fmla="*/ 2147483647 h 288"/>
                <a:gd name="T62" fmla="*/ 2147483647 w 360"/>
                <a:gd name="T63" fmla="*/ 2147483647 h 288"/>
                <a:gd name="T64" fmla="*/ 2147483647 w 360"/>
                <a:gd name="T65" fmla="*/ 2147483647 h 288"/>
                <a:gd name="T66" fmla="*/ 2147483647 w 360"/>
                <a:gd name="T67" fmla="*/ 2147483647 h 288"/>
                <a:gd name="T68" fmla="*/ 2147483647 w 360"/>
                <a:gd name="T69" fmla="*/ 2147483647 h 288"/>
                <a:gd name="T70" fmla="*/ 2147483647 w 360"/>
                <a:gd name="T71" fmla="*/ 2147483647 h 288"/>
                <a:gd name="T72" fmla="*/ 2147483647 w 360"/>
                <a:gd name="T73" fmla="*/ 2147483647 h 288"/>
                <a:gd name="T74" fmla="*/ 2147483647 w 360"/>
                <a:gd name="T75" fmla="*/ 2147483647 h 288"/>
                <a:gd name="T76" fmla="*/ 2147483647 w 360"/>
                <a:gd name="T77" fmla="*/ 2147483647 h 288"/>
                <a:gd name="T78" fmla="*/ 2147483647 w 360"/>
                <a:gd name="T79" fmla="*/ 2147483647 h 288"/>
                <a:gd name="T80" fmla="*/ 2147483647 w 360"/>
                <a:gd name="T81" fmla="*/ 2147483647 h 288"/>
                <a:gd name="T82" fmla="*/ 2147483647 w 360"/>
                <a:gd name="T83" fmla="*/ 2147483647 h 288"/>
                <a:gd name="T84" fmla="*/ 2147483647 w 360"/>
                <a:gd name="T85" fmla="*/ 2147483647 h 288"/>
                <a:gd name="T86" fmla="*/ 2147483647 w 360"/>
                <a:gd name="T87" fmla="*/ 2147483647 h 288"/>
                <a:gd name="T88" fmla="*/ 2147483647 w 360"/>
                <a:gd name="T89" fmla="*/ 2147483647 h 288"/>
                <a:gd name="T90" fmla="*/ 2147483647 w 360"/>
                <a:gd name="T91" fmla="*/ 2147483647 h 288"/>
                <a:gd name="T92" fmla="*/ 2147483647 w 360"/>
                <a:gd name="T93" fmla="*/ 2147483647 h 288"/>
                <a:gd name="T94" fmla="*/ 2147483647 w 360"/>
                <a:gd name="T95" fmla="*/ 2147483647 h 288"/>
                <a:gd name="T96" fmla="*/ 2147483647 w 360"/>
                <a:gd name="T97" fmla="*/ 2147483647 h 288"/>
                <a:gd name="T98" fmla="*/ 2147483647 w 360"/>
                <a:gd name="T99" fmla="*/ 2147483647 h 288"/>
                <a:gd name="T100" fmla="*/ 2147483647 w 360"/>
                <a:gd name="T101" fmla="*/ 2147483647 h 288"/>
                <a:gd name="T102" fmla="*/ 2147483647 w 360"/>
                <a:gd name="T103" fmla="*/ 2147483647 h 288"/>
                <a:gd name="T104" fmla="*/ 2147483647 w 360"/>
                <a:gd name="T105" fmla="*/ 2147483647 h 288"/>
                <a:gd name="T106" fmla="*/ 2147483647 w 360"/>
                <a:gd name="T107" fmla="*/ 2147483647 h 288"/>
                <a:gd name="T108" fmla="*/ 2147483647 w 360"/>
                <a:gd name="T109" fmla="*/ 2147483647 h 288"/>
                <a:gd name="T110" fmla="*/ 2147483647 w 360"/>
                <a:gd name="T111" fmla="*/ 2147483647 h 288"/>
                <a:gd name="T112" fmla="*/ 2147483647 w 360"/>
                <a:gd name="T113" fmla="*/ 2147483647 h 288"/>
                <a:gd name="T114" fmla="*/ 2147483647 w 360"/>
                <a:gd name="T115" fmla="*/ 2147483647 h 288"/>
                <a:gd name="T116" fmla="*/ 2147483647 w 360"/>
                <a:gd name="T117" fmla="*/ 2147483647 h 288"/>
                <a:gd name="T118" fmla="*/ 2147483647 w 360"/>
                <a:gd name="T119" fmla="*/ 2147483647 h 288"/>
                <a:gd name="T120" fmla="*/ 2147483647 w 360"/>
                <a:gd name="T121" fmla="*/ 2147483647 h 2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60"/>
                <a:gd name="T184" fmla="*/ 0 h 288"/>
                <a:gd name="T185" fmla="*/ 360 w 360"/>
                <a:gd name="T186" fmla="*/ 288 h 2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60" h="288">
                  <a:moveTo>
                    <a:pt x="66" y="186"/>
                  </a:moveTo>
                  <a:lnTo>
                    <a:pt x="36" y="186"/>
                  </a:lnTo>
                  <a:lnTo>
                    <a:pt x="24" y="174"/>
                  </a:lnTo>
                  <a:lnTo>
                    <a:pt x="6" y="174"/>
                  </a:lnTo>
                  <a:lnTo>
                    <a:pt x="12" y="186"/>
                  </a:lnTo>
                  <a:lnTo>
                    <a:pt x="12" y="192"/>
                  </a:lnTo>
                  <a:lnTo>
                    <a:pt x="18" y="204"/>
                  </a:lnTo>
                  <a:lnTo>
                    <a:pt x="36" y="222"/>
                  </a:lnTo>
                  <a:lnTo>
                    <a:pt x="48" y="228"/>
                  </a:lnTo>
                  <a:lnTo>
                    <a:pt x="84" y="240"/>
                  </a:lnTo>
                  <a:lnTo>
                    <a:pt x="90" y="240"/>
                  </a:lnTo>
                  <a:lnTo>
                    <a:pt x="84" y="234"/>
                  </a:lnTo>
                  <a:lnTo>
                    <a:pt x="84" y="222"/>
                  </a:lnTo>
                  <a:lnTo>
                    <a:pt x="78" y="216"/>
                  </a:lnTo>
                  <a:lnTo>
                    <a:pt x="78" y="204"/>
                  </a:lnTo>
                  <a:lnTo>
                    <a:pt x="72" y="198"/>
                  </a:lnTo>
                  <a:lnTo>
                    <a:pt x="72" y="186"/>
                  </a:lnTo>
                  <a:lnTo>
                    <a:pt x="66" y="186"/>
                  </a:lnTo>
                  <a:close/>
                  <a:moveTo>
                    <a:pt x="354" y="108"/>
                  </a:moveTo>
                  <a:lnTo>
                    <a:pt x="348" y="102"/>
                  </a:lnTo>
                  <a:lnTo>
                    <a:pt x="330" y="102"/>
                  </a:lnTo>
                  <a:lnTo>
                    <a:pt x="318" y="108"/>
                  </a:lnTo>
                  <a:lnTo>
                    <a:pt x="306" y="108"/>
                  </a:lnTo>
                  <a:lnTo>
                    <a:pt x="288" y="90"/>
                  </a:lnTo>
                  <a:lnTo>
                    <a:pt x="288" y="84"/>
                  </a:lnTo>
                  <a:lnTo>
                    <a:pt x="264" y="54"/>
                  </a:lnTo>
                  <a:lnTo>
                    <a:pt x="264" y="42"/>
                  </a:lnTo>
                  <a:lnTo>
                    <a:pt x="216" y="0"/>
                  </a:lnTo>
                  <a:lnTo>
                    <a:pt x="216" y="30"/>
                  </a:lnTo>
                  <a:lnTo>
                    <a:pt x="210" y="36"/>
                  </a:lnTo>
                  <a:lnTo>
                    <a:pt x="192" y="36"/>
                  </a:lnTo>
                  <a:lnTo>
                    <a:pt x="192" y="48"/>
                  </a:lnTo>
                  <a:lnTo>
                    <a:pt x="186" y="54"/>
                  </a:lnTo>
                  <a:lnTo>
                    <a:pt x="162" y="54"/>
                  </a:lnTo>
                  <a:lnTo>
                    <a:pt x="156" y="48"/>
                  </a:lnTo>
                  <a:lnTo>
                    <a:pt x="144" y="42"/>
                  </a:lnTo>
                  <a:lnTo>
                    <a:pt x="138" y="30"/>
                  </a:lnTo>
                  <a:lnTo>
                    <a:pt x="120" y="12"/>
                  </a:lnTo>
                  <a:lnTo>
                    <a:pt x="84" y="0"/>
                  </a:lnTo>
                  <a:lnTo>
                    <a:pt x="72" y="0"/>
                  </a:lnTo>
                  <a:lnTo>
                    <a:pt x="60" y="12"/>
                  </a:lnTo>
                  <a:lnTo>
                    <a:pt x="78" y="30"/>
                  </a:lnTo>
                  <a:lnTo>
                    <a:pt x="84" y="30"/>
                  </a:lnTo>
                  <a:lnTo>
                    <a:pt x="90" y="36"/>
                  </a:lnTo>
                  <a:lnTo>
                    <a:pt x="96" y="48"/>
                  </a:lnTo>
                  <a:lnTo>
                    <a:pt x="102" y="54"/>
                  </a:lnTo>
                  <a:lnTo>
                    <a:pt x="108" y="66"/>
                  </a:lnTo>
                  <a:lnTo>
                    <a:pt x="102" y="72"/>
                  </a:lnTo>
                  <a:lnTo>
                    <a:pt x="84" y="54"/>
                  </a:lnTo>
                  <a:lnTo>
                    <a:pt x="72" y="54"/>
                  </a:lnTo>
                  <a:lnTo>
                    <a:pt x="60" y="60"/>
                  </a:lnTo>
                  <a:lnTo>
                    <a:pt x="42" y="42"/>
                  </a:lnTo>
                  <a:lnTo>
                    <a:pt x="42" y="36"/>
                  </a:lnTo>
                  <a:lnTo>
                    <a:pt x="36" y="30"/>
                  </a:lnTo>
                  <a:lnTo>
                    <a:pt x="12" y="30"/>
                  </a:lnTo>
                  <a:lnTo>
                    <a:pt x="0" y="42"/>
                  </a:lnTo>
                  <a:lnTo>
                    <a:pt x="0" y="48"/>
                  </a:lnTo>
                  <a:lnTo>
                    <a:pt x="6" y="48"/>
                  </a:lnTo>
                  <a:lnTo>
                    <a:pt x="12" y="54"/>
                  </a:lnTo>
                  <a:lnTo>
                    <a:pt x="12" y="66"/>
                  </a:lnTo>
                  <a:lnTo>
                    <a:pt x="30" y="66"/>
                  </a:lnTo>
                  <a:lnTo>
                    <a:pt x="36" y="72"/>
                  </a:lnTo>
                  <a:lnTo>
                    <a:pt x="36" y="96"/>
                  </a:lnTo>
                  <a:lnTo>
                    <a:pt x="30" y="102"/>
                  </a:lnTo>
                  <a:lnTo>
                    <a:pt x="36" y="102"/>
                  </a:lnTo>
                  <a:lnTo>
                    <a:pt x="42" y="108"/>
                  </a:lnTo>
                  <a:lnTo>
                    <a:pt x="66" y="120"/>
                  </a:lnTo>
                  <a:lnTo>
                    <a:pt x="72" y="126"/>
                  </a:lnTo>
                  <a:lnTo>
                    <a:pt x="72" y="132"/>
                  </a:lnTo>
                  <a:lnTo>
                    <a:pt x="54" y="150"/>
                  </a:lnTo>
                  <a:lnTo>
                    <a:pt x="42" y="150"/>
                  </a:lnTo>
                  <a:lnTo>
                    <a:pt x="72" y="162"/>
                  </a:lnTo>
                  <a:lnTo>
                    <a:pt x="84" y="180"/>
                  </a:lnTo>
                  <a:lnTo>
                    <a:pt x="114" y="186"/>
                  </a:lnTo>
                  <a:lnTo>
                    <a:pt x="114" y="198"/>
                  </a:lnTo>
                  <a:lnTo>
                    <a:pt x="120" y="210"/>
                  </a:lnTo>
                  <a:lnTo>
                    <a:pt x="120" y="240"/>
                  </a:lnTo>
                  <a:lnTo>
                    <a:pt x="132" y="240"/>
                  </a:lnTo>
                  <a:lnTo>
                    <a:pt x="138" y="228"/>
                  </a:lnTo>
                  <a:lnTo>
                    <a:pt x="144" y="222"/>
                  </a:lnTo>
                  <a:lnTo>
                    <a:pt x="144" y="216"/>
                  </a:lnTo>
                  <a:lnTo>
                    <a:pt x="156" y="204"/>
                  </a:lnTo>
                  <a:lnTo>
                    <a:pt x="174" y="192"/>
                  </a:lnTo>
                  <a:lnTo>
                    <a:pt x="186" y="186"/>
                  </a:lnTo>
                  <a:lnTo>
                    <a:pt x="198" y="174"/>
                  </a:lnTo>
                  <a:lnTo>
                    <a:pt x="210" y="168"/>
                  </a:lnTo>
                  <a:lnTo>
                    <a:pt x="222" y="168"/>
                  </a:lnTo>
                  <a:lnTo>
                    <a:pt x="228" y="180"/>
                  </a:lnTo>
                  <a:lnTo>
                    <a:pt x="234" y="186"/>
                  </a:lnTo>
                  <a:lnTo>
                    <a:pt x="234" y="204"/>
                  </a:lnTo>
                  <a:lnTo>
                    <a:pt x="228" y="210"/>
                  </a:lnTo>
                  <a:lnTo>
                    <a:pt x="228" y="222"/>
                  </a:lnTo>
                  <a:lnTo>
                    <a:pt x="234" y="222"/>
                  </a:lnTo>
                  <a:lnTo>
                    <a:pt x="240" y="228"/>
                  </a:lnTo>
                  <a:lnTo>
                    <a:pt x="240" y="234"/>
                  </a:lnTo>
                  <a:lnTo>
                    <a:pt x="234" y="240"/>
                  </a:lnTo>
                  <a:lnTo>
                    <a:pt x="222" y="240"/>
                  </a:lnTo>
                  <a:lnTo>
                    <a:pt x="222" y="246"/>
                  </a:lnTo>
                  <a:lnTo>
                    <a:pt x="234" y="258"/>
                  </a:lnTo>
                  <a:lnTo>
                    <a:pt x="246" y="264"/>
                  </a:lnTo>
                  <a:lnTo>
                    <a:pt x="252" y="270"/>
                  </a:lnTo>
                  <a:lnTo>
                    <a:pt x="258" y="270"/>
                  </a:lnTo>
                  <a:lnTo>
                    <a:pt x="264" y="276"/>
                  </a:lnTo>
                  <a:lnTo>
                    <a:pt x="264" y="282"/>
                  </a:lnTo>
                  <a:lnTo>
                    <a:pt x="282" y="282"/>
                  </a:lnTo>
                  <a:lnTo>
                    <a:pt x="282" y="288"/>
                  </a:lnTo>
                  <a:lnTo>
                    <a:pt x="288" y="282"/>
                  </a:lnTo>
                  <a:lnTo>
                    <a:pt x="288" y="258"/>
                  </a:lnTo>
                  <a:lnTo>
                    <a:pt x="282" y="252"/>
                  </a:lnTo>
                  <a:lnTo>
                    <a:pt x="276" y="252"/>
                  </a:lnTo>
                  <a:lnTo>
                    <a:pt x="270" y="246"/>
                  </a:lnTo>
                  <a:lnTo>
                    <a:pt x="288" y="240"/>
                  </a:lnTo>
                  <a:lnTo>
                    <a:pt x="288" y="210"/>
                  </a:lnTo>
                  <a:lnTo>
                    <a:pt x="300" y="222"/>
                  </a:lnTo>
                  <a:lnTo>
                    <a:pt x="306" y="222"/>
                  </a:lnTo>
                  <a:lnTo>
                    <a:pt x="318" y="210"/>
                  </a:lnTo>
                  <a:lnTo>
                    <a:pt x="300" y="192"/>
                  </a:lnTo>
                  <a:lnTo>
                    <a:pt x="300" y="138"/>
                  </a:lnTo>
                  <a:lnTo>
                    <a:pt x="318" y="138"/>
                  </a:lnTo>
                  <a:lnTo>
                    <a:pt x="330" y="126"/>
                  </a:lnTo>
                  <a:lnTo>
                    <a:pt x="360" y="132"/>
                  </a:lnTo>
                  <a:lnTo>
                    <a:pt x="360" y="120"/>
                  </a:lnTo>
                  <a:lnTo>
                    <a:pt x="354" y="108"/>
                  </a:lnTo>
                  <a:close/>
                </a:path>
              </a:pathLst>
            </a:custGeom>
            <a:grp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239" name="Austria" descr="© INSCALE GmbH, 05.05.2010&#10;http://www.presentationload.com/">
              <a:extLst>
                <a:ext uri="{FF2B5EF4-FFF2-40B4-BE49-F238E27FC236}">
                  <a16:creationId xmlns:a16="http://schemas.microsoft.com/office/drawing/2014/main" id="{99A12CF3-7C8A-0594-8D44-F62D356E9CB8}"/>
                </a:ext>
              </a:extLst>
            </p:cNvPr>
            <p:cNvSpPr>
              <a:spLocks/>
            </p:cNvSpPr>
            <p:nvPr/>
          </p:nvSpPr>
          <p:spPr bwMode="gray">
            <a:xfrm>
              <a:off x="4494808" y="1725724"/>
              <a:ext cx="173437" cy="77083"/>
            </a:xfrm>
            <a:custGeom>
              <a:avLst/>
              <a:gdLst>
                <a:gd name="T0" fmla="*/ 2147483647 w 456"/>
                <a:gd name="T1" fmla="*/ 2147483647 h 204"/>
                <a:gd name="T2" fmla="*/ 2147483647 w 456"/>
                <a:gd name="T3" fmla="*/ 2147483647 h 204"/>
                <a:gd name="T4" fmla="*/ 2147483647 w 456"/>
                <a:gd name="T5" fmla="*/ 2147483647 h 204"/>
                <a:gd name="T6" fmla="*/ 2147483647 w 456"/>
                <a:gd name="T7" fmla="*/ 2147483647 h 204"/>
                <a:gd name="T8" fmla="*/ 2147483647 w 456"/>
                <a:gd name="T9" fmla="*/ 2147483647 h 204"/>
                <a:gd name="T10" fmla="*/ 2147483647 w 456"/>
                <a:gd name="T11" fmla="*/ 2147483647 h 204"/>
                <a:gd name="T12" fmla="*/ 2147483647 w 456"/>
                <a:gd name="T13" fmla="*/ 2147483647 h 204"/>
                <a:gd name="T14" fmla="*/ 2147483647 w 456"/>
                <a:gd name="T15" fmla="*/ 0 h 204"/>
                <a:gd name="T16" fmla="*/ 2147483647 w 456"/>
                <a:gd name="T17" fmla="*/ 2147483647 h 204"/>
                <a:gd name="T18" fmla="*/ 2147483647 w 456"/>
                <a:gd name="T19" fmla="*/ 2147483647 h 204"/>
                <a:gd name="T20" fmla="*/ 2147483647 w 456"/>
                <a:gd name="T21" fmla="*/ 2147483647 h 204"/>
                <a:gd name="T22" fmla="*/ 2147483647 w 456"/>
                <a:gd name="T23" fmla="*/ 2147483647 h 204"/>
                <a:gd name="T24" fmla="*/ 2147483647 w 456"/>
                <a:gd name="T25" fmla="*/ 2147483647 h 204"/>
                <a:gd name="T26" fmla="*/ 2147483647 w 456"/>
                <a:gd name="T27" fmla="*/ 2147483647 h 204"/>
                <a:gd name="T28" fmla="*/ 2147483647 w 456"/>
                <a:gd name="T29" fmla="*/ 2147483647 h 204"/>
                <a:gd name="T30" fmla="*/ 2147483647 w 456"/>
                <a:gd name="T31" fmla="*/ 2147483647 h 204"/>
                <a:gd name="T32" fmla="*/ 2147483647 w 456"/>
                <a:gd name="T33" fmla="*/ 2147483647 h 204"/>
                <a:gd name="T34" fmla="*/ 2147483647 w 456"/>
                <a:gd name="T35" fmla="*/ 2147483647 h 204"/>
                <a:gd name="T36" fmla="*/ 2147483647 w 456"/>
                <a:gd name="T37" fmla="*/ 2147483647 h 204"/>
                <a:gd name="T38" fmla="*/ 2147483647 w 456"/>
                <a:gd name="T39" fmla="*/ 2147483647 h 204"/>
                <a:gd name="T40" fmla="*/ 2147483647 w 456"/>
                <a:gd name="T41" fmla="*/ 2147483647 h 204"/>
                <a:gd name="T42" fmla="*/ 2147483647 w 456"/>
                <a:gd name="T43" fmla="*/ 2147483647 h 204"/>
                <a:gd name="T44" fmla="*/ 2147483647 w 456"/>
                <a:gd name="T45" fmla="*/ 2147483647 h 204"/>
                <a:gd name="T46" fmla="*/ 2147483647 w 456"/>
                <a:gd name="T47" fmla="*/ 2147483647 h 204"/>
                <a:gd name="T48" fmla="*/ 2147483647 w 456"/>
                <a:gd name="T49" fmla="*/ 2147483647 h 204"/>
                <a:gd name="T50" fmla="*/ 2147483647 w 456"/>
                <a:gd name="T51" fmla="*/ 2147483647 h 204"/>
                <a:gd name="T52" fmla="*/ 2147483647 w 456"/>
                <a:gd name="T53" fmla="*/ 2147483647 h 204"/>
                <a:gd name="T54" fmla="*/ 0 w 456"/>
                <a:gd name="T55" fmla="*/ 2147483647 h 204"/>
                <a:gd name="T56" fmla="*/ 2147483647 w 456"/>
                <a:gd name="T57" fmla="*/ 2147483647 h 204"/>
                <a:gd name="T58" fmla="*/ 2147483647 w 456"/>
                <a:gd name="T59" fmla="*/ 2147483647 h 204"/>
                <a:gd name="T60" fmla="*/ 2147483647 w 456"/>
                <a:gd name="T61" fmla="*/ 2147483647 h 204"/>
                <a:gd name="T62" fmla="*/ 2147483647 w 456"/>
                <a:gd name="T63" fmla="*/ 2147483647 h 204"/>
                <a:gd name="T64" fmla="*/ 2147483647 w 456"/>
                <a:gd name="T65" fmla="*/ 2147483647 h 204"/>
                <a:gd name="T66" fmla="*/ 2147483647 w 456"/>
                <a:gd name="T67" fmla="*/ 2147483647 h 204"/>
                <a:gd name="T68" fmla="*/ 2147483647 w 456"/>
                <a:gd name="T69" fmla="*/ 2147483647 h 204"/>
                <a:gd name="T70" fmla="*/ 2147483647 w 456"/>
                <a:gd name="T71" fmla="*/ 2147483647 h 204"/>
                <a:gd name="T72" fmla="*/ 2147483647 w 456"/>
                <a:gd name="T73" fmla="*/ 2147483647 h 204"/>
                <a:gd name="T74" fmla="*/ 2147483647 w 456"/>
                <a:gd name="T75" fmla="*/ 2147483647 h 204"/>
                <a:gd name="T76" fmla="*/ 2147483647 w 456"/>
                <a:gd name="T77" fmla="*/ 2147483647 h 204"/>
                <a:gd name="T78" fmla="*/ 2147483647 w 456"/>
                <a:gd name="T79" fmla="*/ 2147483647 h 204"/>
                <a:gd name="T80" fmla="*/ 2147483647 w 456"/>
                <a:gd name="T81" fmla="*/ 2147483647 h 204"/>
                <a:gd name="T82" fmla="*/ 2147483647 w 456"/>
                <a:gd name="T83" fmla="*/ 2147483647 h 204"/>
                <a:gd name="T84" fmla="*/ 2147483647 w 456"/>
                <a:gd name="T85" fmla="*/ 2147483647 h 204"/>
                <a:gd name="T86" fmla="*/ 2147483647 w 456"/>
                <a:gd name="T87" fmla="*/ 2147483647 h 204"/>
                <a:gd name="T88" fmla="*/ 2147483647 w 456"/>
                <a:gd name="T89" fmla="*/ 2147483647 h 204"/>
                <a:gd name="T90" fmla="*/ 2147483647 w 456"/>
                <a:gd name="T91" fmla="*/ 2147483647 h 20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56"/>
                <a:gd name="T139" fmla="*/ 0 h 204"/>
                <a:gd name="T140" fmla="*/ 456 w 456"/>
                <a:gd name="T141" fmla="*/ 204 h 20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56" h="204">
                  <a:moveTo>
                    <a:pt x="456" y="102"/>
                  </a:moveTo>
                  <a:lnTo>
                    <a:pt x="456" y="60"/>
                  </a:lnTo>
                  <a:lnTo>
                    <a:pt x="450" y="60"/>
                  </a:lnTo>
                  <a:lnTo>
                    <a:pt x="450" y="48"/>
                  </a:lnTo>
                  <a:lnTo>
                    <a:pt x="456" y="24"/>
                  </a:lnTo>
                  <a:lnTo>
                    <a:pt x="444" y="18"/>
                  </a:lnTo>
                  <a:lnTo>
                    <a:pt x="438" y="18"/>
                  </a:lnTo>
                  <a:lnTo>
                    <a:pt x="432" y="12"/>
                  </a:lnTo>
                  <a:lnTo>
                    <a:pt x="420" y="12"/>
                  </a:lnTo>
                  <a:lnTo>
                    <a:pt x="414" y="18"/>
                  </a:lnTo>
                  <a:lnTo>
                    <a:pt x="402" y="24"/>
                  </a:lnTo>
                  <a:lnTo>
                    <a:pt x="390" y="12"/>
                  </a:lnTo>
                  <a:lnTo>
                    <a:pt x="378" y="18"/>
                  </a:lnTo>
                  <a:lnTo>
                    <a:pt x="366" y="6"/>
                  </a:lnTo>
                  <a:lnTo>
                    <a:pt x="354" y="0"/>
                  </a:lnTo>
                  <a:lnTo>
                    <a:pt x="336" y="0"/>
                  </a:lnTo>
                  <a:lnTo>
                    <a:pt x="330" y="6"/>
                  </a:lnTo>
                  <a:lnTo>
                    <a:pt x="324" y="18"/>
                  </a:lnTo>
                  <a:lnTo>
                    <a:pt x="318" y="18"/>
                  </a:lnTo>
                  <a:lnTo>
                    <a:pt x="318" y="36"/>
                  </a:lnTo>
                  <a:lnTo>
                    <a:pt x="306" y="30"/>
                  </a:lnTo>
                  <a:lnTo>
                    <a:pt x="300" y="30"/>
                  </a:lnTo>
                  <a:lnTo>
                    <a:pt x="288" y="36"/>
                  </a:lnTo>
                  <a:lnTo>
                    <a:pt x="276" y="36"/>
                  </a:lnTo>
                  <a:lnTo>
                    <a:pt x="258" y="18"/>
                  </a:lnTo>
                  <a:lnTo>
                    <a:pt x="252" y="36"/>
                  </a:lnTo>
                  <a:lnTo>
                    <a:pt x="234" y="36"/>
                  </a:lnTo>
                  <a:lnTo>
                    <a:pt x="240" y="48"/>
                  </a:lnTo>
                  <a:lnTo>
                    <a:pt x="240" y="66"/>
                  </a:lnTo>
                  <a:lnTo>
                    <a:pt x="234" y="66"/>
                  </a:lnTo>
                  <a:lnTo>
                    <a:pt x="228" y="60"/>
                  </a:lnTo>
                  <a:lnTo>
                    <a:pt x="210" y="60"/>
                  </a:lnTo>
                  <a:lnTo>
                    <a:pt x="204" y="66"/>
                  </a:lnTo>
                  <a:lnTo>
                    <a:pt x="204" y="72"/>
                  </a:lnTo>
                  <a:lnTo>
                    <a:pt x="198" y="78"/>
                  </a:lnTo>
                  <a:lnTo>
                    <a:pt x="198" y="84"/>
                  </a:lnTo>
                  <a:lnTo>
                    <a:pt x="210" y="84"/>
                  </a:lnTo>
                  <a:lnTo>
                    <a:pt x="210" y="126"/>
                  </a:lnTo>
                  <a:lnTo>
                    <a:pt x="204" y="126"/>
                  </a:lnTo>
                  <a:lnTo>
                    <a:pt x="192" y="114"/>
                  </a:lnTo>
                  <a:lnTo>
                    <a:pt x="174" y="108"/>
                  </a:lnTo>
                  <a:lnTo>
                    <a:pt x="162" y="102"/>
                  </a:lnTo>
                  <a:lnTo>
                    <a:pt x="144" y="114"/>
                  </a:lnTo>
                  <a:lnTo>
                    <a:pt x="126" y="114"/>
                  </a:lnTo>
                  <a:lnTo>
                    <a:pt x="108" y="126"/>
                  </a:lnTo>
                  <a:lnTo>
                    <a:pt x="102" y="132"/>
                  </a:lnTo>
                  <a:lnTo>
                    <a:pt x="84" y="132"/>
                  </a:lnTo>
                  <a:lnTo>
                    <a:pt x="66" y="114"/>
                  </a:lnTo>
                  <a:lnTo>
                    <a:pt x="48" y="114"/>
                  </a:lnTo>
                  <a:lnTo>
                    <a:pt x="48" y="126"/>
                  </a:lnTo>
                  <a:lnTo>
                    <a:pt x="42" y="132"/>
                  </a:lnTo>
                  <a:lnTo>
                    <a:pt x="30" y="132"/>
                  </a:lnTo>
                  <a:lnTo>
                    <a:pt x="30" y="126"/>
                  </a:lnTo>
                  <a:lnTo>
                    <a:pt x="24" y="120"/>
                  </a:lnTo>
                  <a:lnTo>
                    <a:pt x="0" y="120"/>
                  </a:lnTo>
                  <a:lnTo>
                    <a:pt x="0" y="156"/>
                  </a:lnTo>
                  <a:lnTo>
                    <a:pt x="18" y="156"/>
                  </a:lnTo>
                  <a:lnTo>
                    <a:pt x="18" y="174"/>
                  </a:lnTo>
                  <a:lnTo>
                    <a:pt x="24" y="174"/>
                  </a:lnTo>
                  <a:lnTo>
                    <a:pt x="42" y="156"/>
                  </a:lnTo>
                  <a:lnTo>
                    <a:pt x="48" y="156"/>
                  </a:lnTo>
                  <a:lnTo>
                    <a:pt x="60" y="168"/>
                  </a:lnTo>
                  <a:lnTo>
                    <a:pt x="60" y="174"/>
                  </a:lnTo>
                  <a:lnTo>
                    <a:pt x="72" y="174"/>
                  </a:lnTo>
                  <a:lnTo>
                    <a:pt x="84" y="180"/>
                  </a:lnTo>
                  <a:lnTo>
                    <a:pt x="96" y="162"/>
                  </a:lnTo>
                  <a:lnTo>
                    <a:pt x="138" y="162"/>
                  </a:lnTo>
                  <a:lnTo>
                    <a:pt x="138" y="156"/>
                  </a:lnTo>
                  <a:lnTo>
                    <a:pt x="144" y="150"/>
                  </a:lnTo>
                  <a:lnTo>
                    <a:pt x="162" y="150"/>
                  </a:lnTo>
                  <a:lnTo>
                    <a:pt x="168" y="156"/>
                  </a:lnTo>
                  <a:lnTo>
                    <a:pt x="168" y="174"/>
                  </a:lnTo>
                  <a:lnTo>
                    <a:pt x="180" y="174"/>
                  </a:lnTo>
                  <a:lnTo>
                    <a:pt x="186" y="192"/>
                  </a:lnTo>
                  <a:lnTo>
                    <a:pt x="240" y="192"/>
                  </a:lnTo>
                  <a:lnTo>
                    <a:pt x="240" y="204"/>
                  </a:lnTo>
                  <a:lnTo>
                    <a:pt x="258" y="204"/>
                  </a:lnTo>
                  <a:lnTo>
                    <a:pt x="264" y="198"/>
                  </a:lnTo>
                  <a:lnTo>
                    <a:pt x="282" y="198"/>
                  </a:lnTo>
                  <a:lnTo>
                    <a:pt x="288" y="204"/>
                  </a:lnTo>
                  <a:lnTo>
                    <a:pt x="318" y="204"/>
                  </a:lnTo>
                  <a:lnTo>
                    <a:pt x="318" y="192"/>
                  </a:lnTo>
                  <a:lnTo>
                    <a:pt x="366" y="192"/>
                  </a:lnTo>
                  <a:lnTo>
                    <a:pt x="378" y="186"/>
                  </a:lnTo>
                  <a:lnTo>
                    <a:pt x="402" y="192"/>
                  </a:lnTo>
                  <a:lnTo>
                    <a:pt x="414" y="156"/>
                  </a:lnTo>
                  <a:lnTo>
                    <a:pt x="432" y="156"/>
                  </a:lnTo>
                  <a:lnTo>
                    <a:pt x="432" y="132"/>
                  </a:lnTo>
                  <a:lnTo>
                    <a:pt x="444" y="114"/>
                  </a:lnTo>
                  <a:lnTo>
                    <a:pt x="432" y="114"/>
                  </a:lnTo>
                  <a:lnTo>
                    <a:pt x="438" y="102"/>
                  </a:lnTo>
                  <a:lnTo>
                    <a:pt x="456" y="102"/>
                  </a:lnTo>
                  <a:close/>
                </a:path>
              </a:pathLst>
            </a:custGeom>
            <a:solidFill>
              <a:srgbClr val="F2F2F2"/>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240" name="Australia" descr="© INSCALE GmbH, 05.05.2010&#10;http://www.presentationload.com/">
              <a:extLst>
                <a:ext uri="{FF2B5EF4-FFF2-40B4-BE49-F238E27FC236}">
                  <a16:creationId xmlns:a16="http://schemas.microsoft.com/office/drawing/2014/main" id="{BAE8638B-2D60-081B-7F4E-2FBD2DE6C846}"/>
                </a:ext>
              </a:extLst>
            </p:cNvPr>
            <p:cNvSpPr>
              <a:spLocks noEditPoints="1"/>
            </p:cNvSpPr>
            <p:nvPr/>
          </p:nvSpPr>
          <p:spPr bwMode="gray">
            <a:xfrm>
              <a:off x="7170489" y="3543118"/>
              <a:ext cx="1154908" cy="1083327"/>
            </a:xfrm>
            <a:custGeom>
              <a:avLst/>
              <a:gdLst>
                <a:gd name="T0" fmla="*/ 2147483647 w 2838"/>
                <a:gd name="T1" fmla="*/ 2147483647 h 2664"/>
                <a:gd name="T2" fmla="*/ 2147483647 w 2838"/>
                <a:gd name="T3" fmla="*/ 2147483647 h 2664"/>
                <a:gd name="T4" fmla="*/ 2147483647 w 2838"/>
                <a:gd name="T5" fmla="*/ 2147483647 h 2664"/>
                <a:gd name="T6" fmla="*/ 2147483647 w 2838"/>
                <a:gd name="T7" fmla="*/ 2147483647 h 2664"/>
                <a:gd name="T8" fmla="*/ 2147483647 w 2838"/>
                <a:gd name="T9" fmla="*/ 2147483647 h 2664"/>
                <a:gd name="T10" fmla="*/ 2147483647 w 2838"/>
                <a:gd name="T11" fmla="*/ 2147483647 h 2664"/>
                <a:gd name="T12" fmla="*/ 2147483647 w 2838"/>
                <a:gd name="T13" fmla="*/ 2147483647 h 2664"/>
                <a:gd name="T14" fmla="*/ 2147483647 w 2838"/>
                <a:gd name="T15" fmla="*/ 2147483647 h 2664"/>
                <a:gd name="T16" fmla="*/ 2147483647 w 2838"/>
                <a:gd name="T17" fmla="*/ 2147483647 h 2664"/>
                <a:gd name="T18" fmla="*/ 2147483647 w 2838"/>
                <a:gd name="T19" fmla="*/ 2147483647 h 2664"/>
                <a:gd name="T20" fmla="*/ 2147483647 w 2838"/>
                <a:gd name="T21" fmla="*/ 2147483647 h 2664"/>
                <a:gd name="T22" fmla="*/ 2147483647 w 2838"/>
                <a:gd name="T23" fmla="*/ 2147483647 h 2664"/>
                <a:gd name="T24" fmla="*/ 2147483647 w 2838"/>
                <a:gd name="T25" fmla="*/ 2147483647 h 2664"/>
                <a:gd name="T26" fmla="*/ 2147483647 w 2838"/>
                <a:gd name="T27" fmla="*/ 2147483647 h 2664"/>
                <a:gd name="T28" fmla="*/ 2147483647 w 2838"/>
                <a:gd name="T29" fmla="*/ 2147483647 h 2664"/>
                <a:gd name="T30" fmla="*/ 2147483647 w 2838"/>
                <a:gd name="T31" fmla="*/ 2147483647 h 2664"/>
                <a:gd name="T32" fmla="*/ 2147483647 w 2838"/>
                <a:gd name="T33" fmla="*/ 2147483647 h 2664"/>
                <a:gd name="T34" fmla="*/ 2147483647 w 2838"/>
                <a:gd name="T35" fmla="*/ 2147483647 h 2664"/>
                <a:gd name="T36" fmla="*/ 2147483647 w 2838"/>
                <a:gd name="T37" fmla="*/ 2147483647 h 2664"/>
                <a:gd name="T38" fmla="*/ 2147483647 w 2838"/>
                <a:gd name="T39" fmla="*/ 2147483647 h 2664"/>
                <a:gd name="T40" fmla="*/ 2147483647 w 2838"/>
                <a:gd name="T41" fmla="*/ 2147483647 h 2664"/>
                <a:gd name="T42" fmla="*/ 2147483647 w 2838"/>
                <a:gd name="T43" fmla="*/ 2147483647 h 2664"/>
                <a:gd name="T44" fmla="*/ 2147483647 w 2838"/>
                <a:gd name="T45" fmla="*/ 2147483647 h 2664"/>
                <a:gd name="T46" fmla="*/ 2147483647 w 2838"/>
                <a:gd name="T47" fmla="*/ 2147483647 h 2664"/>
                <a:gd name="T48" fmla="*/ 2147483647 w 2838"/>
                <a:gd name="T49" fmla="*/ 2147483647 h 2664"/>
                <a:gd name="T50" fmla="*/ 2147483647 w 2838"/>
                <a:gd name="T51" fmla="*/ 2147483647 h 2664"/>
                <a:gd name="T52" fmla="*/ 2147483647 w 2838"/>
                <a:gd name="T53" fmla="*/ 2147483647 h 2664"/>
                <a:gd name="T54" fmla="*/ 2147483647 w 2838"/>
                <a:gd name="T55" fmla="*/ 2147483647 h 2664"/>
                <a:gd name="T56" fmla="*/ 2147483647 w 2838"/>
                <a:gd name="T57" fmla="*/ 2147483647 h 2664"/>
                <a:gd name="T58" fmla="*/ 2147483647 w 2838"/>
                <a:gd name="T59" fmla="*/ 2147483647 h 2664"/>
                <a:gd name="T60" fmla="*/ 2147483647 w 2838"/>
                <a:gd name="T61" fmla="*/ 2147483647 h 2664"/>
                <a:gd name="T62" fmla="*/ 2147483647 w 2838"/>
                <a:gd name="T63" fmla="*/ 2147483647 h 2664"/>
                <a:gd name="T64" fmla="*/ 2147483647 w 2838"/>
                <a:gd name="T65" fmla="*/ 2147483647 h 2664"/>
                <a:gd name="T66" fmla="*/ 2147483647 w 2838"/>
                <a:gd name="T67" fmla="*/ 2147483647 h 2664"/>
                <a:gd name="T68" fmla="*/ 2147483647 w 2838"/>
                <a:gd name="T69" fmla="*/ 2147483647 h 2664"/>
                <a:gd name="T70" fmla="*/ 2147483647 w 2838"/>
                <a:gd name="T71" fmla="*/ 2147483647 h 2664"/>
                <a:gd name="T72" fmla="*/ 2147483647 w 2838"/>
                <a:gd name="T73" fmla="*/ 2147483647 h 2664"/>
                <a:gd name="T74" fmla="*/ 2147483647 w 2838"/>
                <a:gd name="T75" fmla="*/ 2147483647 h 2664"/>
                <a:gd name="T76" fmla="*/ 2147483647 w 2838"/>
                <a:gd name="T77" fmla="*/ 2147483647 h 2664"/>
                <a:gd name="T78" fmla="*/ 2147483647 w 2838"/>
                <a:gd name="T79" fmla="*/ 2147483647 h 2664"/>
                <a:gd name="T80" fmla="*/ 2147483647 w 2838"/>
                <a:gd name="T81" fmla="*/ 2147483647 h 2664"/>
                <a:gd name="T82" fmla="*/ 2147483647 w 2838"/>
                <a:gd name="T83" fmla="*/ 2147483647 h 2664"/>
                <a:gd name="T84" fmla="*/ 2147483647 w 2838"/>
                <a:gd name="T85" fmla="*/ 2147483647 h 2664"/>
                <a:gd name="T86" fmla="*/ 2147483647 w 2838"/>
                <a:gd name="T87" fmla="*/ 2147483647 h 2664"/>
                <a:gd name="T88" fmla="*/ 2147483647 w 2838"/>
                <a:gd name="T89" fmla="*/ 2147483647 h 2664"/>
                <a:gd name="T90" fmla="*/ 2147483647 w 2838"/>
                <a:gd name="T91" fmla="*/ 2147483647 h 2664"/>
                <a:gd name="T92" fmla="*/ 2147483647 w 2838"/>
                <a:gd name="T93" fmla="*/ 2147483647 h 2664"/>
                <a:gd name="T94" fmla="*/ 2147483647 w 2838"/>
                <a:gd name="T95" fmla="*/ 2147483647 h 2664"/>
                <a:gd name="T96" fmla="*/ 2147483647 w 2838"/>
                <a:gd name="T97" fmla="*/ 2147483647 h 2664"/>
                <a:gd name="T98" fmla="*/ 2147483647 w 2838"/>
                <a:gd name="T99" fmla="*/ 2147483647 h 2664"/>
                <a:gd name="T100" fmla="*/ 2147483647 w 2838"/>
                <a:gd name="T101" fmla="*/ 2147483647 h 2664"/>
                <a:gd name="T102" fmla="*/ 2147483647 w 2838"/>
                <a:gd name="T103" fmla="*/ 2147483647 h 2664"/>
                <a:gd name="T104" fmla="*/ 2147483647 w 2838"/>
                <a:gd name="T105" fmla="*/ 2147483647 h 2664"/>
                <a:gd name="T106" fmla="*/ 2147483647 w 2838"/>
                <a:gd name="T107" fmla="*/ 2147483647 h 2664"/>
                <a:gd name="T108" fmla="*/ 2147483647 w 2838"/>
                <a:gd name="T109" fmla="*/ 2147483647 h 2664"/>
                <a:gd name="T110" fmla="*/ 2147483647 w 2838"/>
                <a:gd name="T111" fmla="*/ 2147483647 h 2664"/>
                <a:gd name="T112" fmla="*/ 2147483647 w 2838"/>
                <a:gd name="T113" fmla="*/ 2147483647 h 2664"/>
                <a:gd name="T114" fmla="*/ 2147483647 w 2838"/>
                <a:gd name="T115" fmla="*/ 2147483647 h 2664"/>
                <a:gd name="T116" fmla="*/ 2147483647 w 2838"/>
                <a:gd name="T117" fmla="*/ 2147483647 h 266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838"/>
                <a:gd name="T178" fmla="*/ 0 h 2664"/>
                <a:gd name="T179" fmla="*/ 2838 w 2838"/>
                <a:gd name="T180" fmla="*/ 2664 h 266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838" h="2664">
                  <a:moveTo>
                    <a:pt x="1530" y="66"/>
                  </a:moveTo>
                  <a:lnTo>
                    <a:pt x="1524" y="60"/>
                  </a:lnTo>
                  <a:lnTo>
                    <a:pt x="1518" y="60"/>
                  </a:lnTo>
                  <a:lnTo>
                    <a:pt x="1506" y="66"/>
                  </a:lnTo>
                  <a:lnTo>
                    <a:pt x="1500" y="72"/>
                  </a:lnTo>
                  <a:lnTo>
                    <a:pt x="1494" y="84"/>
                  </a:lnTo>
                  <a:lnTo>
                    <a:pt x="1494" y="102"/>
                  </a:lnTo>
                  <a:lnTo>
                    <a:pt x="1506" y="102"/>
                  </a:lnTo>
                  <a:lnTo>
                    <a:pt x="1512" y="90"/>
                  </a:lnTo>
                  <a:lnTo>
                    <a:pt x="1524" y="78"/>
                  </a:lnTo>
                  <a:lnTo>
                    <a:pt x="1530" y="66"/>
                  </a:lnTo>
                  <a:close/>
                  <a:moveTo>
                    <a:pt x="1476" y="2016"/>
                  </a:moveTo>
                  <a:lnTo>
                    <a:pt x="1464" y="2016"/>
                  </a:lnTo>
                  <a:lnTo>
                    <a:pt x="1440" y="2028"/>
                  </a:lnTo>
                  <a:lnTo>
                    <a:pt x="1440" y="2034"/>
                  </a:lnTo>
                  <a:lnTo>
                    <a:pt x="1452" y="2046"/>
                  </a:lnTo>
                  <a:lnTo>
                    <a:pt x="1452" y="2052"/>
                  </a:lnTo>
                  <a:lnTo>
                    <a:pt x="1470" y="2052"/>
                  </a:lnTo>
                  <a:lnTo>
                    <a:pt x="1482" y="2046"/>
                  </a:lnTo>
                  <a:lnTo>
                    <a:pt x="1488" y="2040"/>
                  </a:lnTo>
                  <a:lnTo>
                    <a:pt x="1506" y="2040"/>
                  </a:lnTo>
                  <a:lnTo>
                    <a:pt x="1512" y="2034"/>
                  </a:lnTo>
                  <a:lnTo>
                    <a:pt x="1530" y="2034"/>
                  </a:lnTo>
                  <a:lnTo>
                    <a:pt x="1536" y="2028"/>
                  </a:lnTo>
                  <a:lnTo>
                    <a:pt x="1512" y="2028"/>
                  </a:lnTo>
                  <a:lnTo>
                    <a:pt x="1500" y="2016"/>
                  </a:lnTo>
                  <a:lnTo>
                    <a:pt x="1476" y="2016"/>
                  </a:lnTo>
                  <a:close/>
                  <a:moveTo>
                    <a:pt x="2802" y="1164"/>
                  </a:moveTo>
                  <a:lnTo>
                    <a:pt x="2802" y="1134"/>
                  </a:lnTo>
                  <a:lnTo>
                    <a:pt x="2796" y="1116"/>
                  </a:lnTo>
                  <a:lnTo>
                    <a:pt x="2796" y="1092"/>
                  </a:lnTo>
                  <a:lnTo>
                    <a:pt x="2790" y="1086"/>
                  </a:lnTo>
                  <a:lnTo>
                    <a:pt x="2778" y="1086"/>
                  </a:lnTo>
                  <a:lnTo>
                    <a:pt x="2772" y="1080"/>
                  </a:lnTo>
                  <a:lnTo>
                    <a:pt x="2760" y="1080"/>
                  </a:lnTo>
                  <a:lnTo>
                    <a:pt x="2760" y="1062"/>
                  </a:lnTo>
                  <a:lnTo>
                    <a:pt x="2742" y="1050"/>
                  </a:lnTo>
                  <a:lnTo>
                    <a:pt x="2742" y="1014"/>
                  </a:lnTo>
                  <a:lnTo>
                    <a:pt x="2736" y="1008"/>
                  </a:lnTo>
                  <a:lnTo>
                    <a:pt x="2724" y="1002"/>
                  </a:lnTo>
                  <a:lnTo>
                    <a:pt x="2718" y="996"/>
                  </a:lnTo>
                  <a:lnTo>
                    <a:pt x="2706" y="996"/>
                  </a:lnTo>
                  <a:lnTo>
                    <a:pt x="2712" y="996"/>
                  </a:lnTo>
                  <a:lnTo>
                    <a:pt x="2718" y="990"/>
                  </a:lnTo>
                  <a:lnTo>
                    <a:pt x="2730" y="990"/>
                  </a:lnTo>
                  <a:lnTo>
                    <a:pt x="2742" y="984"/>
                  </a:lnTo>
                  <a:lnTo>
                    <a:pt x="2760" y="966"/>
                  </a:lnTo>
                  <a:lnTo>
                    <a:pt x="2754" y="954"/>
                  </a:lnTo>
                  <a:lnTo>
                    <a:pt x="2736" y="936"/>
                  </a:lnTo>
                  <a:lnTo>
                    <a:pt x="2730" y="936"/>
                  </a:lnTo>
                  <a:lnTo>
                    <a:pt x="2730" y="930"/>
                  </a:lnTo>
                  <a:lnTo>
                    <a:pt x="2712" y="912"/>
                  </a:lnTo>
                  <a:lnTo>
                    <a:pt x="2700" y="906"/>
                  </a:lnTo>
                  <a:lnTo>
                    <a:pt x="2694" y="912"/>
                  </a:lnTo>
                  <a:lnTo>
                    <a:pt x="2694" y="936"/>
                  </a:lnTo>
                  <a:lnTo>
                    <a:pt x="2670" y="930"/>
                  </a:lnTo>
                  <a:lnTo>
                    <a:pt x="2670" y="924"/>
                  </a:lnTo>
                  <a:lnTo>
                    <a:pt x="2676" y="918"/>
                  </a:lnTo>
                  <a:lnTo>
                    <a:pt x="2676" y="906"/>
                  </a:lnTo>
                  <a:lnTo>
                    <a:pt x="2682" y="894"/>
                  </a:lnTo>
                  <a:lnTo>
                    <a:pt x="2688" y="876"/>
                  </a:lnTo>
                  <a:lnTo>
                    <a:pt x="2688" y="858"/>
                  </a:lnTo>
                  <a:lnTo>
                    <a:pt x="2682" y="852"/>
                  </a:lnTo>
                  <a:lnTo>
                    <a:pt x="2676" y="840"/>
                  </a:lnTo>
                  <a:lnTo>
                    <a:pt x="2670" y="840"/>
                  </a:lnTo>
                  <a:lnTo>
                    <a:pt x="2652" y="822"/>
                  </a:lnTo>
                  <a:lnTo>
                    <a:pt x="2652" y="816"/>
                  </a:lnTo>
                  <a:lnTo>
                    <a:pt x="2658" y="804"/>
                  </a:lnTo>
                  <a:lnTo>
                    <a:pt x="2658" y="792"/>
                  </a:lnTo>
                  <a:lnTo>
                    <a:pt x="2664" y="774"/>
                  </a:lnTo>
                  <a:lnTo>
                    <a:pt x="2664" y="762"/>
                  </a:lnTo>
                  <a:lnTo>
                    <a:pt x="2652" y="750"/>
                  </a:lnTo>
                  <a:lnTo>
                    <a:pt x="2628" y="732"/>
                  </a:lnTo>
                  <a:lnTo>
                    <a:pt x="2598" y="720"/>
                  </a:lnTo>
                  <a:lnTo>
                    <a:pt x="2580" y="708"/>
                  </a:lnTo>
                  <a:lnTo>
                    <a:pt x="2568" y="702"/>
                  </a:lnTo>
                  <a:lnTo>
                    <a:pt x="2556" y="708"/>
                  </a:lnTo>
                  <a:lnTo>
                    <a:pt x="2550" y="696"/>
                  </a:lnTo>
                  <a:lnTo>
                    <a:pt x="2538" y="684"/>
                  </a:lnTo>
                  <a:lnTo>
                    <a:pt x="2532" y="672"/>
                  </a:lnTo>
                  <a:lnTo>
                    <a:pt x="2520" y="660"/>
                  </a:lnTo>
                  <a:lnTo>
                    <a:pt x="2514" y="642"/>
                  </a:lnTo>
                  <a:lnTo>
                    <a:pt x="2514" y="594"/>
                  </a:lnTo>
                  <a:lnTo>
                    <a:pt x="2520" y="576"/>
                  </a:lnTo>
                  <a:lnTo>
                    <a:pt x="2526" y="564"/>
                  </a:lnTo>
                  <a:lnTo>
                    <a:pt x="2526" y="546"/>
                  </a:lnTo>
                  <a:lnTo>
                    <a:pt x="2520" y="504"/>
                  </a:lnTo>
                  <a:lnTo>
                    <a:pt x="2502" y="462"/>
                  </a:lnTo>
                  <a:lnTo>
                    <a:pt x="2490" y="426"/>
                  </a:lnTo>
                  <a:lnTo>
                    <a:pt x="2490" y="402"/>
                  </a:lnTo>
                  <a:lnTo>
                    <a:pt x="2496" y="390"/>
                  </a:lnTo>
                  <a:lnTo>
                    <a:pt x="2502" y="384"/>
                  </a:lnTo>
                  <a:lnTo>
                    <a:pt x="2502" y="324"/>
                  </a:lnTo>
                  <a:lnTo>
                    <a:pt x="2496" y="312"/>
                  </a:lnTo>
                  <a:lnTo>
                    <a:pt x="2496" y="300"/>
                  </a:lnTo>
                  <a:lnTo>
                    <a:pt x="2472" y="294"/>
                  </a:lnTo>
                  <a:lnTo>
                    <a:pt x="2460" y="288"/>
                  </a:lnTo>
                  <a:lnTo>
                    <a:pt x="2454" y="276"/>
                  </a:lnTo>
                  <a:lnTo>
                    <a:pt x="2442" y="270"/>
                  </a:lnTo>
                  <a:lnTo>
                    <a:pt x="2424" y="270"/>
                  </a:lnTo>
                  <a:lnTo>
                    <a:pt x="2418" y="282"/>
                  </a:lnTo>
                  <a:lnTo>
                    <a:pt x="2412" y="288"/>
                  </a:lnTo>
                  <a:lnTo>
                    <a:pt x="2412" y="282"/>
                  </a:lnTo>
                  <a:lnTo>
                    <a:pt x="2406" y="276"/>
                  </a:lnTo>
                  <a:lnTo>
                    <a:pt x="2400" y="264"/>
                  </a:lnTo>
                  <a:lnTo>
                    <a:pt x="2400" y="228"/>
                  </a:lnTo>
                  <a:lnTo>
                    <a:pt x="2406" y="216"/>
                  </a:lnTo>
                  <a:lnTo>
                    <a:pt x="2406" y="204"/>
                  </a:lnTo>
                  <a:lnTo>
                    <a:pt x="2388" y="180"/>
                  </a:lnTo>
                  <a:lnTo>
                    <a:pt x="2394" y="96"/>
                  </a:lnTo>
                  <a:lnTo>
                    <a:pt x="2382" y="90"/>
                  </a:lnTo>
                  <a:lnTo>
                    <a:pt x="2364" y="72"/>
                  </a:lnTo>
                  <a:lnTo>
                    <a:pt x="2364" y="66"/>
                  </a:lnTo>
                  <a:lnTo>
                    <a:pt x="2370" y="48"/>
                  </a:lnTo>
                  <a:lnTo>
                    <a:pt x="2370" y="24"/>
                  </a:lnTo>
                  <a:lnTo>
                    <a:pt x="2364" y="18"/>
                  </a:lnTo>
                  <a:lnTo>
                    <a:pt x="2346" y="18"/>
                  </a:lnTo>
                  <a:lnTo>
                    <a:pt x="2346" y="0"/>
                  </a:lnTo>
                  <a:lnTo>
                    <a:pt x="2316" y="12"/>
                  </a:lnTo>
                  <a:lnTo>
                    <a:pt x="2310" y="30"/>
                  </a:lnTo>
                  <a:lnTo>
                    <a:pt x="2298" y="36"/>
                  </a:lnTo>
                  <a:lnTo>
                    <a:pt x="2292" y="42"/>
                  </a:lnTo>
                  <a:lnTo>
                    <a:pt x="2280" y="48"/>
                  </a:lnTo>
                  <a:lnTo>
                    <a:pt x="2280" y="66"/>
                  </a:lnTo>
                  <a:lnTo>
                    <a:pt x="2286" y="78"/>
                  </a:lnTo>
                  <a:lnTo>
                    <a:pt x="2286" y="90"/>
                  </a:lnTo>
                  <a:lnTo>
                    <a:pt x="2292" y="102"/>
                  </a:lnTo>
                  <a:lnTo>
                    <a:pt x="2292" y="114"/>
                  </a:lnTo>
                  <a:lnTo>
                    <a:pt x="2286" y="126"/>
                  </a:lnTo>
                  <a:lnTo>
                    <a:pt x="2274" y="138"/>
                  </a:lnTo>
                  <a:lnTo>
                    <a:pt x="2268" y="150"/>
                  </a:lnTo>
                  <a:lnTo>
                    <a:pt x="2238" y="180"/>
                  </a:lnTo>
                  <a:lnTo>
                    <a:pt x="2256" y="192"/>
                  </a:lnTo>
                  <a:lnTo>
                    <a:pt x="2256" y="198"/>
                  </a:lnTo>
                  <a:lnTo>
                    <a:pt x="2250" y="204"/>
                  </a:lnTo>
                  <a:lnTo>
                    <a:pt x="2238" y="228"/>
                  </a:lnTo>
                  <a:lnTo>
                    <a:pt x="2232" y="234"/>
                  </a:lnTo>
                  <a:lnTo>
                    <a:pt x="2232" y="264"/>
                  </a:lnTo>
                  <a:lnTo>
                    <a:pt x="2238" y="276"/>
                  </a:lnTo>
                  <a:lnTo>
                    <a:pt x="2238" y="288"/>
                  </a:lnTo>
                  <a:lnTo>
                    <a:pt x="2232" y="300"/>
                  </a:lnTo>
                  <a:lnTo>
                    <a:pt x="2214" y="408"/>
                  </a:lnTo>
                  <a:lnTo>
                    <a:pt x="2208" y="432"/>
                  </a:lnTo>
                  <a:lnTo>
                    <a:pt x="2202" y="438"/>
                  </a:lnTo>
                  <a:lnTo>
                    <a:pt x="2190" y="462"/>
                  </a:lnTo>
                  <a:lnTo>
                    <a:pt x="2178" y="474"/>
                  </a:lnTo>
                  <a:lnTo>
                    <a:pt x="2172" y="486"/>
                  </a:lnTo>
                  <a:lnTo>
                    <a:pt x="2166" y="492"/>
                  </a:lnTo>
                  <a:lnTo>
                    <a:pt x="2166" y="516"/>
                  </a:lnTo>
                  <a:lnTo>
                    <a:pt x="2160" y="534"/>
                  </a:lnTo>
                  <a:lnTo>
                    <a:pt x="2154" y="546"/>
                  </a:lnTo>
                  <a:lnTo>
                    <a:pt x="2142" y="552"/>
                  </a:lnTo>
                  <a:lnTo>
                    <a:pt x="2088" y="570"/>
                  </a:lnTo>
                  <a:lnTo>
                    <a:pt x="2076" y="570"/>
                  </a:lnTo>
                  <a:lnTo>
                    <a:pt x="2064" y="576"/>
                  </a:lnTo>
                  <a:lnTo>
                    <a:pt x="2058" y="576"/>
                  </a:lnTo>
                  <a:lnTo>
                    <a:pt x="2058" y="570"/>
                  </a:lnTo>
                  <a:lnTo>
                    <a:pt x="2052" y="564"/>
                  </a:lnTo>
                  <a:lnTo>
                    <a:pt x="2028" y="516"/>
                  </a:lnTo>
                  <a:lnTo>
                    <a:pt x="2022" y="510"/>
                  </a:lnTo>
                  <a:lnTo>
                    <a:pt x="1998" y="492"/>
                  </a:lnTo>
                  <a:lnTo>
                    <a:pt x="1956" y="474"/>
                  </a:lnTo>
                  <a:lnTo>
                    <a:pt x="1920" y="462"/>
                  </a:lnTo>
                  <a:lnTo>
                    <a:pt x="1908" y="456"/>
                  </a:lnTo>
                  <a:lnTo>
                    <a:pt x="1896" y="438"/>
                  </a:lnTo>
                  <a:lnTo>
                    <a:pt x="1884" y="426"/>
                  </a:lnTo>
                  <a:lnTo>
                    <a:pt x="1872" y="402"/>
                  </a:lnTo>
                  <a:lnTo>
                    <a:pt x="1866" y="396"/>
                  </a:lnTo>
                  <a:lnTo>
                    <a:pt x="1830" y="396"/>
                  </a:lnTo>
                  <a:lnTo>
                    <a:pt x="1806" y="348"/>
                  </a:lnTo>
                  <a:lnTo>
                    <a:pt x="1824" y="330"/>
                  </a:lnTo>
                  <a:lnTo>
                    <a:pt x="1824" y="306"/>
                  </a:lnTo>
                  <a:lnTo>
                    <a:pt x="1830" y="294"/>
                  </a:lnTo>
                  <a:lnTo>
                    <a:pt x="1836" y="288"/>
                  </a:lnTo>
                  <a:lnTo>
                    <a:pt x="1848" y="282"/>
                  </a:lnTo>
                  <a:lnTo>
                    <a:pt x="1854" y="276"/>
                  </a:lnTo>
                  <a:lnTo>
                    <a:pt x="1848" y="228"/>
                  </a:lnTo>
                  <a:lnTo>
                    <a:pt x="1866" y="210"/>
                  </a:lnTo>
                  <a:lnTo>
                    <a:pt x="1872" y="216"/>
                  </a:lnTo>
                  <a:lnTo>
                    <a:pt x="1884" y="216"/>
                  </a:lnTo>
                  <a:lnTo>
                    <a:pt x="1890" y="222"/>
                  </a:lnTo>
                  <a:lnTo>
                    <a:pt x="1896" y="222"/>
                  </a:lnTo>
                  <a:lnTo>
                    <a:pt x="1902" y="216"/>
                  </a:lnTo>
                  <a:lnTo>
                    <a:pt x="1908" y="204"/>
                  </a:lnTo>
                  <a:lnTo>
                    <a:pt x="1908" y="180"/>
                  </a:lnTo>
                  <a:lnTo>
                    <a:pt x="1944" y="144"/>
                  </a:lnTo>
                  <a:lnTo>
                    <a:pt x="1938" y="132"/>
                  </a:lnTo>
                  <a:lnTo>
                    <a:pt x="1914" y="108"/>
                  </a:lnTo>
                  <a:lnTo>
                    <a:pt x="1890" y="108"/>
                  </a:lnTo>
                  <a:lnTo>
                    <a:pt x="1872" y="114"/>
                  </a:lnTo>
                  <a:lnTo>
                    <a:pt x="1848" y="126"/>
                  </a:lnTo>
                  <a:lnTo>
                    <a:pt x="1842" y="138"/>
                  </a:lnTo>
                  <a:lnTo>
                    <a:pt x="1842" y="120"/>
                  </a:lnTo>
                  <a:lnTo>
                    <a:pt x="1812" y="126"/>
                  </a:lnTo>
                  <a:lnTo>
                    <a:pt x="1794" y="138"/>
                  </a:lnTo>
                  <a:lnTo>
                    <a:pt x="1788" y="120"/>
                  </a:lnTo>
                  <a:lnTo>
                    <a:pt x="1752" y="114"/>
                  </a:lnTo>
                  <a:lnTo>
                    <a:pt x="1746" y="108"/>
                  </a:lnTo>
                  <a:lnTo>
                    <a:pt x="1734" y="102"/>
                  </a:lnTo>
                  <a:lnTo>
                    <a:pt x="1728" y="96"/>
                  </a:lnTo>
                  <a:lnTo>
                    <a:pt x="1716" y="90"/>
                  </a:lnTo>
                  <a:lnTo>
                    <a:pt x="1674" y="90"/>
                  </a:lnTo>
                  <a:lnTo>
                    <a:pt x="1662" y="84"/>
                  </a:lnTo>
                  <a:lnTo>
                    <a:pt x="1650" y="84"/>
                  </a:lnTo>
                  <a:lnTo>
                    <a:pt x="1650" y="78"/>
                  </a:lnTo>
                  <a:lnTo>
                    <a:pt x="1644" y="72"/>
                  </a:lnTo>
                  <a:lnTo>
                    <a:pt x="1632" y="48"/>
                  </a:lnTo>
                  <a:lnTo>
                    <a:pt x="1626" y="42"/>
                  </a:lnTo>
                  <a:lnTo>
                    <a:pt x="1620" y="42"/>
                  </a:lnTo>
                  <a:lnTo>
                    <a:pt x="1620" y="54"/>
                  </a:lnTo>
                  <a:lnTo>
                    <a:pt x="1614" y="60"/>
                  </a:lnTo>
                  <a:lnTo>
                    <a:pt x="1602" y="54"/>
                  </a:lnTo>
                  <a:lnTo>
                    <a:pt x="1596" y="54"/>
                  </a:lnTo>
                  <a:lnTo>
                    <a:pt x="1584" y="48"/>
                  </a:lnTo>
                  <a:lnTo>
                    <a:pt x="1566" y="48"/>
                  </a:lnTo>
                  <a:lnTo>
                    <a:pt x="1566" y="60"/>
                  </a:lnTo>
                  <a:lnTo>
                    <a:pt x="1572" y="66"/>
                  </a:lnTo>
                  <a:lnTo>
                    <a:pt x="1554" y="66"/>
                  </a:lnTo>
                  <a:lnTo>
                    <a:pt x="1548" y="72"/>
                  </a:lnTo>
                  <a:lnTo>
                    <a:pt x="1548" y="78"/>
                  </a:lnTo>
                  <a:lnTo>
                    <a:pt x="1554" y="84"/>
                  </a:lnTo>
                  <a:lnTo>
                    <a:pt x="1566" y="84"/>
                  </a:lnTo>
                  <a:lnTo>
                    <a:pt x="1590" y="96"/>
                  </a:lnTo>
                  <a:lnTo>
                    <a:pt x="1596" y="96"/>
                  </a:lnTo>
                  <a:lnTo>
                    <a:pt x="1608" y="90"/>
                  </a:lnTo>
                  <a:lnTo>
                    <a:pt x="1614" y="84"/>
                  </a:lnTo>
                  <a:lnTo>
                    <a:pt x="1644" y="102"/>
                  </a:lnTo>
                  <a:lnTo>
                    <a:pt x="1638" y="102"/>
                  </a:lnTo>
                  <a:lnTo>
                    <a:pt x="1632" y="108"/>
                  </a:lnTo>
                  <a:lnTo>
                    <a:pt x="1596" y="126"/>
                  </a:lnTo>
                  <a:lnTo>
                    <a:pt x="1572" y="126"/>
                  </a:lnTo>
                  <a:lnTo>
                    <a:pt x="1554" y="132"/>
                  </a:lnTo>
                  <a:lnTo>
                    <a:pt x="1512" y="132"/>
                  </a:lnTo>
                  <a:lnTo>
                    <a:pt x="1500" y="138"/>
                  </a:lnTo>
                  <a:lnTo>
                    <a:pt x="1482" y="144"/>
                  </a:lnTo>
                  <a:lnTo>
                    <a:pt x="1470" y="156"/>
                  </a:lnTo>
                  <a:lnTo>
                    <a:pt x="1452" y="162"/>
                  </a:lnTo>
                  <a:lnTo>
                    <a:pt x="1440" y="168"/>
                  </a:lnTo>
                  <a:lnTo>
                    <a:pt x="1434" y="174"/>
                  </a:lnTo>
                  <a:lnTo>
                    <a:pt x="1428" y="174"/>
                  </a:lnTo>
                  <a:lnTo>
                    <a:pt x="1428" y="186"/>
                  </a:lnTo>
                  <a:lnTo>
                    <a:pt x="1422" y="204"/>
                  </a:lnTo>
                  <a:lnTo>
                    <a:pt x="1422" y="228"/>
                  </a:lnTo>
                  <a:lnTo>
                    <a:pt x="1428" y="234"/>
                  </a:lnTo>
                  <a:lnTo>
                    <a:pt x="1440" y="240"/>
                  </a:lnTo>
                  <a:lnTo>
                    <a:pt x="1446" y="246"/>
                  </a:lnTo>
                  <a:lnTo>
                    <a:pt x="1452" y="246"/>
                  </a:lnTo>
                  <a:lnTo>
                    <a:pt x="1398" y="246"/>
                  </a:lnTo>
                  <a:lnTo>
                    <a:pt x="1368" y="282"/>
                  </a:lnTo>
                  <a:lnTo>
                    <a:pt x="1368" y="312"/>
                  </a:lnTo>
                  <a:lnTo>
                    <a:pt x="1362" y="324"/>
                  </a:lnTo>
                  <a:lnTo>
                    <a:pt x="1362" y="330"/>
                  </a:lnTo>
                  <a:lnTo>
                    <a:pt x="1368" y="336"/>
                  </a:lnTo>
                  <a:lnTo>
                    <a:pt x="1380" y="336"/>
                  </a:lnTo>
                  <a:lnTo>
                    <a:pt x="1404" y="348"/>
                  </a:lnTo>
                  <a:lnTo>
                    <a:pt x="1410" y="354"/>
                  </a:lnTo>
                  <a:lnTo>
                    <a:pt x="1410" y="390"/>
                  </a:lnTo>
                  <a:lnTo>
                    <a:pt x="1386" y="366"/>
                  </a:lnTo>
                  <a:lnTo>
                    <a:pt x="1356" y="366"/>
                  </a:lnTo>
                  <a:lnTo>
                    <a:pt x="1344" y="390"/>
                  </a:lnTo>
                  <a:lnTo>
                    <a:pt x="1308" y="354"/>
                  </a:lnTo>
                  <a:lnTo>
                    <a:pt x="1302" y="384"/>
                  </a:lnTo>
                  <a:lnTo>
                    <a:pt x="1278" y="396"/>
                  </a:lnTo>
                  <a:lnTo>
                    <a:pt x="1284" y="420"/>
                  </a:lnTo>
                  <a:lnTo>
                    <a:pt x="1254" y="414"/>
                  </a:lnTo>
                  <a:lnTo>
                    <a:pt x="1284" y="354"/>
                  </a:lnTo>
                  <a:lnTo>
                    <a:pt x="1278" y="348"/>
                  </a:lnTo>
                  <a:lnTo>
                    <a:pt x="1272" y="336"/>
                  </a:lnTo>
                  <a:lnTo>
                    <a:pt x="1272" y="324"/>
                  </a:lnTo>
                  <a:lnTo>
                    <a:pt x="1266" y="318"/>
                  </a:lnTo>
                  <a:lnTo>
                    <a:pt x="1254" y="312"/>
                  </a:lnTo>
                  <a:lnTo>
                    <a:pt x="1236" y="312"/>
                  </a:lnTo>
                  <a:lnTo>
                    <a:pt x="1224" y="282"/>
                  </a:lnTo>
                  <a:lnTo>
                    <a:pt x="1224" y="276"/>
                  </a:lnTo>
                  <a:lnTo>
                    <a:pt x="1230" y="270"/>
                  </a:lnTo>
                  <a:lnTo>
                    <a:pt x="1230" y="258"/>
                  </a:lnTo>
                  <a:lnTo>
                    <a:pt x="1224" y="246"/>
                  </a:lnTo>
                  <a:lnTo>
                    <a:pt x="1218" y="240"/>
                  </a:lnTo>
                  <a:lnTo>
                    <a:pt x="1206" y="234"/>
                  </a:lnTo>
                  <a:lnTo>
                    <a:pt x="1194" y="240"/>
                  </a:lnTo>
                  <a:lnTo>
                    <a:pt x="1188" y="246"/>
                  </a:lnTo>
                  <a:lnTo>
                    <a:pt x="1176" y="252"/>
                  </a:lnTo>
                  <a:lnTo>
                    <a:pt x="1176" y="264"/>
                  </a:lnTo>
                  <a:lnTo>
                    <a:pt x="1182" y="270"/>
                  </a:lnTo>
                  <a:lnTo>
                    <a:pt x="1182" y="282"/>
                  </a:lnTo>
                  <a:lnTo>
                    <a:pt x="1146" y="276"/>
                  </a:lnTo>
                  <a:lnTo>
                    <a:pt x="1152" y="306"/>
                  </a:lnTo>
                  <a:lnTo>
                    <a:pt x="1134" y="300"/>
                  </a:lnTo>
                  <a:lnTo>
                    <a:pt x="1116" y="306"/>
                  </a:lnTo>
                  <a:lnTo>
                    <a:pt x="1122" y="312"/>
                  </a:lnTo>
                  <a:lnTo>
                    <a:pt x="1122" y="330"/>
                  </a:lnTo>
                  <a:lnTo>
                    <a:pt x="1116" y="342"/>
                  </a:lnTo>
                  <a:lnTo>
                    <a:pt x="1110" y="348"/>
                  </a:lnTo>
                  <a:lnTo>
                    <a:pt x="1098" y="354"/>
                  </a:lnTo>
                  <a:lnTo>
                    <a:pt x="1092" y="360"/>
                  </a:lnTo>
                  <a:lnTo>
                    <a:pt x="1104" y="324"/>
                  </a:lnTo>
                  <a:lnTo>
                    <a:pt x="1080" y="348"/>
                  </a:lnTo>
                  <a:lnTo>
                    <a:pt x="1062" y="348"/>
                  </a:lnTo>
                  <a:lnTo>
                    <a:pt x="1056" y="360"/>
                  </a:lnTo>
                  <a:lnTo>
                    <a:pt x="1050" y="366"/>
                  </a:lnTo>
                  <a:lnTo>
                    <a:pt x="1050" y="378"/>
                  </a:lnTo>
                  <a:lnTo>
                    <a:pt x="1056" y="390"/>
                  </a:lnTo>
                  <a:lnTo>
                    <a:pt x="1056" y="396"/>
                  </a:lnTo>
                  <a:lnTo>
                    <a:pt x="1062" y="408"/>
                  </a:lnTo>
                  <a:lnTo>
                    <a:pt x="1014" y="384"/>
                  </a:lnTo>
                  <a:lnTo>
                    <a:pt x="1008" y="420"/>
                  </a:lnTo>
                  <a:lnTo>
                    <a:pt x="996" y="426"/>
                  </a:lnTo>
                  <a:lnTo>
                    <a:pt x="1008" y="450"/>
                  </a:lnTo>
                  <a:lnTo>
                    <a:pt x="1032" y="450"/>
                  </a:lnTo>
                  <a:lnTo>
                    <a:pt x="1026" y="468"/>
                  </a:lnTo>
                  <a:lnTo>
                    <a:pt x="954" y="474"/>
                  </a:lnTo>
                  <a:lnTo>
                    <a:pt x="948" y="468"/>
                  </a:lnTo>
                  <a:lnTo>
                    <a:pt x="936" y="462"/>
                  </a:lnTo>
                  <a:lnTo>
                    <a:pt x="930" y="462"/>
                  </a:lnTo>
                  <a:lnTo>
                    <a:pt x="918" y="468"/>
                  </a:lnTo>
                  <a:lnTo>
                    <a:pt x="912" y="474"/>
                  </a:lnTo>
                  <a:lnTo>
                    <a:pt x="918" y="486"/>
                  </a:lnTo>
                  <a:lnTo>
                    <a:pt x="918" y="492"/>
                  </a:lnTo>
                  <a:lnTo>
                    <a:pt x="924" y="504"/>
                  </a:lnTo>
                  <a:lnTo>
                    <a:pt x="930" y="510"/>
                  </a:lnTo>
                  <a:lnTo>
                    <a:pt x="930" y="540"/>
                  </a:lnTo>
                  <a:lnTo>
                    <a:pt x="924" y="564"/>
                  </a:lnTo>
                  <a:lnTo>
                    <a:pt x="930" y="600"/>
                  </a:lnTo>
                  <a:lnTo>
                    <a:pt x="912" y="600"/>
                  </a:lnTo>
                  <a:lnTo>
                    <a:pt x="906" y="522"/>
                  </a:lnTo>
                  <a:lnTo>
                    <a:pt x="888" y="510"/>
                  </a:lnTo>
                  <a:lnTo>
                    <a:pt x="888" y="480"/>
                  </a:lnTo>
                  <a:lnTo>
                    <a:pt x="870" y="480"/>
                  </a:lnTo>
                  <a:lnTo>
                    <a:pt x="852" y="504"/>
                  </a:lnTo>
                  <a:lnTo>
                    <a:pt x="822" y="534"/>
                  </a:lnTo>
                  <a:lnTo>
                    <a:pt x="804" y="546"/>
                  </a:lnTo>
                  <a:lnTo>
                    <a:pt x="792" y="558"/>
                  </a:lnTo>
                  <a:lnTo>
                    <a:pt x="786" y="570"/>
                  </a:lnTo>
                  <a:lnTo>
                    <a:pt x="786" y="600"/>
                  </a:lnTo>
                  <a:lnTo>
                    <a:pt x="792" y="606"/>
                  </a:lnTo>
                  <a:lnTo>
                    <a:pt x="792" y="618"/>
                  </a:lnTo>
                  <a:lnTo>
                    <a:pt x="798" y="618"/>
                  </a:lnTo>
                  <a:lnTo>
                    <a:pt x="816" y="636"/>
                  </a:lnTo>
                  <a:lnTo>
                    <a:pt x="810" y="648"/>
                  </a:lnTo>
                  <a:lnTo>
                    <a:pt x="792" y="654"/>
                  </a:lnTo>
                  <a:lnTo>
                    <a:pt x="774" y="666"/>
                  </a:lnTo>
                  <a:lnTo>
                    <a:pt x="750" y="678"/>
                  </a:lnTo>
                  <a:lnTo>
                    <a:pt x="750" y="696"/>
                  </a:lnTo>
                  <a:lnTo>
                    <a:pt x="720" y="726"/>
                  </a:lnTo>
                  <a:lnTo>
                    <a:pt x="702" y="732"/>
                  </a:lnTo>
                  <a:lnTo>
                    <a:pt x="690" y="744"/>
                  </a:lnTo>
                  <a:lnTo>
                    <a:pt x="666" y="756"/>
                  </a:lnTo>
                  <a:lnTo>
                    <a:pt x="630" y="762"/>
                  </a:lnTo>
                  <a:lnTo>
                    <a:pt x="600" y="768"/>
                  </a:lnTo>
                  <a:lnTo>
                    <a:pt x="588" y="768"/>
                  </a:lnTo>
                  <a:lnTo>
                    <a:pt x="534" y="762"/>
                  </a:lnTo>
                  <a:lnTo>
                    <a:pt x="492" y="780"/>
                  </a:lnTo>
                  <a:lnTo>
                    <a:pt x="438" y="786"/>
                  </a:lnTo>
                  <a:lnTo>
                    <a:pt x="432" y="798"/>
                  </a:lnTo>
                  <a:lnTo>
                    <a:pt x="414" y="798"/>
                  </a:lnTo>
                  <a:lnTo>
                    <a:pt x="402" y="804"/>
                  </a:lnTo>
                  <a:lnTo>
                    <a:pt x="396" y="810"/>
                  </a:lnTo>
                  <a:lnTo>
                    <a:pt x="384" y="816"/>
                  </a:lnTo>
                  <a:lnTo>
                    <a:pt x="372" y="828"/>
                  </a:lnTo>
                  <a:lnTo>
                    <a:pt x="342" y="828"/>
                  </a:lnTo>
                  <a:lnTo>
                    <a:pt x="324" y="834"/>
                  </a:lnTo>
                  <a:lnTo>
                    <a:pt x="312" y="840"/>
                  </a:lnTo>
                  <a:lnTo>
                    <a:pt x="306" y="852"/>
                  </a:lnTo>
                  <a:lnTo>
                    <a:pt x="294" y="858"/>
                  </a:lnTo>
                  <a:lnTo>
                    <a:pt x="288" y="870"/>
                  </a:lnTo>
                  <a:lnTo>
                    <a:pt x="282" y="876"/>
                  </a:lnTo>
                  <a:lnTo>
                    <a:pt x="282" y="882"/>
                  </a:lnTo>
                  <a:lnTo>
                    <a:pt x="276" y="882"/>
                  </a:lnTo>
                  <a:lnTo>
                    <a:pt x="270" y="888"/>
                  </a:lnTo>
                  <a:lnTo>
                    <a:pt x="252" y="888"/>
                  </a:lnTo>
                  <a:lnTo>
                    <a:pt x="240" y="894"/>
                  </a:lnTo>
                  <a:lnTo>
                    <a:pt x="228" y="894"/>
                  </a:lnTo>
                  <a:lnTo>
                    <a:pt x="216" y="900"/>
                  </a:lnTo>
                  <a:lnTo>
                    <a:pt x="210" y="906"/>
                  </a:lnTo>
                  <a:lnTo>
                    <a:pt x="198" y="912"/>
                  </a:lnTo>
                  <a:lnTo>
                    <a:pt x="192" y="930"/>
                  </a:lnTo>
                  <a:lnTo>
                    <a:pt x="150" y="972"/>
                  </a:lnTo>
                  <a:lnTo>
                    <a:pt x="150" y="978"/>
                  </a:lnTo>
                  <a:lnTo>
                    <a:pt x="162" y="912"/>
                  </a:lnTo>
                  <a:lnTo>
                    <a:pt x="144" y="918"/>
                  </a:lnTo>
                  <a:lnTo>
                    <a:pt x="120" y="978"/>
                  </a:lnTo>
                  <a:lnTo>
                    <a:pt x="90" y="1038"/>
                  </a:lnTo>
                  <a:lnTo>
                    <a:pt x="90" y="1056"/>
                  </a:lnTo>
                  <a:lnTo>
                    <a:pt x="96" y="1062"/>
                  </a:lnTo>
                  <a:lnTo>
                    <a:pt x="108" y="1068"/>
                  </a:lnTo>
                  <a:lnTo>
                    <a:pt x="114" y="1068"/>
                  </a:lnTo>
                  <a:lnTo>
                    <a:pt x="108" y="1080"/>
                  </a:lnTo>
                  <a:lnTo>
                    <a:pt x="96" y="1086"/>
                  </a:lnTo>
                  <a:lnTo>
                    <a:pt x="90" y="1098"/>
                  </a:lnTo>
                  <a:lnTo>
                    <a:pt x="66" y="1122"/>
                  </a:lnTo>
                  <a:lnTo>
                    <a:pt x="66" y="1134"/>
                  </a:lnTo>
                  <a:lnTo>
                    <a:pt x="72" y="1152"/>
                  </a:lnTo>
                  <a:lnTo>
                    <a:pt x="72" y="1164"/>
                  </a:lnTo>
                  <a:lnTo>
                    <a:pt x="84" y="1188"/>
                  </a:lnTo>
                  <a:lnTo>
                    <a:pt x="84" y="1200"/>
                  </a:lnTo>
                  <a:lnTo>
                    <a:pt x="102" y="1236"/>
                  </a:lnTo>
                  <a:lnTo>
                    <a:pt x="108" y="1254"/>
                  </a:lnTo>
                  <a:lnTo>
                    <a:pt x="114" y="1266"/>
                  </a:lnTo>
                  <a:lnTo>
                    <a:pt x="114" y="1278"/>
                  </a:lnTo>
                  <a:lnTo>
                    <a:pt x="108" y="1278"/>
                  </a:lnTo>
                  <a:lnTo>
                    <a:pt x="96" y="1266"/>
                  </a:lnTo>
                  <a:lnTo>
                    <a:pt x="90" y="1254"/>
                  </a:lnTo>
                  <a:lnTo>
                    <a:pt x="72" y="1236"/>
                  </a:lnTo>
                  <a:lnTo>
                    <a:pt x="66" y="1224"/>
                  </a:lnTo>
                  <a:lnTo>
                    <a:pt x="48" y="1218"/>
                  </a:lnTo>
                  <a:lnTo>
                    <a:pt x="66" y="1266"/>
                  </a:lnTo>
                  <a:lnTo>
                    <a:pt x="30" y="1236"/>
                  </a:lnTo>
                  <a:lnTo>
                    <a:pt x="30" y="1290"/>
                  </a:lnTo>
                  <a:lnTo>
                    <a:pt x="60" y="1350"/>
                  </a:lnTo>
                  <a:lnTo>
                    <a:pt x="66" y="1356"/>
                  </a:lnTo>
                  <a:lnTo>
                    <a:pt x="66" y="1368"/>
                  </a:lnTo>
                  <a:lnTo>
                    <a:pt x="60" y="1374"/>
                  </a:lnTo>
                  <a:lnTo>
                    <a:pt x="54" y="1386"/>
                  </a:lnTo>
                  <a:lnTo>
                    <a:pt x="54" y="1398"/>
                  </a:lnTo>
                  <a:lnTo>
                    <a:pt x="48" y="1410"/>
                  </a:lnTo>
                  <a:lnTo>
                    <a:pt x="54" y="1416"/>
                  </a:lnTo>
                  <a:lnTo>
                    <a:pt x="60" y="1428"/>
                  </a:lnTo>
                  <a:lnTo>
                    <a:pt x="78" y="1446"/>
                  </a:lnTo>
                  <a:lnTo>
                    <a:pt x="84" y="1458"/>
                  </a:lnTo>
                  <a:lnTo>
                    <a:pt x="90" y="1464"/>
                  </a:lnTo>
                  <a:lnTo>
                    <a:pt x="96" y="1476"/>
                  </a:lnTo>
                  <a:lnTo>
                    <a:pt x="96" y="1506"/>
                  </a:lnTo>
                  <a:lnTo>
                    <a:pt x="90" y="1518"/>
                  </a:lnTo>
                  <a:lnTo>
                    <a:pt x="84" y="1524"/>
                  </a:lnTo>
                  <a:lnTo>
                    <a:pt x="90" y="1542"/>
                  </a:lnTo>
                  <a:lnTo>
                    <a:pt x="90" y="1554"/>
                  </a:lnTo>
                  <a:lnTo>
                    <a:pt x="96" y="1572"/>
                  </a:lnTo>
                  <a:lnTo>
                    <a:pt x="96" y="1590"/>
                  </a:lnTo>
                  <a:lnTo>
                    <a:pt x="102" y="1596"/>
                  </a:lnTo>
                  <a:lnTo>
                    <a:pt x="102" y="1602"/>
                  </a:lnTo>
                  <a:lnTo>
                    <a:pt x="96" y="1602"/>
                  </a:lnTo>
                  <a:lnTo>
                    <a:pt x="78" y="1620"/>
                  </a:lnTo>
                  <a:lnTo>
                    <a:pt x="84" y="1626"/>
                  </a:lnTo>
                  <a:lnTo>
                    <a:pt x="84" y="1638"/>
                  </a:lnTo>
                  <a:lnTo>
                    <a:pt x="90" y="1650"/>
                  </a:lnTo>
                  <a:lnTo>
                    <a:pt x="90" y="1662"/>
                  </a:lnTo>
                  <a:lnTo>
                    <a:pt x="96" y="1668"/>
                  </a:lnTo>
                  <a:lnTo>
                    <a:pt x="96" y="1674"/>
                  </a:lnTo>
                  <a:lnTo>
                    <a:pt x="102" y="1674"/>
                  </a:lnTo>
                  <a:lnTo>
                    <a:pt x="108" y="1680"/>
                  </a:lnTo>
                  <a:lnTo>
                    <a:pt x="126" y="1716"/>
                  </a:lnTo>
                  <a:lnTo>
                    <a:pt x="126" y="1728"/>
                  </a:lnTo>
                  <a:lnTo>
                    <a:pt x="108" y="1764"/>
                  </a:lnTo>
                  <a:lnTo>
                    <a:pt x="90" y="1782"/>
                  </a:lnTo>
                  <a:lnTo>
                    <a:pt x="90" y="1824"/>
                  </a:lnTo>
                  <a:lnTo>
                    <a:pt x="84" y="1842"/>
                  </a:lnTo>
                  <a:lnTo>
                    <a:pt x="60" y="1866"/>
                  </a:lnTo>
                  <a:lnTo>
                    <a:pt x="42" y="1866"/>
                  </a:lnTo>
                  <a:lnTo>
                    <a:pt x="30" y="1872"/>
                  </a:lnTo>
                  <a:lnTo>
                    <a:pt x="18" y="1866"/>
                  </a:lnTo>
                  <a:lnTo>
                    <a:pt x="6" y="1866"/>
                  </a:lnTo>
                  <a:lnTo>
                    <a:pt x="0" y="1920"/>
                  </a:lnTo>
                  <a:lnTo>
                    <a:pt x="12" y="1920"/>
                  </a:lnTo>
                  <a:lnTo>
                    <a:pt x="24" y="1926"/>
                  </a:lnTo>
                  <a:lnTo>
                    <a:pt x="42" y="1926"/>
                  </a:lnTo>
                  <a:lnTo>
                    <a:pt x="54" y="1932"/>
                  </a:lnTo>
                  <a:lnTo>
                    <a:pt x="72" y="1950"/>
                  </a:lnTo>
                  <a:lnTo>
                    <a:pt x="78" y="1962"/>
                  </a:lnTo>
                  <a:lnTo>
                    <a:pt x="108" y="1956"/>
                  </a:lnTo>
                  <a:lnTo>
                    <a:pt x="114" y="1968"/>
                  </a:lnTo>
                  <a:lnTo>
                    <a:pt x="138" y="1980"/>
                  </a:lnTo>
                  <a:lnTo>
                    <a:pt x="174" y="1980"/>
                  </a:lnTo>
                  <a:lnTo>
                    <a:pt x="210" y="1968"/>
                  </a:lnTo>
                  <a:lnTo>
                    <a:pt x="234" y="1968"/>
                  </a:lnTo>
                  <a:lnTo>
                    <a:pt x="234" y="1950"/>
                  </a:lnTo>
                  <a:lnTo>
                    <a:pt x="228" y="1944"/>
                  </a:lnTo>
                  <a:lnTo>
                    <a:pt x="264" y="1950"/>
                  </a:lnTo>
                  <a:lnTo>
                    <a:pt x="276" y="1932"/>
                  </a:lnTo>
                  <a:lnTo>
                    <a:pt x="318" y="1926"/>
                  </a:lnTo>
                  <a:lnTo>
                    <a:pt x="354" y="1890"/>
                  </a:lnTo>
                  <a:lnTo>
                    <a:pt x="366" y="1884"/>
                  </a:lnTo>
                  <a:lnTo>
                    <a:pt x="372" y="1884"/>
                  </a:lnTo>
                  <a:lnTo>
                    <a:pt x="420" y="1908"/>
                  </a:lnTo>
                  <a:lnTo>
                    <a:pt x="426" y="1902"/>
                  </a:lnTo>
                  <a:lnTo>
                    <a:pt x="474" y="1878"/>
                  </a:lnTo>
                  <a:lnTo>
                    <a:pt x="480" y="1872"/>
                  </a:lnTo>
                  <a:lnTo>
                    <a:pt x="486" y="1872"/>
                  </a:lnTo>
                  <a:lnTo>
                    <a:pt x="498" y="1878"/>
                  </a:lnTo>
                  <a:lnTo>
                    <a:pt x="504" y="1884"/>
                  </a:lnTo>
                  <a:lnTo>
                    <a:pt x="516" y="1884"/>
                  </a:lnTo>
                  <a:lnTo>
                    <a:pt x="528" y="1890"/>
                  </a:lnTo>
                  <a:lnTo>
                    <a:pt x="534" y="1890"/>
                  </a:lnTo>
                  <a:lnTo>
                    <a:pt x="552" y="1884"/>
                  </a:lnTo>
                  <a:lnTo>
                    <a:pt x="576" y="1872"/>
                  </a:lnTo>
                  <a:lnTo>
                    <a:pt x="582" y="1872"/>
                  </a:lnTo>
                  <a:lnTo>
                    <a:pt x="594" y="1878"/>
                  </a:lnTo>
                  <a:lnTo>
                    <a:pt x="606" y="1878"/>
                  </a:lnTo>
                  <a:lnTo>
                    <a:pt x="624" y="1884"/>
                  </a:lnTo>
                  <a:lnTo>
                    <a:pt x="636" y="1884"/>
                  </a:lnTo>
                  <a:lnTo>
                    <a:pt x="648" y="1878"/>
                  </a:lnTo>
                  <a:lnTo>
                    <a:pt x="654" y="1872"/>
                  </a:lnTo>
                  <a:lnTo>
                    <a:pt x="654" y="1848"/>
                  </a:lnTo>
                  <a:lnTo>
                    <a:pt x="666" y="1848"/>
                  </a:lnTo>
                  <a:lnTo>
                    <a:pt x="672" y="1842"/>
                  </a:lnTo>
                  <a:lnTo>
                    <a:pt x="678" y="1842"/>
                  </a:lnTo>
                  <a:lnTo>
                    <a:pt x="684" y="1836"/>
                  </a:lnTo>
                  <a:lnTo>
                    <a:pt x="690" y="1824"/>
                  </a:lnTo>
                  <a:lnTo>
                    <a:pt x="702" y="1788"/>
                  </a:lnTo>
                  <a:lnTo>
                    <a:pt x="714" y="1776"/>
                  </a:lnTo>
                  <a:lnTo>
                    <a:pt x="726" y="1770"/>
                  </a:lnTo>
                  <a:lnTo>
                    <a:pt x="744" y="1764"/>
                  </a:lnTo>
                  <a:lnTo>
                    <a:pt x="756" y="1764"/>
                  </a:lnTo>
                  <a:lnTo>
                    <a:pt x="774" y="1770"/>
                  </a:lnTo>
                  <a:lnTo>
                    <a:pt x="798" y="1770"/>
                  </a:lnTo>
                  <a:lnTo>
                    <a:pt x="822" y="1758"/>
                  </a:lnTo>
                  <a:lnTo>
                    <a:pt x="840" y="1752"/>
                  </a:lnTo>
                  <a:lnTo>
                    <a:pt x="858" y="1740"/>
                  </a:lnTo>
                  <a:lnTo>
                    <a:pt x="876" y="1734"/>
                  </a:lnTo>
                  <a:lnTo>
                    <a:pt x="912" y="1734"/>
                  </a:lnTo>
                  <a:lnTo>
                    <a:pt x="918" y="1740"/>
                  </a:lnTo>
                  <a:lnTo>
                    <a:pt x="930" y="1740"/>
                  </a:lnTo>
                  <a:lnTo>
                    <a:pt x="942" y="1746"/>
                  </a:lnTo>
                  <a:lnTo>
                    <a:pt x="972" y="1740"/>
                  </a:lnTo>
                  <a:lnTo>
                    <a:pt x="1044" y="1704"/>
                  </a:lnTo>
                  <a:lnTo>
                    <a:pt x="1074" y="1692"/>
                  </a:lnTo>
                  <a:lnTo>
                    <a:pt x="1098" y="1686"/>
                  </a:lnTo>
                  <a:lnTo>
                    <a:pt x="1140" y="1680"/>
                  </a:lnTo>
                  <a:lnTo>
                    <a:pt x="1176" y="1674"/>
                  </a:lnTo>
                  <a:lnTo>
                    <a:pt x="1224" y="1674"/>
                  </a:lnTo>
                  <a:lnTo>
                    <a:pt x="1236" y="1662"/>
                  </a:lnTo>
                  <a:lnTo>
                    <a:pt x="1254" y="1680"/>
                  </a:lnTo>
                  <a:lnTo>
                    <a:pt x="1266" y="1686"/>
                  </a:lnTo>
                  <a:lnTo>
                    <a:pt x="1278" y="1698"/>
                  </a:lnTo>
                  <a:lnTo>
                    <a:pt x="1302" y="1710"/>
                  </a:lnTo>
                  <a:lnTo>
                    <a:pt x="1320" y="1716"/>
                  </a:lnTo>
                  <a:lnTo>
                    <a:pt x="1332" y="1716"/>
                  </a:lnTo>
                  <a:lnTo>
                    <a:pt x="1338" y="1710"/>
                  </a:lnTo>
                  <a:lnTo>
                    <a:pt x="1338" y="1716"/>
                  </a:lnTo>
                  <a:lnTo>
                    <a:pt x="1344" y="1722"/>
                  </a:lnTo>
                  <a:lnTo>
                    <a:pt x="1350" y="1734"/>
                  </a:lnTo>
                  <a:lnTo>
                    <a:pt x="1356" y="1740"/>
                  </a:lnTo>
                  <a:lnTo>
                    <a:pt x="1374" y="1740"/>
                  </a:lnTo>
                  <a:lnTo>
                    <a:pt x="1380" y="1734"/>
                  </a:lnTo>
                  <a:lnTo>
                    <a:pt x="1380" y="1752"/>
                  </a:lnTo>
                  <a:lnTo>
                    <a:pt x="1392" y="1752"/>
                  </a:lnTo>
                  <a:lnTo>
                    <a:pt x="1398" y="1758"/>
                  </a:lnTo>
                  <a:lnTo>
                    <a:pt x="1398" y="1770"/>
                  </a:lnTo>
                  <a:lnTo>
                    <a:pt x="1386" y="1794"/>
                  </a:lnTo>
                  <a:lnTo>
                    <a:pt x="1380" y="1800"/>
                  </a:lnTo>
                  <a:lnTo>
                    <a:pt x="1374" y="1812"/>
                  </a:lnTo>
                  <a:lnTo>
                    <a:pt x="1392" y="1842"/>
                  </a:lnTo>
                  <a:lnTo>
                    <a:pt x="1410" y="1830"/>
                  </a:lnTo>
                  <a:lnTo>
                    <a:pt x="1428" y="1866"/>
                  </a:lnTo>
                  <a:lnTo>
                    <a:pt x="1428" y="1872"/>
                  </a:lnTo>
                  <a:lnTo>
                    <a:pt x="1434" y="1878"/>
                  </a:lnTo>
                  <a:lnTo>
                    <a:pt x="1434" y="1902"/>
                  </a:lnTo>
                  <a:lnTo>
                    <a:pt x="1440" y="1914"/>
                  </a:lnTo>
                  <a:lnTo>
                    <a:pt x="1440" y="1926"/>
                  </a:lnTo>
                  <a:lnTo>
                    <a:pt x="1422" y="1926"/>
                  </a:lnTo>
                  <a:lnTo>
                    <a:pt x="1410" y="1920"/>
                  </a:lnTo>
                  <a:lnTo>
                    <a:pt x="1404" y="1920"/>
                  </a:lnTo>
                  <a:lnTo>
                    <a:pt x="1410" y="1956"/>
                  </a:lnTo>
                  <a:lnTo>
                    <a:pt x="1446" y="1956"/>
                  </a:lnTo>
                  <a:lnTo>
                    <a:pt x="1452" y="1962"/>
                  </a:lnTo>
                  <a:lnTo>
                    <a:pt x="1452" y="1968"/>
                  </a:lnTo>
                  <a:lnTo>
                    <a:pt x="1470" y="1968"/>
                  </a:lnTo>
                  <a:lnTo>
                    <a:pt x="1470" y="1956"/>
                  </a:lnTo>
                  <a:lnTo>
                    <a:pt x="1464" y="1938"/>
                  </a:lnTo>
                  <a:lnTo>
                    <a:pt x="1464" y="1926"/>
                  </a:lnTo>
                  <a:lnTo>
                    <a:pt x="1470" y="1914"/>
                  </a:lnTo>
                  <a:lnTo>
                    <a:pt x="1476" y="1908"/>
                  </a:lnTo>
                  <a:lnTo>
                    <a:pt x="1500" y="1896"/>
                  </a:lnTo>
                  <a:lnTo>
                    <a:pt x="1512" y="1896"/>
                  </a:lnTo>
                  <a:lnTo>
                    <a:pt x="1518" y="1890"/>
                  </a:lnTo>
                  <a:lnTo>
                    <a:pt x="1530" y="1884"/>
                  </a:lnTo>
                  <a:lnTo>
                    <a:pt x="1542" y="1872"/>
                  </a:lnTo>
                  <a:lnTo>
                    <a:pt x="1548" y="1860"/>
                  </a:lnTo>
                  <a:lnTo>
                    <a:pt x="1566" y="1842"/>
                  </a:lnTo>
                  <a:lnTo>
                    <a:pt x="1566" y="1836"/>
                  </a:lnTo>
                  <a:lnTo>
                    <a:pt x="1590" y="1842"/>
                  </a:lnTo>
                  <a:lnTo>
                    <a:pt x="1608" y="1788"/>
                  </a:lnTo>
                  <a:lnTo>
                    <a:pt x="1638" y="1788"/>
                  </a:lnTo>
                  <a:lnTo>
                    <a:pt x="1650" y="1782"/>
                  </a:lnTo>
                  <a:lnTo>
                    <a:pt x="1662" y="1770"/>
                  </a:lnTo>
                  <a:lnTo>
                    <a:pt x="1668" y="1752"/>
                  </a:lnTo>
                  <a:lnTo>
                    <a:pt x="1668" y="1740"/>
                  </a:lnTo>
                  <a:lnTo>
                    <a:pt x="1668" y="1746"/>
                  </a:lnTo>
                  <a:lnTo>
                    <a:pt x="1674" y="1752"/>
                  </a:lnTo>
                  <a:lnTo>
                    <a:pt x="1674" y="1764"/>
                  </a:lnTo>
                  <a:lnTo>
                    <a:pt x="1680" y="1776"/>
                  </a:lnTo>
                  <a:lnTo>
                    <a:pt x="1680" y="1782"/>
                  </a:lnTo>
                  <a:lnTo>
                    <a:pt x="1668" y="1794"/>
                  </a:lnTo>
                  <a:lnTo>
                    <a:pt x="1662" y="1806"/>
                  </a:lnTo>
                  <a:lnTo>
                    <a:pt x="1650" y="1812"/>
                  </a:lnTo>
                  <a:lnTo>
                    <a:pt x="1644" y="1818"/>
                  </a:lnTo>
                  <a:lnTo>
                    <a:pt x="1620" y="1818"/>
                  </a:lnTo>
                  <a:lnTo>
                    <a:pt x="1614" y="1830"/>
                  </a:lnTo>
                  <a:lnTo>
                    <a:pt x="1632" y="1866"/>
                  </a:lnTo>
                  <a:lnTo>
                    <a:pt x="1620" y="1866"/>
                  </a:lnTo>
                  <a:lnTo>
                    <a:pt x="1614" y="1872"/>
                  </a:lnTo>
                  <a:lnTo>
                    <a:pt x="1602" y="1878"/>
                  </a:lnTo>
                  <a:lnTo>
                    <a:pt x="1566" y="1914"/>
                  </a:lnTo>
                  <a:lnTo>
                    <a:pt x="1566" y="1926"/>
                  </a:lnTo>
                  <a:lnTo>
                    <a:pt x="1560" y="1932"/>
                  </a:lnTo>
                  <a:lnTo>
                    <a:pt x="1554" y="1944"/>
                  </a:lnTo>
                  <a:lnTo>
                    <a:pt x="1542" y="1956"/>
                  </a:lnTo>
                  <a:lnTo>
                    <a:pt x="1518" y="1968"/>
                  </a:lnTo>
                  <a:lnTo>
                    <a:pt x="1512" y="1974"/>
                  </a:lnTo>
                  <a:lnTo>
                    <a:pt x="1512" y="1980"/>
                  </a:lnTo>
                  <a:lnTo>
                    <a:pt x="1518" y="1986"/>
                  </a:lnTo>
                  <a:lnTo>
                    <a:pt x="1548" y="1986"/>
                  </a:lnTo>
                  <a:lnTo>
                    <a:pt x="1560" y="1980"/>
                  </a:lnTo>
                  <a:lnTo>
                    <a:pt x="1572" y="1980"/>
                  </a:lnTo>
                  <a:lnTo>
                    <a:pt x="1584" y="1968"/>
                  </a:lnTo>
                  <a:lnTo>
                    <a:pt x="1602" y="1932"/>
                  </a:lnTo>
                  <a:lnTo>
                    <a:pt x="1608" y="1926"/>
                  </a:lnTo>
                  <a:lnTo>
                    <a:pt x="1614" y="1914"/>
                  </a:lnTo>
                  <a:lnTo>
                    <a:pt x="1626" y="1908"/>
                  </a:lnTo>
                  <a:lnTo>
                    <a:pt x="1632" y="1902"/>
                  </a:lnTo>
                  <a:lnTo>
                    <a:pt x="1632" y="1920"/>
                  </a:lnTo>
                  <a:lnTo>
                    <a:pt x="1638" y="1932"/>
                  </a:lnTo>
                  <a:lnTo>
                    <a:pt x="1638" y="1956"/>
                  </a:lnTo>
                  <a:lnTo>
                    <a:pt x="1626" y="1968"/>
                  </a:lnTo>
                  <a:lnTo>
                    <a:pt x="1614" y="1974"/>
                  </a:lnTo>
                  <a:lnTo>
                    <a:pt x="1602" y="1986"/>
                  </a:lnTo>
                  <a:lnTo>
                    <a:pt x="1602" y="2004"/>
                  </a:lnTo>
                  <a:lnTo>
                    <a:pt x="1608" y="2010"/>
                  </a:lnTo>
                  <a:lnTo>
                    <a:pt x="1614" y="2010"/>
                  </a:lnTo>
                  <a:lnTo>
                    <a:pt x="1632" y="2016"/>
                  </a:lnTo>
                  <a:lnTo>
                    <a:pt x="1662" y="2016"/>
                  </a:lnTo>
                  <a:lnTo>
                    <a:pt x="1668" y="2028"/>
                  </a:lnTo>
                  <a:lnTo>
                    <a:pt x="1644" y="2052"/>
                  </a:lnTo>
                  <a:lnTo>
                    <a:pt x="1644" y="2058"/>
                  </a:lnTo>
                  <a:lnTo>
                    <a:pt x="1650" y="2064"/>
                  </a:lnTo>
                  <a:lnTo>
                    <a:pt x="1668" y="2100"/>
                  </a:lnTo>
                  <a:lnTo>
                    <a:pt x="1674" y="2106"/>
                  </a:lnTo>
                  <a:lnTo>
                    <a:pt x="1674" y="2118"/>
                  </a:lnTo>
                  <a:lnTo>
                    <a:pt x="1626" y="2166"/>
                  </a:lnTo>
                  <a:lnTo>
                    <a:pt x="1626" y="2178"/>
                  </a:lnTo>
                  <a:lnTo>
                    <a:pt x="1638" y="2190"/>
                  </a:lnTo>
                  <a:lnTo>
                    <a:pt x="1644" y="2202"/>
                  </a:lnTo>
                  <a:lnTo>
                    <a:pt x="1668" y="2214"/>
                  </a:lnTo>
                  <a:lnTo>
                    <a:pt x="1680" y="2226"/>
                  </a:lnTo>
                  <a:lnTo>
                    <a:pt x="1692" y="2232"/>
                  </a:lnTo>
                  <a:lnTo>
                    <a:pt x="1716" y="2256"/>
                  </a:lnTo>
                  <a:lnTo>
                    <a:pt x="1728" y="2262"/>
                  </a:lnTo>
                  <a:lnTo>
                    <a:pt x="1800" y="2262"/>
                  </a:lnTo>
                  <a:lnTo>
                    <a:pt x="1824" y="2286"/>
                  </a:lnTo>
                  <a:lnTo>
                    <a:pt x="1842" y="2292"/>
                  </a:lnTo>
                  <a:lnTo>
                    <a:pt x="1872" y="2286"/>
                  </a:lnTo>
                  <a:lnTo>
                    <a:pt x="1902" y="2274"/>
                  </a:lnTo>
                  <a:lnTo>
                    <a:pt x="1932" y="2256"/>
                  </a:lnTo>
                  <a:lnTo>
                    <a:pt x="1944" y="2250"/>
                  </a:lnTo>
                  <a:lnTo>
                    <a:pt x="1944" y="2226"/>
                  </a:lnTo>
                  <a:lnTo>
                    <a:pt x="1956" y="2214"/>
                  </a:lnTo>
                  <a:lnTo>
                    <a:pt x="1962" y="2214"/>
                  </a:lnTo>
                  <a:lnTo>
                    <a:pt x="1974" y="2226"/>
                  </a:lnTo>
                  <a:lnTo>
                    <a:pt x="1974" y="2256"/>
                  </a:lnTo>
                  <a:lnTo>
                    <a:pt x="1992" y="2256"/>
                  </a:lnTo>
                  <a:lnTo>
                    <a:pt x="1980" y="2280"/>
                  </a:lnTo>
                  <a:lnTo>
                    <a:pt x="1998" y="2280"/>
                  </a:lnTo>
                  <a:lnTo>
                    <a:pt x="1998" y="2292"/>
                  </a:lnTo>
                  <a:lnTo>
                    <a:pt x="2004" y="2298"/>
                  </a:lnTo>
                  <a:lnTo>
                    <a:pt x="2010" y="2310"/>
                  </a:lnTo>
                  <a:lnTo>
                    <a:pt x="2016" y="2316"/>
                  </a:lnTo>
                  <a:lnTo>
                    <a:pt x="2028" y="2316"/>
                  </a:lnTo>
                  <a:lnTo>
                    <a:pt x="2040" y="2304"/>
                  </a:lnTo>
                  <a:lnTo>
                    <a:pt x="2046" y="2304"/>
                  </a:lnTo>
                  <a:lnTo>
                    <a:pt x="2052" y="2298"/>
                  </a:lnTo>
                  <a:lnTo>
                    <a:pt x="2070" y="2292"/>
                  </a:lnTo>
                  <a:lnTo>
                    <a:pt x="2082" y="2286"/>
                  </a:lnTo>
                  <a:lnTo>
                    <a:pt x="2088" y="2280"/>
                  </a:lnTo>
                  <a:lnTo>
                    <a:pt x="2100" y="2274"/>
                  </a:lnTo>
                  <a:lnTo>
                    <a:pt x="2124" y="2250"/>
                  </a:lnTo>
                  <a:lnTo>
                    <a:pt x="2136" y="2244"/>
                  </a:lnTo>
                  <a:lnTo>
                    <a:pt x="2148" y="2232"/>
                  </a:lnTo>
                  <a:lnTo>
                    <a:pt x="2160" y="2226"/>
                  </a:lnTo>
                  <a:lnTo>
                    <a:pt x="2154" y="2214"/>
                  </a:lnTo>
                  <a:lnTo>
                    <a:pt x="2190" y="2202"/>
                  </a:lnTo>
                  <a:lnTo>
                    <a:pt x="2202" y="2214"/>
                  </a:lnTo>
                  <a:lnTo>
                    <a:pt x="2220" y="2214"/>
                  </a:lnTo>
                  <a:lnTo>
                    <a:pt x="2256" y="2208"/>
                  </a:lnTo>
                  <a:lnTo>
                    <a:pt x="2298" y="2196"/>
                  </a:lnTo>
                  <a:lnTo>
                    <a:pt x="2316" y="2178"/>
                  </a:lnTo>
                  <a:lnTo>
                    <a:pt x="2328" y="2148"/>
                  </a:lnTo>
                  <a:lnTo>
                    <a:pt x="2334" y="2118"/>
                  </a:lnTo>
                  <a:lnTo>
                    <a:pt x="2340" y="2100"/>
                  </a:lnTo>
                  <a:lnTo>
                    <a:pt x="2346" y="2088"/>
                  </a:lnTo>
                  <a:lnTo>
                    <a:pt x="2376" y="2058"/>
                  </a:lnTo>
                  <a:lnTo>
                    <a:pt x="2382" y="2058"/>
                  </a:lnTo>
                  <a:lnTo>
                    <a:pt x="2382" y="2034"/>
                  </a:lnTo>
                  <a:lnTo>
                    <a:pt x="2388" y="2034"/>
                  </a:lnTo>
                  <a:lnTo>
                    <a:pt x="2394" y="2028"/>
                  </a:lnTo>
                  <a:lnTo>
                    <a:pt x="2406" y="2022"/>
                  </a:lnTo>
                  <a:lnTo>
                    <a:pt x="2418" y="2010"/>
                  </a:lnTo>
                  <a:lnTo>
                    <a:pt x="2424" y="1998"/>
                  </a:lnTo>
                  <a:lnTo>
                    <a:pt x="2442" y="1980"/>
                  </a:lnTo>
                  <a:lnTo>
                    <a:pt x="2442" y="1956"/>
                  </a:lnTo>
                  <a:lnTo>
                    <a:pt x="2448" y="1944"/>
                  </a:lnTo>
                  <a:lnTo>
                    <a:pt x="2454" y="1926"/>
                  </a:lnTo>
                  <a:lnTo>
                    <a:pt x="2460" y="1914"/>
                  </a:lnTo>
                  <a:lnTo>
                    <a:pt x="2490" y="1884"/>
                  </a:lnTo>
                  <a:lnTo>
                    <a:pt x="2502" y="1866"/>
                  </a:lnTo>
                  <a:lnTo>
                    <a:pt x="2526" y="1842"/>
                  </a:lnTo>
                  <a:lnTo>
                    <a:pt x="2538" y="1836"/>
                  </a:lnTo>
                  <a:lnTo>
                    <a:pt x="2550" y="1824"/>
                  </a:lnTo>
                  <a:lnTo>
                    <a:pt x="2556" y="1812"/>
                  </a:lnTo>
                  <a:lnTo>
                    <a:pt x="2556" y="1800"/>
                  </a:lnTo>
                  <a:lnTo>
                    <a:pt x="2562" y="1788"/>
                  </a:lnTo>
                  <a:lnTo>
                    <a:pt x="2562" y="1782"/>
                  </a:lnTo>
                  <a:lnTo>
                    <a:pt x="2586" y="1782"/>
                  </a:lnTo>
                  <a:lnTo>
                    <a:pt x="2610" y="1770"/>
                  </a:lnTo>
                  <a:lnTo>
                    <a:pt x="2622" y="1752"/>
                  </a:lnTo>
                  <a:lnTo>
                    <a:pt x="2646" y="1728"/>
                  </a:lnTo>
                  <a:lnTo>
                    <a:pt x="2670" y="1698"/>
                  </a:lnTo>
                  <a:lnTo>
                    <a:pt x="2688" y="1674"/>
                  </a:lnTo>
                  <a:lnTo>
                    <a:pt x="2700" y="1662"/>
                  </a:lnTo>
                  <a:lnTo>
                    <a:pt x="2700" y="1656"/>
                  </a:lnTo>
                  <a:lnTo>
                    <a:pt x="2706" y="1638"/>
                  </a:lnTo>
                  <a:lnTo>
                    <a:pt x="2706" y="1614"/>
                  </a:lnTo>
                  <a:lnTo>
                    <a:pt x="2712" y="1596"/>
                  </a:lnTo>
                  <a:lnTo>
                    <a:pt x="2718" y="1590"/>
                  </a:lnTo>
                  <a:lnTo>
                    <a:pt x="2730" y="1572"/>
                  </a:lnTo>
                  <a:lnTo>
                    <a:pt x="2754" y="1542"/>
                  </a:lnTo>
                  <a:lnTo>
                    <a:pt x="2772" y="1494"/>
                  </a:lnTo>
                  <a:lnTo>
                    <a:pt x="2796" y="1458"/>
                  </a:lnTo>
                  <a:lnTo>
                    <a:pt x="2808" y="1428"/>
                  </a:lnTo>
                  <a:lnTo>
                    <a:pt x="2814" y="1416"/>
                  </a:lnTo>
                  <a:lnTo>
                    <a:pt x="2814" y="1386"/>
                  </a:lnTo>
                  <a:lnTo>
                    <a:pt x="2802" y="1362"/>
                  </a:lnTo>
                  <a:lnTo>
                    <a:pt x="2820" y="1308"/>
                  </a:lnTo>
                  <a:lnTo>
                    <a:pt x="2832" y="1290"/>
                  </a:lnTo>
                  <a:lnTo>
                    <a:pt x="2838" y="1266"/>
                  </a:lnTo>
                  <a:lnTo>
                    <a:pt x="2838" y="1224"/>
                  </a:lnTo>
                  <a:lnTo>
                    <a:pt x="2832" y="1194"/>
                  </a:lnTo>
                  <a:lnTo>
                    <a:pt x="2832" y="1176"/>
                  </a:lnTo>
                  <a:lnTo>
                    <a:pt x="2802" y="1164"/>
                  </a:lnTo>
                  <a:close/>
                  <a:moveTo>
                    <a:pt x="2016" y="2436"/>
                  </a:moveTo>
                  <a:lnTo>
                    <a:pt x="2022" y="2442"/>
                  </a:lnTo>
                  <a:lnTo>
                    <a:pt x="2028" y="2442"/>
                  </a:lnTo>
                  <a:lnTo>
                    <a:pt x="2040" y="2436"/>
                  </a:lnTo>
                  <a:lnTo>
                    <a:pt x="2046" y="2430"/>
                  </a:lnTo>
                  <a:lnTo>
                    <a:pt x="2034" y="2418"/>
                  </a:lnTo>
                  <a:lnTo>
                    <a:pt x="2016" y="2436"/>
                  </a:lnTo>
                  <a:close/>
                  <a:moveTo>
                    <a:pt x="1992" y="2454"/>
                  </a:moveTo>
                  <a:lnTo>
                    <a:pt x="1974" y="2454"/>
                  </a:lnTo>
                  <a:lnTo>
                    <a:pt x="1962" y="2466"/>
                  </a:lnTo>
                  <a:lnTo>
                    <a:pt x="1962" y="2472"/>
                  </a:lnTo>
                  <a:lnTo>
                    <a:pt x="1962" y="2460"/>
                  </a:lnTo>
                  <a:lnTo>
                    <a:pt x="1938" y="2460"/>
                  </a:lnTo>
                  <a:lnTo>
                    <a:pt x="1926" y="2466"/>
                  </a:lnTo>
                  <a:lnTo>
                    <a:pt x="1914" y="2466"/>
                  </a:lnTo>
                  <a:lnTo>
                    <a:pt x="1908" y="2478"/>
                  </a:lnTo>
                  <a:lnTo>
                    <a:pt x="1890" y="2460"/>
                  </a:lnTo>
                  <a:lnTo>
                    <a:pt x="1854" y="2460"/>
                  </a:lnTo>
                  <a:lnTo>
                    <a:pt x="1830" y="2430"/>
                  </a:lnTo>
                  <a:lnTo>
                    <a:pt x="1824" y="2436"/>
                  </a:lnTo>
                  <a:lnTo>
                    <a:pt x="1818" y="2436"/>
                  </a:lnTo>
                  <a:lnTo>
                    <a:pt x="1812" y="2442"/>
                  </a:lnTo>
                  <a:lnTo>
                    <a:pt x="1806" y="2442"/>
                  </a:lnTo>
                  <a:lnTo>
                    <a:pt x="1776" y="2412"/>
                  </a:lnTo>
                  <a:lnTo>
                    <a:pt x="1776" y="2424"/>
                  </a:lnTo>
                  <a:lnTo>
                    <a:pt x="1782" y="2448"/>
                  </a:lnTo>
                  <a:lnTo>
                    <a:pt x="1782" y="2472"/>
                  </a:lnTo>
                  <a:lnTo>
                    <a:pt x="1776" y="2478"/>
                  </a:lnTo>
                  <a:lnTo>
                    <a:pt x="1776" y="2484"/>
                  </a:lnTo>
                  <a:lnTo>
                    <a:pt x="1770" y="2490"/>
                  </a:lnTo>
                  <a:lnTo>
                    <a:pt x="1770" y="2502"/>
                  </a:lnTo>
                  <a:lnTo>
                    <a:pt x="1776" y="2514"/>
                  </a:lnTo>
                  <a:lnTo>
                    <a:pt x="1776" y="2532"/>
                  </a:lnTo>
                  <a:lnTo>
                    <a:pt x="1764" y="2538"/>
                  </a:lnTo>
                  <a:lnTo>
                    <a:pt x="1758" y="2544"/>
                  </a:lnTo>
                  <a:lnTo>
                    <a:pt x="1752" y="2544"/>
                  </a:lnTo>
                  <a:lnTo>
                    <a:pt x="1740" y="2532"/>
                  </a:lnTo>
                  <a:lnTo>
                    <a:pt x="1740" y="2538"/>
                  </a:lnTo>
                  <a:lnTo>
                    <a:pt x="1734" y="2544"/>
                  </a:lnTo>
                  <a:lnTo>
                    <a:pt x="1734" y="2556"/>
                  </a:lnTo>
                  <a:lnTo>
                    <a:pt x="1728" y="2574"/>
                  </a:lnTo>
                  <a:lnTo>
                    <a:pt x="1728" y="2586"/>
                  </a:lnTo>
                  <a:lnTo>
                    <a:pt x="1740" y="2610"/>
                  </a:lnTo>
                  <a:lnTo>
                    <a:pt x="1740" y="2616"/>
                  </a:lnTo>
                  <a:lnTo>
                    <a:pt x="1746" y="2628"/>
                  </a:lnTo>
                  <a:lnTo>
                    <a:pt x="1770" y="2628"/>
                  </a:lnTo>
                  <a:lnTo>
                    <a:pt x="1752" y="2640"/>
                  </a:lnTo>
                  <a:lnTo>
                    <a:pt x="1758" y="2664"/>
                  </a:lnTo>
                  <a:lnTo>
                    <a:pt x="1770" y="2658"/>
                  </a:lnTo>
                  <a:lnTo>
                    <a:pt x="1776" y="2658"/>
                  </a:lnTo>
                  <a:lnTo>
                    <a:pt x="1782" y="2652"/>
                  </a:lnTo>
                  <a:lnTo>
                    <a:pt x="1794" y="2652"/>
                  </a:lnTo>
                  <a:lnTo>
                    <a:pt x="1800" y="2658"/>
                  </a:lnTo>
                  <a:lnTo>
                    <a:pt x="1818" y="2658"/>
                  </a:lnTo>
                  <a:lnTo>
                    <a:pt x="1830" y="2652"/>
                  </a:lnTo>
                  <a:lnTo>
                    <a:pt x="1836" y="2646"/>
                  </a:lnTo>
                  <a:lnTo>
                    <a:pt x="1842" y="2634"/>
                  </a:lnTo>
                  <a:lnTo>
                    <a:pt x="1854" y="2634"/>
                  </a:lnTo>
                  <a:lnTo>
                    <a:pt x="1860" y="2640"/>
                  </a:lnTo>
                  <a:lnTo>
                    <a:pt x="1860" y="2646"/>
                  </a:lnTo>
                  <a:lnTo>
                    <a:pt x="1848" y="2658"/>
                  </a:lnTo>
                  <a:lnTo>
                    <a:pt x="1866" y="2664"/>
                  </a:lnTo>
                  <a:lnTo>
                    <a:pt x="1884" y="2646"/>
                  </a:lnTo>
                  <a:lnTo>
                    <a:pt x="1890" y="2634"/>
                  </a:lnTo>
                  <a:lnTo>
                    <a:pt x="1902" y="2628"/>
                  </a:lnTo>
                  <a:lnTo>
                    <a:pt x="1908" y="2616"/>
                  </a:lnTo>
                  <a:lnTo>
                    <a:pt x="1920" y="2604"/>
                  </a:lnTo>
                  <a:lnTo>
                    <a:pt x="1914" y="2604"/>
                  </a:lnTo>
                  <a:lnTo>
                    <a:pt x="1902" y="2592"/>
                  </a:lnTo>
                  <a:lnTo>
                    <a:pt x="1920" y="2562"/>
                  </a:lnTo>
                  <a:lnTo>
                    <a:pt x="1950" y="2562"/>
                  </a:lnTo>
                  <a:lnTo>
                    <a:pt x="1962" y="2538"/>
                  </a:lnTo>
                  <a:lnTo>
                    <a:pt x="1962" y="2514"/>
                  </a:lnTo>
                  <a:lnTo>
                    <a:pt x="1968" y="2502"/>
                  </a:lnTo>
                  <a:lnTo>
                    <a:pt x="1980" y="2496"/>
                  </a:lnTo>
                  <a:lnTo>
                    <a:pt x="1986" y="2484"/>
                  </a:lnTo>
                  <a:lnTo>
                    <a:pt x="1992" y="2478"/>
                  </a:lnTo>
                  <a:lnTo>
                    <a:pt x="1998" y="2466"/>
                  </a:lnTo>
                  <a:lnTo>
                    <a:pt x="1998" y="2460"/>
                  </a:lnTo>
                  <a:lnTo>
                    <a:pt x="1992" y="2454"/>
                  </a:lnTo>
                  <a:close/>
                  <a:moveTo>
                    <a:pt x="1902" y="246"/>
                  </a:moveTo>
                  <a:lnTo>
                    <a:pt x="1890" y="258"/>
                  </a:lnTo>
                  <a:lnTo>
                    <a:pt x="1890" y="270"/>
                  </a:lnTo>
                  <a:lnTo>
                    <a:pt x="1884" y="282"/>
                  </a:lnTo>
                  <a:lnTo>
                    <a:pt x="1884" y="294"/>
                  </a:lnTo>
                  <a:lnTo>
                    <a:pt x="1896" y="300"/>
                  </a:lnTo>
                  <a:lnTo>
                    <a:pt x="1920" y="300"/>
                  </a:lnTo>
                  <a:lnTo>
                    <a:pt x="1926" y="294"/>
                  </a:lnTo>
                  <a:lnTo>
                    <a:pt x="1932" y="294"/>
                  </a:lnTo>
                  <a:lnTo>
                    <a:pt x="1926" y="282"/>
                  </a:lnTo>
                  <a:lnTo>
                    <a:pt x="1932" y="252"/>
                  </a:lnTo>
                  <a:lnTo>
                    <a:pt x="1920" y="252"/>
                  </a:lnTo>
                  <a:lnTo>
                    <a:pt x="1908" y="246"/>
                  </a:lnTo>
                  <a:lnTo>
                    <a:pt x="1902" y="246"/>
                  </a:lnTo>
                  <a:close/>
                  <a:moveTo>
                    <a:pt x="1770" y="2334"/>
                  </a:moveTo>
                  <a:lnTo>
                    <a:pt x="1758" y="2376"/>
                  </a:lnTo>
                  <a:lnTo>
                    <a:pt x="1812" y="2328"/>
                  </a:lnTo>
                  <a:lnTo>
                    <a:pt x="1770" y="2334"/>
                  </a:lnTo>
                  <a:close/>
                  <a:moveTo>
                    <a:pt x="2034" y="2400"/>
                  </a:moveTo>
                  <a:lnTo>
                    <a:pt x="2016" y="2358"/>
                  </a:lnTo>
                  <a:lnTo>
                    <a:pt x="1998" y="2376"/>
                  </a:lnTo>
                  <a:lnTo>
                    <a:pt x="1998" y="2394"/>
                  </a:lnTo>
                  <a:lnTo>
                    <a:pt x="2010" y="2406"/>
                  </a:lnTo>
                  <a:lnTo>
                    <a:pt x="2028" y="2406"/>
                  </a:lnTo>
                  <a:lnTo>
                    <a:pt x="2034" y="2400"/>
                  </a:lnTo>
                  <a:close/>
                </a:path>
              </a:pathLst>
            </a:custGeom>
            <a:solidFill>
              <a:srgbClr val="7030A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241" name="Armenia" descr="© INSCALE GmbH, 05.05.2010&#10;http://www.presentationload.com/">
              <a:extLst>
                <a:ext uri="{FF2B5EF4-FFF2-40B4-BE49-F238E27FC236}">
                  <a16:creationId xmlns:a16="http://schemas.microsoft.com/office/drawing/2014/main" id="{2EA5DA63-8C20-E4DF-67FF-F24E9DAB3300}"/>
                </a:ext>
              </a:extLst>
            </p:cNvPr>
            <p:cNvSpPr>
              <a:spLocks/>
            </p:cNvSpPr>
            <p:nvPr/>
          </p:nvSpPr>
          <p:spPr bwMode="gray">
            <a:xfrm>
              <a:off x="5332348" y="1955492"/>
              <a:ext cx="84496" cy="80048"/>
            </a:xfrm>
            <a:custGeom>
              <a:avLst/>
              <a:gdLst>
                <a:gd name="T0" fmla="*/ 2147483647 w 222"/>
                <a:gd name="T1" fmla="*/ 2147483647 h 210"/>
                <a:gd name="T2" fmla="*/ 2147483647 w 222"/>
                <a:gd name="T3" fmla="*/ 2147483647 h 210"/>
                <a:gd name="T4" fmla="*/ 2147483647 w 222"/>
                <a:gd name="T5" fmla="*/ 2147483647 h 210"/>
                <a:gd name="T6" fmla="*/ 2147483647 w 222"/>
                <a:gd name="T7" fmla="*/ 2147483647 h 210"/>
                <a:gd name="T8" fmla="*/ 2147483647 w 222"/>
                <a:gd name="T9" fmla="*/ 2147483647 h 210"/>
                <a:gd name="T10" fmla="*/ 2147483647 w 222"/>
                <a:gd name="T11" fmla="*/ 2147483647 h 210"/>
                <a:gd name="T12" fmla="*/ 2147483647 w 222"/>
                <a:gd name="T13" fmla="*/ 2147483647 h 210"/>
                <a:gd name="T14" fmla="*/ 2147483647 w 222"/>
                <a:gd name="T15" fmla="*/ 2147483647 h 210"/>
                <a:gd name="T16" fmla="*/ 2147483647 w 222"/>
                <a:gd name="T17" fmla="*/ 2147483647 h 210"/>
                <a:gd name="T18" fmla="*/ 2147483647 w 222"/>
                <a:gd name="T19" fmla="*/ 2147483647 h 210"/>
                <a:gd name="T20" fmla="*/ 2147483647 w 222"/>
                <a:gd name="T21" fmla="*/ 2147483647 h 210"/>
                <a:gd name="T22" fmla="*/ 2147483647 w 222"/>
                <a:gd name="T23" fmla="*/ 2147483647 h 210"/>
                <a:gd name="T24" fmla="*/ 2147483647 w 222"/>
                <a:gd name="T25" fmla="*/ 2147483647 h 210"/>
                <a:gd name="T26" fmla="*/ 2147483647 w 222"/>
                <a:gd name="T27" fmla="*/ 2147483647 h 210"/>
                <a:gd name="T28" fmla="*/ 2147483647 w 222"/>
                <a:gd name="T29" fmla="*/ 2147483647 h 210"/>
                <a:gd name="T30" fmla="*/ 2147483647 w 222"/>
                <a:gd name="T31" fmla="*/ 2147483647 h 210"/>
                <a:gd name="T32" fmla="*/ 2147483647 w 222"/>
                <a:gd name="T33" fmla="*/ 2147483647 h 210"/>
                <a:gd name="T34" fmla="*/ 2147483647 w 222"/>
                <a:gd name="T35" fmla="*/ 2147483647 h 210"/>
                <a:gd name="T36" fmla="*/ 2147483647 w 222"/>
                <a:gd name="T37" fmla="*/ 2147483647 h 210"/>
                <a:gd name="T38" fmla="*/ 2147483647 w 222"/>
                <a:gd name="T39" fmla="*/ 0 h 210"/>
                <a:gd name="T40" fmla="*/ 2147483647 w 222"/>
                <a:gd name="T41" fmla="*/ 0 h 210"/>
                <a:gd name="T42" fmla="*/ 2147483647 w 222"/>
                <a:gd name="T43" fmla="*/ 2147483647 h 210"/>
                <a:gd name="T44" fmla="*/ 2147483647 w 222"/>
                <a:gd name="T45" fmla="*/ 2147483647 h 210"/>
                <a:gd name="T46" fmla="*/ 2147483647 w 222"/>
                <a:gd name="T47" fmla="*/ 2147483647 h 210"/>
                <a:gd name="T48" fmla="*/ 0 w 222"/>
                <a:gd name="T49" fmla="*/ 2147483647 h 210"/>
                <a:gd name="T50" fmla="*/ 2147483647 w 222"/>
                <a:gd name="T51" fmla="*/ 2147483647 h 210"/>
                <a:gd name="T52" fmla="*/ 2147483647 w 222"/>
                <a:gd name="T53" fmla="*/ 2147483647 h 210"/>
                <a:gd name="T54" fmla="*/ 2147483647 w 222"/>
                <a:gd name="T55" fmla="*/ 2147483647 h 210"/>
                <a:gd name="T56" fmla="*/ 2147483647 w 222"/>
                <a:gd name="T57" fmla="*/ 2147483647 h 210"/>
                <a:gd name="T58" fmla="*/ 2147483647 w 222"/>
                <a:gd name="T59" fmla="*/ 2147483647 h 210"/>
                <a:gd name="T60" fmla="*/ 2147483647 w 222"/>
                <a:gd name="T61" fmla="*/ 2147483647 h 210"/>
                <a:gd name="T62" fmla="*/ 2147483647 w 222"/>
                <a:gd name="T63" fmla="*/ 2147483647 h 210"/>
                <a:gd name="T64" fmla="*/ 2147483647 w 222"/>
                <a:gd name="T65" fmla="*/ 2147483647 h 210"/>
                <a:gd name="T66" fmla="*/ 2147483647 w 222"/>
                <a:gd name="T67" fmla="*/ 2147483647 h 210"/>
                <a:gd name="T68" fmla="*/ 2147483647 w 222"/>
                <a:gd name="T69" fmla="*/ 2147483647 h 210"/>
                <a:gd name="T70" fmla="*/ 2147483647 w 222"/>
                <a:gd name="T71" fmla="*/ 2147483647 h 210"/>
                <a:gd name="T72" fmla="*/ 2147483647 w 222"/>
                <a:gd name="T73" fmla="*/ 2147483647 h 210"/>
                <a:gd name="T74" fmla="*/ 2147483647 w 222"/>
                <a:gd name="T75" fmla="*/ 2147483647 h 210"/>
                <a:gd name="T76" fmla="*/ 2147483647 w 222"/>
                <a:gd name="T77" fmla="*/ 2147483647 h 210"/>
                <a:gd name="T78" fmla="*/ 2147483647 w 222"/>
                <a:gd name="T79" fmla="*/ 2147483647 h 210"/>
                <a:gd name="T80" fmla="*/ 2147483647 w 222"/>
                <a:gd name="T81" fmla="*/ 2147483647 h 210"/>
                <a:gd name="T82" fmla="*/ 2147483647 w 222"/>
                <a:gd name="T83" fmla="*/ 2147483647 h 210"/>
                <a:gd name="T84" fmla="*/ 2147483647 w 222"/>
                <a:gd name="T85" fmla="*/ 2147483647 h 210"/>
                <a:gd name="T86" fmla="*/ 2147483647 w 222"/>
                <a:gd name="T87" fmla="*/ 2147483647 h 210"/>
                <a:gd name="T88" fmla="*/ 2147483647 w 222"/>
                <a:gd name="T89" fmla="*/ 2147483647 h 210"/>
                <a:gd name="T90" fmla="*/ 2147483647 w 222"/>
                <a:gd name="T91" fmla="*/ 2147483647 h 210"/>
                <a:gd name="T92" fmla="*/ 2147483647 w 222"/>
                <a:gd name="T93" fmla="*/ 2147483647 h 210"/>
                <a:gd name="T94" fmla="*/ 2147483647 w 222"/>
                <a:gd name="T95" fmla="*/ 2147483647 h 210"/>
                <a:gd name="T96" fmla="*/ 2147483647 w 222"/>
                <a:gd name="T97" fmla="*/ 2147483647 h 210"/>
                <a:gd name="T98" fmla="*/ 2147483647 w 222"/>
                <a:gd name="T99" fmla="*/ 2147483647 h 210"/>
                <a:gd name="T100" fmla="*/ 2147483647 w 222"/>
                <a:gd name="T101" fmla="*/ 2147483647 h 210"/>
                <a:gd name="T102" fmla="*/ 2147483647 w 222"/>
                <a:gd name="T103" fmla="*/ 2147483647 h 210"/>
                <a:gd name="T104" fmla="*/ 2147483647 w 222"/>
                <a:gd name="T105" fmla="*/ 2147483647 h 210"/>
                <a:gd name="T106" fmla="*/ 2147483647 w 222"/>
                <a:gd name="T107" fmla="*/ 2147483647 h 21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22"/>
                <a:gd name="T163" fmla="*/ 0 h 210"/>
                <a:gd name="T164" fmla="*/ 222 w 222"/>
                <a:gd name="T165" fmla="*/ 210 h 21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22" h="210">
                  <a:moveTo>
                    <a:pt x="222" y="168"/>
                  </a:moveTo>
                  <a:lnTo>
                    <a:pt x="216" y="156"/>
                  </a:lnTo>
                  <a:lnTo>
                    <a:pt x="216" y="144"/>
                  </a:lnTo>
                  <a:lnTo>
                    <a:pt x="186" y="138"/>
                  </a:lnTo>
                  <a:lnTo>
                    <a:pt x="174" y="120"/>
                  </a:lnTo>
                  <a:lnTo>
                    <a:pt x="144" y="108"/>
                  </a:lnTo>
                  <a:lnTo>
                    <a:pt x="156" y="108"/>
                  </a:lnTo>
                  <a:lnTo>
                    <a:pt x="174" y="90"/>
                  </a:lnTo>
                  <a:lnTo>
                    <a:pt x="174" y="84"/>
                  </a:lnTo>
                  <a:lnTo>
                    <a:pt x="168" y="78"/>
                  </a:lnTo>
                  <a:lnTo>
                    <a:pt x="144" y="66"/>
                  </a:lnTo>
                  <a:lnTo>
                    <a:pt x="138" y="60"/>
                  </a:lnTo>
                  <a:lnTo>
                    <a:pt x="132" y="60"/>
                  </a:lnTo>
                  <a:lnTo>
                    <a:pt x="138" y="54"/>
                  </a:lnTo>
                  <a:lnTo>
                    <a:pt x="138" y="30"/>
                  </a:lnTo>
                  <a:lnTo>
                    <a:pt x="132" y="24"/>
                  </a:lnTo>
                  <a:lnTo>
                    <a:pt x="114" y="24"/>
                  </a:lnTo>
                  <a:lnTo>
                    <a:pt x="114" y="12"/>
                  </a:lnTo>
                  <a:lnTo>
                    <a:pt x="102" y="6"/>
                  </a:lnTo>
                  <a:lnTo>
                    <a:pt x="96" y="0"/>
                  </a:lnTo>
                  <a:lnTo>
                    <a:pt x="84" y="0"/>
                  </a:lnTo>
                  <a:lnTo>
                    <a:pt x="84" y="18"/>
                  </a:lnTo>
                  <a:lnTo>
                    <a:pt x="30" y="12"/>
                  </a:lnTo>
                  <a:lnTo>
                    <a:pt x="24" y="18"/>
                  </a:lnTo>
                  <a:lnTo>
                    <a:pt x="0" y="24"/>
                  </a:lnTo>
                  <a:lnTo>
                    <a:pt x="6" y="30"/>
                  </a:lnTo>
                  <a:lnTo>
                    <a:pt x="6" y="42"/>
                  </a:lnTo>
                  <a:lnTo>
                    <a:pt x="18" y="78"/>
                  </a:lnTo>
                  <a:lnTo>
                    <a:pt x="18" y="90"/>
                  </a:lnTo>
                  <a:lnTo>
                    <a:pt x="24" y="102"/>
                  </a:lnTo>
                  <a:lnTo>
                    <a:pt x="30" y="108"/>
                  </a:lnTo>
                  <a:lnTo>
                    <a:pt x="42" y="114"/>
                  </a:lnTo>
                  <a:lnTo>
                    <a:pt x="54" y="114"/>
                  </a:lnTo>
                  <a:lnTo>
                    <a:pt x="66" y="108"/>
                  </a:lnTo>
                  <a:lnTo>
                    <a:pt x="72" y="108"/>
                  </a:lnTo>
                  <a:lnTo>
                    <a:pt x="72" y="114"/>
                  </a:lnTo>
                  <a:lnTo>
                    <a:pt x="78" y="120"/>
                  </a:lnTo>
                  <a:lnTo>
                    <a:pt x="78" y="132"/>
                  </a:lnTo>
                  <a:lnTo>
                    <a:pt x="84" y="144"/>
                  </a:lnTo>
                  <a:lnTo>
                    <a:pt x="84" y="150"/>
                  </a:lnTo>
                  <a:lnTo>
                    <a:pt x="90" y="156"/>
                  </a:lnTo>
                  <a:lnTo>
                    <a:pt x="108" y="132"/>
                  </a:lnTo>
                  <a:lnTo>
                    <a:pt x="126" y="132"/>
                  </a:lnTo>
                  <a:lnTo>
                    <a:pt x="138" y="144"/>
                  </a:lnTo>
                  <a:lnTo>
                    <a:pt x="174" y="144"/>
                  </a:lnTo>
                  <a:lnTo>
                    <a:pt x="174" y="156"/>
                  </a:lnTo>
                  <a:lnTo>
                    <a:pt x="180" y="162"/>
                  </a:lnTo>
                  <a:lnTo>
                    <a:pt x="180" y="174"/>
                  </a:lnTo>
                  <a:lnTo>
                    <a:pt x="186" y="186"/>
                  </a:lnTo>
                  <a:lnTo>
                    <a:pt x="186" y="198"/>
                  </a:lnTo>
                  <a:lnTo>
                    <a:pt x="192" y="204"/>
                  </a:lnTo>
                  <a:lnTo>
                    <a:pt x="192" y="210"/>
                  </a:lnTo>
                  <a:lnTo>
                    <a:pt x="222" y="210"/>
                  </a:lnTo>
                  <a:lnTo>
                    <a:pt x="222" y="168"/>
                  </a:lnTo>
                  <a:close/>
                </a:path>
              </a:pathLst>
            </a:custGeom>
            <a:grp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242" name="Argentina" descr="© INSCALE GmbH, 05.05.2010&#10;http://www.presentationload.com/">
              <a:extLst>
                <a:ext uri="{FF2B5EF4-FFF2-40B4-BE49-F238E27FC236}">
                  <a16:creationId xmlns:a16="http://schemas.microsoft.com/office/drawing/2014/main" id="{72A37AE1-B85E-BD7B-D96D-C3039DABB960}"/>
                </a:ext>
              </a:extLst>
            </p:cNvPr>
            <p:cNvSpPr>
              <a:spLocks noEditPoints="1"/>
            </p:cNvSpPr>
            <p:nvPr/>
          </p:nvSpPr>
          <p:spPr bwMode="gray">
            <a:xfrm>
              <a:off x="2423933" y="3887030"/>
              <a:ext cx="413582" cy="925004"/>
            </a:xfrm>
            <a:custGeom>
              <a:avLst/>
              <a:gdLst>
                <a:gd name="T0" fmla="*/ 2147483647 w 1092"/>
                <a:gd name="T1" fmla="*/ 2147483647 h 2442"/>
                <a:gd name="T2" fmla="*/ 2147483647 w 1092"/>
                <a:gd name="T3" fmla="*/ 2147483647 h 2442"/>
                <a:gd name="T4" fmla="*/ 2147483647 w 1092"/>
                <a:gd name="T5" fmla="*/ 2147483647 h 2442"/>
                <a:gd name="T6" fmla="*/ 2147483647 w 1092"/>
                <a:gd name="T7" fmla="*/ 2147483647 h 2442"/>
                <a:gd name="T8" fmla="*/ 2147483647 w 1092"/>
                <a:gd name="T9" fmla="*/ 2147483647 h 2442"/>
                <a:gd name="T10" fmla="*/ 2147483647 w 1092"/>
                <a:gd name="T11" fmla="*/ 2147483647 h 2442"/>
                <a:gd name="T12" fmla="*/ 2147483647 w 1092"/>
                <a:gd name="T13" fmla="*/ 2147483647 h 2442"/>
                <a:gd name="T14" fmla="*/ 2147483647 w 1092"/>
                <a:gd name="T15" fmla="*/ 2147483647 h 2442"/>
                <a:gd name="T16" fmla="*/ 2147483647 w 1092"/>
                <a:gd name="T17" fmla="*/ 2147483647 h 2442"/>
                <a:gd name="T18" fmla="*/ 2147483647 w 1092"/>
                <a:gd name="T19" fmla="*/ 2147483647 h 2442"/>
                <a:gd name="T20" fmla="*/ 2147483647 w 1092"/>
                <a:gd name="T21" fmla="*/ 0 h 2442"/>
                <a:gd name="T22" fmla="*/ 2147483647 w 1092"/>
                <a:gd name="T23" fmla="*/ 2147483647 h 2442"/>
                <a:gd name="T24" fmla="*/ 2147483647 w 1092"/>
                <a:gd name="T25" fmla="*/ 2147483647 h 2442"/>
                <a:gd name="T26" fmla="*/ 2147483647 w 1092"/>
                <a:gd name="T27" fmla="*/ 2147483647 h 2442"/>
                <a:gd name="T28" fmla="*/ 2147483647 w 1092"/>
                <a:gd name="T29" fmla="*/ 2147483647 h 2442"/>
                <a:gd name="T30" fmla="*/ 2147483647 w 1092"/>
                <a:gd name="T31" fmla="*/ 2147483647 h 2442"/>
                <a:gd name="T32" fmla="*/ 2147483647 w 1092"/>
                <a:gd name="T33" fmla="*/ 2147483647 h 2442"/>
                <a:gd name="T34" fmla="*/ 2147483647 w 1092"/>
                <a:gd name="T35" fmla="*/ 2147483647 h 2442"/>
                <a:gd name="T36" fmla="*/ 2147483647 w 1092"/>
                <a:gd name="T37" fmla="*/ 2147483647 h 2442"/>
                <a:gd name="T38" fmla="*/ 2147483647 w 1092"/>
                <a:gd name="T39" fmla="*/ 2147483647 h 2442"/>
                <a:gd name="T40" fmla="*/ 2147483647 w 1092"/>
                <a:gd name="T41" fmla="*/ 2147483647 h 2442"/>
                <a:gd name="T42" fmla="*/ 2147483647 w 1092"/>
                <a:gd name="T43" fmla="*/ 2147483647 h 2442"/>
                <a:gd name="T44" fmla="*/ 2147483647 w 1092"/>
                <a:gd name="T45" fmla="*/ 2147483647 h 2442"/>
                <a:gd name="T46" fmla="*/ 2147483647 w 1092"/>
                <a:gd name="T47" fmla="*/ 2147483647 h 2442"/>
                <a:gd name="T48" fmla="*/ 2147483647 w 1092"/>
                <a:gd name="T49" fmla="*/ 2147483647 h 2442"/>
                <a:gd name="T50" fmla="*/ 2147483647 w 1092"/>
                <a:gd name="T51" fmla="*/ 2147483647 h 2442"/>
                <a:gd name="T52" fmla="*/ 2147483647 w 1092"/>
                <a:gd name="T53" fmla="*/ 2147483647 h 2442"/>
                <a:gd name="T54" fmla="*/ 2147483647 w 1092"/>
                <a:gd name="T55" fmla="*/ 2147483647 h 2442"/>
                <a:gd name="T56" fmla="*/ 2147483647 w 1092"/>
                <a:gd name="T57" fmla="*/ 2147483647 h 2442"/>
                <a:gd name="T58" fmla="*/ 2147483647 w 1092"/>
                <a:gd name="T59" fmla="*/ 2147483647 h 2442"/>
                <a:gd name="T60" fmla="*/ 2147483647 w 1092"/>
                <a:gd name="T61" fmla="*/ 2147483647 h 2442"/>
                <a:gd name="T62" fmla="*/ 2147483647 w 1092"/>
                <a:gd name="T63" fmla="*/ 2147483647 h 2442"/>
                <a:gd name="T64" fmla="*/ 2147483647 w 1092"/>
                <a:gd name="T65" fmla="*/ 2147483647 h 2442"/>
                <a:gd name="T66" fmla="*/ 2147483647 w 1092"/>
                <a:gd name="T67" fmla="*/ 2147483647 h 2442"/>
                <a:gd name="T68" fmla="*/ 2147483647 w 1092"/>
                <a:gd name="T69" fmla="*/ 2147483647 h 2442"/>
                <a:gd name="T70" fmla="*/ 2147483647 w 1092"/>
                <a:gd name="T71" fmla="*/ 2147483647 h 2442"/>
                <a:gd name="T72" fmla="*/ 2147483647 w 1092"/>
                <a:gd name="T73" fmla="*/ 2147483647 h 2442"/>
                <a:gd name="T74" fmla="*/ 2147483647 w 1092"/>
                <a:gd name="T75" fmla="*/ 2147483647 h 2442"/>
                <a:gd name="T76" fmla="*/ 2147483647 w 1092"/>
                <a:gd name="T77" fmla="*/ 2147483647 h 2442"/>
                <a:gd name="T78" fmla="*/ 2147483647 w 1092"/>
                <a:gd name="T79" fmla="*/ 2147483647 h 2442"/>
                <a:gd name="T80" fmla="*/ 2147483647 w 1092"/>
                <a:gd name="T81" fmla="*/ 2147483647 h 2442"/>
                <a:gd name="T82" fmla="*/ 2147483647 w 1092"/>
                <a:gd name="T83" fmla="*/ 2147483647 h 2442"/>
                <a:gd name="T84" fmla="*/ 2147483647 w 1092"/>
                <a:gd name="T85" fmla="*/ 2147483647 h 2442"/>
                <a:gd name="T86" fmla="*/ 2147483647 w 1092"/>
                <a:gd name="T87" fmla="*/ 2147483647 h 2442"/>
                <a:gd name="T88" fmla="*/ 2147483647 w 1092"/>
                <a:gd name="T89" fmla="*/ 2147483647 h 2442"/>
                <a:gd name="T90" fmla="*/ 2147483647 w 1092"/>
                <a:gd name="T91" fmla="*/ 2147483647 h 2442"/>
                <a:gd name="T92" fmla="*/ 2147483647 w 1092"/>
                <a:gd name="T93" fmla="*/ 2147483647 h 2442"/>
                <a:gd name="T94" fmla="*/ 2147483647 w 1092"/>
                <a:gd name="T95" fmla="*/ 2147483647 h 2442"/>
                <a:gd name="T96" fmla="*/ 2147483647 w 1092"/>
                <a:gd name="T97" fmla="*/ 2147483647 h 2442"/>
                <a:gd name="T98" fmla="*/ 2147483647 w 1092"/>
                <a:gd name="T99" fmla="*/ 2147483647 h 2442"/>
                <a:gd name="T100" fmla="*/ 2147483647 w 1092"/>
                <a:gd name="T101" fmla="*/ 2147483647 h 2442"/>
                <a:gd name="T102" fmla="*/ 2147483647 w 1092"/>
                <a:gd name="T103" fmla="*/ 2147483647 h 2442"/>
                <a:gd name="T104" fmla="*/ 2147483647 w 1092"/>
                <a:gd name="T105" fmla="*/ 2147483647 h 2442"/>
                <a:gd name="T106" fmla="*/ 2147483647 w 1092"/>
                <a:gd name="T107" fmla="*/ 2147483647 h 2442"/>
                <a:gd name="T108" fmla="*/ 2147483647 w 1092"/>
                <a:gd name="T109" fmla="*/ 2147483647 h 2442"/>
                <a:gd name="T110" fmla="*/ 2147483647 w 1092"/>
                <a:gd name="T111" fmla="*/ 2147483647 h 2442"/>
                <a:gd name="T112" fmla="*/ 2147483647 w 1092"/>
                <a:gd name="T113" fmla="*/ 2147483647 h 244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92"/>
                <a:gd name="T172" fmla="*/ 0 h 2442"/>
                <a:gd name="T173" fmla="*/ 1092 w 1092"/>
                <a:gd name="T174" fmla="*/ 2442 h 244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92" h="2442">
                  <a:moveTo>
                    <a:pt x="954" y="534"/>
                  </a:moveTo>
                  <a:lnTo>
                    <a:pt x="978" y="528"/>
                  </a:lnTo>
                  <a:lnTo>
                    <a:pt x="984" y="504"/>
                  </a:lnTo>
                  <a:lnTo>
                    <a:pt x="990" y="498"/>
                  </a:lnTo>
                  <a:lnTo>
                    <a:pt x="990" y="480"/>
                  </a:lnTo>
                  <a:lnTo>
                    <a:pt x="1026" y="480"/>
                  </a:lnTo>
                  <a:lnTo>
                    <a:pt x="1026" y="462"/>
                  </a:lnTo>
                  <a:lnTo>
                    <a:pt x="1032" y="450"/>
                  </a:lnTo>
                  <a:lnTo>
                    <a:pt x="1038" y="444"/>
                  </a:lnTo>
                  <a:lnTo>
                    <a:pt x="1092" y="426"/>
                  </a:lnTo>
                  <a:lnTo>
                    <a:pt x="1092" y="390"/>
                  </a:lnTo>
                  <a:lnTo>
                    <a:pt x="1086" y="372"/>
                  </a:lnTo>
                  <a:lnTo>
                    <a:pt x="1086" y="342"/>
                  </a:lnTo>
                  <a:lnTo>
                    <a:pt x="1080" y="336"/>
                  </a:lnTo>
                  <a:lnTo>
                    <a:pt x="1074" y="336"/>
                  </a:lnTo>
                  <a:lnTo>
                    <a:pt x="1074" y="324"/>
                  </a:lnTo>
                  <a:lnTo>
                    <a:pt x="1062" y="300"/>
                  </a:lnTo>
                  <a:lnTo>
                    <a:pt x="1056" y="294"/>
                  </a:lnTo>
                  <a:lnTo>
                    <a:pt x="1038" y="294"/>
                  </a:lnTo>
                  <a:lnTo>
                    <a:pt x="1032" y="300"/>
                  </a:lnTo>
                  <a:lnTo>
                    <a:pt x="1020" y="306"/>
                  </a:lnTo>
                  <a:lnTo>
                    <a:pt x="1020" y="384"/>
                  </a:lnTo>
                  <a:lnTo>
                    <a:pt x="1008" y="390"/>
                  </a:lnTo>
                  <a:lnTo>
                    <a:pt x="1002" y="402"/>
                  </a:lnTo>
                  <a:lnTo>
                    <a:pt x="990" y="408"/>
                  </a:lnTo>
                  <a:lnTo>
                    <a:pt x="984" y="414"/>
                  </a:lnTo>
                  <a:lnTo>
                    <a:pt x="978" y="414"/>
                  </a:lnTo>
                  <a:lnTo>
                    <a:pt x="966" y="426"/>
                  </a:lnTo>
                  <a:lnTo>
                    <a:pt x="954" y="450"/>
                  </a:lnTo>
                  <a:lnTo>
                    <a:pt x="948" y="456"/>
                  </a:lnTo>
                  <a:lnTo>
                    <a:pt x="948" y="450"/>
                  </a:lnTo>
                  <a:lnTo>
                    <a:pt x="942" y="444"/>
                  </a:lnTo>
                  <a:lnTo>
                    <a:pt x="930" y="444"/>
                  </a:lnTo>
                  <a:lnTo>
                    <a:pt x="924" y="450"/>
                  </a:lnTo>
                  <a:lnTo>
                    <a:pt x="924" y="468"/>
                  </a:lnTo>
                  <a:lnTo>
                    <a:pt x="912" y="450"/>
                  </a:lnTo>
                  <a:lnTo>
                    <a:pt x="852" y="450"/>
                  </a:lnTo>
                  <a:lnTo>
                    <a:pt x="834" y="444"/>
                  </a:lnTo>
                  <a:lnTo>
                    <a:pt x="822" y="438"/>
                  </a:lnTo>
                  <a:lnTo>
                    <a:pt x="816" y="432"/>
                  </a:lnTo>
                  <a:lnTo>
                    <a:pt x="804" y="426"/>
                  </a:lnTo>
                  <a:lnTo>
                    <a:pt x="798" y="426"/>
                  </a:lnTo>
                  <a:lnTo>
                    <a:pt x="786" y="432"/>
                  </a:lnTo>
                  <a:lnTo>
                    <a:pt x="762" y="432"/>
                  </a:lnTo>
                  <a:lnTo>
                    <a:pt x="756" y="426"/>
                  </a:lnTo>
                  <a:lnTo>
                    <a:pt x="756" y="414"/>
                  </a:lnTo>
                  <a:lnTo>
                    <a:pt x="762" y="402"/>
                  </a:lnTo>
                  <a:lnTo>
                    <a:pt x="768" y="396"/>
                  </a:lnTo>
                  <a:lnTo>
                    <a:pt x="774" y="384"/>
                  </a:lnTo>
                  <a:lnTo>
                    <a:pt x="780" y="378"/>
                  </a:lnTo>
                  <a:lnTo>
                    <a:pt x="780" y="342"/>
                  </a:lnTo>
                  <a:lnTo>
                    <a:pt x="798" y="342"/>
                  </a:lnTo>
                  <a:lnTo>
                    <a:pt x="804" y="336"/>
                  </a:lnTo>
                  <a:lnTo>
                    <a:pt x="804" y="330"/>
                  </a:lnTo>
                  <a:lnTo>
                    <a:pt x="798" y="318"/>
                  </a:lnTo>
                  <a:lnTo>
                    <a:pt x="792" y="312"/>
                  </a:lnTo>
                  <a:lnTo>
                    <a:pt x="798" y="300"/>
                  </a:lnTo>
                  <a:lnTo>
                    <a:pt x="804" y="294"/>
                  </a:lnTo>
                  <a:lnTo>
                    <a:pt x="804" y="282"/>
                  </a:lnTo>
                  <a:lnTo>
                    <a:pt x="810" y="276"/>
                  </a:lnTo>
                  <a:lnTo>
                    <a:pt x="804" y="270"/>
                  </a:lnTo>
                  <a:lnTo>
                    <a:pt x="792" y="264"/>
                  </a:lnTo>
                  <a:lnTo>
                    <a:pt x="774" y="258"/>
                  </a:lnTo>
                  <a:lnTo>
                    <a:pt x="762" y="252"/>
                  </a:lnTo>
                  <a:lnTo>
                    <a:pt x="750" y="252"/>
                  </a:lnTo>
                  <a:lnTo>
                    <a:pt x="744" y="246"/>
                  </a:lnTo>
                  <a:lnTo>
                    <a:pt x="708" y="228"/>
                  </a:lnTo>
                  <a:lnTo>
                    <a:pt x="690" y="216"/>
                  </a:lnTo>
                  <a:lnTo>
                    <a:pt x="678" y="210"/>
                  </a:lnTo>
                  <a:lnTo>
                    <a:pt x="672" y="204"/>
                  </a:lnTo>
                  <a:lnTo>
                    <a:pt x="666" y="204"/>
                  </a:lnTo>
                  <a:lnTo>
                    <a:pt x="660" y="198"/>
                  </a:lnTo>
                  <a:lnTo>
                    <a:pt x="648" y="192"/>
                  </a:lnTo>
                  <a:lnTo>
                    <a:pt x="642" y="186"/>
                  </a:lnTo>
                  <a:lnTo>
                    <a:pt x="630" y="180"/>
                  </a:lnTo>
                  <a:lnTo>
                    <a:pt x="600" y="180"/>
                  </a:lnTo>
                  <a:lnTo>
                    <a:pt x="564" y="162"/>
                  </a:lnTo>
                  <a:lnTo>
                    <a:pt x="558" y="156"/>
                  </a:lnTo>
                  <a:lnTo>
                    <a:pt x="552" y="156"/>
                  </a:lnTo>
                  <a:lnTo>
                    <a:pt x="546" y="138"/>
                  </a:lnTo>
                  <a:lnTo>
                    <a:pt x="534" y="132"/>
                  </a:lnTo>
                  <a:lnTo>
                    <a:pt x="516" y="114"/>
                  </a:lnTo>
                  <a:lnTo>
                    <a:pt x="492" y="102"/>
                  </a:lnTo>
                  <a:lnTo>
                    <a:pt x="486" y="96"/>
                  </a:lnTo>
                  <a:lnTo>
                    <a:pt x="480" y="84"/>
                  </a:lnTo>
                  <a:lnTo>
                    <a:pt x="468" y="78"/>
                  </a:lnTo>
                  <a:lnTo>
                    <a:pt x="462" y="66"/>
                  </a:lnTo>
                  <a:lnTo>
                    <a:pt x="456" y="60"/>
                  </a:lnTo>
                  <a:lnTo>
                    <a:pt x="456" y="54"/>
                  </a:lnTo>
                  <a:lnTo>
                    <a:pt x="438" y="36"/>
                  </a:lnTo>
                  <a:lnTo>
                    <a:pt x="402" y="12"/>
                  </a:lnTo>
                  <a:lnTo>
                    <a:pt x="330" y="18"/>
                  </a:lnTo>
                  <a:lnTo>
                    <a:pt x="318" y="72"/>
                  </a:lnTo>
                  <a:lnTo>
                    <a:pt x="288" y="24"/>
                  </a:lnTo>
                  <a:lnTo>
                    <a:pt x="234" y="24"/>
                  </a:lnTo>
                  <a:lnTo>
                    <a:pt x="216" y="18"/>
                  </a:lnTo>
                  <a:lnTo>
                    <a:pt x="204" y="18"/>
                  </a:lnTo>
                  <a:lnTo>
                    <a:pt x="180" y="6"/>
                  </a:lnTo>
                  <a:lnTo>
                    <a:pt x="174" y="0"/>
                  </a:lnTo>
                  <a:lnTo>
                    <a:pt x="162" y="24"/>
                  </a:lnTo>
                  <a:lnTo>
                    <a:pt x="138" y="30"/>
                  </a:lnTo>
                  <a:lnTo>
                    <a:pt x="138" y="48"/>
                  </a:lnTo>
                  <a:lnTo>
                    <a:pt x="126" y="48"/>
                  </a:lnTo>
                  <a:lnTo>
                    <a:pt x="126" y="78"/>
                  </a:lnTo>
                  <a:lnTo>
                    <a:pt x="114" y="78"/>
                  </a:lnTo>
                  <a:lnTo>
                    <a:pt x="126" y="96"/>
                  </a:lnTo>
                  <a:lnTo>
                    <a:pt x="114" y="180"/>
                  </a:lnTo>
                  <a:lnTo>
                    <a:pt x="108" y="180"/>
                  </a:lnTo>
                  <a:lnTo>
                    <a:pt x="102" y="186"/>
                  </a:lnTo>
                  <a:lnTo>
                    <a:pt x="90" y="192"/>
                  </a:lnTo>
                  <a:lnTo>
                    <a:pt x="72" y="198"/>
                  </a:lnTo>
                  <a:lnTo>
                    <a:pt x="60" y="210"/>
                  </a:lnTo>
                  <a:lnTo>
                    <a:pt x="48" y="216"/>
                  </a:lnTo>
                  <a:lnTo>
                    <a:pt x="42" y="228"/>
                  </a:lnTo>
                  <a:lnTo>
                    <a:pt x="36" y="234"/>
                  </a:lnTo>
                  <a:lnTo>
                    <a:pt x="36" y="240"/>
                  </a:lnTo>
                  <a:lnTo>
                    <a:pt x="42" y="246"/>
                  </a:lnTo>
                  <a:lnTo>
                    <a:pt x="54" y="252"/>
                  </a:lnTo>
                  <a:lnTo>
                    <a:pt x="66" y="252"/>
                  </a:lnTo>
                  <a:lnTo>
                    <a:pt x="66" y="258"/>
                  </a:lnTo>
                  <a:lnTo>
                    <a:pt x="42" y="282"/>
                  </a:lnTo>
                  <a:lnTo>
                    <a:pt x="42" y="300"/>
                  </a:lnTo>
                  <a:lnTo>
                    <a:pt x="48" y="306"/>
                  </a:lnTo>
                  <a:lnTo>
                    <a:pt x="60" y="312"/>
                  </a:lnTo>
                  <a:lnTo>
                    <a:pt x="72" y="324"/>
                  </a:lnTo>
                  <a:lnTo>
                    <a:pt x="78" y="336"/>
                  </a:lnTo>
                  <a:lnTo>
                    <a:pt x="72" y="342"/>
                  </a:lnTo>
                  <a:lnTo>
                    <a:pt x="66" y="354"/>
                  </a:lnTo>
                  <a:lnTo>
                    <a:pt x="54" y="366"/>
                  </a:lnTo>
                  <a:lnTo>
                    <a:pt x="48" y="366"/>
                  </a:lnTo>
                  <a:lnTo>
                    <a:pt x="54" y="366"/>
                  </a:lnTo>
                  <a:lnTo>
                    <a:pt x="60" y="372"/>
                  </a:lnTo>
                  <a:lnTo>
                    <a:pt x="84" y="384"/>
                  </a:lnTo>
                  <a:lnTo>
                    <a:pt x="90" y="396"/>
                  </a:lnTo>
                  <a:lnTo>
                    <a:pt x="90" y="408"/>
                  </a:lnTo>
                  <a:lnTo>
                    <a:pt x="78" y="414"/>
                  </a:lnTo>
                  <a:lnTo>
                    <a:pt x="72" y="420"/>
                  </a:lnTo>
                  <a:lnTo>
                    <a:pt x="54" y="420"/>
                  </a:lnTo>
                  <a:lnTo>
                    <a:pt x="54" y="432"/>
                  </a:lnTo>
                  <a:lnTo>
                    <a:pt x="48" y="450"/>
                  </a:lnTo>
                  <a:lnTo>
                    <a:pt x="48" y="462"/>
                  </a:lnTo>
                  <a:lnTo>
                    <a:pt x="42" y="474"/>
                  </a:lnTo>
                  <a:lnTo>
                    <a:pt x="42" y="486"/>
                  </a:lnTo>
                  <a:lnTo>
                    <a:pt x="30" y="498"/>
                  </a:lnTo>
                  <a:lnTo>
                    <a:pt x="24" y="510"/>
                  </a:lnTo>
                  <a:lnTo>
                    <a:pt x="18" y="516"/>
                  </a:lnTo>
                  <a:lnTo>
                    <a:pt x="18" y="582"/>
                  </a:lnTo>
                  <a:lnTo>
                    <a:pt x="6" y="594"/>
                  </a:lnTo>
                  <a:lnTo>
                    <a:pt x="6" y="606"/>
                  </a:lnTo>
                  <a:lnTo>
                    <a:pt x="18" y="630"/>
                  </a:lnTo>
                  <a:lnTo>
                    <a:pt x="30" y="666"/>
                  </a:lnTo>
                  <a:lnTo>
                    <a:pt x="36" y="678"/>
                  </a:lnTo>
                  <a:lnTo>
                    <a:pt x="36" y="684"/>
                  </a:lnTo>
                  <a:lnTo>
                    <a:pt x="12" y="684"/>
                  </a:lnTo>
                  <a:lnTo>
                    <a:pt x="18" y="738"/>
                  </a:lnTo>
                  <a:lnTo>
                    <a:pt x="6" y="744"/>
                  </a:lnTo>
                  <a:lnTo>
                    <a:pt x="0" y="744"/>
                  </a:lnTo>
                  <a:lnTo>
                    <a:pt x="0" y="768"/>
                  </a:lnTo>
                  <a:lnTo>
                    <a:pt x="6" y="774"/>
                  </a:lnTo>
                  <a:lnTo>
                    <a:pt x="6" y="780"/>
                  </a:lnTo>
                  <a:lnTo>
                    <a:pt x="18" y="786"/>
                  </a:lnTo>
                  <a:lnTo>
                    <a:pt x="36" y="804"/>
                  </a:lnTo>
                  <a:lnTo>
                    <a:pt x="36" y="816"/>
                  </a:lnTo>
                  <a:lnTo>
                    <a:pt x="30" y="822"/>
                  </a:lnTo>
                  <a:lnTo>
                    <a:pt x="30" y="828"/>
                  </a:lnTo>
                  <a:lnTo>
                    <a:pt x="48" y="846"/>
                  </a:lnTo>
                  <a:lnTo>
                    <a:pt x="60" y="876"/>
                  </a:lnTo>
                  <a:lnTo>
                    <a:pt x="66" y="888"/>
                  </a:lnTo>
                  <a:lnTo>
                    <a:pt x="60" y="894"/>
                  </a:lnTo>
                  <a:lnTo>
                    <a:pt x="60" y="906"/>
                  </a:lnTo>
                  <a:lnTo>
                    <a:pt x="72" y="918"/>
                  </a:lnTo>
                  <a:lnTo>
                    <a:pt x="96" y="918"/>
                  </a:lnTo>
                  <a:lnTo>
                    <a:pt x="102" y="960"/>
                  </a:lnTo>
                  <a:lnTo>
                    <a:pt x="108" y="972"/>
                  </a:lnTo>
                  <a:lnTo>
                    <a:pt x="114" y="978"/>
                  </a:lnTo>
                  <a:lnTo>
                    <a:pt x="120" y="990"/>
                  </a:lnTo>
                  <a:lnTo>
                    <a:pt x="120" y="996"/>
                  </a:lnTo>
                  <a:lnTo>
                    <a:pt x="102" y="1014"/>
                  </a:lnTo>
                  <a:lnTo>
                    <a:pt x="102" y="1038"/>
                  </a:lnTo>
                  <a:lnTo>
                    <a:pt x="96" y="1056"/>
                  </a:lnTo>
                  <a:lnTo>
                    <a:pt x="96" y="1086"/>
                  </a:lnTo>
                  <a:lnTo>
                    <a:pt x="84" y="1086"/>
                  </a:lnTo>
                  <a:lnTo>
                    <a:pt x="90" y="1092"/>
                  </a:lnTo>
                  <a:lnTo>
                    <a:pt x="96" y="1104"/>
                  </a:lnTo>
                  <a:lnTo>
                    <a:pt x="102" y="1110"/>
                  </a:lnTo>
                  <a:lnTo>
                    <a:pt x="108" y="1122"/>
                  </a:lnTo>
                  <a:lnTo>
                    <a:pt x="114" y="1128"/>
                  </a:lnTo>
                  <a:lnTo>
                    <a:pt x="114" y="1140"/>
                  </a:lnTo>
                  <a:lnTo>
                    <a:pt x="108" y="1152"/>
                  </a:lnTo>
                  <a:lnTo>
                    <a:pt x="108" y="1158"/>
                  </a:lnTo>
                  <a:lnTo>
                    <a:pt x="102" y="1176"/>
                  </a:lnTo>
                  <a:lnTo>
                    <a:pt x="78" y="1182"/>
                  </a:lnTo>
                  <a:lnTo>
                    <a:pt x="78" y="1188"/>
                  </a:lnTo>
                  <a:lnTo>
                    <a:pt x="84" y="1194"/>
                  </a:lnTo>
                  <a:lnTo>
                    <a:pt x="84" y="1206"/>
                  </a:lnTo>
                  <a:lnTo>
                    <a:pt x="90" y="1224"/>
                  </a:lnTo>
                  <a:lnTo>
                    <a:pt x="96" y="1236"/>
                  </a:lnTo>
                  <a:lnTo>
                    <a:pt x="96" y="1284"/>
                  </a:lnTo>
                  <a:lnTo>
                    <a:pt x="126" y="1308"/>
                  </a:lnTo>
                  <a:lnTo>
                    <a:pt x="126" y="1326"/>
                  </a:lnTo>
                  <a:lnTo>
                    <a:pt x="132" y="1326"/>
                  </a:lnTo>
                  <a:lnTo>
                    <a:pt x="150" y="1344"/>
                  </a:lnTo>
                  <a:lnTo>
                    <a:pt x="150" y="1350"/>
                  </a:lnTo>
                  <a:lnTo>
                    <a:pt x="144" y="1362"/>
                  </a:lnTo>
                  <a:lnTo>
                    <a:pt x="132" y="1368"/>
                  </a:lnTo>
                  <a:lnTo>
                    <a:pt x="126" y="1374"/>
                  </a:lnTo>
                  <a:lnTo>
                    <a:pt x="120" y="1374"/>
                  </a:lnTo>
                  <a:lnTo>
                    <a:pt x="132" y="1416"/>
                  </a:lnTo>
                  <a:lnTo>
                    <a:pt x="114" y="1428"/>
                  </a:lnTo>
                  <a:lnTo>
                    <a:pt x="132" y="1446"/>
                  </a:lnTo>
                  <a:lnTo>
                    <a:pt x="132" y="1452"/>
                  </a:lnTo>
                  <a:lnTo>
                    <a:pt x="126" y="1464"/>
                  </a:lnTo>
                  <a:lnTo>
                    <a:pt x="126" y="1470"/>
                  </a:lnTo>
                  <a:lnTo>
                    <a:pt x="144" y="1482"/>
                  </a:lnTo>
                  <a:lnTo>
                    <a:pt x="144" y="1494"/>
                  </a:lnTo>
                  <a:lnTo>
                    <a:pt x="138" y="1500"/>
                  </a:lnTo>
                  <a:lnTo>
                    <a:pt x="138" y="1530"/>
                  </a:lnTo>
                  <a:lnTo>
                    <a:pt x="144" y="1536"/>
                  </a:lnTo>
                  <a:lnTo>
                    <a:pt x="150" y="1548"/>
                  </a:lnTo>
                  <a:lnTo>
                    <a:pt x="150" y="1572"/>
                  </a:lnTo>
                  <a:lnTo>
                    <a:pt x="156" y="1584"/>
                  </a:lnTo>
                  <a:lnTo>
                    <a:pt x="174" y="1602"/>
                  </a:lnTo>
                  <a:lnTo>
                    <a:pt x="186" y="1608"/>
                  </a:lnTo>
                  <a:lnTo>
                    <a:pt x="198" y="1620"/>
                  </a:lnTo>
                  <a:lnTo>
                    <a:pt x="192" y="1620"/>
                  </a:lnTo>
                  <a:lnTo>
                    <a:pt x="180" y="1626"/>
                  </a:lnTo>
                  <a:lnTo>
                    <a:pt x="174" y="1632"/>
                  </a:lnTo>
                  <a:lnTo>
                    <a:pt x="174" y="1644"/>
                  </a:lnTo>
                  <a:lnTo>
                    <a:pt x="180" y="1656"/>
                  </a:lnTo>
                  <a:lnTo>
                    <a:pt x="180" y="1674"/>
                  </a:lnTo>
                  <a:lnTo>
                    <a:pt x="186" y="1686"/>
                  </a:lnTo>
                  <a:lnTo>
                    <a:pt x="186" y="1698"/>
                  </a:lnTo>
                  <a:lnTo>
                    <a:pt x="192" y="1704"/>
                  </a:lnTo>
                  <a:lnTo>
                    <a:pt x="216" y="1716"/>
                  </a:lnTo>
                  <a:lnTo>
                    <a:pt x="210" y="1746"/>
                  </a:lnTo>
                  <a:lnTo>
                    <a:pt x="216" y="1746"/>
                  </a:lnTo>
                  <a:lnTo>
                    <a:pt x="228" y="1752"/>
                  </a:lnTo>
                  <a:lnTo>
                    <a:pt x="234" y="1758"/>
                  </a:lnTo>
                  <a:lnTo>
                    <a:pt x="234" y="1764"/>
                  </a:lnTo>
                  <a:lnTo>
                    <a:pt x="240" y="1776"/>
                  </a:lnTo>
                  <a:lnTo>
                    <a:pt x="240" y="1806"/>
                  </a:lnTo>
                  <a:lnTo>
                    <a:pt x="252" y="1818"/>
                  </a:lnTo>
                  <a:lnTo>
                    <a:pt x="282" y="1818"/>
                  </a:lnTo>
                  <a:lnTo>
                    <a:pt x="294" y="1824"/>
                  </a:lnTo>
                  <a:lnTo>
                    <a:pt x="294" y="1830"/>
                  </a:lnTo>
                  <a:lnTo>
                    <a:pt x="288" y="1836"/>
                  </a:lnTo>
                  <a:lnTo>
                    <a:pt x="276" y="1836"/>
                  </a:lnTo>
                  <a:lnTo>
                    <a:pt x="264" y="1842"/>
                  </a:lnTo>
                  <a:lnTo>
                    <a:pt x="246" y="1842"/>
                  </a:lnTo>
                  <a:lnTo>
                    <a:pt x="252" y="1848"/>
                  </a:lnTo>
                  <a:lnTo>
                    <a:pt x="258" y="1848"/>
                  </a:lnTo>
                  <a:lnTo>
                    <a:pt x="270" y="1854"/>
                  </a:lnTo>
                  <a:lnTo>
                    <a:pt x="276" y="1860"/>
                  </a:lnTo>
                  <a:lnTo>
                    <a:pt x="288" y="1860"/>
                  </a:lnTo>
                  <a:lnTo>
                    <a:pt x="312" y="1884"/>
                  </a:lnTo>
                  <a:lnTo>
                    <a:pt x="306" y="1890"/>
                  </a:lnTo>
                  <a:lnTo>
                    <a:pt x="300" y="1902"/>
                  </a:lnTo>
                  <a:lnTo>
                    <a:pt x="288" y="1914"/>
                  </a:lnTo>
                  <a:lnTo>
                    <a:pt x="312" y="1932"/>
                  </a:lnTo>
                  <a:lnTo>
                    <a:pt x="306" y="1956"/>
                  </a:lnTo>
                  <a:lnTo>
                    <a:pt x="330" y="1980"/>
                  </a:lnTo>
                  <a:lnTo>
                    <a:pt x="324" y="2016"/>
                  </a:lnTo>
                  <a:lnTo>
                    <a:pt x="336" y="2040"/>
                  </a:lnTo>
                  <a:lnTo>
                    <a:pt x="324" y="2046"/>
                  </a:lnTo>
                  <a:lnTo>
                    <a:pt x="318" y="2088"/>
                  </a:lnTo>
                  <a:lnTo>
                    <a:pt x="324" y="2088"/>
                  </a:lnTo>
                  <a:lnTo>
                    <a:pt x="348" y="2112"/>
                  </a:lnTo>
                  <a:lnTo>
                    <a:pt x="348" y="2118"/>
                  </a:lnTo>
                  <a:lnTo>
                    <a:pt x="342" y="2118"/>
                  </a:lnTo>
                  <a:lnTo>
                    <a:pt x="330" y="2124"/>
                  </a:lnTo>
                  <a:lnTo>
                    <a:pt x="324" y="2130"/>
                  </a:lnTo>
                  <a:lnTo>
                    <a:pt x="348" y="2154"/>
                  </a:lnTo>
                  <a:lnTo>
                    <a:pt x="348" y="2160"/>
                  </a:lnTo>
                  <a:lnTo>
                    <a:pt x="342" y="2166"/>
                  </a:lnTo>
                  <a:lnTo>
                    <a:pt x="336" y="2166"/>
                  </a:lnTo>
                  <a:lnTo>
                    <a:pt x="330" y="2172"/>
                  </a:lnTo>
                  <a:lnTo>
                    <a:pt x="324" y="2172"/>
                  </a:lnTo>
                  <a:lnTo>
                    <a:pt x="324" y="2196"/>
                  </a:lnTo>
                  <a:lnTo>
                    <a:pt x="312" y="2202"/>
                  </a:lnTo>
                  <a:lnTo>
                    <a:pt x="312" y="2214"/>
                  </a:lnTo>
                  <a:lnTo>
                    <a:pt x="318" y="2226"/>
                  </a:lnTo>
                  <a:lnTo>
                    <a:pt x="324" y="2232"/>
                  </a:lnTo>
                  <a:lnTo>
                    <a:pt x="324" y="2268"/>
                  </a:lnTo>
                  <a:lnTo>
                    <a:pt x="354" y="2274"/>
                  </a:lnTo>
                  <a:lnTo>
                    <a:pt x="354" y="2280"/>
                  </a:lnTo>
                  <a:lnTo>
                    <a:pt x="360" y="2286"/>
                  </a:lnTo>
                  <a:lnTo>
                    <a:pt x="360" y="2298"/>
                  </a:lnTo>
                  <a:lnTo>
                    <a:pt x="366" y="2304"/>
                  </a:lnTo>
                  <a:lnTo>
                    <a:pt x="378" y="2310"/>
                  </a:lnTo>
                  <a:lnTo>
                    <a:pt x="384" y="2310"/>
                  </a:lnTo>
                  <a:lnTo>
                    <a:pt x="396" y="2298"/>
                  </a:lnTo>
                  <a:lnTo>
                    <a:pt x="414" y="2298"/>
                  </a:lnTo>
                  <a:lnTo>
                    <a:pt x="426" y="2304"/>
                  </a:lnTo>
                  <a:lnTo>
                    <a:pt x="438" y="2316"/>
                  </a:lnTo>
                  <a:lnTo>
                    <a:pt x="438" y="2340"/>
                  </a:lnTo>
                  <a:lnTo>
                    <a:pt x="456" y="2364"/>
                  </a:lnTo>
                  <a:lnTo>
                    <a:pt x="468" y="2382"/>
                  </a:lnTo>
                  <a:lnTo>
                    <a:pt x="504" y="2400"/>
                  </a:lnTo>
                  <a:lnTo>
                    <a:pt x="522" y="2418"/>
                  </a:lnTo>
                  <a:lnTo>
                    <a:pt x="534" y="2418"/>
                  </a:lnTo>
                  <a:lnTo>
                    <a:pt x="546" y="2412"/>
                  </a:lnTo>
                  <a:lnTo>
                    <a:pt x="642" y="2412"/>
                  </a:lnTo>
                  <a:lnTo>
                    <a:pt x="666" y="2430"/>
                  </a:lnTo>
                  <a:lnTo>
                    <a:pt x="660" y="2442"/>
                  </a:lnTo>
                  <a:lnTo>
                    <a:pt x="666" y="2424"/>
                  </a:lnTo>
                  <a:lnTo>
                    <a:pt x="672" y="2418"/>
                  </a:lnTo>
                  <a:lnTo>
                    <a:pt x="684" y="2418"/>
                  </a:lnTo>
                  <a:lnTo>
                    <a:pt x="690" y="2424"/>
                  </a:lnTo>
                  <a:lnTo>
                    <a:pt x="702" y="2424"/>
                  </a:lnTo>
                  <a:lnTo>
                    <a:pt x="714" y="2430"/>
                  </a:lnTo>
                  <a:lnTo>
                    <a:pt x="720" y="2436"/>
                  </a:lnTo>
                  <a:lnTo>
                    <a:pt x="678" y="2382"/>
                  </a:lnTo>
                  <a:lnTo>
                    <a:pt x="660" y="2382"/>
                  </a:lnTo>
                  <a:lnTo>
                    <a:pt x="666" y="2370"/>
                  </a:lnTo>
                  <a:lnTo>
                    <a:pt x="630" y="2340"/>
                  </a:lnTo>
                  <a:lnTo>
                    <a:pt x="630" y="2310"/>
                  </a:lnTo>
                  <a:lnTo>
                    <a:pt x="618" y="2298"/>
                  </a:lnTo>
                  <a:lnTo>
                    <a:pt x="624" y="2286"/>
                  </a:lnTo>
                  <a:lnTo>
                    <a:pt x="630" y="2286"/>
                  </a:lnTo>
                  <a:lnTo>
                    <a:pt x="642" y="2274"/>
                  </a:lnTo>
                  <a:lnTo>
                    <a:pt x="642" y="2268"/>
                  </a:lnTo>
                  <a:lnTo>
                    <a:pt x="636" y="2268"/>
                  </a:lnTo>
                  <a:lnTo>
                    <a:pt x="624" y="2262"/>
                  </a:lnTo>
                  <a:lnTo>
                    <a:pt x="606" y="2262"/>
                  </a:lnTo>
                  <a:lnTo>
                    <a:pt x="618" y="2250"/>
                  </a:lnTo>
                  <a:lnTo>
                    <a:pt x="618" y="2232"/>
                  </a:lnTo>
                  <a:lnTo>
                    <a:pt x="636" y="2256"/>
                  </a:lnTo>
                  <a:lnTo>
                    <a:pt x="648" y="2262"/>
                  </a:lnTo>
                  <a:lnTo>
                    <a:pt x="666" y="2262"/>
                  </a:lnTo>
                  <a:lnTo>
                    <a:pt x="672" y="2256"/>
                  </a:lnTo>
                  <a:lnTo>
                    <a:pt x="678" y="2244"/>
                  </a:lnTo>
                  <a:lnTo>
                    <a:pt x="678" y="2226"/>
                  </a:lnTo>
                  <a:lnTo>
                    <a:pt x="672" y="2208"/>
                  </a:lnTo>
                  <a:lnTo>
                    <a:pt x="666" y="2196"/>
                  </a:lnTo>
                  <a:lnTo>
                    <a:pt x="666" y="2178"/>
                  </a:lnTo>
                  <a:lnTo>
                    <a:pt x="678" y="2154"/>
                  </a:lnTo>
                  <a:lnTo>
                    <a:pt x="690" y="2142"/>
                  </a:lnTo>
                  <a:lnTo>
                    <a:pt x="708" y="2130"/>
                  </a:lnTo>
                  <a:lnTo>
                    <a:pt x="738" y="2100"/>
                  </a:lnTo>
                  <a:lnTo>
                    <a:pt x="726" y="2088"/>
                  </a:lnTo>
                  <a:lnTo>
                    <a:pt x="702" y="2088"/>
                  </a:lnTo>
                  <a:lnTo>
                    <a:pt x="726" y="2082"/>
                  </a:lnTo>
                  <a:lnTo>
                    <a:pt x="726" y="2064"/>
                  </a:lnTo>
                  <a:lnTo>
                    <a:pt x="714" y="2040"/>
                  </a:lnTo>
                  <a:lnTo>
                    <a:pt x="708" y="2034"/>
                  </a:lnTo>
                  <a:lnTo>
                    <a:pt x="696" y="2028"/>
                  </a:lnTo>
                  <a:lnTo>
                    <a:pt x="690" y="2028"/>
                  </a:lnTo>
                  <a:lnTo>
                    <a:pt x="684" y="2034"/>
                  </a:lnTo>
                  <a:lnTo>
                    <a:pt x="672" y="2016"/>
                  </a:lnTo>
                  <a:lnTo>
                    <a:pt x="642" y="2016"/>
                  </a:lnTo>
                  <a:lnTo>
                    <a:pt x="636" y="2010"/>
                  </a:lnTo>
                  <a:lnTo>
                    <a:pt x="624" y="2004"/>
                  </a:lnTo>
                  <a:lnTo>
                    <a:pt x="606" y="1992"/>
                  </a:lnTo>
                  <a:lnTo>
                    <a:pt x="582" y="1968"/>
                  </a:lnTo>
                  <a:lnTo>
                    <a:pt x="570" y="1950"/>
                  </a:lnTo>
                  <a:lnTo>
                    <a:pt x="564" y="1938"/>
                  </a:lnTo>
                  <a:lnTo>
                    <a:pt x="564" y="1926"/>
                  </a:lnTo>
                  <a:lnTo>
                    <a:pt x="570" y="1914"/>
                  </a:lnTo>
                  <a:lnTo>
                    <a:pt x="570" y="1908"/>
                  </a:lnTo>
                  <a:lnTo>
                    <a:pt x="576" y="1908"/>
                  </a:lnTo>
                  <a:lnTo>
                    <a:pt x="582" y="1902"/>
                  </a:lnTo>
                  <a:lnTo>
                    <a:pt x="594" y="1878"/>
                  </a:lnTo>
                  <a:lnTo>
                    <a:pt x="606" y="1878"/>
                  </a:lnTo>
                  <a:lnTo>
                    <a:pt x="612" y="1860"/>
                  </a:lnTo>
                  <a:lnTo>
                    <a:pt x="666" y="1860"/>
                  </a:lnTo>
                  <a:lnTo>
                    <a:pt x="654" y="1848"/>
                  </a:lnTo>
                  <a:lnTo>
                    <a:pt x="654" y="1824"/>
                  </a:lnTo>
                  <a:lnTo>
                    <a:pt x="666" y="1824"/>
                  </a:lnTo>
                  <a:lnTo>
                    <a:pt x="666" y="1794"/>
                  </a:lnTo>
                  <a:lnTo>
                    <a:pt x="660" y="1788"/>
                  </a:lnTo>
                  <a:lnTo>
                    <a:pt x="654" y="1776"/>
                  </a:lnTo>
                  <a:lnTo>
                    <a:pt x="642" y="1764"/>
                  </a:lnTo>
                  <a:lnTo>
                    <a:pt x="642" y="1746"/>
                  </a:lnTo>
                  <a:lnTo>
                    <a:pt x="648" y="1728"/>
                  </a:lnTo>
                  <a:lnTo>
                    <a:pt x="654" y="1716"/>
                  </a:lnTo>
                  <a:lnTo>
                    <a:pt x="666" y="1710"/>
                  </a:lnTo>
                  <a:lnTo>
                    <a:pt x="672" y="1704"/>
                  </a:lnTo>
                  <a:lnTo>
                    <a:pt x="684" y="1704"/>
                  </a:lnTo>
                  <a:lnTo>
                    <a:pt x="684" y="1692"/>
                  </a:lnTo>
                  <a:lnTo>
                    <a:pt x="660" y="1692"/>
                  </a:lnTo>
                  <a:lnTo>
                    <a:pt x="648" y="1686"/>
                  </a:lnTo>
                  <a:lnTo>
                    <a:pt x="642" y="1680"/>
                  </a:lnTo>
                  <a:lnTo>
                    <a:pt x="642" y="1674"/>
                  </a:lnTo>
                  <a:lnTo>
                    <a:pt x="654" y="1668"/>
                  </a:lnTo>
                  <a:lnTo>
                    <a:pt x="666" y="1668"/>
                  </a:lnTo>
                  <a:lnTo>
                    <a:pt x="702" y="1686"/>
                  </a:lnTo>
                  <a:lnTo>
                    <a:pt x="708" y="1692"/>
                  </a:lnTo>
                  <a:lnTo>
                    <a:pt x="714" y="1692"/>
                  </a:lnTo>
                  <a:lnTo>
                    <a:pt x="720" y="1686"/>
                  </a:lnTo>
                  <a:lnTo>
                    <a:pt x="732" y="1680"/>
                  </a:lnTo>
                  <a:lnTo>
                    <a:pt x="732" y="1656"/>
                  </a:lnTo>
                  <a:lnTo>
                    <a:pt x="726" y="1644"/>
                  </a:lnTo>
                  <a:lnTo>
                    <a:pt x="708" y="1626"/>
                  </a:lnTo>
                  <a:lnTo>
                    <a:pt x="696" y="1626"/>
                  </a:lnTo>
                  <a:lnTo>
                    <a:pt x="690" y="1632"/>
                  </a:lnTo>
                  <a:lnTo>
                    <a:pt x="690" y="1650"/>
                  </a:lnTo>
                  <a:lnTo>
                    <a:pt x="684" y="1656"/>
                  </a:lnTo>
                  <a:lnTo>
                    <a:pt x="666" y="1656"/>
                  </a:lnTo>
                  <a:lnTo>
                    <a:pt x="654" y="1650"/>
                  </a:lnTo>
                  <a:lnTo>
                    <a:pt x="648" y="1644"/>
                  </a:lnTo>
                  <a:lnTo>
                    <a:pt x="648" y="1638"/>
                  </a:lnTo>
                  <a:lnTo>
                    <a:pt x="612" y="1638"/>
                  </a:lnTo>
                  <a:lnTo>
                    <a:pt x="606" y="1632"/>
                  </a:lnTo>
                  <a:lnTo>
                    <a:pt x="606" y="1572"/>
                  </a:lnTo>
                  <a:lnTo>
                    <a:pt x="600" y="1566"/>
                  </a:lnTo>
                  <a:lnTo>
                    <a:pt x="594" y="1554"/>
                  </a:lnTo>
                  <a:lnTo>
                    <a:pt x="588" y="1536"/>
                  </a:lnTo>
                  <a:lnTo>
                    <a:pt x="588" y="1524"/>
                  </a:lnTo>
                  <a:lnTo>
                    <a:pt x="594" y="1518"/>
                  </a:lnTo>
                  <a:lnTo>
                    <a:pt x="600" y="1518"/>
                  </a:lnTo>
                  <a:lnTo>
                    <a:pt x="606" y="1524"/>
                  </a:lnTo>
                  <a:lnTo>
                    <a:pt x="618" y="1524"/>
                  </a:lnTo>
                  <a:lnTo>
                    <a:pt x="624" y="1530"/>
                  </a:lnTo>
                  <a:lnTo>
                    <a:pt x="636" y="1536"/>
                  </a:lnTo>
                  <a:lnTo>
                    <a:pt x="672" y="1548"/>
                  </a:lnTo>
                  <a:lnTo>
                    <a:pt x="690" y="1560"/>
                  </a:lnTo>
                  <a:lnTo>
                    <a:pt x="708" y="1560"/>
                  </a:lnTo>
                  <a:lnTo>
                    <a:pt x="726" y="1554"/>
                  </a:lnTo>
                  <a:lnTo>
                    <a:pt x="738" y="1542"/>
                  </a:lnTo>
                  <a:lnTo>
                    <a:pt x="750" y="1536"/>
                  </a:lnTo>
                  <a:lnTo>
                    <a:pt x="768" y="1530"/>
                  </a:lnTo>
                  <a:lnTo>
                    <a:pt x="774" y="1524"/>
                  </a:lnTo>
                  <a:lnTo>
                    <a:pt x="774" y="1512"/>
                  </a:lnTo>
                  <a:lnTo>
                    <a:pt x="762" y="1506"/>
                  </a:lnTo>
                  <a:lnTo>
                    <a:pt x="750" y="1494"/>
                  </a:lnTo>
                  <a:lnTo>
                    <a:pt x="738" y="1488"/>
                  </a:lnTo>
                  <a:lnTo>
                    <a:pt x="738" y="1464"/>
                  </a:lnTo>
                  <a:lnTo>
                    <a:pt x="744" y="1452"/>
                  </a:lnTo>
                  <a:lnTo>
                    <a:pt x="750" y="1446"/>
                  </a:lnTo>
                  <a:lnTo>
                    <a:pt x="750" y="1434"/>
                  </a:lnTo>
                  <a:lnTo>
                    <a:pt x="756" y="1422"/>
                  </a:lnTo>
                  <a:lnTo>
                    <a:pt x="744" y="1410"/>
                  </a:lnTo>
                  <a:lnTo>
                    <a:pt x="726" y="1410"/>
                  </a:lnTo>
                  <a:lnTo>
                    <a:pt x="720" y="1386"/>
                  </a:lnTo>
                  <a:lnTo>
                    <a:pt x="714" y="1380"/>
                  </a:lnTo>
                  <a:lnTo>
                    <a:pt x="714" y="1368"/>
                  </a:lnTo>
                  <a:lnTo>
                    <a:pt x="720" y="1362"/>
                  </a:lnTo>
                  <a:lnTo>
                    <a:pt x="726" y="1362"/>
                  </a:lnTo>
                  <a:lnTo>
                    <a:pt x="732" y="1374"/>
                  </a:lnTo>
                  <a:lnTo>
                    <a:pt x="738" y="1380"/>
                  </a:lnTo>
                  <a:lnTo>
                    <a:pt x="738" y="1386"/>
                  </a:lnTo>
                  <a:lnTo>
                    <a:pt x="744" y="1398"/>
                  </a:lnTo>
                  <a:lnTo>
                    <a:pt x="756" y="1398"/>
                  </a:lnTo>
                  <a:lnTo>
                    <a:pt x="750" y="1380"/>
                  </a:lnTo>
                  <a:lnTo>
                    <a:pt x="828" y="1386"/>
                  </a:lnTo>
                  <a:lnTo>
                    <a:pt x="834" y="1380"/>
                  </a:lnTo>
                  <a:lnTo>
                    <a:pt x="840" y="1380"/>
                  </a:lnTo>
                  <a:lnTo>
                    <a:pt x="846" y="1374"/>
                  </a:lnTo>
                  <a:lnTo>
                    <a:pt x="864" y="1368"/>
                  </a:lnTo>
                  <a:lnTo>
                    <a:pt x="894" y="1362"/>
                  </a:lnTo>
                  <a:lnTo>
                    <a:pt x="930" y="1350"/>
                  </a:lnTo>
                  <a:lnTo>
                    <a:pt x="972" y="1338"/>
                  </a:lnTo>
                  <a:lnTo>
                    <a:pt x="1002" y="1326"/>
                  </a:lnTo>
                  <a:lnTo>
                    <a:pt x="1014" y="1320"/>
                  </a:lnTo>
                  <a:lnTo>
                    <a:pt x="1014" y="1284"/>
                  </a:lnTo>
                  <a:lnTo>
                    <a:pt x="1032" y="1272"/>
                  </a:lnTo>
                  <a:lnTo>
                    <a:pt x="1044" y="1218"/>
                  </a:lnTo>
                  <a:lnTo>
                    <a:pt x="1038" y="1194"/>
                  </a:lnTo>
                  <a:lnTo>
                    <a:pt x="1038" y="1170"/>
                  </a:lnTo>
                  <a:lnTo>
                    <a:pt x="1032" y="1170"/>
                  </a:lnTo>
                  <a:lnTo>
                    <a:pt x="1026" y="1164"/>
                  </a:lnTo>
                  <a:lnTo>
                    <a:pt x="1002" y="1152"/>
                  </a:lnTo>
                  <a:lnTo>
                    <a:pt x="990" y="1152"/>
                  </a:lnTo>
                  <a:lnTo>
                    <a:pt x="984" y="1146"/>
                  </a:lnTo>
                  <a:lnTo>
                    <a:pt x="978" y="1146"/>
                  </a:lnTo>
                  <a:lnTo>
                    <a:pt x="972" y="1140"/>
                  </a:lnTo>
                  <a:lnTo>
                    <a:pt x="990" y="1122"/>
                  </a:lnTo>
                  <a:lnTo>
                    <a:pt x="990" y="1092"/>
                  </a:lnTo>
                  <a:lnTo>
                    <a:pt x="984" y="1080"/>
                  </a:lnTo>
                  <a:lnTo>
                    <a:pt x="978" y="1074"/>
                  </a:lnTo>
                  <a:lnTo>
                    <a:pt x="954" y="1062"/>
                  </a:lnTo>
                  <a:lnTo>
                    <a:pt x="918" y="1050"/>
                  </a:lnTo>
                  <a:lnTo>
                    <a:pt x="906" y="1044"/>
                  </a:lnTo>
                  <a:lnTo>
                    <a:pt x="888" y="1032"/>
                  </a:lnTo>
                  <a:lnTo>
                    <a:pt x="876" y="1020"/>
                  </a:lnTo>
                  <a:lnTo>
                    <a:pt x="876" y="1002"/>
                  </a:lnTo>
                  <a:lnTo>
                    <a:pt x="882" y="990"/>
                  </a:lnTo>
                  <a:lnTo>
                    <a:pt x="888" y="990"/>
                  </a:lnTo>
                  <a:lnTo>
                    <a:pt x="888" y="984"/>
                  </a:lnTo>
                  <a:lnTo>
                    <a:pt x="858" y="948"/>
                  </a:lnTo>
                  <a:lnTo>
                    <a:pt x="858" y="900"/>
                  </a:lnTo>
                  <a:lnTo>
                    <a:pt x="882" y="900"/>
                  </a:lnTo>
                  <a:lnTo>
                    <a:pt x="888" y="894"/>
                  </a:lnTo>
                  <a:lnTo>
                    <a:pt x="894" y="894"/>
                  </a:lnTo>
                  <a:lnTo>
                    <a:pt x="894" y="888"/>
                  </a:lnTo>
                  <a:lnTo>
                    <a:pt x="888" y="876"/>
                  </a:lnTo>
                  <a:lnTo>
                    <a:pt x="876" y="870"/>
                  </a:lnTo>
                  <a:lnTo>
                    <a:pt x="870" y="858"/>
                  </a:lnTo>
                  <a:lnTo>
                    <a:pt x="864" y="852"/>
                  </a:lnTo>
                  <a:lnTo>
                    <a:pt x="876" y="834"/>
                  </a:lnTo>
                  <a:lnTo>
                    <a:pt x="864" y="822"/>
                  </a:lnTo>
                  <a:lnTo>
                    <a:pt x="858" y="810"/>
                  </a:lnTo>
                  <a:lnTo>
                    <a:pt x="852" y="804"/>
                  </a:lnTo>
                  <a:lnTo>
                    <a:pt x="864" y="792"/>
                  </a:lnTo>
                  <a:lnTo>
                    <a:pt x="882" y="792"/>
                  </a:lnTo>
                  <a:lnTo>
                    <a:pt x="858" y="774"/>
                  </a:lnTo>
                  <a:lnTo>
                    <a:pt x="858" y="738"/>
                  </a:lnTo>
                  <a:lnTo>
                    <a:pt x="882" y="726"/>
                  </a:lnTo>
                  <a:lnTo>
                    <a:pt x="876" y="726"/>
                  </a:lnTo>
                  <a:lnTo>
                    <a:pt x="852" y="702"/>
                  </a:lnTo>
                  <a:lnTo>
                    <a:pt x="852" y="696"/>
                  </a:lnTo>
                  <a:lnTo>
                    <a:pt x="870" y="678"/>
                  </a:lnTo>
                  <a:lnTo>
                    <a:pt x="870" y="666"/>
                  </a:lnTo>
                  <a:lnTo>
                    <a:pt x="876" y="654"/>
                  </a:lnTo>
                  <a:lnTo>
                    <a:pt x="876" y="642"/>
                  </a:lnTo>
                  <a:lnTo>
                    <a:pt x="882" y="636"/>
                  </a:lnTo>
                  <a:lnTo>
                    <a:pt x="900" y="636"/>
                  </a:lnTo>
                  <a:lnTo>
                    <a:pt x="906" y="630"/>
                  </a:lnTo>
                  <a:lnTo>
                    <a:pt x="912" y="618"/>
                  </a:lnTo>
                  <a:lnTo>
                    <a:pt x="918" y="612"/>
                  </a:lnTo>
                  <a:lnTo>
                    <a:pt x="918" y="588"/>
                  </a:lnTo>
                  <a:lnTo>
                    <a:pt x="930" y="588"/>
                  </a:lnTo>
                  <a:lnTo>
                    <a:pt x="948" y="570"/>
                  </a:lnTo>
                  <a:lnTo>
                    <a:pt x="948" y="558"/>
                  </a:lnTo>
                  <a:lnTo>
                    <a:pt x="954" y="546"/>
                  </a:lnTo>
                  <a:lnTo>
                    <a:pt x="954" y="534"/>
                  </a:lnTo>
                  <a:close/>
                  <a:moveTo>
                    <a:pt x="930" y="1020"/>
                  </a:moveTo>
                  <a:lnTo>
                    <a:pt x="942" y="1020"/>
                  </a:lnTo>
                  <a:lnTo>
                    <a:pt x="930" y="1014"/>
                  </a:lnTo>
                  <a:lnTo>
                    <a:pt x="930" y="1020"/>
                  </a:lnTo>
                  <a:close/>
                </a:path>
              </a:pathLst>
            </a:custGeom>
            <a:solidFill>
              <a:srgbClr val="FFFF0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243" name="Angola" descr="© INSCALE GmbH, 05.05.2010&#10;http://www.presentationload.com/">
              <a:extLst>
                <a:ext uri="{FF2B5EF4-FFF2-40B4-BE49-F238E27FC236}">
                  <a16:creationId xmlns:a16="http://schemas.microsoft.com/office/drawing/2014/main" id="{7151FEBC-6CBC-DBF7-DE4D-A53D86C573FC}"/>
                </a:ext>
              </a:extLst>
            </p:cNvPr>
            <p:cNvSpPr>
              <a:spLocks noEditPoints="1"/>
            </p:cNvSpPr>
            <p:nvPr/>
          </p:nvSpPr>
          <p:spPr bwMode="gray">
            <a:xfrm>
              <a:off x="4548173" y="3348928"/>
              <a:ext cx="336498" cy="419514"/>
            </a:xfrm>
            <a:custGeom>
              <a:avLst/>
              <a:gdLst>
                <a:gd name="T0" fmla="*/ 2147483647 w 888"/>
                <a:gd name="T1" fmla="*/ 2147483647 h 1104"/>
                <a:gd name="T2" fmla="*/ 2147483647 w 888"/>
                <a:gd name="T3" fmla="*/ 2147483647 h 1104"/>
                <a:gd name="T4" fmla="*/ 2147483647 w 888"/>
                <a:gd name="T5" fmla="*/ 2147483647 h 1104"/>
                <a:gd name="T6" fmla="*/ 2147483647 w 888"/>
                <a:gd name="T7" fmla="*/ 0 h 1104"/>
                <a:gd name="T8" fmla="*/ 2147483647 w 888"/>
                <a:gd name="T9" fmla="*/ 2147483647 h 1104"/>
                <a:gd name="T10" fmla="*/ 2147483647 w 888"/>
                <a:gd name="T11" fmla="*/ 2147483647 h 1104"/>
                <a:gd name="T12" fmla="*/ 2147483647 w 888"/>
                <a:gd name="T13" fmla="*/ 2147483647 h 1104"/>
                <a:gd name="T14" fmla="*/ 2147483647 w 888"/>
                <a:gd name="T15" fmla="*/ 2147483647 h 1104"/>
                <a:gd name="T16" fmla="*/ 2147483647 w 888"/>
                <a:gd name="T17" fmla="*/ 2147483647 h 1104"/>
                <a:gd name="T18" fmla="*/ 2147483647 w 888"/>
                <a:gd name="T19" fmla="*/ 2147483647 h 1104"/>
                <a:gd name="T20" fmla="*/ 2147483647 w 888"/>
                <a:gd name="T21" fmla="*/ 2147483647 h 1104"/>
                <a:gd name="T22" fmla="*/ 2147483647 w 888"/>
                <a:gd name="T23" fmla="*/ 2147483647 h 1104"/>
                <a:gd name="T24" fmla="*/ 2147483647 w 888"/>
                <a:gd name="T25" fmla="*/ 2147483647 h 1104"/>
                <a:gd name="T26" fmla="*/ 2147483647 w 888"/>
                <a:gd name="T27" fmla="*/ 2147483647 h 1104"/>
                <a:gd name="T28" fmla="*/ 2147483647 w 888"/>
                <a:gd name="T29" fmla="*/ 2147483647 h 1104"/>
                <a:gd name="T30" fmla="*/ 2147483647 w 888"/>
                <a:gd name="T31" fmla="*/ 2147483647 h 1104"/>
                <a:gd name="T32" fmla="*/ 2147483647 w 888"/>
                <a:gd name="T33" fmla="*/ 2147483647 h 1104"/>
                <a:gd name="T34" fmla="*/ 2147483647 w 888"/>
                <a:gd name="T35" fmla="*/ 2147483647 h 1104"/>
                <a:gd name="T36" fmla="*/ 2147483647 w 888"/>
                <a:gd name="T37" fmla="*/ 2147483647 h 1104"/>
                <a:gd name="T38" fmla="*/ 2147483647 w 888"/>
                <a:gd name="T39" fmla="*/ 2147483647 h 1104"/>
                <a:gd name="T40" fmla="*/ 2147483647 w 888"/>
                <a:gd name="T41" fmla="*/ 2147483647 h 1104"/>
                <a:gd name="T42" fmla="*/ 2147483647 w 888"/>
                <a:gd name="T43" fmla="*/ 2147483647 h 1104"/>
                <a:gd name="T44" fmla="*/ 2147483647 w 888"/>
                <a:gd name="T45" fmla="*/ 2147483647 h 1104"/>
                <a:gd name="T46" fmla="*/ 2147483647 w 888"/>
                <a:gd name="T47" fmla="*/ 2147483647 h 1104"/>
                <a:gd name="T48" fmla="*/ 2147483647 w 888"/>
                <a:gd name="T49" fmla="*/ 2147483647 h 1104"/>
                <a:gd name="T50" fmla="*/ 2147483647 w 888"/>
                <a:gd name="T51" fmla="*/ 2147483647 h 1104"/>
                <a:gd name="T52" fmla="*/ 2147483647 w 888"/>
                <a:gd name="T53" fmla="*/ 2147483647 h 1104"/>
                <a:gd name="T54" fmla="*/ 2147483647 w 888"/>
                <a:gd name="T55" fmla="*/ 2147483647 h 1104"/>
                <a:gd name="T56" fmla="*/ 2147483647 w 888"/>
                <a:gd name="T57" fmla="*/ 2147483647 h 1104"/>
                <a:gd name="T58" fmla="*/ 2147483647 w 888"/>
                <a:gd name="T59" fmla="*/ 2147483647 h 1104"/>
                <a:gd name="T60" fmla="*/ 2147483647 w 888"/>
                <a:gd name="T61" fmla="*/ 2147483647 h 1104"/>
                <a:gd name="T62" fmla="*/ 2147483647 w 888"/>
                <a:gd name="T63" fmla="*/ 2147483647 h 1104"/>
                <a:gd name="T64" fmla="*/ 2147483647 w 888"/>
                <a:gd name="T65" fmla="*/ 2147483647 h 1104"/>
                <a:gd name="T66" fmla="*/ 2147483647 w 888"/>
                <a:gd name="T67" fmla="*/ 2147483647 h 1104"/>
                <a:gd name="T68" fmla="*/ 2147483647 w 888"/>
                <a:gd name="T69" fmla="*/ 2147483647 h 1104"/>
                <a:gd name="T70" fmla="*/ 2147483647 w 888"/>
                <a:gd name="T71" fmla="*/ 2147483647 h 1104"/>
                <a:gd name="T72" fmla="*/ 2147483647 w 888"/>
                <a:gd name="T73" fmla="*/ 2147483647 h 1104"/>
                <a:gd name="T74" fmla="*/ 0 w 888"/>
                <a:gd name="T75" fmla="*/ 2147483647 h 1104"/>
                <a:gd name="T76" fmla="*/ 2147483647 w 888"/>
                <a:gd name="T77" fmla="*/ 2147483647 h 1104"/>
                <a:gd name="T78" fmla="*/ 2147483647 w 888"/>
                <a:gd name="T79" fmla="*/ 2147483647 h 1104"/>
                <a:gd name="T80" fmla="*/ 2147483647 w 888"/>
                <a:gd name="T81" fmla="*/ 2147483647 h 1104"/>
                <a:gd name="T82" fmla="*/ 2147483647 w 888"/>
                <a:gd name="T83" fmla="*/ 2147483647 h 1104"/>
                <a:gd name="T84" fmla="*/ 2147483647 w 888"/>
                <a:gd name="T85" fmla="*/ 2147483647 h 1104"/>
                <a:gd name="T86" fmla="*/ 2147483647 w 888"/>
                <a:gd name="T87" fmla="*/ 2147483647 h 1104"/>
                <a:gd name="T88" fmla="*/ 2147483647 w 888"/>
                <a:gd name="T89" fmla="*/ 2147483647 h 1104"/>
                <a:gd name="T90" fmla="*/ 2147483647 w 888"/>
                <a:gd name="T91" fmla="*/ 2147483647 h 1104"/>
                <a:gd name="T92" fmla="*/ 2147483647 w 888"/>
                <a:gd name="T93" fmla="*/ 2147483647 h 1104"/>
                <a:gd name="T94" fmla="*/ 2147483647 w 888"/>
                <a:gd name="T95" fmla="*/ 2147483647 h 110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88"/>
                <a:gd name="T145" fmla="*/ 0 h 1104"/>
                <a:gd name="T146" fmla="*/ 888 w 888"/>
                <a:gd name="T147" fmla="*/ 1104 h 110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88" h="1104">
                  <a:moveTo>
                    <a:pt x="42" y="114"/>
                  </a:moveTo>
                  <a:lnTo>
                    <a:pt x="42" y="120"/>
                  </a:lnTo>
                  <a:lnTo>
                    <a:pt x="48" y="120"/>
                  </a:lnTo>
                  <a:lnTo>
                    <a:pt x="54" y="114"/>
                  </a:lnTo>
                  <a:lnTo>
                    <a:pt x="66" y="108"/>
                  </a:lnTo>
                  <a:lnTo>
                    <a:pt x="72" y="102"/>
                  </a:lnTo>
                  <a:lnTo>
                    <a:pt x="72" y="96"/>
                  </a:lnTo>
                  <a:lnTo>
                    <a:pt x="66" y="84"/>
                  </a:lnTo>
                  <a:lnTo>
                    <a:pt x="66" y="78"/>
                  </a:lnTo>
                  <a:lnTo>
                    <a:pt x="60" y="66"/>
                  </a:lnTo>
                  <a:lnTo>
                    <a:pt x="96" y="36"/>
                  </a:lnTo>
                  <a:lnTo>
                    <a:pt x="102" y="24"/>
                  </a:lnTo>
                  <a:lnTo>
                    <a:pt x="102" y="18"/>
                  </a:lnTo>
                  <a:lnTo>
                    <a:pt x="96" y="12"/>
                  </a:lnTo>
                  <a:lnTo>
                    <a:pt x="96" y="6"/>
                  </a:lnTo>
                  <a:lnTo>
                    <a:pt x="90" y="0"/>
                  </a:lnTo>
                  <a:lnTo>
                    <a:pt x="84" y="6"/>
                  </a:lnTo>
                  <a:lnTo>
                    <a:pt x="72" y="12"/>
                  </a:lnTo>
                  <a:lnTo>
                    <a:pt x="66" y="18"/>
                  </a:lnTo>
                  <a:lnTo>
                    <a:pt x="54" y="24"/>
                  </a:lnTo>
                  <a:lnTo>
                    <a:pt x="54" y="42"/>
                  </a:lnTo>
                  <a:lnTo>
                    <a:pt x="36" y="42"/>
                  </a:lnTo>
                  <a:lnTo>
                    <a:pt x="36" y="60"/>
                  </a:lnTo>
                  <a:lnTo>
                    <a:pt x="42" y="114"/>
                  </a:lnTo>
                  <a:close/>
                  <a:moveTo>
                    <a:pt x="876" y="546"/>
                  </a:moveTo>
                  <a:lnTo>
                    <a:pt x="852" y="546"/>
                  </a:lnTo>
                  <a:lnTo>
                    <a:pt x="840" y="534"/>
                  </a:lnTo>
                  <a:lnTo>
                    <a:pt x="828" y="534"/>
                  </a:lnTo>
                  <a:lnTo>
                    <a:pt x="828" y="546"/>
                  </a:lnTo>
                  <a:lnTo>
                    <a:pt x="804" y="552"/>
                  </a:lnTo>
                  <a:lnTo>
                    <a:pt x="774" y="546"/>
                  </a:lnTo>
                  <a:lnTo>
                    <a:pt x="768" y="564"/>
                  </a:lnTo>
                  <a:lnTo>
                    <a:pt x="762" y="558"/>
                  </a:lnTo>
                  <a:lnTo>
                    <a:pt x="756" y="558"/>
                  </a:lnTo>
                  <a:lnTo>
                    <a:pt x="750" y="552"/>
                  </a:lnTo>
                  <a:lnTo>
                    <a:pt x="750" y="528"/>
                  </a:lnTo>
                  <a:lnTo>
                    <a:pt x="756" y="522"/>
                  </a:lnTo>
                  <a:lnTo>
                    <a:pt x="756" y="510"/>
                  </a:lnTo>
                  <a:lnTo>
                    <a:pt x="762" y="498"/>
                  </a:lnTo>
                  <a:lnTo>
                    <a:pt x="762" y="480"/>
                  </a:lnTo>
                  <a:lnTo>
                    <a:pt x="756" y="474"/>
                  </a:lnTo>
                  <a:lnTo>
                    <a:pt x="744" y="450"/>
                  </a:lnTo>
                  <a:lnTo>
                    <a:pt x="732" y="432"/>
                  </a:lnTo>
                  <a:lnTo>
                    <a:pt x="726" y="414"/>
                  </a:lnTo>
                  <a:lnTo>
                    <a:pt x="726" y="402"/>
                  </a:lnTo>
                  <a:lnTo>
                    <a:pt x="732" y="396"/>
                  </a:lnTo>
                  <a:lnTo>
                    <a:pt x="732" y="384"/>
                  </a:lnTo>
                  <a:lnTo>
                    <a:pt x="726" y="360"/>
                  </a:lnTo>
                  <a:lnTo>
                    <a:pt x="732" y="354"/>
                  </a:lnTo>
                  <a:lnTo>
                    <a:pt x="738" y="342"/>
                  </a:lnTo>
                  <a:lnTo>
                    <a:pt x="738" y="330"/>
                  </a:lnTo>
                  <a:lnTo>
                    <a:pt x="732" y="318"/>
                  </a:lnTo>
                  <a:lnTo>
                    <a:pt x="720" y="306"/>
                  </a:lnTo>
                  <a:lnTo>
                    <a:pt x="714" y="288"/>
                  </a:lnTo>
                  <a:lnTo>
                    <a:pt x="726" y="270"/>
                  </a:lnTo>
                  <a:lnTo>
                    <a:pt x="726" y="246"/>
                  </a:lnTo>
                  <a:lnTo>
                    <a:pt x="636" y="246"/>
                  </a:lnTo>
                  <a:lnTo>
                    <a:pt x="636" y="222"/>
                  </a:lnTo>
                  <a:lnTo>
                    <a:pt x="624" y="216"/>
                  </a:lnTo>
                  <a:lnTo>
                    <a:pt x="612" y="216"/>
                  </a:lnTo>
                  <a:lnTo>
                    <a:pt x="612" y="222"/>
                  </a:lnTo>
                  <a:lnTo>
                    <a:pt x="564" y="222"/>
                  </a:lnTo>
                  <a:lnTo>
                    <a:pt x="558" y="228"/>
                  </a:lnTo>
                  <a:lnTo>
                    <a:pt x="558" y="234"/>
                  </a:lnTo>
                  <a:lnTo>
                    <a:pt x="564" y="240"/>
                  </a:lnTo>
                  <a:lnTo>
                    <a:pt x="570" y="252"/>
                  </a:lnTo>
                  <a:lnTo>
                    <a:pt x="570" y="264"/>
                  </a:lnTo>
                  <a:lnTo>
                    <a:pt x="558" y="264"/>
                  </a:lnTo>
                  <a:lnTo>
                    <a:pt x="558" y="270"/>
                  </a:lnTo>
                  <a:lnTo>
                    <a:pt x="552" y="276"/>
                  </a:lnTo>
                  <a:lnTo>
                    <a:pt x="552" y="294"/>
                  </a:lnTo>
                  <a:lnTo>
                    <a:pt x="510" y="300"/>
                  </a:lnTo>
                  <a:lnTo>
                    <a:pt x="504" y="294"/>
                  </a:lnTo>
                  <a:lnTo>
                    <a:pt x="492" y="300"/>
                  </a:lnTo>
                  <a:lnTo>
                    <a:pt x="468" y="300"/>
                  </a:lnTo>
                  <a:lnTo>
                    <a:pt x="462" y="312"/>
                  </a:lnTo>
                  <a:lnTo>
                    <a:pt x="450" y="306"/>
                  </a:lnTo>
                  <a:lnTo>
                    <a:pt x="420" y="306"/>
                  </a:lnTo>
                  <a:lnTo>
                    <a:pt x="408" y="282"/>
                  </a:lnTo>
                  <a:lnTo>
                    <a:pt x="402" y="276"/>
                  </a:lnTo>
                  <a:lnTo>
                    <a:pt x="402" y="264"/>
                  </a:lnTo>
                  <a:lnTo>
                    <a:pt x="390" y="252"/>
                  </a:lnTo>
                  <a:lnTo>
                    <a:pt x="384" y="252"/>
                  </a:lnTo>
                  <a:lnTo>
                    <a:pt x="378" y="246"/>
                  </a:lnTo>
                  <a:lnTo>
                    <a:pt x="378" y="240"/>
                  </a:lnTo>
                  <a:lnTo>
                    <a:pt x="384" y="234"/>
                  </a:lnTo>
                  <a:lnTo>
                    <a:pt x="384" y="210"/>
                  </a:lnTo>
                  <a:lnTo>
                    <a:pt x="366" y="192"/>
                  </a:lnTo>
                  <a:lnTo>
                    <a:pt x="366" y="150"/>
                  </a:lnTo>
                  <a:lnTo>
                    <a:pt x="354" y="138"/>
                  </a:lnTo>
                  <a:lnTo>
                    <a:pt x="348" y="126"/>
                  </a:lnTo>
                  <a:lnTo>
                    <a:pt x="342" y="120"/>
                  </a:lnTo>
                  <a:lnTo>
                    <a:pt x="324" y="120"/>
                  </a:lnTo>
                  <a:lnTo>
                    <a:pt x="318" y="126"/>
                  </a:lnTo>
                  <a:lnTo>
                    <a:pt x="294" y="126"/>
                  </a:lnTo>
                  <a:lnTo>
                    <a:pt x="276" y="132"/>
                  </a:lnTo>
                  <a:lnTo>
                    <a:pt x="246" y="132"/>
                  </a:lnTo>
                  <a:lnTo>
                    <a:pt x="234" y="126"/>
                  </a:lnTo>
                  <a:lnTo>
                    <a:pt x="222" y="126"/>
                  </a:lnTo>
                  <a:lnTo>
                    <a:pt x="210" y="132"/>
                  </a:lnTo>
                  <a:lnTo>
                    <a:pt x="180" y="132"/>
                  </a:lnTo>
                  <a:lnTo>
                    <a:pt x="168" y="126"/>
                  </a:lnTo>
                  <a:lnTo>
                    <a:pt x="144" y="132"/>
                  </a:lnTo>
                  <a:lnTo>
                    <a:pt x="132" y="126"/>
                  </a:lnTo>
                  <a:lnTo>
                    <a:pt x="126" y="132"/>
                  </a:lnTo>
                  <a:lnTo>
                    <a:pt x="102" y="126"/>
                  </a:lnTo>
                  <a:lnTo>
                    <a:pt x="54" y="150"/>
                  </a:lnTo>
                  <a:lnTo>
                    <a:pt x="48" y="156"/>
                  </a:lnTo>
                  <a:lnTo>
                    <a:pt x="54" y="168"/>
                  </a:lnTo>
                  <a:lnTo>
                    <a:pt x="60" y="174"/>
                  </a:lnTo>
                  <a:lnTo>
                    <a:pt x="66" y="186"/>
                  </a:lnTo>
                  <a:lnTo>
                    <a:pt x="90" y="210"/>
                  </a:lnTo>
                  <a:lnTo>
                    <a:pt x="84" y="234"/>
                  </a:lnTo>
                  <a:lnTo>
                    <a:pt x="90" y="246"/>
                  </a:lnTo>
                  <a:lnTo>
                    <a:pt x="108" y="270"/>
                  </a:lnTo>
                  <a:lnTo>
                    <a:pt x="120" y="300"/>
                  </a:lnTo>
                  <a:lnTo>
                    <a:pt x="126" y="330"/>
                  </a:lnTo>
                  <a:lnTo>
                    <a:pt x="120" y="354"/>
                  </a:lnTo>
                  <a:lnTo>
                    <a:pt x="108" y="378"/>
                  </a:lnTo>
                  <a:lnTo>
                    <a:pt x="102" y="384"/>
                  </a:lnTo>
                  <a:lnTo>
                    <a:pt x="102" y="408"/>
                  </a:lnTo>
                  <a:lnTo>
                    <a:pt x="114" y="408"/>
                  </a:lnTo>
                  <a:lnTo>
                    <a:pt x="114" y="438"/>
                  </a:lnTo>
                  <a:lnTo>
                    <a:pt x="126" y="474"/>
                  </a:lnTo>
                  <a:lnTo>
                    <a:pt x="150" y="510"/>
                  </a:lnTo>
                  <a:lnTo>
                    <a:pt x="162" y="552"/>
                  </a:lnTo>
                  <a:lnTo>
                    <a:pt x="162" y="582"/>
                  </a:lnTo>
                  <a:lnTo>
                    <a:pt x="156" y="594"/>
                  </a:lnTo>
                  <a:lnTo>
                    <a:pt x="150" y="612"/>
                  </a:lnTo>
                  <a:lnTo>
                    <a:pt x="144" y="618"/>
                  </a:lnTo>
                  <a:lnTo>
                    <a:pt x="138" y="630"/>
                  </a:lnTo>
                  <a:lnTo>
                    <a:pt x="144" y="642"/>
                  </a:lnTo>
                  <a:lnTo>
                    <a:pt x="144" y="660"/>
                  </a:lnTo>
                  <a:lnTo>
                    <a:pt x="138" y="666"/>
                  </a:lnTo>
                  <a:lnTo>
                    <a:pt x="126" y="672"/>
                  </a:lnTo>
                  <a:lnTo>
                    <a:pt x="108" y="672"/>
                  </a:lnTo>
                  <a:lnTo>
                    <a:pt x="96" y="690"/>
                  </a:lnTo>
                  <a:lnTo>
                    <a:pt x="102" y="714"/>
                  </a:lnTo>
                  <a:lnTo>
                    <a:pt x="78" y="714"/>
                  </a:lnTo>
                  <a:lnTo>
                    <a:pt x="66" y="720"/>
                  </a:lnTo>
                  <a:lnTo>
                    <a:pt x="66" y="750"/>
                  </a:lnTo>
                  <a:lnTo>
                    <a:pt x="60" y="762"/>
                  </a:lnTo>
                  <a:lnTo>
                    <a:pt x="60" y="774"/>
                  </a:lnTo>
                  <a:lnTo>
                    <a:pt x="48" y="786"/>
                  </a:lnTo>
                  <a:lnTo>
                    <a:pt x="48" y="858"/>
                  </a:lnTo>
                  <a:lnTo>
                    <a:pt x="36" y="864"/>
                  </a:lnTo>
                  <a:lnTo>
                    <a:pt x="30" y="870"/>
                  </a:lnTo>
                  <a:lnTo>
                    <a:pt x="30" y="912"/>
                  </a:lnTo>
                  <a:lnTo>
                    <a:pt x="6" y="930"/>
                  </a:lnTo>
                  <a:lnTo>
                    <a:pt x="6" y="966"/>
                  </a:lnTo>
                  <a:lnTo>
                    <a:pt x="18" y="984"/>
                  </a:lnTo>
                  <a:lnTo>
                    <a:pt x="0" y="1002"/>
                  </a:lnTo>
                  <a:lnTo>
                    <a:pt x="0" y="1044"/>
                  </a:lnTo>
                  <a:lnTo>
                    <a:pt x="18" y="1044"/>
                  </a:lnTo>
                  <a:lnTo>
                    <a:pt x="36" y="1038"/>
                  </a:lnTo>
                  <a:lnTo>
                    <a:pt x="42" y="1044"/>
                  </a:lnTo>
                  <a:lnTo>
                    <a:pt x="72" y="1044"/>
                  </a:lnTo>
                  <a:lnTo>
                    <a:pt x="90" y="1026"/>
                  </a:lnTo>
                  <a:lnTo>
                    <a:pt x="90" y="1020"/>
                  </a:lnTo>
                  <a:lnTo>
                    <a:pt x="120" y="1020"/>
                  </a:lnTo>
                  <a:lnTo>
                    <a:pt x="126" y="1026"/>
                  </a:lnTo>
                  <a:lnTo>
                    <a:pt x="132" y="1038"/>
                  </a:lnTo>
                  <a:lnTo>
                    <a:pt x="156" y="1050"/>
                  </a:lnTo>
                  <a:lnTo>
                    <a:pt x="168" y="1050"/>
                  </a:lnTo>
                  <a:lnTo>
                    <a:pt x="174" y="1056"/>
                  </a:lnTo>
                  <a:lnTo>
                    <a:pt x="480" y="1056"/>
                  </a:lnTo>
                  <a:lnTo>
                    <a:pt x="480" y="1062"/>
                  </a:lnTo>
                  <a:lnTo>
                    <a:pt x="504" y="1086"/>
                  </a:lnTo>
                  <a:lnTo>
                    <a:pt x="540" y="1086"/>
                  </a:lnTo>
                  <a:lnTo>
                    <a:pt x="546" y="1098"/>
                  </a:lnTo>
                  <a:lnTo>
                    <a:pt x="618" y="1092"/>
                  </a:lnTo>
                  <a:lnTo>
                    <a:pt x="624" y="1104"/>
                  </a:lnTo>
                  <a:lnTo>
                    <a:pt x="696" y="1104"/>
                  </a:lnTo>
                  <a:lnTo>
                    <a:pt x="732" y="1098"/>
                  </a:lnTo>
                  <a:lnTo>
                    <a:pt x="780" y="1092"/>
                  </a:lnTo>
                  <a:lnTo>
                    <a:pt x="816" y="1080"/>
                  </a:lnTo>
                  <a:lnTo>
                    <a:pt x="828" y="1074"/>
                  </a:lnTo>
                  <a:lnTo>
                    <a:pt x="738" y="984"/>
                  </a:lnTo>
                  <a:lnTo>
                    <a:pt x="738" y="966"/>
                  </a:lnTo>
                  <a:lnTo>
                    <a:pt x="732" y="954"/>
                  </a:lnTo>
                  <a:lnTo>
                    <a:pt x="732" y="702"/>
                  </a:lnTo>
                  <a:lnTo>
                    <a:pt x="858" y="708"/>
                  </a:lnTo>
                  <a:lnTo>
                    <a:pt x="864" y="708"/>
                  </a:lnTo>
                  <a:lnTo>
                    <a:pt x="876" y="696"/>
                  </a:lnTo>
                  <a:lnTo>
                    <a:pt x="876" y="672"/>
                  </a:lnTo>
                  <a:lnTo>
                    <a:pt x="870" y="666"/>
                  </a:lnTo>
                  <a:lnTo>
                    <a:pt x="870" y="660"/>
                  </a:lnTo>
                  <a:lnTo>
                    <a:pt x="888" y="654"/>
                  </a:lnTo>
                  <a:lnTo>
                    <a:pt x="876" y="642"/>
                  </a:lnTo>
                  <a:lnTo>
                    <a:pt x="876" y="588"/>
                  </a:lnTo>
                  <a:lnTo>
                    <a:pt x="882" y="588"/>
                  </a:lnTo>
                  <a:lnTo>
                    <a:pt x="888" y="582"/>
                  </a:lnTo>
                  <a:lnTo>
                    <a:pt x="888" y="564"/>
                  </a:lnTo>
                  <a:lnTo>
                    <a:pt x="876" y="552"/>
                  </a:lnTo>
                  <a:lnTo>
                    <a:pt x="876" y="546"/>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244" name="Andorra" descr="© INSCALE GmbH, 05.05.2010&#10;http://www.presentationload.com/">
              <a:extLst>
                <a:ext uri="{FF2B5EF4-FFF2-40B4-BE49-F238E27FC236}">
                  <a16:creationId xmlns:a16="http://schemas.microsoft.com/office/drawing/2014/main" id="{8EE24256-60C7-2CAA-2F5F-E3A004AA32B8}"/>
                </a:ext>
              </a:extLst>
            </p:cNvPr>
            <p:cNvSpPr>
              <a:spLocks/>
            </p:cNvSpPr>
            <p:nvPr/>
          </p:nvSpPr>
          <p:spPr bwMode="gray">
            <a:xfrm>
              <a:off x="4293206" y="1916951"/>
              <a:ext cx="11859" cy="5929"/>
            </a:xfrm>
            <a:custGeom>
              <a:avLst/>
              <a:gdLst>
                <a:gd name="T0" fmla="*/ 2147483647 w 30"/>
                <a:gd name="T1" fmla="*/ 2147483647 h 18"/>
                <a:gd name="T2" fmla="*/ 2147483647 w 30"/>
                <a:gd name="T3" fmla="*/ 2147483647 h 18"/>
                <a:gd name="T4" fmla="*/ 2147483647 w 30"/>
                <a:gd name="T5" fmla="*/ 2147483647 h 18"/>
                <a:gd name="T6" fmla="*/ 2147483647 w 30"/>
                <a:gd name="T7" fmla="*/ 0 h 18"/>
                <a:gd name="T8" fmla="*/ 0 w 30"/>
                <a:gd name="T9" fmla="*/ 0 h 18"/>
                <a:gd name="T10" fmla="*/ 2147483647 w 30"/>
                <a:gd name="T11" fmla="*/ 2147483647 h 18"/>
                <a:gd name="T12" fmla="*/ 0 60000 65536"/>
                <a:gd name="T13" fmla="*/ 0 60000 65536"/>
                <a:gd name="T14" fmla="*/ 0 60000 65536"/>
                <a:gd name="T15" fmla="*/ 0 60000 65536"/>
                <a:gd name="T16" fmla="*/ 0 60000 65536"/>
                <a:gd name="T17" fmla="*/ 0 60000 65536"/>
                <a:gd name="T18" fmla="*/ 0 w 30"/>
                <a:gd name="T19" fmla="*/ 0 h 18"/>
                <a:gd name="T20" fmla="*/ 30 w 3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0" h="18">
                  <a:moveTo>
                    <a:pt x="6" y="18"/>
                  </a:moveTo>
                  <a:lnTo>
                    <a:pt x="18" y="12"/>
                  </a:lnTo>
                  <a:lnTo>
                    <a:pt x="30" y="12"/>
                  </a:lnTo>
                  <a:lnTo>
                    <a:pt x="30" y="0"/>
                  </a:lnTo>
                  <a:lnTo>
                    <a:pt x="0" y="0"/>
                  </a:lnTo>
                  <a:lnTo>
                    <a:pt x="6" y="18"/>
                  </a:lnTo>
                  <a:close/>
                </a:path>
              </a:pathLst>
            </a:custGeom>
            <a:grp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245" name="Algeria" descr="© INSCALE GmbH, 05.05.2010&#10;http://www.presentationload.com/">
              <a:extLst>
                <a:ext uri="{FF2B5EF4-FFF2-40B4-BE49-F238E27FC236}">
                  <a16:creationId xmlns:a16="http://schemas.microsoft.com/office/drawing/2014/main" id="{2077872A-37BC-A2AF-7B3F-2A782075A402}"/>
                </a:ext>
              </a:extLst>
            </p:cNvPr>
            <p:cNvSpPr>
              <a:spLocks/>
            </p:cNvSpPr>
            <p:nvPr/>
          </p:nvSpPr>
          <p:spPr bwMode="gray">
            <a:xfrm>
              <a:off x="3996732" y="2082976"/>
              <a:ext cx="560338" cy="554408"/>
            </a:xfrm>
            <a:custGeom>
              <a:avLst/>
              <a:gdLst>
                <a:gd name="T0" fmla="*/ 2147483647 w 1476"/>
                <a:gd name="T1" fmla="*/ 2147483647 h 1464"/>
                <a:gd name="T2" fmla="*/ 2147483647 w 1476"/>
                <a:gd name="T3" fmla="*/ 2147483647 h 1464"/>
                <a:gd name="T4" fmla="*/ 2147483647 w 1476"/>
                <a:gd name="T5" fmla="*/ 2147483647 h 1464"/>
                <a:gd name="T6" fmla="*/ 2147483647 w 1476"/>
                <a:gd name="T7" fmla="*/ 2147483647 h 1464"/>
                <a:gd name="T8" fmla="*/ 2147483647 w 1476"/>
                <a:gd name="T9" fmla="*/ 2147483647 h 1464"/>
                <a:gd name="T10" fmla="*/ 2147483647 w 1476"/>
                <a:gd name="T11" fmla="*/ 2147483647 h 1464"/>
                <a:gd name="T12" fmla="*/ 2147483647 w 1476"/>
                <a:gd name="T13" fmla="*/ 2147483647 h 1464"/>
                <a:gd name="T14" fmla="*/ 2147483647 w 1476"/>
                <a:gd name="T15" fmla="*/ 2147483647 h 1464"/>
                <a:gd name="T16" fmla="*/ 2147483647 w 1476"/>
                <a:gd name="T17" fmla="*/ 2147483647 h 1464"/>
                <a:gd name="T18" fmla="*/ 2147483647 w 1476"/>
                <a:gd name="T19" fmla="*/ 2147483647 h 1464"/>
                <a:gd name="T20" fmla="*/ 2147483647 w 1476"/>
                <a:gd name="T21" fmla="*/ 2147483647 h 1464"/>
                <a:gd name="T22" fmla="*/ 2147483647 w 1476"/>
                <a:gd name="T23" fmla="*/ 2147483647 h 1464"/>
                <a:gd name="T24" fmla="*/ 2147483647 w 1476"/>
                <a:gd name="T25" fmla="*/ 2147483647 h 1464"/>
                <a:gd name="T26" fmla="*/ 2147483647 w 1476"/>
                <a:gd name="T27" fmla="*/ 2147483647 h 1464"/>
                <a:gd name="T28" fmla="*/ 2147483647 w 1476"/>
                <a:gd name="T29" fmla="*/ 2147483647 h 1464"/>
                <a:gd name="T30" fmla="*/ 2147483647 w 1476"/>
                <a:gd name="T31" fmla="*/ 2147483647 h 1464"/>
                <a:gd name="T32" fmla="*/ 2147483647 w 1476"/>
                <a:gd name="T33" fmla="*/ 2147483647 h 1464"/>
                <a:gd name="T34" fmla="*/ 2147483647 w 1476"/>
                <a:gd name="T35" fmla="*/ 2147483647 h 1464"/>
                <a:gd name="T36" fmla="*/ 2147483647 w 1476"/>
                <a:gd name="T37" fmla="*/ 2147483647 h 1464"/>
                <a:gd name="T38" fmla="*/ 2147483647 w 1476"/>
                <a:gd name="T39" fmla="*/ 2147483647 h 1464"/>
                <a:gd name="T40" fmla="*/ 2147483647 w 1476"/>
                <a:gd name="T41" fmla="*/ 2147483647 h 1464"/>
                <a:gd name="T42" fmla="*/ 2147483647 w 1476"/>
                <a:gd name="T43" fmla="*/ 2147483647 h 1464"/>
                <a:gd name="T44" fmla="*/ 2147483647 w 1476"/>
                <a:gd name="T45" fmla="*/ 2147483647 h 1464"/>
                <a:gd name="T46" fmla="*/ 2147483647 w 1476"/>
                <a:gd name="T47" fmla="*/ 2147483647 h 1464"/>
                <a:gd name="T48" fmla="*/ 2147483647 w 1476"/>
                <a:gd name="T49" fmla="*/ 2147483647 h 1464"/>
                <a:gd name="T50" fmla="*/ 2147483647 w 1476"/>
                <a:gd name="T51" fmla="*/ 2147483647 h 1464"/>
                <a:gd name="T52" fmla="*/ 2147483647 w 1476"/>
                <a:gd name="T53" fmla="*/ 2147483647 h 1464"/>
                <a:gd name="T54" fmla="*/ 2147483647 w 1476"/>
                <a:gd name="T55" fmla="*/ 2147483647 h 1464"/>
                <a:gd name="T56" fmla="*/ 2147483647 w 1476"/>
                <a:gd name="T57" fmla="*/ 2147483647 h 1464"/>
                <a:gd name="T58" fmla="*/ 2147483647 w 1476"/>
                <a:gd name="T59" fmla="*/ 2147483647 h 1464"/>
                <a:gd name="T60" fmla="*/ 2147483647 w 1476"/>
                <a:gd name="T61" fmla="*/ 2147483647 h 1464"/>
                <a:gd name="T62" fmla="*/ 2147483647 w 1476"/>
                <a:gd name="T63" fmla="*/ 2147483647 h 1464"/>
                <a:gd name="T64" fmla="*/ 2147483647 w 1476"/>
                <a:gd name="T65" fmla="*/ 2147483647 h 1464"/>
                <a:gd name="T66" fmla="*/ 2147483647 w 1476"/>
                <a:gd name="T67" fmla="*/ 2147483647 h 1464"/>
                <a:gd name="T68" fmla="*/ 2147483647 w 1476"/>
                <a:gd name="T69" fmla="*/ 2147483647 h 1464"/>
                <a:gd name="T70" fmla="*/ 2147483647 w 1476"/>
                <a:gd name="T71" fmla="*/ 2147483647 h 1464"/>
                <a:gd name="T72" fmla="*/ 2147483647 w 1476"/>
                <a:gd name="T73" fmla="*/ 2147483647 h 1464"/>
                <a:gd name="T74" fmla="*/ 2147483647 w 1476"/>
                <a:gd name="T75" fmla="*/ 2147483647 h 1464"/>
                <a:gd name="T76" fmla="*/ 2147483647 w 1476"/>
                <a:gd name="T77" fmla="*/ 2147483647 h 1464"/>
                <a:gd name="T78" fmla="*/ 2147483647 w 1476"/>
                <a:gd name="T79" fmla="*/ 2147483647 h 1464"/>
                <a:gd name="T80" fmla="*/ 2147483647 w 1476"/>
                <a:gd name="T81" fmla="*/ 2147483647 h 1464"/>
                <a:gd name="T82" fmla="*/ 2147483647 w 1476"/>
                <a:gd name="T83" fmla="*/ 2147483647 h 1464"/>
                <a:gd name="T84" fmla="*/ 2147483647 w 1476"/>
                <a:gd name="T85" fmla="*/ 2147483647 h 1464"/>
                <a:gd name="T86" fmla="*/ 2147483647 w 1476"/>
                <a:gd name="T87" fmla="*/ 2147483647 h 1464"/>
                <a:gd name="T88" fmla="*/ 2147483647 w 1476"/>
                <a:gd name="T89" fmla="*/ 2147483647 h 1464"/>
                <a:gd name="T90" fmla="*/ 2147483647 w 1476"/>
                <a:gd name="T91" fmla="*/ 2147483647 h 1464"/>
                <a:gd name="T92" fmla="*/ 2147483647 w 1476"/>
                <a:gd name="T93" fmla="*/ 2147483647 h 1464"/>
                <a:gd name="T94" fmla="*/ 2147483647 w 1476"/>
                <a:gd name="T95" fmla="*/ 2147483647 h 1464"/>
                <a:gd name="T96" fmla="*/ 2147483647 w 1476"/>
                <a:gd name="T97" fmla="*/ 2147483647 h 1464"/>
                <a:gd name="T98" fmla="*/ 2147483647 w 1476"/>
                <a:gd name="T99" fmla="*/ 2147483647 h 1464"/>
                <a:gd name="T100" fmla="*/ 2147483647 w 1476"/>
                <a:gd name="T101" fmla="*/ 2147483647 h 1464"/>
                <a:gd name="T102" fmla="*/ 2147483647 w 1476"/>
                <a:gd name="T103" fmla="*/ 2147483647 h 1464"/>
                <a:gd name="T104" fmla="*/ 2147483647 w 1476"/>
                <a:gd name="T105" fmla="*/ 2147483647 h 146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476"/>
                <a:gd name="T160" fmla="*/ 0 h 1464"/>
                <a:gd name="T161" fmla="*/ 1476 w 1476"/>
                <a:gd name="T162" fmla="*/ 1464 h 146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476" h="1464">
                  <a:moveTo>
                    <a:pt x="360" y="534"/>
                  </a:moveTo>
                  <a:lnTo>
                    <a:pt x="318" y="534"/>
                  </a:lnTo>
                  <a:lnTo>
                    <a:pt x="312" y="546"/>
                  </a:lnTo>
                  <a:lnTo>
                    <a:pt x="306" y="552"/>
                  </a:lnTo>
                  <a:lnTo>
                    <a:pt x="294" y="576"/>
                  </a:lnTo>
                  <a:lnTo>
                    <a:pt x="282" y="588"/>
                  </a:lnTo>
                  <a:lnTo>
                    <a:pt x="258" y="588"/>
                  </a:lnTo>
                  <a:lnTo>
                    <a:pt x="246" y="582"/>
                  </a:lnTo>
                  <a:lnTo>
                    <a:pt x="234" y="582"/>
                  </a:lnTo>
                  <a:lnTo>
                    <a:pt x="228" y="594"/>
                  </a:lnTo>
                  <a:lnTo>
                    <a:pt x="204" y="600"/>
                  </a:lnTo>
                  <a:lnTo>
                    <a:pt x="204" y="606"/>
                  </a:lnTo>
                  <a:lnTo>
                    <a:pt x="198" y="618"/>
                  </a:lnTo>
                  <a:lnTo>
                    <a:pt x="186" y="618"/>
                  </a:lnTo>
                  <a:lnTo>
                    <a:pt x="180" y="612"/>
                  </a:lnTo>
                  <a:lnTo>
                    <a:pt x="168" y="606"/>
                  </a:lnTo>
                  <a:lnTo>
                    <a:pt x="138" y="624"/>
                  </a:lnTo>
                  <a:lnTo>
                    <a:pt x="120" y="624"/>
                  </a:lnTo>
                  <a:lnTo>
                    <a:pt x="120" y="630"/>
                  </a:lnTo>
                  <a:lnTo>
                    <a:pt x="90" y="660"/>
                  </a:lnTo>
                  <a:lnTo>
                    <a:pt x="78" y="666"/>
                  </a:lnTo>
                  <a:lnTo>
                    <a:pt x="72" y="672"/>
                  </a:lnTo>
                  <a:lnTo>
                    <a:pt x="60" y="678"/>
                  </a:lnTo>
                  <a:lnTo>
                    <a:pt x="54" y="708"/>
                  </a:lnTo>
                  <a:lnTo>
                    <a:pt x="54" y="768"/>
                  </a:lnTo>
                  <a:lnTo>
                    <a:pt x="0" y="768"/>
                  </a:lnTo>
                  <a:lnTo>
                    <a:pt x="54" y="768"/>
                  </a:lnTo>
                  <a:lnTo>
                    <a:pt x="54" y="804"/>
                  </a:lnTo>
                  <a:lnTo>
                    <a:pt x="312" y="984"/>
                  </a:lnTo>
                  <a:lnTo>
                    <a:pt x="720" y="1296"/>
                  </a:lnTo>
                  <a:lnTo>
                    <a:pt x="720" y="1320"/>
                  </a:lnTo>
                  <a:lnTo>
                    <a:pt x="744" y="1320"/>
                  </a:lnTo>
                  <a:lnTo>
                    <a:pt x="750" y="1326"/>
                  </a:lnTo>
                  <a:lnTo>
                    <a:pt x="750" y="1344"/>
                  </a:lnTo>
                  <a:lnTo>
                    <a:pt x="762" y="1356"/>
                  </a:lnTo>
                  <a:lnTo>
                    <a:pt x="798" y="1356"/>
                  </a:lnTo>
                  <a:lnTo>
                    <a:pt x="804" y="1386"/>
                  </a:lnTo>
                  <a:lnTo>
                    <a:pt x="810" y="1386"/>
                  </a:lnTo>
                  <a:lnTo>
                    <a:pt x="816" y="1380"/>
                  </a:lnTo>
                  <a:lnTo>
                    <a:pt x="846" y="1380"/>
                  </a:lnTo>
                  <a:lnTo>
                    <a:pt x="858" y="1386"/>
                  </a:lnTo>
                  <a:lnTo>
                    <a:pt x="870" y="1410"/>
                  </a:lnTo>
                  <a:lnTo>
                    <a:pt x="870" y="1428"/>
                  </a:lnTo>
                  <a:lnTo>
                    <a:pt x="852" y="1446"/>
                  </a:lnTo>
                  <a:lnTo>
                    <a:pt x="852" y="1452"/>
                  </a:lnTo>
                  <a:lnTo>
                    <a:pt x="858" y="1458"/>
                  </a:lnTo>
                  <a:lnTo>
                    <a:pt x="870" y="1464"/>
                  </a:lnTo>
                  <a:lnTo>
                    <a:pt x="900" y="1464"/>
                  </a:lnTo>
                  <a:lnTo>
                    <a:pt x="906" y="1458"/>
                  </a:lnTo>
                  <a:lnTo>
                    <a:pt x="924" y="1458"/>
                  </a:lnTo>
                  <a:lnTo>
                    <a:pt x="954" y="1452"/>
                  </a:lnTo>
                  <a:lnTo>
                    <a:pt x="984" y="1440"/>
                  </a:lnTo>
                  <a:lnTo>
                    <a:pt x="1020" y="1434"/>
                  </a:lnTo>
                  <a:lnTo>
                    <a:pt x="1038" y="1434"/>
                  </a:lnTo>
                  <a:lnTo>
                    <a:pt x="1062" y="1416"/>
                  </a:lnTo>
                  <a:lnTo>
                    <a:pt x="1098" y="1386"/>
                  </a:lnTo>
                  <a:lnTo>
                    <a:pt x="1128" y="1350"/>
                  </a:lnTo>
                  <a:lnTo>
                    <a:pt x="1158" y="1326"/>
                  </a:lnTo>
                  <a:lnTo>
                    <a:pt x="1182" y="1314"/>
                  </a:lnTo>
                  <a:lnTo>
                    <a:pt x="1224" y="1284"/>
                  </a:lnTo>
                  <a:lnTo>
                    <a:pt x="1272" y="1248"/>
                  </a:lnTo>
                  <a:lnTo>
                    <a:pt x="1332" y="1206"/>
                  </a:lnTo>
                  <a:lnTo>
                    <a:pt x="1386" y="1170"/>
                  </a:lnTo>
                  <a:lnTo>
                    <a:pt x="1434" y="1134"/>
                  </a:lnTo>
                  <a:lnTo>
                    <a:pt x="1464" y="1110"/>
                  </a:lnTo>
                  <a:lnTo>
                    <a:pt x="1476" y="1104"/>
                  </a:lnTo>
                  <a:lnTo>
                    <a:pt x="1476" y="1098"/>
                  </a:lnTo>
                  <a:lnTo>
                    <a:pt x="1470" y="1092"/>
                  </a:lnTo>
                  <a:lnTo>
                    <a:pt x="1464" y="1080"/>
                  </a:lnTo>
                  <a:lnTo>
                    <a:pt x="1458" y="1062"/>
                  </a:lnTo>
                  <a:lnTo>
                    <a:pt x="1452" y="1050"/>
                  </a:lnTo>
                  <a:lnTo>
                    <a:pt x="1452" y="1044"/>
                  </a:lnTo>
                  <a:lnTo>
                    <a:pt x="1440" y="1032"/>
                  </a:lnTo>
                  <a:lnTo>
                    <a:pt x="1428" y="1032"/>
                  </a:lnTo>
                  <a:lnTo>
                    <a:pt x="1392" y="1014"/>
                  </a:lnTo>
                  <a:lnTo>
                    <a:pt x="1386" y="1014"/>
                  </a:lnTo>
                  <a:lnTo>
                    <a:pt x="1362" y="1026"/>
                  </a:lnTo>
                  <a:lnTo>
                    <a:pt x="1338" y="1002"/>
                  </a:lnTo>
                  <a:lnTo>
                    <a:pt x="1338" y="960"/>
                  </a:lnTo>
                  <a:lnTo>
                    <a:pt x="1332" y="954"/>
                  </a:lnTo>
                  <a:lnTo>
                    <a:pt x="1326" y="942"/>
                  </a:lnTo>
                  <a:lnTo>
                    <a:pt x="1314" y="930"/>
                  </a:lnTo>
                  <a:lnTo>
                    <a:pt x="1308" y="912"/>
                  </a:lnTo>
                  <a:lnTo>
                    <a:pt x="1296" y="900"/>
                  </a:lnTo>
                  <a:lnTo>
                    <a:pt x="1290" y="888"/>
                  </a:lnTo>
                  <a:lnTo>
                    <a:pt x="1290" y="882"/>
                  </a:lnTo>
                  <a:lnTo>
                    <a:pt x="1296" y="876"/>
                  </a:lnTo>
                  <a:lnTo>
                    <a:pt x="1308" y="876"/>
                  </a:lnTo>
                  <a:lnTo>
                    <a:pt x="1320" y="870"/>
                  </a:lnTo>
                  <a:lnTo>
                    <a:pt x="1326" y="864"/>
                  </a:lnTo>
                  <a:lnTo>
                    <a:pt x="1332" y="852"/>
                  </a:lnTo>
                  <a:lnTo>
                    <a:pt x="1332" y="840"/>
                  </a:lnTo>
                  <a:lnTo>
                    <a:pt x="1326" y="834"/>
                  </a:lnTo>
                  <a:lnTo>
                    <a:pt x="1326" y="828"/>
                  </a:lnTo>
                  <a:lnTo>
                    <a:pt x="1320" y="774"/>
                  </a:lnTo>
                  <a:lnTo>
                    <a:pt x="1332" y="750"/>
                  </a:lnTo>
                  <a:lnTo>
                    <a:pt x="1326" y="732"/>
                  </a:lnTo>
                  <a:lnTo>
                    <a:pt x="1326" y="726"/>
                  </a:lnTo>
                  <a:lnTo>
                    <a:pt x="1332" y="720"/>
                  </a:lnTo>
                  <a:lnTo>
                    <a:pt x="1332" y="690"/>
                  </a:lnTo>
                  <a:lnTo>
                    <a:pt x="1338" y="678"/>
                  </a:lnTo>
                  <a:lnTo>
                    <a:pt x="1338" y="672"/>
                  </a:lnTo>
                  <a:lnTo>
                    <a:pt x="1326" y="648"/>
                  </a:lnTo>
                  <a:lnTo>
                    <a:pt x="1302" y="588"/>
                  </a:lnTo>
                  <a:lnTo>
                    <a:pt x="1290" y="570"/>
                  </a:lnTo>
                  <a:lnTo>
                    <a:pt x="1296" y="564"/>
                  </a:lnTo>
                  <a:lnTo>
                    <a:pt x="1308" y="558"/>
                  </a:lnTo>
                  <a:lnTo>
                    <a:pt x="1296" y="528"/>
                  </a:lnTo>
                  <a:lnTo>
                    <a:pt x="1284" y="480"/>
                  </a:lnTo>
                  <a:lnTo>
                    <a:pt x="1278" y="438"/>
                  </a:lnTo>
                  <a:lnTo>
                    <a:pt x="1272" y="414"/>
                  </a:lnTo>
                  <a:lnTo>
                    <a:pt x="1266" y="408"/>
                  </a:lnTo>
                  <a:lnTo>
                    <a:pt x="1260" y="396"/>
                  </a:lnTo>
                  <a:lnTo>
                    <a:pt x="1236" y="384"/>
                  </a:lnTo>
                  <a:lnTo>
                    <a:pt x="1230" y="378"/>
                  </a:lnTo>
                  <a:lnTo>
                    <a:pt x="1224" y="378"/>
                  </a:lnTo>
                  <a:lnTo>
                    <a:pt x="1224" y="336"/>
                  </a:lnTo>
                  <a:lnTo>
                    <a:pt x="1212" y="324"/>
                  </a:lnTo>
                  <a:lnTo>
                    <a:pt x="1194" y="318"/>
                  </a:lnTo>
                  <a:lnTo>
                    <a:pt x="1182" y="318"/>
                  </a:lnTo>
                  <a:lnTo>
                    <a:pt x="1182" y="288"/>
                  </a:lnTo>
                  <a:lnTo>
                    <a:pt x="1170" y="288"/>
                  </a:lnTo>
                  <a:lnTo>
                    <a:pt x="1170" y="246"/>
                  </a:lnTo>
                  <a:lnTo>
                    <a:pt x="1194" y="222"/>
                  </a:lnTo>
                  <a:lnTo>
                    <a:pt x="1218" y="204"/>
                  </a:lnTo>
                  <a:lnTo>
                    <a:pt x="1218" y="198"/>
                  </a:lnTo>
                  <a:lnTo>
                    <a:pt x="1224" y="192"/>
                  </a:lnTo>
                  <a:lnTo>
                    <a:pt x="1224" y="180"/>
                  </a:lnTo>
                  <a:lnTo>
                    <a:pt x="1230" y="168"/>
                  </a:lnTo>
                  <a:lnTo>
                    <a:pt x="1230" y="126"/>
                  </a:lnTo>
                  <a:lnTo>
                    <a:pt x="1224" y="114"/>
                  </a:lnTo>
                  <a:lnTo>
                    <a:pt x="1224" y="78"/>
                  </a:lnTo>
                  <a:lnTo>
                    <a:pt x="1230" y="66"/>
                  </a:lnTo>
                  <a:lnTo>
                    <a:pt x="1230" y="54"/>
                  </a:lnTo>
                  <a:lnTo>
                    <a:pt x="1212" y="48"/>
                  </a:lnTo>
                  <a:lnTo>
                    <a:pt x="1254" y="30"/>
                  </a:lnTo>
                  <a:lnTo>
                    <a:pt x="1254" y="18"/>
                  </a:lnTo>
                  <a:lnTo>
                    <a:pt x="1242" y="18"/>
                  </a:lnTo>
                  <a:lnTo>
                    <a:pt x="1236" y="12"/>
                  </a:lnTo>
                  <a:lnTo>
                    <a:pt x="1224" y="12"/>
                  </a:lnTo>
                  <a:lnTo>
                    <a:pt x="1206" y="24"/>
                  </a:lnTo>
                  <a:lnTo>
                    <a:pt x="1170" y="6"/>
                  </a:lnTo>
                  <a:lnTo>
                    <a:pt x="1152" y="6"/>
                  </a:lnTo>
                  <a:lnTo>
                    <a:pt x="1152" y="18"/>
                  </a:lnTo>
                  <a:lnTo>
                    <a:pt x="1116" y="18"/>
                  </a:lnTo>
                  <a:lnTo>
                    <a:pt x="1092" y="0"/>
                  </a:lnTo>
                  <a:lnTo>
                    <a:pt x="1086" y="30"/>
                  </a:lnTo>
                  <a:lnTo>
                    <a:pt x="1056" y="18"/>
                  </a:lnTo>
                  <a:lnTo>
                    <a:pt x="1026" y="42"/>
                  </a:lnTo>
                  <a:lnTo>
                    <a:pt x="1002" y="30"/>
                  </a:lnTo>
                  <a:lnTo>
                    <a:pt x="984" y="30"/>
                  </a:lnTo>
                  <a:lnTo>
                    <a:pt x="966" y="24"/>
                  </a:lnTo>
                  <a:lnTo>
                    <a:pt x="948" y="24"/>
                  </a:lnTo>
                  <a:lnTo>
                    <a:pt x="924" y="30"/>
                  </a:lnTo>
                  <a:lnTo>
                    <a:pt x="906" y="30"/>
                  </a:lnTo>
                  <a:lnTo>
                    <a:pt x="900" y="36"/>
                  </a:lnTo>
                  <a:lnTo>
                    <a:pt x="888" y="36"/>
                  </a:lnTo>
                  <a:lnTo>
                    <a:pt x="876" y="42"/>
                  </a:lnTo>
                  <a:lnTo>
                    <a:pt x="816" y="42"/>
                  </a:lnTo>
                  <a:lnTo>
                    <a:pt x="810" y="48"/>
                  </a:lnTo>
                  <a:lnTo>
                    <a:pt x="750" y="48"/>
                  </a:lnTo>
                  <a:lnTo>
                    <a:pt x="744" y="54"/>
                  </a:lnTo>
                  <a:lnTo>
                    <a:pt x="726" y="54"/>
                  </a:lnTo>
                  <a:lnTo>
                    <a:pt x="714" y="60"/>
                  </a:lnTo>
                  <a:lnTo>
                    <a:pt x="696" y="66"/>
                  </a:lnTo>
                  <a:lnTo>
                    <a:pt x="684" y="78"/>
                  </a:lnTo>
                  <a:lnTo>
                    <a:pt x="678" y="90"/>
                  </a:lnTo>
                  <a:lnTo>
                    <a:pt x="666" y="102"/>
                  </a:lnTo>
                  <a:lnTo>
                    <a:pt x="666" y="108"/>
                  </a:lnTo>
                  <a:lnTo>
                    <a:pt x="636" y="108"/>
                  </a:lnTo>
                  <a:lnTo>
                    <a:pt x="624" y="114"/>
                  </a:lnTo>
                  <a:lnTo>
                    <a:pt x="606" y="114"/>
                  </a:lnTo>
                  <a:lnTo>
                    <a:pt x="594" y="120"/>
                  </a:lnTo>
                  <a:lnTo>
                    <a:pt x="588" y="126"/>
                  </a:lnTo>
                  <a:lnTo>
                    <a:pt x="588" y="132"/>
                  </a:lnTo>
                  <a:lnTo>
                    <a:pt x="558" y="162"/>
                  </a:lnTo>
                  <a:lnTo>
                    <a:pt x="546" y="168"/>
                  </a:lnTo>
                  <a:lnTo>
                    <a:pt x="522" y="168"/>
                  </a:lnTo>
                  <a:lnTo>
                    <a:pt x="528" y="174"/>
                  </a:lnTo>
                  <a:lnTo>
                    <a:pt x="534" y="186"/>
                  </a:lnTo>
                  <a:lnTo>
                    <a:pt x="546" y="192"/>
                  </a:lnTo>
                  <a:lnTo>
                    <a:pt x="540" y="198"/>
                  </a:lnTo>
                  <a:lnTo>
                    <a:pt x="540" y="210"/>
                  </a:lnTo>
                  <a:lnTo>
                    <a:pt x="552" y="210"/>
                  </a:lnTo>
                  <a:lnTo>
                    <a:pt x="546" y="276"/>
                  </a:lnTo>
                  <a:lnTo>
                    <a:pt x="558" y="294"/>
                  </a:lnTo>
                  <a:lnTo>
                    <a:pt x="546" y="324"/>
                  </a:lnTo>
                  <a:lnTo>
                    <a:pt x="564" y="324"/>
                  </a:lnTo>
                  <a:lnTo>
                    <a:pt x="564" y="354"/>
                  </a:lnTo>
                  <a:lnTo>
                    <a:pt x="588" y="372"/>
                  </a:lnTo>
                  <a:lnTo>
                    <a:pt x="570" y="390"/>
                  </a:lnTo>
                  <a:lnTo>
                    <a:pt x="570" y="402"/>
                  </a:lnTo>
                  <a:lnTo>
                    <a:pt x="516" y="408"/>
                  </a:lnTo>
                  <a:lnTo>
                    <a:pt x="504" y="402"/>
                  </a:lnTo>
                  <a:lnTo>
                    <a:pt x="486" y="402"/>
                  </a:lnTo>
                  <a:lnTo>
                    <a:pt x="486" y="408"/>
                  </a:lnTo>
                  <a:lnTo>
                    <a:pt x="480" y="414"/>
                  </a:lnTo>
                  <a:lnTo>
                    <a:pt x="474" y="408"/>
                  </a:lnTo>
                  <a:lnTo>
                    <a:pt x="462" y="408"/>
                  </a:lnTo>
                  <a:lnTo>
                    <a:pt x="462" y="414"/>
                  </a:lnTo>
                  <a:lnTo>
                    <a:pt x="456" y="420"/>
                  </a:lnTo>
                  <a:lnTo>
                    <a:pt x="456" y="432"/>
                  </a:lnTo>
                  <a:lnTo>
                    <a:pt x="432" y="432"/>
                  </a:lnTo>
                  <a:lnTo>
                    <a:pt x="420" y="438"/>
                  </a:lnTo>
                  <a:lnTo>
                    <a:pt x="396" y="438"/>
                  </a:lnTo>
                  <a:lnTo>
                    <a:pt x="390" y="444"/>
                  </a:lnTo>
                  <a:lnTo>
                    <a:pt x="390" y="456"/>
                  </a:lnTo>
                  <a:lnTo>
                    <a:pt x="396" y="462"/>
                  </a:lnTo>
                  <a:lnTo>
                    <a:pt x="402" y="474"/>
                  </a:lnTo>
                  <a:lnTo>
                    <a:pt x="414" y="492"/>
                  </a:lnTo>
                  <a:lnTo>
                    <a:pt x="390" y="504"/>
                  </a:lnTo>
                  <a:lnTo>
                    <a:pt x="390" y="510"/>
                  </a:lnTo>
                  <a:lnTo>
                    <a:pt x="378" y="522"/>
                  </a:lnTo>
                  <a:lnTo>
                    <a:pt x="366" y="528"/>
                  </a:lnTo>
                  <a:lnTo>
                    <a:pt x="360" y="534"/>
                  </a:lnTo>
                  <a:close/>
                </a:path>
              </a:pathLst>
            </a:custGeom>
            <a:solidFill>
              <a:srgbClr val="00B05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246" name="Albania" descr="© INSCALE GmbH, 05.05.2010&#10;http://www.presentationload.com/">
              <a:extLst>
                <a:ext uri="{FF2B5EF4-FFF2-40B4-BE49-F238E27FC236}">
                  <a16:creationId xmlns:a16="http://schemas.microsoft.com/office/drawing/2014/main" id="{D0D0F4AC-E606-3716-F023-7D32D429739B}"/>
                </a:ext>
              </a:extLst>
            </p:cNvPr>
            <p:cNvSpPr>
              <a:spLocks/>
            </p:cNvSpPr>
            <p:nvPr/>
          </p:nvSpPr>
          <p:spPr bwMode="gray">
            <a:xfrm>
              <a:off x="4724577" y="1916949"/>
              <a:ext cx="54848" cy="93390"/>
            </a:xfrm>
            <a:custGeom>
              <a:avLst/>
              <a:gdLst>
                <a:gd name="T0" fmla="*/ 2147483647 w 144"/>
                <a:gd name="T1" fmla="*/ 2147483647 h 246"/>
                <a:gd name="T2" fmla="*/ 2147483647 w 144"/>
                <a:gd name="T3" fmla="*/ 2147483647 h 246"/>
                <a:gd name="T4" fmla="*/ 2147483647 w 144"/>
                <a:gd name="T5" fmla="*/ 2147483647 h 246"/>
                <a:gd name="T6" fmla="*/ 2147483647 w 144"/>
                <a:gd name="T7" fmla="*/ 2147483647 h 246"/>
                <a:gd name="T8" fmla="*/ 2147483647 w 144"/>
                <a:gd name="T9" fmla="*/ 2147483647 h 246"/>
                <a:gd name="T10" fmla="*/ 2147483647 w 144"/>
                <a:gd name="T11" fmla="*/ 2147483647 h 246"/>
                <a:gd name="T12" fmla="*/ 2147483647 w 144"/>
                <a:gd name="T13" fmla="*/ 2147483647 h 246"/>
                <a:gd name="T14" fmla="*/ 2147483647 w 144"/>
                <a:gd name="T15" fmla="*/ 2147483647 h 246"/>
                <a:gd name="T16" fmla="*/ 2147483647 w 144"/>
                <a:gd name="T17" fmla="*/ 2147483647 h 246"/>
                <a:gd name="T18" fmla="*/ 2147483647 w 144"/>
                <a:gd name="T19" fmla="*/ 2147483647 h 246"/>
                <a:gd name="T20" fmla="*/ 2147483647 w 144"/>
                <a:gd name="T21" fmla="*/ 2147483647 h 246"/>
                <a:gd name="T22" fmla="*/ 2147483647 w 144"/>
                <a:gd name="T23" fmla="*/ 2147483647 h 246"/>
                <a:gd name="T24" fmla="*/ 2147483647 w 144"/>
                <a:gd name="T25" fmla="*/ 2147483647 h 246"/>
                <a:gd name="T26" fmla="*/ 2147483647 w 144"/>
                <a:gd name="T27" fmla="*/ 2147483647 h 246"/>
                <a:gd name="T28" fmla="*/ 2147483647 w 144"/>
                <a:gd name="T29" fmla="*/ 2147483647 h 246"/>
                <a:gd name="T30" fmla="*/ 2147483647 w 144"/>
                <a:gd name="T31" fmla="*/ 2147483647 h 246"/>
                <a:gd name="T32" fmla="*/ 2147483647 w 144"/>
                <a:gd name="T33" fmla="*/ 2147483647 h 246"/>
                <a:gd name="T34" fmla="*/ 2147483647 w 144"/>
                <a:gd name="T35" fmla="*/ 2147483647 h 246"/>
                <a:gd name="T36" fmla="*/ 2147483647 w 144"/>
                <a:gd name="T37" fmla="*/ 2147483647 h 246"/>
                <a:gd name="T38" fmla="*/ 2147483647 w 144"/>
                <a:gd name="T39" fmla="*/ 0 h 246"/>
                <a:gd name="T40" fmla="*/ 2147483647 w 144"/>
                <a:gd name="T41" fmla="*/ 2147483647 h 246"/>
                <a:gd name="T42" fmla="*/ 2147483647 w 144"/>
                <a:gd name="T43" fmla="*/ 2147483647 h 246"/>
                <a:gd name="T44" fmla="*/ 0 w 144"/>
                <a:gd name="T45" fmla="*/ 2147483647 h 246"/>
                <a:gd name="T46" fmla="*/ 2147483647 w 144"/>
                <a:gd name="T47" fmla="*/ 2147483647 h 246"/>
                <a:gd name="T48" fmla="*/ 2147483647 w 144"/>
                <a:gd name="T49" fmla="*/ 2147483647 h 246"/>
                <a:gd name="T50" fmla="*/ 2147483647 w 144"/>
                <a:gd name="T51" fmla="*/ 2147483647 h 246"/>
                <a:gd name="T52" fmla="*/ 2147483647 w 144"/>
                <a:gd name="T53" fmla="*/ 2147483647 h 246"/>
                <a:gd name="T54" fmla="*/ 2147483647 w 144"/>
                <a:gd name="T55" fmla="*/ 2147483647 h 246"/>
                <a:gd name="T56" fmla="*/ 2147483647 w 144"/>
                <a:gd name="T57" fmla="*/ 2147483647 h 246"/>
                <a:gd name="T58" fmla="*/ 2147483647 w 144"/>
                <a:gd name="T59" fmla="*/ 2147483647 h 246"/>
                <a:gd name="T60" fmla="*/ 2147483647 w 144"/>
                <a:gd name="T61" fmla="*/ 2147483647 h 246"/>
                <a:gd name="T62" fmla="*/ 2147483647 w 144"/>
                <a:gd name="T63" fmla="*/ 2147483647 h 246"/>
                <a:gd name="T64" fmla="*/ 2147483647 w 144"/>
                <a:gd name="T65" fmla="*/ 2147483647 h 246"/>
                <a:gd name="T66" fmla="*/ 2147483647 w 144"/>
                <a:gd name="T67" fmla="*/ 2147483647 h 246"/>
                <a:gd name="T68" fmla="*/ 2147483647 w 144"/>
                <a:gd name="T69" fmla="*/ 2147483647 h 246"/>
                <a:gd name="T70" fmla="*/ 2147483647 w 144"/>
                <a:gd name="T71" fmla="*/ 2147483647 h 246"/>
                <a:gd name="T72" fmla="*/ 2147483647 w 144"/>
                <a:gd name="T73" fmla="*/ 2147483647 h 246"/>
                <a:gd name="T74" fmla="*/ 2147483647 w 144"/>
                <a:gd name="T75" fmla="*/ 2147483647 h 246"/>
                <a:gd name="T76" fmla="*/ 2147483647 w 144"/>
                <a:gd name="T77" fmla="*/ 2147483647 h 246"/>
                <a:gd name="T78" fmla="*/ 2147483647 w 144"/>
                <a:gd name="T79" fmla="*/ 2147483647 h 246"/>
                <a:gd name="T80" fmla="*/ 2147483647 w 144"/>
                <a:gd name="T81" fmla="*/ 2147483647 h 246"/>
                <a:gd name="T82" fmla="*/ 2147483647 w 144"/>
                <a:gd name="T83" fmla="*/ 2147483647 h 246"/>
                <a:gd name="T84" fmla="*/ 2147483647 w 144"/>
                <a:gd name="T85" fmla="*/ 2147483647 h 246"/>
                <a:gd name="T86" fmla="*/ 2147483647 w 144"/>
                <a:gd name="T87" fmla="*/ 2147483647 h 246"/>
                <a:gd name="T88" fmla="*/ 2147483647 w 144"/>
                <a:gd name="T89" fmla="*/ 2147483647 h 24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44"/>
                <a:gd name="T136" fmla="*/ 0 h 246"/>
                <a:gd name="T137" fmla="*/ 144 w 144"/>
                <a:gd name="T138" fmla="*/ 246 h 24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44" h="246">
                  <a:moveTo>
                    <a:pt x="96" y="210"/>
                  </a:moveTo>
                  <a:lnTo>
                    <a:pt x="96" y="204"/>
                  </a:lnTo>
                  <a:lnTo>
                    <a:pt x="108" y="204"/>
                  </a:lnTo>
                  <a:lnTo>
                    <a:pt x="120" y="198"/>
                  </a:lnTo>
                  <a:lnTo>
                    <a:pt x="120" y="174"/>
                  </a:lnTo>
                  <a:lnTo>
                    <a:pt x="138" y="174"/>
                  </a:lnTo>
                  <a:lnTo>
                    <a:pt x="144" y="168"/>
                  </a:lnTo>
                  <a:lnTo>
                    <a:pt x="144" y="138"/>
                  </a:lnTo>
                  <a:lnTo>
                    <a:pt x="120" y="144"/>
                  </a:lnTo>
                  <a:lnTo>
                    <a:pt x="120" y="126"/>
                  </a:lnTo>
                  <a:lnTo>
                    <a:pt x="114" y="126"/>
                  </a:lnTo>
                  <a:lnTo>
                    <a:pt x="108" y="120"/>
                  </a:lnTo>
                  <a:lnTo>
                    <a:pt x="108" y="96"/>
                  </a:lnTo>
                  <a:lnTo>
                    <a:pt x="102" y="84"/>
                  </a:lnTo>
                  <a:lnTo>
                    <a:pt x="102" y="42"/>
                  </a:lnTo>
                  <a:lnTo>
                    <a:pt x="96" y="24"/>
                  </a:lnTo>
                  <a:lnTo>
                    <a:pt x="84" y="24"/>
                  </a:lnTo>
                  <a:lnTo>
                    <a:pt x="72" y="6"/>
                  </a:lnTo>
                  <a:lnTo>
                    <a:pt x="66" y="12"/>
                  </a:lnTo>
                  <a:lnTo>
                    <a:pt x="36" y="0"/>
                  </a:lnTo>
                  <a:lnTo>
                    <a:pt x="36" y="18"/>
                  </a:lnTo>
                  <a:lnTo>
                    <a:pt x="24" y="24"/>
                  </a:lnTo>
                  <a:lnTo>
                    <a:pt x="0" y="24"/>
                  </a:lnTo>
                  <a:lnTo>
                    <a:pt x="18" y="36"/>
                  </a:lnTo>
                  <a:lnTo>
                    <a:pt x="24" y="30"/>
                  </a:lnTo>
                  <a:lnTo>
                    <a:pt x="30" y="48"/>
                  </a:lnTo>
                  <a:lnTo>
                    <a:pt x="18" y="60"/>
                  </a:lnTo>
                  <a:lnTo>
                    <a:pt x="24" y="66"/>
                  </a:lnTo>
                  <a:lnTo>
                    <a:pt x="48" y="66"/>
                  </a:lnTo>
                  <a:lnTo>
                    <a:pt x="48" y="84"/>
                  </a:lnTo>
                  <a:lnTo>
                    <a:pt x="42" y="96"/>
                  </a:lnTo>
                  <a:lnTo>
                    <a:pt x="42" y="114"/>
                  </a:lnTo>
                  <a:lnTo>
                    <a:pt x="36" y="132"/>
                  </a:lnTo>
                  <a:lnTo>
                    <a:pt x="36" y="156"/>
                  </a:lnTo>
                  <a:lnTo>
                    <a:pt x="24" y="180"/>
                  </a:lnTo>
                  <a:lnTo>
                    <a:pt x="24" y="186"/>
                  </a:lnTo>
                  <a:lnTo>
                    <a:pt x="42" y="204"/>
                  </a:lnTo>
                  <a:lnTo>
                    <a:pt x="54" y="210"/>
                  </a:lnTo>
                  <a:lnTo>
                    <a:pt x="60" y="216"/>
                  </a:lnTo>
                  <a:lnTo>
                    <a:pt x="60" y="234"/>
                  </a:lnTo>
                  <a:lnTo>
                    <a:pt x="66" y="240"/>
                  </a:lnTo>
                  <a:lnTo>
                    <a:pt x="84" y="240"/>
                  </a:lnTo>
                  <a:lnTo>
                    <a:pt x="90" y="246"/>
                  </a:lnTo>
                  <a:lnTo>
                    <a:pt x="96" y="246"/>
                  </a:lnTo>
                  <a:lnTo>
                    <a:pt x="96" y="210"/>
                  </a:lnTo>
                  <a:close/>
                </a:path>
              </a:pathLst>
            </a:custGeom>
            <a:grp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sp>
          <p:nvSpPr>
            <p:cNvPr id="247" name="Afghanistan" descr="© INSCALE GmbH, 05.05.2010&#10;http://www.presentationload.com/">
              <a:extLst>
                <a:ext uri="{FF2B5EF4-FFF2-40B4-BE49-F238E27FC236}">
                  <a16:creationId xmlns:a16="http://schemas.microsoft.com/office/drawing/2014/main" id="{CFFD5C1C-681D-8BE9-A7B7-4D79EF8516D6}"/>
                </a:ext>
              </a:extLst>
            </p:cNvPr>
            <p:cNvSpPr>
              <a:spLocks/>
            </p:cNvSpPr>
            <p:nvPr/>
          </p:nvSpPr>
          <p:spPr bwMode="gray">
            <a:xfrm>
              <a:off x="5791890" y="2041466"/>
              <a:ext cx="343911" cy="280169"/>
            </a:xfrm>
            <a:custGeom>
              <a:avLst/>
              <a:gdLst>
                <a:gd name="T0" fmla="*/ 2147483647 w 906"/>
                <a:gd name="T1" fmla="*/ 2147483647 h 738"/>
                <a:gd name="T2" fmla="*/ 2147483647 w 906"/>
                <a:gd name="T3" fmla="*/ 2147483647 h 738"/>
                <a:gd name="T4" fmla="*/ 2147483647 w 906"/>
                <a:gd name="T5" fmla="*/ 2147483647 h 738"/>
                <a:gd name="T6" fmla="*/ 2147483647 w 906"/>
                <a:gd name="T7" fmla="*/ 2147483647 h 738"/>
                <a:gd name="T8" fmla="*/ 2147483647 w 906"/>
                <a:gd name="T9" fmla="*/ 2147483647 h 738"/>
                <a:gd name="T10" fmla="*/ 2147483647 w 906"/>
                <a:gd name="T11" fmla="*/ 0 h 738"/>
                <a:gd name="T12" fmla="*/ 2147483647 w 906"/>
                <a:gd name="T13" fmla="*/ 2147483647 h 738"/>
                <a:gd name="T14" fmla="*/ 2147483647 w 906"/>
                <a:gd name="T15" fmla="*/ 2147483647 h 738"/>
                <a:gd name="T16" fmla="*/ 2147483647 w 906"/>
                <a:gd name="T17" fmla="*/ 2147483647 h 738"/>
                <a:gd name="T18" fmla="*/ 2147483647 w 906"/>
                <a:gd name="T19" fmla="*/ 2147483647 h 738"/>
                <a:gd name="T20" fmla="*/ 2147483647 w 906"/>
                <a:gd name="T21" fmla="*/ 2147483647 h 738"/>
                <a:gd name="T22" fmla="*/ 2147483647 w 906"/>
                <a:gd name="T23" fmla="*/ 2147483647 h 738"/>
                <a:gd name="T24" fmla="*/ 2147483647 w 906"/>
                <a:gd name="T25" fmla="*/ 2147483647 h 738"/>
                <a:gd name="T26" fmla="*/ 2147483647 w 906"/>
                <a:gd name="T27" fmla="*/ 2147483647 h 738"/>
                <a:gd name="T28" fmla="*/ 2147483647 w 906"/>
                <a:gd name="T29" fmla="*/ 2147483647 h 738"/>
                <a:gd name="T30" fmla="*/ 2147483647 w 906"/>
                <a:gd name="T31" fmla="*/ 2147483647 h 738"/>
                <a:gd name="T32" fmla="*/ 2147483647 w 906"/>
                <a:gd name="T33" fmla="*/ 2147483647 h 738"/>
                <a:gd name="T34" fmla="*/ 2147483647 w 906"/>
                <a:gd name="T35" fmla="*/ 2147483647 h 738"/>
                <a:gd name="T36" fmla="*/ 2147483647 w 906"/>
                <a:gd name="T37" fmla="*/ 2147483647 h 738"/>
                <a:gd name="T38" fmla="*/ 2147483647 w 906"/>
                <a:gd name="T39" fmla="*/ 2147483647 h 738"/>
                <a:gd name="T40" fmla="*/ 2147483647 w 906"/>
                <a:gd name="T41" fmla="*/ 2147483647 h 738"/>
                <a:gd name="T42" fmla="*/ 2147483647 w 906"/>
                <a:gd name="T43" fmla="*/ 2147483647 h 738"/>
                <a:gd name="T44" fmla="*/ 2147483647 w 906"/>
                <a:gd name="T45" fmla="*/ 2147483647 h 738"/>
                <a:gd name="T46" fmla="*/ 0 w 906"/>
                <a:gd name="T47" fmla="*/ 2147483647 h 738"/>
                <a:gd name="T48" fmla="*/ 2147483647 w 906"/>
                <a:gd name="T49" fmla="*/ 2147483647 h 738"/>
                <a:gd name="T50" fmla="*/ 2147483647 w 906"/>
                <a:gd name="T51" fmla="*/ 2147483647 h 738"/>
                <a:gd name="T52" fmla="*/ 2147483647 w 906"/>
                <a:gd name="T53" fmla="*/ 2147483647 h 738"/>
                <a:gd name="T54" fmla="*/ 2147483647 w 906"/>
                <a:gd name="T55" fmla="*/ 2147483647 h 738"/>
                <a:gd name="T56" fmla="*/ 2147483647 w 906"/>
                <a:gd name="T57" fmla="*/ 2147483647 h 738"/>
                <a:gd name="T58" fmla="*/ 2147483647 w 906"/>
                <a:gd name="T59" fmla="*/ 2147483647 h 738"/>
                <a:gd name="T60" fmla="*/ 2147483647 w 906"/>
                <a:gd name="T61" fmla="*/ 2147483647 h 738"/>
                <a:gd name="T62" fmla="*/ 2147483647 w 906"/>
                <a:gd name="T63" fmla="*/ 2147483647 h 738"/>
                <a:gd name="T64" fmla="*/ 2147483647 w 906"/>
                <a:gd name="T65" fmla="*/ 2147483647 h 738"/>
                <a:gd name="T66" fmla="*/ 2147483647 w 906"/>
                <a:gd name="T67" fmla="*/ 2147483647 h 738"/>
                <a:gd name="T68" fmla="*/ 2147483647 w 906"/>
                <a:gd name="T69" fmla="*/ 2147483647 h 738"/>
                <a:gd name="T70" fmla="*/ 2147483647 w 906"/>
                <a:gd name="T71" fmla="*/ 2147483647 h 738"/>
                <a:gd name="T72" fmla="*/ 2147483647 w 906"/>
                <a:gd name="T73" fmla="*/ 2147483647 h 738"/>
                <a:gd name="T74" fmla="*/ 2147483647 w 906"/>
                <a:gd name="T75" fmla="*/ 2147483647 h 738"/>
                <a:gd name="T76" fmla="*/ 2147483647 w 906"/>
                <a:gd name="T77" fmla="*/ 2147483647 h 738"/>
                <a:gd name="T78" fmla="*/ 2147483647 w 906"/>
                <a:gd name="T79" fmla="*/ 2147483647 h 738"/>
                <a:gd name="T80" fmla="*/ 2147483647 w 906"/>
                <a:gd name="T81" fmla="*/ 2147483647 h 738"/>
                <a:gd name="T82" fmla="*/ 2147483647 w 906"/>
                <a:gd name="T83" fmla="*/ 2147483647 h 738"/>
                <a:gd name="T84" fmla="*/ 2147483647 w 906"/>
                <a:gd name="T85" fmla="*/ 2147483647 h 738"/>
                <a:gd name="T86" fmla="*/ 2147483647 w 906"/>
                <a:gd name="T87" fmla="*/ 2147483647 h 738"/>
                <a:gd name="T88" fmla="*/ 2147483647 w 906"/>
                <a:gd name="T89" fmla="*/ 2147483647 h 738"/>
                <a:gd name="T90" fmla="*/ 2147483647 w 906"/>
                <a:gd name="T91" fmla="*/ 2147483647 h 738"/>
                <a:gd name="T92" fmla="*/ 2147483647 w 906"/>
                <a:gd name="T93" fmla="*/ 2147483647 h 738"/>
                <a:gd name="T94" fmla="*/ 2147483647 w 906"/>
                <a:gd name="T95" fmla="*/ 2147483647 h 738"/>
                <a:gd name="T96" fmla="*/ 2147483647 w 906"/>
                <a:gd name="T97" fmla="*/ 2147483647 h 738"/>
                <a:gd name="T98" fmla="*/ 2147483647 w 906"/>
                <a:gd name="T99" fmla="*/ 2147483647 h 738"/>
                <a:gd name="T100" fmla="*/ 2147483647 w 906"/>
                <a:gd name="T101" fmla="*/ 2147483647 h 738"/>
                <a:gd name="T102" fmla="*/ 2147483647 w 906"/>
                <a:gd name="T103" fmla="*/ 2147483647 h 738"/>
                <a:gd name="T104" fmla="*/ 2147483647 w 906"/>
                <a:gd name="T105" fmla="*/ 2147483647 h 738"/>
                <a:gd name="T106" fmla="*/ 2147483647 w 906"/>
                <a:gd name="T107" fmla="*/ 2147483647 h 738"/>
                <a:gd name="T108" fmla="*/ 2147483647 w 906"/>
                <a:gd name="T109" fmla="*/ 2147483647 h 73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06"/>
                <a:gd name="T166" fmla="*/ 0 h 738"/>
                <a:gd name="T167" fmla="*/ 906 w 906"/>
                <a:gd name="T168" fmla="*/ 738 h 73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06" h="738">
                  <a:moveTo>
                    <a:pt x="894" y="108"/>
                  </a:moveTo>
                  <a:lnTo>
                    <a:pt x="894" y="96"/>
                  </a:lnTo>
                  <a:lnTo>
                    <a:pt x="906" y="96"/>
                  </a:lnTo>
                  <a:lnTo>
                    <a:pt x="900" y="90"/>
                  </a:lnTo>
                  <a:lnTo>
                    <a:pt x="876" y="90"/>
                  </a:lnTo>
                  <a:lnTo>
                    <a:pt x="840" y="102"/>
                  </a:lnTo>
                  <a:lnTo>
                    <a:pt x="840" y="84"/>
                  </a:lnTo>
                  <a:lnTo>
                    <a:pt x="816" y="84"/>
                  </a:lnTo>
                  <a:lnTo>
                    <a:pt x="792" y="96"/>
                  </a:lnTo>
                  <a:lnTo>
                    <a:pt x="786" y="102"/>
                  </a:lnTo>
                  <a:lnTo>
                    <a:pt x="780" y="114"/>
                  </a:lnTo>
                  <a:lnTo>
                    <a:pt x="774" y="120"/>
                  </a:lnTo>
                  <a:lnTo>
                    <a:pt x="756" y="120"/>
                  </a:lnTo>
                  <a:lnTo>
                    <a:pt x="750" y="126"/>
                  </a:lnTo>
                  <a:lnTo>
                    <a:pt x="744" y="138"/>
                  </a:lnTo>
                  <a:lnTo>
                    <a:pt x="732" y="144"/>
                  </a:lnTo>
                  <a:lnTo>
                    <a:pt x="726" y="150"/>
                  </a:lnTo>
                  <a:lnTo>
                    <a:pt x="720" y="150"/>
                  </a:lnTo>
                  <a:lnTo>
                    <a:pt x="690" y="120"/>
                  </a:lnTo>
                  <a:lnTo>
                    <a:pt x="690" y="114"/>
                  </a:lnTo>
                  <a:lnTo>
                    <a:pt x="678" y="48"/>
                  </a:lnTo>
                  <a:lnTo>
                    <a:pt x="660" y="48"/>
                  </a:lnTo>
                  <a:lnTo>
                    <a:pt x="660" y="18"/>
                  </a:lnTo>
                  <a:lnTo>
                    <a:pt x="642" y="0"/>
                  </a:lnTo>
                  <a:lnTo>
                    <a:pt x="624" y="0"/>
                  </a:lnTo>
                  <a:lnTo>
                    <a:pt x="618" y="6"/>
                  </a:lnTo>
                  <a:lnTo>
                    <a:pt x="618" y="30"/>
                  </a:lnTo>
                  <a:lnTo>
                    <a:pt x="612" y="36"/>
                  </a:lnTo>
                  <a:lnTo>
                    <a:pt x="606" y="36"/>
                  </a:lnTo>
                  <a:lnTo>
                    <a:pt x="594" y="48"/>
                  </a:lnTo>
                  <a:lnTo>
                    <a:pt x="594" y="54"/>
                  </a:lnTo>
                  <a:lnTo>
                    <a:pt x="600" y="60"/>
                  </a:lnTo>
                  <a:lnTo>
                    <a:pt x="606" y="60"/>
                  </a:lnTo>
                  <a:lnTo>
                    <a:pt x="600" y="84"/>
                  </a:lnTo>
                  <a:lnTo>
                    <a:pt x="588" y="72"/>
                  </a:lnTo>
                  <a:lnTo>
                    <a:pt x="570" y="72"/>
                  </a:lnTo>
                  <a:lnTo>
                    <a:pt x="558" y="78"/>
                  </a:lnTo>
                  <a:lnTo>
                    <a:pt x="546" y="90"/>
                  </a:lnTo>
                  <a:lnTo>
                    <a:pt x="546" y="120"/>
                  </a:lnTo>
                  <a:lnTo>
                    <a:pt x="540" y="120"/>
                  </a:lnTo>
                  <a:lnTo>
                    <a:pt x="534" y="114"/>
                  </a:lnTo>
                  <a:lnTo>
                    <a:pt x="528" y="102"/>
                  </a:lnTo>
                  <a:lnTo>
                    <a:pt x="522" y="96"/>
                  </a:lnTo>
                  <a:lnTo>
                    <a:pt x="510" y="96"/>
                  </a:lnTo>
                  <a:lnTo>
                    <a:pt x="504" y="102"/>
                  </a:lnTo>
                  <a:lnTo>
                    <a:pt x="492" y="108"/>
                  </a:lnTo>
                  <a:lnTo>
                    <a:pt x="474" y="126"/>
                  </a:lnTo>
                  <a:lnTo>
                    <a:pt x="468" y="126"/>
                  </a:lnTo>
                  <a:lnTo>
                    <a:pt x="456" y="114"/>
                  </a:lnTo>
                  <a:lnTo>
                    <a:pt x="444" y="108"/>
                  </a:lnTo>
                  <a:lnTo>
                    <a:pt x="438" y="102"/>
                  </a:lnTo>
                  <a:lnTo>
                    <a:pt x="426" y="102"/>
                  </a:lnTo>
                  <a:lnTo>
                    <a:pt x="414" y="108"/>
                  </a:lnTo>
                  <a:lnTo>
                    <a:pt x="396" y="84"/>
                  </a:lnTo>
                  <a:lnTo>
                    <a:pt x="384" y="96"/>
                  </a:lnTo>
                  <a:lnTo>
                    <a:pt x="342" y="96"/>
                  </a:lnTo>
                  <a:lnTo>
                    <a:pt x="330" y="90"/>
                  </a:lnTo>
                  <a:lnTo>
                    <a:pt x="324" y="84"/>
                  </a:lnTo>
                  <a:lnTo>
                    <a:pt x="312" y="78"/>
                  </a:lnTo>
                  <a:lnTo>
                    <a:pt x="300" y="78"/>
                  </a:lnTo>
                  <a:lnTo>
                    <a:pt x="300" y="102"/>
                  </a:lnTo>
                  <a:lnTo>
                    <a:pt x="264" y="102"/>
                  </a:lnTo>
                  <a:lnTo>
                    <a:pt x="252" y="108"/>
                  </a:lnTo>
                  <a:lnTo>
                    <a:pt x="246" y="120"/>
                  </a:lnTo>
                  <a:lnTo>
                    <a:pt x="246" y="180"/>
                  </a:lnTo>
                  <a:lnTo>
                    <a:pt x="234" y="180"/>
                  </a:lnTo>
                  <a:lnTo>
                    <a:pt x="222" y="186"/>
                  </a:lnTo>
                  <a:lnTo>
                    <a:pt x="216" y="198"/>
                  </a:lnTo>
                  <a:lnTo>
                    <a:pt x="180" y="216"/>
                  </a:lnTo>
                  <a:lnTo>
                    <a:pt x="168" y="216"/>
                  </a:lnTo>
                  <a:lnTo>
                    <a:pt x="168" y="228"/>
                  </a:lnTo>
                  <a:lnTo>
                    <a:pt x="156" y="252"/>
                  </a:lnTo>
                  <a:lnTo>
                    <a:pt x="150" y="258"/>
                  </a:lnTo>
                  <a:lnTo>
                    <a:pt x="138" y="264"/>
                  </a:lnTo>
                  <a:lnTo>
                    <a:pt x="114" y="264"/>
                  </a:lnTo>
                  <a:lnTo>
                    <a:pt x="90" y="240"/>
                  </a:lnTo>
                  <a:lnTo>
                    <a:pt x="84" y="240"/>
                  </a:lnTo>
                  <a:lnTo>
                    <a:pt x="78" y="246"/>
                  </a:lnTo>
                  <a:lnTo>
                    <a:pt x="66" y="246"/>
                  </a:lnTo>
                  <a:lnTo>
                    <a:pt x="60" y="240"/>
                  </a:lnTo>
                  <a:lnTo>
                    <a:pt x="48" y="240"/>
                  </a:lnTo>
                  <a:lnTo>
                    <a:pt x="42" y="234"/>
                  </a:lnTo>
                  <a:lnTo>
                    <a:pt x="36" y="240"/>
                  </a:lnTo>
                  <a:lnTo>
                    <a:pt x="30" y="252"/>
                  </a:lnTo>
                  <a:lnTo>
                    <a:pt x="30" y="258"/>
                  </a:lnTo>
                  <a:lnTo>
                    <a:pt x="36" y="270"/>
                  </a:lnTo>
                  <a:lnTo>
                    <a:pt x="36" y="294"/>
                  </a:lnTo>
                  <a:lnTo>
                    <a:pt x="42" y="300"/>
                  </a:lnTo>
                  <a:lnTo>
                    <a:pt x="42" y="306"/>
                  </a:lnTo>
                  <a:lnTo>
                    <a:pt x="18" y="312"/>
                  </a:lnTo>
                  <a:lnTo>
                    <a:pt x="30" y="330"/>
                  </a:lnTo>
                  <a:lnTo>
                    <a:pt x="24" y="330"/>
                  </a:lnTo>
                  <a:lnTo>
                    <a:pt x="18" y="336"/>
                  </a:lnTo>
                  <a:lnTo>
                    <a:pt x="6" y="342"/>
                  </a:lnTo>
                  <a:lnTo>
                    <a:pt x="0" y="348"/>
                  </a:lnTo>
                  <a:lnTo>
                    <a:pt x="0" y="354"/>
                  </a:lnTo>
                  <a:lnTo>
                    <a:pt x="12" y="366"/>
                  </a:lnTo>
                  <a:lnTo>
                    <a:pt x="12" y="396"/>
                  </a:lnTo>
                  <a:lnTo>
                    <a:pt x="36" y="396"/>
                  </a:lnTo>
                  <a:lnTo>
                    <a:pt x="42" y="402"/>
                  </a:lnTo>
                  <a:lnTo>
                    <a:pt x="42" y="408"/>
                  </a:lnTo>
                  <a:lnTo>
                    <a:pt x="24" y="426"/>
                  </a:lnTo>
                  <a:lnTo>
                    <a:pt x="18" y="438"/>
                  </a:lnTo>
                  <a:lnTo>
                    <a:pt x="30" y="462"/>
                  </a:lnTo>
                  <a:lnTo>
                    <a:pt x="42" y="480"/>
                  </a:lnTo>
                  <a:lnTo>
                    <a:pt x="54" y="504"/>
                  </a:lnTo>
                  <a:lnTo>
                    <a:pt x="60" y="510"/>
                  </a:lnTo>
                  <a:lnTo>
                    <a:pt x="60" y="564"/>
                  </a:lnTo>
                  <a:lnTo>
                    <a:pt x="66" y="570"/>
                  </a:lnTo>
                  <a:lnTo>
                    <a:pt x="72" y="570"/>
                  </a:lnTo>
                  <a:lnTo>
                    <a:pt x="84" y="576"/>
                  </a:lnTo>
                  <a:lnTo>
                    <a:pt x="120" y="576"/>
                  </a:lnTo>
                  <a:lnTo>
                    <a:pt x="126" y="582"/>
                  </a:lnTo>
                  <a:lnTo>
                    <a:pt x="138" y="606"/>
                  </a:lnTo>
                  <a:lnTo>
                    <a:pt x="114" y="654"/>
                  </a:lnTo>
                  <a:lnTo>
                    <a:pt x="108" y="660"/>
                  </a:lnTo>
                  <a:lnTo>
                    <a:pt x="102" y="672"/>
                  </a:lnTo>
                  <a:lnTo>
                    <a:pt x="84" y="690"/>
                  </a:lnTo>
                  <a:lnTo>
                    <a:pt x="84" y="702"/>
                  </a:lnTo>
                  <a:lnTo>
                    <a:pt x="120" y="702"/>
                  </a:lnTo>
                  <a:lnTo>
                    <a:pt x="132" y="708"/>
                  </a:lnTo>
                  <a:lnTo>
                    <a:pt x="150" y="720"/>
                  </a:lnTo>
                  <a:lnTo>
                    <a:pt x="168" y="726"/>
                  </a:lnTo>
                  <a:lnTo>
                    <a:pt x="192" y="738"/>
                  </a:lnTo>
                  <a:lnTo>
                    <a:pt x="210" y="738"/>
                  </a:lnTo>
                  <a:lnTo>
                    <a:pt x="228" y="732"/>
                  </a:lnTo>
                  <a:lnTo>
                    <a:pt x="234" y="732"/>
                  </a:lnTo>
                  <a:lnTo>
                    <a:pt x="240" y="726"/>
                  </a:lnTo>
                  <a:lnTo>
                    <a:pt x="294" y="726"/>
                  </a:lnTo>
                  <a:lnTo>
                    <a:pt x="294" y="732"/>
                  </a:lnTo>
                  <a:lnTo>
                    <a:pt x="318" y="732"/>
                  </a:lnTo>
                  <a:lnTo>
                    <a:pt x="324" y="726"/>
                  </a:lnTo>
                  <a:lnTo>
                    <a:pt x="348" y="726"/>
                  </a:lnTo>
                  <a:lnTo>
                    <a:pt x="366" y="720"/>
                  </a:lnTo>
                  <a:lnTo>
                    <a:pt x="396" y="720"/>
                  </a:lnTo>
                  <a:lnTo>
                    <a:pt x="444" y="696"/>
                  </a:lnTo>
                  <a:lnTo>
                    <a:pt x="450" y="696"/>
                  </a:lnTo>
                  <a:lnTo>
                    <a:pt x="456" y="690"/>
                  </a:lnTo>
                  <a:lnTo>
                    <a:pt x="456" y="660"/>
                  </a:lnTo>
                  <a:lnTo>
                    <a:pt x="450" y="654"/>
                  </a:lnTo>
                  <a:lnTo>
                    <a:pt x="450" y="636"/>
                  </a:lnTo>
                  <a:lnTo>
                    <a:pt x="444" y="624"/>
                  </a:lnTo>
                  <a:lnTo>
                    <a:pt x="444" y="606"/>
                  </a:lnTo>
                  <a:lnTo>
                    <a:pt x="450" y="594"/>
                  </a:lnTo>
                  <a:lnTo>
                    <a:pt x="462" y="588"/>
                  </a:lnTo>
                  <a:lnTo>
                    <a:pt x="468" y="576"/>
                  </a:lnTo>
                  <a:lnTo>
                    <a:pt x="486" y="576"/>
                  </a:lnTo>
                  <a:lnTo>
                    <a:pt x="486" y="588"/>
                  </a:lnTo>
                  <a:lnTo>
                    <a:pt x="528" y="588"/>
                  </a:lnTo>
                  <a:lnTo>
                    <a:pt x="534" y="582"/>
                  </a:lnTo>
                  <a:lnTo>
                    <a:pt x="534" y="576"/>
                  </a:lnTo>
                  <a:lnTo>
                    <a:pt x="528" y="570"/>
                  </a:lnTo>
                  <a:lnTo>
                    <a:pt x="522" y="570"/>
                  </a:lnTo>
                  <a:lnTo>
                    <a:pt x="522" y="564"/>
                  </a:lnTo>
                  <a:lnTo>
                    <a:pt x="528" y="558"/>
                  </a:lnTo>
                  <a:lnTo>
                    <a:pt x="534" y="558"/>
                  </a:lnTo>
                  <a:lnTo>
                    <a:pt x="546" y="552"/>
                  </a:lnTo>
                  <a:lnTo>
                    <a:pt x="552" y="546"/>
                  </a:lnTo>
                  <a:lnTo>
                    <a:pt x="564" y="540"/>
                  </a:lnTo>
                  <a:lnTo>
                    <a:pt x="594" y="540"/>
                  </a:lnTo>
                  <a:lnTo>
                    <a:pt x="594" y="552"/>
                  </a:lnTo>
                  <a:lnTo>
                    <a:pt x="600" y="558"/>
                  </a:lnTo>
                  <a:lnTo>
                    <a:pt x="612" y="558"/>
                  </a:lnTo>
                  <a:lnTo>
                    <a:pt x="624" y="552"/>
                  </a:lnTo>
                  <a:lnTo>
                    <a:pt x="630" y="540"/>
                  </a:lnTo>
                  <a:lnTo>
                    <a:pt x="636" y="534"/>
                  </a:lnTo>
                  <a:lnTo>
                    <a:pt x="636" y="528"/>
                  </a:lnTo>
                  <a:lnTo>
                    <a:pt x="630" y="522"/>
                  </a:lnTo>
                  <a:lnTo>
                    <a:pt x="630" y="510"/>
                  </a:lnTo>
                  <a:lnTo>
                    <a:pt x="624" y="498"/>
                  </a:lnTo>
                  <a:lnTo>
                    <a:pt x="624" y="480"/>
                  </a:lnTo>
                  <a:lnTo>
                    <a:pt x="630" y="474"/>
                  </a:lnTo>
                  <a:lnTo>
                    <a:pt x="636" y="474"/>
                  </a:lnTo>
                  <a:lnTo>
                    <a:pt x="636" y="438"/>
                  </a:lnTo>
                  <a:lnTo>
                    <a:pt x="642" y="432"/>
                  </a:lnTo>
                  <a:lnTo>
                    <a:pt x="660" y="432"/>
                  </a:lnTo>
                  <a:lnTo>
                    <a:pt x="690" y="414"/>
                  </a:lnTo>
                  <a:lnTo>
                    <a:pt x="684" y="414"/>
                  </a:lnTo>
                  <a:lnTo>
                    <a:pt x="672" y="408"/>
                  </a:lnTo>
                  <a:lnTo>
                    <a:pt x="672" y="402"/>
                  </a:lnTo>
                  <a:lnTo>
                    <a:pt x="666" y="396"/>
                  </a:lnTo>
                  <a:lnTo>
                    <a:pt x="666" y="390"/>
                  </a:lnTo>
                  <a:lnTo>
                    <a:pt x="654" y="384"/>
                  </a:lnTo>
                  <a:lnTo>
                    <a:pt x="642" y="372"/>
                  </a:lnTo>
                  <a:lnTo>
                    <a:pt x="642" y="360"/>
                  </a:lnTo>
                  <a:lnTo>
                    <a:pt x="660" y="360"/>
                  </a:lnTo>
                  <a:lnTo>
                    <a:pt x="666" y="366"/>
                  </a:lnTo>
                  <a:lnTo>
                    <a:pt x="684" y="372"/>
                  </a:lnTo>
                  <a:lnTo>
                    <a:pt x="690" y="372"/>
                  </a:lnTo>
                  <a:lnTo>
                    <a:pt x="696" y="366"/>
                  </a:lnTo>
                  <a:lnTo>
                    <a:pt x="714" y="366"/>
                  </a:lnTo>
                  <a:lnTo>
                    <a:pt x="714" y="336"/>
                  </a:lnTo>
                  <a:lnTo>
                    <a:pt x="708" y="330"/>
                  </a:lnTo>
                  <a:lnTo>
                    <a:pt x="708" y="318"/>
                  </a:lnTo>
                  <a:lnTo>
                    <a:pt x="714" y="306"/>
                  </a:lnTo>
                  <a:lnTo>
                    <a:pt x="738" y="282"/>
                  </a:lnTo>
                  <a:lnTo>
                    <a:pt x="738" y="276"/>
                  </a:lnTo>
                  <a:lnTo>
                    <a:pt x="732" y="264"/>
                  </a:lnTo>
                  <a:lnTo>
                    <a:pt x="726" y="258"/>
                  </a:lnTo>
                  <a:lnTo>
                    <a:pt x="726" y="228"/>
                  </a:lnTo>
                  <a:lnTo>
                    <a:pt x="696" y="198"/>
                  </a:lnTo>
                  <a:lnTo>
                    <a:pt x="696" y="192"/>
                  </a:lnTo>
                  <a:lnTo>
                    <a:pt x="702" y="186"/>
                  </a:lnTo>
                  <a:lnTo>
                    <a:pt x="708" y="174"/>
                  </a:lnTo>
                  <a:lnTo>
                    <a:pt x="714" y="168"/>
                  </a:lnTo>
                  <a:lnTo>
                    <a:pt x="738" y="156"/>
                  </a:lnTo>
                  <a:lnTo>
                    <a:pt x="744" y="150"/>
                  </a:lnTo>
                  <a:lnTo>
                    <a:pt x="768" y="138"/>
                  </a:lnTo>
                  <a:lnTo>
                    <a:pt x="774" y="138"/>
                  </a:lnTo>
                  <a:lnTo>
                    <a:pt x="780" y="132"/>
                  </a:lnTo>
                  <a:lnTo>
                    <a:pt x="822" y="132"/>
                  </a:lnTo>
                  <a:lnTo>
                    <a:pt x="828" y="126"/>
                  </a:lnTo>
                  <a:lnTo>
                    <a:pt x="852" y="126"/>
                  </a:lnTo>
                  <a:lnTo>
                    <a:pt x="864" y="132"/>
                  </a:lnTo>
                  <a:lnTo>
                    <a:pt x="876" y="132"/>
                  </a:lnTo>
                  <a:lnTo>
                    <a:pt x="882" y="126"/>
                  </a:lnTo>
                  <a:lnTo>
                    <a:pt x="894" y="126"/>
                  </a:lnTo>
                  <a:lnTo>
                    <a:pt x="900" y="120"/>
                  </a:lnTo>
                  <a:lnTo>
                    <a:pt x="894" y="114"/>
                  </a:lnTo>
                  <a:lnTo>
                    <a:pt x="894" y="108"/>
                  </a:lnTo>
                  <a:close/>
                </a:path>
              </a:pathLst>
            </a:custGeom>
            <a:solidFill>
              <a:srgbClr val="7030A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a:solidFill>
                  <a:schemeClr val="lt1"/>
                </a:solidFill>
                <a:latin typeface="Calibri" panose="020F0502020204030204" pitchFamily="34" charset="0"/>
                <a:ea typeface="Calibri" panose="020F0502020204030204" pitchFamily="34" charset="0"/>
                <a:cs typeface="Calibri" panose="020F0502020204030204" pitchFamily="34" charset="0"/>
              </a:endParaRPr>
            </a:p>
          </p:txBody>
        </p:sp>
      </p:grpSp>
      <p:sp>
        <p:nvSpPr>
          <p:cNvPr id="255" name="Rectangle 254">
            <a:extLst>
              <a:ext uri="{FF2B5EF4-FFF2-40B4-BE49-F238E27FC236}">
                <a16:creationId xmlns:a16="http://schemas.microsoft.com/office/drawing/2014/main" id="{C9E6222D-7226-34AA-4325-5ACBD2A8CB9F}"/>
              </a:ext>
            </a:extLst>
          </p:cNvPr>
          <p:cNvSpPr/>
          <p:nvPr/>
        </p:nvSpPr>
        <p:spPr>
          <a:xfrm>
            <a:off x="8113275" y="1638845"/>
            <a:ext cx="3657600" cy="99058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3600" b="1" dirty="0">
                <a:solidFill>
                  <a:schemeClr val="accent1">
                    <a:lumMod val="50000"/>
                  </a:schemeClr>
                </a:solidFill>
              </a:rPr>
              <a:t>$ 60 Billion </a:t>
            </a:r>
            <a:r>
              <a:rPr lang="en-US" sz="1600" dirty="0">
                <a:solidFill>
                  <a:schemeClr val="accent1">
                    <a:lumMod val="50000"/>
                  </a:schemeClr>
                </a:solidFill>
              </a:rPr>
              <a:t>Revenue</a:t>
            </a:r>
          </a:p>
        </p:txBody>
      </p:sp>
      <p:sp>
        <p:nvSpPr>
          <p:cNvPr id="256" name="Rectangle 255">
            <a:extLst>
              <a:ext uri="{FF2B5EF4-FFF2-40B4-BE49-F238E27FC236}">
                <a16:creationId xmlns:a16="http://schemas.microsoft.com/office/drawing/2014/main" id="{19B3E90C-42C0-24AB-5577-AAA161BDADF9}"/>
              </a:ext>
            </a:extLst>
          </p:cNvPr>
          <p:cNvSpPr/>
          <p:nvPr/>
        </p:nvSpPr>
        <p:spPr>
          <a:xfrm>
            <a:off x="8113275" y="2660388"/>
            <a:ext cx="3657600" cy="99058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3600" b="1" dirty="0">
                <a:solidFill>
                  <a:schemeClr val="accent1">
                    <a:lumMod val="50000"/>
                  </a:schemeClr>
                </a:solidFill>
              </a:rPr>
              <a:t>150,000 </a:t>
            </a:r>
            <a:r>
              <a:rPr lang="en-US" sz="1600" dirty="0">
                <a:solidFill>
                  <a:schemeClr val="accent1">
                    <a:lumMod val="50000"/>
                  </a:schemeClr>
                </a:solidFill>
              </a:rPr>
              <a:t>Employees</a:t>
            </a:r>
          </a:p>
        </p:txBody>
      </p:sp>
      <p:sp>
        <p:nvSpPr>
          <p:cNvPr id="257" name="Rectangle 256">
            <a:extLst>
              <a:ext uri="{FF2B5EF4-FFF2-40B4-BE49-F238E27FC236}">
                <a16:creationId xmlns:a16="http://schemas.microsoft.com/office/drawing/2014/main" id="{51A1E2F2-1295-663D-7AB3-CA8E244E55DA}"/>
              </a:ext>
            </a:extLst>
          </p:cNvPr>
          <p:cNvSpPr/>
          <p:nvPr/>
        </p:nvSpPr>
        <p:spPr>
          <a:xfrm>
            <a:off x="8113275" y="3596067"/>
            <a:ext cx="3657600" cy="99058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3600" b="1" dirty="0">
                <a:solidFill>
                  <a:schemeClr val="accent1">
                    <a:lumMod val="50000"/>
                  </a:schemeClr>
                </a:solidFill>
              </a:rPr>
              <a:t>5 </a:t>
            </a:r>
            <a:r>
              <a:rPr lang="en-US" sz="1600" b="1" dirty="0">
                <a:solidFill>
                  <a:schemeClr val="accent1">
                    <a:lumMod val="50000"/>
                  </a:schemeClr>
                </a:solidFill>
              </a:rPr>
              <a:t>Geographies</a:t>
            </a:r>
            <a:endParaRPr lang="en-US" sz="1600" dirty="0">
              <a:solidFill>
                <a:schemeClr val="accent1">
                  <a:lumMod val="50000"/>
                </a:schemeClr>
              </a:solidFill>
            </a:endParaRPr>
          </a:p>
        </p:txBody>
      </p:sp>
      <p:sp>
        <p:nvSpPr>
          <p:cNvPr id="258" name="Rectangle 257">
            <a:extLst>
              <a:ext uri="{FF2B5EF4-FFF2-40B4-BE49-F238E27FC236}">
                <a16:creationId xmlns:a16="http://schemas.microsoft.com/office/drawing/2014/main" id="{416C52B7-302C-E0A7-41D7-BB456F0D3692}"/>
              </a:ext>
            </a:extLst>
          </p:cNvPr>
          <p:cNvSpPr/>
          <p:nvPr/>
        </p:nvSpPr>
        <p:spPr>
          <a:xfrm>
            <a:off x="8113275" y="4474396"/>
            <a:ext cx="3657600" cy="99058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3600" b="1" dirty="0">
                <a:solidFill>
                  <a:schemeClr val="accent1">
                    <a:lumMod val="50000"/>
                  </a:schemeClr>
                </a:solidFill>
              </a:rPr>
              <a:t>5 </a:t>
            </a:r>
            <a:r>
              <a:rPr lang="en-US" sz="1600" b="1" dirty="0">
                <a:solidFill>
                  <a:schemeClr val="accent1">
                    <a:lumMod val="50000"/>
                  </a:schemeClr>
                </a:solidFill>
              </a:rPr>
              <a:t>Brands</a:t>
            </a:r>
            <a:endParaRPr lang="en-US" sz="1600" dirty="0">
              <a:solidFill>
                <a:schemeClr val="accent1">
                  <a:lumMod val="50000"/>
                </a:schemeClr>
              </a:solidFill>
            </a:endParaRPr>
          </a:p>
        </p:txBody>
      </p:sp>
      <p:sp>
        <p:nvSpPr>
          <p:cNvPr id="259" name="Oval 258">
            <a:extLst>
              <a:ext uri="{FF2B5EF4-FFF2-40B4-BE49-F238E27FC236}">
                <a16:creationId xmlns:a16="http://schemas.microsoft.com/office/drawing/2014/main" id="{EC180E2E-02B2-6888-E6F2-B4537B50DCA8}"/>
              </a:ext>
            </a:extLst>
          </p:cNvPr>
          <p:cNvSpPr/>
          <p:nvPr/>
        </p:nvSpPr>
        <p:spPr>
          <a:xfrm>
            <a:off x="547703" y="3650975"/>
            <a:ext cx="580994" cy="580994"/>
          </a:xfrm>
          <a:prstGeom prst="ellipse">
            <a:avLst/>
          </a:prstGeom>
          <a:noFill/>
          <a:ln w="6350" cap="sq">
            <a:solidFill>
              <a:schemeClr val="accent1">
                <a:lumMod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000" b="1" dirty="0">
                <a:solidFill>
                  <a:schemeClr val="accent1">
                    <a:lumMod val="50000"/>
                  </a:schemeClr>
                </a:solidFill>
              </a:rPr>
              <a:t>5</a:t>
            </a:r>
          </a:p>
        </p:txBody>
      </p:sp>
      <p:sp>
        <p:nvSpPr>
          <p:cNvPr id="260" name="Rectangle 259">
            <a:extLst>
              <a:ext uri="{FF2B5EF4-FFF2-40B4-BE49-F238E27FC236}">
                <a16:creationId xmlns:a16="http://schemas.microsoft.com/office/drawing/2014/main" id="{6B491259-3E26-D7BA-4EFB-6E70407C5946}"/>
              </a:ext>
            </a:extLst>
          </p:cNvPr>
          <p:cNvSpPr/>
          <p:nvPr/>
        </p:nvSpPr>
        <p:spPr>
          <a:xfrm>
            <a:off x="-533401" y="4016965"/>
            <a:ext cx="2909903" cy="99058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000" b="1" dirty="0">
                <a:solidFill>
                  <a:schemeClr val="accent1">
                    <a:lumMod val="50000"/>
                  </a:schemeClr>
                </a:solidFill>
              </a:rPr>
              <a:t>Sellers/Geo</a:t>
            </a:r>
            <a:endParaRPr lang="en-US" sz="1050" dirty="0">
              <a:solidFill>
                <a:schemeClr val="accent1">
                  <a:lumMod val="50000"/>
                </a:schemeClr>
              </a:solidFill>
            </a:endParaRPr>
          </a:p>
        </p:txBody>
      </p:sp>
      <p:sp>
        <p:nvSpPr>
          <p:cNvPr id="261" name="Rectangle 260">
            <a:extLst>
              <a:ext uri="{FF2B5EF4-FFF2-40B4-BE49-F238E27FC236}">
                <a16:creationId xmlns:a16="http://schemas.microsoft.com/office/drawing/2014/main" id="{2FAF3EB6-9CA5-E73C-9FB0-131493C35C44}"/>
              </a:ext>
            </a:extLst>
          </p:cNvPr>
          <p:cNvSpPr/>
          <p:nvPr/>
        </p:nvSpPr>
        <p:spPr>
          <a:xfrm>
            <a:off x="8113275" y="5261659"/>
            <a:ext cx="3657600" cy="99058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3600" b="1" dirty="0">
                <a:solidFill>
                  <a:schemeClr val="accent1">
                    <a:lumMod val="50000"/>
                  </a:schemeClr>
                </a:solidFill>
              </a:rPr>
              <a:t>4 </a:t>
            </a:r>
            <a:r>
              <a:rPr lang="en-US" sz="1600" b="1" dirty="0">
                <a:solidFill>
                  <a:schemeClr val="accent1">
                    <a:lumMod val="50000"/>
                  </a:schemeClr>
                </a:solidFill>
              </a:rPr>
              <a:t>BSS</a:t>
            </a:r>
            <a:endParaRPr lang="en-US" sz="1600" dirty="0">
              <a:solidFill>
                <a:schemeClr val="accent1">
                  <a:lumMod val="50000"/>
                </a:schemeClr>
              </a:solidFill>
            </a:endParaRPr>
          </a:p>
        </p:txBody>
      </p:sp>
      <p:sp>
        <p:nvSpPr>
          <p:cNvPr id="263" name="Rectangle 262">
            <a:extLst>
              <a:ext uri="{FF2B5EF4-FFF2-40B4-BE49-F238E27FC236}">
                <a16:creationId xmlns:a16="http://schemas.microsoft.com/office/drawing/2014/main" id="{DB31A89C-FA40-574B-8849-5C9ECA9B109B}"/>
              </a:ext>
            </a:extLst>
          </p:cNvPr>
          <p:cNvSpPr/>
          <p:nvPr/>
        </p:nvSpPr>
        <p:spPr>
          <a:xfrm>
            <a:off x="0" y="2512447"/>
            <a:ext cx="12192000" cy="1844964"/>
          </a:xfrm>
          <a:prstGeom prst="rect">
            <a:avLst/>
          </a:prstGeom>
          <a:solidFill>
            <a:schemeClr val="bg1">
              <a:lumMod val="75000"/>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5400" b="1" dirty="0">
                <a:solidFill>
                  <a:srgbClr val="FF0000"/>
                </a:solidFill>
              </a:rPr>
              <a:t>18%</a:t>
            </a:r>
            <a:r>
              <a:rPr lang="en-US" sz="3200" b="1" dirty="0">
                <a:solidFill>
                  <a:srgbClr val="FF0000"/>
                </a:solidFill>
              </a:rPr>
              <a:t> Reduction in Revenue</a:t>
            </a:r>
          </a:p>
        </p:txBody>
      </p:sp>
      <p:sp>
        <p:nvSpPr>
          <p:cNvPr id="2" name="Slide Number Placeholder 1"/>
          <p:cNvSpPr>
            <a:spLocks noGrp="1"/>
          </p:cNvSpPr>
          <p:nvPr>
            <p:ph type="sldNum" sz="quarter" idx="12"/>
          </p:nvPr>
        </p:nvSpPr>
        <p:spPr>
          <a:xfrm>
            <a:off x="11746294" y="6370637"/>
            <a:ext cx="381000" cy="365125"/>
          </a:xfrm>
        </p:spPr>
        <p:txBody>
          <a:bodyPr/>
          <a:lstStyle/>
          <a:p>
            <a:fld id="{B4792231-69F4-4F9D-9049-A1DDF7DEBE79}" type="slidenum">
              <a:rPr lang="en-US" smtClean="0"/>
              <a:t>3</a:t>
            </a:fld>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3"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12CA43-18D5-222D-9D92-B4A38DF1210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BDD3D15-38B4-3344-CFDD-CDF976F65F6A}"/>
              </a:ext>
            </a:extLst>
          </p:cNvPr>
          <p:cNvSpPr>
            <a:spLocks noGrp="1"/>
          </p:cNvSpPr>
          <p:nvPr>
            <p:ph type="title"/>
          </p:nvPr>
        </p:nvSpPr>
        <p:spPr>
          <a:xfrm>
            <a:off x="228600" y="199399"/>
            <a:ext cx="10591800" cy="731520"/>
          </a:xfrm>
        </p:spPr>
        <p:txBody>
          <a:bodyPr/>
          <a:lstStyle/>
          <a:p>
            <a:r>
              <a:rPr lang="en-US" sz="2800" dirty="0">
                <a:solidFill>
                  <a:schemeClr val="accent1">
                    <a:lumMod val="50000"/>
                  </a:schemeClr>
                </a:solidFill>
              </a:rPr>
              <a:t>Project Charter</a:t>
            </a:r>
          </a:p>
        </p:txBody>
      </p:sp>
      <p:cxnSp>
        <p:nvCxnSpPr>
          <p:cNvPr id="6" name="Straight Connector 5">
            <a:extLst>
              <a:ext uri="{FF2B5EF4-FFF2-40B4-BE49-F238E27FC236}">
                <a16:creationId xmlns:a16="http://schemas.microsoft.com/office/drawing/2014/main" id="{F14A43C1-2C15-3DF7-D164-AAADEEEF6E17}"/>
              </a:ext>
            </a:extLst>
          </p:cNvPr>
          <p:cNvCxnSpPr/>
          <p:nvPr/>
        </p:nvCxnSpPr>
        <p:spPr>
          <a:xfrm>
            <a:off x="1600200" y="6553200"/>
            <a:ext cx="8892208" cy="0"/>
          </a:xfrm>
          <a:prstGeom prst="line">
            <a:avLst/>
          </a:prstGeom>
          <a:ln w="38100"/>
        </p:spPr>
        <p:style>
          <a:lnRef idx="3">
            <a:schemeClr val="accent5"/>
          </a:lnRef>
          <a:fillRef idx="0">
            <a:schemeClr val="accent5"/>
          </a:fillRef>
          <a:effectRef idx="2">
            <a:schemeClr val="accent5"/>
          </a:effectRef>
          <a:fontRef idx="minor">
            <a:schemeClr val="tx1"/>
          </a:fontRef>
        </p:style>
      </p:cxnSp>
      <p:sp>
        <p:nvSpPr>
          <p:cNvPr id="10" name="Slide Number Placeholder 9">
            <a:extLst>
              <a:ext uri="{FF2B5EF4-FFF2-40B4-BE49-F238E27FC236}">
                <a16:creationId xmlns:a16="http://schemas.microsoft.com/office/drawing/2014/main" id="{85724E29-7247-B529-DFC9-4C39EEAE8BAC}"/>
              </a:ext>
            </a:extLst>
          </p:cNvPr>
          <p:cNvSpPr>
            <a:spLocks noGrp="1"/>
          </p:cNvSpPr>
          <p:nvPr>
            <p:ph type="sldNum" sz="quarter" idx="12"/>
          </p:nvPr>
        </p:nvSpPr>
        <p:spPr>
          <a:xfrm>
            <a:off x="11658600" y="6314632"/>
            <a:ext cx="304800" cy="365124"/>
          </a:xfrm>
        </p:spPr>
        <p:txBody>
          <a:bodyPr/>
          <a:lstStyle/>
          <a:p>
            <a:fld id="{B4792231-69F4-4F9D-9049-A1DDF7DEBE79}" type="slidenum">
              <a:rPr lang="en-US" smtClean="0"/>
              <a:t>4</a:t>
            </a:fld>
            <a:endParaRPr lang="en-US"/>
          </a:p>
        </p:txBody>
      </p:sp>
      <p:sp>
        <p:nvSpPr>
          <p:cNvPr id="8" name="Rectangle 7">
            <a:extLst>
              <a:ext uri="{FF2B5EF4-FFF2-40B4-BE49-F238E27FC236}">
                <a16:creationId xmlns:a16="http://schemas.microsoft.com/office/drawing/2014/main" id="{AF735061-43C2-8BF7-69EC-894B50375BAA}"/>
              </a:ext>
            </a:extLst>
          </p:cNvPr>
          <p:cNvSpPr/>
          <p:nvPr/>
        </p:nvSpPr>
        <p:spPr>
          <a:xfrm>
            <a:off x="1905000" y="1208846"/>
            <a:ext cx="1676400" cy="315154"/>
          </a:xfrm>
          <a:prstGeom prst="rect">
            <a:avLst/>
          </a:prstGeom>
          <a:solidFill>
            <a:srgbClr val="F7F9FA"/>
          </a:solidFill>
          <a:ln w="6350" cap="sq">
            <a:solidFill>
              <a:srgbClr val="F7F9FA"/>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aphicFrame>
        <p:nvGraphicFramePr>
          <p:cNvPr id="3" name="Table 2">
            <a:extLst>
              <a:ext uri="{FF2B5EF4-FFF2-40B4-BE49-F238E27FC236}">
                <a16:creationId xmlns:a16="http://schemas.microsoft.com/office/drawing/2014/main" id="{091C7270-7240-95A8-954F-BA7641599EF8}"/>
              </a:ext>
            </a:extLst>
          </p:cNvPr>
          <p:cNvGraphicFramePr>
            <a:graphicFrameLocks noGrp="1"/>
          </p:cNvGraphicFramePr>
          <p:nvPr>
            <p:extLst>
              <p:ext uri="{D42A27DB-BD31-4B8C-83A1-F6EECF244321}">
                <p14:modId xmlns:p14="http://schemas.microsoft.com/office/powerpoint/2010/main" val="1440135472"/>
              </p:ext>
            </p:extLst>
          </p:nvPr>
        </p:nvGraphicFramePr>
        <p:xfrm>
          <a:off x="228599" y="0"/>
          <a:ext cx="11734799" cy="3072575"/>
        </p:xfrm>
        <a:graphic>
          <a:graphicData uri="http://schemas.openxmlformats.org/drawingml/2006/table">
            <a:tbl>
              <a:tblPr/>
              <a:tblGrid>
                <a:gridCol w="8494904">
                  <a:extLst>
                    <a:ext uri="{9D8B030D-6E8A-4147-A177-3AD203B41FA5}">
                      <a16:colId xmlns:a16="http://schemas.microsoft.com/office/drawing/2014/main" val="970645246"/>
                    </a:ext>
                  </a:extLst>
                </a:gridCol>
                <a:gridCol w="3239895">
                  <a:extLst>
                    <a:ext uri="{9D8B030D-6E8A-4147-A177-3AD203B41FA5}">
                      <a16:colId xmlns:a16="http://schemas.microsoft.com/office/drawing/2014/main" val="3830618036"/>
                    </a:ext>
                  </a:extLst>
                </a:gridCol>
              </a:tblGrid>
              <a:tr h="279965">
                <a:tc gridSpan="2">
                  <a:txBody>
                    <a:bodyPr/>
                    <a:lstStyle>
                      <a:lvl1pPr>
                        <a:lnSpc>
                          <a:spcPct val="104000"/>
                        </a:lnSpc>
                        <a:spcBef>
                          <a:spcPct val="20000"/>
                        </a:spcBef>
                        <a:buClr>
                          <a:srgbClr val="3C73C6"/>
                        </a:buClr>
                        <a:buFont typeface="Wingdings" panose="05000000000000000000" pitchFamily="2" charset="2"/>
                        <a:defRPr>
                          <a:solidFill>
                            <a:schemeClr val="tx1"/>
                          </a:solidFill>
                          <a:latin typeface="Arial" panose="020B0604020202020204" pitchFamily="34" charset="0"/>
                          <a:cs typeface="Arial" panose="020B0604020202020204" pitchFamily="34" charset="0"/>
                        </a:defRPr>
                      </a:lvl1pPr>
                      <a:lvl2pPr marL="230188">
                        <a:lnSpc>
                          <a:spcPct val="104000"/>
                        </a:lnSpc>
                        <a:spcBef>
                          <a:spcPct val="20000"/>
                        </a:spcBef>
                        <a:buClr>
                          <a:srgbClr val="3C73C6"/>
                        </a:buClr>
                        <a:buFont typeface="Times New Roman" panose="02020603050405020304" pitchFamily="18" charset="0"/>
                        <a:defRPr sz="1600">
                          <a:solidFill>
                            <a:schemeClr val="tx1"/>
                          </a:solidFill>
                          <a:latin typeface="Arial" panose="020B0604020202020204" pitchFamily="34" charset="0"/>
                          <a:cs typeface="Arial" panose="020B0604020202020204" pitchFamily="34" charset="0"/>
                        </a:defRPr>
                      </a:lvl2pPr>
                      <a:lvl3pPr marL="458788">
                        <a:lnSpc>
                          <a:spcPct val="104000"/>
                        </a:lnSpc>
                        <a:spcBef>
                          <a:spcPct val="20000"/>
                        </a:spcBef>
                        <a:buClr>
                          <a:srgbClr val="3C73C6"/>
                        </a:buClr>
                        <a:buFont typeface="Times New Roman" panose="02020603050405020304" pitchFamily="18" charset="0"/>
                        <a:defRPr sz="1400">
                          <a:solidFill>
                            <a:schemeClr val="tx1"/>
                          </a:solidFill>
                          <a:latin typeface="Arial" panose="020B0604020202020204" pitchFamily="34" charset="0"/>
                          <a:cs typeface="Arial" panose="020B0604020202020204" pitchFamily="34" charset="0"/>
                        </a:defRPr>
                      </a:lvl3pPr>
                      <a:lvl4pPr marL="684213">
                        <a:lnSpc>
                          <a:spcPct val="104000"/>
                        </a:lnSpc>
                        <a:spcBef>
                          <a:spcPct val="20000"/>
                        </a:spcBef>
                        <a:buClr>
                          <a:srgbClr val="3C73C6"/>
                        </a:buClr>
                        <a:buFont typeface="Times New Roman" panose="02020603050405020304" pitchFamily="18" charset="0"/>
                        <a:defRPr sz="1200">
                          <a:solidFill>
                            <a:schemeClr val="tx1"/>
                          </a:solidFill>
                          <a:latin typeface="Arial" panose="020B0604020202020204" pitchFamily="34" charset="0"/>
                          <a:cs typeface="Arial" panose="020B0604020202020204" pitchFamily="34" charset="0"/>
                        </a:defRPr>
                      </a:lvl4pPr>
                      <a:lvl5pPr marL="914400">
                        <a:lnSpc>
                          <a:spcPct val="104000"/>
                        </a:lnSpc>
                        <a:spcBef>
                          <a:spcPct val="20000"/>
                        </a:spcBef>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5pPr>
                      <a:lvl6pPr marL="1371600"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6pPr>
                      <a:lvl7pPr marL="1828800"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7pPr>
                      <a:lvl8pPr marL="2286000"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8pPr>
                      <a:lvl9pPr marL="2743200"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4000"/>
                        </a:lnSpc>
                        <a:spcBef>
                          <a:spcPct val="20000"/>
                        </a:spcBef>
                        <a:spcAft>
                          <a:spcPct val="0"/>
                        </a:spcAft>
                        <a:buClr>
                          <a:srgbClr val="3C73C6"/>
                        </a:buClr>
                        <a:buSzTx/>
                        <a:buFont typeface="Wingdings" panose="05000000000000000000" pitchFamily="2" charset="2"/>
                        <a:buNone/>
                        <a:tabLst/>
                        <a:defRPr/>
                      </a:pPr>
                      <a:r>
                        <a:rPr lang="en-IN" sz="1800" b="1" kern="1200" dirty="0">
                          <a:solidFill>
                            <a:schemeClr val="bg1"/>
                          </a:solidFill>
                          <a:effectLst/>
                          <a:latin typeface="Arial" panose="020B0604020202020204" pitchFamily="34" charset="0"/>
                          <a:ea typeface="+mn-ea"/>
                          <a:cs typeface="Arial" panose="020B0604020202020204" pitchFamily="34" charset="0"/>
                        </a:rPr>
                        <a:t>Streamlining the Proposal Creation Process at </a:t>
                      </a:r>
                      <a:r>
                        <a:rPr lang="en-IN" sz="1800" b="1" kern="1200" dirty="0" err="1">
                          <a:solidFill>
                            <a:schemeClr val="bg1"/>
                          </a:solidFill>
                          <a:effectLst/>
                          <a:latin typeface="Arial" panose="020B0604020202020204" pitchFamily="34" charset="0"/>
                          <a:ea typeface="+mn-ea"/>
                          <a:cs typeface="Arial" panose="020B0604020202020204" pitchFamily="34" charset="0"/>
                        </a:rPr>
                        <a:t>Gentech</a:t>
                      </a:r>
                      <a:endParaRPr lang="en-IN" sz="1800" kern="1200" dirty="0">
                        <a:solidFill>
                          <a:schemeClr val="bg1"/>
                        </a:solidFill>
                        <a:effectLst/>
                        <a:latin typeface="Arial" panose="020B0604020202020204" pitchFamily="34" charset="0"/>
                        <a:ea typeface="+mn-ea"/>
                        <a:cs typeface="Arial" panose="020B0604020202020204" pitchFamily="34" charset="0"/>
                      </a:endParaRPr>
                    </a:p>
                  </a:txBody>
                  <a:tcPr marL="68580" marR="68580" marT="34290" marB="3429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837"/>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461452136"/>
                  </a:ext>
                </a:extLst>
              </a:tr>
              <a:tr h="451768">
                <a:tc>
                  <a:txBody>
                    <a:bodyPr/>
                    <a:lstStyle>
                      <a:lvl1pPr>
                        <a:lnSpc>
                          <a:spcPct val="104000"/>
                        </a:lnSpc>
                        <a:spcBef>
                          <a:spcPct val="20000"/>
                        </a:spcBef>
                        <a:buClr>
                          <a:srgbClr val="3C73C6"/>
                        </a:buClr>
                        <a:buFont typeface="Wingdings" panose="05000000000000000000" pitchFamily="2" charset="2"/>
                        <a:defRPr>
                          <a:solidFill>
                            <a:schemeClr val="tx1"/>
                          </a:solidFill>
                          <a:latin typeface="Arial" panose="020B0604020202020204" pitchFamily="34" charset="0"/>
                          <a:cs typeface="Arial" panose="020B0604020202020204" pitchFamily="34" charset="0"/>
                        </a:defRPr>
                      </a:lvl1pPr>
                      <a:lvl2pPr marL="230188">
                        <a:lnSpc>
                          <a:spcPct val="104000"/>
                        </a:lnSpc>
                        <a:spcBef>
                          <a:spcPct val="20000"/>
                        </a:spcBef>
                        <a:buClr>
                          <a:srgbClr val="3C73C6"/>
                        </a:buClr>
                        <a:buFont typeface="Times New Roman" panose="02020603050405020304" pitchFamily="18" charset="0"/>
                        <a:defRPr sz="1600">
                          <a:solidFill>
                            <a:schemeClr val="tx1"/>
                          </a:solidFill>
                          <a:latin typeface="Arial" panose="020B0604020202020204" pitchFamily="34" charset="0"/>
                          <a:cs typeface="Arial" panose="020B0604020202020204" pitchFamily="34" charset="0"/>
                        </a:defRPr>
                      </a:lvl2pPr>
                      <a:lvl3pPr marL="458788">
                        <a:lnSpc>
                          <a:spcPct val="104000"/>
                        </a:lnSpc>
                        <a:spcBef>
                          <a:spcPct val="20000"/>
                        </a:spcBef>
                        <a:buClr>
                          <a:srgbClr val="3C73C6"/>
                        </a:buClr>
                        <a:buFont typeface="Times New Roman" panose="02020603050405020304" pitchFamily="18" charset="0"/>
                        <a:defRPr sz="1400">
                          <a:solidFill>
                            <a:schemeClr val="tx1"/>
                          </a:solidFill>
                          <a:latin typeface="Arial" panose="020B0604020202020204" pitchFamily="34" charset="0"/>
                          <a:cs typeface="Arial" panose="020B0604020202020204" pitchFamily="34" charset="0"/>
                        </a:defRPr>
                      </a:lvl3pPr>
                      <a:lvl4pPr marL="684213">
                        <a:lnSpc>
                          <a:spcPct val="104000"/>
                        </a:lnSpc>
                        <a:spcBef>
                          <a:spcPct val="20000"/>
                        </a:spcBef>
                        <a:buClr>
                          <a:srgbClr val="3C73C6"/>
                        </a:buClr>
                        <a:buFont typeface="Times New Roman" panose="02020603050405020304" pitchFamily="18" charset="0"/>
                        <a:defRPr sz="1200">
                          <a:solidFill>
                            <a:schemeClr val="tx1"/>
                          </a:solidFill>
                          <a:latin typeface="Arial" panose="020B0604020202020204" pitchFamily="34" charset="0"/>
                          <a:cs typeface="Arial" panose="020B0604020202020204" pitchFamily="34" charset="0"/>
                        </a:defRPr>
                      </a:lvl4pPr>
                      <a:lvl5pPr marL="914400">
                        <a:lnSpc>
                          <a:spcPct val="104000"/>
                        </a:lnSpc>
                        <a:spcBef>
                          <a:spcPct val="20000"/>
                        </a:spcBef>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5pPr>
                      <a:lvl6pPr marL="1371600"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6pPr>
                      <a:lvl7pPr marL="1828800"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7pPr>
                      <a:lvl8pPr marL="2286000"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8pPr>
                      <a:lvl9pPr marL="2743200"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4000"/>
                        </a:lnSpc>
                        <a:spcBef>
                          <a:spcPct val="20000"/>
                        </a:spcBef>
                        <a:spcAft>
                          <a:spcPct val="0"/>
                        </a:spcAft>
                        <a:buClr>
                          <a:srgbClr val="3C73C6"/>
                        </a:buClr>
                        <a:buSzTx/>
                        <a:buFont typeface="Wingdings" panose="05000000000000000000" pitchFamily="2" charset="2"/>
                        <a:buNone/>
                        <a:tabLst/>
                      </a:pPr>
                      <a:r>
                        <a:rPr kumimoji="0" lang="en-IE" altLang="en-US" sz="1400" b="1" i="0" u="none" strike="noStrike" cap="none" normalizeH="0" baseline="0" dirty="0">
                          <a:ln>
                            <a:noFill/>
                          </a:ln>
                          <a:solidFill>
                            <a:srgbClr val="042440"/>
                          </a:solidFill>
                          <a:effectLst/>
                          <a:latin typeface="+mn-lt"/>
                          <a:cs typeface="Arial" panose="020B0604020202020204" pitchFamily="34" charset="0"/>
                        </a:rPr>
                        <a:t>Business Problem:  </a:t>
                      </a:r>
                    </a:p>
                    <a:p>
                      <a:pPr marL="0" marR="0" lvl="0" indent="0" algn="l" defTabSz="914400" rtl="0" eaLnBrk="1" fontAlgn="base" latinLnBrk="0" hangingPunct="1">
                        <a:lnSpc>
                          <a:spcPct val="104000"/>
                        </a:lnSpc>
                        <a:spcBef>
                          <a:spcPct val="20000"/>
                        </a:spcBef>
                        <a:spcAft>
                          <a:spcPct val="0"/>
                        </a:spcAft>
                        <a:buClr>
                          <a:srgbClr val="3C73C6"/>
                        </a:buClr>
                        <a:buSzTx/>
                        <a:buFont typeface="Wingdings" panose="05000000000000000000" pitchFamily="2" charset="2"/>
                        <a:buNone/>
                        <a:tabLst/>
                      </a:pPr>
                      <a:r>
                        <a:rPr kumimoji="0" lang="en-IE" altLang="en-US" sz="1400" b="0" i="0" u="none" strike="noStrike" cap="none" normalizeH="0" baseline="0" dirty="0">
                          <a:ln>
                            <a:noFill/>
                          </a:ln>
                          <a:solidFill>
                            <a:srgbClr val="042440"/>
                          </a:solidFill>
                          <a:effectLst/>
                          <a:latin typeface="+mn-lt"/>
                          <a:cs typeface="Arial" panose="020B0604020202020204" pitchFamily="34" charset="0"/>
                        </a:rPr>
                        <a:t>Overcome revenue loss of 18% by reducing cycle time</a:t>
                      </a:r>
                    </a:p>
                  </a:txBody>
                  <a:tcPr marL="68580" marR="68580"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solidFill>
                  </a:tcPr>
                </a:tc>
                <a:tc rowSpan="2">
                  <a:txBody>
                    <a:bodyPr/>
                    <a:lstStyle>
                      <a:lvl1pPr>
                        <a:lnSpc>
                          <a:spcPct val="104000"/>
                        </a:lnSpc>
                        <a:spcBef>
                          <a:spcPct val="20000"/>
                        </a:spcBef>
                        <a:buClr>
                          <a:srgbClr val="3C73C6"/>
                        </a:buClr>
                        <a:buFont typeface="Wingdings" panose="05000000000000000000" pitchFamily="2" charset="2"/>
                        <a:defRPr>
                          <a:solidFill>
                            <a:schemeClr val="tx1"/>
                          </a:solidFill>
                          <a:latin typeface="Arial" panose="020B0604020202020204" pitchFamily="34" charset="0"/>
                          <a:cs typeface="Arial" panose="020B0604020202020204" pitchFamily="34" charset="0"/>
                        </a:defRPr>
                      </a:lvl1pPr>
                      <a:lvl2pPr marL="230188">
                        <a:lnSpc>
                          <a:spcPct val="104000"/>
                        </a:lnSpc>
                        <a:spcBef>
                          <a:spcPct val="20000"/>
                        </a:spcBef>
                        <a:buClr>
                          <a:srgbClr val="3C73C6"/>
                        </a:buClr>
                        <a:buFont typeface="Times New Roman" panose="02020603050405020304" pitchFamily="18" charset="0"/>
                        <a:defRPr sz="1600">
                          <a:solidFill>
                            <a:schemeClr val="tx1"/>
                          </a:solidFill>
                          <a:latin typeface="Arial" panose="020B0604020202020204" pitchFamily="34" charset="0"/>
                          <a:cs typeface="Arial" panose="020B0604020202020204" pitchFamily="34" charset="0"/>
                        </a:defRPr>
                      </a:lvl2pPr>
                      <a:lvl3pPr marL="458788">
                        <a:lnSpc>
                          <a:spcPct val="104000"/>
                        </a:lnSpc>
                        <a:spcBef>
                          <a:spcPct val="20000"/>
                        </a:spcBef>
                        <a:buClr>
                          <a:srgbClr val="3C73C6"/>
                        </a:buClr>
                        <a:buFont typeface="Times New Roman" panose="02020603050405020304" pitchFamily="18" charset="0"/>
                        <a:defRPr sz="1400">
                          <a:solidFill>
                            <a:schemeClr val="tx1"/>
                          </a:solidFill>
                          <a:latin typeface="Arial" panose="020B0604020202020204" pitchFamily="34" charset="0"/>
                          <a:cs typeface="Arial" panose="020B0604020202020204" pitchFamily="34" charset="0"/>
                        </a:defRPr>
                      </a:lvl3pPr>
                      <a:lvl4pPr marL="684213">
                        <a:lnSpc>
                          <a:spcPct val="104000"/>
                        </a:lnSpc>
                        <a:spcBef>
                          <a:spcPct val="20000"/>
                        </a:spcBef>
                        <a:buClr>
                          <a:srgbClr val="3C73C6"/>
                        </a:buClr>
                        <a:buFont typeface="Times New Roman" panose="02020603050405020304" pitchFamily="18" charset="0"/>
                        <a:defRPr sz="1200">
                          <a:solidFill>
                            <a:schemeClr val="tx1"/>
                          </a:solidFill>
                          <a:latin typeface="Arial" panose="020B0604020202020204" pitchFamily="34" charset="0"/>
                          <a:cs typeface="Arial" panose="020B0604020202020204" pitchFamily="34" charset="0"/>
                        </a:defRPr>
                      </a:lvl4pPr>
                      <a:lvl5pPr marL="914400">
                        <a:lnSpc>
                          <a:spcPct val="104000"/>
                        </a:lnSpc>
                        <a:spcBef>
                          <a:spcPct val="20000"/>
                        </a:spcBef>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5pPr>
                      <a:lvl6pPr marL="1371600"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6pPr>
                      <a:lvl7pPr marL="1828800"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7pPr>
                      <a:lvl8pPr marL="2286000"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8pPr>
                      <a:lvl9pPr marL="2743200"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4000"/>
                        </a:lnSpc>
                        <a:spcBef>
                          <a:spcPct val="20000"/>
                        </a:spcBef>
                        <a:spcAft>
                          <a:spcPct val="0"/>
                        </a:spcAft>
                        <a:buClr>
                          <a:srgbClr val="3C73C6"/>
                        </a:buClr>
                        <a:buSzTx/>
                        <a:buFont typeface="Wingdings" panose="05000000000000000000" pitchFamily="2" charset="2"/>
                        <a:buNone/>
                        <a:tabLst/>
                      </a:pPr>
                      <a:r>
                        <a:rPr kumimoji="0" lang="en-IE" altLang="en-US" sz="1400" b="1" i="0" u="none" strike="noStrike" cap="none" normalizeH="0" baseline="0" dirty="0">
                          <a:ln>
                            <a:noFill/>
                          </a:ln>
                          <a:solidFill>
                            <a:srgbClr val="042440"/>
                          </a:solidFill>
                          <a:effectLst/>
                          <a:latin typeface="+mn-lt"/>
                          <a:cs typeface="Arial" panose="020B0604020202020204" pitchFamily="34" charset="0"/>
                        </a:rPr>
                        <a:t>Executive Sponsor</a:t>
                      </a:r>
                    </a:p>
                    <a:p>
                      <a:pPr marL="0" marR="0" lvl="0" indent="0" algn="l" defTabSz="914400" rtl="0" eaLnBrk="1" fontAlgn="base" latinLnBrk="0" hangingPunct="1">
                        <a:lnSpc>
                          <a:spcPct val="104000"/>
                        </a:lnSpc>
                        <a:spcBef>
                          <a:spcPct val="20000"/>
                        </a:spcBef>
                        <a:spcAft>
                          <a:spcPct val="0"/>
                        </a:spcAft>
                        <a:buClr>
                          <a:srgbClr val="3C73C6"/>
                        </a:buClr>
                        <a:buSzTx/>
                        <a:buFont typeface="Wingdings" panose="05000000000000000000" pitchFamily="2" charset="2"/>
                        <a:buNone/>
                        <a:tabLst/>
                      </a:pPr>
                      <a:r>
                        <a:rPr kumimoji="0" lang="en-IE" altLang="en-US" sz="1400" b="0" i="0" u="none" strike="noStrike" cap="none" normalizeH="0" baseline="0" dirty="0">
                          <a:ln>
                            <a:noFill/>
                          </a:ln>
                          <a:solidFill>
                            <a:srgbClr val="042440"/>
                          </a:solidFill>
                          <a:effectLst/>
                          <a:latin typeface="+mn-lt"/>
                          <a:ea typeface="+mn-ea"/>
                          <a:cs typeface="Arial" panose="020B0604020202020204" pitchFamily="34" charset="0"/>
                          <a:sym typeface="Arial"/>
                        </a:rPr>
                        <a:t>Eliot Smith</a:t>
                      </a:r>
                      <a:r>
                        <a:rPr kumimoji="0" lang="en-IE" altLang="en-US" sz="1400" b="0" i="0" u="none" strike="noStrike" cap="none" normalizeH="0" baseline="0" dirty="0" smtClean="0">
                          <a:ln>
                            <a:noFill/>
                          </a:ln>
                          <a:solidFill>
                            <a:srgbClr val="042440"/>
                          </a:solidFill>
                          <a:effectLst/>
                          <a:latin typeface="+mn-lt"/>
                          <a:ea typeface="+mn-ea"/>
                          <a:cs typeface="Arial" panose="020B0604020202020204" pitchFamily="34" charset="0"/>
                          <a:sym typeface="Arial"/>
                        </a:rPr>
                        <a:t>, CEO    </a:t>
                      </a:r>
                      <a:endParaRPr kumimoji="0" lang="en-IE" altLang="en-US" sz="1400" b="0" i="0" u="none" strike="noStrike" cap="none" normalizeH="0" baseline="0" dirty="0">
                        <a:ln>
                          <a:noFill/>
                        </a:ln>
                        <a:solidFill>
                          <a:srgbClr val="042440"/>
                        </a:solidFill>
                        <a:effectLst/>
                        <a:latin typeface="+mn-lt"/>
                        <a:ea typeface="+mn-ea"/>
                        <a:cs typeface="Arial" panose="020B0604020202020204" pitchFamily="34" charset="0"/>
                        <a:sym typeface="Arial"/>
                      </a:endParaRPr>
                    </a:p>
                    <a:p>
                      <a:pPr marL="0" marR="0" lvl="0" indent="0" algn="l" defTabSz="914400" rtl="0" eaLnBrk="1" fontAlgn="base" latinLnBrk="0" hangingPunct="1">
                        <a:lnSpc>
                          <a:spcPct val="104000"/>
                        </a:lnSpc>
                        <a:spcBef>
                          <a:spcPct val="20000"/>
                        </a:spcBef>
                        <a:spcAft>
                          <a:spcPct val="0"/>
                        </a:spcAft>
                        <a:buClr>
                          <a:srgbClr val="3C73C6"/>
                        </a:buClr>
                        <a:buSzTx/>
                        <a:buFont typeface="Wingdings" panose="05000000000000000000" pitchFamily="2" charset="2"/>
                        <a:buNone/>
                        <a:tabLst/>
                      </a:pPr>
                      <a:r>
                        <a:rPr kumimoji="0" lang="en-IE" altLang="en-US" sz="1400" b="0" i="0" u="none" strike="noStrike" cap="none" normalizeH="0" baseline="0" dirty="0">
                          <a:ln>
                            <a:noFill/>
                          </a:ln>
                          <a:solidFill>
                            <a:srgbClr val="042440"/>
                          </a:solidFill>
                          <a:effectLst/>
                          <a:latin typeface="+mn-lt"/>
                          <a:ea typeface="+mn-ea"/>
                          <a:cs typeface="Arial" panose="020B0604020202020204" pitchFamily="34" charset="0"/>
                          <a:sym typeface="Arial"/>
                        </a:rPr>
                        <a:t>Grace Monroe</a:t>
                      </a:r>
                      <a:r>
                        <a:rPr kumimoji="0" lang="en-IE" altLang="en-US" sz="1400" b="0" i="0" u="none" strike="noStrike" cap="none" normalizeH="0" baseline="0" dirty="0" smtClean="0">
                          <a:ln>
                            <a:noFill/>
                          </a:ln>
                          <a:solidFill>
                            <a:srgbClr val="042440"/>
                          </a:solidFill>
                          <a:effectLst/>
                          <a:latin typeface="+mn-lt"/>
                          <a:ea typeface="+mn-ea"/>
                          <a:cs typeface="Arial" panose="020B0604020202020204" pitchFamily="34" charset="0"/>
                          <a:sym typeface="Arial"/>
                        </a:rPr>
                        <a:t>, VP</a:t>
                      </a:r>
                      <a:endParaRPr kumimoji="0" lang="en-IE" altLang="en-US" sz="1400" b="0" i="0" u="none" strike="noStrike" cap="none" normalizeH="0" baseline="0" dirty="0">
                        <a:ln>
                          <a:noFill/>
                        </a:ln>
                        <a:solidFill>
                          <a:srgbClr val="042440"/>
                        </a:solidFill>
                        <a:effectLst/>
                        <a:latin typeface="+mn-lt"/>
                        <a:ea typeface="+mn-ea"/>
                        <a:cs typeface="Arial" panose="020B0604020202020204" pitchFamily="34" charset="0"/>
                        <a:sym typeface="Arial"/>
                      </a:endParaRPr>
                    </a:p>
                    <a:p>
                      <a:pPr marL="0" marR="0" lvl="0" indent="0" algn="l" defTabSz="914400" rtl="0" eaLnBrk="1" fontAlgn="base" latinLnBrk="0" hangingPunct="1">
                        <a:lnSpc>
                          <a:spcPct val="104000"/>
                        </a:lnSpc>
                        <a:spcBef>
                          <a:spcPct val="20000"/>
                        </a:spcBef>
                        <a:spcAft>
                          <a:spcPct val="0"/>
                        </a:spcAft>
                        <a:buClr>
                          <a:srgbClr val="3C73C6"/>
                        </a:buClr>
                        <a:buSzTx/>
                        <a:buFont typeface="Wingdings" panose="05000000000000000000" pitchFamily="2" charset="2"/>
                        <a:buNone/>
                        <a:tabLst/>
                      </a:pPr>
                      <a:r>
                        <a:rPr kumimoji="0" lang="en-IE" altLang="en-US" sz="1400" b="1" i="0" u="none" strike="noStrike" cap="none" normalizeH="0" baseline="0" dirty="0">
                          <a:ln>
                            <a:noFill/>
                          </a:ln>
                          <a:solidFill>
                            <a:srgbClr val="042440"/>
                          </a:solidFill>
                          <a:effectLst/>
                          <a:latin typeface="+mn-lt"/>
                          <a:cs typeface="Arial" panose="020B0604020202020204" pitchFamily="34" charset="0"/>
                        </a:rPr>
                        <a:t>Black Belt Champion </a:t>
                      </a:r>
                    </a:p>
                    <a:p>
                      <a:pPr marL="0" marR="0" lvl="0" indent="0" algn="l" defTabSz="914400" rtl="0" eaLnBrk="1" fontAlgn="base" latinLnBrk="0" hangingPunct="1">
                        <a:lnSpc>
                          <a:spcPct val="104000"/>
                        </a:lnSpc>
                        <a:spcBef>
                          <a:spcPct val="20000"/>
                        </a:spcBef>
                        <a:spcAft>
                          <a:spcPct val="0"/>
                        </a:spcAft>
                        <a:buClr>
                          <a:srgbClr val="3C73C6"/>
                        </a:buClr>
                        <a:buSzTx/>
                        <a:buFont typeface="Wingdings" panose="05000000000000000000" pitchFamily="2" charset="2"/>
                        <a:buNone/>
                        <a:tabLst/>
                      </a:pPr>
                      <a:r>
                        <a:rPr kumimoji="0" lang="en-IE" altLang="en-US" sz="1400" b="0" i="0" u="none" strike="noStrike" cap="none" normalizeH="0" baseline="0" dirty="0">
                          <a:ln>
                            <a:noFill/>
                          </a:ln>
                          <a:solidFill>
                            <a:srgbClr val="042440"/>
                          </a:solidFill>
                          <a:effectLst/>
                          <a:latin typeface="+mn-lt"/>
                          <a:ea typeface="+mn-ea"/>
                          <a:cs typeface="Arial" panose="020B0604020202020204" pitchFamily="34" charset="0"/>
                          <a:sym typeface="Arial"/>
                        </a:rPr>
                        <a:t>Jeff Hugh</a:t>
                      </a:r>
                      <a:r>
                        <a:rPr kumimoji="0" lang="en-IE" altLang="en-US" sz="1400" b="0" i="0" u="none" strike="noStrike" cap="none" normalizeH="0" baseline="0" dirty="0" smtClean="0">
                          <a:ln>
                            <a:noFill/>
                          </a:ln>
                          <a:solidFill>
                            <a:srgbClr val="042440"/>
                          </a:solidFill>
                          <a:effectLst/>
                          <a:latin typeface="+mn-lt"/>
                          <a:ea typeface="+mn-ea"/>
                          <a:cs typeface="Arial" panose="020B0604020202020204" pitchFamily="34" charset="0"/>
                          <a:sym typeface="Arial"/>
                        </a:rPr>
                        <a:t>, LSS</a:t>
                      </a:r>
                      <a:endParaRPr kumimoji="0" lang="en-IE" altLang="en-US" sz="1400" b="0" i="0" u="none" strike="noStrike" cap="none" normalizeH="0" baseline="0" dirty="0">
                        <a:ln>
                          <a:noFill/>
                        </a:ln>
                        <a:solidFill>
                          <a:srgbClr val="042440"/>
                        </a:solidFill>
                        <a:effectLst/>
                        <a:latin typeface="+mn-lt"/>
                        <a:ea typeface="+mn-ea"/>
                        <a:cs typeface="Arial" panose="020B0604020202020204" pitchFamily="34" charset="0"/>
                        <a:sym typeface="Arial"/>
                      </a:endParaRPr>
                    </a:p>
                  </a:txBody>
                  <a:tcPr marL="68580" marR="68580" marT="34290" marB="3429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316639830"/>
                  </a:ext>
                </a:extLst>
              </a:tr>
              <a:tr h="663947">
                <a:tc rowSpan="2">
                  <a:txBody>
                    <a:bodyPr/>
                    <a:lstStyle>
                      <a:lvl1pPr marL="304800" indent="-304800">
                        <a:lnSpc>
                          <a:spcPct val="104000"/>
                        </a:lnSpc>
                        <a:spcBef>
                          <a:spcPct val="20000"/>
                        </a:spcBef>
                        <a:buClr>
                          <a:srgbClr val="3C73C6"/>
                        </a:buClr>
                        <a:buFont typeface="Wingdings" panose="05000000000000000000" pitchFamily="2" charset="2"/>
                        <a:defRPr>
                          <a:solidFill>
                            <a:schemeClr val="tx1"/>
                          </a:solidFill>
                          <a:latin typeface="Arial" panose="020B0604020202020204" pitchFamily="34" charset="0"/>
                          <a:cs typeface="Arial" panose="020B0604020202020204" pitchFamily="34" charset="0"/>
                        </a:defRPr>
                      </a:lvl1pPr>
                      <a:lvl2pPr marL="496888" indent="-266700">
                        <a:lnSpc>
                          <a:spcPct val="104000"/>
                        </a:lnSpc>
                        <a:spcBef>
                          <a:spcPct val="20000"/>
                        </a:spcBef>
                        <a:buClr>
                          <a:srgbClr val="3C73C6"/>
                        </a:buClr>
                        <a:buFont typeface="Times New Roman" panose="02020603050405020304" pitchFamily="18" charset="0"/>
                        <a:defRPr sz="1600">
                          <a:solidFill>
                            <a:schemeClr val="tx1"/>
                          </a:solidFill>
                          <a:latin typeface="Arial" panose="020B0604020202020204" pitchFamily="34" charset="0"/>
                          <a:cs typeface="Arial" panose="020B0604020202020204" pitchFamily="34" charset="0"/>
                        </a:defRPr>
                      </a:lvl2pPr>
                      <a:lvl3pPr marL="687388" indent="-228600">
                        <a:lnSpc>
                          <a:spcPct val="104000"/>
                        </a:lnSpc>
                        <a:spcBef>
                          <a:spcPct val="20000"/>
                        </a:spcBef>
                        <a:buClr>
                          <a:srgbClr val="3C73C6"/>
                        </a:buClr>
                        <a:buFont typeface="Times New Roman" panose="02020603050405020304" pitchFamily="18" charset="0"/>
                        <a:defRPr sz="1400">
                          <a:solidFill>
                            <a:schemeClr val="tx1"/>
                          </a:solidFill>
                          <a:latin typeface="Arial" panose="020B0604020202020204" pitchFamily="34" charset="0"/>
                          <a:cs typeface="Arial" panose="020B0604020202020204" pitchFamily="34" charset="0"/>
                        </a:defRPr>
                      </a:lvl3pPr>
                      <a:lvl4pPr marL="874713" indent="-190500">
                        <a:lnSpc>
                          <a:spcPct val="104000"/>
                        </a:lnSpc>
                        <a:spcBef>
                          <a:spcPct val="20000"/>
                        </a:spcBef>
                        <a:buClr>
                          <a:srgbClr val="3C73C6"/>
                        </a:buClr>
                        <a:buFont typeface="Times New Roman" panose="02020603050405020304" pitchFamily="18" charset="0"/>
                        <a:defRPr sz="1200">
                          <a:solidFill>
                            <a:schemeClr val="tx1"/>
                          </a:solidFill>
                          <a:latin typeface="Arial" panose="020B0604020202020204" pitchFamily="34" charset="0"/>
                          <a:cs typeface="Arial" panose="020B0604020202020204" pitchFamily="34" charset="0"/>
                        </a:defRPr>
                      </a:lvl4pPr>
                      <a:lvl5pPr marL="1085850" indent="-171450">
                        <a:lnSpc>
                          <a:spcPct val="104000"/>
                        </a:lnSpc>
                        <a:spcBef>
                          <a:spcPct val="20000"/>
                        </a:spcBef>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5pPr>
                      <a:lvl6pPr marL="1543050" indent="-171450"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6pPr>
                      <a:lvl7pPr marL="2000250" indent="-171450"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7pPr>
                      <a:lvl8pPr marL="2457450" indent="-171450"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8pPr>
                      <a:lvl9pPr marL="2914650" indent="-171450"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9pPr>
                    </a:lstStyle>
                    <a:p>
                      <a:pPr marL="304800" marR="0" lvl="0" indent="-304800" algn="l" defTabSz="914400" rtl="0" eaLnBrk="1" fontAlgn="base" latinLnBrk="0" hangingPunct="1">
                        <a:lnSpc>
                          <a:spcPct val="104000"/>
                        </a:lnSpc>
                        <a:spcBef>
                          <a:spcPct val="20000"/>
                        </a:spcBef>
                        <a:spcAft>
                          <a:spcPct val="0"/>
                        </a:spcAft>
                        <a:buClr>
                          <a:srgbClr val="3C73C6"/>
                        </a:buClr>
                        <a:buSzTx/>
                        <a:buFont typeface="Wingdings" panose="05000000000000000000" pitchFamily="2" charset="2"/>
                        <a:buNone/>
                        <a:tabLst/>
                      </a:pPr>
                      <a:r>
                        <a:rPr kumimoji="0" lang="en-US" altLang="en-US" sz="1400" b="1" i="0" u="none" strike="noStrike" cap="none" normalizeH="0" baseline="0" dirty="0">
                          <a:ln>
                            <a:noFill/>
                          </a:ln>
                          <a:solidFill>
                            <a:srgbClr val="042440"/>
                          </a:solidFill>
                          <a:effectLst/>
                          <a:latin typeface="+mn-lt"/>
                          <a:cs typeface="Arial" panose="020B0604020202020204" pitchFamily="34" charset="0"/>
                        </a:rPr>
                        <a:t>Objective and Scope  </a:t>
                      </a:r>
                    </a:p>
                    <a:p>
                      <a:pPr marL="304800" marR="0" lvl="0" indent="-304800" algn="l" defTabSz="914400" rtl="0" eaLnBrk="1" fontAlgn="base" latinLnBrk="0" hangingPunct="1">
                        <a:lnSpc>
                          <a:spcPct val="104000"/>
                        </a:lnSpc>
                        <a:spcBef>
                          <a:spcPct val="20000"/>
                        </a:spcBef>
                        <a:spcAft>
                          <a:spcPct val="0"/>
                        </a:spcAft>
                        <a:buClr>
                          <a:srgbClr val="3C73C6"/>
                        </a:buClr>
                        <a:buSzTx/>
                        <a:buFont typeface="Wingdings" panose="05000000000000000000" pitchFamily="2" charset="2"/>
                        <a:buNone/>
                        <a:tabLst/>
                        <a:defRPr/>
                      </a:pPr>
                      <a:r>
                        <a:rPr kumimoji="0" lang="en-US" altLang="en-US" sz="1400" b="0" i="0" u="none" strike="noStrike" kern="1200" cap="none" normalizeH="0" baseline="0" dirty="0">
                          <a:ln>
                            <a:noFill/>
                          </a:ln>
                          <a:solidFill>
                            <a:srgbClr val="042440"/>
                          </a:solidFill>
                          <a:effectLst/>
                          <a:latin typeface="+mn-lt"/>
                          <a:ea typeface="+mn-ea"/>
                          <a:cs typeface="Arial" panose="020B0604020202020204" pitchFamily="34" charset="0"/>
                        </a:rPr>
                        <a:t>Objective:</a:t>
                      </a:r>
                      <a:r>
                        <a:rPr lang="en-IN" sz="1400" dirty="0"/>
                        <a:t>The emphasis is on </a:t>
                      </a:r>
                      <a:r>
                        <a:rPr lang="en-IN" sz="1400" dirty="0" smtClean="0"/>
                        <a:t>analysing </a:t>
                      </a:r>
                      <a:r>
                        <a:rPr lang="en-IN" sz="1400" dirty="0"/>
                        <a:t>previous transaction data to reduce delays, optimise cycle time, and achieve a defect rate of 3.4 per million opportunities. Best practices will be shared internationally to ensure uniform performance</a:t>
                      </a:r>
                      <a:r>
                        <a:rPr lang="en-US" sz="1400" b="0" i="0" u="none" strike="noStrike" dirty="0">
                          <a:solidFill>
                            <a:srgbClr val="424242"/>
                          </a:solidFill>
                          <a:effectLst/>
                          <a:latin typeface="+mn-lt"/>
                        </a:rPr>
                        <a:t>.</a:t>
                      </a:r>
                      <a:endParaRPr kumimoji="0" lang="en-US" altLang="en-US" sz="1400" b="0" i="0" u="none" strike="noStrike" cap="none" normalizeH="0" baseline="0" dirty="0">
                        <a:ln>
                          <a:noFill/>
                        </a:ln>
                        <a:solidFill>
                          <a:srgbClr val="042440"/>
                        </a:solidFill>
                        <a:effectLst/>
                        <a:latin typeface="+mn-lt"/>
                        <a:cs typeface="Arial" panose="020B0604020202020204" pitchFamily="34" charset="0"/>
                      </a:endParaRPr>
                    </a:p>
                    <a:p>
                      <a:pPr marL="304800" marR="0" lvl="0" indent="-304800" algn="l" defTabSz="914400" rtl="0" eaLnBrk="1" fontAlgn="base" latinLnBrk="0" hangingPunct="1">
                        <a:lnSpc>
                          <a:spcPct val="104000"/>
                        </a:lnSpc>
                        <a:spcBef>
                          <a:spcPct val="20000"/>
                        </a:spcBef>
                        <a:spcAft>
                          <a:spcPct val="0"/>
                        </a:spcAft>
                        <a:buClr>
                          <a:srgbClr val="3C73C6"/>
                        </a:buClr>
                        <a:buSzTx/>
                        <a:buFont typeface="Wingdings" panose="05000000000000000000" pitchFamily="2" charset="2"/>
                        <a:buNone/>
                        <a:tabLst/>
                      </a:pPr>
                      <a:r>
                        <a:rPr kumimoji="0" lang="en-US" altLang="en-US" sz="1400" b="0" i="0" u="none" strike="noStrike" kern="1200" cap="none" normalizeH="0" baseline="0" dirty="0">
                          <a:ln>
                            <a:noFill/>
                          </a:ln>
                          <a:solidFill>
                            <a:srgbClr val="042440"/>
                          </a:solidFill>
                          <a:effectLst/>
                          <a:latin typeface="+mn-lt"/>
                          <a:ea typeface="+mn-ea"/>
                          <a:cs typeface="Arial" panose="020B0604020202020204" pitchFamily="34" charset="0"/>
                          <a:sym typeface="Arial"/>
                        </a:rPr>
                        <a:t>Scope:</a:t>
                      </a:r>
                      <a:r>
                        <a:rPr lang="en-US" sz="1400" b="0" i="0" u="none" strike="noStrike" kern="1200" dirty="0">
                          <a:solidFill>
                            <a:schemeClr val="tx1"/>
                          </a:solidFill>
                          <a:effectLst/>
                          <a:latin typeface="+mn-lt"/>
                          <a:ea typeface="+mn-ea"/>
                          <a:cs typeface="Arial" panose="020B0604020202020204" pitchFamily="34" charset="0"/>
                        </a:rPr>
                        <a:t> </a:t>
                      </a:r>
                      <a:r>
                        <a:rPr lang="en-IN" sz="1400" dirty="0"/>
                        <a:t>The project will review global proposal creation processes across teams, brands, and geographies. It will identify bottlenecks, optimize hand-offs, and streamline approvals to improve ROI once implemented</a:t>
                      </a:r>
                      <a:r>
                        <a:rPr lang="en-US" sz="1400" b="0" i="0" u="none" strike="noStrike" cap="none" dirty="0">
                          <a:solidFill>
                            <a:srgbClr val="424242"/>
                          </a:solidFill>
                          <a:effectLst/>
                          <a:latin typeface="+mn-lt"/>
                          <a:ea typeface="+mn-ea"/>
                          <a:cs typeface="Arial" panose="020B0604020202020204" pitchFamily="34" charset="0"/>
                          <a:sym typeface="Arial"/>
                        </a:rPr>
                        <a:t>.</a:t>
                      </a:r>
                      <a:endParaRPr lang="en-US" altLang="en-US" sz="1400" b="0" i="0" u="none" strike="noStrike" cap="none" dirty="0">
                        <a:solidFill>
                          <a:srgbClr val="424242"/>
                        </a:solidFill>
                        <a:effectLst/>
                        <a:latin typeface="+mn-lt"/>
                        <a:ea typeface="+mn-ea"/>
                        <a:cs typeface="Arial" panose="020B0604020202020204" pitchFamily="34" charset="0"/>
                        <a:sym typeface="Arial"/>
                      </a:endParaRPr>
                    </a:p>
                  </a:txBody>
                  <a:tcPr marL="68580" marR="68580" marT="34290" marB="34290" anchor="ctr" horzOverflow="overflow">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solidFill>
                  </a:tcPr>
                </a:tc>
                <a:tc vMerge="1">
                  <a:txBody>
                    <a:bodyPr/>
                    <a:lstStyle>
                      <a:lvl1pPr>
                        <a:lnSpc>
                          <a:spcPct val="104000"/>
                        </a:lnSpc>
                        <a:spcBef>
                          <a:spcPct val="20000"/>
                        </a:spcBef>
                        <a:buClr>
                          <a:srgbClr val="3C73C6"/>
                        </a:buClr>
                        <a:buFont typeface="Wingdings" panose="05000000000000000000" pitchFamily="2" charset="2"/>
                        <a:defRPr>
                          <a:solidFill>
                            <a:schemeClr val="tx1"/>
                          </a:solidFill>
                          <a:latin typeface="Arial" panose="020B0604020202020204" pitchFamily="34" charset="0"/>
                          <a:cs typeface="Arial" panose="020B0604020202020204" pitchFamily="34" charset="0"/>
                        </a:defRPr>
                      </a:lvl1pPr>
                      <a:lvl2pPr marL="230188">
                        <a:lnSpc>
                          <a:spcPct val="104000"/>
                        </a:lnSpc>
                        <a:spcBef>
                          <a:spcPct val="20000"/>
                        </a:spcBef>
                        <a:buClr>
                          <a:srgbClr val="3C73C6"/>
                        </a:buClr>
                        <a:buFont typeface="Times New Roman" panose="02020603050405020304" pitchFamily="18" charset="0"/>
                        <a:defRPr sz="1600">
                          <a:solidFill>
                            <a:schemeClr val="tx1"/>
                          </a:solidFill>
                          <a:latin typeface="Arial" panose="020B0604020202020204" pitchFamily="34" charset="0"/>
                          <a:cs typeface="Arial" panose="020B0604020202020204" pitchFamily="34" charset="0"/>
                        </a:defRPr>
                      </a:lvl2pPr>
                      <a:lvl3pPr marL="458788">
                        <a:lnSpc>
                          <a:spcPct val="104000"/>
                        </a:lnSpc>
                        <a:spcBef>
                          <a:spcPct val="20000"/>
                        </a:spcBef>
                        <a:buClr>
                          <a:srgbClr val="3C73C6"/>
                        </a:buClr>
                        <a:buFont typeface="Times New Roman" panose="02020603050405020304" pitchFamily="18" charset="0"/>
                        <a:defRPr sz="1400">
                          <a:solidFill>
                            <a:schemeClr val="tx1"/>
                          </a:solidFill>
                          <a:latin typeface="Arial" panose="020B0604020202020204" pitchFamily="34" charset="0"/>
                          <a:cs typeface="Arial" panose="020B0604020202020204" pitchFamily="34" charset="0"/>
                        </a:defRPr>
                      </a:lvl3pPr>
                      <a:lvl4pPr marL="684213">
                        <a:lnSpc>
                          <a:spcPct val="104000"/>
                        </a:lnSpc>
                        <a:spcBef>
                          <a:spcPct val="20000"/>
                        </a:spcBef>
                        <a:buClr>
                          <a:srgbClr val="3C73C6"/>
                        </a:buClr>
                        <a:buFont typeface="Times New Roman" panose="02020603050405020304" pitchFamily="18" charset="0"/>
                        <a:defRPr sz="1200">
                          <a:solidFill>
                            <a:schemeClr val="tx1"/>
                          </a:solidFill>
                          <a:latin typeface="Arial" panose="020B0604020202020204" pitchFamily="34" charset="0"/>
                          <a:cs typeface="Arial" panose="020B0604020202020204" pitchFamily="34" charset="0"/>
                        </a:defRPr>
                      </a:lvl4pPr>
                      <a:lvl5pPr marL="914400">
                        <a:lnSpc>
                          <a:spcPct val="104000"/>
                        </a:lnSpc>
                        <a:spcBef>
                          <a:spcPct val="20000"/>
                        </a:spcBef>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5pPr>
                      <a:lvl6pPr marL="1371600"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6pPr>
                      <a:lvl7pPr marL="1828800"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7pPr>
                      <a:lvl8pPr marL="2286000"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8pPr>
                      <a:lvl9pPr marL="2743200"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
                          <a:schemeClr val="accent2"/>
                        </a:buClr>
                        <a:buSzTx/>
                        <a:buFontTx/>
                        <a:buNone/>
                        <a:tabLst/>
                      </a:pPr>
                      <a:endParaRPr kumimoji="0" lang="en-IE" altLang="en-US" sz="1400" b="1" i="0" u="sng" strike="noStrike" cap="none" normalizeH="0" baseline="0" dirty="0">
                        <a:ln>
                          <a:noFill/>
                        </a:ln>
                        <a:solidFill>
                          <a:srgbClr val="042440"/>
                        </a:solidFill>
                        <a:effectLst/>
                        <a:latin typeface="Bower"/>
                        <a:cs typeface="Arial" panose="020B0604020202020204" pitchFamily="34" charset="0"/>
                      </a:endParaRPr>
                    </a:p>
                  </a:txBody>
                  <a:tcPr marL="68580" marR="68580"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2286704972"/>
                  </a:ext>
                </a:extLst>
              </a:tr>
              <a:tr h="1146208">
                <a:tc vMerge="1">
                  <a:txBody>
                    <a:bodyPr/>
                    <a:lstStyle>
                      <a:lvl1pPr>
                        <a:lnSpc>
                          <a:spcPct val="104000"/>
                        </a:lnSpc>
                        <a:spcBef>
                          <a:spcPct val="20000"/>
                        </a:spcBef>
                        <a:buClr>
                          <a:srgbClr val="3C73C6"/>
                        </a:buClr>
                        <a:buFont typeface="Wingdings" panose="05000000000000000000" pitchFamily="2" charset="2"/>
                        <a:defRPr>
                          <a:solidFill>
                            <a:schemeClr val="tx1"/>
                          </a:solidFill>
                          <a:latin typeface="Arial" panose="020B0604020202020204" pitchFamily="34" charset="0"/>
                          <a:cs typeface="Arial" panose="020B0604020202020204" pitchFamily="34" charset="0"/>
                        </a:defRPr>
                      </a:lvl1pPr>
                      <a:lvl2pPr marL="230188">
                        <a:lnSpc>
                          <a:spcPct val="104000"/>
                        </a:lnSpc>
                        <a:spcBef>
                          <a:spcPct val="20000"/>
                        </a:spcBef>
                        <a:buClr>
                          <a:srgbClr val="3C73C6"/>
                        </a:buClr>
                        <a:buFont typeface="Times New Roman" panose="02020603050405020304" pitchFamily="18" charset="0"/>
                        <a:defRPr sz="1600">
                          <a:solidFill>
                            <a:schemeClr val="tx1"/>
                          </a:solidFill>
                          <a:latin typeface="Arial" panose="020B0604020202020204" pitchFamily="34" charset="0"/>
                          <a:cs typeface="Arial" panose="020B0604020202020204" pitchFamily="34" charset="0"/>
                        </a:defRPr>
                      </a:lvl2pPr>
                      <a:lvl3pPr marL="458788">
                        <a:lnSpc>
                          <a:spcPct val="104000"/>
                        </a:lnSpc>
                        <a:spcBef>
                          <a:spcPct val="20000"/>
                        </a:spcBef>
                        <a:buClr>
                          <a:srgbClr val="3C73C6"/>
                        </a:buClr>
                        <a:buFont typeface="Times New Roman" panose="02020603050405020304" pitchFamily="18" charset="0"/>
                        <a:defRPr sz="1400">
                          <a:solidFill>
                            <a:schemeClr val="tx1"/>
                          </a:solidFill>
                          <a:latin typeface="Arial" panose="020B0604020202020204" pitchFamily="34" charset="0"/>
                          <a:cs typeface="Arial" panose="020B0604020202020204" pitchFamily="34" charset="0"/>
                        </a:defRPr>
                      </a:lvl3pPr>
                      <a:lvl4pPr marL="684213">
                        <a:lnSpc>
                          <a:spcPct val="104000"/>
                        </a:lnSpc>
                        <a:spcBef>
                          <a:spcPct val="20000"/>
                        </a:spcBef>
                        <a:buClr>
                          <a:srgbClr val="3C73C6"/>
                        </a:buClr>
                        <a:buFont typeface="Times New Roman" panose="02020603050405020304" pitchFamily="18" charset="0"/>
                        <a:defRPr sz="1200">
                          <a:solidFill>
                            <a:schemeClr val="tx1"/>
                          </a:solidFill>
                          <a:latin typeface="Arial" panose="020B0604020202020204" pitchFamily="34" charset="0"/>
                          <a:cs typeface="Arial" panose="020B0604020202020204" pitchFamily="34" charset="0"/>
                        </a:defRPr>
                      </a:lvl4pPr>
                      <a:lvl5pPr marL="914400">
                        <a:lnSpc>
                          <a:spcPct val="104000"/>
                        </a:lnSpc>
                        <a:spcBef>
                          <a:spcPct val="20000"/>
                        </a:spcBef>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5pPr>
                      <a:lvl6pPr marL="1371600"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6pPr>
                      <a:lvl7pPr marL="1828800"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7pPr>
                      <a:lvl8pPr marL="2286000"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8pPr>
                      <a:lvl9pPr marL="2743200"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25000"/>
                        </a:lnSpc>
                        <a:spcBef>
                          <a:spcPct val="20000"/>
                        </a:spcBef>
                        <a:spcAft>
                          <a:spcPct val="0"/>
                        </a:spcAft>
                        <a:buClr>
                          <a:srgbClr val="3C73C6"/>
                        </a:buClr>
                        <a:buSzTx/>
                        <a:buFont typeface="Wingdings" panose="05000000000000000000" pitchFamily="2" charset="2"/>
                        <a:buNone/>
                        <a:tabLst/>
                      </a:pPr>
                      <a:endParaRPr kumimoji="0" lang="en-US" altLang="en-US" sz="1400" b="0" i="0" u="none" strike="noStrike" cap="none" normalizeH="0" baseline="0" dirty="0">
                        <a:ln>
                          <a:noFill/>
                        </a:ln>
                        <a:solidFill>
                          <a:srgbClr val="042440"/>
                        </a:solidFill>
                        <a:effectLst/>
                        <a:latin typeface="Bower"/>
                        <a:cs typeface="Arial" panose="020B0604020202020204" pitchFamily="34" charset="0"/>
                      </a:endParaRPr>
                    </a:p>
                  </a:txBody>
                  <a:tcPr marL="68580" marR="68580"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solidFill>
                  </a:tcPr>
                </a:tc>
                <a:tc>
                  <a:txBody>
                    <a:bodyPr/>
                    <a:lstStyle>
                      <a:lvl1pPr>
                        <a:lnSpc>
                          <a:spcPct val="104000"/>
                        </a:lnSpc>
                        <a:spcBef>
                          <a:spcPct val="20000"/>
                        </a:spcBef>
                        <a:buClr>
                          <a:srgbClr val="3C73C6"/>
                        </a:buClr>
                        <a:buFont typeface="Wingdings" panose="05000000000000000000" pitchFamily="2" charset="2"/>
                        <a:defRPr>
                          <a:solidFill>
                            <a:schemeClr val="tx1"/>
                          </a:solidFill>
                          <a:latin typeface="Arial" panose="020B0604020202020204" pitchFamily="34" charset="0"/>
                          <a:cs typeface="Arial" panose="020B0604020202020204" pitchFamily="34" charset="0"/>
                        </a:defRPr>
                      </a:lvl1pPr>
                      <a:lvl2pPr marL="230188">
                        <a:lnSpc>
                          <a:spcPct val="104000"/>
                        </a:lnSpc>
                        <a:spcBef>
                          <a:spcPct val="20000"/>
                        </a:spcBef>
                        <a:buClr>
                          <a:srgbClr val="3C73C6"/>
                        </a:buClr>
                        <a:buFont typeface="Times New Roman" panose="02020603050405020304" pitchFamily="18" charset="0"/>
                        <a:defRPr sz="1600">
                          <a:solidFill>
                            <a:schemeClr val="tx1"/>
                          </a:solidFill>
                          <a:latin typeface="Arial" panose="020B0604020202020204" pitchFamily="34" charset="0"/>
                          <a:cs typeface="Arial" panose="020B0604020202020204" pitchFamily="34" charset="0"/>
                        </a:defRPr>
                      </a:lvl2pPr>
                      <a:lvl3pPr marL="458788">
                        <a:lnSpc>
                          <a:spcPct val="104000"/>
                        </a:lnSpc>
                        <a:spcBef>
                          <a:spcPct val="20000"/>
                        </a:spcBef>
                        <a:buClr>
                          <a:srgbClr val="3C73C6"/>
                        </a:buClr>
                        <a:buFont typeface="Times New Roman" panose="02020603050405020304" pitchFamily="18" charset="0"/>
                        <a:defRPr sz="1400">
                          <a:solidFill>
                            <a:schemeClr val="tx1"/>
                          </a:solidFill>
                          <a:latin typeface="Arial" panose="020B0604020202020204" pitchFamily="34" charset="0"/>
                          <a:cs typeface="Arial" panose="020B0604020202020204" pitchFamily="34" charset="0"/>
                        </a:defRPr>
                      </a:lvl3pPr>
                      <a:lvl4pPr marL="684213">
                        <a:lnSpc>
                          <a:spcPct val="104000"/>
                        </a:lnSpc>
                        <a:spcBef>
                          <a:spcPct val="20000"/>
                        </a:spcBef>
                        <a:buClr>
                          <a:srgbClr val="3C73C6"/>
                        </a:buClr>
                        <a:buFont typeface="Times New Roman" panose="02020603050405020304" pitchFamily="18" charset="0"/>
                        <a:defRPr sz="1200">
                          <a:solidFill>
                            <a:schemeClr val="tx1"/>
                          </a:solidFill>
                          <a:latin typeface="Arial" panose="020B0604020202020204" pitchFamily="34" charset="0"/>
                          <a:cs typeface="Arial" panose="020B0604020202020204" pitchFamily="34" charset="0"/>
                        </a:defRPr>
                      </a:lvl4pPr>
                      <a:lvl5pPr marL="914400">
                        <a:lnSpc>
                          <a:spcPct val="104000"/>
                        </a:lnSpc>
                        <a:spcBef>
                          <a:spcPct val="20000"/>
                        </a:spcBef>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5pPr>
                      <a:lvl6pPr marL="1371600"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6pPr>
                      <a:lvl7pPr marL="1828800"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7pPr>
                      <a:lvl8pPr marL="2286000"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8pPr>
                      <a:lvl9pPr marL="2743200"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85000"/>
                        </a:lnSpc>
                        <a:spcBef>
                          <a:spcPct val="20000"/>
                        </a:spcBef>
                        <a:spcAft>
                          <a:spcPct val="0"/>
                        </a:spcAft>
                        <a:buClr>
                          <a:srgbClr val="3C73C6"/>
                        </a:buClr>
                        <a:buSzTx/>
                        <a:buFont typeface="Wingdings" panose="05000000000000000000" pitchFamily="2" charset="2"/>
                        <a:buNone/>
                        <a:tabLst/>
                      </a:pPr>
                      <a:r>
                        <a:rPr kumimoji="0" lang="en-IE" altLang="en-US" sz="1400" b="1" i="0" u="none" strike="noStrike" cap="none" normalizeH="0" baseline="0" dirty="0">
                          <a:ln>
                            <a:noFill/>
                          </a:ln>
                          <a:solidFill>
                            <a:srgbClr val="042440"/>
                          </a:solidFill>
                          <a:effectLst/>
                          <a:latin typeface="+mn-lt"/>
                          <a:cs typeface="Arial" panose="020B0604020202020204" pitchFamily="34" charset="0"/>
                        </a:rPr>
                        <a:t>Team Members</a:t>
                      </a:r>
                    </a:p>
                    <a:p>
                      <a:pPr marL="0" marR="0" lvl="0" indent="0" algn="l" defTabSz="914400" rtl="0" eaLnBrk="1" fontAlgn="base" latinLnBrk="0" hangingPunct="1">
                        <a:lnSpc>
                          <a:spcPct val="85000"/>
                        </a:lnSpc>
                        <a:spcBef>
                          <a:spcPct val="20000"/>
                        </a:spcBef>
                        <a:spcAft>
                          <a:spcPct val="0"/>
                        </a:spcAft>
                        <a:buClr>
                          <a:srgbClr val="3C73C6"/>
                        </a:buClr>
                        <a:buSzTx/>
                        <a:buFont typeface="Wingdings" panose="05000000000000000000" pitchFamily="2" charset="2"/>
                        <a:buNone/>
                        <a:tabLst/>
                      </a:pPr>
                      <a:r>
                        <a:rPr lang="en-US" sz="1400" b="0" i="0" u="none" strike="noStrike" dirty="0">
                          <a:solidFill>
                            <a:srgbClr val="424242"/>
                          </a:solidFill>
                          <a:effectLst/>
                          <a:latin typeface="+mn-lt"/>
                        </a:rPr>
                        <a:t>Sellers</a:t>
                      </a:r>
                    </a:p>
                    <a:p>
                      <a:pPr marL="0" marR="0" lvl="0" indent="0" algn="l" defTabSz="914400" rtl="0" eaLnBrk="1" fontAlgn="base" latinLnBrk="0" hangingPunct="1">
                        <a:lnSpc>
                          <a:spcPct val="85000"/>
                        </a:lnSpc>
                        <a:spcBef>
                          <a:spcPct val="20000"/>
                        </a:spcBef>
                        <a:spcAft>
                          <a:spcPct val="0"/>
                        </a:spcAft>
                        <a:buClr>
                          <a:srgbClr val="3C73C6"/>
                        </a:buClr>
                        <a:buSzTx/>
                        <a:buFont typeface="Wingdings" panose="05000000000000000000" pitchFamily="2" charset="2"/>
                        <a:buNone/>
                        <a:tabLst/>
                      </a:pPr>
                      <a:r>
                        <a:rPr lang="en-US" sz="1400" b="0" i="0" u="none" strike="noStrike" dirty="0">
                          <a:solidFill>
                            <a:srgbClr val="424242"/>
                          </a:solidFill>
                          <a:effectLst/>
                          <a:latin typeface="+mn-lt"/>
                        </a:rPr>
                        <a:t>Bid Support Staff (BSS)</a:t>
                      </a:r>
                    </a:p>
                    <a:p>
                      <a:pPr marL="0" marR="0" lvl="0" indent="0" algn="l" defTabSz="914400" rtl="0" eaLnBrk="1" fontAlgn="base" latinLnBrk="0" hangingPunct="1">
                        <a:lnSpc>
                          <a:spcPct val="85000"/>
                        </a:lnSpc>
                        <a:spcBef>
                          <a:spcPct val="20000"/>
                        </a:spcBef>
                        <a:spcAft>
                          <a:spcPct val="0"/>
                        </a:spcAft>
                        <a:buClr>
                          <a:srgbClr val="3C73C6"/>
                        </a:buClr>
                        <a:buSzTx/>
                        <a:buFont typeface="Wingdings" panose="05000000000000000000" pitchFamily="2" charset="2"/>
                        <a:buNone/>
                        <a:tabLst/>
                      </a:pPr>
                      <a:r>
                        <a:rPr lang="en-US" sz="1400" b="0" i="0" u="none" strike="noStrike" dirty="0">
                          <a:solidFill>
                            <a:srgbClr val="424242"/>
                          </a:solidFill>
                          <a:effectLst/>
                          <a:latin typeface="+mn-lt"/>
                        </a:rPr>
                        <a:t>Pricing Team</a:t>
                      </a:r>
                    </a:p>
                    <a:p>
                      <a:pPr marL="0" marR="0" lvl="0" indent="0" algn="l" defTabSz="914400" rtl="0" eaLnBrk="1" fontAlgn="base" latinLnBrk="0" hangingPunct="1">
                        <a:lnSpc>
                          <a:spcPct val="85000"/>
                        </a:lnSpc>
                        <a:spcBef>
                          <a:spcPct val="20000"/>
                        </a:spcBef>
                        <a:spcAft>
                          <a:spcPct val="0"/>
                        </a:spcAft>
                        <a:buClr>
                          <a:srgbClr val="3C73C6"/>
                        </a:buClr>
                        <a:buSzTx/>
                        <a:buFont typeface="Wingdings" panose="05000000000000000000" pitchFamily="2" charset="2"/>
                        <a:buNone/>
                        <a:tabLst/>
                      </a:pPr>
                      <a:r>
                        <a:rPr kumimoji="0" lang="en-US" altLang="en-US" sz="1400" b="0" i="0" u="none" strike="noStrike" cap="none" normalizeH="0" baseline="0" dirty="0">
                          <a:ln>
                            <a:noFill/>
                          </a:ln>
                          <a:solidFill>
                            <a:srgbClr val="042440"/>
                          </a:solidFill>
                          <a:effectLst/>
                          <a:latin typeface="+mn-lt"/>
                          <a:cs typeface="Arial" panose="020B0604020202020204" pitchFamily="34" charset="0"/>
                        </a:rPr>
                        <a:t>Proposal Support Manager</a:t>
                      </a:r>
                    </a:p>
                    <a:p>
                      <a:pPr marL="0" marR="0" lvl="0" indent="0" algn="l" defTabSz="914400" rtl="0" eaLnBrk="1" fontAlgn="base" latinLnBrk="0" hangingPunct="1">
                        <a:lnSpc>
                          <a:spcPct val="85000"/>
                        </a:lnSpc>
                        <a:spcBef>
                          <a:spcPct val="20000"/>
                        </a:spcBef>
                        <a:spcAft>
                          <a:spcPct val="0"/>
                        </a:spcAft>
                        <a:buClr>
                          <a:srgbClr val="3C73C6"/>
                        </a:buClr>
                        <a:buSzTx/>
                        <a:buFont typeface="Wingdings" panose="05000000000000000000" pitchFamily="2" charset="2"/>
                        <a:buNone/>
                        <a:tabLst/>
                      </a:pPr>
                      <a:endParaRPr kumimoji="0" lang="en-IE" altLang="en-US" sz="1400" b="0" i="0" u="none" strike="noStrike" cap="none" normalizeH="0" baseline="0" dirty="0">
                        <a:ln>
                          <a:noFill/>
                        </a:ln>
                        <a:solidFill>
                          <a:srgbClr val="042440"/>
                        </a:solidFill>
                        <a:effectLst/>
                        <a:latin typeface="+mn-lt"/>
                        <a:cs typeface="Arial" panose="020B0604020202020204" pitchFamily="34" charset="0"/>
                      </a:endParaRPr>
                    </a:p>
                  </a:txBody>
                  <a:tcPr marL="68580" marR="68580" marT="34290" marB="3429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2669429542"/>
                  </a:ext>
                </a:extLst>
              </a:tr>
            </a:tbl>
          </a:graphicData>
        </a:graphic>
      </p:graphicFrame>
      <p:graphicFrame>
        <p:nvGraphicFramePr>
          <p:cNvPr id="4" name="Group 21">
            <a:extLst>
              <a:ext uri="{FF2B5EF4-FFF2-40B4-BE49-F238E27FC236}">
                <a16:creationId xmlns:a16="http://schemas.microsoft.com/office/drawing/2014/main" id="{6F7ECDA1-3AEB-4ADB-81B0-9B2ACC97B88B}"/>
              </a:ext>
            </a:extLst>
          </p:cNvPr>
          <p:cNvGraphicFramePr>
            <a:graphicFrameLocks noGrp="1"/>
          </p:cNvGraphicFramePr>
          <p:nvPr>
            <p:extLst>
              <p:ext uri="{D42A27DB-BD31-4B8C-83A1-F6EECF244321}">
                <p14:modId xmlns:p14="http://schemas.microsoft.com/office/powerpoint/2010/main" val="607781420"/>
              </p:ext>
            </p:extLst>
          </p:nvPr>
        </p:nvGraphicFramePr>
        <p:xfrm>
          <a:off x="228597" y="3048000"/>
          <a:ext cx="11734799" cy="3810000"/>
        </p:xfrm>
        <a:graphic>
          <a:graphicData uri="http://schemas.openxmlformats.org/drawingml/2006/table">
            <a:tbl>
              <a:tblPr/>
              <a:tblGrid>
                <a:gridCol w="990603">
                  <a:extLst>
                    <a:ext uri="{9D8B030D-6E8A-4147-A177-3AD203B41FA5}">
                      <a16:colId xmlns:a16="http://schemas.microsoft.com/office/drawing/2014/main" val="3094618922"/>
                    </a:ext>
                  </a:extLst>
                </a:gridCol>
                <a:gridCol w="1311345">
                  <a:extLst>
                    <a:ext uri="{9D8B030D-6E8A-4147-A177-3AD203B41FA5}">
                      <a16:colId xmlns:a16="http://schemas.microsoft.com/office/drawing/2014/main" val="1025698031"/>
                    </a:ext>
                  </a:extLst>
                </a:gridCol>
                <a:gridCol w="6197996">
                  <a:extLst>
                    <a:ext uri="{9D8B030D-6E8A-4147-A177-3AD203B41FA5}">
                      <a16:colId xmlns:a16="http://schemas.microsoft.com/office/drawing/2014/main" val="2422100845"/>
                    </a:ext>
                  </a:extLst>
                </a:gridCol>
                <a:gridCol w="1088076">
                  <a:extLst>
                    <a:ext uri="{9D8B030D-6E8A-4147-A177-3AD203B41FA5}">
                      <a16:colId xmlns:a16="http://schemas.microsoft.com/office/drawing/2014/main" val="3610729797"/>
                    </a:ext>
                  </a:extLst>
                </a:gridCol>
                <a:gridCol w="2146779">
                  <a:extLst>
                    <a:ext uri="{9D8B030D-6E8A-4147-A177-3AD203B41FA5}">
                      <a16:colId xmlns:a16="http://schemas.microsoft.com/office/drawing/2014/main" val="667855884"/>
                    </a:ext>
                  </a:extLst>
                </a:gridCol>
              </a:tblGrid>
              <a:tr h="564448">
                <a:tc>
                  <a:txBody>
                    <a:bodyPr/>
                    <a:lstStyle>
                      <a:lvl1pPr>
                        <a:lnSpc>
                          <a:spcPct val="104000"/>
                        </a:lnSpc>
                        <a:spcBef>
                          <a:spcPct val="20000"/>
                        </a:spcBef>
                        <a:buClr>
                          <a:srgbClr val="3C73C6"/>
                        </a:buClr>
                        <a:buFont typeface="Wingdings" panose="05000000000000000000" pitchFamily="2" charset="2"/>
                        <a:defRPr>
                          <a:solidFill>
                            <a:schemeClr val="tx1"/>
                          </a:solidFill>
                          <a:latin typeface="Arial" panose="020B0604020202020204" pitchFamily="34" charset="0"/>
                          <a:cs typeface="Arial" panose="020B0604020202020204" pitchFamily="34" charset="0"/>
                        </a:defRPr>
                      </a:lvl1pPr>
                      <a:lvl2pPr marL="465138">
                        <a:lnSpc>
                          <a:spcPct val="104000"/>
                        </a:lnSpc>
                        <a:spcBef>
                          <a:spcPct val="20000"/>
                        </a:spcBef>
                        <a:buClr>
                          <a:srgbClr val="3C73C6"/>
                        </a:buClr>
                        <a:buFont typeface="Times New Roman" panose="02020603050405020304" pitchFamily="18" charset="0"/>
                        <a:defRPr sz="1600">
                          <a:solidFill>
                            <a:schemeClr val="tx1"/>
                          </a:solidFill>
                          <a:latin typeface="Arial" panose="020B0604020202020204" pitchFamily="34" charset="0"/>
                          <a:cs typeface="Arial" panose="020B0604020202020204" pitchFamily="34" charset="0"/>
                        </a:defRPr>
                      </a:lvl2pPr>
                      <a:lvl3pPr>
                        <a:lnSpc>
                          <a:spcPct val="104000"/>
                        </a:lnSpc>
                        <a:spcBef>
                          <a:spcPct val="20000"/>
                        </a:spcBef>
                        <a:buClr>
                          <a:srgbClr val="3C73C6"/>
                        </a:buClr>
                        <a:buFont typeface="Times New Roman" panose="02020603050405020304" pitchFamily="18" charset="0"/>
                        <a:defRPr sz="1400">
                          <a:solidFill>
                            <a:schemeClr val="tx1"/>
                          </a:solidFill>
                          <a:latin typeface="Arial" panose="020B0604020202020204" pitchFamily="34" charset="0"/>
                          <a:cs typeface="Arial" panose="020B0604020202020204" pitchFamily="34" charset="0"/>
                        </a:defRPr>
                      </a:lvl3pPr>
                      <a:lvl4pPr>
                        <a:lnSpc>
                          <a:spcPct val="104000"/>
                        </a:lnSpc>
                        <a:spcBef>
                          <a:spcPct val="20000"/>
                        </a:spcBef>
                        <a:buClr>
                          <a:srgbClr val="3C73C6"/>
                        </a:buClr>
                        <a:buFont typeface="Times New Roman" panose="02020603050405020304" pitchFamily="18" charset="0"/>
                        <a:defRPr sz="1200">
                          <a:solidFill>
                            <a:schemeClr val="tx1"/>
                          </a:solidFill>
                          <a:latin typeface="Arial" panose="020B0604020202020204" pitchFamily="34" charset="0"/>
                          <a:cs typeface="Arial" panose="020B0604020202020204" pitchFamily="34" charset="0"/>
                        </a:defRPr>
                      </a:lvl4pPr>
                      <a:lvl5pPr>
                        <a:lnSpc>
                          <a:spcPct val="104000"/>
                        </a:lnSpc>
                        <a:spcBef>
                          <a:spcPct val="20000"/>
                        </a:spcBef>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5pPr>
                      <a:lvl6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6pPr>
                      <a:lvl7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7pPr>
                      <a:lvl8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8pPr>
                      <a:lvl9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4000"/>
                        </a:lnSpc>
                        <a:spcBef>
                          <a:spcPct val="20000"/>
                        </a:spcBef>
                        <a:spcAft>
                          <a:spcPct val="0"/>
                        </a:spcAft>
                        <a:buClr>
                          <a:srgbClr val="3C73C6"/>
                        </a:buClr>
                        <a:buSzTx/>
                        <a:buFont typeface="Wingdings" panose="05000000000000000000" pitchFamily="2" charset="2"/>
                        <a:buNone/>
                        <a:tabLst/>
                      </a:pPr>
                      <a:r>
                        <a:rPr kumimoji="0" lang="en-US" altLang="en-US" sz="1400" b="1" i="0" u="none" strike="noStrike" cap="none" normalizeH="0" baseline="0" dirty="0">
                          <a:ln>
                            <a:noFill/>
                          </a:ln>
                          <a:solidFill>
                            <a:schemeClr val="bg1"/>
                          </a:solidFill>
                          <a:effectLst/>
                          <a:latin typeface="Bower"/>
                          <a:cs typeface="Arial" panose="020B0604020202020204" pitchFamily="34" charset="0"/>
                        </a:rPr>
                        <a:t>DMAIC</a:t>
                      </a:r>
                    </a:p>
                  </a:txBody>
                  <a:tcPr marL="68580" marR="68580" marT="34280" marB="34280" anchor="ctr" horzOverflow="overflow">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837"/>
                    </a:solidFill>
                  </a:tcPr>
                </a:tc>
                <a:tc>
                  <a:txBody>
                    <a:bodyPr/>
                    <a:lstStyle>
                      <a:lvl1pPr>
                        <a:lnSpc>
                          <a:spcPct val="104000"/>
                        </a:lnSpc>
                        <a:spcBef>
                          <a:spcPct val="20000"/>
                        </a:spcBef>
                        <a:buClr>
                          <a:srgbClr val="3C73C6"/>
                        </a:buClr>
                        <a:buFont typeface="Wingdings" panose="05000000000000000000" pitchFamily="2" charset="2"/>
                        <a:defRPr>
                          <a:solidFill>
                            <a:schemeClr val="tx1"/>
                          </a:solidFill>
                          <a:latin typeface="Arial" panose="020B0604020202020204" pitchFamily="34" charset="0"/>
                          <a:cs typeface="Arial" panose="020B0604020202020204" pitchFamily="34" charset="0"/>
                        </a:defRPr>
                      </a:lvl1pPr>
                      <a:lvl2pPr marL="465138">
                        <a:lnSpc>
                          <a:spcPct val="104000"/>
                        </a:lnSpc>
                        <a:spcBef>
                          <a:spcPct val="20000"/>
                        </a:spcBef>
                        <a:buClr>
                          <a:srgbClr val="3C73C6"/>
                        </a:buClr>
                        <a:buFont typeface="Times New Roman" panose="02020603050405020304" pitchFamily="18" charset="0"/>
                        <a:defRPr sz="1600">
                          <a:solidFill>
                            <a:schemeClr val="tx1"/>
                          </a:solidFill>
                          <a:latin typeface="Arial" panose="020B0604020202020204" pitchFamily="34" charset="0"/>
                          <a:cs typeface="Arial" panose="020B0604020202020204" pitchFamily="34" charset="0"/>
                        </a:defRPr>
                      </a:lvl2pPr>
                      <a:lvl3pPr>
                        <a:lnSpc>
                          <a:spcPct val="104000"/>
                        </a:lnSpc>
                        <a:spcBef>
                          <a:spcPct val="20000"/>
                        </a:spcBef>
                        <a:buClr>
                          <a:srgbClr val="3C73C6"/>
                        </a:buClr>
                        <a:buFont typeface="Times New Roman" panose="02020603050405020304" pitchFamily="18" charset="0"/>
                        <a:defRPr sz="1400">
                          <a:solidFill>
                            <a:schemeClr val="tx1"/>
                          </a:solidFill>
                          <a:latin typeface="Arial" panose="020B0604020202020204" pitchFamily="34" charset="0"/>
                          <a:cs typeface="Arial" panose="020B0604020202020204" pitchFamily="34" charset="0"/>
                        </a:defRPr>
                      </a:lvl3pPr>
                      <a:lvl4pPr>
                        <a:lnSpc>
                          <a:spcPct val="104000"/>
                        </a:lnSpc>
                        <a:spcBef>
                          <a:spcPct val="20000"/>
                        </a:spcBef>
                        <a:buClr>
                          <a:srgbClr val="3C73C6"/>
                        </a:buClr>
                        <a:buFont typeface="Times New Roman" panose="02020603050405020304" pitchFamily="18" charset="0"/>
                        <a:defRPr sz="1200">
                          <a:solidFill>
                            <a:schemeClr val="tx1"/>
                          </a:solidFill>
                          <a:latin typeface="Arial" panose="020B0604020202020204" pitchFamily="34" charset="0"/>
                          <a:cs typeface="Arial" panose="020B0604020202020204" pitchFamily="34" charset="0"/>
                        </a:defRPr>
                      </a:lvl4pPr>
                      <a:lvl5pPr>
                        <a:lnSpc>
                          <a:spcPct val="104000"/>
                        </a:lnSpc>
                        <a:spcBef>
                          <a:spcPct val="20000"/>
                        </a:spcBef>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5pPr>
                      <a:lvl6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6pPr>
                      <a:lvl7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7pPr>
                      <a:lvl8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8pPr>
                      <a:lvl9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4000"/>
                        </a:lnSpc>
                        <a:spcBef>
                          <a:spcPct val="20000"/>
                        </a:spcBef>
                        <a:spcAft>
                          <a:spcPct val="0"/>
                        </a:spcAft>
                        <a:buClr>
                          <a:srgbClr val="3C73C6"/>
                        </a:buClr>
                        <a:buSzTx/>
                        <a:buFont typeface="Wingdings" panose="05000000000000000000" pitchFamily="2" charset="2"/>
                        <a:buNone/>
                        <a:tabLst/>
                      </a:pPr>
                      <a:r>
                        <a:rPr kumimoji="0" lang="en-US" altLang="en-US" sz="1400" b="1" i="0" u="none" strike="noStrike" cap="none" normalizeH="0" baseline="0" dirty="0">
                          <a:ln>
                            <a:noFill/>
                          </a:ln>
                          <a:solidFill>
                            <a:schemeClr val="bg1"/>
                          </a:solidFill>
                          <a:effectLst/>
                          <a:latin typeface="Bower"/>
                          <a:cs typeface="Arial" panose="020B0604020202020204" pitchFamily="34" charset="0"/>
                        </a:rPr>
                        <a:t>Plan Start – Plan End</a:t>
                      </a:r>
                    </a:p>
                  </a:txBody>
                  <a:tcPr marL="68580" marR="68580" marT="34280" marB="34280" anchor="ctr" horzOverflow="overflow">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837"/>
                    </a:solidFill>
                  </a:tcPr>
                </a:tc>
                <a:tc>
                  <a:txBody>
                    <a:bodyPr/>
                    <a:lstStyle>
                      <a:lvl1pPr>
                        <a:lnSpc>
                          <a:spcPct val="104000"/>
                        </a:lnSpc>
                        <a:spcBef>
                          <a:spcPct val="20000"/>
                        </a:spcBef>
                        <a:buClr>
                          <a:srgbClr val="3C73C6"/>
                        </a:buClr>
                        <a:buFont typeface="Wingdings" panose="05000000000000000000" pitchFamily="2" charset="2"/>
                        <a:defRPr>
                          <a:solidFill>
                            <a:schemeClr val="tx1"/>
                          </a:solidFill>
                          <a:latin typeface="Arial" panose="020B0604020202020204" pitchFamily="34" charset="0"/>
                          <a:cs typeface="Arial" panose="020B0604020202020204" pitchFamily="34" charset="0"/>
                        </a:defRPr>
                      </a:lvl1pPr>
                      <a:lvl2pPr marL="465138">
                        <a:lnSpc>
                          <a:spcPct val="104000"/>
                        </a:lnSpc>
                        <a:spcBef>
                          <a:spcPct val="20000"/>
                        </a:spcBef>
                        <a:buClr>
                          <a:srgbClr val="3C73C6"/>
                        </a:buClr>
                        <a:buFont typeface="Times New Roman" panose="02020603050405020304" pitchFamily="18" charset="0"/>
                        <a:defRPr sz="1600">
                          <a:solidFill>
                            <a:schemeClr val="tx1"/>
                          </a:solidFill>
                          <a:latin typeface="Arial" panose="020B0604020202020204" pitchFamily="34" charset="0"/>
                          <a:cs typeface="Arial" panose="020B0604020202020204" pitchFamily="34" charset="0"/>
                        </a:defRPr>
                      </a:lvl2pPr>
                      <a:lvl3pPr>
                        <a:lnSpc>
                          <a:spcPct val="104000"/>
                        </a:lnSpc>
                        <a:spcBef>
                          <a:spcPct val="20000"/>
                        </a:spcBef>
                        <a:buClr>
                          <a:srgbClr val="3C73C6"/>
                        </a:buClr>
                        <a:buFont typeface="Times New Roman" panose="02020603050405020304" pitchFamily="18" charset="0"/>
                        <a:defRPr sz="1400">
                          <a:solidFill>
                            <a:schemeClr val="tx1"/>
                          </a:solidFill>
                          <a:latin typeface="Arial" panose="020B0604020202020204" pitchFamily="34" charset="0"/>
                          <a:cs typeface="Arial" panose="020B0604020202020204" pitchFamily="34" charset="0"/>
                        </a:defRPr>
                      </a:lvl3pPr>
                      <a:lvl4pPr>
                        <a:lnSpc>
                          <a:spcPct val="104000"/>
                        </a:lnSpc>
                        <a:spcBef>
                          <a:spcPct val="20000"/>
                        </a:spcBef>
                        <a:buClr>
                          <a:srgbClr val="3C73C6"/>
                        </a:buClr>
                        <a:buFont typeface="Times New Roman" panose="02020603050405020304" pitchFamily="18" charset="0"/>
                        <a:defRPr sz="1200">
                          <a:solidFill>
                            <a:schemeClr val="tx1"/>
                          </a:solidFill>
                          <a:latin typeface="Arial" panose="020B0604020202020204" pitchFamily="34" charset="0"/>
                          <a:cs typeface="Arial" panose="020B0604020202020204" pitchFamily="34" charset="0"/>
                        </a:defRPr>
                      </a:lvl4pPr>
                      <a:lvl5pPr>
                        <a:lnSpc>
                          <a:spcPct val="104000"/>
                        </a:lnSpc>
                        <a:spcBef>
                          <a:spcPct val="20000"/>
                        </a:spcBef>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5pPr>
                      <a:lvl6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6pPr>
                      <a:lvl7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7pPr>
                      <a:lvl8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8pPr>
                      <a:lvl9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4000"/>
                        </a:lnSpc>
                        <a:spcBef>
                          <a:spcPct val="20000"/>
                        </a:spcBef>
                        <a:spcAft>
                          <a:spcPct val="0"/>
                        </a:spcAft>
                        <a:buClr>
                          <a:srgbClr val="3C73C6"/>
                        </a:buClr>
                        <a:buSzTx/>
                        <a:buFont typeface="Wingdings" panose="05000000000000000000" pitchFamily="2" charset="2"/>
                        <a:buNone/>
                        <a:tabLst/>
                      </a:pPr>
                      <a:r>
                        <a:rPr kumimoji="0" lang="en-US" altLang="en-US" sz="1400" b="1" i="0" u="none" strike="noStrike" cap="none" normalizeH="0" baseline="0" dirty="0">
                          <a:ln>
                            <a:noFill/>
                          </a:ln>
                          <a:solidFill>
                            <a:schemeClr val="bg1"/>
                          </a:solidFill>
                          <a:effectLst/>
                          <a:latin typeface="Bower"/>
                          <a:cs typeface="Arial" panose="020B0604020202020204" pitchFamily="34" charset="0"/>
                        </a:rPr>
                        <a:t>Operational Metric</a:t>
                      </a:r>
                    </a:p>
                  </a:txBody>
                  <a:tcPr marL="68580" marR="68580" marT="34280" marB="3428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837"/>
                    </a:solidFill>
                  </a:tcPr>
                </a:tc>
                <a:tc>
                  <a:txBody>
                    <a:bodyPr/>
                    <a:lstStyle>
                      <a:lvl1pPr>
                        <a:lnSpc>
                          <a:spcPct val="104000"/>
                        </a:lnSpc>
                        <a:spcBef>
                          <a:spcPct val="20000"/>
                        </a:spcBef>
                        <a:buClr>
                          <a:srgbClr val="3C73C6"/>
                        </a:buClr>
                        <a:buFont typeface="Wingdings" panose="05000000000000000000" pitchFamily="2" charset="2"/>
                        <a:defRPr>
                          <a:solidFill>
                            <a:schemeClr val="tx1"/>
                          </a:solidFill>
                          <a:latin typeface="Arial" panose="020B0604020202020204" pitchFamily="34" charset="0"/>
                          <a:cs typeface="Arial" panose="020B0604020202020204" pitchFamily="34" charset="0"/>
                        </a:defRPr>
                      </a:lvl1pPr>
                      <a:lvl2pPr marL="465138">
                        <a:lnSpc>
                          <a:spcPct val="104000"/>
                        </a:lnSpc>
                        <a:spcBef>
                          <a:spcPct val="20000"/>
                        </a:spcBef>
                        <a:buClr>
                          <a:srgbClr val="3C73C6"/>
                        </a:buClr>
                        <a:buFont typeface="Times New Roman" panose="02020603050405020304" pitchFamily="18" charset="0"/>
                        <a:defRPr sz="1600">
                          <a:solidFill>
                            <a:schemeClr val="tx1"/>
                          </a:solidFill>
                          <a:latin typeface="Arial" panose="020B0604020202020204" pitchFamily="34" charset="0"/>
                          <a:cs typeface="Arial" panose="020B0604020202020204" pitchFamily="34" charset="0"/>
                        </a:defRPr>
                      </a:lvl2pPr>
                      <a:lvl3pPr>
                        <a:lnSpc>
                          <a:spcPct val="104000"/>
                        </a:lnSpc>
                        <a:spcBef>
                          <a:spcPct val="20000"/>
                        </a:spcBef>
                        <a:buClr>
                          <a:srgbClr val="3C73C6"/>
                        </a:buClr>
                        <a:buFont typeface="Times New Roman" panose="02020603050405020304" pitchFamily="18" charset="0"/>
                        <a:defRPr sz="1400">
                          <a:solidFill>
                            <a:schemeClr val="tx1"/>
                          </a:solidFill>
                          <a:latin typeface="Arial" panose="020B0604020202020204" pitchFamily="34" charset="0"/>
                          <a:cs typeface="Arial" panose="020B0604020202020204" pitchFamily="34" charset="0"/>
                        </a:defRPr>
                      </a:lvl3pPr>
                      <a:lvl4pPr>
                        <a:lnSpc>
                          <a:spcPct val="104000"/>
                        </a:lnSpc>
                        <a:spcBef>
                          <a:spcPct val="20000"/>
                        </a:spcBef>
                        <a:buClr>
                          <a:srgbClr val="3C73C6"/>
                        </a:buClr>
                        <a:buFont typeface="Times New Roman" panose="02020603050405020304" pitchFamily="18" charset="0"/>
                        <a:defRPr sz="1200">
                          <a:solidFill>
                            <a:schemeClr val="tx1"/>
                          </a:solidFill>
                          <a:latin typeface="Arial" panose="020B0604020202020204" pitchFamily="34" charset="0"/>
                          <a:cs typeface="Arial" panose="020B0604020202020204" pitchFamily="34" charset="0"/>
                        </a:defRPr>
                      </a:lvl4pPr>
                      <a:lvl5pPr>
                        <a:lnSpc>
                          <a:spcPct val="104000"/>
                        </a:lnSpc>
                        <a:spcBef>
                          <a:spcPct val="20000"/>
                        </a:spcBef>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5pPr>
                      <a:lvl6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6pPr>
                      <a:lvl7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7pPr>
                      <a:lvl8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8pPr>
                      <a:lvl9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4000"/>
                        </a:lnSpc>
                        <a:spcBef>
                          <a:spcPct val="20000"/>
                        </a:spcBef>
                        <a:spcAft>
                          <a:spcPct val="0"/>
                        </a:spcAft>
                        <a:buClr>
                          <a:srgbClr val="3C73C6"/>
                        </a:buClr>
                        <a:buSzTx/>
                        <a:buFont typeface="Wingdings" panose="05000000000000000000" pitchFamily="2" charset="2"/>
                        <a:buNone/>
                        <a:tabLst/>
                      </a:pPr>
                      <a:r>
                        <a:rPr kumimoji="0" lang="en-US" altLang="en-US" sz="1400" b="1" i="0" u="none" strike="noStrike" cap="none" normalizeH="0" baseline="0" dirty="0">
                          <a:ln>
                            <a:noFill/>
                          </a:ln>
                          <a:solidFill>
                            <a:schemeClr val="bg1"/>
                          </a:solidFill>
                          <a:effectLst/>
                          <a:latin typeface="Bower"/>
                          <a:cs typeface="Arial" panose="020B0604020202020204" pitchFamily="34" charset="0"/>
                        </a:rPr>
                        <a:t>Baseline</a:t>
                      </a:r>
                    </a:p>
                  </a:txBody>
                  <a:tcPr marL="68580" marR="68580" marT="34280" marB="3428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837"/>
                    </a:solidFill>
                  </a:tcPr>
                </a:tc>
                <a:tc>
                  <a:txBody>
                    <a:bodyPr/>
                    <a:lstStyle>
                      <a:lvl1pPr>
                        <a:lnSpc>
                          <a:spcPct val="104000"/>
                        </a:lnSpc>
                        <a:spcBef>
                          <a:spcPct val="20000"/>
                        </a:spcBef>
                        <a:buClr>
                          <a:srgbClr val="3C73C6"/>
                        </a:buClr>
                        <a:buFont typeface="Wingdings" panose="05000000000000000000" pitchFamily="2" charset="2"/>
                        <a:defRPr>
                          <a:solidFill>
                            <a:schemeClr val="tx1"/>
                          </a:solidFill>
                          <a:latin typeface="Arial" panose="020B0604020202020204" pitchFamily="34" charset="0"/>
                          <a:cs typeface="Arial" panose="020B0604020202020204" pitchFamily="34" charset="0"/>
                        </a:defRPr>
                      </a:lvl1pPr>
                      <a:lvl2pPr marL="465138">
                        <a:lnSpc>
                          <a:spcPct val="104000"/>
                        </a:lnSpc>
                        <a:spcBef>
                          <a:spcPct val="20000"/>
                        </a:spcBef>
                        <a:buClr>
                          <a:srgbClr val="3C73C6"/>
                        </a:buClr>
                        <a:buFont typeface="Times New Roman" panose="02020603050405020304" pitchFamily="18" charset="0"/>
                        <a:defRPr sz="1600">
                          <a:solidFill>
                            <a:schemeClr val="tx1"/>
                          </a:solidFill>
                          <a:latin typeface="Arial" panose="020B0604020202020204" pitchFamily="34" charset="0"/>
                          <a:cs typeface="Arial" panose="020B0604020202020204" pitchFamily="34" charset="0"/>
                        </a:defRPr>
                      </a:lvl2pPr>
                      <a:lvl3pPr>
                        <a:lnSpc>
                          <a:spcPct val="104000"/>
                        </a:lnSpc>
                        <a:spcBef>
                          <a:spcPct val="20000"/>
                        </a:spcBef>
                        <a:buClr>
                          <a:srgbClr val="3C73C6"/>
                        </a:buClr>
                        <a:buFont typeface="Times New Roman" panose="02020603050405020304" pitchFamily="18" charset="0"/>
                        <a:defRPr sz="1400">
                          <a:solidFill>
                            <a:schemeClr val="tx1"/>
                          </a:solidFill>
                          <a:latin typeface="Arial" panose="020B0604020202020204" pitchFamily="34" charset="0"/>
                          <a:cs typeface="Arial" panose="020B0604020202020204" pitchFamily="34" charset="0"/>
                        </a:defRPr>
                      </a:lvl3pPr>
                      <a:lvl4pPr>
                        <a:lnSpc>
                          <a:spcPct val="104000"/>
                        </a:lnSpc>
                        <a:spcBef>
                          <a:spcPct val="20000"/>
                        </a:spcBef>
                        <a:buClr>
                          <a:srgbClr val="3C73C6"/>
                        </a:buClr>
                        <a:buFont typeface="Times New Roman" panose="02020603050405020304" pitchFamily="18" charset="0"/>
                        <a:defRPr sz="1200">
                          <a:solidFill>
                            <a:schemeClr val="tx1"/>
                          </a:solidFill>
                          <a:latin typeface="Arial" panose="020B0604020202020204" pitchFamily="34" charset="0"/>
                          <a:cs typeface="Arial" panose="020B0604020202020204" pitchFamily="34" charset="0"/>
                        </a:defRPr>
                      </a:lvl4pPr>
                      <a:lvl5pPr>
                        <a:lnSpc>
                          <a:spcPct val="104000"/>
                        </a:lnSpc>
                        <a:spcBef>
                          <a:spcPct val="20000"/>
                        </a:spcBef>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5pPr>
                      <a:lvl6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6pPr>
                      <a:lvl7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7pPr>
                      <a:lvl8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8pPr>
                      <a:lvl9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4000"/>
                        </a:lnSpc>
                        <a:spcBef>
                          <a:spcPct val="20000"/>
                        </a:spcBef>
                        <a:spcAft>
                          <a:spcPct val="0"/>
                        </a:spcAft>
                        <a:buClr>
                          <a:srgbClr val="3C73C6"/>
                        </a:buClr>
                        <a:buSzTx/>
                        <a:buFont typeface="Wingdings" panose="05000000000000000000" pitchFamily="2" charset="2"/>
                        <a:buNone/>
                        <a:tabLst/>
                      </a:pPr>
                      <a:r>
                        <a:rPr kumimoji="0" lang="en-US" altLang="en-US" sz="1400" b="1" i="0" u="none" strike="noStrike" cap="none" normalizeH="0" baseline="0" dirty="0">
                          <a:ln>
                            <a:noFill/>
                          </a:ln>
                          <a:solidFill>
                            <a:schemeClr val="bg1"/>
                          </a:solidFill>
                          <a:effectLst/>
                          <a:latin typeface="Bower"/>
                          <a:cs typeface="Arial" panose="020B0604020202020204" pitchFamily="34" charset="0"/>
                        </a:rPr>
                        <a:t>Target</a:t>
                      </a:r>
                    </a:p>
                  </a:txBody>
                  <a:tcPr marL="68580" marR="68580" marT="34280" marB="3428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837"/>
                    </a:solidFill>
                  </a:tcPr>
                </a:tc>
                <a:extLst>
                  <a:ext uri="{0D108BD9-81ED-4DB2-BD59-A6C34878D82A}">
                    <a16:rowId xmlns:a16="http://schemas.microsoft.com/office/drawing/2014/main" val="1349135190"/>
                  </a:ext>
                </a:extLst>
              </a:tr>
              <a:tr h="564448">
                <a:tc>
                  <a:txBody>
                    <a:bodyPr/>
                    <a:lstStyle>
                      <a:lvl1pPr>
                        <a:lnSpc>
                          <a:spcPct val="104000"/>
                        </a:lnSpc>
                        <a:spcBef>
                          <a:spcPct val="20000"/>
                        </a:spcBef>
                        <a:buClr>
                          <a:srgbClr val="3C73C6"/>
                        </a:buClr>
                        <a:buFont typeface="Wingdings" panose="05000000000000000000" pitchFamily="2" charset="2"/>
                        <a:defRPr>
                          <a:solidFill>
                            <a:schemeClr val="tx1"/>
                          </a:solidFill>
                          <a:latin typeface="Arial" panose="020B0604020202020204" pitchFamily="34" charset="0"/>
                          <a:cs typeface="Arial" panose="020B0604020202020204" pitchFamily="34" charset="0"/>
                        </a:defRPr>
                      </a:lvl1pPr>
                      <a:lvl2pPr marL="465138">
                        <a:lnSpc>
                          <a:spcPct val="104000"/>
                        </a:lnSpc>
                        <a:spcBef>
                          <a:spcPct val="20000"/>
                        </a:spcBef>
                        <a:buClr>
                          <a:srgbClr val="3C73C6"/>
                        </a:buClr>
                        <a:buFont typeface="Times New Roman" panose="02020603050405020304" pitchFamily="18" charset="0"/>
                        <a:defRPr sz="1600">
                          <a:solidFill>
                            <a:schemeClr val="tx1"/>
                          </a:solidFill>
                          <a:latin typeface="Arial" panose="020B0604020202020204" pitchFamily="34" charset="0"/>
                          <a:cs typeface="Arial" panose="020B0604020202020204" pitchFamily="34" charset="0"/>
                        </a:defRPr>
                      </a:lvl2pPr>
                      <a:lvl3pPr>
                        <a:lnSpc>
                          <a:spcPct val="104000"/>
                        </a:lnSpc>
                        <a:spcBef>
                          <a:spcPct val="20000"/>
                        </a:spcBef>
                        <a:buClr>
                          <a:srgbClr val="3C73C6"/>
                        </a:buClr>
                        <a:buFont typeface="Times New Roman" panose="02020603050405020304" pitchFamily="18" charset="0"/>
                        <a:defRPr sz="1400">
                          <a:solidFill>
                            <a:schemeClr val="tx1"/>
                          </a:solidFill>
                          <a:latin typeface="Arial" panose="020B0604020202020204" pitchFamily="34" charset="0"/>
                          <a:cs typeface="Arial" panose="020B0604020202020204" pitchFamily="34" charset="0"/>
                        </a:defRPr>
                      </a:lvl3pPr>
                      <a:lvl4pPr>
                        <a:lnSpc>
                          <a:spcPct val="104000"/>
                        </a:lnSpc>
                        <a:spcBef>
                          <a:spcPct val="20000"/>
                        </a:spcBef>
                        <a:buClr>
                          <a:srgbClr val="3C73C6"/>
                        </a:buClr>
                        <a:buFont typeface="Times New Roman" panose="02020603050405020304" pitchFamily="18" charset="0"/>
                        <a:defRPr sz="1200">
                          <a:solidFill>
                            <a:schemeClr val="tx1"/>
                          </a:solidFill>
                          <a:latin typeface="Arial" panose="020B0604020202020204" pitchFamily="34" charset="0"/>
                          <a:cs typeface="Arial" panose="020B0604020202020204" pitchFamily="34" charset="0"/>
                        </a:defRPr>
                      </a:lvl4pPr>
                      <a:lvl5pPr>
                        <a:lnSpc>
                          <a:spcPct val="104000"/>
                        </a:lnSpc>
                        <a:spcBef>
                          <a:spcPct val="20000"/>
                        </a:spcBef>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5pPr>
                      <a:lvl6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6pPr>
                      <a:lvl7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7pPr>
                      <a:lvl8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8pPr>
                      <a:lvl9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4000"/>
                        </a:lnSpc>
                        <a:spcBef>
                          <a:spcPct val="20000"/>
                        </a:spcBef>
                        <a:spcAft>
                          <a:spcPct val="0"/>
                        </a:spcAft>
                        <a:buClr>
                          <a:srgbClr val="3C73C6"/>
                        </a:buClr>
                        <a:buSzTx/>
                        <a:buFont typeface="Wingdings" panose="05000000000000000000" pitchFamily="2" charset="2"/>
                        <a:buNone/>
                        <a:tabLst/>
                      </a:pPr>
                      <a:r>
                        <a:rPr kumimoji="0" lang="en-US" altLang="en-US" sz="1400" b="1" i="0" u="none" strike="noStrike" cap="none" normalizeH="0" baseline="0" dirty="0">
                          <a:ln>
                            <a:noFill/>
                          </a:ln>
                          <a:solidFill>
                            <a:srgbClr val="042440"/>
                          </a:solidFill>
                          <a:effectLst/>
                          <a:latin typeface="Bower"/>
                          <a:cs typeface="Arial" panose="020B0604020202020204" pitchFamily="34" charset="0"/>
                        </a:rPr>
                        <a:t>Define</a:t>
                      </a:r>
                    </a:p>
                  </a:txBody>
                  <a:tcPr marL="68580" marR="68580" marT="34280" marB="34280" anchor="ctr" horzOverflow="overflow">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a:noFill/>
                    </a:lnTlToBr>
                    <a:lnBlToTr>
                      <a:noFill/>
                    </a:lnBlToTr>
                    <a:solidFill>
                      <a:schemeClr val="tx2"/>
                    </a:solidFill>
                  </a:tcPr>
                </a:tc>
                <a:tc>
                  <a:txBody>
                    <a:bodyPr/>
                    <a:lstStyle>
                      <a:lvl1pPr>
                        <a:lnSpc>
                          <a:spcPct val="104000"/>
                        </a:lnSpc>
                        <a:spcBef>
                          <a:spcPct val="20000"/>
                        </a:spcBef>
                        <a:buClr>
                          <a:srgbClr val="3C73C6"/>
                        </a:buClr>
                        <a:buFont typeface="Wingdings" panose="05000000000000000000" pitchFamily="2" charset="2"/>
                        <a:defRPr>
                          <a:solidFill>
                            <a:schemeClr val="tx1"/>
                          </a:solidFill>
                          <a:latin typeface="Arial" panose="020B0604020202020204" pitchFamily="34" charset="0"/>
                          <a:cs typeface="Arial" panose="020B0604020202020204" pitchFamily="34" charset="0"/>
                        </a:defRPr>
                      </a:lvl1pPr>
                      <a:lvl2pPr marL="465138">
                        <a:lnSpc>
                          <a:spcPct val="104000"/>
                        </a:lnSpc>
                        <a:spcBef>
                          <a:spcPct val="20000"/>
                        </a:spcBef>
                        <a:buClr>
                          <a:srgbClr val="3C73C6"/>
                        </a:buClr>
                        <a:buFont typeface="Times New Roman" panose="02020603050405020304" pitchFamily="18" charset="0"/>
                        <a:defRPr sz="1600">
                          <a:solidFill>
                            <a:schemeClr val="tx1"/>
                          </a:solidFill>
                          <a:latin typeface="Arial" panose="020B0604020202020204" pitchFamily="34" charset="0"/>
                          <a:cs typeface="Arial" panose="020B0604020202020204" pitchFamily="34" charset="0"/>
                        </a:defRPr>
                      </a:lvl2pPr>
                      <a:lvl3pPr>
                        <a:lnSpc>
                          <a:spcPct val="104000"/>
                        </a:lnSpc>
                        <a:spcBef>
                          <a:spcPct val="20000"/>
                        </a:spcBef>
                        <a:buClr>
                          <a:srgbClr val="3C73C6"/>
                        </a:buClr>
                        <a:buFont typeface="Times New Roman" panose="02020603050405020304" pitchFamily="18" charset="0"/>
                        <a:defRPr sz="1400">
                          <a:solidFill>
                            <a:schemeClr val="tx1"/>
                          </a:solidFill>
                          <a:latin typeface="Arial" panose="020B0604020202020204" pitchFamily="34" charset="0"/>
                          <a:cs typeface="Arial" panose="020B0604020202020204" pitchFamily="34" charset="0"/>
                        </a:defRPr>
                      </a:lvl3pPr>
                      <a:lvl4pPr>
                        <a:lnSpc>
                          <a:spcPct val="104000"/>
                        </a:lnSpc>
                        <a:spcBef>
                          <a:spcPct val="20000"/>
                        </a:spcBef>
                        <a:buClr>
                          <a:srgbClr val="3C73C6"/>
                        </a:buClr>
                        <a:buFont typeface="Times New Roman" panose="02020603050405020304" pitchFamily="18" charset="0"/>
                        <a:defRPr sz="1200">
                          <a:solidFill>
                            <a:schemeClr val="tx1"/>
                          </a:solidFill>
                          <a:latin typeface="Arial" panose="020B0604020202020204" pitchFamily="34" charset="0"/>
                          <a:cs typeface="Arial" panose="020B0604020202020204" pitchFamily="34" charset="0"/>
                        </a:defRPr>
                      </a:lvl4pPr>
                      <a:lvl5pPr>
                        <a:lnSpc>
                          <a:spcPct val="104000"/>
                        </a:lnSpc>
                        <a:spcBef>
                          <a:spcPct val="20000"/>
                        </a:spcBef>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5pPr>
                      <a:lvl6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6pPr>
                      <a:lvl7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7pPr>
                      <a:lvl8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8pPr>
                      <a:lvl9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4000"/>
                        </a:lnSpc>
                        <a:spcBef>
                          <a:spcPct val="20000"/>
                        </a:spcBef>
                        <a:spcAft>
                          <a:spcPct val="0"/>
                        </a:spcAft>
                        <a:buClr>
                          <a:srgbClr val="3C73C6"/>
                        </a:buClr>
                        <a:buSzTx/>
                        <a:buFont typeface="Wingdings" panose="05000000000000000000" pitchFamily="2" charset="2"/>
                        <a:buNone/>
                        <a:tabLst/>
                      </a:pPr>
                      <a:r>
                        <a:rPr kumimoji="0" lang="en-US" altLang="en-US" sz="1400" b="1" i="0" u="none" strike="noStrike" cap="none" normalizeH="0" baseline="0" dirty="0">
                          <a:ln>
                            <a:noFill/>
                          </a:ln>
                          <a:solidFill>
                            <a:schemeClr val="tx1"/>
                          </a:solidFill>
                          <a:effectLst/>
                          <a:latin typeface="Bower"/>
                          <a:cs typeface="Arial" panose="020B0604020202020204" pitchFamily="34" charset="0"/>
                        </a:rPr>
                        <a:t>11/10 – 11/13</a:t>
                      </a:r>
                    </a:p>
                  </a:txBody>
                  <a:tcPr marL="68580" marR="68580" marT="34280" marB="34280" anchor="ctr" horzOverflow="overflow">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a:noFill/>
                    </a:lnTlToBr>
                    <a:lnBlToTr>
                      <a:noFill/>
                    </a:lnBlToTr>
                    <a:solidFill>
                      <a:schemeClr val="tx2"/>
                    </a:solidFill>
                  </a:tcPr>
                </a:tc>
                <a:tc rowSpan="2">
                  <a:txBody>
                    <a:bodyPr/>
                    <a:lstStyle>
                      <a:lvl1pPr marL="304800" indent="-304800">
                        <a:lnSpc>
                          <a:spcPct val="104000"/>
                        </a:lnSpc>
                        <a:spcBef>
                          <a:spcPct val="20000"/>
                        </a:spcBef>
                        <a:buClr>
                          <a:srgbClr val="3C73C6"/>
                        </a:buClr>
                        <a:buFont typeface="Wingdings" panose="05000000000000000000" pitchFamily="2" charset="2"/>
                        <a:defRPr>
                          <a:solidFill>
                            <a:schemeClr val="tx1"/>
                          </a:solidFill>
                          <a:latin typeface="Arial" panose="020B0604020202020204" pitchFamily="34" charset="0"/>
                          <a:cs typeface="Arial" panose="020B0604020202020204" pitchFamily="34" charset="0"/>
                        </a:defRPr>
                      </a:lvl1pPr>
                      <a:lvl2pPr marL="693738" indent="-228600">
                        <a:lnSpc>
                          <a:spcPct val="104000"/>
                        </a:lnSpc>
                        <a:spcBef>
                          <a:spcPct val="20000"/>
                        </a:spcBef>
                        <a:buClr>
                          <a:srgbClr val="3C73C6"/>
                        </a:buClr>
                        <a:buFont typeface="Times New Roman" panose="02020603050405020304" pitchFamily="18" charset="0"/>
                        <a:defRPr sz="1600">
                          <a:solidFill>
                            <a:schemeClr val="tx1"/>
                          </a:solidFill>
                          <a:latin typeface="Arial" panose="020B0604020202020204" pitchFamily="34" charset="0"/>
                          <a:cs typeface="Arial" panose="020B0604020202020204" pitchFamily="34" charset="0"/>
                        </a:defRPr>
                      </a:lvl2pPr>
                      <a:lvl3pPr marL="1143000" indent="-228600">
                        <a:lnSpc>
                          <a:spcPct val="104000"/>
                        </a:lnSpc>
                        <a:spcBef>
                          <a:spcPct val="20000"/>
                        </a:spcBef>
                        <a:buClr>
                          <a:srgbClr val="3C73C6"/>
                        </a:buClr>
                        <a:buFont typeface="Times New Roman" panose="02020603050405020304" pitchFamily="18" charset="0"/>
                        <a:defRPr sz="1400">
                          <a:solidFill>
                            <a:schemeClr val="tx1"/>
                          </a:solidFill>
                          <a:latin typeface="Arial" panose="020B0604020202020204" pitchFamily="34" charset="0"/>
                          <a:cs typeface="Arial" panose="020B0604020202020204" pitchFamily="34" charset="0"/>
                        </a:defRPr>
                      </a:lvl3pPr>
                      <a:lvl4pPr marL="1600200" indent="-228600">
                        <a:lnSpc>
                          <a:spcPct val="104000"/>
                        </a:lnSpc>
                        <a:spcBef>
                          <a:spcPct val="20000"/>
                        </a:spcBef>
                        <a:buClr>
                          <a:srgbClr val="3C73C6"/>
                        </a:buClr>
                        <a:buFont typeface="Times New Roman" panose="02020603050405020304" pitchFamily="18" charset="0"/>
                        <a:defRPr sz="1200">
                          <a:solidFill>
                            <a:schemeClr val="tx1"/>
                          </a:solidFill>
                          <a:latin typeface="Arial" panose="020B0604020202020204" pitchFamily="34" charset="0"/>
                          <a:cs typeface="Arial" panose="020B0604020202020204" pitchFamily="34" charset="0"/>
                        </a:defRPr>
                      </a:lvl4pPr>
                      <a:lvl5pPr marL="2057400" indent="-228600">
                        <a:lnSpc>
                          <a:spcPct val="104000"/>
                        </a:lnSpc>
                        <a:spcBef>
                          <a:spcPct val="20000"/>
                        </a:spcBef>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5pPr>
                      <a:lvl6pPr marL="2514600" indent="-228600"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6pPr>
                      <a:lvl7pPr marL="2971800" indent="-228600"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7pPr>
                      <a:lvl8pPr marL="3429000" indent="-228600"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8pPr>
                      <a:lvl9pPr marL="3886200" indent="-228600"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9pPr>
                    </a:lstStyle>
                    <a:p>
                      <a:pPr marL="304800" marR="0" lvl="0" indent="-304800" algn="l" defTabSz="914400" rtl="0" eaLnBrk="1" fontAlgn="base" latinLnBrk="0" hangingPunct="1">
                        <a:lnSpc>
                          <a:spcPct val="104000"/>
                        </a:lnSpc>
                        <a:spcBef>
                          <a:spcPct val="20000"/>
                        </a:spcBef>
                        <a:spcAft>
                          <a:spcPct val="0"/>
                        </a:spcAft>
                        <a:buClr>
                          <a:srgbClr val="3C73C6"/>
                        </a:buClr>
                        <a:buSzTx/>
                        <a:buFont typeface="Wingdings" panose="05000000000000000000" pitchFamily="2" charset="2"/>
                        <a:buNone/>
                        <a:tabLst/>
                      </a:pPr>
                      <a:r>
                        <a:rPr kumimoji="0" lang="en-US" altLang="en-US" sz="1400" b="0" i="0" u="none" strike="noStrike" cap="none" normalizeH="0" baseline="0" dirty="0">
                          <a:ln>
                            <a:noFill/>
                          </a:ln>
                          <a:solidFill>
                            <a:srgbClr val="042440"/>
                          </a:solidFill>
                          <a:effectLst/>
                          <a:latin typeface="Bower"/>
                          <a:cs typeface="Arial" panose="020B0604020202020204" pitchFamily="34" charset="0"/>
                        </a:rPr>
                        <a:t>Cycle time, Bid size Cycle time to Bid Size Ratio</a:t>
                      </a:r>
                    </a:p>
                  </a:txBody>
                  <a:tcPr marL="68580" marR="68580" marT="34280" marB="3428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solidFill>
                  </a:tcPr>
                </a:tc>
                <a:tc rowSpan="2">
                  <a:txBody>
                    <a:bodyPr/>
                    <a:lstStyle>
                      <a:lvl1pPr>
                        <a:lnSpc>
                          <a:spcPct val="104000"/>
                        </a:lnSpc>
                        <a:spcBef>
                          <a:spcPct val="20000"/>
                        </a:spcBef>
                        <a:buClr>
                          <a:srgbClr val="3C73C6"/>
                        </a:buClr>
                        <a:buFont typeface="Wingdings" panose="05000000000000000000" pitchFamily="2" charset="2"/>
                        <a:defRPr>
                          <a:solidFill>
                            <a:schemeClr val="tx1"/>
                          </a:solidFill>
                          <a:latin typeface="Arial" panose="020B0604020202020204" pitchFamily="34" charset="0"/>
                          <a:cs typeface="Arial" panose="020B0604020202020204" pitchFamily="34" charset="0"/>
                        </a:defRPr>
                      </a:lvl1pPr>
                      <a:lvl2pPr marL="465138">
                        <a:lnSpc>
                          <a:spcPct val="104000"/>
                        </a:lnSpc>
                        <a:spcBef>
                          <a:spcPct val="20000"/>
                        </a:spcBef>
                        <a:buClr>
                          <a:srgbClr val="3C73C6"/>
                        </a:buClr>
                        <a:buFont typeface="Times New Roman" panose="02020603050405020304" pitchFamily="18" charset="0"/>
                        <a:defRPr sz="1600">
                          <a:solidFill>
                            <a:schemeClr val="tx1"/>
                          </a:solidFill>
                          <a:latin typeface="Arial" panose="020B0604020202020204" pitchFamily="34" charset="0"/>
                          <a:cs typeface="Arial" panose="020B0604020202020204" pitchFamily="34" charset="0"/>
                        </a:defRPr>
                      </a:lvl2pPr>
                      <a:lvl3pPr>
                        <a:lnSpc>
                          <a:spcPct val="104000"/>
                        </a:lnSpc>
                        <a:spcBef>
                          <a:spcPct val="20000"/>
                        </a:spcBef>
                        <a:buClr>
                          <a:srgbClr val="3C73C6"/>
                        </a:buClr>
                        <a:buFont typeface="Times New Roman" panose="02020603050405020304" pitchFamily="18" charset="0"/>
                        <a:defRPr sz="1400">
                          <a:solidFill>
                            <a:schemeClr val="tx1"/>
                          </a:solidFill>
                          <a:latin typeface="Arial" panose="020B0604020202020204" pitchFamily="34" charset="0"/>
                          <a:cs typeface="Arial" panose="020B0604020202020204" pitchFamily="34" charset="0"/>
                        </a:defRPr>
                      </a:lvl3pPr>
                      <a:lvl4pPr>
                        <a:lnSpc>
                          <a:spcPct val="104000"/>
                        </a:lnSpc>
                        <a:spcBef>
                          <a:spcPct val="20000"/>
                        </a:spcBef>
                        <a:buClr>
                          <a:srgbClr val="3C73C6"/>
                        </a:buClr>
                        <a:buFont typeface="Times New Roman" panose="02020603050405020304" pitchFamily="18" charset="0"/>
                        <a:defRPr sz="1200">
                          <a:solidFill>
                            <a:schemeClr val="tx1"/>
                          </a:solidFill>
                          <a:latin typeface="Arial" panose="020B0604020202020204" pitchFamily="34" charset="0"/>
                          <a:cs typeface="Arial" panose="020B0604020202020204" pitchFamily="34" charset="0"/>
                        </a:defRPr>
                      </a:lvl4pPr>
                      <a:lvl5pPr>
                        <a:lnSpc>
                          <a:spcPct val="104000"/>
                        </a:lnSpc>
                        <a:spcBef>
                          <a:spcPct val="20000"/>
                        </a:spcBef>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5pPr>
                      <a:lvl6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6pPr>
                      <a:lvl7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7pPr>
                      <a:lvl8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8pPr>
                      <a:lvl9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4000"/>
                        </a:lnSpc>
                        <a:spcBef>
                          <a:spcPct val="20000"/>
                        </a:spcBef>
                        <a:spcAft>
                          <a:spcPct val="0"/>
                        </a:spcAft>
                        <a:buClr>
                          <a:srgbClr val="3C73C6"/>
                        </a:buClr>
                        <a:buSzTx/>
                        <a:buFont typeface="Wingdings" panose="05000000000000000000" pitchFamily="2" charset="2"/>
                        <a:buNone/>
                        <a:tabLst/>
                      </a:pPr>
                      <a:r>
                        <a:rPr kumimoji="0" lang="en-US" altLang="en-US" sz="1400" b="0" i="0" u="none" strike="noStrike" cap="none" normalizeH="0" baseline="0" dirty="0">
                          <a:ln>
                            <a:noFill/>
                          </a:ln>
                          <a:solidFill>
                            <a:srgbClr val="042440"/>
                          </a:solidFill>
                          <a:effectLst/>
                          <a:latin typeface="Bower"/>
                          <a:cs typeface="Arial" panose="020B0604020202020204" pitchFamily="34" charset="0"/>
                        </a:rPr>
                        <a:t>Median Cycle time</a:t>
                      </a:r>
                    </a:p>
                  </a:txBody>
                  <a:tcPr marL="68580" marR="68580" marT="34280" marB="3428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solidFill>
                  </a:tcPr>
                </a:tc>
                <a:tc rowSpan="2">
                  <a:txBody>
                    <a:bodyPr/>
                    <a:lstStyle>
                      <a:lvl1pPr>
                        <a:lnSpc>
                          <a:spcPct val="104000"/>
                        </a:lnSpc>
                        <a:spcBef>
                          <a:spcPct val="20000"/>
                        </a:spcBef>
                        <a:buClr>
                          <a:srgbClr val="3C73C6"/>
                        </a:buClr>
                        <a:buFont typeface="Wingdings" panose="05000000000000000000" pitchFamily="2" charset="2"/>
                        <a:defRPr>
                          <a:solidFill>
                            <a:schemeClr val="tx1"/>
                          </a:solidFill>
                          <a:latin typeface="Arial" panose="020B0604020202020204" pitchFamily="34" charset="0"/>
                          <a:cs typeface="Arial" panose="020B0604020202020204" pitchFamily="34" charset="0"/>
                        </a:defRPr>
                      </a:lvl1pPr>
                      <a:lvl2pPr marL="465138">
                        <a:lnSpc>
                          <a:spcPct val="104000"/>
                        </a:lnSpc>
                        <a:spcBef>
                          <a:spcPct val="20000"/>
                        </a:spcBef>
                        <a:buClr>
                          <a:srgbClr val="3C73C6"/>
                        </a:buClr>
                        <a:buFont typeface="Times New Roman" panose="02020603050405020304" pitchFamily="18" charset="0"/>
                        <a:defRPr sz="1600">
                          <a:solidFill>
                            <a:schemeClr val="tx1"/>
                          </a:solidFill>
                          <a:latin typeface="Arial" panose="020B0604020202020204" pitchFamily="34" charset="0"/>
                          <a:cs typeface="Arial" panose="020B0604020202020204" pitchFamily="34" charset="0"/>
                        </a:defRPr>
                      </a:lvl2pPr>
                      <a:lvl3pPr>
                        <a:lnSpc>
                          <a:spcPct val="104000"/>
                        </a:lnSpc>
                        <a:spcBef>
                          <a:spcPct val="20000"/>
                        </a:spcBef>
                        <a:buClr>
                          <a:srgbClr val="3C73C6"/>
                        </a:buClr>
                        <a:buFont typeface="Times New Roman" panose="02020603050405020304" pitchFamily="18" charset="0"/>
                        <a:defRPr sz="1400">
                          <a:solidFill>
                            <a:schemeClr val="tx1"/>
                          </a:solidFill>
                          <a:latin typeface="Arial" panose="020B0604020202020204" pitchFamily="34" charset="0"/>
                          <a:cs typeface="Arial" panose="020B0604020202020204" pitchFamily="34" charset="0"/>
                        </a:defRPr>
                      </a:lvl3pPr>
                      <a:lvl4pPr>
                        <a:lnSpc>
                          <a:spcPct val="104000"/>
                        </a:lnSpc>
                        <a:spcBef>
                          <a:spcPct val="20000"/>
                        </a:spcBef>
                        <a:buClr>
                          <a:srgbClr val="3C73C6"/>
                        </a:buClr>
                        <a:buFont typeface="Times New Roman" panose="02020603050405020304" pitchFamily="18" charset="0"/>
                        <a:defRPr sz="1200">
                          <a:solidFill>
                            <a:schemeClr val="tx1"/>
                          </a:solidFill>
                          <a:latin typeface="Arial" panose="020B0604020202020204" pitchFamily="34" charset="0"/>
                          <a:cs typeface="Arial" panose="020B0604020202020204" pitchFamily="34" charset="0"/>
                        </a:defRPr>
                      </a:lvl4pPr>
                      <a:lvl5pPr>
                        <a:lnSpc>
                          <a:spcPct val="104000"/>
                        </a:lnSpc>
                        <a:spcBef>
                          <a:spcPct val="20000"/>
                        </a:spcBef>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5pPr>
                      <a:lvl6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6pPr>
                      <a:lvl7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7pPr>
                      <a:lvl8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8pPr>
                      <a:lvl9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4000"/>
                        </a:lnSpc>
                        <a:spcBef>
                          <a:spcPct val="20000"/>
                        </a:spcBef>
                        <a:spcAft>
                          <a:spcPct val="0"/>
                        </a:spcAft>
                        <a:buClr>
                          <a:srgbClr val="3C73C6"/>
                        </a:buClr>
                        <a:buSzTx/>
                        <a:buFont typeface="Wingdings" panose="05000000000000000000" pitchFamily="2" charset="2"/>
                        <a:buNone/>
                        <a:tabLst/>
                      </a:pPr>
                      <a:r>
                        <a:rPr lang="en-US" sz="1400" b="0" i="0" dirty="0">
                          <a:solidFill>
                            <a:srgbClr val="042440"/>
                          </a:solidFill>
                          <a:effectLst/>
                          <a:latin typeface="Bower"/>
                        </a:rPr>
                        <a:t>Reducing cycle time of operations by 15%</a:t>
                      </a:r>
                    </a:p>
                  </a:txBody>
                  <a:tcPr marL="68580" marR="68580" marT="34280" marB="3428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2664120897"/>
                  </a:ext>
                </a:extLst>
              </a:tr>
              <a:tr h="564448">
                <a:tc>
                  <a:txBody>
                    <a:bodyPr/>
                    <a:lstStyle>
                      <a:lvl1pPr>
                        <a:lnSpc>
                          <a:spcPct val="104000"/>
                        </a:lnSpc>
                        <a:spcBef>
                          <a:spcPct val="20000"/>
                        </a:spcBef>
                        <a:buClr>
                          <a:srgbClr val="3C73C6"/>
                        </a:buClr>
                        <a:buFont typeface="Wingdings" panose="05000000000000000000" pitchFamily="2" charset="2"/>
                        <a:defRPr>
                          <a:solidFill>
                            <a:schemeClr val="tx1"/>
                          </a:solidFill>
                          <a:latin typeface="Arial" panose="020B0604020202020204" pitchFamily="34" charset="0"/>
                          <a:cs typeface="Arial" panose="020B0604020202020204" pitchFamily="34" charset="0"/>
                        </a:defRPr>
                      </a:lvl1pPr>
                      <a:lvl2pPr marL="465138">
                        <a:lnSpc>
                          <a:spcPct val="104000"/>
                        </a:lnSpc>
                        <a:spcBef>
                          <a:spcPct val="20000"/>
                        </a:spcBef>
                        <a:buClr>
                          <a:srgbClr val="3C73C6"/>
                        </a:buClr>
                        <a:buFont typeface="Times New Roman" panose="02020603050405020304" pitchFamily="18" charset="0"/>
                        <a:defRPr sz="1600">
                          <a:solidFill>
                            <a:schemeClr val="tx1"/>
                          </a:solidFill>
                          <a:latin typeface="Arial" panose="020B0604020202020204" pitchFamily="34" charset="0"/>
                          <a:cs typeface="Arial" panose="020B0604020202020204" pitchFamily="34" charset="0"/>
                        </a:defRPr>
                      </a:lvl2pPr>
                      <a:lvl3pPr>
                        <a:lnSpc>
                          <a:spcPct val="104000"/>
                        </a:lnSpc>
                        <a:spcBef>
                          <a:spcPct val="20000"/>
                        </a:spcBef>
                        <a:buClr>
                          <a:srgbClr val="3C73C6"/>
                        </a:buClr>
                        <a:buFont typeface="Times New Roman" panose="02020603050405020304" pitchFamily="18" charset="0"/>
                        <a:defRPr sz="1400">
                          <a:solidFill>
                            <a:schemeClr val="tx1"/>
                          </a:solidFill>
                          <a:latin typeface="Arial" panose="020B0604020202020204" pitchFamily="34" charset="0"/>
                          <a:cs typeface="Arial" panose="020B0604020202020204" pitchFamily="34" charset="0"/>
                        </a:defRPr>
                      </a:lvl3pPr>
                      <a:lvl4pPr>
                        <a:lnSpc>
                          <a:spcPct val="104000"/>
                        </a:lnSpc>
                        <a:spcBef>
                          <a:spcPct val="20000"/>
                        </a:spcBef>
                        <a:buClr>
                          <a:srgbClr val="3C73C6"/>
                        </a:buClr>
                        <a:buFont typeface="Times New Roman" panose="02020603050405020304" pitchFamily="18" charset="0"/>
                        <a:defRPr sz="1200">
                          <a:solidFill>
                            <a:schemeClr val="tx1"/>
                          </a:solidFill>
                          <a:latin typeface="Arial" panose="020B0604020202020204" pitchFamily="34" charset="0"/>
                          <a:cs typeface="Arial" panose="020B0604020202020204" pitchFamily="34" charset="0"/>
                        </a:defRPr>
                      </a:lvl4pPr>
                      <a:lvl5pPr>
                        <a:lnSpc>
                          <a:spcPct val="104000"/>
                        </a:lnSpc>
                        <a:spcBef>
                          <a:spcPct val="20000"/>
                        </a:spcBef>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5pPr>
                      <a:lvl6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6pPr>
                      <a:lvl7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7pPr>
                      <a:lvl8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8pPr>
                      <a:lvl9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4000"/>
                        </a:lnSpc>
                        <a:spcBef>
                          <a:spcPct val="20000"/>
                        </a:spcBef>
                        <a:spcAft>
                          <a:spcPct val="0"/>
                        </a:spcAft>
                        <a:buClr>
                          <a:srgbClr val="3C73C6"/>
                        </a:buClr>
                        <a:buSzTx/>
                        <a:buFont typeface="Wingdings" panose="05000000000000000000" pitchFamily="2" charset="2"/>
                        <a:buNone/>
                        <a:tabLst/>
                      </a:pPr>
                      <a:r>
                        <a:rPr kumimoji="0" lang="en-US" altLang="en-US" sz="1400" b="1" i="0" u="none" strike="noStrike" cap="none" normalizeH="0" baseline="0" dirty="0">
                          <a:ln>
                            <a:noFill/>
                          </a:ln>
                          <a:solidFill>
                            <a:srgbClr val="042440"/>
                          </a:solidFill>
                          <a:effectLst/>
                          <a:latin typeface="Bower"/>
                          <a:cs typeface="Arial" panose="020B0604020202020204" pitchFamily="34" charset="0"/>
                        </a:rPr>
                        <a:t>Measure</a:t>
                      </a:r>
                    </a:p>
                  </a:txBody>
                  <a:tcPr marL="68580" marR="68580" marT="34280" marB="34280" anchor="ctr" horzOverflow="overflow">
                    <a:lnL w="12700" cap="flat" cmpd="sng" algn="ctr">
                      <a:solidFill>
                        <a:schemeClr val="tx1"/>
                      </a:solidFill>
                      <a:prstDash val="solid"/>
                      <a:round/>
                      <a:headEnd type="none" w="med" len="med"/>
                      <a:tailEnd type="none" w="med" len="med"/>
                    </a:lnL>
                    <a:lnR>
                      <a:noFill/>
                    </a:lnR>
                    <a:lnT>
                      <a:noFill/>
                    </a:lnT>
                    <a:lnB>
                      <a:noFill/>
                    </a:lnB>
                    <a:lnTlToBr>
                      <a:noFill/>
                    </a:lnTlToBr>
                    <a:lnBlToTr>
                      <a:noFill/>
                    </a:lnBlToTr>
                    <a:solidFill>
                      <a:schemeClr val="tx2"/>
                    </a:solidFill>
                  </a:tcPr>
                </a:tc>
                <a:tc>
                  <a:txBody>
                    <a:bodyPr/>
                    <a:lstStyle>
                      <a:lvl1pPr>
                        <a:lnSpc>
                          <a:spcPct val="104000"/>
                        </a:lnSpc>
                        <a:spcBef>
                          <a:spcPct val="20000"/>
                        </a:spcBef>
                        <a:buClr>
                          <a:srgbClr val="3C73C6"/>
                        </a:buClr>
                        <a:buFont typeface="Wingdings" panose="05000000000000000000" pitchFamily="2" charset="2"/>
                        <a:defRPr>
                          <a:solidFill>
                            <a:schemeClr val="tx1"/>
                          </a:solidFill>
                          <a:latin typeface="Arial" panose="020B0604020202020204" pitchFamily="34" charset="0"/>
                          <a:cs typeface="Arial" panose="020B0604020202020204" pitchFamily="34" charset="0"/>
                        </a:defRPr>
                      </a:lvl1pPr>
                      <a:lvl2pPr marL="465138">
                        <a:lnSpc>
                          <a:spcPct val="104000"/>
                        </a:lnSpc>
                        <a:spcBef>
                          <a:spcPct val="20000"/>
                        </a:spcBef>
                        <a:buClr>
                          <a:srgbClr val="3C73C6"/>
                        </a:buClr>
                        <a:buFont typeface="Times New Roman" panose="02020603050405020304" pitchFamily="18" charset="0"/>
                        <a:defRPr sz="1600">
                          <a:solidFill>
                            <a:schemeClr val="tx1"/>
                          </a:solidFill>
                          <a:latin typeface="Arial" panose="020B0604020202020204" pitchFamily="34" charset="0"/>
                          <a:cs typeface="Arial" panose="020B0604020202020204" pitchFamily="34" charset="0"/>
                        </a:defRPr>
                      </a:lvl2pPr>
                      <a:lvl3pPr>
                        <a:lnSpc>
                          <a:spcPct val="104000"/>
                        </a:lnSpc>
                        <a:spcBef>
                          <a:spcPct val="20000"/>
                        </a:spcBef>
                        <a:buClr>
                          <a:srgbClr val="3C73C6"/>
                        </a:buClr>
                        <a:buFont typeface="Times New Roman" panose="02020603050405020304" pitchFamily="18" charset="0"/>
                        <a:defRPr sz="1400">
                          <a:solidFill>
                            <a:schemeClr val="tx1"/>
                          </a:solidFill>
                          <a:latin typeface="Arial" panose="020B0604020202020204" pitchFamily="34" charset="0"/>
                          <a:cs typeface="Arial" panose="020B0604020202020204" pitchFamily="34" charset="0"/>
                        </a:defRPr>
                      </a:lvl3pPr>
                      <a:lvl4pPr>
                        <a:lnSpc>
                          <a:spcPct val="104000"/>
                        </a:lnSpc>
                        <a:spcBef>
                          <a:spcPct val="20000"/>
                        </a:spcBef>
                        <a:buClr>
                          <a:srgbClr val="3C73C6"/>
                        </a:buClr>
                        <a:buFont typeface="Times New Roman" panose="02020603050405020304" pitchFamily="18" charset="0"/>
                        <a:defRPr sz="1200">
                          <a:solidFill>
                            <a:schemeClr val="tx1"/>
                          </a:solidFill>
                          <a:latin typeface="Arial" panose="020B0604020202020204" pitchFamily="34" charset="0"/>
                          <a:cs typeface="Arial" panose="020B0604020202020204" pitchFamily="34" charset="0"/>
                        </a:defRPr>
                      </a:lvl4pPr>
                      <a:lvl5pPr>
                        <a:lnSpc>
                          <a:spcPct val="104000"/>
                        </a:lnSpc>
                        <a:spcBef>
                          <a:spcPct val="20000"/>
                        </a:spcBef>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5pPr>
                      <a:lvl6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6pPr>
                      <a:lvl7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7pPr>
                      <a:lvl8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8pPr>
                      <a:lvl9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4000"/>
                        </a:lnSpc>
                        <a:spcBef>
                          <a:spcPct val="20000"/>
                        </a:spcBef>
                        <a:spcAft>
                          <a:spcPct val="0"/>
                        </a:spcAft>
                        <a:buClr>
                          <a:srgbClr val="3C73C6"/>
                        </a:buClr>
                        <a:buSzTx/>
                        <a:buFont typeface="Wingdings" panose="05000000000000000000" pitchFamily="2" charset="2"/>
                        <a:buNone/>
                        <a:tabLst/>
                      </a:pPr>
                      <a:r>
                        <a:rPr kumimoji="0" lang="en-US" altLang="en-US" sz="1400" b="1" i="0" u="none" strike="noStrike" cap="none" normalizeH="0" baseline="0" dirty="0">
                          <a:ln>
                            <a:noFill/>
                          </a:ln>
                          <a:solidFill>
                            <a:schemeClr val="tx1"/>
                          </a:solidFill>
                          <a:effectLst/>
                          <a:latin typeface="Bower"/>
                          <a:cs typeface="Arial" panose="020B0604020202020204" pitchFamily="34" charset="0"/>
                        </a:rPr>
                        <a:t>11/14 – 11/18</a:t>
                      </a:r>
                    </a:p>
                  </a:txBody>
                  <a:tcPr marL="68580" marR="68580" marT="34280" marB="34280" anchor="ctr" horzOverflow="overflow">
                    <a:lnL>
                      <a:noFill/>
                    </a:lnL>
                    <a:lnR w="12700" cap="flat" cmpd="sng" algn="ctr">
                      <a:solidFill>
                        <a:schemeClr val="tx1"/>
                      </a:solidFill>
                      <a:prstDash val="solid"/>
                      <a:round/>
                      <a:headEnd type="none" w="med" len="med"/>
                      <a:tailEnd type="none" w="med" len="med"/>
                    </a:lnR>
                    <a:lnT>
                      <a:noFill/>
                    </a:lnT>
                    <a:lnB>
                      <a:noFill/>
                    </a:lnB>
                    <a:lnTlToBr>
                      <a:noFill/>
                    </a:lnTlToBr>
                    <a:lnBlToTr>
                      <a:noFill/>
                    </a:lnBlToTr>
                    <a:solidFill>
                      <a:schemeClr val="tx2"/>
                    </a:solidFill>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801239812"/>
                  </a:ext>
                </a:extLst>
              </a:tr>
              <a:tr h="890090">
                <a:tc>
                  <a:txBody>
                    <a:bodyPr/>
                    <a:lstStyle>
                      <a:lvl1pPr>
                        <a:lnSpc>
                          <a:spcPct val="104000"/>
                        </a:lnSpc>
                        <a:spcBef>
                          <a:spcPct val="20000"/>
                        </a:spcBef>
                        <a:buClr>
                          <a:srgbClr val="3C73C6"/>
                        </a:buClr>
                        <a:buFont typeface="Wingdings" panose="05000000000000000000" pitchFamily="2" charset="2"/>
                        <a:defRPr>
                          <a:solidFill>
                            <a:schemeClr val="tx1"/>
                          </a:solidFill>
                          <a:latin typeface="Arial" panose="020B0604020202020204" pitchFamily="34" charset="0"/>
                          <a:cs typeface="Arial" panose="020B0604020202020204" pitchFamily="34" charset="0"/>
                        </a:defRPr>
                      </a:lvl1pPr>
                      <a:lvl2pPr marL="465138">
                        <a:lnSpc>
                          <a:spcPct val="104000"/>
                        </a:lnSpc>
                        <a:spcBef>
                          <a:spcPct val="20000"/>
                        </a:spcBef>
                        <a:buClr>
                          <a:srgbClr val="3C73C6"/>
                        </a:buClr>
                        <a:buFont typeface="Times New Roman" panose="02020603050405020304" pitchFamily="18" charset="0"/>
                        <a:defRPr sz="1600">
                          <a:solidFill>
                            <a:schemeClr val="tx1"/>
                          </a:solidFill>
                          <a:latin typeface="Arial" panose="020B0604020202020204" pitchFamily="34" charset="0"/>
                          <a:cs typeface="Arial" panose="020B0604020202020204" pitchFamily="34" charset="0"/>
                        </a:defRPr>
                      </a:lvl2pPr>
                      <a:lvl3pPr>
                        <a:lnSpc>
                          <a:spcPct val="104000"/>
                        </a:lnSpc>
                        <a:spcBef>
                          <a:spcPct val="20000"/>
                        </a:spcBef>
                        <a:buClr>
                          <a:srgbClr val="3C73C6"/>
                        </a:buClr>
                        <a:buFont typeface="Times New Roman" panose="02020603050405020304" pitchFamily="18" charset="0"/>
                        <a:defRPr sz="1400">
                          <a:solidFill>
                            <a:schemeClr val="tx1"/>
                          </a:solidFill>
                          <a:latin typeface="Arial" panose="020B0604020202020204" pitchFamily="34" charset="0"/>
                          <a:cs typeface="Arial" panose="020B0604020202020204" pitchFamily="34" charset="0"/>
                        </a:defRPr>
                      </a:lvl3pPr>
                      <a:lvl4pPr>
                        <a:lnSpc>
                          <a:spcPct val="104000"/>
                        </a:lnSpc>
                        <a:spcBef>
                          <a:spcPct val="20000"/>
                        </a:spcBef>
                        <a:buClr>
                          <a:srgbClr val="3C73C6"/>
                        </a:buClr>
                        <a:buFont typeface="Times New Roman" panose="02020603050405020304" pitchFamily="18" charset="0"/>
                        <a:defRPr sz="1200">
                          <a:solidFill>
                            <a:schemeClr val="tx1"/>
                          </a:solidFill>
                          <a:latin typeface="Arial" panose="020B0604020202020204" pitchFamily="34" charset="0"/>
                          <a:cs typeface="Arial" panose="020B0604020202020204" pitchFamily="34" charset="0"/>
                        </a:defRPr>
                      </a:lvl4pPr>
                      <a:lvl5pPr>
                        <a:lnSpc>
                          <a:spcPct val="104000"/>
                        </a:lnSpc>
                        <a:spcBef>
                          <a:spcPct val="20000"/>
                        </a:spcBef>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5pPr>
                      <a:lvl6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6pPr>
                      <a:lvl7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7pPr>
                      <a:lvl8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8pPr>
                      <a:lvl9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4000"/>
                        </a:lnSpc>
                        <a:spcBef>
                          <a:spcPct val="20000"/>
                        </a:spcBef>
                        <a:spcAft>
                          <a:spcPct val="0"/>
                        </a:spcAft>
                        <a:buClr>
                          <a:srgbClr val="3C73C6"/>
                        </a:buClr>
                        <a:buSzTx/>
                        <a:buFont typeface="Wingdings" panose="05000000000000000000" pitchFamily="2" charset="2"/>
                        <a:buNone/>
                        <a:tabLst/>
                      </a:pPr>
                      <a:r>
                        <a:rPr kumimoji="0" lang="en-US" altLang="en-US" sz="1400" b="1" i="0" u="none" strike="noStrike" cap="none" normalizeH="0" baseline="0" dirty="0">
                          <a:ln>
                            <a:noFill/>
                          </a:ln>
                          <a:solidFill>
                            <a:srgbClr val="042440"/>
                          </a:solidFill>
                          <a:effectLst/>
                          <a:latin typeface="Bower"/>
                          <a:cs typeface="Arial" panose="020B0604020202020204" pitchFamily="34" charset="0"/>
                        </a:rPr>
                        <a:t>Analyze</a:t>
                      </a:r>
                    </a:p>
                  </a:txBody>
                  <a:tcPr marL="68580" marR="68580" marT="34280" marB="34280" anchor="ctr" horzOverflow="overflow">
                    <a:lnL w="12700" cap="flat" cmpd="sng" algn="ctr">
                      <a:solidFill>
                        <a:schemeClr val="tx1"/>
                      </a:solidFill>
                      <a:prstDash val="solid"/>
                      <a:round/>
                      <a:headEnd type="none" w="med" len="med"/>
                      <a:tailEnd type="none" w="med" len="med"/>
                    </a:lnL>
                    <a:lnR>
                      <a:noFill/>
                    </a:lnR>
                    <a:lnT>
                      <a:noFill/>
                    </a:lnT>
                    <a:lnB>
                      <a:noFill/>
                    </a:lnB>
                    <a:lnTlToBr>
                      <a:noFill/>
                    </a:lnTlToBr>
                    <a:lnBlToTr>
                      <a:noFill/>
                    </a:lnBlToTr>
                    <a:solidFill>
                      <a:schemeClr val="tx2"/>
                    </a:solidFill>
                  </a:tcPr>
                </a:tc>
                <a:tc>
                  <a:txBody>
                    <a:bodyPr/>
                    <a:lstStyle>
                      <a:lvl1pPr>
                        <a:lnSpc>
                          <a:spcPct val="104000"/>
                        </a:lnSpc>
                        <a:spcBef>
                          <a:spcPct val="20000"/>
                        </a:spcBef>
                        <a:buClr>
                          <a:srgbClr val="3C73C6"/>
                        </a:buClr>
                        <a:buFont typeface="Wingdings" panose="05000000000000000000" pitchFamily="2" charset="2"/>
                        <a:defRPr>
                          <a:solidFill>
                            <a:schemeClr val="tx1"/>
                          </a:solidFill>
                          <a:latin typeface="Arial" panose="020B0604020202020204" pitchFamily="34" charset="0"/>
                          <a:cs typeface="Arial" panose="020B0604020202020204" pitchFamily="34" charset="0"/>
                        </a:defRPr>
                      </a:lvl1pPr>
                      <a:lvl2pPr marL="465138">
                        <a:lnSpc>
                          <a:spcPct val="104000"/>
                        </a:lnSpc>
                        <a:spcBef>
                          <a:spcPct val="20000"/>
                        </a:spcBef>
                        <a:buClr>
                          <a:srgbClr val="3C73C6"/>
                        </a:buClr>
                        <a:buFont typeface="Times New Roman" panose="02020603050405020304" pitchFamily="18" charset="0"/>
                        <a:defRPr sz="1600">
                          <a:solidFill>
                            <a:schemeClr val="tx1"/>
                          </a:solidFill>
                          <a:latin typeface="Arial" panose="020B0604020202020204" pitchFamily="34" charset="0"/>
                          <a:cs typeface="Arial" panose="020B0604020202020204" pitchFamily="34" charset="0"/>
                        </a:defRPr>
                      </a:lvl2pPr>
                      <a:lvl3pPr>
                        <a:lnSpc>
                          <a:spcPct val="104000"/>
                        </a:lnSpc>
                        <a:spcBef>
                          <a:spcPct val="20000"/>
                        </a:spcBef>
                        <a:buClr>
                          <a:srgbClr val="3C73C6"/>
                        </a:buClr>
                        <a:buFont typeface="Times New Roman" panose="02020603050405020304" pitchFamily="18" charset="0"/>
                        <a:defRPr sz="1400">
                          <a:solidFill>
                            <a:schemeClr val="tx1"/>
                          </a:solidFill>
                          <a:latin typeface="Arial" panose="020B0604020202020204" pitchFamily="34" charset="0"/>
                          <a:cs typeface="Arial" panose="020B0604020202020204" pitchFamily="34" charset="0"/>
                        </a:defRPr>
                      </a:lvl3pPr>
                      <a:lvl4pPr>
                        <a:lnSpc>
                          <a:spcPct val="104000"/>
                        </a:lnSpc>
                        <a:spcBef>
                          <a:spcPct val="20000"/>
                        </a:spcBef>
                        <a:buClr>
                          <a:srgbClr val="3C73C6"/>
                        </a:buClr>
                        <a:buFont typeface="Times New Roman" panose="02020603050405020304" pitchFamily="18" charset="0"/>
                        <a:defRPr sz="1200">
                          <a:solidFill>
                            <a:schemeClr val="tx1"/>
                          </a:solidFill>
                          <a:latin typeface="Arial" panose="020B0604020202020204" pitchFamily="34" charset="0"/>
                          <a:cs typeface="Arial" panose="020B0604020202020204" pitchFamily="34" charset="0"/>
                        </a:defRPr>
                      </a:lvl4pPr>
                      <a:lvl5pPr>
                        <a:lnSpc>
                          <a:spcPct val="104000"/>
                        </a:lnSpc>
                        <a:spcBef>
                          <a:spcPct val="20000"/>
                        </a:spcBef>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5pPr>
                      <a:lvl6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6pPr>
                      <a:lvl7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7pPr>
                      <a:lvl8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8pPr>
                      <a:lvl9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4000"/>
                        </a:lnSpc>
                        <a:spcBef>
                          <a:spcPct val="20000"/>
                        </a:spcBef>
                        <a:spcAft>
                          <a:spcPct val="0"/>
                        </a:spcAft>
                        <a:buClr>
                          <a:srgbClr val="3C73C6"/>
                        </a:buClr>
                        <a:buSzTx/>
                        <a:buFont typeface="Wingdings" panose="05000000000000000000" pitchFamily="2" charset="2"/>
                        <a:buNone/>
                        <a:tabLst/>
                      </a:pPr>
                      <a:endParaRPr kumimoji="0" lang="en-US" altLang="en-US" sz="1400" b="1" i="0" u="none" strike="noStrike" cap="none" normalizeH="0" baseline="0" dirty="0">
                        <a:ln>
                          <a:noFill/>
                        </a:ln>
                        <a:solidFill>
                          <a:schemeClr val="tx1"/>
                        </a:solidFill>
                        <a:effectLst/>
                        <a:latin typeface="Bower"/>
                        <a:cs typeface="Arial" panose="020B0604020202020204" pitchFamily="34" charset="0"/>
                      </a:endParaRPr>
                    </a:p>
                    <a:p>
                      <a:pPr marL="0" marR="0" lvl="0" indent="0" algn="ctr" defTabSz="914400" rtl="0" eaLnBrk="1" fontAlgn="base" latinLnBrk="0" hangingPunct="1">
                        <a:lnSpc>
                          <a:spcPct val="104000"/>
                        </a:lnSpc>
                        <a:spcBef>
                          <a:spcPct val="20000"/>
                        </a:spcBef>
                        <a:spcAft>
                          <a:spcPct val="0"/>
                        </a:spcAft>
                        <a:buClr>
                          <a:srgbClr val="3C73C6"/>
                        </a:buClr>
                        <a:buSzTx/>
                        <a:buFont typeface="Wingdings" panose="05000000000000000000" pitchFamily="2" charset="2"/>
                        <a:buNone/>
                        <a:tabLst/>
                      </a:pPr>
                      <a:r>
                        <a:rPr kumimoji="0" lang="en-US" altLang="en-US" sz="1400" b="1" i="0" u="none" strike="noStrike" cap="none" normalizeH="0" baseline="0" dirty="0">
                          <a:ln>
                            <a:noFill/>
                          </a:ln>
                          <a:solidFill>
                            <a:schemeClr val="tx1"/>
                          </a:solidFill>
                          <a:effectLst/>
                          <a:latin typeface="Bower"/>
                          <a:cs typeface="Arial" panose="020B0604020202020204" pitchFamily="34" charset="0"/>
                        </a:rPr>
                        <a:t>11/19 – 11/29</a:t>
                      </a:r>
                    </a:p>
                  </a:txBody>
                  <a:tcPr marL="68580" marR="68580" marT="34280" marB="34280" horzOverflow="overflow">
                    <a:lnL>
                      <a:noFill/>
                    </a:lnL>
                    <a:lnR w="12700" cap="flat" cmpd="sng" algn="ctr">
                      <a:solidFill>
                        <a:schemeClr val="tx1"/>
                      </a:solidFill>
                      <a:prstDash val="solid"/>
                      <a:round/>
                      <a:headEnd type="none" w="med" len="med"/>
                      <a:tailEnd type="none" w="med" len="med"/>
                    </a:lnR>
                    <a:lnT>
                      <a:noFill/>
                    </a:lnT>
                    <a:lnB>
                      <a:noFill/>
                    </a:lnB>
                    <a:lnTlToBr>
                      <a:noFill/>
                    </a:lnTlToBr>
                    <a:lnBlToTr>
                      <a:noFill/>
                    </a:lnBlToTr>
                    <a:solidFill>
                      <a:schemeClr val="tx2"/>
                    </a:solidFill>
                  </a:tcPr>
                </a:tc>
                <a:tc gridSpan="2">
                  <a:txBody>
                    <a:bodyPr/>
                    <a:lstStyle>
                      <a:lvl1pPr>
                        <a:lnSpc>
                          <a:spcPct val="104000"/>
                        </a:lnSpc>
                        <a:spcBef>
                          <a:spcPct val="20000"/>
                        </a:spcBef>
                        <a:buClr>
                          <a:srgbClr val="3C73C6"/>
                        </a:buClr>
                        <a:buFont typeface="Wingdings" panose="05000000000000000000" pitchFamily="2" charset="2"/>
                        <a:defRPr>
                          <a:solidFill>
                            <a:schemeClr val="tx1"/>
                          </a:solidFill>
                          <a:latin typeface="Arial" panose="020B0604020202020204" pitchFamily="34" charset="0"/>
                          <a:cs typeface="Arial" panose="020B0604020202020204" pitchFamily="34" charset="0"/>
                        </a:defRPr>
                      </a:lvl1pPr>
                      <a:lvl2pPr marL="465138">
                        <a:lnSpc>
                          <a:spcPct val="104000"/>
                        </a:lnSpc>
                        <a:spcBef>
                          <a:spcPct val="20000"/>
                        </a:spcBef>
                        <a:buClr>
                          <a:srgbClr val="3C73C6"/>
                        </a:buClr>
                        <a:buFont typeface="Times New Roman" panose="02020603050405020304" pitchFamily="18" charset="0"/>
                        <a:defRPr sz="1600">
                          <a:solidFill>
                            <a:schemeClr val="tx1"/>
                          </a:solidFill>
                          <a:latin typeface="Arial" panose="020B0604020202020204" pitchFamily="34" charset="0"/>
                          <a:cs typeface="Arial" panose="020B0604020202020204" pitchFamily="34" charset="0"/>
                        </a:defRPr>
                      </a:lvl2pPr>
                      <a:lvl3pPr>
                        <a:lnSpc>
                          <a:spcPct val="104000"/>
                        </a:lnSpc>
                        <a:spcBef>
                          <a:spcPct val="20000"/>
                        </a:spcBef>
                        <a:buClr>
                          <a:srgbClr val="3C73C6"/>
                        </a:buClr>
                        <a:buFont typeface="Times New Roman" panose="02020603050405020304" pitchFamily="18" charset="0"/>
                        <a:defRPr sz="1400">
                          <a:solidFill>
                            <a:schemeClr val="tx1"/>
                          </a:solidFill>
                          <a:latin typeface="Arial" panose="020B0604020202020204" pitchFamily="34" charset="0"/>
                          <a:cs typeface="Arial" panose="020B0604020202020204" pitchFamily="34" charset="0"/>
                        </a:defRPr>
                      </a:lvl3pPr>
                      <a:lvl4pPr>
                        <a:lnSpc>
                          <a:spcPct val="104000"/>
                        </a:lnSpc>
                        <a:spcBef>
                          <a:spcPct val="20000"/>
                        </a:spcBef>
                        <a:buClr>
                          <a:srgbClr val="3C73C6"/>
                        </a:buClr>
                        <a:buFont typeface="Times New Roman" panose="02020603050405020304" pitchFamily="18" charset="0"/>
                        <a:defRPr sz="1200">
                          <a:solidFill>
                            <a:schemeClr val="tx1"/>
                          </a:solidFill>
                          <a:latin typeface="Arial" panose="020B0604020202020204" pitchFamily="34" charset="0"/>
                          <a:cs typeface="Arial" panose="020B0604020202020204" pitchFamily="34" charset="0"/>
                        </a:defRPr>
                      </a:lvl4pPr>
                      <a:lvl5pPr>
                        <a:lnSpc>
                          <a:spcPct val="104000"/>
                        </a:lnSpc>
                        <a:spcBef>
                          <a:spcPct val="20000"/>
                        </a:spcBef>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5pPr>
                      <a:lvl6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6pPr>
                      <a:lvl7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7pPr>
                      <a:lvl8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8pPr>
                      <a:lvl9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4000"/>
                        </a:lnSpc>
                        <a:spcBef>
                          <a:spcPct val="20000"/>
                        </a:spcBef>
                        <a:spcAft>
                          <a:spcPct val="0"/>
                        </a:spcAft>
                        <a:buClr>
                          <a:srgbClr val="3C73C6"/>
                        </a:buClr>
                        <a:buSzTx/>
                        <a:buFont typeface="Wingdings" panose="05000000000000000000" pitchFamily="2" charset="2"/>
                        <a:buNone/>
                        <a:tabLst/>
                      </a:pPr>
                      <a:r>
                        <a:rPr kumimoji="0" lang="en-US" altLang="en-US" sz="1400" b="1" i="0" u="none" strike="noStrike" cap="none" normalizeH="0" baseline="0" dirty="0">
                          <a:ln>
                            <a:noFill/>
                          </a:ln>
                          <a:solidFill>
                            <a:srgbClr val="042440"/>
                          </a:solidFill>
                          <a:effectLst/>
                          <a:latin typeface="Bower"/>
                          <a:cs typeface="Arial" panose="020B0604020202020204" pitchFamily="34" charset="0"/>
                        </a:rPr>
                        <a:t>Expected Benefits</a:t>
                      </a:r>
                      <a:r>
                        <a:rPr kumimoji="0" lang="en-US" altLang="en-US" sz="1400" b="0" i="0" u="none" strike="noStrike" cap="none" normalizeH="0" baseline="0" dirty="0">
                          <a:ln>
                            <a:noFill/>
                          </a:ln>
                          <a:solidFill>
                            <a:srgbClr val="042440"/>
                          </a:solidFill>
                          <a:effectLst/>
                          <a:latin typeface="Bower"/>
                          <a:cs typeface="Arial" panose="020B0604020202020204" pitchFamily="34" charset="0"/>
                        </a:rPr>
                        <a:t>: $90 million in savings and more time to additional bids</a:t>
                      </a:r>
                    </a:p>
                  </a:txBody>
                  <a:tcPr marL="68580" marR="68580" marT="34280" marB="3428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solidFill>
                  </a:tcPr>
                </a:tc>
                <a:tc hMerge="1">
                  <a:txBody>
                    <a:bodyPr/>
                    <a:lstStyle/>
                    <a:p>
                      <a:endParaRPr lang="en-US"/>
                    </a:p>
                  </a:txBody>
                  <a:tcPr/>
                </a:tc>
                <a:tc>
                  <a:txBody>
                    <a:bodyPr/>
                    <a:lstStyle>
                      <a:lvl1pPr>
                        <a:lnSpc>
                          <a:spcPct val="104000"/>
                        </a:lnSpc>
                        <a:spcBef>
                          <a:spcPct val="20000"/>
                        </a:spcBef>
                        <a:buClr>
                          <a:srgbClr val="3C73C6"/>
                        </a:buClr>
                        <a:buFont typeface="Wingdings" panose="05000000000000000000" pitchFamily="2" charset="2"/>
                        <a:defRPr>
                          <a:solidFill>
                            <a:schemeClr val="tx1"/>
                          </a:solidFill>
                          <a:latin typeface="Arial" panose="020B0604020202020204" pitchFamily="34" charset="0"/>
                          <a:cs typeface="Arial" panose="020B0604020202020204" pitchFamily="34" charset="0"/>
                        </a:defRPr>
                      </a:lvl1pPr>
                      <a:lvl2pPr marL="465138">
                        <a:lnSpc>
                          <a:spcPct val="104000"/>
                        </a:lnSpc>
                        <a:spcBef>
                          <a:spcPct val="20000"/>
                        </a:spcBef>
                        <a:buClr>
                          <a:srgbClr val="3C73C6"/>
                        </a:buClr>
                        <a:buFont typeface="Times New Roman" panose="02020603050405020304" pitchFamily="18" charset="0"/>
                        <a:defRPr sz="1600">
                          <a:solidFill>
                            <a:schemeClr val="tx1"/>
                          </a:solidFill>
                          <a:latin typeface="Arial" panose="020B0604020202020204" pitchFamily="34" charset="0"/>
                          <a:cs typeface="Arial" panose="020B0604020202020204" pitchFamily="34" charset="0"/>
                        </a:defRPr>
                      </a:lvl2pPr>
                      <a:lvl3pPr>
                        <a:lnSpc>
                          <a:spcPct val="104000"/>
                        </a:lnSpc>
                        <a:spcBef>
                          <a:spcPct val="20000"/>
                        </a:spcBef>
                        <a:buClr>
                          <a:srgbClr val="3C73C6"/>
                        </a:buClr>
                        <a:buFont typeface="Times New Roman" panose="02020603050405020304" pitchFamily="18" charset="0"/>
                        <a:defRPr sz="1400">
                          <a:solidFill>
                            <a:schemeClr val="tx1"/>
                          </a:solidFill>
                          <a:latin typeface="Arial" panose="020B0604020202020204" pitchFamily="34" charset="0"/>
                          <a:cs typeface="Arial" panose="020B0604020202020204" pitchFamily="34" charset="0"/>
                        </a:defRPr>
                      </a:lvl3pPr>
                      <a:lvl4pPr>
                        <a:lnSpc>
                          <a:spcPct val="104000"/>
                        </a:lnSpc>
                        <a:spcBef>
                          <a:spcPct val="20000"/>
                        </a:spcBef>
                        <a:buClr>
                          <a:srgbClr val="3C73C6"/>
                        </a:buClr>
                        <a:buFont typeface="Times New Roman" panose="02020603050405020304" pitchFamily="18" charset="0"/>
                        <a:defRPr sz="1200">
                          <a:solidFill>
                            <a:schemeClr val="tx1"/>
                          </a:solidFill>
                          <a:latin typeface="Arial" panose="020B0604020202020204" pitchFamily="34" charset="0"/>
                          <a:cs typeface="Arial" panose="020B0604020202020204" pitchFamily="34" charset="0"/>
                        </a:defRPr>
                      </a:lvl4pPr>
                      <a:lvl5pPr>
                        <a:lnSpc>
                          <a:spcPct val="104000"/>
                        </a:lnSpc>
                        <a:spcBef>
                          <a:spcPct val="20000"/>
                        </a:spcBef>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5pPr>
                      <a:lvl6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6pPr>
                      <a:lvl7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7pPr>
                      <a:lvl8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8pPr>
                      <a:lvl9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4000"/>
                        </a:lnSpc>
                        <a:spcBef>
                          <a:spcPct val="20000"/>
                        </a:spcBef>
                        <a:spcAft>
                          <a:spcPct val="0"/>
                        </a:spcAft>
                        <a:buClr>
                          <a:srgbClr val="3C73C6"/>
                        </a:buClr>
                        <a:buSzTx/>
                        <a:buFont typeface="Wingdings" panose="05000000000000000000" pitchFamily="2" charset="2"/>
                        <a:buNone/>
                        <a:tabLst/>
                      </a:pPr>
                      <a:r>
                        <a:rPr kumimoji="0" lang="en-US" altLang="en-US" sz="1400" b="1" i="0" u="none" strike="noStrike" cap="none" normalizeH="0" baseline="0" dirty="0">
                          <a:ln>
                            <a:noFill/>
                          </a:ln>
                          <a:solidFill>
                            <a:srgbClr val="042440"/>
                          </a:solidFill>
                          <a:effectLst/>
                          <a:latin typeface="Bower"/>
                          <a:cs typeface="Arial" panose="020B0604020202020204" pitchFamily="34" charset="0"/>
                        </a:rPr>
                        <a:t>Projected Savings</a:t>
                      </a:r>
                    </a:p>
                  </a:txBody>
                  <a:tcPr marL="68580" marR="68580" marT="34280" marB="3428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4181290412"/>
                  </a:ext>
                </a:extLst>
              </a:tr>
              <a:tr h="662118">
                <a:tc>
                  <a:txBody>
                    <a:bodyPr/>
                    <a:lstStyle>
                      <a:lvl1pPr>
                        <a:lnSpc>
                          <a:spcPct val="104000"/>
                        </a:lnSpc>
                        <a:spcBef>
                          <a:spcPct val="20000"/>
                        </a:spcBef>
                        <a:buClr>
                          <a:srgbClr val="3C73C6"/>
                        </a:buClr>
                        <a:buFont typeface="Wingdings" panose="05000000000000000000" pitchFamily="2" charset="2"/>
                        <a:defRPr>
                          <a:solidFill>
                            <a:schemeClr val="tx1"/>
                          </a:solidFill>
                          <a:latin typeface="Arial" panose="020B0604020202020204" pitchFamily="34" charset="0"/>
                          <a:cs typeface="Arial" panose="020B0604020202020204" pitchFamily="34" charset="0"/>
                        </a:defRPr>
                      </a:lvl1pPr>
                      <a:lvl2pPr marL="465138">
                        <a:lnSpc>
                          <a:spcPct val="104000"/>
                        </a:lnSpc>
                        <a:spcBef>
                          <a:spcPct val="20000"/>
                        </a:spcBef>
                        <a:buClr>
                          <a:srgbClr val="3C73C6"/>
                        </a:buClr>
                        <a:buFont typeface="Times New Roman" panose="02020603050405020304" pitchFamily="18" charset="0"/>
                        <a:defRPr sz="1600">
                          <a:solidFill>
                            <a:schemeClr val="tx1"/>
                          </a:solidFill>
                          <a:latin typeface="Arial" panose="020B0604020202020204" pitchFamily="34" charset="0"/>
                          <a:cs typeface="Arial" panose="020B0604020202020204" pitchFamily="34" charset="0"/>
                        </a:defRPr>
                      </a:lvl2pPr>
                      <a:lvl3pPr>
                        <a:lnSpc>
                          <a:spcPct val="104000"/>
                        </a:lnSpc>
                        <a:spcBef>
                          <a:spcPct val="20000"/>
                        </a:spcBef>
                        <a:buClr>
                          <a:srgbClr val="3C73C6"/>
                        </a:buClr>
                        <a:buFont typeface="Times New Roman" panose="02020603050405020304" pitchFamily="18" charset="0"/>
                        <a:defRPr sz="1400">
                          <a:solidFill>
                            <a:schemeClr val="tx1"/>
                          </a:solidFill>
                          <a:latin typeface="Arial" panose="020B0604020202020204" pitchFamily="34" charset="0"/>
                          <a:cs typeface="Arial" panose="020B0604020202020204" pitchFamily="34" charset="0"/>
                        </a:defRPr>
                      </a:lvl3pPr>
                      <a:lvl4pPr>
                        <a:lnSpc>
                          <a:spcPct val="104000"/>
                        </a:lnSpc>
                        <a:spcBef>
                          <a:spcPct val="20000"/>
                        </a:spcBef>
                        <a:buClr>
                          <a:srgbClr val="3C73C6"/>
                        </a:buClr>
                        <a:buFont typeface="Times New Roman" panose="02020603050405020304" pitchFamily="18" charset="0"/>
                        <a:defRPr sz="1200">
                          <a:solidFill>
                            <a:schemeClr val="tx1"/>
                          </a:solidFill>
                          <a:latin typeface="Arial" panose="020B0604020202020204" pitchFamily="34" charset="0"/>
                          <a:cs typeface="Arial" panose="020B0604020202020204" pitchFamily="34" charset="0"/>
                        </a:defRPr>
                      </a:lvl4pPr>
                      <a:lvl5pPr>
                        <a:lnSpc>
                          <a:spcPct val="104000"/>
                        </a:lnSpc>
                        <a:spcBef>
                          <a:spcPct val="20000"/>
                        </a:spcBef>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5pPr>
                      <a:lvl6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6pPr>
                      <a:lvl7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7pPr>
                      <a:lvl8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8pPr>
                      <a:lvl9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4000"/>
                        </a:lnSpc>
                        <a:spcBef>
                          <a:spcPct val="20000"/>
                        </a:spcBef>
                        <a:spcAft>
                          <a:spcPct val="0"/>
                        </a:spcAft>
                        <a:buClr>
                          <a:srgbClr val="3C73C6"/>
                        </a:buClr>
                        <a:buSzTx/>
                        <a:buFont typeface="Wingdings" panose="05000000000000000000" pitchFamily="2" charset="2"/>
                        <a:buNone/>
                        <a:tabLst/>
                      </a:pPr>
                      <a:r>
                        <a:rPr kumimoji="0" lang="en-US" altLang="en-US" sz="1400" b="1" i="0" u="none" strike="noStrike" cap="none" normalizeH="0" baseline="0" dirty="0">
                          <a:ln>
                            <a:noFill/>
                          </a:ln>
                          <a:solidFill>
                            <a:srgbClr val="042440"/>
                          </a:solidFill>
                          <a:effectLst/>
                          <a:latin typeface="Bower"/>
                          <a:cs typeface="Arial" panose="020B0604020202020204" pitchFamily="34" charset="0"/>
                        </a:rPr>
                        <a:t>Improve</a:t>
                      </a:r>
                    </a:p>
                  </a:txBody>
                  <a:tcPr marL="68580" marR="68580" marT="34280" marB="34280" anchor="ctr" horzOverflow="overflow">
                    <a:lnL w="12700" cap="flat" cmpd="sng" algn="ctr">
                      <a:solidFill>
                        <a:schemeClr val="tx1"/>
                      </a:solidFill>
                      <a:prstDash val="solid"/>
                      <a:round/>
                      <a:headEnd type="none" w="med" len="med"/>
                      <a:tailEnd type="none" w="med" len="med"/>
                    </a:lnL>
                    <a:lnR>
                      <a:noFill/>
                    </a:lnR>
                    <a:lnT>
                      <a:noFill/>
                    </a:lnT>
                    <a:lnB>
                      <a:noFill/>
                    </a:lnB>
                    <a:lnTlToBr>
                      <a:noFill/>
                    </a:lnTlToBr>
                    <a:lnBlToTr>
                      <a:noFill/>
                    </a:lnBlToTr>
                    <a:solidFill>
                      <a:schemeClr val="tx2"/>
                    </a:solidFill>
                  </a:tcPr>
                </a:tc>
                <a:tc>
                  <a:txBody>
                    <a:bodyPr/>
                    <a:lstStyle>
                      <a:lvl1pPr>
                        <a:lnSpc>
                          <a:spcPct val="104000"/>
                        </a:lnSpc>
                        <a:spcBef>
                          <a:spcPct val="20000"/>
                        </a:spcBef>
                        <a:buClr>
                          <a:srgbClr val="3C73C6"/>
                        </a:buClr>
                        <a:buFont typeface="Wingdings" panose="05000000000000000000" pitchFamily="2" charset="2"/>
                        <a:defRPr>
                          <a:solidFill>
                            <a:schemeClr val="tx1"/>
                          </a:solidFill>
                          <a:latin typeface="Arial" panose="020B0604020202020204" pitchFamily="34" charset="0"/>
                          <a:cs typeface="Arial" panose="020B0604020202020204" pitchFamily="34" charset="0"/>
                        </a:defRPr>
                      </a:lvl1pPr>
                      <a:lvl2pPr marL="465138">
                        <a:lnSpc>
                          <a:spcPct val="104000"/>
                        </a:lnSpc>
                        <a:spcBef>
                          <a:spcPct val="20000"/>
                        </a:spcBef>
                        <a:buClr>
                          <a:srgbClr val="3C73C6"/>
                        </a:buClr>
                        <a:buFont typeface="Times New Roman" panose="02020603050405020304" pitchFamily="18" charset="0"/>
                        <a:defRPr sz="1600">
                          <a:solidFill>
                            <a:schemeClr val="tx1"/>
                          </a:solidFill>
                          <a:latin typeface="Arial" panose="020B0604020202020204" pitchFamily="34" charset="0"/>
                          <a:cs typeface="Arial" panose="020B0604020202020204" pitchFamily="34" charset="0"/>
                        </a:defRPr>
                      </a:lvl2pPr>
                      <a:lvl3pPr>
                        <a:lnSpc>
                          <a:spcPct val="104000"/>
                        </a:lnSpc>
                        <a:spcBef>
                          <a:spcPct val="20000"/>
                        </a:spcBef>
                        <a:buClr>
                          <a:srgbClr val="3C73C6"/>
                        </a:buClr>
                        <a:buFont typeface="Times New Roman" panose="02020603050405020304" pitchFamily="18" charset="0"/>
                        <a:defRPr sz="1400">
                          <a:solidFill>
                            <a:schemeClr val="tx1"/>
                          </a:solidFill>
                          <a:latin typeface="Arial" panose="020B0604020202020204" pitchFamily="34" charset="0"/>
                          <a:cs typeface="Arial" panose="020B0604020202020204" pitchFamily="34" charset="0"/>
                        </a:defRPr>
                      </a:lvl3pPr>
                      <a:lvl4pPr>
                        <a:lnSpc>
                          <a:spcPct val="104000"/>
                        </a:lnSpc>
                        <a:spcBef>
                          <a:spcPct val="20000"/>
                        </a:spcBef>
                        <a:buClr>
                          <a:srgbClr val="3C73C6"/>
                        </a:buClr>
                        <a:buFont typeface="Times New Roman" panose="02020603050405020304" pitchFamily="18" charset="0"/>
                        <a:defRPr sz="1200">
                          <a:solidFill>
                            <a:schemeClr val="tx1"/>
                          </a:solidFill>
                          <a:latin typeface="Arial" panose="020B0604020202020204" pitchFamily="34" charset="0"/>
                          <a:cs typeface="Arial" panose="020B0604020202020204" pitchFamily="34" charset="0"/>
                        </a:defRPr>
                      </a:lvl4pPr>
                      <a:lvl5pPr>
                        <a:lnSpc>
                          <a:spcPct val="104000"/>
                        </a:lnSpc>
                        <a:spcBef>
                          <a:spcPct val="20000"/>
                        </a:spcBef>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5pPr>
                      <a:lvl6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6pPr>
                      <a:lvl7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7pPr>
                      <a:lvl8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8pPr>
                      <a:lvl9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4000"/>
                        </a:lnSpc>
                        <a:spcBef>
                          <a:spcPct val="20000"/>
                        </a:spcBef>
                        <a:spcAft>
                          <a:spcPct val="0"/>
                        </a:spcAft>
                        <a:buClr>
                          <a:srgbClr val="3C73C6"/>
                        </a:buClr>
                        <a:buSzTx/>
                        <a:buFont typeface="Wingdings" panose="05000000000000000000" pitchFamily="2" charset="2"/>
                        <a:buNone/>
                        <a:tabLst/>
                      </a:pPr>
                      <a:r>
                        <a:rPr kumimoji="0" lang="en-US" altLang="en-US" sz="1400" b="1" i="0" u="none" strike="noStrike" cap="none" normalizeH="0" baseline="0" dirty="0">
                          <a:ln>
                            <a:noFill/>
                          </a:ln>
                          <a:solidFill>
                            <a:schemeClr val="tx1"/>
                          </a:solidFill>
                          <a:effectLst/>
                          <a:latin typeface="Bower"/>
                          <a:cs typeface="Arial" panose="020B0604020202020204" pitchFamily="34" charset="0"/>
                        </a:rPr>
                        <a:t>11/30 – 12/05</a:t>
                      </a:r>
                    </a:p>
                  </a:txBody>
                  <a:tcPr marL="68580" marR="68580" marT="34280" marB="34280" anchor="ctr" horzOverflow="overflow">
                    <a:lnL>
                      <a:noFill/>
                    </a:lnL>
                    <a:lnR w="12700" cap="flat" cmpd="sng" algn="ctr">
                      <a:solidFill>
                        <a:schemeClr val="tx1"/>
                      </a:solidFill>
                      <a:prstDash val="solid"/>
                      <a:round/>
                      <a:headEnd type="none" w="med" len="med"/>
                      <a:tailEnd type="none" w="med" len="med"/>
                    </a:lnR>
                    <a:lnT>
                      <a:noFill/>
                    </a:lnT>
                    <a:lnB>
                      <a:noFill/>
                    </a:lnB>
                    <a:lnTlToBr>
                      <a:noFill/>
                    </a:lnTlToBr>
                    <a:lnBlToTr>
                      <a:noFill/>
                    </a:lnBlToTr>
                    <a:solidFill>
                      <a:schemeClr val="tx2"/>
                    </a:solidFill>
                  </a:tcPr>
                </a:tc>
                <a:tc rowSpan="2" gridSpan="2">
                  <a:txBody>
                    <a:bodyPr/>
                    <a:lstStyle>
                      <a:lvl1pPr>
                        <a:lnSpc>
                          <a:spcPct val="104000"/>
                        </a:lnSpc>
                        <a:spcBef>
                          <a:spcPct val="20000"/>
                        </a:spcBef>
                        <a:buClr>
                          <a:srgbClr val="3C73C6"/>
                        </a:buClr>
                        <a:buFont typeface="Wingdings" panose="05000000000000000000" pitchFamily="2" charset="2"/>
                        <a:defRPr>
                          <a:solidFill>
                            <a:schemeClr val="tx1"/>
                          </a:solidFill>
                          <a:latin typeface="Arial" panose="020B0604020202020204" pitchFamily="34" charset="0"/>
                          <a:cs typeface="Arial" panose="020B0604020202020204" pitchFamily="34" charset="0"/>
                        </a:defRPr>
                      </a:lvl1pPr>
                      <a:lvl2pPr marL="465138">
                        <a:lnSpc>
                          <a:spcPct val="104000"/>
                        </a:lnSpc>
                        <a:spcBef>
                          <a:spcPct val="20000"/>
                        </a:spcBef>
                        <a:buClr>
                          <a:srgbClr val="3C73C6"/>
                        </a:buClr>
                        <a:buFont typeface="Times New Roman" panose="02020603050405020304" pitchFamily="18" charset="0"/>
                        <a:defRPr sz="1600">
                          <a:solidFill>
                            <a:schemeClr val="tx1"/>
                          </a:solidFill>
                          <a:latin typeface="Arial" panose="020B0604020202020204" pitchFamily="34" charset="0"/>
                          <a:cs typeface="Arial" panose="020B0604020202020204" pitchFamily="34" charset="0"/>
                        </a:defRPr>
                      </a:lvl2pPr>
                      <a:lvl3pPr>
                        <a:lnSpc>
                          <a:spcPct val="104000"/>
                        </a:lnSpc>
                        <a:spcBef>
                          <a:spcPct val="20000"/>
                        </a:spcBef>
                        <a:buClr>
                          <a:srgbClr val="3C73C6"/>
                        </a:buClr>
                        <a:buFont typeface="Times New Roman" panose="02020603050405020304" pitchFamily="18" charset="0"/>
                        <a:defRPr sz="1400">
                          <a:solidFill>
                            <a:schemeClr val="tx1"/>
                          </a:solidFill>
                          <a:latin typeface="Arial" panose="020B0604020202020204" pitchFamily="34" charset="0"/>
                          <a:cs typeface="Arial" panose="020B0604020202020204" pitchFamily="34" charset="0"/>
                        </a:defRPr>
                      </a:lvl3pPr>
                      <a:lvl4pPr>
                        <a:lnSpc>
                          <a:spcPct val="104000"/>
                        </a:lnSpc>
                        <a:spcBef>
                          <a:spcPct val="20000"/>
                        </a:spcBef>
                        <a:buClr>
                          <a:srgbClr val="3C73C6"/>
                        </a:buClr>
                        <a:buFont typeface="Times New Roman" panose="02020603050405020304" pitchFamily="18" charset="0"/>
                        <a:defRPr sz="1200">
                          <a:solidFill>
                            <a:schemeClr val="tx1"/>
                          </a:solidFill>
                          <a:latin typeface="Arial" panose="020B0604020202020204" pitchFamily="34" charset="0"/>
                          <a:cs typeface="Arial" panose="020B0604020202020204" pitchFamily="34" charset="0"/>
                        </a:defRPr>
                      </a:lvl4pPr>
                      <a:lvl5pPr>
                        <a:lnSpc>
                          <a:spcPct val="104000"/>
                        </a:lnSpc>
                        <a:spcBef>
                          <a:spcPct val="20000"/>
                        </a:spcBef>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5pPr>
                      <a:lvl6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6pPr>
                      <a:lvl7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7pPr>
                      <a:lvl8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8pPr>
                      <a:lvl9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4000"/>
                        </a:lnSpc>
                        <a:spcBef>
                          <a:spcPct val="20000"/>
                        </a:spcBef>
                        <a:spcAft>
                          <a:spcPct val="0"/>
                        </a:spcAft>
                        <a:buClr>
                          <a:srgbClr val="3C73C6"/>
                        </a:buClr>
                        <a:buSzTx/>
                        <a:buFont typeface="Wingdings" panose="05000000000000000000" pitchFamily="2" charset="2"/>
                        <a:buNone/>
                        <a:tabLst/>
                      </a:pPr>
                      <a:r>
                        <a:rPr kumimoji="0" lang="en-IE" altLang="en-US" sz="1400" b="1" i="0" u="none" strike="noStrike" cap="none" normalizeH="0" baseline="0" dirty="0">
                          <a:ln>
                            <a:noFill/>
                          </a:ln>
                          <a:solidFill>
                            <a:srgbClr val="042440"/>
                          </a:solidFill>
                          <a:effectLst/>
                          <a:latin typeface="Bower"/>
                          <a:cs typeface="Arial" panose="020B0604020202020204" pitchFamily="34" charset="0"/>
                        </a:rPr>
                        <a:t>Hard Benefits: </a:t>
                      </a:r>
                      <a:r>
                        <a:rPr kumimoji="0" lang="en-IE" altLang="en-US" sz="1400" b="0" i="0" u="none" strike="noStrike" cap="none" normalizeH="0" baseline="0" dirty="0">
                          <a:ln>
                            <a:noFill/>
                          </a:ln>
                          <a:solidFill>
                            <a:srgbClr val="042440"/>
                          </a:solidFill>
                          <a:effectLst/>
                          <a:latin typeface="Bower"/>
                          <a:cs typeface="Arial" panose="020B0604020202020204" pitchFamily="34" charset="0"/>
                        </a:rPr>
                        <a:t>Increased revenue, improved efficiency</a:t>
                      </a:r>
                    </a:p>
                    <a:p>
                      <a:pPr marL="0" marR="0" lvl="0" indent="0" algn="l" defTabSz="914400" rtl="0" eaLnBrk="1" fontAlgn="base" latinLnBrk="0" hangingPunct="1">
                        <a:lnSpc>
                          <a:spcPct val="104000"/>
                        </a:lnSpc>
                        <a:spcBef>
                          <a:spcPct val="20000"/>
                        </a:spcBef>
                        <a:spcAft>
                          <a:spcPct val="0"/>
                        </a:spcAft>
                        <a:buClr>
                          <a:srgbClr val="3C73C6"/>
                        </a:buClr>
                        <a:buSzTx/>
                        <a:buFont typeface="Wingdings" panose="05000000000000000000" pitchFamily="2" charset="2"/>
                        <a:buNone/>
                        <a:tabLst/>
                      </a:pPr>
                      <a:r>
                        <a:rPr kumimoji="0" lang="en-IE" altLang="en-US" sz="1400" b="1" i="0" u="none" strike="noStrike" cap="none" normalizeH="0" baseline="0" dirty="0">
                          <a:ln>
                            <a:noFill/>
                          </a:ln>
                          <a:solidFill>
                            <a:srgbClr val="042440"/>
                          </a:solidFill>
                          <a:effectLst/>
                          <a:latin typeface="Bower"/>
                          <a:cs typeface="Arial" panose="020B0604020202020204" pitchFamily="34" charset="0"/>
                        </a:rPr>
                        <a:t>Soft Benefits:  </a:t>
                      </a:r>
                      <a:r>
                        <a:rPr kumimoji="0" lang="en-IE" altLang="en-US" sz="1400" b="0" i="0" u="none" strike="noStrike" cap="none" normalizeH="0" baseline="0" dirty="0">
                          <a:ln>
                            <a:noFill/>
                          </a:ln>
                          <a:solidFill>
                            <a:srgbClr val="042440"/>
                          </a:solidFill>
                          <a:effectLst/>
                          <a:latin typeface="Bower"/>
                          <a:cs typeface="Arial" panose="020B0604020202020204" pitchFamily="34" charset="0"/>
                        </a:rPr>
                        <a:t>More bids, customer retention</a:t>
                      </a:r>
                    </a:p>
                    <a:p>
                      <a:pPr marL="0" marR="0" lvl="0" indent="0" algn="l" defTabSz="914400" rtl="0" eaLnBrk="1" fontAlgn="base" latinLnBrk="0" hangingPunct="1">
                        <a:lnSpc>
                          <a:spcPct val="104000"/>
                        </a:lnSpc>
                        <a:spcBef>
                          <a:spcPct val="20000"/>
                        </a:spcBef>
                        <a:spcAft>
                          <a:spcPct val="0"/>
                        </a:spcAft>
                        <a:buClr>
                          <a:srgbClr val="3C73C6"/>
                        </a:buClr>
                        <a:buSzTx/>
                        <a:buFont typeface="Wingdings" panose="05000000000000000000" pitchFamily="2" charset="2"/>
                        <a:buNone/>
                        <a:tabLst/>
                      </a:pPr>
                      <a:r>
                        <a:rPr kumimoji="0" lang="en-IE" altLang="en-US" sz="1400" b="1" i="0" u="none" strike="noStrike" cap="none" normalizeH="0" baseline="0" dirty="0">
                          <a:ln>
                            <a:noFill/>
                          </a:ln>
                          <a:solidFill>
                            <a:srgbClr val="042440"/>
                          </a:solidFill>
                          <a:effectLst/>
                          <a:latin typeface="Bower"/>
                          <a:cs typeface="Arial" panose="020B0604020202020204" pitchFamily="34" charset="0"/>
                        </a:rPr>
                        <a:t>Strategic Benefits: </a:t>
                      </a:r>
                      <a:r>
                        <a:rPr kumimoji="0" lang="en-IE" altLang="en-US" sz="1400" b="0" i="0" u="none" strike="noStrike" cap="none" normalizeH="0" baseline="0" dirty="0">
                          <a:ln>
                            <a:noFill/>
                          </a:ln>
                          <a:solidFill>
                            <a:srgbClr val="042440"/>
                          </a:solidFill>
                          <a:effectLst/>
                          <a:latin typeface="Bower"/>
                          <a:cs typeface="Arial" panose="020B0604020202020204" pitchFamily="34" charset="0"/>
                        </a:rPr>
                        <a:t>Company growth due to large customer (Scalable)</a:t>
                      </a:r>
                      <a:endParaRPr kumimoji="0" lang="en-US" altLang="en-US" sz="1400" b="0" i="0" u="none" strike="noStrike" cap="none" normalizeH="0" baseline="0" dirty="0">
                        <a:ln>
                          <a:noFill/>
                        </a:ln>
                        <a:solidFill>
                          <a:srgbClr val="042440"/>
                        </a:solidFill>
                        <a:effectLst/>
                        <a:latin typeface="Bower"/>
                        <a:cs typeface="Arial" panose="020B0604020202020204" pitchFamily="34" charset="0"/>
                      </a:endParaRPr>
                    </a:p>
                  </a:txBody>
                  <a:tcPr marL="68580" marR="68580" marT="34280" marB="3428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solidFill>
                  </a:tcPr>
                </a:tc>
                <a:tc rowSpan="2" hMerge="1">
                  <a:txBody>
                    <a:bodyPr/>
                    <a:lstStyle/>
                    <a:p>
                      <a:endParaRPr lang="en-US"/>
                    </a:p>
                  </a:txBody>
                  <a:tcPr/>
                </a:tc>
                <a:tc rowSpan="2">
                  <a:txBody>
                    <a:bodyPr/>
                    <a:lstStyle>
                      <a:lvl1pPr>
                        <a:lnSpc>
                          <a:spcPct val="104000"/>
                        </a:lnSpc>
                        <a:spcBef>
                          <a:spcPct val="20000"/>
                        </a:spcBef>
                        <a:buClr>
                          <a:srgbClr val="3C73C6"/>
                        </a:buClr>
                        <a:buFont typeface="Wingdings" panose="05000000000000000000" pitchFamily="2" charset="2"/>
                        <a:defRPr>
                          <a:solidFill>
                            <a:schemeClr val="tx1"/>
                          </a:solidFill>
                          <a:latin typeface="Arial" panose="020B0604020202020204" pitchFamily="34" charset="0"/>
                          <a:cs typeface="Arial" panose="020B0604020202020204" pitchFamily="34" charset="0"/>
                        </a:defRPr>
                      </a:lvl1pPr>
                      <a:lvl2pPr marL="465138">
                        <a:lnSpc>
                          <a:spcPct val="104000"/>
                        </a:lnSpc>
                        <a:spcBef>
                          <a:spcPct val="20000"/>
                        </a:spcBef>
                        <a:buClr>
                          <a:srgbClr val="3C73C6"/>
                        </a:buClr>
                        <a:buFont typeface="Times New Roman" panose="02020603050405020304" pitchFamily="18" charset="0"/>
                        <a:defRPr sz="1600">
                          <a:solidFill>
                            <a:schemeClr val="tx1"/>
                          </a:solidFill>
                          <a:latin typeface="Arial" panose="020B0604020202020204" pitchFamily="34" charset="0"/>
                          <a:cs typeface="Arial" panose="020B0604020202020204" pitchFamily="34" charset="0"/>
                        </a:defRPr>
                      </a:lvl2pPr>
                      <a:lvl3pPr>
                        <a:lnSpc>
                          <a:spcPct val="104000"/>
                        </a:lnSpc>
                        <a:spcBef>
                          <a:spcPct val="20000"/>
                        </a:spcBef>
                        <a:buClr>
                          <a:srgbClr val="3C73C6"/>
                        </a:buClr>
                        <a:buFont typeface="Times New Roman" panose="02020603050405020304" pitchFamily="18" charset="0"/>
                        <a:defRPr sz="1400">
                          <a:solidFill>
                            <a:schemeClr val="tx1"/>
                          </a:solidFill>
                          <a:latin typeface="Arial" panose="020B0604020202020204" pitchFamily="34" charset="0"/>
                          <a:cs typeface="Arial" panose="020B0604020202020204" pitchFamily="34" charset="0"/>
                        </a:defRPr>
                      </a:lvl3pPr>
                      <a:lvl4pPr>
                        <a:lnSpc>
                          <a:spcPct val="104000"/>
                        </a:lnSpc>
                        <a:spcBef>
                          <a:spcPct val="20000"/>
                        </a:spcBef>
                        <a:buClr>
                          <a:srgbClr val="3C73C6"/>
                        </a:buClr>
                        <a:buFont typeface="Times New Roman" panose="02020603050405020304" pitchFamily="18" charset="0"/>
                        <a:defRPr sz="1200">
                          <a:solidFill>
                            <a:schemeClr val="tx1"/>
                          </a:solidFill>
                          <a:latin typeface="Arial" panose="020B0604020202020204" pitchFamily="34" charset="0"/>
                          <a:cs typeface="Arial" panose="020B0604020202020204" pitchFamily="34" charset="0"/>
                        </a:defRPr>
                      </a:lvl4pPr>
                      <a:lvl5pPr>
                        <a:lnSpc>
                          <a:spcPct val="104000"/>
                        </a:lnSpc>
                        <a:spcBef>
                          <a:spcPct val="20000"/>
                        </a:spcBef>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5pPr>
                      <a:lvl6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6pPr>
                      <a:lvl7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7pPr>
                      <a:lvl8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8pPr>
                      <a:lvl9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4000"/>
                        </a:lnSpc>
                        <a:spcBef>
                          <a:spcPct val="20000"/>
                        </a:spcBef>
                        <a:spcAft>
                          <a:spcPct val="0"/>
                        </a:spcAft>
                        <a:buClr>
                          <a:srgbClr val="3C73C6"/>
                        </a:buClr>
                        <a:buSzTx/>
                        <a:buFont typeface="Wingdings" panose="05000000000000000000" pitchFamily="2" charset="2"/>
                        <a:buNone/>
                        <a:tabLst/>
                      </a:pPr>
                      <a:r>
                        <a:rPr kumimoji="0" lang="en-US" altLang="en-US" sz="1400" b="1" i="0" u="sng" strike="noStrike" cap="none" normalizeH="0" baseline="0" dirty="0">
                          <a:ln>
                            <a:noFill/>
                          </a:ln>
                          <a:solidFill>
                            <a:schemeClr val="accent5">
                              <a:lumMod val="75000"/>
                            </a:schemeClr>
                          </a:solidFill>
                          <a:effectLst/>
                          <a:latin typeface="Bower"/>
                          <a:cs typeface="Arial" panose="020B0604020202020204" pitchFamily="34" charset="0"/>
                        </a:rPr>
                        <a:t>$90 million</a:t>
                      </a:r>
                    </a:p>
                  </a:txBody>
                  <a:tcPr marL="68580" marR="68580" marT="34280" marB="3428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3501473758"/>
                  </a:ext>
                </a:extLst>
              </a:tr>
              <a:tr h="564448">
                <a:tc>
                  <a:txBody>
                    <a:bodyPr/>
                    <a:lstStyle>
                      <a:lvl1pPr>
                        <a:lnSpc>
                          <a:spcPct val="104000"/>
                        </a:lnSpc>
                        <a:spcBef>
                          <a:spcPct val="20000"/>
                        </a:spcBef>
                        <a:buClr>
                          <a:srgbClr val="3C73C6"/>
                        </a:buClr>
                        <a:buFont typeface="Wingdings" panose="05000000000000000000" pitchFamily="2" charset="2"/>
                        <a:defRPr>
                          <a:solidFill>
                            <a:schemeClr val="tx1"/>
                          </a:solidFill>
                          <a:latin typeface="Arial" panose="020B0604020202020204" pitchFamily="34" charset="0"/>
                          <a:cs typeface="Arial" panose="020B0604020202020204" pitchFamily="34" charset="0"/>
                        </a:defRPr>
                      </a:lvl1pPr>
                      <a:lvl2pPr marL="465138">
                        <a:lnSpc>
                          <a:spcPct val="104000"/>
                        </a:lnSpc>
                        <a:spcBef>
                          <a:spcPct val="20000"/>
                        </a:spcBef>
                        <a:buClr>
                          <a:srgbClr val="3C73C6"/>
                        </a:buClr>
                        <a:buFont typeface="Times New Roman" panose="02020603050405020304" pitchFamily="18" charset="0"/>
                        <a:defRPr sz="1600">
                          <a:solidFill>
                            <a:schemeClr val="tx1"/>
                          </a:solidFill>
                          <a:latin typeface="Arial" panose="020B0604020202020204" pitchFamily="34" charset="0"/>
                          <a:cs typeface="Arial" panose="020B0604020202020204" pitchFamily="34" charset="0"/>
                        </a:defRPr>
                      </a:lvl2pPr>
                      <a:lvl3pPr>
                        <a:lnSpc>
                          <a:spcPct val="104000"/>
                        </a:lnSpc>
                        <a:spcBef>
                          <a:spcPct val="20000"/>
                        </a:spcBef>
                        <a:buClr>
                          <a:srgbClr val="3C73C6"/>
                        </a:buClr>
                        <a:buFont typeface="Times New Roman" panose="02020603050405020304" pitchFamily="18" charset="0"/>
                        <a:defRPr sz="1400">
                          <a:solidFill>
                            <a:schemeClr val="tx1"/>
                          </a:solidFill>
                          <a:latin typeface="Arial" panose="020B0604020202020204" pitchFamily="34" charset="0"/>
                          <a:cs typeface="Arial" panose="020B0604020202020204" pitchFamily="34" charset="0"/>
                        </a:defRPr>
                      </a:lvl3pPr>
                      <a:lvl4pPr>
                        <a:lnSpc>
                          <a:spcPct val="104000"/>
                        </a:lnSpc>
                        <a:spcBef>
                          <a:spcPct val="20000"/>
                        </a:spcBef>
                        <a:buClr>
                          <a:srgbClr val="3C73C6"/>
                        </a:buClr>
                        <a:buFont typeface="Times New Roman" panose="02020603050405020304" pitchFamily="18" charset="0"/>
                        <a:defRPr sz="1200">
                          <a:solidFill>
                            <a:schemeClr val="tx1"/>
                          </a:solidFill>
                          <a:latin typeface="Arial" panose="020B0604020202020204" pitchFamily="34" charset="0"/>
                          <a:cs typeface="Arial" panose="020B0604020202020204" pitchFamily="34" charset="0"/>
                        </a:defRPr>
                      </a:lvl4pPr>
                      <a:lvl5pPr>
                        <a:lnSpc>
                          <a:spcPct val="104000"/>
                        </a:lnSpc>
                        <a:spcBef>
                          <a:spcPct val="20000"/>
                        </a:spcBef>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5pPr>
                      <a:lvl6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6pPr>
                      <a:lvl7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7pPr>
                      <a:lvl8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8pPr>
                      <a:lvl9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4000"/>
                        </a:lnSpc>
                        <a:spcBef>
                          <a:spcPct val="20000"/>
                        </a:spcBef>
                        <a:spcAft>
                          <a:spcPct val="0"/>
                        </a:spcAft>
                        <a:buClr>
                          <a:srgbClr val="3C73C6"/>
                        </a:buClr>
                        <a:buSzTx/>
                        <a:buFont typeface="Wingdings" panose="05000000000000000000" pitchFamily="2" charset="2"/>
                        <a:buNone/>
                        <a:tabLst/>
                      </a:pPr>
                      <a:r>
                        <a:rPr kumimoji="0" lang="en-US" altLang="en-US" sz="1400" b="1" i="0" u="none" strike="noStrike" cap="none" normalizeH="0" baseline="0" dirty="0">
                          <a:ln>
                            <a:noFill/>
                          </a:ln>
                          <a:solidFill>
                            <a:srgbClr val="042440"/>
                          </a:solidFill>
                          <a:effectLst/>
                          <a:latin typeface="Bower"/>
                          <a:cs typeface="Arial" panose="020B0604020202020204" pitchFamily="34" charset="0"/>
                        </a:rPr>
                        <a:t>Control</a:t>
                      </a:r>
                    </a:p>
                  </a:txBody>
                  <a:tcPr marL="68580" marR="68580" marT="34280" marB="34280" anchor="ctr" horzOverflow="overflow">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solidFill>
                      <a:schemeClr val="tx2"/>
                    </a:solidFill>
                  </a:tcPr>
                </a:tc>
                <a:tc>
                  <a:txBody>
                    <a:bodyPr/>
                    <a:lstStyle>
                      <a:lvl1pPr>
                        <a:lnSpc>
                          <a:spcPct val="104000"/>
                        </a:lnSpc>
                        <a:spcBef>
                          <a:spcPct val="20000"/>
                        </a:spcBef>
                        <a:buClr>
                          <a:srgbClr val="3C73C6"/>
                        </a:buClr>
                        <a:buFont typeface="Wingdings" panose="05000000000000000000" pitchFamily="2" charset="2"/>
                        <a:defRPr>
                          <a:solidFill>
                            <a:schemeClr val="tx1"/>
                          </a:solidFill>
                          <a:latin typeface="Arial" panose="020B0604020202020204" pitchFamily="34" charset="0"/>
                          <a:cs typeface="Arial" panose="020B0604020202020204" pitchFamily="34" charset="0"/>
                        </a:defRPr>
                      </a:lvl1pPr>
                      <a:lvl2pPr marL="465138">
                        <a:lnSpc>
                          <a:spcPct val="104000"/>
                        </a:lnSpc>
                        <a:spcBef>
                          <a:spcPct val="20000"/>
                        </a:spcBef>
                        <a:buClr>
                          <a:srgbClr val="3C73C6"/>
                        </a:buClr>
                        <a:buFont typeface="Times New Roman" panose="02020603050405020304" pitchFamily="18" charset="0"/>
                        <a:defRPr sz="1600">
                          <a:solidFill>
                            <a:schemeClr val="tx1"/>
                          </a:solidFill>
                          <a:latin typeface="Arial" panose="020B0604020202020204" pitchFamily="34" charset="0"/>
                          <a:cs typeface="Arial" panose="020B0604020202020204" pitchFamily="34" charset="0"/>
                        </a:defRPr>
                      </a:lvl2pPr>
                      <a:lvl3pPr>
                        <a:lnSpc>
                          <a:spcPct val="104000"/>
                        </a:lnSpc>
                        <a:spcBef>
                          <a:spcPct val="20000"/>
                        </a:spcBef>
                        <a:buClr>
                          <a:srgbClr val="3C73C6"/>
                        </a:buClr>
                        <a:buFont typeface="Times New Roman" panose="02020603050405020304" pitchFamily="18" charset="0"/>
                        <a:defRPr sz="1400">
                          <a:solidFill>
                            <a:schemeClr val="tx1"/>
                          </a:solidFill>
                          <a:latin typeface="Arial" panose="020B0604020202020204" pitchFamily="34" charset="0"/>
                          <a:cs typeface="Arial" panose="020B0604020202020204" pitchFamily="34" charset="0"/>
                        </a:defRPr>
                      </a:lvl3pPr>
                      <a:lvl4pPr>
                        <a:lnSpc>
                          <a:spcPct val="104000"/>
                        </a:lnSpc>
                        <a:spcBef>
                          <a:spcPct val="20000"/>
                        </a:spcBef>
                        <a:buClr>
                          <a:srgbClr val="3C73C6"/>
                        </a:buClr>
                        <a:buFont typeface="Times New Roman" panose="02020603050405020304" pitchFamily="18" charset="0"/>
                        <a:defRPr sz="1200">
                          <a:solidFill>
                            <a:schemeClr val="tx1"/>
                          </a:solidFill>
                          <a:latin typeface="Arial" panose="020B0604020202020204" pitchFamily="34" charset="0"/>
                          <a:cs typeface="Arial" panose="020B0604020202020204" pitchFamily="34" charset="0"/>
                        </a:defRPr>
                      </a:lvl4pPr>
                      <a:lvl5pPr>
                        <a:lnSpc>
                          <a:spcPct val="104000"/>
                        </a:lnSpc>
                        <a:spcBef>
                          <a:spcPct val="20000"/>
                        </a:spcBef>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5pPr>
                      <a:lvl6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6pPr>
                      <a:lvl7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7pPr>
                      <a:lvl8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8pPr>
                      <a:lvl9pPr fontAlgn="base">
                        <a:lnSpc>
                          <a:spcPct val="104000"/>
                        </a:lnSpc>
                        <a:spcBef>
                          <a:spcPct val="20000"/>
                        </a:spcBef>
                        <a:spcAft>
                          <a:spcPct val="0"/>
                        </a:spcAft>
                        <a:buClr>
                          <a:srgbClr val="3C73C6"/>
                        </a:buClr>
                        <a:buFont typeface="Times New Roman" panose="02020603050405020304" pitchFamily="18" charset="0"/>
                        <a:defRPr sz="1000">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4000"/>
                        </a:lnSpc>
                        <a:spcBef>
                          <a:spcPct val="20000"/>
                        </a:spcBef>
                        <a:spcAft>
                          <a:spcPct val="0"/>
                        </a:spcAft>
                        <a:buClr>
                          <a:srgbClr val="3C73C6"/>
                        </a:buClr>
                        <a:buSzTx/>
                        <a:buFont typeface="Wingdings" panose="05000000000000000000" pitchFamily="2" charset="2"/>
                        <a:buNone/>
                        <a:tabLst/>
                      </a:pPr>
                      <a:r>
                        <a:rPr kumimoji="0" lang="en-US" altLang="en-US" sz="1400" b="1" i="0" u="none" strike="noStrike" cap="none" normalizeH="0" baseline="0" dirty="0">
                          <a:ln>
                            <a:noFill/>
                          </a:ln>
                          <a:solidFill>
                            <a:schemeClr val="tx1"/>
                          </a:solidFill>
                          <a:effectLst/>
                          <a:latin typeface="Bower"/>
                          <a:cs typeface="Arial" panose="020B0604020202020204" pitchFamily="34" charset="0"/>
                        </a:rPr>
                        <a:t>12/06 – 12/10</a:t>
                      </a:r>
                    </a:p>
                  </a:txBody>
                  <a:tcPr marL="68580" marR="68580" marT="34280" marB="34280" anchor="ctr" horzOverflow="overflow">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a:noFill/>
                    </a:lnTlToBr>
                    <a:lnBlToTr>
                      <a:noFill/>
                    </a:lnBlToTr>
                    <a:solidFill>
                      <a:schemeClr val="tx2"/>
                    </a:solidFill>
                  </a:tcPr>
                </a:tc>
                <a:tc gridSpan="2" vMerge="1">
                  <a:txBody>
                    <a:bodyPr/>
                    <a:lstStyle/>
                    <a:p>
                      <a:endParaRPr lang="en-US"/>
                    </a:p>
                  </a:txBody>
                  <a:tcPr/>
                </a:tc>
                <a:tc hMerge="1" vMerge="1">
                  <a:txBody>
                    <a:bodyPr/>
                    <a:lstStyle/>
                    <a:p>
                      <a:endParaRPr lang="en-US"/>
                    </a:p>
                  </a:txBody>
                  <a:tcPr/>
                </a:tc>
                <a:tc vMerge="1">
                  <a:txBody>
                    <a:bodyPr/>
                    <a:lstStyle/>
                    <a:p>
                      <a:endParaRPr lang="en-US"/>
                    </a:p>
                  </a:txBody>
                  <a:tcPr/>
                </a:tc>
                <a:extLst>
                  <a:ext uri="{0D108BD9-81ED-4DB2-BD59-A6C34878D82A}">
                    <a16:rowId xmlns:a16="http://schemas.microsoft.com/office/drawing/2014/main" val="2286548429"/>
                  </a:ext>
                </a:extLst>
              </a:tr>
            </a:tbl>
          </a:graphicData>
        </a:graphic>
      </p:graphicFrame>
    </p:spTree>
    <p:extLst>
      <p:ext uri="{BB962C8B-B14F-4D97-AF65-F5344CB8AC3E}">
        <p14:creationId xmlns:p14="http://schemas.microsoft.com/office/powerpoint/2010/main" val="74500577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90">
          <a:extLst>
            <a:ext uri="{FF2B5EF4-FFF2-40B4-BE49-F238E27FC236}">
              <a16:creationId xmlns:a16="http://schemas.microsoft.com/office/drawing/2014/main" id="{75D4F952-768E-69D9-BA00-14188FD17C9B}"/>
            </a:ext>
          </a:extLst>
        </p:cNvPr>
        <p:cNvGrpSpPr/>
        <p:nvPr/>
      </p:nvGrpSpPr>
      <p:grpSpPr>
        <a:xfrm>
          <a:off x="0" y="0"/>
          <a:ext cx="0" cy="0"/>
          <a:chOff x="0" y="0"/>
          <a:chExt cx="0" cy="0"/>
        </a:xfrm>
      </p:grpSpPr>
      <p:sp>
        <p:nvSpPr>
          <p:cNvPr id="191" name="Google Shape;191;p34">
            <a:extLst>
              <a:ext uri="{FF2B5EF4-FFF2-40B4-BE49-F238E27FC236}">
                <a16:creationId xmlns:a16="http://schemas.microsoft.com/office/drawing/2014/main" id="{8B52341F-2E3F-C678-AEB0-8BD3F745D349}"/>
              </a:ext>
            </a:extLst>
          </p:cNvPr>
          <p:cNvSpPr txBox="1">
            <a:spLocks noGrp="1"/>
          </p:cNvSpPr>
          <p:nvPr>
            <p:ph type="title"/>
          </p:nvPr>
        </p:nvSpPr>
        <p:spPr>
          <a:xfrm>
            <a:off x="547703" y="180612"/>
            <a:ext cx="10160000" cy="731600"/>
          </a:xfrm>
          <a:prstGeom prst="rect">
            <a:avLst/>
          </a:prstGeom>
          <a:noFill/>
          <a:ln>
            <a:noFill/>
          </a:ln>
        </p:spPr>
        <p:txBody>
          <a:bodyPr spcFirstLastPara="1" vert="horz" wrap="square" lIns="0" tIns="0" rIns="0" bIns="0" rtlCol="0" anchor="b" anchorCtr="0">
            <a:noAutofit/>
          </a:bodyPr>
          <a:lstStyle/>
          <a:p>
            <a:pPr>
              <a:spcBef>
                <a:spcPts val="0"/>
              </a:spcBef>
              <a:buClr>
                <a:srgbClr val="00341B"/>
              </a:buClr>
              <a:buSzPts val="2100"/>
            </a:pPr>
            <a:r>
              <a:rPr lang="en" sz="2800">
                <a:solidFill>
                  <a:srgbClr val="00341B"/>
                </a:solidFill>
              </a:rPr>
              <a:t>Process Map</a:t>
            </a:r>
            <a:endParaRPr/>
          </a:p>
        </p:txBody>
      </p:sp>
      <p:cxnSp>
        <p:nvCxnSpPr>
          <p:cNvPr id="192" name="Google Shape;192;p34">
            <a:extLst>
              <a:ext uri="{FF2B5EF4-FFF2-40B4-BE49-F238E27FC236}">
                <a16:creationId xmlns:a16="http://schemas.microsoft.com/office/drawing/2014/main" id="{66ADBA13-D1E6-098B-DF51-2B7C5CEC195E}"/>
              </a:ext>
            </a:extLst>
          </p:cNvPr>
          <p:cNvCxnSpPr/>
          <p:nvPr/>
        </p:nvCxnSpPr>
        <p:spPr>
          <a:xfrm>
            <a:off x="1600200" y="6553200"/>
            <a:ext cx="8892208" cy="0"/>
          </a:xfrm>
          <a:prstGeom prst="straightConnector1">
            <a:avLst/>
          </a:prstGeom>
          <a:noFill/>
          <a:ln w="38100" cap="flat" cmpd="sng">
            <a:solidFill>
              <a:srgbClr val="00550B">
                <a:alpha val="49803"/>
              </a:srgbClr>
            </a:solidFill>
            <a:prstDash val="solid"/>
            <a:round/>
            <a:headEnd type="none" w="sm" len="sm"/>
            <a:tailEnd type="none" w="sm" len="sm"/>
          </a:ln>
        </p:spPr>
      </p:cxnSp>
      <p:pic>
        <p:nvPicPr>
          <p:cNvPr id="194" name="Google Shape;194;p34">
            <a:extLst>
              <a:ext uri="{FF2B5EF4-FFF2-40B4-BE49-F238E27FC236}">
                <a16:creationId xmlns:a16="http://schemas.microsoft.com/office/drawing/2014/main" id="{1E934C04-860A-C54E-7506-A8D599539D4C}"/>
              </a:ext>
            </a:extLst>
          </p:cNvPr>
          <p:cNvPicPr preferRelativeResize="0"/>
          <p:nvPr/>
        </p:nvPicPr>
        <p:blipFill>
          <a:blip r:embed="rId3">
            <a:alphaModFix/>
          </a:blip>
          <a:stretch>
            <a:fillRect/>
          </a:stretch>
        </p:blipFill>
        <p:spPr>
          <a:xfrm>
            <a:off x="554734" y="1150701"/>
            <a:ext cx="11103868" cy="5163935"/>
          </a:xfrm>
          <a:prstGeom prst="rect">
            <a:avLst/>
          </a:prstGeom>
          <a:noFill/>
          <a:ln>
            <a:noFill/>
          </a:ln>
        </p:spPr>
      </p:pic>
      <p:pic>
        <p:nvPicPr>
          <p:cNvPr id="195" name="Google Shape;195;p34">
            <a:extLst>
              <a:ext uri="{FF2B5EF4-FFF2-40B4-BE49-F238E27FC236}">
                <a16:creationId xmlns:a16="http://schemas.microsoft.com/office/drawing/2014/main" id="{73F8715B-CE94-9D14-682E-FE1874DE737B}"/>
              </a:ext>
            </a:extLst>
          </p:cNvPr>
          <p:cNvPicPr preferRelativeResize="0"/>
          <p:nvPr/>
        </p:nvPicPr>
        <p:blipFill>
          <a:blip r:embed="rId4">
            <a:alphaModFix/>
          </a:blip>
          <a:stretch>
            <a:fillRect/>
          </a:stretch>
        </p:blipFill>
        <p:spPr>
          <a:xfrm>
            <a:off x="6096000" y="420034"/>
            <a:ext cx="4350432" cy="549533"/>
          </a:xfrm>
          <a:prstGeom prst="rect">
            <a:avLst/>
          </a:prstGeom>
          <a:noFill/>
          <a:ln>
            <a:noFill/>
          </a:ln>
        </p:spPr>
      </p:pic>
      <p:sp>
        <p:nvSpPr>
          <p:cNvPr id="196" name="Google Shape;196;p34">
            <a:extLst>
              <a:ext uri="{FF2B5EF4-FFF2-40B4-BE49-F238E27FC236}">
                <a16:creationId xmlns:a16="http://schemas.microsoft.com/office/drawing/2014/main" id="{F8F91FB5-61C3-3ACD-D73F-15482A243C01}"/>
              </a:ext>
            </a:extLst>
          </p:cNvPr>
          <p:cNvSpPr txBox="1"/>
          <p:nvPr/>
        </p:nvSpPr>
        <p:spPr>
          <a:xfrm>
            <a:off x="1970433" y="1331667"/>
            <a:ext cx="755600" cy="232400"/>
          </a:xfrm>
          <a:prstGeom prst="rect">
            <a:avLst/>
          </a:prstGeom>
          <a:noFill/>
          <a:ln>
            <a:noFill/>
          </a:ln>
        </p:spPr>
        <p:txBody>
          <a:bodyPr spcFirstLastPara="1" wrap="square" lIns="121900" tIns="121900" rIns="121900" bIns="121900" anchor="t" anchorCtr="0">
            <a:noAutofit/>
          </a:bodyPr>
          <a:lstStyle/>
          <a:p>
            <a:r>
              <a:rPr lang="en" sz="1600" b="1">
                <a:solidFill>
                  <a:srgbClr val="275C26"/>
                </a:solidFill>
              </a:rPr>
              <a:t>1.9</a:t>
            </a:r>
            <a:endParaRPr sz="1600" b="1">
              <a:solidFill>
                <a:srgbClr val="275C26"/>
              </a:solidFill>
            </a:endParaRPr>
          </a:p>
        </p:txBody>
      </p:sp>
      <p:sp>
        <p:nvSpPr>
          <p:cNvPr id="197" name="Google Shape;197;p34">
            <a:extLst>
              <a:ext uri="{FF2B5EF4-FFF2-40B4-BE49-F238E27FC236}">
                <a16:creationId xmlns:a16="http://schemas.microsoft.com/office/drawing/2014/main" id="{FC139730-3978-1AB6-F96D-AAEEABDD5841}"/>
              </a:ext>
            </a:extLst>
          </p:cNvPr>
          <p:cNvSpPr txBox="1"/>
          <p:nvPr/>
        </p:nvSpPr>
        <p:spPr>
          <a:xfrm>
            <a:off x="1271767" y="2415267"/>
            <a:ext cx="613200" cy="232400"/>
          </a:xfrm>
          <a:prstGeom prst="rect">
            <a:avLst/>
          </a:prstGeom>
          <a:noFill/>
          <a:ln>
            <a:noFill/>
          </a:ln>
        </p:spPr>
        <p:txBody>
          <a:bodyPr spcFirstLastPara="1" wrap="square" lIns="121900" tIns="121900" rIns="121900" bIns="121900" anchor="t" anchorCtr="0">
            <a:noAutofit/>
          </a:bodyPr>
          <a:lstStyle/>
          <a:p>
            <a:r>
              <a:rPr lang="en" sz="1600" b="1">
                <a:solidFill>
                  <a:schemeClr val="accent1"/>
                </a:solidFill>
              </a:rPr>
              <a:t>2.0</a:t>
            </a:r>
            <a:endParaRPr sz="1600" b="1">
              <a:solidFill>
                <a:schemeClr val="accent1"/>
              </a:solidFill>
            </a:endParaRPr>
          </a:p>
        </p:txBody>
      </p:sp>
      <p:sp>
        <p:nvSpPr>
          <p:cNvPr id="198" name="Google Shape;198;p34">
            <a:extLst>
              <a:ext uri="{FF2B5EF4-FFF2-40B4-BE49-F238E27FC236}">
                <a16:creationId xmlns:a16="http://schemas.microsoft.com/office/drawing/2014/main" id="{174639DC-093D-B238-31B7-5E749BB1A598}"/>
              </a:ext>
            </a:extLst>
          </p:cNvPr>
          <p:cNvSpPr txBox="1"/>
          <p:nvPr/>
        </p:nvSpPr>
        <p:spPr>
          <a:xfrm>
            <a:off x="5007300" y="2358233"/>
            <a:ext cx="755600" cy="232400"/>
          </a:xfrm>
          <a:prstGeom prst="rect">
            <a:avLst/>
          </a:prstGeom>
          <a:noFill/>
          <a:ln>
            <a:noFill/>
          </a:ln>
        </p:spPr>
        <p:txBody>
          <a:bodyPr spcFirstLastPara="1" wrap="square" lIns="121900" tIns="121900" rIns="121900" bIns="121900" anchor="t" anchorCtr="0">
            <a:noAutofit/>
          </a:bodyPr>
          <a:lstStyle/>
          <a:p>
            <a:r>
              <a:rPr lang="en" sz="1600" b="1">
                <a:solidFill>
                  <a:schemeClr val="accent1"/>
                </a:solidFill>
              </a:rPr>
              <a:t>3.1</a:t>
            </a:r>
            <a:endParaRPr sz="1600" b="1">
              <a:solidFill>
                <a:schemeClr val="accent1"/>
              </a:solidFill>
            </a:endParaRPr>
          </a:p>
        </p:txBody>
      </p:sp>
      <p:sp>
        <p:nvSpPr>
          <p:cNvPr id="199" name="Google Shape;199;p34">
            <a:extLst>
              <a:ext uri="{FF2B5EF4-FFF2-40B4-BE49-F238E27FC236}">
                <a16:creationId xmlns:a16="http://schemas.microsoft.com/office/drawing/2014/main" id="{440EECDE-7E02-CC63-1A3C-FDEC7C5E4915}"/>
              </a:ext>
            </a:extLst>
          </p:cNvPr>
          <p:cNvSpPr txBox="1"/>
          <p:nvPr/>
        </p:nvSpPr>
        <p:spPr>
          <a:xfrm>
            <a:off x="6632767" y="1816433"/>
            <a:ext cx="755600" cy="232400"/>
          </a:xfrm>
          <a:prstGeom prst="rect">
            <a:avLst/>
          </a:prstGeom>
          <a:noFill/>
          <a:ln>
            <a:noFill/>
          </a:ln>
        </p:spPr>
        <p:txBody>
          <a:bodyPr spcFirstLastPara="1" wrap="square" lIns="121900" tIns="121900" rIns="121900" bIns="121900" anchor="t" anchorCtr="0">
            <a:noAutofit/>
          </a:bodyPr>
          <a:lstStyle/>
          <a:p>
            <a:r>
              <a:rPr lang="en" sz="1600" b="1">
                <a:solidFill>
                  <a:schemeClr val="accent1"/>
                </a:solidFill>
              </a:rPr>
              <a:t>3.6</a:t>
            </a:r>
            <a:endParaRPr sz="1600" b="1">
              <a:solidFill>
                <a:schemeClr val="accent1"/>
              </a:solidFill>
            </a:endParaRPr>
          </a:p>
        </p:txBody>
      </p:sp>
      <p:sp>
        <p:nvSpPr>
          <p:cNvPr id="200" name="Google Shape;200;p34">
            <a:extLst>
              <a:ext uri="{FF2B5EF4-FFF2-40B4-BE49-F238E27FC236}">
                <a16:creationId xmlns:a16="http://schemas.microsoft.com/office/drawing/2014/main" id="{2164C9F5-76D7-6FDA-8E6F-F7AEB3FDFBE5}"/>
              </a:ext>
            </a:extLst>
          </p:cNvPr>
          <p:cNvSpPr txBox="1"/>
          <p:nvPr/>
        </p:nvSpPr>
        <p:spPr>
          <a:xfrm>
            <a:off x="6550767" y="3887400"/>
            <a:ext cx="613200" cy="232400"/>
          </a:xfrm>
          <a:prstGeom prst="rect">
            <a:avLst/>
          </a:prstGeom>
          <a:noFill/>
          <a:ln>
            <a:noFill/>
          </a:ln>
        </p:spPr>
        <p:txBody>
          <a:bodyPr spcFirstLastPara="1" wrap="square" lIns="121900" tIns="121900" rIns="121900" bIns="121900" anchor="t" anchorCtr="0">
            <a:noAutofit/>
          </a:bodyPr>
          <a:lstStyle/>
          <a:p>
            <a:r>
              <a:rPr lang="en" sz="1600" b="1">
                <a:solidFill>
                  <a:schemeClr val="accent1"/>
                </a:solidFill>
              </a:rPr>
              <a:t>2.0</a:t>
            </a:r>
            <a:endParaRPr sz="1600" b="1">
              <a:solidFill>
                <a:schemeClr val="accent1"/>
              </a:solidFill>
            </a:endParaRPr>
          </a:p>
        </p:txBody>
      </p:sp>
      <p:sp>
        <p:nvSpPr>
          <p:cNvPr id="201" name="Google Shape;201;p34">
            <a:extLst>
              <a:ext uri="{FF2B5EF4-FFF2-40B4-BE49-F238E27FC236}">
                <a16:creationId xmlns:a16="http://schemas.microsoft.com/office/drawing/2014/main" id="{B3F27D24-0913-7AFE-731B-DF353BDED114}"/>
              </a:ext>
            </a:extLst>
          </p:cNvPr>
          <p:cNvSpPr txBox="1"/>
          <p:nvPr/>
        </p:nvSpPr>
        <p:spPr>
          <a:xfrm>
            <a:off x="8158333" y="2171700"/>
            <a:ext cx="613200" cy="232400"/>
          </a:xfrm>
          <a:prstGeom prst="rect">
            <a:avLst/>
          </a:prstGeom>
          <a:noFill/>
          <a:ln>
            <a:noFill/>
          </a:ln>
        </p:spPr>
        <p:txBody>
          <a:bodyPr spcFirstLastPara="1" wrap="square" lIns="121900" tIns="121900" rIns="121900" bIns="121900" anchor="t" anchorCtr="0">
            <a:noAutofit/>
          </a:bodyPr>
          <a:lstStyle/>
          <a:p>
            <a:r>
              <a:rPr lang="en" sz="1600" b="1">
                <a:solidFill>
                  <a:schemeClr val="accent1"/>
                </a:solidFill>
              </a:rPr>
              <a:t>7.4</a:t>
            </a:r>
            <a:endParaRPr sz="1600" b="1">
              <a:solidFill>
                <a:schemeClr val="accent1"/>
              </a:solidFill>
            </a:endParaRPr>
          </a:p>
        </p:txBody>
      </p:sp>
      <p:sp>
        <p:nvSpPr>
          <p:cNvPr id="202" name="Google Shape;202;p34">
            <a:extLst>
              <a:ext uri="{FF2B5EF4-FFF2-40B4-BE49-F238E27FC236}">
                <a16:creationId xmlns:a16="http://schemas.microsoft.com/office/drawing/2014/main" id="{4CE67439-BB19-C6BE-04D0-6EDDA24DFEB9}"/>
              </a:ext>
            </a:extLst>
          </p:cNvPr>
          <p:cNvSpPr txBox="1"/>
          <p:nvPr/>
        </p:nvSpPr>
        <p:spPr>
          <a:xfrm>
            <a:off x="9412800" y="1331667"/>
            <a:ext cx="613200" cy="232400"/>
          </a:xfrm>
          <a:prstGeom prst="rect">
            <a:avLst/>
          </a:prstGeom>
          <a:noFill/>
          <a:ln>
            <a:noFill/>
          </a:ln>
        </p:spPr>
        <p:txBody>
          <a:bodyPr spcFirstLastPara="1" wrap="square" lIns="121900" tIns="121900" rIns="121900" bIns="121900" anchor="t" anchorCtr="0">
            <a:noAutofit/>
          </a:bodyPr>
          <a:lstStyle/>
          <a:p>
            <a:r>
              <a:rPr lang="en" sz="1600" b="1">
                <a:solidFill>
                  <a:schemeClr val="accent1"/>
                </a:solidFill>
              </a:rPr>
              <a:t>3.1</a:t>
            </a:r>
            <a:endParaRPr sz="1600" b="1">
              <a:solidFill>
                <a:schemeClr val="accent1"/>
              </a:solidFill>
            </a:endParaRPr>
          </a:p>
        </p:txBody>
      </p:sp>
      <p:sp>
        <p:nvSpPr>
          <p:cNvPr id="203" name="Google Shape;203;p34">
            <a:extLst>
              <a:ext uri="{FF2B5EF4-FFF2-40B4-BE49-F238E27FC236}">
                <a16:creationId xmlns:a16="http://schemas.microsoft.com/office/drawing/2014/main" id="{2D6E623E-39CC-2374-607C-CDC153462667}"/>
              </a:ext>
            </a:extLst>
          </p:cNvPr>
          <p:cNvSpPr txBox="1"/>
          <p:nvPr/>
        </p:nvSpPr>
        <p:spPr>
          <a:xfrm>
            <a:off x="10446433" y="1099267"/>
            <a:ext cx="613200" cy="232400"/>
          </a:xfrm>
          <a:prstGeom prst="rect">
            <a:avLst/>
          </a:prstGeom>
          <a:noFill/>
          <a:ln>
            <a:noFill/>
          </a:ln>
        </p:spPr>
        <p:txBody>
          <a:bodyPr spcFirstLastPara="1" wrap="square" lIns="121900" tIns="121900" rIns="121900" bIns="121900" anchor="t" anchorCtr="0">
            <a:noAutofit/>
          </a:bodyPr>
          <a:lstStyle/>
          <a:p>
            <a:r>
              <a:rPr lang="en" sz="1600" b="1">
                <a:solidFill>
                  <a:schemeClr val="accent1"/>
                </a:solidFill>
              </a:rPr>
              <a:t>2.0</a:t>
            </a:r>
            <a:endParaRPr sz="1600" b="1">
              <a:solidFill>
                <a:schemeClr val="accent1"/>
              </a:solidFill>
            </a:endParaRPr>
          </a:p>
        </p:txBody>
      </p:sp>
      <p:sp>
        <p:nvSpPr>
          <p:cNvPr id="204" name="Google Shape;204;p34">
            <a:extLst>
              <a:ext uri="{FF2B5EF4-FFF2-40B4-BE49-F238E27FC236}">
                <a16:creationId xmlns:a16="http://schemas.microsoft.com/office/drawing/2014/main" id="{483B847A-AC32-24DB-5FA2-F7FEF6261F0F}"/>
              </a:ext>
            </a:extLst>
          </p:cNvPr>
          <p:cNvSpPr txBox="1"/>
          <p:nvPr/>
        </p:nvSpPr>
        <p:spPr>
          <a:xfrm>
            <a:off x="9470000" y="1816433"/>
            <a:ext cx="556000" cy="232400"/>
          </a:xfrm>
          <a:prstGeom prst="rect">
            <a:avLst/>
          </a:prstGeom>
          <a:noFill/>
          <a:ln>
            <a:noFill/>
          </a:ln>
        </p:spPr>
        <p:txBody>
          <a:bodyPr spcFirstLastPara="1" wrap="square" lIns="121900" tIns="121900" rIns="121900" bIns="121900" anchor="t" anchorCtr="0">
            <a:noAutofit/>
          </a:bodyPr>
          <a:lstStyle/>
          <a:p>
            <a:r>
              <a:rPr lang="en" sz="1600" b="1">
                <a:solidFill>
                  <a:schemeClr val="accent1"/>
                </a:solidFill>
              </a:rPr>
              <a:t>6.5</a:t>
            </a:r>
            <a:endParaRPr sz="1600" b="1">
              <a:solidFill>
                <a:schemeClr val="accent1"/>
              </a:solidFill>
            </a:endParaRPr>
          </a:p>
        </p:txBody>
      </p:sp>
      <p:sp>
        <p:nvSpPr>
          <p:cNvPr id="2" name="Slide Number Placeholder 1"/>
          <p:cNvSpPr>
            <a:spLocks noGrp="1"/>
          </p:cNvSpPr>
          <p:nvPr>
            <p:ph type="sldNum" sz="quarter" idx="12"/>
          </p:nvPr>
        </p:nvSpPr>
        <p:spPr>
          <a:xfrm>
            <a:off x="11708922" y="6370637"/>
            <a:ext cx="457200" cy="365125"/>
          </a:xfrm>
        </p:spPr>
        <p:txBody>
          <a:bodyPr/>
          <a:lstStyle/>
          <a:p>
            <a:fld id="{B4792231-69F4-4F9D-9049-A1DDF7DEBE79}" type="slidenum">
              <a:rPr lang="en-US" smtClean="0"/>
              <a:t>5</a:t>
            </a:fld>
            <a:endParaRPr lang="en-US" dirty="0"/>
          </a:p>
        </p:txBody>
      </p:sp>
    </p:spTree>
    <p:extLst>
      <p:ext uri="{BB962C8B-B14F-4D97-AF65-F5344CB8AC3E}">
        <p14:creationId xmlns:p14="http://schemas.microsoft.com/office/powerpoint/2010/main" val="421599632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2336C6-44B6-68ED-9316-EC9A152D3DE4}"/>
              </a:ext>
            </a:extLst>
          </p:cNvPr>
          <p:cNvSpPr>
            <a:spLocks noGrp="1"/>
          </p:cNvSpPr>
          <p:nvPr>
            <p:ph type="title"/>
          </p:nvPr>
        </p:nvSpPr>
        <p:spPr>
          <a:xfrm>
            <a:off x="0" y="0"/>
            <a:ext cx="12192000" cy="6858000"/>
          </a:xfrm>
          <a:solidFill>
            <a:schemeClr val="accent1">
              <a:lumMod val="75000"/>
            </a:schemeClr>
          </a:solidFill>
        </p:spPr>
        <p:txBody>
          <a:bodyPr/>
          <a:lstStyle/>
          <a:p>
            <a:r>
              <a:rPr lang="en-US" dirty="0"/>
              <a:t/>
            </a:r>
            <a:br>
              <a:rPr lang="en-US" dirty="0"/>
            </a:br>
            <a:r>
              <a:rPr lang="en-US" dirty="0"/>
              <a:t/>
            </a:r>
            <a:br>
              <a:rPr lang="en-US" dirty="0"/>
            </a:br>
            <a:r>
              <a:rPr lang="en-US" dirty="0"/>
              <a:t/>
            </a:r>
            <a:br>
              <a:rPr lang="en-US" dirty="0"/>
            </a:br>
            <a:r>
              <a:rPr lang="en-US" dirty="0"/>
              <a:t/>
            </a:r>
            <a:br>
              <a:rPr lang="en-US" dirty="0"/>
            </a:br>
            <a:r>
              <a:rPr lang="en-US" dirty="0"/>
              <a:t/>
            </a:r>
            <a:br>
              <a:rPr lang="en-US" dirty="0"/>
            </a:br>
            <a:r>
              <a:rPr lang="en-US" dirty="0"/>
              <a:t/>
            </a:r>
            <a:br>
              <a:rPr lang="en-US" dirty="0"/>
            </a:br>
            <a:endParaRPr lang="en-US" dirty="0"/>
          </a:p>
        </p:txBody>
      </p:sp>
      <p:sp>
        <p:nvSpPr>
          <p:cNvPr id="4" name="Slide Number Placeholder 3">
            <a:extLst>
              <a:ext uri="{FF2B5EF4-FFF2-40B4-BE49-F238E27FC236}">
                <a16:creationId xmlns:a16="http://schemas.microsoft.com/office/drawing/2014/main" id="{0F0ADADE-3ACF-4A82-2F2B-B7BF6653D6C9}"/>
              </a:ext>
            </a:extLst>
          </p:cNvPr>
          <p:cNvSpPr>
            <a:spLocks noGrp="1"/>
          </p:cNvSpPr>
          <p:nvPr>
            <p:ph type="sldNum" sz="quarter" idx="12"/>
          </p:nvPr>
        </p:nvSpPr>
        <p:spPr>
          <a:xfrm>
            <a:off x="3581400" y="2895600"/>
            <a:ext cx="5715000" cy="762000"/>
          </a:xfrm>
        </p:spPr>
        <p:txBody>
          <a:bodyPr/>
          <a:lstStyle/>
          <a:p>
            <a:r>
              <a:rPr lang="en-US" sz="4000" b="1" dirty="0">
                <a:solidFill>
                  <a:schemeClr val="bg1"/>
                </a:solidFill>
              </a:rPr>
              <a:t>Quantitative Analysis</a:t>
            </a:r>
          </a:p>
        </p:txBody>
      </p:sp>
    </p:spTree>
    <p:extLst>
      <p:ext uri="{BB962C8B-B14F-4D97-AF65-F5344CB8AC3E}">
        <p14:creationId xmlns:p14="http://schemas.microsoft.com/office/powerpoint/2010/main" val="225688787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08"/>
        <p:cNvGrpSpPr/>
        <p:nvPr/>
      </p:nvGrpSpPr>
      <p:grpSpPr>
        <a:xfrm>
          <a:off x="0" y="0"/>
          <a:ext cx="0" cy="0"/>
          <a:chOff x="0" y="0"/>
          <a:chExt cx="0" cy="0"/>
        </a:xfrm>
      </p:grpSpPr>
      <p:sp>
        <p:nvSpPr>
          <p:cNvPr id="209" name="Google Shape;209;p35"/>
          <p:cNvSpPr txBox="1">
            <a:spLocks noGrp="1"/>
          </p:cNvSpPr>
          <p:nvPr>
            <p:ph type="title"/>
          </p:nvPr>
        </p:nvSpPr>
        <p:spPr>
          <a:xfrm>
            <a:off x="554737" y="132883"/>
            <a:ext cx="10160065" cy="731520"/>
          </a:xfrm>
          <a:prstGeom prst="rect">
            <a:avLst/>
          </a:prstGeom>
          <a:noFill/>
          <a:ln>
            <a:noFill/>
          </a:ln>
        </p:spPr>
        <p:txBody>
          <a:bodyPr spcFirstLastPara="1" vert="horz" wrap="square" lIns="0" tIns="0" rIns="0" bIns="0" rtlCol="0" anchor="b" anchorCtr="0">
            <a:noAutofit/>
          </a:bodyPr>
          <a:lstStyle/>
          <a:p>
            <a:pPr>
              <a:spcBef>
                <a:spcPts val="0"/>
              </a:spcBef>
              <a:buClr>
                <a:srgbClr val="00341B"/>
              </a:buClr>
              <a:buSzPts val="2100"/>
            </a:pPr>
            <a:r>
              <a:rPr lang="en" sz="2800" dirty="0">
                <a:solidFill>
                  <a:srgbClr val="00341B"/>
                </a:solidFill>
              </a:rPr>
              <a:t>Average Time For Each Step</a:t>
            </a:r>
            <a:endParaRPr dirty="0"/>
          </a:p>
        </p:txBody>
      </p:sp>
      <p:cxnSp>
        <p:nvCxnSpPr>
          <p:cNvPr id="210" name="Google Shape;210;p35"/>
          <p:cNvCxnSpPr/>
          <p:nvPr/>
        </p:nvCxnSpPr>
        <p:spPr>
          <a:xfrm>
            <a:off x="1600200" y="6553200"/>
            <a:ext cx="8892208" cy="0"/>
          </a:xfrm>
          <a:prstGeom prst="straightConnector1">
            <a:avLst/>
          </a:prstGeom>
          <a:noFill/>
          <a:ln w="38100" cap="flat" cmpd="sng">
            <a:solidFill>
              <a:srgbClr val="00550B">
                <a:alpha val="49803"/>
              </a:srgbClr>
            </a:solidFill>
            <a:prstDash val="solid"/>
            <a:round/>
            <a:headEnd type="none" w="sm" len="sm"/>
            <a:tailEnd type="none" w="sm" len="sm"/>
          </a:ln>
        </p:spPr>
      </p:cxnSp>
      <p:sp>
        <p:nvSpPr>
          <p:cNvPr id="212" name="Google Shape;212;p35"/>
          <p:cNvSpPr/>
          <p:nvPr/>
        </p:nvSpPr>
        <p:spPr>
          <a:xfrm>
            <a:off x="8305801" y="1524001"/>
            <a:ext cx="3481423" cy="2133593"/>
          </a:xfrm>
          <a:prstGeom prst="rect">
            <a:avLst/>
          </a:prstGeom>
          <a:noFill/>
          <a:ln>
            <a:noFill/>
          </a:ln>
        </p:spPr>
        <p:txBody>
          <a:bodyPr spcFirstLastPara="1" wrap="square" lIns="91433" tIns="45700" rIns="91433" bIns="45700" anchor="ctr" anchorCtr="0">
            <a:noAutofit/>
          </a:bodyPr>
          <a:lstStyle/>
          <a:p>
            <a:endParaRPr sz="1867">
              <a:solidFill>
                <a:schemeClr val="dk1"/>
              </a:solidFill>
              <a:latin typeface="Arial"/>
              <a:ea typeface="Arial"/>
              <a:cs typeface="Arial"/>
              <a:sym typeface="Arial"/>
            </a:endParaRPr>
          </a:p>
        </p:txBody>
      </p:sp>
      <p:sp>
        <p:nvSpPr>
          <p:cNvPr id="214" name="Google Shape;214;p35"/>
          <p:cNvSpPr txBox="1"/>
          <p:nvPr/>
        </p:nvSpPr>
        <p:spPr>
          <a:xfrm>
            <a:off x="1676400" y="1066800"/>
            <a:ext cx="5791200" cy="304800"/>
          </a:xfrm>
          <a:prstGeom prst="rect">
            <a:avLst/>
          </a:prstGeom>
          <a:noFill/>
          <a:ln>
            <a:noFill/>
          </a:ln>
        </p:spPr>
        <p:txBody>
          <a:bodyPr spcFirstLastPara="1" wrap="square" lIns="0" tIns="0" rIns="0" bIns="0" anchor="t" anchorCtr="0">
            <a:noAutofit/>
          </a:bodyPr>
          <a:lstStyle/>
          <a:p>
            <a:pPr>
              <a:buClr>
                <a:schemeClr val="dk1"/>
              </a:buClr>
              <a:buSzPts val="1200"/>
            </a:pPr>
            <a:endParaRPr sz="1600">
              <a:solidFill>
                <a:schemeClr val="dk1"/>
              </a:solidFill>
              <a:latin typeface="Arial"/>
              <a:ea typeface="Arial"/>
              <a:cs typeface="Arial"/>
              <a:sym typeface="Arial"/>
            </a:endParaRPr>
          </a:p>
        </p:txBody>
      </p:sp>
      <p:sp>
        <p:nvSpPr>
          <p:cNvPr id="215" name="Google Shape;215;p35"/>
          <p:cNvSpPr txBox="1"/>
          <p:nvPr/>
        </p:nvSpPr>
        <p:spPr>
          <a:xfrm rot="-5400000">
            <a:off x="-852764" y="2791969"/>
            <a:ext cx="2819400" cy="283464"/>
          </a:xfrm>
          <a:prstGeom prst="rect">
            <a:avLst/>
          </a:prstGeom>
          <a:noFill/>
          <a:ln>
            <a:noFill/>
          </a:ln>
        </p:spPr>
        <p:txBody>
          <a:bodyPr spcFirstLastPara="1" wrap="square" lIns="0" tIns="0" rIns="0" bIns="0" anchor="t" anchorCtr="0">
            <a:noAutofit/>
          </a:bodyPr>
          <a:lstStyle/>
          <a:p>
            <a:pPr>
              <a:buClr>
                <a:srgbClr val="00341B"/>
              </a:buClr>
              <a:buSzPts val="1200"/>
            </a:pPr>
            <a:r>
              <a:rPr lang="en" sz="1600" b="1" dirty="0">
                <a:solidFill>
                  <a:srgbClr val="4D4D4D"/>
                </a:solidFill>
                <a:latin typeface="Arial"/>
                <a:ea typeface="Arial"/>
                <a:cs typeface="Arial"/>
                <a:sym typeface="Arial"/>
              </a:rPr>
              <a:t>Average Time Taken</a:t>
            </a:r>
            <a:endParaRPr sz="1600" b="1" dirty="0">
              <a:solidFill>
                <a:srgbClr val="4D4D4D"/>
              </a:solidFill>
              <a:latin typeface="Arial"/>
              <a:ea typeface="Arial"/>
              <a:cs typeface="Arial"/>
              <a:sym typeface="Arial"/>
            </a:endParaRPr>
          </a:p>
        </p:txBody>
      </p:sp>
      <p:sp>
        <p:nvSpPr>
          <p:cNvPr id="216" name="Google Shape;216;p35"/>
          <p:cNvSpPr txBox="1"/>
          <p:nvPr/>
        </p:nvSpPr>
        <p:spPr>
          <a:xfrm>
            <a:off x="3810000" y="5450868"/>
            <a:ext cx="2590800" cy="457200"/>
          </a:xfrm>
          <a:prstGeom prst="rect">
            <a:avLst/>
          </a:prstGeom>
          <a:noFill/>
          <a:ln>
            <a:noFill/>
          </a:ln>
        </p:spPr>
        <p:txBody>
          <a:bodyPr spcFirstLastPara="1" wrap="square" lIns="0" tIns="0" rIns="0" bIns="0" anchor="t" anchorCtr="0">
            <a:noAutofit/>
          </a:bodyPr>
          <a:lstStyle/>
          <a:p>
            <a:pPr>
              <a:buClr>
                <a:srgbClr val="00341B"/>
              </a:buClr>
              <a:buSzPts val="1200"/>
            </a:pPr>
            <a:r>
              <a:rPr lang="en" sz="1600" b="1" dirty="0">
                <a:solidFill>
                  <a:srgbClr val="4D4D4D"/>
                </a:solidFill>
                <a:latin typeface="Arial"/>
                <a:ea typeface="Arial"/>
                <a:cs typeface="Arial"/>
                <a:sym typeface="Arial"/>
              </a:rPr>
              <a:t>Timestamps</a:t>
            </a:r>
            <a:endParaRPr sz="1600" b="1" dirty="0">
              <a:solidFill>
                <a:srgbClr val="4D4D4D"/>
              </a:solidFill>
              <a:latin typeface="Arial"/>
              <a:ea typeface="Arial"/>
              <a:cs typeface="Arial"/>
              <a:sym typeface="Arial"/>
            </a:endParaRPr>
          </a:p>
        </p:txBody>
      </p:sp>
      <p:sp>
        <p:nvSpPr>
          <p:cNvPr id="217" name="Google Shape;217;p35"/>
          <p:cNvSpPr txBox="1"/>
          <p:nvPr/>
        </p:nvSpPr>
        <p:spPr>
          <a:xfrm>
            <a:off x="696469" y="5728614"/>
            <a:ext cx="8523732" cy="570297"/>
          </a:xfrm>
          <a:prstGeom prst="rect">
            <a:avLst/>
          </a:prstGeom>
          <a:noFill/>
          <a:ln>
            <a:noFill/>
          </a:ln>
        </p:spPr>
        <p:txBody>
          <a:bodyPr spcFirstLastPara="1" wrap="square" lIns="0" tIns="0" rIns="0" bIns="0" anchor="t" anchorCtr="0">
            <a:noAutofit/>
          </a:bodyPr>
          <a:lstStyle/>
          <a:p>
            <a:pPr marL="287859" indent="-287859">
              <a:buClr>
                <a:srgbClr val="00341B"/>
              </a:buClr>
              <a:buSzPts val="1200"/>
              <a:buFont typeface="Arial"/>
              <a:buChar char="•"/>
            </a:pPr>
            <a:r>
              <a:rPr lang="en" sz="1600" b="1" dirty="0">
                <a:solidFill>
                  <a:srgbClr val="006837"/>
                </a:solidFill>
                <a:latin typeface="Arial"/>
                <a:ea typeface="Arial"/>
                <a:cs typeface="Arial"/>
                <a:sym typeface="Arial"/>
              </a:rPr>
              <a:t>ZQT6 (Configuration Review) and ZQT8 (Document Preparation) have significantly longer average times compared to other stages, indicating potential bottlenecks.</a:t>
            </a:r>
            <a:endParaRPr sz="1600" b="1" dirty="0">
              <a:solidFill>
                <a:srgbClr val="006837"/>
              </a:solidFill>
              <a:latin typeface="Arial"/>
              <a:ea typeface="Arial"/>
              <a:cs typeface="Arial"/>
              <a:sym typeface="Arial"/>
            </a:endParaRPr>
          </a:p>
        </p:txBody>
      </p:sp>
      <p:graphicFrame>
        <p:nvGraphicFramePr>
          <p:cNvPr id="218" name="Google Shape;218;p35"/>
          <p:cNvGraphicFramePr/>
          <p:nvPr>
            <p:extLst>
              <p:ext uri="{D42A27DB-BD31-4B8C-83A1-F6EECF244321}">
                <p14:modId xmlns:p14="http://schemas.microsoft.com/office/powerpoint/2010/main" val="4268214212"/>
              </p:ext>
            </p:extLst>
          </p:nvPr>
        </p:nvGraphicFramePr>
        <p:xfrm>
          <a:off x="8610599" y="1258285"/>
          <a:ext cx="3302812" cy="4304311"/>
        </p:xfrm>
        <a:graphic>
          <a:graphicData uri="http://schemas.openxmlformats.org/drawingml/2006/table">
            <a:tbl>
              <a:tblPr firstRow="1" bandRow="1">
                <a:noFill/>
              </a:tblPr>
              <a:tblGrid>
                <a:gridCol w="1651406">
                  <a:extLst>
                    <a:ext uri="{9D8B030D-6E8A-4147-A177-3AD203B41FA5}">
                      <a16:colId xmlns:a16="http://schemas.microsoft.com/office/drawing/2014/main" val="20000"/>
                    </a:ext>
                  </a:extLst>
                </a:gridCol>
                <a:gridCol w="1651406">
                  <a:extLst>
                    <a:ext uri="{9D8B030D-6E8A-4147-A177-3AD203B41FA5}">
                      <a16:colId xmlns:a16="http://schemas.microsoft.com/office/drawing/2014/main" val="20001"/>
                    </a:ext>
                  </a:extLst>
                </a:gridCol>
              </a:tblGrid>
              <a:tr h="458159">
                <a:tc>
                  <a:txBody>
                    <a:bodyPr/>
                    <a:lstStyle/>
                    <a:p>
                      <a:pPr marL="0" marR="0" lvl="0" indent="0" algn="ctr" rtl="0">
                        <a:spcBef>
                          <a:spcPts val="0"/>
                        </a:spcBef>
                        <a:spcAft>
                          <a:spcPts val="0"/>
                        </a:spcAft>
                        <a:buNone/>
                      </a:pPr>
                      <a:r>
                        <a:rPr lang="en" sz="1900" b="1">
                          <a:solidFill>
                            <a:schemeClr val="bg1"/>
                          </a:solidFill>
                        </a:rPr>
                        <a:t>Stage</a:t>
                      </a:r>
                      <a:endParaRPr sz="1900" b="1">
                        <a:solidFill>
                          <a:schemeClr val="bg1"/>
                        </a:solidFill>
                      </a:endParaRPr>
                    </a:p>
                  </a:txBody>
                  <a:tcPr marL="91467" marR="91467" marT="45733" marB="45733">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rgbClr val="006837"/>
                    </a:solidFill>
                  </a:tcPr>
                </a:tc>
                <a:tc>
                  <a:txBody>
                    <a:bodyPr/>
                    <a:lstStyle/>
                    <a:p>
                      <a:pPr marL="0" marR="0" lvl="0" indent="0" algn="ctr" rtl="0">
                        <a:spcBef>
                          <a:spcPts val="0"/>
                        </a:spcBef>
                        <a:spcAft>
                          <a:spcPts val="0"/>
                        </a:spcAft>
                        <a:buNone/>
                      </a:pPr>
                      <a:r>
                        <a:rPr lang="en" sz="1900" b="1" dirty="0">
                          <a:solidFill>
                            <a:schemeClr val="bg1"/>
                          </a:solidFill>
                        </a:rPr>
                        <a:t>Root Cause</a:t>
                      </a:r>
                      <a:endParaRPr sz="1900" b="1" dirty="0">
                        <a:solidFill>
                          <a:schemeClr val="bg1"/>
                        </a:solidFill>
                      </a:endParaRPr>
                    </a:p>
                  </a:txBody>
                  <a:tcPr marL="91467" marR="91467" marT="45733" marB="45733">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rgbClr val="006837"/>
                    </a:solidFill>
                  </a:tcPr>
                </a:tc>
                <a:extLst>
                  <a:ext uri="{0D108BD9-81ED-4DB2-BD59-A6C34878D82A}">
                    <a16:rowId xmlns:a16="http://schemas.microsoft.com/office/drawing/2014/main" val="10000"/>
                  </a:ext>
                </a:extLst>
              </a:tr>
              <a:tr h="961538">
                <a:tc rowSpan="2">
                  <a:txBody>
                    <a:bodyPr/>
                    <a:lstStyle/>
                    <a:p>
                      <a:pPr marL="0" marR="0" lvl="0" indent="0" algn="ctr" rtl="0">
                        <a:spcBef>
                          <a:spcPts val="0"/>
                        </a:spcBef>
                        <a:spcAft>
                          <a:spcPts val="0"/>
                        </a:spcAft>
                        <a:buNone/>
                      </a:pPr>
                      <a:r>
                        <a:rPr lang="en" sz="1600" dirty="0">
                          <a:solidFill>
                            <a:srgbClr val="00341B"/>
                          </a:solidFill>
                        </a:rPr>
                        <a:t>ZQT6</a:t>
                      </a:r>
                      <a:br>
                        <a:rPr lang="en" sz="1600" dirty="0">
                          <a:solidFill>
                            <a:srgbClr val="00341B"/>
                          </a:solidFill>
                        </a:rPr>
                      </a:br>
                      <a:r>
                        <a:rPr lang="en" sz="1600" dirty="0">
                          <a:solidFill>
                            <a:srgbClr val="00341B"/>
                          </a:solidFill>
                        </a:rPr>
                        <a:t> (Configuration Review)</a:t>
                      </a:r>
                      <a:endParaRPr sz="1600" dirty="0">
                        <a:solidFill>
                          <a:srgbClr val="00341B"/>
                        </a:solidFill>
                      </a:endParaRPr>
                    </a:p>
                  </a:txBody>
                  <a:tcPr marL="91467" marR="91467" marT="45733" marB="45733" anchor="ctr">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chemeClr val="lt1"/>
                    </a:solidFill>
                  </a:tcPr>
                </a:tc>
                <a:tc>
                  <a:txBody>
                    <a:bodyPr/>
                    <a:lstStyle/>
                    <a:p>
                      <a:pPr marL="0" marR="0" lvl="0" indent="0" algn="ctr" rtl="0">
                        <a:spcBef>
                          <a:spcPts val="0"/>
                        </a:spcBef>
                        <a:spcAft>
                          <a:spcPts val="0"/>
                        </a:spcAft>
                        <a:buNone/>
                      </a:pPr>
                      <a:r>
                        <a:rPr lang="en" sz="1200">
                          <a:solidFill>
                            <a:srgbClr val="00341B"/>
                          </a:solidFill>
                        </a:rPr>
                        <a:t>Incomplete initial configurations due to missing information from Seller</a:t>
                      </a:r>
                      <a:endParaRPr sz="1200">
                        <a:solidFill>
                          <a:srgbClr val="00341B"/>
                        </a:solidFill>
                      </a:endParaRPr>
                    </a:p>
                  </a:txBody>
                  <a:tcPr marL="91467" marR="91467" marT="45733" marB="45733" anchor="ctr">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chemeClr val="lt1"/>
                    </a:solidFill>
                  </a:tcPr>
                </a:tc>
                <a:extLst>
                  <a:ext uri="{0D108BD9-81ED-4DB2-BD59-A6C34878D82A}">
                    <a16:rowId xmlns:a16="http://schemas.microsoft.com/office/drawing/2014/main" val="10001"/>
                  </a:ext>
                </a:extLst>
              </a:tr>
              <a:tr h="961538">
                <a:tc vMerge="1">
                  <a:txBody>
                    <a:bodyPr/>
                    <a:lstStyle/>
                    <a:p>
                      <a:endParaRPr lang="en-US"/>
                    </a:p>
                  </a:txBody>
                  <a:tcPr/>
                </a:tc>
                <a:tc>
                  <a:txBody>
                    <a:bodyPr/>
                    <a:lstStyle/>
                    <a:p>
                      <a:pPr marL="0" marR="0" lvl="0" indent="0" algn="ctr" rtl="0">
                        <a:spcBef>
                          <a:spcPts val="0"/>
                        </a:spcBef>
                        <a:spcAft>
                          <a:spcPts val="0"/>
                        </a:spcAft>
                        <a:buNone/>
                      </a:pPr>
                      <a:r>
                        <a:rPr lang="en" sz="1200">
                          <a:solidFill>
                            <a:srgbClr val="00341B"/>
                          </a:solidFill>
                        </a:rPr>
                        <a:t>Feedback loops causing repeated revisions</a:t>
                      </a:r>
                      <a:endParaRPr sz="1200">
                        <a:solidFill>
                          <a:srgbClr val="00341B"/>
                        </a:solidFill>
                      </a:endParaRPr>
                    </a:p>
                  </a:txBody>
                  <a:tcPr marL="91467" marR="91467" marT="45733" marB="45733" anchor="ctr">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chemeClr val="lt1"/>
                    </a:solidFill>
                  </a:tcPr>
                </a:tc>
                <a:extLst>
                  <a:ext uri="{0D108BD9-81ED-4DB2-BD59-A6C34878D82A}">
                    <a16:rowId xmlns:a16="http://schemas.microsoft.com/office/drawing/2014/main" val="10002"/>
                  </a:ext>
                </a:extLst>
              </a:tr>
              <a:tr h="961538">
                <a:tc rowSpan="2">
                  <a:txBody>
                    <a:bodyPr/>
                    <a:lstStyle/>
                    <a:p>
                      <a:pPr marL="0" marR="0" lvl="0" indent="0" algn="ctr" rtl="0">
                        <a:spcBef>
                          <a:spcPts val="0"/>
                        </a:spcBef>
                        <a:spcAft>
                          <a:spcPts val="0"/>
                        </a:spcAft>
                        <a:buNone/>
                      </a:pPr>
                      <a:r>
                        <a:rPr lang="en" sz="1600" b="0" dirty="0">
                          <a:solidFill>
                            <a:srgbClr val="00341B"/>
                          </a:solidFill>
                        </a:rPr>
                        <a:t>ZQT8 </a:t>
                      </a:r>
                      <a:br>
                        <a:rPr lang="en" sz="1600" b="0" dirty="0">
                          <a:solidFill>
                            <a:srgbClr val="00341B"/>
                          </a:solidFill>
                        </a:rPr>
                      </a:br>
                      <a:r>
                        <a:rPr lang="en" sz="1600" b="0" dirty="0">
                          <a:solidFill>
                            <a:srgbClr val="00341B"/>
                          </a:solidFill>
                        </a:rPr>
                        <a:t>(Document Preparation)</a:t>
                      </a:r>
                      <a:endParaRPr sz="1600" b="0" dirty="0">
                        <a:solidFill>
                          <a:srgbClr val="00341B"/>
                        </a:solidFill>
                      </a:endParaRPr>
                    </a:p>
                  </a:txBody>
                  <a:tcPr marL="91467" marR="91467" marT="45733" marB="45733" anchor="ctr">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chemeClr val="lt1"/>
                    </a:solidFill>
                  </a:tcPr>
                </a:tc>
                <a:tc>
                  <a:txBody>
                    <a:bodyPr/>
                    <a:lstStyle/>
                    <a:p>
                      <a:pPr marL="0" marR="0" lvl="0" indent="0" algn="ctr" rtl="0">
                        <a:spcBef>
                          <a:spcPts val="0"/>
                        </a:spcBef>
                        <a:spcAft>
                          <a:spcPts val="0"/>
                        </a:spcAft>
                        <a:buNone/>
                      </a:pPr>
                      <a:r>
                        <a:rPr lang="en" sz="1200">
                          <a:solidFill>
                            <a:srgbClr val="00341B"/>
                          </a:solidFill>
                        </a:rPr>
                        <a:t>Non-standard documentation causing delays</a:t>
                      </a:r>
                      <a:endParaRPr sz="1200">
                        <a:solidFill>
                          <a:srgbClr val="00341B"/>
                        </a:solidFill>
                      </a:endParaRPr>
                    </a:p>
                  </a:txBody>
                  <a:tcPr marL="91467" marR="91467" marT="45733" marB="45733" anchor="ctr">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chemeClr val="lt1"/>
                    </a:solidFill>
                  </a:tcPr>
                </a:tc>
                <a:extLst>
                  <a:ext uri="{0D108BD9-81ED-4DB2-BD59-A6C34878D82A}">
                    <a16:rowId xmlns:a16="http://schemas.microsoft.com/office/drawing/2014/main" val="10003"/>
                  </a:ext>
                </a:extLst>
              </a:tr>
              <a:tr h="961538">
                <a:tc vMerge="1">
                  <a:txBody>
                    <a:bodyPr/>
                    <a:lstStyle/>
                    <a:p>
                      <a:endParaRPr lang="en-US"/>
                    </a:p>
                  </a:txBody>
                  <a:tcPr/>
                </a:tc>
                <a:tc>
                  <a:txBody>
                    <a:bodyPr/>
                    <a:lstStyle/>
                    <a:p>
                      <a:pPr marL="0" marR="0" lvl="0" indent="0" algn="ctr" rtl="0">
                        <a:spcBef>
                          <a:spcPts val="0"/>
                        </a:spcBef>
                        <a:spcAft>
                          <a:spcPts val="0"/>
                        </a:spcAft>
                        <a:buNone/>
                      </a:pPr>
                      <a:r>
                        <a:rPr lang="en" sz="1200" dirty="0">
                          <a:solidFill>
                            <a:srgbClr val="00341B"/>
                          </a:solidFill>
                        </a:rPr>
                        <a:t>Multiple approvals from Brand Managers, even for low-value deals</a:t>
                      </a:r>
                      <a:endParaRPr sz="1200" dirty="0">
                        <a:solidFill>
                          <a:srgbClr val="00341B"/>
                        </a:solidFill>
                      </a:endParaRPr>
                    </a:p>
                  </a:txBody>
                  <a:tcPr marL="91467" marR="91467" marT="45733" marB="45733" anchor="ctr">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chemeClr val="lt1"/>
                    </a:solidFill>
                  </a:tcPr>
                </a:tc>
                <a:extLst>
                  <a:ext uri="{0D108BD9-81ED-4DB2-BD59-A6C34878D82A}">
                    <a16:rowId xmlns:a16="http://schemas.microsoft.com/office/drawing/2014/main" val="10004"/>
                  </a:ext>
                </a:extLst>
              </a:tr>
            </a:tbl>
          </a:graphicData>
        </a:graphic>
      </p:graphicFrame>
      <p:pic>
        <p:nvPicPr>
          <p:cNvPr id="4" name="Picture 3">
            <a:extLst>
              <a:ext uri="{FF2B5EF4-FFF2-40B4-BE49-F238E27FC236}">
                <a16:creationId xmlns:a16="http://schemas.microsoft.com/office/drawing/2014/main" id="{99DF3254-90D8-7501-06D3-562C26356FD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9152" y="1310546"/>
            <a:ext cx="7334250" cy="3971925"/>
          </a:xfrm>
          <a:prstGeom prst="rect">
            <a:avLst/>
          </a:prstGeom>
        </p:spPr>
      </p:pic>
      <p:sp>
        <p:nvSpPr>
          <p:cNvPr id="5" name="Rectangle 4">
            <a:extLst>
              <a:ext uri="{FF2B5EF4-FFF2-40B4-BE49-F238E27FC236}">
                <a16:creationId xmlns:a16="http://schemas.microsoft.com/office/drawing/2014/main" id="{0941A9EC-9769-694E-A052-0C5B67B930F8}"/>
              </a:ext>
            </a:extLst>
          </p:cNvPr>
          <p:cNvSpPr/>
          <p:nvPr/>
        </p:nvSpPr>
        <p:spPr>
          <a:xfrm>
            <a:off x="4706654" y="2480733"/>
            <a:ext cx="703546" cy="1634067"/>
          </a:xfrm>
          <a:prstGeom prst="rect">
            <a:avLst/>
          </a:prstGeom>
          <a:noFill/>
          <a:ln w="38100" cap="sq">
            <a:solidFill>
              <a:srgbClr val="FF0066"/>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8" name="Rectangle 7">
            <a:extLst>
              <a:ext uri="{FF2B5EF4-FFF2-40B4-BE49-F238E27FC236}">
                <a16:creationId xmlns:a16="http://schemas.microsoft.com/office/drawing/2014/main" id="{FAEEC469-83F8-E0C3-2ED4-1EABC065597B}"/>
              </a:ext>
            </a:extLst>
          </p:cNvPr>
          <p:cNvSpPr/>
          <p:nvPr/>
        </p:nvSpPr>
        <p:spPr>
          <a:xfrm>
            <a:off x="6054771" y="1505772"/>
            <a:ext cx="703546" cy="1634067"/>
          </a:xfrm>
          <a:prstGeom prst="rect">
            <a:avLst/>
          </a:prstGeom>
          <a:noFill/>
          <a:ln w="38100" cap="sq">
            <a:solidFill>
              <a:srgbClr val="FF0066"/>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 name="Slide Number Placeholder 1"/>
          <p:cNvSpPr>
            <a:spLocks noGrp="1"/>
          </p:cNvSpPr>
          <p:nvPr>
            <p:ph type="sldNum" sz="quarter" idx="12"/>
          </p:nvPr>
        </p:nvSpPr>
        <p:spPr>
          <a:xfrm>
            <a:off x="11722911" y="6370637"/>
            <a:ext cx="381000" cy="365125"/>
          </a:xfrm>
        </p:spPr>
        <p:txBody>
          <a:bodyPr/>
          <a:lstStyle/>
          <a:p>
            <a:fld id="{B4792231-69F4-4F9D-9049-A1DDF7DEBE79}" type="slidenum">
              <a:rPr lang="en-US" smtClean="0"/>
              <a:t>7</a:t>
            </a:fld>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217">
                                            <p:txEl>
                                              <p:pRg st="0" end="0"/>
                                            </p:txEl>
                                          </p:spTgt>
                                        </p:tgtEl>
                                        <p:attrNameLst>
                                          <p:attrName>style.visibility</p:attrName>
                                        </p:attrNameLst>
                                      </p:cBhvr>
                                      <p:to>
                                        <p:strVal val="visible"/>
                                      </p:to>
                                    </p:set>
                                    <p:animEffect transition="in" filter="circle(in)">
                                      <p:cBhvr>
                                        <p:cTn id="7" dur="2000"/>
                                        <p:tgtEl>
                                          <p:spTgt spid="21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222"/>
        <p:cNvGrpSpPr/>
        <p:nvPr/>
      </p:nvGrpSpPr>
      <p:grpSpPr>
        <a:xfrm>
          <a:off x="0" y="0"/>
          <a:ext cx="0" cy="0"/>
          <a:chOff x="0" y="0"/>
          <a:chExt cx="0" cy="0"/>
        </a:xfrm>
      </p:grpSpPr>
      <p:sp>
        <p:nvSpPr>
          <p:cNvPr id="223" name="Google Shape;223;p36"/>
          <p:cNvSpPr txBox="1">
            <a:spLocks noGrp="1"/>
          </p:cNvSpPr>
          <p:nvPr>
            <p:ph type="title"/>
          </p:nvPr>
        </p:nvSpPr>
        <p:spPr>
          <a:xfrm>
            <a:off x="554737" y="172212"/>
            <a:ext cx="10160065" cy="731520"/>
          </a:xfrm>
          <a:prstGeom prst="rect">
            <a:avLst/>
          </a:prstGeom>
          <a:noFill/>
          <a:ln>
            <a:noFill/>
          </a:ln>
        </p:spPr>
        <p:txBody>
          <a:bodyPr spcFirstLastPara="1" vert="horz" wrap="square" lIns="0" tIns="0" rIns="0" bIns="0" rtlCol="0" anchor="b" anchorCtr="0">
            <a:noAutofit/>
          </a:bodyPr>
          <a:lstStyle/>
          <a:p>
            <a:pPr>
              <a:spcBef>
                <a:spcPts val="0"/>
              </a:spcBef>
              <a:buClr>
                <a:srgbClr val="00341B"/>
              </a:buClr>
              <a:buSzPts val="2100"/>
            </a:pPr>
            <a:r>
              <a:rPr lang="en" sz="2800">
                <a:solidFill>
                  <a:srgbClr val="00341B"/>
                </a:solidFill>
              </a:rPr>
              <a:t>Strategic Improvements and Anticipated Benefits</a:t>
            </a:r>
            <a:endParaRPr sz="2800">
              <a:solidFill>
                <a:srgbClr val="00341B"/>
              </a:solidFill>
            </a:endParaRPr>
          </a:p>
        </p:txBody>
      </p:sp>
      <p:cxnSp>
        <p:nvCxnSpPr>
          <p:cNvPr id="224" name="Google Shape;224;p36"/>
          <p:cNvCxnSpPr/>
          <p:nvPr/>
        </p:nvCxnSpPr>
        <p:spPr>
          <a:xfrm>
            <a:off x="1600200" y="6553200"/>
            <a:ext cx="8892208" cy="0"/>
          </a:xfrm>
          <a:prstGeom prst="straightConnector1">
            <a:avLst/>
          </a:prstGeom>
          <a:noFill/>
          <a:ln w="38100" cap="flat" cmpd="sng">
            <a:solidFill>
              <a:srgbClr val="00550B">
                <a:alpha val="49803"/>
              </a:srgbClr>
            </a:solidFill>
            <a:prstDash val="solid"/>
            <a:round/>
            <a:headEnd type="none" w="sm" len="sm"/>
            <a:tailEnd type="none" w="sm" len="sm"/>
          </a:ln>
        </p:spPr>
      </p:cxnSp>
      <p:graphicFrame>
        <p:nvGraphicFramePr>
          <p:cNvPr id="226" name="Google Shape;226;p36"/>
          <p:cNvGraphicFramePr/>
          <p:nvPr>
            <p:extLst>
              <p:ext uri="{D42A27DB-BD31-4B8C-83A1-F6EECF244321}">
                <p14:modId xmlns:p14="http://schemas.microsoft.com/office/powerpoint/2010/main" val="280438013"/>
              </p:ext>
            </p:extLst>
          </p:nvPr>
        </p:nvGraphicFramePr>
        <p:xfrm>
          <a:off x="572825" y="1813496"/>
          <a:ext cx="5084067" cy="4520976"/>
        </p:xfrm>
        <a:graphic>
          <a:graphicData uri="http://schemas.openxmlformats.org/drawingml/2006/table">
            <a:tbl>
              <a:tblPr firstRow="1" bandRow="1">
                <a:noFill/>
              </a:tblPr>
              <a:tblGrid>
                <a:gridCol w="2112267">
                  <a:extLst>
                    <a:ext uri="{9D8B030D-6E8A-4147-A177-3AD203B41FA5}">
                      <a16:colId xmlns:a16="http://schemas.microsoft.com/office/drawing/2014/main" val="20000"/>
                    </a:ext>
                  </a:extLst>
                </a:gridCol>
                <a:gridCol w="2971800">
                  <a:extLst>
                    <a:ext uri="{9D8B030D-6E8A-4147-A177-3AD203B41FA5}">
                      <a16:colId xmlns:a16="http://schemas.microsoft.com/office/drawing/2014/main" val="20001"/>
                    </a:ext>
                  </a:extLst>
                </a:gridCol>
              </a:tblGrid>
              <a:tr h="395421">
                <a:tc>
                  <a:txBody>
                    <a:bodyPr/>
                    <a:lstStyle/>
                    <a:p>
                      <a:pPr marL="0" marR="0" lvl="0" indent="0" algn="ctr" defTabSz="914400" rtl="0" eaLnBrk="1" fontAlgn="base" latinLnBrk="0" hangingPunct="1">
                        <a:lnSpc>
                          <a:spcPct val="104000"/>
                        </a:lnSpc>
                        <a:spcBef>
                          <a:spcPct val="20000"/>
                        </a:spcBef>
                        <a:spcAft>
                          <a:spcPct val="0"/>
                        </a:spcAft>
                        <a:buClr>
                          <a:srgbClr val="3C73C6"/>
                        </a:buClr>
                        <a:buSzTx/>
                        <a:buFont typeface="Wingdings" panose="05000000000000000000" pitchFamily="2" charset="2"/>
                        <a:buNone/>
                        <a:tabLst/>
                      </a:pPr>
                      <a:r>
                        <a:rPr kumimoji="0" lang="en" sz="2000" b="1" i="0" u="none" strike="noStrike" kern="1200" cap="none" normalizeH="0" baseline="0">
                          <a:ln>
                            <a:noFill/>
                          </a:ln>
                          <a:solidFill>
                            <a:schemeClr val="bg1"/>
                          </a:solidFill>
                          <a:effectLst/>
                          <a:latin typeface="Bower"/>
                          <a:ea typeface="+mn-ea"/>
                          <a:cs typeface="Arial" panose="020B0604020202020204" pitchFamily="34" charset="0"/>
                        </a:rPr>
                        <a:t>Stage</a:t>
                      </a:r>
                      <a:endParaRPr kumimoji="0" sz="2000" b="1" i="0" u="none" strike="noStrike" kern="1200" cap="none" normalizeH="0" baseline="0">
                        <a:ln>
                          <a:noFill/>
                        </a:ln>
                        <a:solidFill>
                          <a:schemeClr val="bg1"/>
                        </a:solidFill>
                        <a:effectLst/>
                        <a:latin typeface="Bower"/>
                        <a:ea typeface="+mn-ea"/>
                        <a:cs typeface="Arial" panose="020B0604020202020204" pitchFamily="34" charset="0"/>
                      </a:endParaRPr>
                    </a:p>
                  </a:txBody>
                  <a:tcPr marL="91467" marR="91467" marT="45733" marB="45733" anchor="ctr">
                    <a:solidFill>
                      <a:schemeClr val="accent2">
                        <a:lumMod val="50000"/>
                      </a:schemeClr>
                    </a:solidFill>
                  </a:tcPr>
                </a:tc>
                <a:tc>
                  <a:txBody>
                    <a:bodyPr/>
                    <a:lstStyle/>
                    <a:p>
                      <a:pPr marL="0" marR="0" lvl="0" indent="0" algn="ctr" defTabSz="914400" rtl="0" eaLnBrk="1" fontAlgn="base" latinLnBrk="0" hangingPunct="1">
                        <a:lnSpc>
                          <a:spcPct val="104000"/>
                        </a:lnSpc>
                        <a:spcBef>
                          <a:spcPct val="20000"/>
                        </a:spcBef>
                        <a:spcAft>
                          <a:spcPct val="0"/>
                        </a:spcAft>
                        <a:buClr>
                          <a:srgbClr val="3C73C6"/>
                        </a:buClr>
                        <a:buSzTx/>
                        <a:buFont typeface="Wingdings" panose="05000000000000000000" pitchFamily="2" charset="2"/>
                        <a:buNone/>
                        <a:tabLst/>
                      </a:pPr>
                      <a:r>
                        <a:rPr kumimoji="0" lang="en" sz="2000" b="1" i="0" u="none" strike="noStrike" kern="1200" cap="none" normalizeH="0" baseline="0" dirty="0">
                          <a:ln>
                            <a:noFill/>
                          </a:ln>
                          <a:solidFill>
                            <a:schemeClr val="bg1"/>
                          </a:solidFill>
                          <a:effectLst/>
                          <a:latin typeface="Bower"/>
                          <a:ea typeface="+mn-ea"/>
                          <a:cs typeface="Arial" panose="020B0604020202020204" pitchFamily="34" charset="0"/>
                        </a:rPr>
                        <a:t>Solution</a:t>
                      </a:r>
                      <a:endParaRPr kumimoji="0" sz="2000" b="1" i="0" u="none" strike="noStrike" kern="1200" cap="none" normalizeH="0" baseline="0" dirty="0">
                        <a:ln>
                          <a:noFill/>
                        </a:ln>
                        <a:solidFill>
                          <a:schemeClr val="bg1"/>
                        </a:solidFill>
                        <a:effectLst/>
                        <a:latin typeface="Bower"/>
                        <a:ea typeface="+mn-ea"/>
                        <a:cs typeface="Arial" panose="020B0604020202020204" pitchFamily="34" charset="0"/>
                      </a:endParaRPr>
                    </a:p>
                  </a:txBody>
                  <a:tcPr marL="91467" marR="91467" marT="45733" marB="45733" anchor="ctr">
                    <a:solidFill>
                      <a:schemeClr val="accent2">
                        <a:lumMod val="50000"/>
                      </a:schemeClr>
                    </a:solidFill>
                  </a:tcPr>
                </a:tc>
                <a:extLst>
                  <a:ext uri="{0D108BD9-81ED-4DB2-BD59-A6C34878D82A}">
                    <a16:rowId xmlns:a16="http://schemas.microsoft.com/office/drawing/2014/main" val="10000"/>
                  </a:ext>
                </a:extLst>
              </a:tr>
              <a:tr h="368677">
                <a:tc rowSpan="4">
                  <a:txBody>
                    <a:bodyPr/>
                    <a:lstStyle/>
                    <a:p>
                      <a:pPr marL="0" marR="0" lvl="0" indent="0" algn="ctr" rtl="0">
                        <a:spcBef>
                          <a:spcPts val="0"/>
                        </a:spcBef>
                        <a:spcAft>
                          <a:spcPts val="0"/>
                        </a:spcAft>
                        <a:buNone/>
                      </a:pPr>
                      <a:r>
                        <a:rPr lang="en" sz="1600" b="1"/>
                        <a:t>ZQT6 </a:t>
                      </a:r>
                      <a:br>
                        <a:rPr lang="en" sz="1600" b="1"/>
                      </a:br>
                      <a:r>
                        <a:rPr lang="en" sz="1600" b="1"/>
                        <a:t>(Configuration Review)</a:t>
                      </a:r>
                      <a:endParaRPr sz="1600" b="1"/>
                    </a:p>
                  </a:txBody>
                  <a:tcPr marL="91467" marR="91467" marT="45733" marB="45733" anchor="ctr">
                    <a:lnB w="12700" cap="flat" cmpd="sng">
                      <a:solidFill>
                        <a:schemeClr val="dk1"/>
                      </a:solidFill>
                      <a:prstDash val="solid"/>
                      <a:round/>
                      <a:headEnd type="none" w="sm" len="sm"/>
                      <a:tailEnd type="none" w="sm" len="sm"/>
                    </a:lnB>
                    <a:solidFill>
                      <a:schemeClr val="bg1">
                        <a:lumMod val="75000"/>
                      </a:schemeClr>
                    </a:solidFill>
                  </a:tcPr>
                </a:tc>
                <a:tc>
                  <a:txBody>
                    <a:bodyPr/>
                    <a:lstStyle/>
                    <a:p>
                      <a:pPr marL="0" marR="0" lvl="0" indent="0" algn="ctr" rtl="0">
                        <a:spcBef>
                          <a:spcPts val="0"/>
                        </a:spcBef>
                        <a:spcAft>
                          <a:spcPts val="0"/>
                        </a:spcAft>
                        <a:buNone/>
                      </a:pPr>
                      <a:r>
                        <a:rPr lang="en" sz="1500"/>
                        <a:t>Implement a pre-review checklist</a:t>
                      </a:r>
                      <a:endParaRPr sz="1500"/>
                    </a:p>
                  </a:txBody>
                  <a:tcPr marL="91467" marR="91467" marT="45733" marB="45733" anchor="ctr">
                    <a:lnB w="12700" cap="flat" cmpd="sng">
                      <a:solidFill>
                        <a:schemeClr val="dk1"/>
                      </a:solidFill>
                      <a:prstDash val="solid"/>
                      <a:round/>
                      <a:headEnd type="none" w="sm" len="sm"/>
                      <a:tailEnd type="none" w="sm" len="sm"/>
                    </a:lnB>
                  </a:tcPr>
                </a:tc>
                <a:extLst>
                  <a:ext uri="{0D108BD9-81ED-4DB2-BD59-A6C34878D82A}">
                    <a16:rowId xmlns:a16="http://schemas.microsoft.com/office/drawing/2014/main" val="10001"/>
                  </a:ext>
                </a:extLst>
              </a:tr>
              <a:tr h="545234">
                <a:tc vMerge="1">
                  <a:txBody>
                    <a:bodyPr/>
                    <a:lstStyle/>
                    <a:p>
                      <a:endParaRPr lang="en-US"/>
                    </a:p>
                  </a:txBody>
                  <a:tcPr/>
                </a:tc>
                <a:tc>
                  <a:txBody>
                    <a:bodyPr/>
                    <a:lstStyle/>
                    <a:p>
                      <a:pPr marL="0" marR="0" lvl="0" indent="0" algn="ctr" rtl="0">
                        <a:spcBef>
                          <a:spcPts val="0"/>
                        </a:spcBef>
                        <a:spcAft>
                          <a:spcPts val="0"/>
                        </a:spcAft>
                        <a:buNone/>
                      </a:pPr>
                      <a:r>
                        <a:rPr lang="en" sz="1500" dirty="0"/>
                        <a:t>Automate configuration validation</a:t>
                      </a:r>
                      <a:endParaRPr sz="1500" dirty="0"/>
                    </a:p>
                  </a:txBody>
                  <a:tcPr marL="91467" marR="91467" marT="45733" marB="45733" anchor="ct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chemeClr val="bg1">
                        <a:lumMod val="95000"/>
                      </a:schemeClr>
                    </a:solidFill>
                  </a:tcPr>
                </a:tc>
                <a:extLst>
                  <a:ext uri="{0D108BD9-81ED-4DB2-BD59-A6C34878D82A}">
                    <a16:rowId xmlns:a16="http://schemas.microsoft.com/office/drawing/2014/main" val="10002"/>
                  </a:ext>
                </a:extLst>
              </a:tr>
              <a:tr h="636385">
                <a:tc vMerge="1">
                  <a:txBody>
                    <a:bodyPr/>
                    <a:lstStyle/>
                    <a:p>
                      <a:endParaRPr lang="en-US"/>
                    </a:p>
                  </a:txBody>
                  <a:tcPr/>
                </a:tc>
                <a:tc>
                  <a:txBody>
                    <a:bodyPr/>
                    <a:lstStyle/>
                    <a:p>
                      <a:pPr marL="0" marR="0" lvl="0" indent="0" algn="ctr" rtl="0">
                        <a:spcBef>
                          <a:spcPts val="0"/>
                        </a:spcBef>
                        <a:spcAft>
                          <a:spcPts val="0"/>
                        </a:spcAft>
                        <a:buNone/>
                      </a:pPr>
                      <a:r>
                        <a:rPr lang="en" sz="1500" dirty="0"/>
                        <a:t>Enhance cross-functional collaboration</a:t>
                      </a:r>
                      <a:endParaRPr sz="1500" dirty="0"/>
                    </a:p>
                  </a:txBody>
                  <a:tcPr marL="91467" marR="91467" marT="45733" marB="45733" anchor="ct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extLst>
                  <a:ext uri="{0D108BD9-81ED-4DB2-BD59-A6C34878D82A}">
                    <a16:rowId xmlns:a16="http://schemas.microsoft.com/office/drawing/2014/main" val="10003"/>
                  </a:ext>
                </a:extLst>
              </a:tr>
              <a:tr h="636385">
                <a:tc vMerge="1">
                  <a:txBody>
                    <a:bodyPr/>
                    <a:lstStyle/>
                    <a:p>
                      <a:endParaRPr lang="en-US"/>
                    </a:p>
                  </a:txBody>
                  <a:tcPr/>
                </a:tc>
                <a:tc>
                  <a:txBody>
                    <a:bodyPr/>
                    <a:lstStyle/>
                    <a:p>
                      <a:pPr marL="0" marR="0" lvl="0" indent="0" algn="ctr" rtl="0">
                        <a:spcBef>
                          <a:spcPts val="0"/>
                        </a:spcBef>
                        <a:spcAft>
                          <a:spcPts val="0"/>
                        </a:spcAft>
                        <a:buNone/>
                      </a:pPr>
                      <a:r>
                        <a:rPr lang="en" sz="1500" dirty="0"/>
                        <a:t>Use version control for configuration documents</a:t>
                      </a:r>
                      <a:endParaRPr sz="1500" dirty="0"/>
                    </a:p>
                  </a:txBody>
                  <a:tcPr marL="91467" marR="91467" marT="45733" marB="45733" anchor="ct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chemeClr val="bg1">
                        <a:lumMod val="95000"/>
                      </a:schemeClr>
                    </a:solidFill>
                  </a:tcPr>
                </a:tc>
                <a:extLst>
                  <a:ext uri="{0D108BD9-81ED-4DB2-BD59-A6C34878D82A}">
                    <a16:rowId xmlns:a16="http://schemas.microsoft.com/office/drawing/2014/main" val="10004"/>
                  </a:ext>
                </a:extLst>
              </a:tr>
              <a:tr h="545234">
                <a:tc rowSpan="4">
                  <a:txBody>
                    <a:bodyPr/>
                    <a:lstStyle/>
                    <a:p>
                      <a:pPr marL="0" marR="0" lvl="0" indent="0" algn="ctr" rtl="0">
                        <a:spcBef>
                          <a:spcPts val="0"/>
                        </a:spcBef>
                        <a:spcAft>
                          <a:spcPts val="0"/>
                        </a:spcAft>
                        <a:buNone/>
                      </a:pPr>
                      <a:r>
                        <a:rPr lang="en" sz="1600" b="1" dirty="0"/>
                        <a:t>ZQT8 </a:t>
                      </a:r>
                      <a:br>
                        <a:rPr lang="en" sz="1600" b="1" dirty="0"/>
                      </a:br>
                      <a:r>
                        <a:rPr lang="en" sz="1600" b="1" dirty="0"/>
                        <a:t>(Document Preparation)</a:t>
                      </a:r>
                      <a:endParaRPr sz="1600" b="1" dirty="0"/>
                    </a:p>
                  </a:txBody>
                  <a:tcPr marL="91467" marR="91467" marT="45733" marB="45733" anchor="ctr">
                    <a:lnT w="12700" cap="flat" cmpd="sng">
                      <a:solidFill>
                        <a:schemeClr val="dk1"/>
                      </a:solidFill>
                      <a:prstDash val="solid"/>
                      <a:round/>
                      <a:headEnd type="none" w="sm" len="sm"/>
                      <a:tailEnd type="none" w="sm" len="sm"/>
                    </a:lnT>
                    <a:solidFill>
                      <a:schemeClr val="bg1">
                        <a:lumMod val="75000"/>
                      </a:schemeClr>
                    </a:solidFill>
                  </a:tcPr>
                </a:tc>
                <a:tc>
                  <a:txBody>
                    <a:bodyPr/>
                    <a:lstStyle/>
                    <a:p>
                      <a:pPr marL="0" marR="0" lvl="0" indent="0" algn="ctr" rtl="0">
                        <a:spcBef>
                          <a:spcPts val="0"/>
                        </a:spcBef>
                        <a:spcAft>
                          <a:spcPts val="0"/>
                        </a:spcAft>
                        <a:buNone/>
                      </a:pPr>
                      <a:r>
                        <a:rPr lang="en" sz="1500"/>
                        <a:t>Standardize document templates</a:t>
                      </a:r>
                      <a:endParaRPr sz="1500"/>
                    </a:p>
                  </a:txBody>
                  <a:tcPr marL="91467" marR="91467" marT="45733" marB="45733" anchor="ct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extLst>
                  <a:ext uri="{0D108BD9-81ED-4DB2-BD59-A6C34878D82A}">
                    <a16:rowId xmlns:a16="http://schemas.microsoft.com/office/drawing/2014/main" val="10005"/>
                  </a:ext>
                </a:extLst>
              </a:tr>
              <a:tr h="368677">
                <a:tc vMerge="1">
                  <a:txBody>
                    <a:bodyPr/>
                    <a:lstStyle/>
                    <a:p>
                      <a:endParaRPr lang="en-US"/>
                    </a:p>
                  </a:txBody>
                  <a:tcPr/>
                </a:tc>
                <a:tc>
                  <a:txBody>
                    <a:bodyPr/>
                    <a:lstStyle/>
                    <a:p>
                      <a:pPr marL="0" marR="0" lvl="0" indent="0" algn="ctr" rtl="0">
                        <a:spcBef>
                          <a:spcPts val="0"/>
                        </a:spcBef>
                        <a:spcAft>
                          <a:spcPts val="0"/>
                        </a:spcAft>
                        <a:buNone/>
                      </a:pPr>
                      <a:r>
                        <a:rPr lang="en" sz="1500" dirty="0"/>
                        <a:t>Streamline approval processes</a:t>
                      </a:r>
                      <a:endParaRPr sz="1500" dirty="0"/>
                    </a:p>
                  </a:txBody>
                  <a:tcPr marL="91467" marR="91467" marT="45733" marB="45733" anchor="ct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chemeClr val="bg1">
                        <a:lumMod val="95000"/>
                      </a:schemeClr>
                    </a:solidFill>
                  </a:tcPr>
                </a:tc>
                <a:extLst>
                  <a:ext uri="{0D108BD9-81ED-4DB2-BD59-A6C34878D82A}">
                    <a16:rowId xmlns:a16="http://schemas.microsoft.com/office/drawing/2014/main" val="10006"/>
                  </a:ext>
                </a:extLst>
              </a:tr>
              <a:tr h="368677">
                <a:tc vMerge="1">
                  <a:txBody>
                    <a:bodyPr/>
                    <a:lstStyle/>
                    <a:p>
                      <a:endParaRPr lang="en-US"/>
                    </a:p>
                  </a:txBody>
                  <a:tcPr/>
                </a:tc>
                <a:tc>
                  <a:txBody>
                    <a:bodyPr/>
                    <a:lstStyle/>
                    <a:p>
                      <a:pPr marL="0" marR="0" lvl="0" indent="0" algn="ctr" rtl="0">
                        <a:spcBef>
                          <a:spcPts val="0"/>
                        </a:spcBef>
                        <a:spcAft>
                          <a:spcPts val="0"/>
                        </a:spcAft>
                        <a:buNone/>
                      </a:pPr>
                      <a:r>
                        <a:rPr lang="en" sz="1500"/>
                        <a:t>Utilize workflow automation tools</a:t>
                      </a:r>
                      <a:endParaRPr sz="1500"/>
                    </a:p>
                  </a:txBody>
                  <a:tcPr marL="91467" marR="91467" marT="45733" marB="45733" anchor="ct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extLst>
                  <a:ext uri="{0D108BD9-81ED-4DB2-BD59-A6C34878D82A}">
                    <a16:rowId xmlns:a16="http://schemas.microsoft.com/office/drawing/2014/main" val="10007"/>
                  </a:ext>
                </a:extLst>
              </a:tr>
              <a:tr h="636385">
                <a:tc vMerge="1">
                  <a:txBody>
                    <a:bodyPr/>
                    <a:lstStyle/>
                    <a:p>
                      <a:endParaRPr lang="en-US"/>
                    </a:p>
                  </a:txBody>
                  <a:tcPr/>
                </a:tc>
                <a:tc>
                  <a:txBody>
                    <a:bodyPr/>
                    <a:lstStyle/>
                    <a:p>
                      <a:pPr marL="0" marR="0" lvl="0" indent="0" algn="ctr" rtl="0">
                        <a:spcBef>
                          <a:spcPts val="0"/>
                        </a:spcBef>
                        <a:spcAft>
                          <a:spcPts val="0"/>
                        </a:spcAft>
                        <a:buNone/>
                      </a:pPr>
                      <a:r>
                        <a:rPr lang="en" sz="1500" dirty="0"/>
                        <a:t>Establish SLAs and provide team training</a:t>
                      </a:r>
                      <a:endParaRPr sz="1500" dirty="0"/>
                    </a:p>
                  </a:txBody>
                  <a:tcPr marL="91467" marR="91467" marT="45733" marB="45733" anchor="ctr">
                    <a:lnT w="12700" cap="flat" cmpd="sng">
                      <a:solidFill>
                        <a:schemeClr val="dk1"/>
                      </a:solidFill>
                      <a:prstDash val="solid"/>
                      <a:round/>
                      <a:headEnd type="none" w="sm" len="sm"/>
                      <a:tailEnd type="none" w="sm" len="sm"/>
                    </a:lnT>
                    <a:solidFill>
                      <a:schemeClr val="bg1">
                        <a:lumMod val="95000"/>
                      </a:schemeClr>
                    </a:solidFill>
                  </a:tcPr>
                </a:tc>
                <a:extLst>
                  <a:ext uri="{0D108BD9-81ED-4DB2-BD59-A6C34878D82A}">
                    <a16:rowId xmlns:a16="http://schemas.microsoft.com/office/drawing/2014/main" val="10008"/>
                  </a:ext>
                </a:extLst>
              </a:tr>
            </a:tbl>
          </a:graphicData>
        </a:graphic>
      </p:graphicFrame>
      <p:graphicFrame>
        <p:nvGraphicFramePr>
          <p:cNvPr id="227" name="Google Shape;227;p36"/>
          <p:cNvGraphicFramePr/>
          <p:nvPr>
            <p:extLst>
              <p:ext uri="{D42A27DB-BD31-4B8C-83A1-F6EECF244321}">
                <p14:modId xmlns:p14="http://schemas.microsoft.com/office/powerpoint/2010/main" val="4026927556"/>
              </p:ext>
            </p:extLst>
          </p:nvPr>
        </p:nvGraphicFramePr>
        <p:xfrm>
          <a:off x="6629399" y="2057401"/>
          <a:ext cx="5029200" cy="4257168"/>
        </p:xfrm>
        <a:graphic>
          <a:graphicData uri="http://schemas.openxmlformats.org/drawingml/2006/table">
            <a:tbl>
              <a:tblPr firstRow="1" bandRow="1">
                <a:noFill/>
              </a:tblPr>
              <a:tblGrid>
                <a:gridCol w="1414467">
                  <a:extLst>
                    <a:ext uri="{9D8B030D-6E8A-4147-A177-3AD203B41FA5}">
                      <a16:colId xmlns:a16="http://schemas.microsoft.com/office/drawing/2014/main" val="20000"/>
                    </a:ext>
                  </a:extLst>
                </a:gridCol>
                <a:gridCol w="3614733">
                  <a:extLst>
                    <a:ext uri="{9D8B030D-6E8A-4147-A177-3AD203B41FA5}">
                      <a16:colId xmlns:a16="http://schemas.microsoft.com/office/drawing/2014/main" val="20001"/>
                    </a:ext>
                  </a:extLst>
                </a:gridCol>
              </a:tblGrid>
              <a:tr h="788767">
                <a:tc>
                  <a:txBody>
                    <a:bodyPr/>
                    <a:lstStyle/>
                    <a:p>
                      <a:pPr marL="0" marR="0" lvl="0" indent="0" algn="ctr" defTabSz="914400" rtl="0" eaLnBrk="1" fontAlgn="base" latinLnBrk="0" hangingPunct="1">
                        <a:lnSpc>
                          <a:spcPct val="104000"/>
                        </a:lnSpc>
                        <a:spcBef>
                          <a:spcPct val="20000"/>
                        </a:spcBef>
                        <a:spcAft>
                          <a:spcPct val="0"/>
                        </a:spcAft>
                        <a:buClr>
                          <a:srgbClr val="3C73C6"/>
                        </a:buClr>
                        <a:buSzTx/>
                        <a:buFont typeface="Wingdings" panose="05000000000000000000" pitchFamily="2" charset="2"/>
                        <a:buNone/>
                        <a:tabLst/>
                      </a:pPr>
                      <a:r>
                        <a:rPr kumimoji="0" lang="en" sz="2000" b="1" i="0" u="none" strike="noStrike" kern="1200" cap="none" normalizeH="0" baseline="0">
                          <a:ln>
                            <a:noFill/>
                          </a:ln>
                          <a:solidFill>
                            <a:schemeClr val="bg1"/>
                          </a:solidFill>
                          <a:effectLst/>
                          <a:latin typeface="Bower"/>
                          <a:ea typeface="+mn-ea"/>
                          <a:cs typeface="Arial" panose="020B0604020202020204" pitchFamily="34" charset="0"/>
                        </a:rPr>
                        <a:t>Area</a:t>
                      </a:r>
                      <a:endParaRPr kumimoji="0" sz="2000" b="1" i="0" u="none" strike="noStrike" kern="1200" cap="none" normalizeH="0" baseline="0">
                        <a:ln>
                          <a:noFill/>
                        </a:ln>
                        <a:solidFill>
                          <a:schemeClr val="bg1"/>
                        </a:solidFill>
                        <a:effectLst/>
                        <a:latin typeface="Bower"/>
                        <a:ea typeface="+mn-ea"/>
                        <a:cs typeface="Arial" panose="020B0604020202020204" pitchFamily="34" charset="0"/>
                      </a:endParaRPr>
                    </a:p>
                  </a:txBody>
                  <a:tcPr marL="91467" marR="91467" marT="45733" marB="45733" anchor="ctr">
                    <a:lnB w="12700" cap="flat" cmpd="sng">
                      <a:solidFill>
                        <a:schemeClr val="dk1"/>
                      </a:solidFill>
                      <a:prstDash val="solid"/>
                      <a:round/>
                      <a:headEnd type="none" w="sm" len="sm"/>
                      <a:tailEnd type="none" w="sm" len="sm"/>
                    </a:lnB>
                    <a:solidFill>
                      <a:schemeClr val="accent2">
                        <a:lumMod val="50000"/>
                      </a:schemeClr>
                    </a:solidFill>
                  </a:tcPr>
                </a:tc>
                <a:tc>
                  <a:txBody>
                    <a:bodyPr/>
                    <a:lstStyle/>
                    <a:p>
                      <a:pPr marL="0" marR="0" lvl="0" indent="0" algn="ctr" defTabSz="914400" rtl="0" eaLnBrk="1" fontAlgn="base" latinLnBrk="0" hangingPunct="1">
                        <a:lnSpc>
                          <a:spcPct val="104000"/>
                        </a:lnSpc>
                        <a:spcBef>
                          <a:spcPct val="20000"/>
                        </a:spcBef>
                        <a:spcAft>
                          <a:spcPct val="0"/>
                        </a:spcAft>
                        <a:buClr>
                          <a:srgbClr val="3C73C6"/>
                        </a:buClr>
                        <a:buSzTx/>
                        <a:buFont typeface="Wingdings" panose="05000000000000000000" pitchFamily="2" charset="2"/>
                        <a:buNone/>
                        <a:tabLst/>
                      </a:pPr>
                      <a:r>
                        <a:rPr kumimoji="0" lang="en" sz="2000" b="1" i="0" u="none" strike="noStrike" kern="1200" cap="none" normalizeH="0" baseline="0" dirty="0">
                          <a:ln>
                            <a:noFill/>
                          </a:ln>
                          <a:solidFill>
                            <a:schemeClr val="bg1"/>
                          </a:solidFill>
                          <a:effectLst/>
                          <a:latin typeface="Bower"/>
                          <a:ea typeface="+mn-ea"/>
                          <a:cs typeface="Arial" panose="020B0604020202020204" pitchFamily="34" charset="0"/>
                        </a:rPr>
                        <a:t>Impact</a:t>
                      </a:r>
                      <a:endParaRPr kumimoji="0" sz="2000" b="1" i="0" u="none" strike="noStrike" kern="1200" cap="none" normalizeH="0" baseline="0" dirty="0">
                        <a:ln>
                          <a:noFill/>
                        </a:ln>
                        <a:solidFill>
                          <a:schemeClr val="bg1"/>
                        </a:solidFill>
                        <a:effectLst/>
                        <a:latin typeface="Bower"/>
                        <a:ea typeface="+mn-ea"/>
                        <a:cs typeface="Arial" panose="020B0604020202020204" pitchFamily="34" charset="0"/>
                      </a:endParaRPr>
                    </a:p>
                  </a:txBody>
                  <a:tcPr marL="91467" marR="91467" marT="45733" marB="45733" anchor="ctr">
                    <a:lnB w="12700" cap="flat" cmpd="sng">
                      <a:solidFill>
                        <a:schemeClr val="dk1"/>
                      </a:solidFill>
                      <a:prstDash val="solid"/>
                      <a:round/>
                      <a:headEnd type="none" w="sm" len="sm"/>
                      <a:tailEnd type="none" w="sm" len="sm"/>
                    </a:lnB>
                    <a:solidFill>
                      <a:schemeClr val="accent2">
                        <a:lumMod val="50000"/>
                      </a:schemeClr>
                    </a:solidFill>
                  </a:tcPr>
                </a:tc>
                <a:extLst>
                  <a:ext uri="{0D108BD9-81ED-4DB2-BD59-A6C34878D82A}">
                    <a16:rowId xmlns:a16="http://schemas.microsoft.com/office/drawing/2014/main" val="10000"/>
                  </a:ext>
                </a:extLst>
              </a:tr>
              <a:tr h="788767">
                <a:tc>
                  <a:txBody>
                    <a:bodyPr/>
                    <a:lstStyle/>
                    <a:p>
                      <a:pPr marL="0" marR="0" lvl="0" indent="0" algn="ctr" rtl="0">
                        <a:spcBef>
                          <a:spcPts val="0"/>
                        </a:spcBef>
                        <a:spcAft>
                          <a:spcPts val="0"/>
                        </a:spcAft>
                        <a:buNone/>
                      </a:pPr>
                      <a:r>
                        <a:rPr lang="en" sz="1400" b="1"/>
                        <a:t>Cycle Time Reduction</a:t>
                      </a:r>
                      <a:endParaRPr sz="1400" b="1"/>
                    </a:p>
                  </a:txBody>
                  <a:tcPr marL="91467" marR="91467" marT="45733" marB="45733" anchor="ct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chemeClr val="bg1">
                        <a:lumMod val="75000"/>
                      </a:schemeClr>
                    </a:solidFill>
                  </a:tcPr>
                </a:tc>
                <a:tc>
                  <a:txBody>
                    <a:bodyPr/>
                    <a:lstStyle/>
                    <a:p>
                      <a:pPr marL="0" marR="0" lvl="0" indent="0" algn="ctr" rtl="0">
                        <a:spcBef>
                          <a:spcPts val="0"/>
                        </a:spcBef>
                        <a:spcAft>
                          <a:spcPts val="0"/>
                        </a:spcAft>
                        <a:buNone/>
                      </a:pPr>
                      <a:r>
                        <a:rPr lang="en" sz="1500"/>
                        <a:t>Faster turnaround by streamlining reviews and approvals</a:t>
                      </a:r>
                      <a:endParaRPr sz="1500"/>
                    </a:p>
                  </a:txBody>
                  <a:tcPr marL="91467" marR="91467" marT="45733" marB="45733" anchor="ct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extLst>
                  <a:ext uri="{0D108BD9-81ED-4DB2-BD59-A6C34878D82A}">
                    <a16:rowId xmlns:a16="http://schemas.microsoft.com/office/drawing/2014/main" val="10001"/>
                  </a:ext>
                </a:extLst>
              </a:tr>
              <a:tr h="788767">
                <a:tc>
                  <a:txBody>
                    <a:bodyPr/>
                    <a:lstStyle/>
                    <a:p>
                      <a:pPr marL="0" marR="0" lvl="0" indent="0" algn="ctr" rtl="0">
                        <a:spcBef>
                          <a:spcPts val="0"/>
                        </a:spcBef>
                        <a:spcAft>
                          <a:spcPts val="0"/>
                        </a:spcAft>
                        <a:buNone/>
                      </a:pPr>
                      <a:r>
                        <a:rPr lang="en" sz="1400" b="1"/>
                        <a:t>Improved Accuracy</a:t>
                      </a:r>
                      <a:endParaRPr sz="1400" b="1"/>
                    </a:p>
                  </a:txBody>
                  <a:tcPr marL="91467" marR="91467" marT="45733" marB="45733" anchor="ct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chemeClr val="bg1">
                        <a:lumMod val="75000"/>
                      </a:schemeClr>
                    </a:solidFill>
                  </a:tcPr>
                </a:tc>
                <a:tc>
                  <a:txBody>
                    <a:bodyPr/>
                    <a:lstStyle/>
                    <a:p>
                      <a:pPr marL="0" marR="0" lvl="0" indent="0" algn="ctr" rtl="0">
                        <a:spcBef>
                          <a:spcPts val="0"/>
                        </a:spcBef>
                        <a:spcAft>
                          <a:spcPts val="0"/>
                        </a:spcAft>
                        <a:buNone/>
                      </a:pPr>
                      <a:r>
                        <a:rPr lang="en" sz="1500" dirty="0"/>
                        <a:t>Reduced rework through better initial checks and validation</a:t>
                      </a:r>
                      <a:endParaRPr sz="1500" dirty="0"/>
                    </a:p>
                  </a:txBody>
                  <a:tcPr marL="91467" marR="91467" marT="45733" marB="45733" anchor="ct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chemeClr val="bg1">
                        <a:lumMod val="95000"/>
                      </a:schemeClr>
                    </a:solidFill>
                  </a:tcPr>
                </a:tc>
                <a:extLst>
                  <a:ext uri="{0D108BD9-81ED-4DB2-BD59-A6C34878D82A}">
                    <a16:rowId xmlns:a16="http://schemas.microsoft.com/office/drawing/2014/main" val="10002"/>
                  </a:ext>
                </a:extLst>
              </a:tr>
              <a:tr h="788767">
                <a:tc>
                  <a:txBody>
                    <a:bodyPr/>
                    <a:lstStyle/>
                    <a:p>
                      <a:pPr marL="0" marR="0" lvl="0" indent="0" algn="ctr" rtl="0">
                        <a:spcBef>
                          <a:spcPts val="0"/>
                        </a:spcBef>
                        <a:spcAft>
                          <a:spcPts val="0"/>
                        </a:spcAft>
                        <a:buNone/>
                      </a:pPr>
                      <a:r>
                        <a:rPr lang="en" sz="1400" b="1"/>
                        <a:t>Increased Efficiency</a:t>
                      </a:r>
                      <a:endParaRPr sz="1400" b="1"/>
                    </a:p>
                  </a:txBody>
                  <a:tcPr marL="91467" marR="91467" marT="45733" marB="45733" anchor="ct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chemeClr val="bg1">
                        <a:lumMod val="75000"/>
                      </a:schemeClr>
                    </a:solidFill>
                  </a:tcPr>
                </a:tc>
                <a:tc>
                  <a:txBody>
                    <a:bodyPr/>
                    <a:lstStyle/>
                    <a:p>
                      <a:pPr marL="0" marR="0" lvl="0" indent="0" algn="ctr" rtl="0">
                        <a:spcBef>
                          <a:spcPts val="0"/>
                        </a:spcBef>
                        <a:spcAft>
                          <a:spcPts val="0"/>
                        </a:spcAft>
                        <a:buNone/>
                      </a:pPr>
                      <a:r>
                        <a:rPr lang="en" sz="1500"/>
                        <a:t>Eliminated bottlenecks with standardized procedures</a:t>
                      </a:r>
                      <a:endParaRPr sz="1500"/>
                    </a:p>
                  </a:txBody>
                  <a:tcPr marL="91467" marR="91467" marT="45733" marB="45733" anchor="ct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extLst>
                  <a:ext uri="{0D108BD9-81ED-4DB2-BD59-A6C34878D82A}">
                    <a16:rowId xmlns:a16="http://schemas.microsoft.com/office/drawing/2014/main" val="10003"/>
                  </a:ext>
                </a:extLst>
              </a:tr>
              <a:tr h="1102100">
                <a:tc>
                  <a:txBody>
                    <a:bodyPr/>
                    <a:lstStyle/>
                    <a:p>
                      <a:pPr marL="0" marR="0" lvl="0" indent="0" algn="ctr" rtl="0">
                        <a:spcBef>
                          <a:spcPts val="0"/>
                        </a:spcBef>
                        <a:spcAft>
                          <a:spcPts val="0"/>
                        </a:spcAft>
                        <a:buNone/>
                      </a:pPr>
                      <a:r>
                        <a:rPr lang="en" sz="1400" b="1" dirty="0"/>
                        <a:t>Enhanced Collaboration</a:t>
                      </a:r>
                      <a:endParaRPr sz="1400" b="1" dirty="0"/>
                    </a:p>
                  </a:txBody>
                  <a:tcPr marL="91467" marR="91467" marT="45733" marB="45733" anchor="ctr">
                    <a:lnT w="12700" cap="flat" cmpd="sng">
                      <a:solidFill>
                        <a:schemeClr val="dk1"/>
                      </a:solidFill>
                      <a:prstDash val="solid"/>
                      <a:round/>
                      <a:headEnd type="none" w="sm" len="sm"/>
                      <a:tailEnd type="none" w="sm" len="sm"/>
                    </a:lnT>
                    <a:solidFill>
                      <a:schemeClr val="bg1">
                        <a:lumMod val="75000"/>
                      </a:schemeClr>
                    </a:solidFill>
                  </a:tcPr>
                </a:tc>
                <a:tc>
                  <a:txBody>
                    <a:bodyPr/>
                    <a:lstStyle/>
                    <a:p>
                      <a:pPr marL="0" marR="0" lvl="0" indent="0" algn="ctr" rtl="0">
                        <a:spcBef>
                          <a:spcPts val="0"/>
                        </a:spcBef>
                        <a:spcAft>
                          <a:spcPts val="0"/>
                        </a:spcAft>
                        <a:buNone/>
                      </a:pPr>
                      <a:r>
                        <a:rPr lang="en" sz="1500" dirty="0"/>
                        <a:t>Better team coordination through sync-ups and training</a:t>
                      </a:r>
                      <a:endParaRPr sz="1500" dirty="0"/>
                    </a:p>
                  </a:txBody>
                  <a:tcPr marL="91467" marR="91467" marT="45733" marB="45733" anchor="ctr">
                    <a:lnT w="12700" cap="flat" cmpd="sng">
                      <a:solidFill>
                        <a:schemeClr val="dk1"/>
                      </a:solidFill>
                      <a:prstDash val="solid"/>
                      <a:round/>
                      <a:headEnd type="none" w="sm" len="sm"/>
                      <a:tailEnd type="none" w="sm" len="sm"/>
                    </a:lnT>
                    <a:solidFill>
                      <a:schemeClr val="bg1">
                        <a:lumMod val="95000"/>
                      </a:schemeClr>
                    </a:solidFill>
                  </a:tcPr>
                </a:tc>
                <a:extLst>
                  <a:ext uri="{0D108BD9-81ED-4DB2-BD59-A6C34878D82A}">
                    <a16:rowId xmlns:a16="http://schemas.microsoft.com/office/drawing/2014/main" val="10004"/>
                  </a:ext>
                </a:extLst>
              </a:tr>
            </a:tbl>
          </a:graphicData>
        </a:graphic>
      </p:graphicFrame>
      <p:sp>
        <p:nvSpPr>
          <p:cNvPr id="228" name="Google Shape;228;p36"/>
          <p:cNvSpPr txBox="1"/>
          <p:nvPr/>
        </p:nvSpPr>
        <p:spPr>
          <a:xfrm>
            <a:off x="1799746" y="1213866"/>
            <a:ext cx="2895600" cy="533400"/>
          </a:xfrm>
          <a:prstGeom prst="rect">
            <a:avLst/>
          </a:prstGeom>
          <a:noFill/>
          <a:ln>
            <a:noFill/>
          </a:ln>
        </p:spPr>
        <p:txBody>
          <a:bodyPr spcFirstLastPara="1" wrap="square" lIns="0" tIns="0" rIns="0" bIns="0" anchor="t" anchorCtr="0">
            <a:noAutofit/>
          </a:bodyPr>
          <a:lstStyle/>
          <a:p>
            <a:pPr>
              <a:buClr>
                <a:srgbClr val="00341B"/>
              </a:buClr>
              <a:buSzPts val="1300"/>
            </a:pPr>
            <a:r>
              <a:rPr lang="en" sz="2000" b="1" dirty="0">
                <a:solidFill>
                  <a:srgbClr val="00341B"/>
                </a:solidFill>
                <a:latin typeface="Arial"/>
                <a:ea typeface="Arial"/>
                <a:cs typeface="Arial"/>
                <a:sym typeface="Arial"/>
              </a:rPr>
              <a:t>Proposed Solutions</a:t>
            </a:r>
            <a:endParaRPr sz="2000" b="1" dirty="0">
              <a:solidFill>
                <a:srgbClr val="00341B"/>
              </a:solidFill>
              <a:latin typeface="Arial"/>
              <a:ea typeface="Arial"/>
              <a:cs typeface="Arial"/>
              <a:sym typeface="Arial"/>
            </a:endParaRPr>
          </a:p>
        </p:txBody>
      </p:sp>
      <p:sp>
        <p:nvSpPr>
          <p:cNvPr id="229" name="Google Shape;229;p36"/>
          <p:cNvSpPr txBox="1"/>
          <p:nvPr/>
        </p:nvSpPr>
        <p:spPr>
          <a:xfrm>
            <a:off x="8382000" y="1404715"/>
            <a:ext cx="2743200" cy="457549"/>
          </a:xfrm>
          <a:prstGeom prst="rect">
            <a:avLst/>
          </a:prstGeom>
          <a:noFill/>
          <a:ln>
            <a:noFill/>
          </a:ln>
        </p:spPr>
        <p:txBody>
          <a:bodyPr spcFirstLastPara="1" wrap="square" lIns="0" tIns="0" rIns="0" bIns="0" anchor="t" anchorCtr="0">
            <a:noAutofit/>
          </a:bodyPr>
          <a:lstStyle/>
          <a:p>
            <a:pPr>
              <a:buClr>
                <a:srgbClr val="00341B"/>
              </a:buClr>
              <a:buSzPts val="1300"/>
            </a:pPr>
            <a:r>
              <a:rPr lang="en" sz="2000" b="1">
                <a:solidFill>
                  <a:srgbClr val="00341B"/>
                </a:solidFill>
                <a:latin typeface="Arial"/>
                <a:ea typeface="Arial"/>
                <a:cs typeface="Arial"/>
                <a:sym typeface="Arial"/>
              </a:rPr>
              <a:t>Expected Impacts</a:t>
            </a:r>
            <a:endParaRPr sz="2000" b="1">
              <a:solidFill>
                <a:srgbClr val="00341B"/>
              </a:solidFill>
              <a:latin typeface="Arial"/>
              <a:ea typeface="Arial"/>
              <a:cs typeface="Arial"/>
              <a:sym typeface="Arial"/>
            </a:endParaRPr>
          </a:p>
        </p:txBody>
      </p:sp>
      <p:sp>
        <p:nvSpPr>
          <p:cNvPr id="2" name="Slide Number Placeholder 1"/>
          <p:cNvSpPr>
            <a:spLocks noGrp="1"/>
          </p:cNvSpPr>
          <p:nvPr>
            <p:ph type="sldNum" sz="quarter" idx="12"/>
          </p:nvPr>
        </p:nvSpPr>
        <p:spPr>
          <a:xfrm>
            <a:off x="11673347" y="6370637"/>
            <a:ext cx="381000" cy="365125"/>
          </a:xfrm>
        </p:spPr>
        <p:txBody>
          <a:bodyPr/>
          <a:lstStyle/>
          <a:p>
            <a:fld id="{B4792231-69F4-4F9D-9049-A1DDF7DEBE79}" type="slidenum">
              <a:rPr lang="en-US" smtClean="0"/>
              <a:t>8</a:t>
            </a:fld>
            <a:endParaRPr lang="en-US"/>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802285-9DC1-99E5-FEA2-F8CB1790F39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2494C0D-9687-E44A-8773-3C13564D3A65}"/>
              </a:ext>
            </a:extLst>
          </p:cNvPr>
          <p:cNvSpPr>
            <a:spLocks noGrp="1"/>
          </p:cNvSpPr>
          <p:nvPr>
            <p:ph type="title"/>
          </p:nvPr>
        </p:nvSpPr>
        <p:spPr/>
        <p:txBody>
          <a:bodyPr/>
          <a:lstStyle/>
          <a:p>
            <a:r>
              <a:rPr lang="en-US" sz="2800" dirty="0" smtClean="0">
                <a:solidFill>
                  <a:schemeClr val="accent1">
                    <a:lumMod val="50000"/>
                  </a:schemeClr>
                </a:solidFill>
              </a:rPr>
              <a:t>Comparative Performance of BSS and Sellers</a:t>
            </a:r>
            <a:endParaRPr lang="en-US" sz="2800" dirty="0">
              <a:solidFill>
                <a:schemeClr val="accent1">
                  <a:lumMod val="50000"/>
                </a:schemeClr>
              </a:solidFill>
            </a:endParaRPr>
          </a:p>
        </p:txBody>
      </p:sp>
      <p:cxnSp>
        <p:nvCxnSpPr>
          <p:cNvPr id="6" name="Straight Connector 5">
            <a:extLst>
              <a:ext uri="{FF2B5EF4-FFF2-40B4-BE49-F238E27FC236}">
                <a16:creationId xmlns:a16="http://schemas.microsoft.com/office/drawing/2014/main" id="{CC9DC875-81B4-F500-08FF-D7B1A14C6580}"/>
              </a:ext>
            </a:extLst>
          </p:cNvPr>
          <p:cNvCxnSpPr/>
          <p:nvPr/>
        </p:nvCxnSpPr>
        <p:spPr>
          <a:xfrm>
            <a:off x="1600200" y="6553200"/>
            <a:ext cx="8892208" cy="0"/>
          </a:xfrm>
          <a:prstGeom prst="line">
            <a:avLst/>
          </a:prstGeom>
          <a:ln w="38100"/>
        </p:spPr>
        <p:style>
          <a:lnRef idx="3">
            <a:schemeClr val="accent5"/>
          </a:lnRef>
          <a:fillRef idx="0">
            <a:schemeClr val="accent5"/>
          </a:fillRef>
          <a:effectRef idx="2">
            <a:schemeClr val="accent5"/>
          </a:effectRef>
          <a:fontRef idx="minor">
            <a:schemeClr val="tx1"/>
          </a:fontRef>
        </p:style>
      </p:cxnSp>
      <p:pic>
        <p:nvPicPr>
          <p:cNvPr id="11" name="Picture 10" descr="A screenshot of a graph&#10;&#10;Description automatically generated">
            <a:extLst>
              <a:ext uri="{FF2B5EF4-FFF2-40B4-BE49-F238E27FC236}">
                <a16:creationId xmlns:a16="http://schemas.microsoft.com/office/drawing/2014/main" id="{A3BE51E0-93C2-9805-50E0-31BD5AA845A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54736" y="1790697"/>
            <a:ext cx="6493237" cy="3695703"/>
          </a:xfrm>
          <a:prstGeom prst="rect">
            <a:avLst/>
          </a:prstGeom>
        </p:spPr>
      </p:pic>
      <p:pic>
        <p:nvPicPr>
          <p:cNvPr id="13" name="Picture 12" descr="A green bar chart with white text&#10;&#10;Description automatically generated">
            <a:extLst>
              <a:ext uri="{FF2B5EF4-FFF2-40B4-BE49-F238E27FC236}">
                <a16:creationId xmlns:a16="http://schemas.microsoft.com/office/drawing/2014/main" id="{112C3C4F-58D5-2DFB-E820-B59758C3020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67600" y="1316802"/>
            <a:ext cx="4147559" cy="4986391"/>
          </a:xfrm>
          <a:prstGeom prst="rect">
            <a:avLst/>
          </a:prstGeom>
        </p:spPr>
      </p:pic>
      <p:sp>
        <p:nvSpPr>
          <p:cNvPr id="3" name="Slide Number Placeholder 2"/>
          <p:cNvSpPr>
            <a:spLocks noGrp="1"/>
          </p:cNvSpPr>
          <p:nvPr>
            <p:ph type="sldNum" sz="quarter" idx="12"/>
          </p:nvPr>
        </p:nvSpPr>
        <p:spPr>
          <a:xfrm>
            <a:off x="11734800" y="6370637"/>
            <a:ext cx="381000" cy="365125"/>
          </a:xfrm>
        </p:spPr>
        <p:txBody>
          <a:bodyPr/>
          <a:lstStyle/>
          <a:p>
            <a:fld id="{B4792231-69F4-4F9D-9049-A1DDF7DEBE79}" type="slidenum">
              <a:rPr lang="en-US" smtClean="0"/>
              <a:t>9</a:t>
            </a:fld>
            <a:endParaRPr lang="en-US" dirty="0"/>
          </a:p>
        </p:txBody>
      </p:sp>
    </p:spTree>
    <p:extLst>
      <p:ext uri="{BB962C8B-B14F-4D97-AF65-F5344CB8AC3E}">
        <p14:creationId xmlns:p14="http://schemas.microsoft.com/office/powerpoint/2010/main" val="182252077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3.xml><?xml version="1.0" encoding="utf-8"?>
<p:tagLst xmlns:a="http://schemas.openxmlformats.org/drawingml/2006/main" xmlns:r="http://schemas.openxmlformats.org/officeDocument/2006/relationships" xmlns:p="http://schemas.openxmlformats.org/presentationml/2006/main">
  <p:tag name="SHAPENAME" val="5. Source"/>
</p:tagLst>
</file>

<file path=ppt/tags/tag1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0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0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1.xml><?xml version="1.0" encoding="utf-8"?>
<p:tagLst xmlns:a="http://schemas.openxmlformats.org/drawingml/2006/main" xmlns:r="http://schemas.openxmlformats.org/officeDocument/2006/relationships" xmlns:p="http://schemas.openxmlformats.org/presentationml/2006/main">
  <p:tag name="SHAPENAME" val="5. Source"/>
</p:tagLst>
</file>

<file path=ppt/tags/tag1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SHAPENAME" val="5. Sourc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SHAPENAME" val="5. Source"/>
</p:tagLst>
</file>

<file path=ppt/tags/tag117.xml><?xml version="1.0" encoding="utf-8"?>
<p:tagLst xmlns:a="http://schemas.openxmlformats.org/drawingml/2006/main" xmlns:r="http://schemas.openxmlformats.org/officeDocument/2006/relationships" xmlns:p="http://schemas.openxmlformats.org/presentationml/2006/main">
  <p:tag name="SLIDETYPE" val="TitleWhi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aXr8WAgv0cG5g7IkN2Kntg"/>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1.xml><?xml version="1.0" encoding="utf-8"?>
<p:tagLst xmlns:a="http://schemas.openxmlformats.org/drawingml/2006/main" xmlns:r="http://schemas.openxmlformats.org/officeDocument/2006/relationships" xmlns:p="http://schemas.openxmlformats.org/presentationml/2006/main">
  <p:tag name="SHAPENAME" val="Title"/>
</p:tagLst>
</file>

<file path=ppt/tags/tag1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4.xml><?xml version="1.0" encoding="utf-8"?>
<p:tagLst xmlns:a="http://schemas.openxmlformats.org/drawingml/2006/main" xmlns:r="http://schemas.openxmlformats.org/officeDocument/2006/relationships" xmlns:p="http://schemas.openxmlformats.org/presentationml/2006/main">
  <p:tag name="SHAPENAME" val="Subtitle"/>
</p:tagLst>
</file>

<file path=ppt/tags/tag25.xml><?xml version="1.0" encoding="utf-8"?>
<p:tagLst xmlns:a="http://schemas.openxmlformats.org/drawingml/2006/main" xmlns:r="http://schemas.openxmlformats.org/officeDocument/2006/relationships" xmlns:p="http://schemas.openxmlformats.org/presentationml/2006/main">
  <p:tag name="SHAPENAME" val="Titl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xml><?xml version="1.0" encoding="utf-8"?>
<p:tagLst xmlns:a="http://schemas.openxmlformats.org/drawingml/2006/main" xmlns:r="http://schemas.openxmlformats.org/officeDocument/2006/relationships" xmlns:p="http://schemas.openxmlformats.org/presentationml/2006/main">
  <p:tag name="SHAPENAME" val="5. Source"/>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xml><?xml version="1.0" encoding="utf-8"?>
<p:tagLst xmlns:a="http://schemas.openxmlformats.org/drawingml/2006/main" xmlns:r="http://schemas.openxmlformats.org/officeDocument/2006/relationships" xmlns:p="http://schemas.openxmlformats.org/presentationml/2006/main">
  <p:tag name="SHAPENAME" val="5. Source"/>
</p:tagLst>
</file>

<file path=ppt/tags/tag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xml><?xml version="1.0" encoding="utf-8"?>
<p:tagLst xmlns:a="http://schemas.openxmlformats.org/drawingml/2006/main" xmlns:r="http://schemas.openxmlformats.org/officeDocument/2006/relationships" xmlns:p="http://schemas.openxmlformats.org/presentationml/2006/main">
  <p:tag name="SHAPENAME" val="5. Source"/>
</p:tagLst>
</file>

<file path=ppt/tags/tag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7.xml><?xml version="1.0" encoding="utf-8"?>
<p:tagLst xmlns:a="http://schemas.openxmlformats.org/drawingml/2006/main" xmlns:r="http://schemas.openxmlformats.org/officeDocument/2006/relationships" xmlns:p="http://schemas.openxmlformats.org/presentationml/2006/main">
  <p:tag name="SHAPENAME" val="5. Source"/>
</p:tagLst>
</file>

<file path=ppt/tags/tag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xml><?xml version="1.0" encoding="utf-8"?>
<p:tagLst xmlns:a="http://schemas.openxmlformats.org/drawingml/2006/main" xmlns:r="http://schemas.openxmlformats.org/officeDocument/2006/relationships" xmlns:p="http://schemas.openxmlformats.org/presentationml/2006/main">
  <p:tag name="SHAPENAME" val="3. Subtitle"/>
</p:tagLst>
</file>

<file path=ppt/tags/tag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xml><?xml version="1.0" encoding="utf-8"?>
<p:tagLst xmlns:a="http://schemas.openxmlformats.org/drawingml/2006/main" xmlns:r="http://schemas.openxmlformats.org/officeDocument/2006/relationships" xmlns:p="http://schemas.openxmlformats.org/presentationml/2006/main">
  <p:tag name="SHAPENAME" val="5. Source"/>
</p:tagLst>
</file>

<file path=ppt/tags/tag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5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1.xml><?xml version="1.0" encoding="utf-8"?>
<p:tagLst xmlns:a="http://schemas.openxmlformats.org/drawingml/2006/main" xmlns:r="http://schemas.openxmlformats.org/officeDocument/2006/relationships" xmlns:p="http://schemas.openxmlformats.org/presentationml/2006/main">
  <p:tag name="SHAPENAME" val="3. Subtitle"/>
</p:tagLst>
</file>

<file path=ppt/tags/tag62.xml><?xml version="1.0" encoding="utf-8"?>
<p:tagLst xmlns:a="http://schemas.openxmlformats.org/drawingml/2006/main" xmlns:r="http://schemas.openxmlformats.org/officeDocument/2006/relationships" xmlns:p="http://schemas.openxmlformats.org/presentationml/2006/main">
  <p:tag name="SHAPENAME" val="5. Source"/>
</p:tagLst>
</file>

<file path=ppt/tags/tag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7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81.xml><?xml version="1.0" encoding="utf-8"?>
<p:tagLst xmlns:a="http://schemas.openxmlformats.org/drawingml/2006/main" xmlns:r="http://schemas.openxmlformats.org/officeDocument/2006/relationships" xmlns:p="http://schemas.openxmlformats.org/presentationml/2006/main">
  <p:tag name="SHAPENAME" val="5. Source"/>
</p:tagLst>
</file>

<file path=ppt/tags/tag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85.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92.xml><?xml version="1.0" encoding="utf-8"?>
<p:tagLst xmlns:a="http://schemas.openxmlformats.org/drawingml/2006/main" xmlns:r="http://schemas.openxmlformats.org/officeDocument/2006/relationships" xmlns:p="http://schemas.openxmlformats.org/presentationml/2006/main">
  <p:tag name="SHAPENAME" val="5. Source"/>
</p:tagLst>
</file>

<file path=ppt/tags/tag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6.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9.xml><?xml version="1.0" encoding="utf-8"?>
<p:tagLst xmlns:a="http://schemas.openxmlformats.org/drawingml/2006/main" xmlns:r="http://schemas.openxmlformats.org/officeDocument/2006/relationships" xmlns:p="http://schemas.openxmlformats.org/presentationml/2006/main">
  <p:tag name="SHAPENAME" val="RectangleLight"/>
</p:tagLst>
</file>

<file path=ppt/theme/theme1.xml><?xml version="1.0" encoding="utf-8"?>
<a:theme xmlns:a="http://schemas.openxmlformats.org/drawingml/2006/main" name="White">
  <a:themeElements>
    <a:clrScheme name="Scheme1">
      <a:dk1>
        <a:srgbClr val="000000"/>
      </a:dk1>
      <a:lt1>
        <a:srgbClr val="FFFFFF"/>
      </a:lt1>
      <a:dk2>
        <a:srgbClr val="FFFFFF"/>
      </a:dk2>
      <a:lt2>
        <a:srgbClr val="FFFFFF"/>
      </a:lt2>
      <a:accent1>
        <a:srgbClr val="006837"/>
      </a:accent1>
      <a:accent2>
        <a:srgbClr val="4B9506"/>
      </a:accent2>
      <a:accent3>
        <a:srgbClr val="57AE07"/>
      </a:accent3>
      <a:accent4>
        <a:srgbClr val="74D41C"/>
      </a:accent4>
      <a:accent5>
        <a:srgbClr val="004614"/>
      </a:accent5>
      <a:accent6>
        <a:srgbClr val="4D4D4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6837"/>
        </a:accent1>
        <a:accent2>
          <a:srgbClr val="4B9506"/>
        </a:accent2>
        <a:accent3>
          <a:srgbClr val="57AE07"/>
        </a:accent3>
        <a:accent4>
          <a:srgbClr val="74D41C"/>
        </a:accent4>
        <a:accent5>
          <a:srgbClr val="004614"/>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C3922E"/>
    </a:custClr>
  </a:custClrLst>
  <a:extLst>
    <a:ext uri="{05A4C25C-085E-4340-85A3-A5531E510DB2}">
      <thm15:themeFamily xmlns:thm15="http://schemas.microsoft.com/office/thememl/2012/main" name="KR0137_CF (v4)" id="{C8437B25-9804-4200-B650-2144F1B4888E}" vid="{6B64B7AF-1F53-4991-B3BB-A5097C8BA4E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9156</TotalTime>
  <Words>1894</Words>
  <Application>Microsoft Office PowerPoint</Application>
  <PresentationFormat>Widescreen</PresentationFormat>
  <Paragraphs>438</Paragraphs>
  <Slides>26</Slides>
  <Notes>8</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9" baseType="lpstr">
      <vt:lpstr>Arial</vt:lpstr>
      <vt:lpstr>Bower</vt:lpstr>
      <vt:lpstr>Calibri</vt:lpstr>
      <vt:lpstr>Calisto MT</vt:lpstr>
      <vt:lpstr>Calistoga</vt:lpstr>
      <vt:lpstr>Lustria</vt:lpstr>
      <vt:lpstr>Roboto</vt:lpstr>
      <vt:lpstr>Segoe UI</vt:lpstr>
      <vt:lpstr>Symbol</vt:lpstr>
      <vt:lpstr>Times New Roman</vt:lpstr>
      <vt:lpstr>Wingdings</vt:lpstr>
      <vt:lpstr>White</vt:lpstr>
      <vt:lpstr>think-cell Slide</vt:lpstr>
      <vt:lpstr>Lean Six Sigma Case Study - Gentech</vt:lpstr>
      <vt:lpstr>Table of Content</vt:lpstr>
      <vt:lpstr>Company Overview and Situation</vt:lpstr>
      <vt:lpstr>Project Charter</vt:lpstr>
      <vt:lpstr>Process Map</vt:lpstr>
      <vt:lpstr>      </vt:lpstr>
      <vt:lpstr>Average Time For Each Step</vt:lpstr>
      <vt:lpstr>Strategic Improvements and Anticipated Benefits</vt:lpstr>
      <vt:lpstr>Comparative Performance of BSS and Sellers</vt:lpstr>
      <vt:lpstr>Comparison of SLA, DPMO and Sigma Level </vt:lpstr>
      <vt:lpstr>Brands and their Average Cycle Times</vt:lpstr>
      <vt:lpstr>Correlation between bid complexity and cycle time</vt:lpstr>
      <vt:lpstr>       </vt:lpstr>
      <vt:lpstr>Average Times across Brands and Geographies</vt:lpstr>
      <vt:lpstr>Pareto Chart for Sellers: Too Many BSS Issues</vt:lpstr>
      <vt:lpstr>Pareto Chart for BSS: Missing Information Issues</vt:lpstr>
      <vt:lpstr>PowerPoint Presentation</vt:lpstr>
      <vt:lpstr>PowerPoint Presentation</vt:lpstr>
      <vt:lpstr>VA/NVA Time Distribution by Process Step</vt:lpstr>
      <vt:lpstr>Predicting Modelling &amp; Sentiment Analysis for Proposal Cycle Time Optimization</vt:lpstr>
      <vt:lpstr>       </vt:lpstr>
      <vt:lpstr>Optimizing Gentech's Proposal Creation Process: Strategic Recommendations Using McKinsey's 7S Framework </vt:lpstr>
      <vt:lpstr>Optimizing Gentech's Proposal Creation Process: Strategic Recommendations Using McKinsey's 7S Framework </vt:lpstr>
      <vt:lpstr>Roadmap to 50% Reduction in Bid Processing Time</vt:lpstr>
      <vt:lpstr>Control Plan for Gentech</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reeb</dc:creator>
  <cp:lastModifiedBy>ayush</cp:lastModifiedBy>
  <cp:revision>188</cp:revision>
  <dcterms:created xsi:type="dcterms:W3CDTF">2017-02-17T12:36:41Z</dcterms:created>
  <dcterms:modified xsi:type="dcterms:W3CDTF">2024-11-15T10:11:42Z</dcterms:modified>
</cp:coreProperties>
</file>